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5.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59.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7.xml" ContentType="application/vnd.openxmlformats-officedocument.presentationml.notesSlide+xml"/>
  <Override PartName="/ppt/charts/chartEx1.xml" ContentType="application/vnd.ms-office.chartex+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8.xml" ContentType="application/vnd.openxmlformats-officedocument.presentationml.notesSlide+xml"/>
  <Override PartName="/ppt/charts/chartEx2.xml" ContentType="application/vnd.ms-office.chartex+xml"/>
  <Override PartName="/ppt/charts/style13.xml" ContentType="application/vnd.ms-office.chartstyle+xml"/>
  <Override PartName="/ppt/charts/colors13.xml" ContentType="application/vnd.ms-office.chartcolorstyle+xml"/>
  <Override PartName="/ppt/charts/chart12.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3.xml" ContentType="application/vnd.openxmlformats-officedocument.drawingml.chart+xml"/>
  <Override PartName="/ppt/charts/style15.xml" ContentType="application/vnd.ms-office.chartstyle+xml"/>
  <Override PartName="/ppt/charts/colors15.xml" ContentType="application/vnd.ms-office.chartcolorstyle+xml"/>
  <Override PartName="/ppt/tags/tag69.xml" ContentType="application/vnd.openxmlformats-officedocument.presentationml.tags+xml"/>
  <Override PartName="/ppt/tags/tag70.xml" ContentType="application/vnd.openxmlformats-officedocument.presentationml.tags+xml"/>
  <Override PartName="/ppt/charts/chart14.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tags/tag71.xml" ContentType="application/vnd.openxmlformats-officedocument.presentationml.tags+xml"/>
  <Override PartName="/ppt/tags/tag72.xml" ContentType="application/vnd.openxmlformats-officedocument.presentationml.tags+xml"/>
  <Override PartName="/ppt/charts/chartEx3.xml" ContentType="application/vnd.ms-office.chartex+xml"/>
  <Override PartName="/ppt/charts/style18.xml" ContentType="application/vnd.ms-office.chartstyle+xml"/>
  <Override PartName="/ppt/charts/colors18.xml" ContentType="application/vnd.ms-office.chartcolorstyle+xml"/>
  <Override PartName="/ppt/tags/tag73.xml" ContentType="application/vnd.openxmlformats-officedocument.presentationml.tags+xml"/>
  <Override PartName="/ppt/tags/tag74.xml" ContentType="application/vnd.openxmlformats-officedocument.presentationml.tags+xml"/>
  <Override PartName="/ppt/notesSlides/notesSlide9.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10.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11.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12.xml" ContentType="application/vnd.openxmlformats-officedocument.presentationml.notesSlide+xml"/>
  <Override PartName="/ppt/charts/chart16.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17.xml" ContentType="application/vnd.openxmlformats-officedocument.drawingml.chart+xml"/>
  <Override PartName="/ppt/charts/style20.xml" ContentType="application/vnd.ms-office.chartstyle+xml"/>
  <Override PartName="/ppt/charts/colors20.xml" ContentType="application/vnd.ms-office.chartcolorstyl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13.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charts/chart18.xml" ContentType="application/vnd.openxmlformats-officedocument.drawingml.chart+xml"/>
  <Override PartName="/ppt/charts/style21.xml" ContentType="application/vnd.ms-office.chartstyle+xml"/>
  <Override PartName="/ppt/charts/colors21.xml" ContentType="application/vnd.ms-office.chartcolorstyl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14.xml" ContentType="application/vnd.openxmlformats-officedocument.presentationml.notesSlide+xml"/>
  <Override PartName="/ppt/charts/chart19.xml" ContentType="application/vnd.openxmlformats-officedocument.drawingml.chart+xml"/>
  <Override PartName="/ppt/charts/style22.xml" ContentType="application/vnd.ms-office.chartstyle+xml"/>
  <Override PartName="/ppt/charts/colors22.xml" ContentType="application/vnd.ms-office.chartcolorstyl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15.xml" ContentType="application/vnd.openxmlformats-officedocument.presentationml.notesSlide+xml"/>
  <Override PartName="/ppt/charts/chart20.xml" ContentType="application/vnd.openxmlformats-officedocument.drawingml.chart+xml"/>
  <Override PartName="/ppt/charts/style23.xml" ContentType="application/vnd.ms-office.chartstyle+xml"/>
  <Override PartName="/ppt/charts/colors23.xml" ContentType="application/vnd.ms-office.chartcolorstyl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16.xml" ContentType="application/vnd.openxmlformats-officedocument.presentationml.notesSlide+xml"/>
  <Override PartName="/ppt/charts/chart21.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2.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3.xml" ContentType="application/vnd.openxmlformats-officedocument.drawingml.chart+xml"/>
  <Override PartName="/ppt/tags/tag131.xml" ContentType="application/vnd.openxmlformats-officedocument.presentationml.tags+xml"/>
  <Override PartName="/ppt/tags/tag132.xml" ContentType="application/vnd.openxmlformats-officedocument.presentationml.tags+xml"/>
  <Override PartName="/ppt/notesSlides/notesSlide17.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notesSlides/notesSlide18.xml" ContentType="application/vnd.openxmlformats-officedocument.presentationml.notesSlide+xml"/>
  <Override PartName="/ppt/tags/tag144.xml" ContentType="application/vnd.openxmlformats-officedocument.presentationml.tags+xml"/>
  <Override PartName="/ppt/tags/tag145.xml" ContentType="application/vnd.openxmlformats-officedocument.presentationml.tags+xml"/>
  <Override PartName="/ppt/notesSlides/notesSlide19.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notesSlides/notesSlide20.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notesSlides/notesSlide21.xml" ContentType="application/vnd.openxmlformats-officedocument.presentationml.notesSlide+xml"/>
  <Override PartName="/ppt/charts/chart24.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5.xml" ContentType="application/vnd.openxmlformats-officedocument.drawingml.chart+xml"/>
  <Override PartName="/ppt/charts/style27.xml" ContentType="application/vnd.ms-office.chartstyle+xml"/>
  <Override PartName="/ppt/charts/colors27.xml" ContentType="application/vnd.ms-office.chartcolorstyle+xml"/>
  <Override PartName="/ppt/tags/tag152.xml" ContentType="application/vnd.openxmlformats-officedocument.presentationml.tags+xml"/>
  <Override PartName="/ppt/tags/tag153.xml" ContentType="application/vnd.openxmlformats-officedocument.presentationml.tags+xml"/>
  <Override PartName="/ppt/notesSlides/notesSlide22.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notesSlides/notesSlide23.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notesSlides/notesSlide24.xml" ContentType="application/vnd.openxmlformats-officedocument.presentationml.notesSlide+xml"/>
  <Override PartName="/ppt/tags/tag158.xml" ContentType="application/vnd.openxmlformats-officedocument.presentationml.tags+xml"/>
  <Override PartName="/ppt/notesSlides/notesSlide25.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notesSlides/notesSlide26.xml" ContentType="application/vnd.openxmlformats-officedocument.presentationml.notesSlide+xml"/>
  <Override PartName="/ppt/charts/chart26.xml" ContentType="application/vnd.openxmlformats-officedocument.drawingml.chart+xml"/>
  <Override PartName="/ppt/charts/style28.xml" ContentType="application/vnd.ms-office.chartstyle+xml"/>
  <Override PartName="/ppt/charts/colors28.xml" ContentType="application/vnd.ms-office.chartcolorstyle+xml"/>
  <Override PartName="/ppt/tags/tag161.xml" ContentType="application/vnd.openxmlformats-officedocument.presentationml.tags+xml"/>
  <Override PartName="/ppt/tags/tag162.xml" ContentType="application/vnd.openxmlformats-officedocument.presentationml.tags+xml"/>
  <Override PartName="/ppt/notesSlides/notesSlide27.xml" ContentType="application/vnd.openxmlformats-officedocument.presentationml.notesSlide+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28.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notesSlides/notesSlide29.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30.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notesSlides/notesSlide31.xml" ContentType="application/vnd.openxmlformats-officedocument.presentationml.notesSlide+xml"/>
  <Override PartName="/ppt/charts/chart27.xml" ContentType="application/vnd.openxmlformats-officedocument.drawingml.chart+xml"/>
  <Override PartName="/ppt/charts/style29.xml" ContentType="application/vnd.ms-office.chartstyle+xml"/>
  <Override PartName="/ppt/charts/colors29.xml" ContentType="application/vnd.ms-office.chartcolorstyle+xml"/>
  <Override PartName="/ppt/tags/tag185.xml" ContentType="application/vnd.openxmlformats-officedocument.presentationml.tags+xml"/>
  <Override PartName="/ppt/tags/tag186.xml" ContentType="application/vnd.openxmlformats-officedocument.presentationml.tags+xml"/>
  <Override PartName="/ppt/notesSlides/notesSlide32.xml" ContentType="application/vnd.openxmlformats-officedocument.presentationml.notesSlide+xml"/>
  <Override PartName="/ppt/charts/chart28.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29.xml" ContentType="application/vnd.openxmlformats-officedocument.drawingml.chart+xml"/>
  <Override PartName="/ppt/charts/style31.xml" ContentType="application/vnd.ms-office.chartstyle+xml"/>
  <Override PartName="/ppt/charts/colors31.xml" ContentType="application/vnd.ms-office.chartcolorstyl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charts/chart30.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1.xml" ContentType="application/vnd.openxmlformats-officedocument.drawingml.chart+xml"/>
  <Override PartName="/ppt/charts/style33.xml" ContentType="application/vnd.ms-office.chartstyle+xml"/>
  <Override PartName="/ppt/charts/colors33.xml" ContentType="application/vnd.ms-office.chartcolorstyle+xml"/>
  <Override PartName="/ppt/tags/tag190.xml" ContentType="application/vnd.openxmlformats-officedocument.presentationml.tags+xml"/>
  <Override PartName="/ppt/tags/tag191.xml" ContentType="application/vnd.openxmlformats-officedocument.presentationml.tags+xml"/>
  <Override PartName="/ppt/notesSlides/notesSlide33.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notesSlides/notesSlide34.xml" ContentType="application/vnd.openxmlformats-officedocument.presentationml.notesSlide+xml"/>
  <Override PartName="/ppt/tags/tag194.xml" ContentType="application/vnd.openxmlformats-officedocument.presentationml.tags+xml"/>
  <Override PartName="/ppt/tags/tag195.xml" ContentType="application/vnd.openxmlformats-officedocument.presentationml.tags+xml"/>
  <Override PartName="/ppt/notesSlides/notesSlide35.xml" ContentType="application/vnd.openxmlformats-officedocument.presentationml.notesSlide+xml"/>
  <Override PartName="/ppt/tags/tag196.xml" ContentType="application/vnd.openxmlformats-officedocument.presentationml.tags+xml"/>
  <Override PartName="/ppt/tags/tag197.xml" ContentType="application/vnd.openxmlformats-officedocument.presentationml.tags+xml"/>
  <Override PartName="/ppt/charts/chart32.xml" ContentType="application/vnd.openxmlformats-officedocument.drawingml.chart+xml"/>
  <Override PartName="/ppt/charts/style34.xml" ContentType="application/vnd.ms-office.chartstyle+xml"/>
  <Override PartName="/ppt/charts/colors34.xml" ContentType="application/vnd.ms-office.chartcolorstyle+xml"/>
  <Override PartName="/ppt/tags/tag198.xml" ContentType="application/vnd.openxmlformats-officedocument.presentationml.tags+xml"/>
  <Override PartName="/ppt/tags/tag199.xml" ContentType="application/vnd.openxmlformats-officedocument.presentationml.tags+xml"/>
  <Override PartName="/ppt/notesSlides/notesSlide36.xml" ContentType="application/vnd.openxmlformats-officedocument.presentationml.notesSlide+xml"/>
  <Override PartName="/ppt/charts/chart33.xml" ContentType="application/vnd.openxmlformats-officedocument.drawingml.chart+xml"/>
  <Override PartName="/ppt/charts/style35.xml" ContentType="application/vnd.ms-office.chartstyle+xml"/>
  <Override PartName="/ppt/charts/colors35.xml" ContentType="application/vnd.ms-office.chartcolorstyle+xml"/>
  <Override PartName="/ppt/tags/tag200.xml" ContentType="application/vnd.openxmlformats-officedocument.presentationml.tags+xml"/>
  <Override PartName="/ppt/tags/tag201.xml" ContentType="application/vnd.openxmlformats-officedocument.presentationml.tags+xml"/>
  <Override PartName="/ppt/notesSlides/notesSlide37.xml" ContentType="application/vnd.openxmlformats-officedocument.presentationml.notesSlide+xml"/>
  <Override PartName="/ppt/tags/tag202.xml" ContentType="application/vnd.openxmlformats-officedocument.presentationml.tags+xml"/>
  <Override PartName="/ppt/tags/tag203.xml" ContentType="application/vnd.openxmlformats-officedocument.presentationml.tags+xml"/>
  <Override PartName="/ppt/notesSlides/notesSlide38.xml" ContentType="application/vnd.openxmlformats-officedocument.presentationml.notesSlide+xml"/>
  <Override PartName="/ppt/charts/chart34.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5.xml" ContentType="application/vnd.openxmlformats-officedocument.drawingml.chart+xml"/>
  <Override PartName="/ppt/charts/style37.xml" ContentType="application/vnd.ms-office.chartstyle+xml"/>
  <Override PartName="/ppt/charts/colors37.xml" ContentType="application/vnd.ms-office.chartcolorstyle+xml"/>
  <Override PartName="/ppt/tags/tag204.xml" ContentType="application/vnd.openxmlformats-officedocument.presentationml.tags+xml"/>
  <Override PartName="/ppt/tags/tag205.xml" ContentType="application/vnd.openxmlformats-officedocument.presentationml.tags+xml"/>
  <Override PartName="/ppt/charts/chart36.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7.xml" ContentType="application/vnd.openxmlformats-officedocument.drawingml.chart+xml"/>
  <Override PartName="/ppt/charts/style39.xml" ContentType="application/vnd.ms-office.chartstyle+xml"/>
  <Override PartName="/ppt/charts/colors39.xml" ContentType="application/vnd.ms-office.chartcolorstyle+xml"/>
  <Override PartName="/ppt/tags/tag206.xml" ContentType="application/vnd.openxmlformats-officedocument.presentationml.tags+xml"/>
  <Override PartName="/ppt/tags/tag207.xml" ContentType="application/vnd.openxmlformats-officedocument.presentationml.tags+xml"/>
  <Override PartName="/ppt/charts/chart38.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39.xml" ContentType="application/vnd.openxmlformats-officedocument.drawingml.chart+xml"/>
  <Override PartName="/ppt/charts/style41.xml" ContentType="application/vnd.ms-office.chartstyle+xml"/>
  <Override PartName="/ppt/charts/colors41.xml" ContentType="application/vnd.ms-office.chartcolorstyle+xml"/>
  <Override PartName="/ppt/tags/tag208.xml" ContentType="application/vnd.openxmlformats-officedocument.presentationml.tags+xml"/>
  <Override PartName="/ppt/tags/tag209.xml" ContentType="application/vnd.openxmlformats-officedocument.presentationml.tags+xml"/>
  <Override PartName="/ppt/charts/chart40.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1.xml" ContentType="application/vnd.openxmlformats-officedocument.drawingml.chart+xml"/>
  <Override PartName="/ppt/charts/style43.xml" ContentType="application/vnd.ms-office.chartstyle+xml"/>
  <Override PartName="/ppt/charts/colors43.xml" ContentType="application/vnd.ms-office.chartcolorstyle+xml"/>
  <Override PartName="/ppt/tags/tag210.xml" ContentType="application/vnd.openxmlformats-officedocument.presentationml.tags+xml"/>
  <Override PartName="/ppt/tags/tag211.xml" ContentType="application/vnd.openxmlformats-officedocument.presentationml.tags+xml"/>
  <Override PartName="/ppt/charts/chart42.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3.xml" ContentType="application/vnd.openxmlformats-officedocument.drawingml.chart+xml"/>
  <Override PartName="/ppt/charts/style45.xml" ContentType="application/vnd.ms-office.chartstyle+xml"/>
  <Override PartName="/ppt/charts/colors45.xml" ContentType="application/vnd.ms-office.chartcolorstyle+xml"/>
  <Override PartName="/ppt/tags/tag212.xml" ContentType="application/vnd.openxmlformats-officedocument.presentationml.tags+xml"/>
  <Override PartName="/ppt/tags/tag213.xml" ContentType="application/vnd.openxmlformats-officedocument.presentationml.tags+xml"/>
  <Override PartName="/ppt/charts/chart44.xml" ContentType="application/vnd.openxmlformats-officedocument.drawingml.chart+xml"/>
  <Override PartName="/ppt/charts/style46.xml" ContentType="application/vnd.ms-office.chartstyle+xml"/>
  <Override PartName="/ppt/charts/colors46.xml" ContentType="application/vnd.ms-office.chartcolorstyle+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notesSlides/notesSlide39.xml" ContentType="application/vnd.openxmlformats-officedocument.presentationml.notesSlide+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notesSlides/notesSlide40.xml" ContentType="application/vnd.openxmlformats-officedocument.presentationml.notesSlide+xml"/>
  <Override PartName="/ppt/charts/chartEx4.xml" ContentType="application/vnd.ms-office.chartex+xml"/>
  <Override PartName="/ppt/charts/style47.xml" ContentType="application/vnd.ms-office.chartstyle+xml"/>
  <Override PartName="/ppt/charts/colors47.xml" ContentType="application/vnd.ms-office.chartcolorstyle+xml"/>
  <Override PartName="/ppt/charts/chartEx5.xml" ContentType="application/vnd.ms-office.chartex+xml"/>
  <Override PartName="/ppt/charts/style48.xml" ContentType="application/vnd.ms-office.chartstyle+xml"/>
  <Override PartName="/ppt/charts/colors48.xml" ContentType="application/vnd.ms-office.chartcolorstyle+xml"/>
  <Override PartName="/ppt/charts/chartEx6.xml" ContentType="application/vnd.ms-office.chartex+xml"/>
  <Override PartName="/ppt/charts/style49.xml" ContentType="application/vnd.ms-office.chartstyle+xml"/>
  <Override PartName="/ppt/charts/colors49.xml" ContentType="application/vnd.ms-office.chartcolorstyle+xml"/>
  <Override PartName="/ppt/tags/tag228.xml" ContentType="application/vnd.openxmlformats-officedocument.presentationml.tags+xml"/>
  <Override PartName="/ppt/notesSlides/notesSlide41.xml" ContentType="application/vnd.openxmlformats-officedocument.presentationml.notesSlide+xml"/>
  <Override PartName="/ppt/charts/chart45.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46.xml" ContentType="application/vnd.openxmlformats-officedocument.drawingml.chart+xml"/>
  <Override PartName="/ppt/charts/style51.xml" ContentType="application/vnd.ms-office.chartstyle+xml"/>
  <Override PartName="/ppt/charts/colors51.xml" ContentType="application/vnd.ms-office.chartcolorstyle+xml"/>
  <Override PartName="/ppt/tags/tag229.xml" ContentType="application/vnd.openxmlformats-officedocument.presentationml.tags+xml"/>
  <Override PartName="/ppt/tags/tag230.xml" ContentType="application/vnd.openxmlformats-officedocument.presentationml.tags+xml"/>
  <Override PartName="/ppt/charts/chart47.xml" ContentType="application/vnd.openxmlformats-officedocument.drawingml.chart+xml"/>
  <Override PartName="/ppt/charts/style52.xml" ContentType="application/vnd.ms-office.chartstyle+xml"/>
  <Override PartName="/ppt/charts/colors52.xml" ContentType="application/vnd.ms-office.chartcolorstyle+xml"/>
  <Override PartName="/ppt/tags/tag231.xml" ContentType="application/vnd.openxmlformats-officedocument.presentationml.tags+xml"/>
  <Override PartName="/ppt/tags/tag232.xml" ContentType="application/vnd.openxmlformats-officedocument.presentationml.tags+xml"/>
  <Override PartName="/ppt/notesSlides/notesSlide42.xml" ContentType="application/vnd.openxmlformats-officedocument.presentationml.notesSlide+xml"/>
  <Override PartName="/ppt/charts/chartEx7.xml" ContentType="application/vnd.ms-office.chartex+xml"/>
  <Override PartName="/ppt/charts/style53.xml" ContentType="application/vnd.ms-office.chartstyle+xml"/>
  <Override PartName="/ppt/charts/colors53.xml" ContentType="application/vnd.ms-office.chartcolorstyle+xml"/>
  <Override PartName="/ppt/tags/tag233.xml" ContentType="application/vnd.openxmlformats-officedocument.presentationml.tags+xml"/>
  <Override PartName="/ppt/tags/tag234.xml" ContentType="application/vnd.openxmlformats-officedocument.presentationml.tags+xml"/>
  <Override PartName="/ppt/charts/chart48.xml" ContentType="application/vnd.openxmlformats-officedocument.drawingml.chart+xml"/>
  <Override PartName="/ppt/charts/style54.xml" ContentType="application/vnd.ms-office.chartstyle+xml"/>
  <Override PartName="/ppt/charts/colors54.xml" ContentType="application/vnd.ms-office.chartcolorstyle+xml"/>
  <Override PartName="/ppt/drawings/drawing1.xml" ContentType="application/vnd.openxmlformats-officedocument.drawingml.chartshapes+xml"/>
  <Override PartName="/ppt/charts/chart49.xml" ContentType="application/vnd.openxmlformats-officedocument.drawingml.chart+xml"/>
  <Override PartName="/ppt/charts/style55.xml" ContentType="application/vnd.ms-office.chartstyle+xml"/>
  <Override PartName="/ppt/charts/colors55.xml" ContentType="application/vnd.ms-office.chartcolorstyle+xml"/>
  <Override PartName="/ppt/tags/tag235.xml" ContentType="application/vnd.openxmlformats-officedocument.presentationml.tags+xml"/>
  <Override PartName="/ppt/tags/tag236.xml" ContentType="application/vnd.openxmlformats-officedocument.presentationml.tags+xml"/>
  <Override PartName="/ppt/notesSlides/notesSlide43.xml" ContentType="application/vnd.openxmlformats-officedocument.presentationml.notesSlide+xml"/>
  <Override PartName="/ppt/charts/chart50.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51.xml" ContentType="application/vnd.openxmlformats-officedocument.drawingml.chart+xml"/>
  <Override PartName="/ppt/charts/style57.xml" ContentType="application/vnd.ms-office.chartstyle+xml"/>
  <Override PartName="/ppt/charts/colors57.xml" ContentType="application/vnd.ms-office.chartcolorstyle+xml"/>
  <Override PartName="/ppt/tags/tag237.xml" ContentType="application/vnd.openxmlformats-officedocument.presentationml.tags+xml"/>
  <Override PartName="/ppt/notesSlides/notesSlide44.xml" ContentType="application/vnd.openxmlformats-officedocument.presentationml.notesSlide+xml"/>
  <Override PartName="/ppt/charts/chart52.xml" ContentType="application/vnd.openxmlformats-officedocument.drawingml.chart+xml"/>
  <Override PartName="/ppt/charts/style58.xml" ContentType="application/vnd.ms-office.chartstyle+xml"/>
  <Override PartName="/ppt/charts/colors58.xml" ContentType="application/vnd.ms-office.chartcolorstyle+xml"/>
  <Override PartName="/ppt/tags/tag238.xml" ContentType="application/vnd.openxmlformats-officedocument.presentationml.tags+xml"/>
  <Override PartName="/ppt/notesSlides/notesSlide45.xml" ContentType="application/vnd.openxmlformats-officedocument.presentationml.notesSlide+xml"/>
  <Override PartName="/ppt/tags/tag239.xml" ContentType="application/vnd.openxmlformats-officedocument.presentationml.tags+xml"/>
  <Override PartName="/ppt/tags/tag240.xml" ContentType="application/vnd.openxmlformats-officedocument.presentationml.tags+xml"/>
  <Override PartName="/ppt/charts/chart53.xml" ContentType="application/vnd.openxmlformats-officedocument.drawingml.chart+xml"/>
  <Override PartName="/ppt/charts/style59.xml" ContentType="application/vnd.ms-office.chartstyle+xml"/>
  <Override PartName="/ppt/charts/colors59.xml" ContentType="application/vnd.ms-office.chartcolorstyle+xml"/>
  <Override PartName="/ppt/tags/tag241.xml" ContentType="application/vnd.openxmlformats-officedocument.presentationml.tags+xml"/>
  <Override PartName="/ppt/tags/tag242.xml" ContentType="application/vnd.openxmlformats-officedocument.presentationml.tags+xml"/>
  <Override PartName="/ppt/charts/chartEx8.xml" ContentType="application/vnd.ms-office.chartex+xml"/>
  <Override PartName="/ppt/charts/style60.xml" ContentType="application/vnd.ms-office.chartstyle+xml"/>
  <Override PartName="/ppt/charts/colors60.xml" ContentType="application/vnd.ms-office.chartcolorstyle+xml"/>
  <Override PartName="/ppt/tags/tag243.xml" ContentType="application/vnd.openxmlformats-officedocument.presentationml.tags+xml"/>
  <Override PartName="/ppt/tags/tag244.xml" ContentType="application/vnd.openxmlformats-officedocument.presentationml.tags+xml"/>
  <Override PartName="/ppt/notesSlides/notesSlide46.xml" ContentType="application/vnd.openxmlformats-officedocument.presentationml.notesSlide+xml"/>
  <Override PartName="/ppt/charts/chart54.xml" ContentType="application/vnd.openxmlformats-officedocument.drawingml.chart+xml"/>
  <Override PartName="/ppt/charts/style61.xml" ContentType="application/vnd.ms-office.chartstyle+xml"/>
  <Override PartName="/ppt/charts/colors61.xml" ContentType="application/vnd.ms-office.chartcolorstyle+xml"/>
  <Override PartName="/ppt/drawings/drawing2.xml" ContentType="application/vnd.openxmlformats-officedocument.drawingml.chartshapes+xml"/>
  <Override PartName="/ppt/charts/chart55.xml" ContentType="application/vnd.openxmlformats-officedocument.drawingml.chart+xml"/>
  <Override PartName="/ppt/charts/style62.xml" ContentType="application/vnd.ms-office.chartstyle+xml"/>
  <Override PartName="/ppt/charts/colors62.xml" ContentType="application/vnd.ms-office.chartcolorstyle+xml"/>
  <Override PartName="/ppt/drawings/drawing3.xml" ContentType="application/vnd.openxmlformats-officedocument.drawingml.chartshapes+xml"/>
  <Override PartName="/ppt/tags/tag245.xml" ContentType="application/vnd.openxmlformats-officedocument.presentationml.tags+xml"/>
  <Override PartName="/ppt/tags/tag246.xml" ContentType="application/vnd.openxmlformats-officedocument.presentationml.tags+xml"/>
  <Override PartName="/ppt/notesSlides/notesSlide47.xml" ContentType="application/vnd.openxmlformats-officedocument.presentationml.notesSlide+xml"/>
  <Override PartName="/ppt/charts/chart56.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57.xml" ContentType="application/vnd.openxmlformats-officedocument.drawingml.chart+xml"/>
  <Override PartName="/ppt/charts/style64.xml" ContentType="application/vnd.ms-office.chartstyle+xml"/>
  <Override PartName="/ppt/charts/colors64.xml" ContentType="application/vnd.ms-office.chartcolorstyle+xml"/>
  <Override PartName="/ppt/tags/tag247.xml" ContentType="application/vnd.openxmlformats-officedocument.presentationml.tags+xml"/>
  <Override PartName="/ppt/tags/tag248.xml" ContentType="application/vnd.openxmlformats-officedocument.presentationml.tags+xml"/>
  <Override PartName="/ppt/charts/chartEx9.xml" ContentType="application/vnd.ms-office.chartex+xml"/>
  <Override PartName="/ppt/charts/style65.xml" ContentType="application/vnd.ms-office.chartstyle+xml"/>
  <Override PartName="/ppt/charts/colors65.xml" ContentType="application/vnd.ms-office.chartcolorstyle+xml"/>
  <Override PartName="/ppt/tags/tag249.xml" ContentType="application/vnd.openxmlformats-officedocument.presentationml.tags+xml"/>
  <Override PartName="/ppt/tags/tag250.xml" ContentType="application/vnd.openxmlformats-officedocument.presentationml.tags+xml"/>
  <Override PartName="/ppt/charts/chart58.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59.xml" ContentType="application/vnd.openxmlformats-officedocument.drawingml.chart+xml"/>
  <Override PartName="/ppt/charts/style67.xml" ContentType="application/vnd.ms-office.chartstyle+xml"/>
  <Override PartName="/ppt/charts/colors67.xml" ContentType="application/vnd.ms-office.chartcolorstyle+xml"/>
  <Override PartName="/ppt/drawings/drawing4.xml" ContentType="application/vnd.openxmlformats-officedocument.drawingml.chartshapes+xml"/>
  <Override PartName="/ppt/tags/tag251.xml" ContentType="application/vnd.openxmlformats-officedocument.presentationml.tags+xml"/>
  <Override PartName="/ppt/tags/tag252.xml" ContentType="application/vnd.openxmlformats-officedocument.presentationml.tags+xml"/>
  <Override PartName="/ppt/notesSlides/notesSlide48.xml" ContentType="application/vnd.openxmlformats-officedocument.presentationml.notesSlide+xml"/>
  <Override PartName="/ppt/charts/chart60.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1.xml" ContentType="application/vnd.openxmlformats-officedocument.drawingml.chart+xml"/>
  <Override PartName="/ppt/charts/style69.xml" ContentType="application/vnd.ms-office.chartstyle+xml"/>
  <Override PartName="/ppt/charts/colors69.xml" ContentType="application/vnd.ms-office.chartcolorstyle+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charts/chart62.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63.xml" ContentType="application/vnd.openxmlformats-officedocument.drawingml.chart+xml"/>
  <Override PartName="/ppt/charts/style71.xml" ContentType="application/vnd.ms-office.chartstyle+xml"/>
  <Override PartName="/ppt/charts/colors71.xml" ContentType="application/vnd.ms-office.chartcolorstyl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notesSlides/notesSlide49.xml" ContentType="application/vnd.openxmlformats-officedocument.presentationml.notesSlide+xml"/>
  <Override PartName="/ppt/tags/tag260.xml" ContentType="application/vnd.openxmlformats-officedocument.presentationml.tags+xml"/>
  <Override PartName="/ppt/tags/tag261.xml" ContentType="application/vnd.openxmlformats-officedocument.presentationml.tags+xml"/>
  <Override PartName="/ppt/notesSlides/notesSlide50.xml" ContentType="application/vnd.openxmlformats-officedocument.presentationml.notesSlide+xml"/>
  <Override PartName="/ppt/tags/tag262.xml" ContentType="application/vnd.openxmlformats-officedocument.presentationml.tags+xml"/>
  <Override PartName="/ppt/charts/chart64.xml" ContentType="application/vnd.openxmlformats-officedocument.drawingml.chart+xml"/>
  <Override PartName="/ppt/charts/style72.xml" ContentType="application/vnd.ms-office.chartstyle+xml"/>
  <Override PartName="/ppt/charts/colors72.xml" ContentType="application/vnd.ms-office.chartcolorstyle+xml"/>
  <Override PartName="/ppt/charts/chart65.xml" ContentType="application/vnd.openxmlformats-officedocument.drawingml.chart+xml"/>
  <Override PartName="/ppt/charts/style73.xml" ContentType="application/vnd.ms-office.chartstyle+xml"/>
  <Override PartName="/ppt/charts/colors73.xml" ContentType="application/vnd.ms-office.chartcolorstyle+xml"/>
  <Override PartName="/ppt/tags/tag263.xml" ContentType="application/vnd.openxmlformats-officedocument.presentationml.tags+xml"/>
  <Override PartName="/ppt/charts/chart66.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67.xml" ContentType="application/vnd.openxmlformats-officedocument.drawingml.chart+xml"/>
  <Override PartName="/ppt/charts/style75.xml" ContentType="application/vnd.ms-office.chartstyle+xml"/>
  <Override PartName="/ppt/charts/colors75.xml" ContentType="application/vnd.ms-office.chartcolorstyle+xml"/>
  <Override PartName="/ppt/tags/tag264.xml" ContentType="application/vnd.openxmlformats-officedocument.presentationml.tags+xml"/>
  <Override PartName="/ppt/tags/tag265.xml" ContentType="application/vnd.openxmlformats-officedocument.presentationml.tags+xml"/>
  <Override PartName="/ppt/notesSlides/notesSlide51.xml" ContentType="application/vnd.openxmlformats-officedocument.presentationml.notesSlide+xml"/>
  <Override PartName="/ppt/charts/chart68.xml" ContentType="application/vnd.openxmlformats-officedocument.drawingml.chart+xml"/>
  <Override PartName="/ppt/charts/style76.xml" ContentType="application/vnd.ms-office.chartstyle+xml"/>
  <Override PartName="/ppt/charts/colors76.xml" ContentType="application/vnd.ms-office.chartcolorstyle+xml"/>
  <Override PartName="/ppt/charts/chart69.xml" ContentType="application/vnd.openxmlformats-officedocument.drawingml.chart+xml"/>
  <Override PartName="/ppt/charts/style77.xml" ContentType="application/vnd.ms-office.chartstyle+xml"/>
  <Override PartName="/ppt/charts/colors77.xml" ContentType="application/vnd.ms-office.chartcolorstyle+xml"/>
  <Override PartName="/ppt/tags/tag266.xml" ContentType="application/vnd.openxmlformats-officedocument.presentationml.tags+xml"/>
  <Override PartName="/ppt/tags/tag267.xml" ContentType="application/vnd.openxmlformats-officedocument.presentationml.tags+xml"/>
  <Override PartName="/ppt/notesSlides/notesSlide52.xml" ContentType="application/vnd.openxmlformats-officedocument.presentationml.notesSlide+xml"/>
  <Override PartName="/ppt/charts/chart70.xml" ContentType="application/vnd.openxmlformats-officedocument.drawingml.chart+xml"/>
  <Override PartName="/ppt/charts/style78.xml" ContentType="application/vnd.ms-office.chartstyle+xml"/>
  <Override PartName="/ppt/charts/colors78.xml" ContentType="application/vnd.ms-office.chartcolorstyle+xml"/>
  <Override PartName="/ppt/charts/chart71.xml" ContentType="application/vnd.openxmlformats-officedocument.drawingml.chart+xml"/>
  <Override PartName="/ppt/charts/style79.xml" ContentType="application/vnd.ms-office.chartstyle+xml"/>
  <Override PartName="/ppt/charts/colors79.xml" ContentType="application/vnd.ms-office.chartcolorstyle+xml"/>
  <Override PartName="/ppt/charts/chart72.xml" ContentType="application/vnd.openxmlformats-officedocument.drawingml.chart+xml"/>
  <Override PartName="/ppt/charts/style80.xml" ContentType="application/vnd.ms-office.chartstyle+xml"/>
  <Override PartName="/ppt/charts/colors80.xml" ContentType="application/vnd.ms-office.chartcolorstyle+xml"/>
  <Override PartName="/ppt/notesSlides/notesSlide53.xml" ContentType="application/vnd.openxmlformats-officedocument.presentationml.notesSlid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notesSlides/notesSlide54.xml" ContentType="application/vnd.openxmlformats-officedocument.presentationml.notesSlide+xml"/>
  <Override PartName="/ppt/charts/chart73.xml" ContentType="application/vnd.openxmlformats-officedocument.drawingml.chart+xml"/>
  <Override PartName="/ppt/charts/style81.xml" ContentType="application/vnd.ms-office.chartstyle+xml"/>
  <Override PartName="/ppt/charts/colors81.xml" ContentType="application/vnd.ms-office.chartcolorstyle+xml"/>
  <Override PartName="/ppt/drawings/drawing5.xml" ContentType="application/vnd.openxmlformats-officedocument.drawingml.chartshapes+xml"/>
  <Override PartName="/ppt/tags/tag272.xml" ContentType="application/vnd.openxmlformats-officedocument.presentationml.tags+xml"/>
  <Override PartName="/ppt/notesSlides/notesSlide55.xml" ContentType="application/vnd.openxmlformats-officedocument.presentationml.notesSlide+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charts/chartEx10.xml" ContentType="application/vnd.ms-office.chartex+xml"/>
  <Override PartName="/ppt/charts/style82.xml" ContentType="application/vnd.ms-office.chartstyle+xml"/>
  <Override PartName="/ppt/charts/colors82.xml" ContentType="application/vnd.ms-office.chartcolorstyle+xml"/>
  <Override PartName="/ppt/charts/chartEx11.xml" ContentType="application/vnd.ms-office.chartex+xml"/>
  <Override PartName="/ppt/charts/style83.xml" ContentType="application/vnd.ms-office.chartstyle+xml"/>
  <Override PartName="/ppt/charts/colors83.xml" ContentType="application/vnd.ms-office.chartcolorstyle+xml"/>
  <Override PartName="/ppt/tags/tag284.xml" ContentType="application/vnd.openxmlformats-officedocument.presentationml.tags+xml"/>
  <Override PartName="/ppt/tags/tag285.xml" ContentType="application/vnd.openxmlformats-officedocument.presentationml.tags+xml"/>
  <Override PartName="/ppt/notesSlides/notesSlide56.xml" ContentType="application/vnd.openxmlformats-officedocument.presentationml.notesSlide+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notesSlides/notesSlide57.xml" ContentType="application/vnd.openxmlformats-officedocument.presentationml.notesSlide+xml"/>
  <Override PartName="/ppt/theme/themeOverride1.xml" ContentType="application/vnd.openxmlformats-officedocument.themeOverride+xml"/>
  <Override PartName="/ppt/tags/tag292.xml" ContentType="application/vnd.openxmlformats-officedocument.presentationml.tags+xml"/>
  <Override PartName="/ppt/tags/tag293.xml" ContentType="application/vnd.openxmlformats-officedocument.presentationml.tags+xml"/>
  <Override PartName="/ppt/charts/chart74.xml" ContentType="application/vnd.openxmlformats-officedocument.drawingml.chart+xml"/>
  <Override PartName="/ppt/tags/tag294.xml" ContentType="application/vnd.openxmlformats-officedocument.presentationml.tags+xml"/>
  <Override PartName="/ppt/tags/tag295.xml" ContentType="application/vnd.openxmlformats-officedocument.presentationml.tags+xml"/>
  <Override PartName="/ppt/charts/chartEx12.xml" ContentType="application/vnd.ms-office.chartex+xml"/>
  <Override PartName="/ppt/charts/style84.xml" ContentType="application/vnd.ms-office.chartstyle+xml"/>
  <Override PartName="/ppt/charts/colors84.xml" ContentType="application/vnd.ms-office.chartcolorstyle+xml"/>
  <Override PartName="/ppt/tags/tag296.xml" ContentType="application/vnd.openxmlformats-officedocument.presentationml.tags+xml"/>
  <Override PartName="/ppt/tags/tag297.xml" ContentType="application/vnd.openxmlformats-officedocument.presentationml.tags+xml"/>
  <Override PartName="/ppt/charts/chart75.xml" ContentType="application/vnd.openxmlformats-officedocument.drawingml.chart+xml"/>
  <Override PartName="/ppt/charts/style85.xml" ContentType="application/vnd.ms-office.chartstyle+xml"/>
  <Override PartName="/ppt/charts/colors85.xml" ContentType="application/vnd.ms-office.chartcolorstyle+xml"/>
  <Override PartName="/ppt/charts/chart76.xml" ContentType="application/vnd.openxmlformats-officedocument.drawingml.chart+xml"/>
  <Override PartName="/ppt/charts/style86.xml" ContentType="application/vnd.ms-office.chartstyle+xml"/>
  <Override PartName="/ppt/charts/colors86.xml" ContentType="application/vnd.ms-office.chartcolorstyle+xml"/>
  <Override PartName="/ppt/tags/tag298.xml" ContentType="application/vnd.openxmlformats-officedocument.presentationml.tags+xml"/>
  <Override PartName="/ppt/tags/tag299.xml" ContentType="application/vnd.openxmlformats-officedocument.presentationml.tags+xml"/>
  <Override PartName="/ppt/notesSlides/notesSlide58.xml" ContentType="application/vnd.openxmlformats-officedocument.presentationml.notesSlide+xml"/>
  <Override PartName="/ppt/charts/chart77.xml" ContentType="application/vnd.openxmlformats-officedocument.drawingml.chart+xml"/>
  <Override PartName="/ppt/charts/style87.xml" ContentType="application/vnd.ms-office.chartstyle+xml"/>
  <Override PartName="/ppt/charts/colors87.xml" ContentType="application/vnd.ms-office.chartcolorstyle+xml"/>
  <Override PartName="/ppt/charts/chart78.xml" ContentType="application/vnd.openxmlformats-officedocument.drawingml.chart+xml"/>
  <Override PartName="/ppt/charts/style88.xml" ContentType="application/vnd.ms-office.chartstyle+xml"/>
  <Override PartName="/ppt/charts/colors88.xml" ContentType="application/vnd.ms-office.chartcolorstyle+xml"/>
  <Override PartName="/ppt/charts/chart79.xml" ContentType="application/vnd.openxmlformats-officedocument.drawingml.chart+xml"/>
  <Override PartName="/ppt/charts/style89.xml" ContentType="application/vnd.ms-office.chartstyle+xml"/>
  <Override PartName="/ppt/charts/colors89.xml" ContentType="application/vnd.ms-office.chartcolorstyle+xml"/>
  <Override PartName="/ppt/charts/chart80.xml" ContentType="application/vnd.openxmlformats-officedocument.drawingml.chart+xml"/>
  <Override PartName="/ppt/charts/style90.xml" ContentType="application/vnd.ms-office.chartstyle+xml"/>
  <Override PartName="/ppt/charts/colors90.xml" ContentType="application/vnd.ms-office.chartcolorstyle+xml"/>
  <Override PartName="/ppt/tags/tag300.xml" ContentType="application/vnd.openxmlformats-officedocument.presentationml.tags+xml"/>
  <Override PartName="/ppt/tags/tag301.xml" ContentType="application/vnd.openxmlformats-officedocument.presentationml.tags+xml"/>
  <Override PartName="/ppt/charts/chart81.xml" ContentType="application/vnd.openxmlformats-officedocument.drawingml.chart+xml"/>
  <Override PartName="/ppt/charts/style91.xml" ContentType="application/vnd.ms-office.chartstyle+xml"/>
  <Override PartName="/ppt/charts/colors91.xml" ContentType="application/vnd.ms-office.chartcolorstyle+xml"/>
  <Override PartName="/ppt/charts/chart82.xml" ContentType="application/vnd.openxmlformats-officedocument.drawingml.chart+xml"/>
  <Override PartName="/ppt/charts/style92.xml" ContentType="application/vnd.ms-office.chartstyle+xml"/>
  <Override PartName="/ppt/charts/colors92.xml" ContentType="application/vnd.ms-office.chartcolorstyle+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charts/chart83.xml" ContentType="application/vnd.openxmlformats-officedocument.drawingml.chart+xml"/>
  <Override PartName="/ppt/charts/style93.xml" ContentType="application/vnd.ms-office.chartstyle+xml"/>
  <Override PartName="/ppt/charts/colors93.xml" ContentType="application/vnd.ms-office.chartcolorstyle+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charts/chart84.xml" ContentType="application/vnd.openxmlformats-officedocument.drawingml.chart+xml"/>
  <Override PartName="/ppt/charts/style94.xml" ContentType="application/vnd.ms-office.chartstyle+xml"/>
  <Override PartName="/ppt/charts/colors94.xml" ContentType="application/vnd.ms-office.chartcolorstyle+xml"/>
  <Override PartName="/ppt/tags/tag310.xml" ContentType="application/vnd.openxmlformats-officedocument.presentationml.tags+xml"/>
  <Override PartName="/ppt/tags/tag311.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charts/chart87.xml" ContentType="application/vnd.openxmlformats-officedocument.drawingml.chart+xml"/>
  <Override PartName="/ppt/charts/style95.xml" ContentType="application/vnd.ms-office.chartstyle+xml"/>
  <Override PartName="/ppt/charts/colors95.xml" ContentType="application/vnd.ms-office.chartcolorstyle+xml"/>
  <Override PartName="/ppt/tags/tag322.xml" ContentType="application/vnd.openxmlformats-officedocument.presentationml.tags+xml"/>
  <Override PartName="/ppt/tags/tag323.xml" ContentType="application/vnd.openxmlformats-officedocument.presentationml.tags+xml"/>
  <Override PartName="/ppt/charts/chart88.xml" ContentType="application/vnd.openxmlformats-officedocument.drawingml.chart+xml"/>
  <Override PartName="/ppt/charts/style96.xml" ContentType="application/vnd.ms-office.chartstyle+xml"/>
  <Override PartName="/ppt/charts/colors96.xml" ContentType="application/vnd.ms-office.chartcolorstyle+xml"/>
  <Override PartName="/ppt/drawings/drawing6.xml" ContentType="application/vnd.openxmlformats-officedocument.drawingml.chartshapes+xml"/>
  <Override PartName="/ppt/charts/chart89.xml" ContentType="application/vnd.openxmlformats-officedocument.drawingml.chart+xml"/>
  <Override PartName="/ppt/charts/style97.xml" ContentType="application/vnd.ms-office.chartstyle+xml"/>
  <Override PartName="/ppt/charts/colors97.xml" ContentType="application/vnd.ms-office.chartcolorstyle+xml"/>
  <Override PartName="/ppt/tags/tag324.xml" ContentType="application/vnd.openxmlformats-officedocument.presentationml.tags+xml"/>
  <Override PartName="/ppt/tags/tag325.xml" ContentType="application/vnd.openxmlformats-officedocument.presentationml.tags+xml"/>
  <Override PartName="/ppt/charts/chart90.xml" ContentType="application/vnd.openxmlformats-officedocument.drawingml.chart+xml"/>
  <Override PartName="/ppt/charts/chart91.xml" ContentType="application/vnd.openxmlformats-officedocument.drawingml.chart+xml"/>
  <Override PartName="/ppt/tags/tag326.xml" ContentType="application/vnd.openxmlformats-officedocument.presentationml.tags+xml"/>
  <Override PartName="/ppt/tags/tag327.xml" ContentType="application/vnd.openxmlformats-officedocument.presentationml.tags+xml"/>
  <Override PartName="/ppt/notesSlides/notesSlide59.xml" ContentType="application/vnd.openxmlformats-officedocument.presentationml.notesSlid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charts/chart92.xml" ContentType="application/vnd.openxmlformats-officedocument.drawingml.chart+xml"/>
  <Override PartName="/ppt/charts/style98.xml" ContentType="application/vnd.ms-office.chartstyle+xml"/>
  <Override PartName="/ppt/charts/colors98.xml" ContentType="application/vnd.ms-office.chartcolorstyle+xml"/>
  <Override PartName="/ppt/tags/tag331.xml" ContentType="application/vnd.openxmlformats-officedocument.presentationml.tags+xml"/>
  <Override PartName="/ppt/tags/tag332.xml" ContentType="application/vnd.openxmlformats-officedocument.presentationml.tags+xml"/>
  <Override PartName="/ppt/charts/chartEx13.xml" ContentType="application/vnd.ms-office.chartex+xml"/>
  <Override PartName="/ppt/charts/style99.xml" ContentType="application/vnd.ms-office.chartstyle+xml"/>
  <Override PartName="/ppt/charts/colors99.xml" ContentType="application/vnd.ms-office.chartcolorstyle+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1" r:id="rId5"/>
  </p:sldMasterIdLst>
  <p:notesMasterIdLst>
    <p:notesMasterId r:id="rId161"/>
  </p:notesMasterIdLst>
  <p:sldIdLst>
    <p:sldId id="4910" r:id="rId6"/>
    <p:sldId id="1655" r:id="rId7"/>
    <p:sldId id="5840" r:id="rId8"/>
    <p:sldId id="5833" r:id="rId9"/>
    <p:sldId id="6832" r:id="rId10"/>
    <p:sldId id="6833" r:id="rId11"/>
    <p:sldId id="6884" r:id="rId12"/>
    <p:sldId id="6997" r:id="rId13"/>
    <p:sldId id="6834" r:id="rId14"/>
    <p:sldId id="6835" r:id="rId15"/>
    <p:sldId id="6836" r:id="rId16"/>
    <p:sldId id="6960" r:id="rId17"/>
    <p:sldId id="7104" r:id="rId18"/>
    <p:sldId id="7047" r:id="rId19"/>
    <p:sldId id="7009" r:id="rId20"/>
    <p:sldId id="7100" r:id="rId21"/>
    <p:sldId id="5834" r:id="rId22"/>
    <p:sldId id="6820" r:id="rId23"/>
    <p:sldId id="6731" r:id="rId24"/>
    <p:sldId id="6728" r:id="rId25"/>
    <p:sldId id="6914" r:id="rId26"/>
    <p:sldId id="4464" r:id="rId27"/>
    <p:sldId id="6647" r:id="rId28"/>
    <p:sldId id="7051" r:id="rId29"/>
    <p:sldId id="6958" r:id="rId30"/>
    <p:sldId id="6726" r:id="rId31"/>
    <p:sldId id="6818" r:id="rId32"/>
    <p:sldId id="7052" r:id="rId33"/>
    <p:sldId id="6651" r:id="rId34"/>
    <p:sldId id="6727" r:id="rId35"/>
    <p:sldId id="5851" r:id="rId36"/>
    <p:sldId id="6794" r:id="rId37"/>
    <p:sldId id="6827" r:id="rId38"/>
    <p:sldId id="6767" r:id="rId39"/>
    <p:sldId id="6768" r:id="rId40"/>
    <p:sldId id="6773" r:id="rId41"/>
    <p:sldId id="4905" r:id="rId42"/>
    <p:sldId id="6954" r:id="rId43"/>
    <p:sldId id="6661" r:id="rId44"/>
    <p:sldId id="6961" r:id="rId45"/>
    <p:sldId id="7033" r:id="rId46"/>
    <p:sldId id="6978" r:id="rId47"/>
    <p:sldId id="7090" r:id="rId48"/>
    <p:sldId id="6630" r:id="rId49"/>
    <p:sldId id="6934" r:id="rId50"/>
    <p:sldId id="4848" r:id="rId51"/>
    <p:sldId id="4920" r:id="rId52"/>
    <p:sldId id="7091" r:id="rId53"/>
    <p:sldId id="6631" r:id="rId54"/>
    <p:sldId id="6632" r:id="rId55"/>
    <p:sldId id="7040" r:id="rId56"/>
    <p:sldId id="7024" r:id="rId57"/>
    <p:sldId id="7023" r:id="rId58"/>
    <p:sldId id="3950" r:id="rId59"/>
    <p:sldId id="6861" r:id="rId60"/>
    <p:sldId id="6662" r:id="rId61"/>
    <p:sldId id="6664" r:id="rId62"/>
    <p:sldId id="6735" r:id="rId63"/>
    <p:sldId id="5955" r:id="rId64"/>
    <p:sldId id="6912" r:id="rId65"/>
    <p:sldId id="6809" r:id="rId66"/>
    <p:sldId id="6759" r:id="rId67"/>
    <p:sldId id="6855" r:id="rId68"/>
    <p:sldId id="6737" r:id="rId69"/>
    <p:sldId id="6738" r:id="rId70"/>
    <p:sldId id="5835" r:id="rId71"/>
    <p:sldId id="7059" r:id="rId72"/>
    <p:sldId id="6649" r:id="rId73"/>
    <p:sldId id="6703" r:id="rId74"/>
    <p:sldId id="7066" r:id="rId75"/>
    <p:sldId id="6802" r:id="rId76"/>
    <p:sldId id="6821" r:id="rId77"/>
    <p:sldId id="4996" r:id="rId78"/>
    <p:sldId id="7067" r:id="rId79"/>
    <p:sldId id="7068" r:id="rId80"/>
    <p:sldId id="7069" r:id="rId81"/>
    <p:sldId id="7070" r:id="rId82"/>
    <p:sldId id="7071" r:id="rId83"/>
    <p:sldId id="6650" r:id="rId84"/>
    <p:sldId id="7062" r:id="rId85"/>
    <p:sldId id="4999" r:id="rId86"/>
    <p:sldId id="4893" r:id="rId87"/>
    <p:sldId id="5012" r:id="rId88"/>
    <p:sldId id="6757" r:id="rId89"/>
    <p:sldId id="6652" r:id="rId90"/>
    <p:sldId id="6748" r:id="rId91"/>
    <p:sldId id="7099" r:id="rId92"/>
    <p:sldId id="6714" r:id="rId93"/>
    <p:sldId id="6804" r:id="rId94"/>
    <p:sldId id="7096" r:id="rId95"/>
    <p:sldId id="7101" r:id="rId96"/>
    <p:sldId id="7102" r:id="rId97"/>
    <p:sldId id="6857" r:id="rId98"/>
    <p:sldId id="6746" r:id="rId99"/>
    <p:sldId id="6706" r:id="rId100"/>
    <p:sldId id="7103" r:id="rId101"/>
    <p:sldId id="6937" r:id="rId102"/>
    <p:sldId id="6916" r:id="rId103"/>
    <p:sldId id="6923" r:id="rId104"/>
    <p:sldId id="6909" r:id="rId105"/>
    <p:sldId id="6920" r:id="rId106"/>
    <p:sldId id="6922" r:id="rId107"/>
    <p:sldId id="6975" r:id="rId108"/>
    <p:sldId id="6976" r:id="rId109"/>
    <p:sldId id="6668" r:id="rId110"/>
    <p:sldId id="6796" r:id="rId111"/>
    <p:sldId id="6852" r:id="rId112"/>
    <p:sldId id="6902" r:id="rId113"/>
    <p:sldId id="6904" r:id="rId114"/>
    <p:sldId id="6853" r:id="rId115"/>
    <p:sldId id="6803" r:id="rId116"/>
    <p:sldId id="6669" r:id="rId117"/>
    <p:sldId id="6807" r:id="rId118"/>
    <p:sldId id="6878" r:id="rId119"/>
    <p:sldId id="6709" r:id="rId120"/>
    <p:sldId id="6670" r:id="rId121"/>
    <p:sldId id="6793" r:id="rId122"/>
    <p:sldId id="6787" r:id="rId123"/>
    <p:sldId id="6859" r:id="rId124"/>
    <p:sldId id="6868" r:id="rId125"/>
    <p:sldId id="5838" r:id="rId126"/>
    <p:sldId id="7063" r:id="rId127"/>
    <p:sldId id="6970" r:id="rId128"/>
    <p:sldId id="7041" r:id="rId129"/>
    <p:sldId id="6898" r:id="rId130"/>
    <p:sldId id="7042" r:id="rId131"/>
    <p:sldId id="6939" r:id="rId132"/>
    <p:sldId id="7005" r:id="rId133"/>
    <p:sldId id="6993" r:id="rId134"/>
    <p:sldId id="6971" r:id="rId135"/>
    <p:sldId id="6895" r:id="rId136"/>
    <p:sldId id="6998" r:id="rId137"/>
    <p:sldId id="6948" r:id="rId138"/>
    <p:sldId id="7092" r:id="rId139"/>
    <p:sldId id="7081" r:id="rId140"/>
    <p:sldId id="7083" r:id="rId141"/>
    <p:sldId id="7082" r:id="rId142"/>
    <p:sldId id="7084" r:id="rId143"/>
    <p:sldId id="7085" r:id="rId144"/>
    <p:sldId id="7006" r:id="rId145"/>
    <p:sldId id="6950" r:id="rId146"/>
    <p:sldId id="7086" r:id="rId147"/>
    <p:sldId id="7087" r:id="rId148"/>
    <p:sldId id="7007" r:id="rId149"/>
    <p:sldId id="6951" r:id="rId150"/>
    <p:sldId id="7094" r:id="rId151"/>
    <p:sldId id="7098" r:id="rId152"/>
    <p:sldId id="7008" r:id="rId153"/>
    <p:sldId id="6995" r:id="rId154"/>
    <p:sldId id="6999" r:id="rId155"/>
    <p:sldId id="7093" r:id="rId156"/>
    <p:sldId id="5839" r:id="rId157"/>
    <p:sldId id="7002" r:id="rId158"/>
    <p:sldId id="1850" r:id="rId159"/>
    <p:sldId id="2987" r:id="rId160"/>
  </p:sldIdLst>
  <p:sldSz cx="9906000" cy="6858000" type="A4"/>
  <p:notesSz cx="6735763" cy="9866313"/>
  <p:custDataLst>
    <p:tags r:id="rId162"/>
  </p:custDataLst>
  <p:defaultTex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p:defaultTextStyle>
  <p:extLst>
    <p:ext uri="{521415D9-36F7-43E2-AB2F-B90AF26B5E84}">
      <p14:sectionLst xmlns:p14="http://schemas.microsoft.com/office/powerpoint/2010/main">
        <p14:section name="Intro" id="{853B9725-C483-40A3-BAEC-7BF24DAEA307}">
          <p14:sldIdLst>
            <p14:sldId id="4910"/>
            <p14:sldId id="1655"/>
            <p14:sldId id="5840"/>
          </p14:sldIdLst>
        </p14:section>
        <p14:section name="1_EXECUTIVE SUMMARY" id="{EE84049E-2DAA-4E42-A017-4846968B3071}">
          <p14:sldIdLst>
            <p14:sldId id="5833"/>
            <p14:sldId id="6832"/>
            <p14:sldId id="6833"/>
            <p14:sldId id="6884"/>
            <p14:sldId id="6997"/>
            <p14:sldId id="6834"/>
            <p14:sldId id="6835"/>
            <p14:sldId id="6836"/>
            <p14:sldId id="6960"/>
            <p14:sldId id="7104"/>
            <p14:sldId id="7047"/>
            <p14:sldId id="7009"/>
            <p14:sldId id="7100"/>
          </p14:sldIdLst>
        </p14:section>
        <p14:section name="2_MARKET &amp; COMPETITION" id="{8255C282-704B-45EB-AC85-5BB0EFD41EEE}">
          <p14:sldIdLst/>
        </p14:section>
        <p14:section name="2.1_Market presentation" id="{47B45ACF-C924-46C4-99CC-97E1B919E2A2}">
          <p14:sldIdLst>
            <p14:sldId id="5834"/>
            <p14:sldId id="6820"/>
            <p14:sldId id="6731"/>
            <p14:sldId id="6728"/>
            <p14:sldId id="6914"/>
            <p14:sldId id="4464"/>
            <p14:sldId id="6647"/>
            <p14:sldId id="7051"/>
            <p14:sldId id="6958"/>
            <p14:sldId id="6726"/>
            <p14:sldId id="6818"/>
            <p14:sldId id="7052"/>
          </p14:sldIdLst>
        </p14:section>
        <p14:section name="2.2_Credit risk market" id="{915F8C03-6F85-400A-99FE-B7F09828FC67}">
          <p14:sldIdLst>
            <p14:sldId id="6651"/>
            <p14:sldId id="6727"/>
            <p14:sldId id="5851"/>
            <p14:sldId id="6794"/>
            <p14:sldId id="6827"/>
            <p14:sldId id="6767"/>
            <p14:sldId id="6768"/>
            <p14:sldId id="6773"/>
            <p14:sldId id="4905"/>
            <p14:sldId id="6954"/>
          </p14:sldIdLst>
        </p14:section>
        <p14:section name="2.3_Compliance market" id="{1B979387-6B68-4EAC-8BEC-02E4317F2067}">
          <p14:sldIdLst>
            <p14:sldId id="6661"/>
            <p14:sldId id="6961"/>
            <p14:sldId id="7033"/>
            <p14:sldId id="6978"/>
            <p14:sldId id="7090"/>
            <p14:sldId id="6630"/>
            <p14:sldId id="6934"/>
            <p14:sldId id="4848"/>
            <p14:sldId id="4920"/>
            <p14:sldId id="7091"/>
            <p14:sldId id="6631"/>
            <p14:sldId id="6632"/>
            <p14:sldId id="7040"/>
            <p14:sldId id="7024"/>
            <p14:sldId id="7023"/>
            <p14:sldId id="3950"/>
            <p14:sldId id="6861"/>
          </p14:sldIdLst>
        </p14:section>
        <p14:section name="2.4_B2B marketing market" id="{73C32DE9-CE3D-4008-9CB8-B409DDB5D470}">
          <p14:sldIdLst>
            <p14:sldId id="6662"/>
            <p14:sldId id="6664"/>
            <p14:sldId id="6735"/>
            <p14:sldId id="5955"/>
            <p14:sldId id="6912"/>
            <p14:sldId id="6809"/>
            <p14:sldId id="6759"/>
            <p14:sldId id="6855"/>
          </p14:sldIdLst>
        </p14:section>
        <p14:section name="2.5_Maghreb" id="{0C6D4DB4-0A13-4D09-BFDF-4DAFBB8D4C73}">
          <p14:sldIdLst>
            <p14:sldId id="6737"/>
            <p14:sldId id="6738"/>
          </p14:sldIdLst>
        </p14:section>
        <p14:section name="3_ASSETS &amp; VALUE PROPOSITION" id="{F254B8B5-B2A8-45DF-B72D-001E4C2C3497}">
          <p14:sldIdLst>
            <p14:sldId id="5835"/>
            <p14:sldId id="7059"/>
          </p14:sldIdLst>
        </p14:section>
        <p14:section name="3.1_Aurora's offer &amp; value proposition" id="{6D8B3EE7-22C7-4788-B48B-4CDDB9ED4E67}">
          <p14:sldIdLst>
            <p14:sldId id="6649"/>
          </p14:sldIdLst>
        </p14:section>
        <p14:section name="i. Aurora's offer" id="{371F301B-1683-491B-B6D6-26012F6939E8}">
          <p14:sldIdLst>
            <p14:sldId id="6703"/>
            <p14:sldId id="7066"/>
            <p14:sldId id="6802"/>
            <p14:sldId id="6821"/>
            <p14:sldId id="4996"/>
            <p14:sldId id="7067"/>
            <p14:sldId id="7068"/>
            <p14:sldId id="7069"/>
            <p14:sldId id="7070"/>
            <p14:sldId id="7071"/>
          </p14:sldIdLst>
        </p14:section>
        <p14:section name="ii. Assesment of value proposition" id="{D4DE638D-353F-4E93-9429-8D5FBD53CA1A}">
          <p14:sldIdLst>
            <p14:sldId id="6650"/>
            <p14:sldId id="7062"/>
            <p14:sldId id="4999"/>
            <p14:sldId id="4893"/>
            <p14:sldId id="5012"/>
            <p14:sldId id="6757"/>
          </p14:sldIdLst>
        </p14:section>
        <p14:section name="3.2_Client base" id="{EE1F2839-BA2F-4BB0-99B0-23747E6A374A}">
          <p14:sldIdLst>
            <p14:sldId id="6652"/>
            <p14:sldId id="6748"/>
            <p14:sldId id="7099"/>
            <p14:sldId id="6714"/>
            <p14:sldId id="6804"/>
            <p14:sldId id="7096"/>
            <p14:sldId id="7101"/>
            <p14:sldId id="7102"/>
            <p14:sldId id="6857"/>
            <p14:sldId id="6746"/>
            <p14:sldId id="6706"/>
            <p14:sldId id="7103"/>
            <p14:sldId id="6937"/>
            <p14:sldId id="6916"/>
            <p14:sldId id="6923"/>
            <p14:sldId id="6909"/>
            <p14:sldId id="6920"/>
            <p14:sldId id="6922"/>
            <p14:sldId id="6975"/>
            <p14:sldId id="6976"/>
          </p14:sldIdLst>
        </p14:section>
        <p14:section name="3.3_Partnership with Dun &amp; Bradstreet" id="{2FF0C2B2-35D6-46A8-AC8A-3B92E8841DCB}">
          <p14:sldIdLst>
            <p14:sldId id="6668"/>
            <p14:sldId id="6796"/>
            <p14:sldId id="6852"/>
            <p14:sldId id="6902"/>
            <p14:sldId id="6904"/>
            <p14:sldId id="6853"/>
            <p14:sldId id="6803"/>
          </p14:sldIdLst>
        </p14:section>
        <p14:section name="3.4_Data collection" id="{924BBEA4-01A0-4752-8E78-685E6454813A}">
          <p14:sldIdLst>
            <p14:sldId id="6669"/>
            <p14:sldId id="6807"/>
            <p14:sldId id="6878"/>
            <p14:sldId id="6709"/>
          </p14:sldIdLst>
        </p14:section>
        <p14:section name="3.5_Operating model" id="{3E1131CB-A356-4BA7-942F-F573FE0B2A52}">
          <p14:sldIdLst>
            <p14:sldId id="6670"/>
            <p14:sldId id="6793"/>
            <p14:sldId id="6787"/>
            <p14:sldId id="6859"/>
            <p14:sldId id="6868"/>
          </p14:sldIdLst>
        </p14:section>
        <p14:section name="4_GROWTH AVENUES &amp; BP ASSESSMENT" id="{27A013A7-27E2-4514-8545-E2523186AE05}">
          <p14:sldIdLst/>
        </p14:section>
        <p14:section name="4.1_Key strategic levers" id="{D1E5A211-A748-44FB-AA13-1DB1B4791E1C}">
          <p14:sldIdLst>
            <p14:sldId id="5838"/>
            <p14:sldId id="7063"/>
            <p14:sldId id="6970"/>
            <p14:sldId id="7041"/>
            <p14:sldId id="6898"/>
            <p14:sldId id="7042"/>
            <p14:sldId id="6939"/>
            <p14:sldId id="7005"/>
          </p14:sldIdLst>
        </p14:section>
        <p14:section name="4.2_BP assessment" id="{A4B53F89-31D5-4B5F-BF87-CC776B77CA64}">
          <p14:sldIdLst>
            <p14:sldId id="6993"/>
            <p14:sldId id="6971"/>
            <p14:sldId id="6895"/>
            <p14:sldId id="6998"/>
            <p14:sldId id="6948"/>
            <p14:sldId id="7092"/>
            <p14:sldId id="7081"/>
            <p14:sldId id="7083"/>
            <p14:sldId id="7082"/>
            <p14:sldId id="7084"/>
            <p14:sldId id="7085"/>
            <p14:sldId id="7006"/>
            <p14:sldId id="6950"/>
            <p14:sldId id="7086"/>
            <p14:sldId id="7087"/>
            <p14:sldId id="7007"/>
            <p14:sldId id="6951"/>
            <p14:sldId id="7094"/>
            <p14:sldId id="7098"/>
            <p14:sldId id="7008"/>
            <p14:sldId id="6995"/>
            <p14:sldId id="6999"/>
            <p14:sldId id="7093"/>
          </p14:sldIdLst>
        </p14:section>
        <p14:section name="5_APPENDIX" id="{689B6793-648B-4706-86C2-62E2F2EA9CCA}">
          <p14:sldIdLst>
            <p14:sldId id="5839"/>
            <p14:sldId id="7002"/>
            <p14:sldId id="1850"/>
            <p14:sldId id="298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go MANTEL" initials="UM" lastIdx="1" clrIdx="0">
    <p:extLst>
      <p:ext uri="{19B8F6BF-5375-455C-9EA6-DF929625EA0E}">
        <p15:presenceInfo xmlns:p15="http://schemas.microsoft.com/office/powerpoint/2012/main" userId="S::ugo.mantel@eleven-strategy.com::2d5b7065-31bb-4181-a7f8-a73bf0c3021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AF6ED"/>
    <a:srgbClr val="00A3E2"/>
    <a:srgbClr val="ADD9FD"/>
    <a:srgbClr val="8FCD9F"/>
    <a:srgbClr val="55CFFF"/>
    <a:srgbClr val="EEBA86"/>
    <a:srgbClr val="F9E8D7"/>
    <a:srgbClr val="69D878"/>
    <a:srgbClr val="289B38"/>
    <a:srgbClr val="3678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1B83507-AB3E-4FC0-ABF2-C6AE29143B33}" v="540" dt="2021-08-27T14:38:15.879"/>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1252" y="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63" Type="http://schemas.openxmlformats.org/officeDocument/2006/relationships/slide" Target="slides/slide58.xml"/><Relationship Id="rId84" Type="http://schemas.openxmlformats.org/officeDocument/2006/relationships/slide" Target="slides/slide79.xml"/><Relationship Id="rId138" Type="http://schemas.openxmlformats.org/officeDocument/2006/relationships/slide" Target="slides/slide133.xml"/><Relationship Id="rId159" Type="http://schemas.openxmlformats.org/officeDocument/2006/relationships/slide" Target="slides/slide154.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53" Type="http://schemas.openxmlformats.org/officeDocument/2006/relationships/slide" Target="slides/slide48.xml"/><Relationship Id="rId74" Type="http://schemas.openxmlformats.org/officeDocument/2006/relationships/slide" Target="slides/slide69.xml"/><Relationship Id="rId128" Type="http://schemas.openxmlformats.org/officeDocument/2006/relationships/slide" Target="slides/slide123.xml"/><Relationship Id="rId149" Type="http://schemas.openxmlformats.org/officeDocument/2006/relationships/slide" Target="slides/slide144.xml"/><Relationship Id="rId5" Type="http://schemas.openxmlformats.org/officeDocument/2006/relationships/slideMaster" Target="slideMasters/slideMaster1.xml"/><Relationship Id="rId95" Type="http://schemas.openxmlformats.org/officeDocument/2006/relationships/slide" Target="slides/slide90.xml"/><Relationship Id="rId160" Type="http://schemas.openxmlformats.org/officeDocument/2006/relationships/slide" Target="slides/slide155.xml"/><Relationship Id="rId22" Type="http://schemas.openxmlformats.org/officeDocument/2006/relationships/slide" Target="slides/slide17.xml"/><Relationship Id="rId43" Type="http://schemas.openxmlformats.org/officeDocument/2006/relationships/slide" Target="slides/slide38.xml"/><Relationship Id="rId64" Type="http://schemas.openxmlformats.org/officeDocument/2006/relationships/slide" Target="slides/slide59.xml"/><Relationship Id="rId118" Type="http://schemas.openxmlformats.org/officeDocument/2006/relationships/slide" Target="slides/slide113.xml"/><Relationship Id="rId139" Type="http://schemas.openxmlformats.org/officeDocument/2006/relationships/slide" Target="slides/slide134.xml"/><Relationship Id="rId85" Type="http://schemas.openxmlformats.org/officeDocument/2006/relationships/slide" Target="slides/slide80.xml"/><Relationship Id="rId150" Type="http://schemas.openxmlformats.org/officeDocument/2006/relationships/slide" Target="slides/slide145.xml"/><Relationship Id="rId12" Type="http://schemas.openxmlformats.org/officeDocument/2006/relationships/slide" Target="slides/slide7.xml"/><Relationship Id="rId33" Type="http://schemas.openxmlformats.org/officeDocument/2006/relationships/slide" Target="slides/slide28.xml"/><Relationship Id="rId108" Type="http://schemas.openxmlformats.org/officeDocument/2006/relationships/slide" Target="slides/slide103.xml"/><Relationship Id="rId129" Type="http://schemas.openxmlformats.org/officeDocument/2006/relationships/slide" Target="slides/slide124.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40" Type="http://schemas.openxmlformats.org/officeDocument/2006/relationships/slide" Target="slides/slide135.xml"/><Relationship Id="rId145" Type="http://schemas.openxmlformats.org/officeDocument/2006/relationships/slide" Target="slides/slide140.xml"/><Relationship Id="rId161" Type="http://schemas.openxmlformats.org/officeDocument/2006/relationships/notesMaster" Target="notesMasters/notesMaster1.xml"/><Relationship Id="rId16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slide" Target="slides/slide114.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0" Type="http://schemas.openxmlformats.org/officeDocument/2006/relationships/slide" Target="slides/slide125.xml"/><Relationship Id="rId135" Type="http://schemas.openxmlformats.org/officeDocument/2006/relationships/slide" Target="slides/slide130.xml"/><Relationship Id="rId151" Type="http://schemas.openxmlformats.org/officeDocument/2006/relationships/slide" Target="slides/slide146.xml"/><Relationship Id="rId156" Type="http://schemas.openxmlformats.org/officeDocument/2006/relationships/slide" Target="slides/slide151.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141" Type="http://schemas.openxmlformats.org/officeDocument/2006/relationships/slide" Target="slides/slide136.xml"/><Relationship Id="rId146" Type="http://schemas.openxmlformats.org/officeDocument/2006/relationships/slide" Target="slides/slide141.xml"/><Relationship Id="rId167"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162" Type="http://schemas.openxmlformats.org/officeDocument/2006/relationships/tags" Target="tags/tag1.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slide" Target="slides/slide131.xml"/><Relationship Id="rId157" Type="http://schemas.openxmlformats.org/officeDocument/2006/relationships/slide" Target="slides/slide152.xml"/><Relationship Id="rId61" Type="http://schemas.openxmlformats.org/officeDocument/2006/relationships/slide" Target="slides/slide56.xml"/><Relationship Id="rId82" Type="http://schemas.openxmlformats.org/officeDocument/2006/relationships/slide" Target="slides/slide77.xml"/><Relationship Id="rId152" Type="http://schemas.openxmlformats.org/officeDocument/2006/relationships/slide" Target="slides/slide14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slide" Target="slides/slide142.xml"/><Relationship Id="rId168" Type="http://schemas.microsoft.com/office/2016/11/relationships/changesInfo" Target="changesInfos/changesInfo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slide" Target="slides/slide137.xml"/><Relationship Id="rId163" Type="http://schemas.openxmlformats.org/officeDocument/2006/relationships/commentAuthors" Target="commentAuthors.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137" Type="http://schemas.openxmlformats.org/officeDocument/2006/relationships/slide" Target="slides/slide132.xml"/><Relationship Id="rId158" Type="http://schemas.openxmlformats.org/officeDocument/2006/relationships/slide" Target="slides/slide153.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slide" Target="slides/slide127.xml"/><Relationship Id="rId153" Type="http://schemas.openxmlformats.org/officeDocument/2006/relationships/slide" Target="slides/slide148.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43" Type="http://schemas.openxmlformats.org/officeDocument/2006/relationships/slide" Target="slides/slide138.xml"/><Relationship Id="rId148" Type="http://schemas.openxmlformats.org/officeDocument/2006/relationships/slide" Target="slides/slide143.xml"/><Relationship Id="rId164" Type="http://schemas.openxmlformats.org/officeDocument/2006/relationships/presProps" Target="presProps.xml"/><Relationship Id="rId169"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4.xml"/><Relationship Id="rId26" Type="http://schemas.openxmlformats.org/officeDocument/2006/relationships/slide" Target="slides/slide21.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54" Type="http://schemas.openxmlformats.org/officeDocument/2006/relationships/slide" Target="slides/slide149.xml"/><Relationship Id="rId16" Type="http://schemas.openxmlformats.org/officeDocument/2006/relationships/slide" Target="slides/slide11.xml"/><Relationship Id="rId37" Type="http://schemas.openxmlformats.org/officeDocument/2006/relationships/slide" Target="slides/slide32.xml"/><Relationship Id="rId58" Type="http://schemas.openxmlformats.org/officeDocument/2006/relationships/slide" Target="slides/slide53.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44" Type="http://schemas.openxmlformats.org/officeDocument/2006/relationships/slide" Target="slides/slide139.xml"/><Relationship Id="rId90" Type="http://schemas.openxmlformats.org/officeDocument/2006/relationships/slide" Target="slides/slide85.xml"/><Relationship Id="rId165" Type="http://schemas.openxmlformats.org/officeDocument/2006/relationships/viewProps" Target="viewProps.xml"/><Relationship Id="rId27" Type="http://schemas.openxmlformats.org/officeDocument/2006/relationships/slide" Target="slides/slide22.xml"/><Relationship Id="rId48" Type="http://schemas.openxmlformats.org/officeDocument/2006/relationships/slide" Target="slides/slide43.xml"/><Relationship Id="rId69" Type="http://schemas.openxmlformats.org/officeDocument/2006/relationships/slide" Target="slides/slide64.xml"/><Relationship Id="rId113" Type="http://schemas.openxmlformats.org/officeDocument/2006/relationships/slide" Target="slides/slide108.xml"/><Relationship Id="rId134" Type="http://schemas.openxmlformats.org/officeDocument/2006/relationships/slide" Target="slides/slide129.xml"/><Relationship Id="rId80" Type="http://schemas.openxmlformats.org/officeDocument/2006/relationships/slide" Target="slides/slide75.xml"/><Relationship Id="rId155" Type="http://schemas.openxmlformats.org/officeDocument/2006/relationships/slide" Target="slides/slide150.xml"/><Relationship Id="rId17" Type="http://schemas.openxmlformats.org/officeDocument/2006/relationships/slide" Target="slides/slide12.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24" Type="http://schemas.openxmlformats.org/officeDocument/2006/relationships/slide" Target="slides/slide11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Ugo MANTEL" userId="2d5b7065-31bb-4181-a7f8-a73bf0c30211" providerId="ADAL" clId="{0A7128C5-E398-4BD1-A997-C312647C897C}"/>
    <pc:docChg chg="custSel modSld">
      <pc:chgData name="Ugo MANTEL" userId="2d5b7065-31bb-4181-a7f8-a73bf0c30211" providerId="ADAL" clId="{0A7128C5-E398-4BD1-A997-C312647C897C}" dt="2020-10-30T13:53:14.684" v="22"/>
      <pc:docMkLst>
        <pc:docMk/>
      </pc:docMkLst>
      <pc:sldChg chg="modSp mod">
        <pc:chgData name="Ugo MANTEL" userId="2d5b7065-31bb-4181-a7f8-a73bf0c30211" providerId="ADAL" clId="{0A7128C5-E398-4BD1-A997-C312647C897C}" dt="2020-10-30T13:53:14.684" v="22"/>
        <pc:sldMkLst>
          <pc:docMk/>
          <pc:sldMk cId="683207262" sldId="6768"/>
        </pc:sldMkLst>
        <pc:spChg chg="mod">
          <ac:chgData name="Ugo MANTEL" userId="2d5b7065-31bb-4181-a7f8-a73bf0c30211" providerId="ADAL" clId="{0A7128C5-E398-4BD1-A997-C312647C897C}" dt="2020-10-30T13:53:14.670" v="20" actId="6549"/>
          <ac:spMkLst>
            <pc:docMk/>
            <pc:sldMk cId="683207262" sldId="6768"/>
            <ac:spMk id="13" creationId="{FCCB61A9-18E3-4D56-9AF8-2A82AF56EF7F}"/>
          </ac:spMkLst>
        </pc:spChg>
        <pc:graphicFrameChg chg="mod">
          <ac:chgData name="Ugo MANTEL" userId="2d5b7065-31bb-4181-a7f8-a73bf0c30211" providerId="ADAL" clId="{0A7128C5-E398-4BD1-A997-C312647C897C}" dt="2020-10-30T13:53:14.684" v="22"/>
          <ac:graphicFrameMkLst>
            <pc:docMk/>
            <pc:sldMk cId="683207262" sldId="6768"/>
            <ac:graphicFrameMk id="6" creationId="{90944F39-7C9D-46A4-9460-7725FFCBEE94}"/>
          </ac:graphicFrameMkLst>
        </pc:graphicFrameChg>
      </pc:sldChg>
    </pc:docChg>
  </pc:docChgLst>
  <pc:docChgLst>
    <pc:chgData name="Ugo MANTEL" userId="2d5b7065-31bb-4181-a7f8-a73bf0c30211" providerId="ADAL" clId="{F05BB0D5-3454-45DC-8378-DA45B79D9A06}"/>
    <pc:docChg chg="undo redo custSel addSld delSld modSld sldOrd modSection">
      <pc:chgData name="Ugo MANTEL" userId="2d5b7065-31bb-4181-a7f8-a73bf0c30211" providerId="ADAL" clId="{F05BB0D5-3454-45DC-8378-DA45B79D9A06}" dt="2020-10-07T14:27:18.025" v="10701" actId="207"/>
      <pc:docMkLst>
        <pc:docMk/>
      </pc:docMkLst>
      <pc:sldChg chg="modSp mod">
        <pc:chgData name="Ugo MANTEL" userId="2d5b7065-31bb-4181-a7f8-a73bf0c30211" providerId="ADAL" clId="{F05BB0D5-3454-45DC-8378-DA45B79D9A06}" dt="2020-10-02T13:04:32.052" v="959" actId="790"/>
        <pc:sldMkLst>
          <pc:docMk/>
          <pc:sldMk cId="942747949" sldId="1655"/>
        </pc:sldMkLst>
        <pc:spChg chg="mod">
          <ac:chgData name="Ugo MANTEL" userId="2d5b7065-31bb-4181-a7f8-a73bf0c30211" providerId="ADAL" clId="{F05BB0D5-3454-45DC-8378-DA45B79D9A06}" dt="2020-10-02T13:04:32.052" v="959" actId="790"/>
          <ac:spMkLst>
            <pc:docMk/>
            <pc:sldMk cId="942747949" sldId="1655"/>
            <ac:spMk id="10" creationId="{6E5DA166-B3B1-4EFB-8A60-B5F05F64A940}"/>
          </ac:spMkLst>
        </pc:spChg>
      </pc:sldChg>
      <pc:sldChg chg="modSp mod">
        <pc:chgData name="Ugo MANTEL" userId="2d5b7065-31bb-4181-a7f8-a73bf0c30211" providerId="ADAL" clId="{F05BB0D5-3454-45DC-8378-DA45B79D9A06}" dt="2020-10-02T13:04:38.534" v="6138" actId="790"/>
        <pc:sldMkLst>
          <pc:docMk/>
          <pc:sldMk cId="3808231367" sldId="1850"/>
        </pc:sldMkLst>
        <pc:spChg chg="mod">
          <ac:chgData name="Ugo MANTEL" userId="2d5b7065-31bb-4181-a7f8-a73bf0c30211" providerId="ADAL" clId="{F05BB0D5-3454-45DC-8378-DA45B79D9A06}" dt="2020-10-02T13:04:38.474" v="6125" actId="790"/>
          <ac:spMkLst>
            <pc:docMk/>
            <pc:sldMk cId="3808231367" sldId="1850"/>
            <ac:spMk id="3" creationId="{A49947C0-79EA-4457-B403-2388F3ECF06B}"/>
          </ac:spMkLst>
        </pc:spChg>
        <pc:spChg chg="mod">
          <ac:chgData name="Ugo MANTEL" userId="2d5b7065-31bb-4181-a7f8-a73bf0c30211" providerId="ADAL" clId="{F05BB0D5-3454-45DC-8378-DA45B79D9A06}" dt="2020-10-02T13:04:38.457" v="6120" actId="790"/>
          <ac:spMkLst>
            <pc:docMk/>
            <pc:sldMk cId="3808231367" sldId="1850"/>
            <ac:spMk id="5" creationId="{BE942C53-B867-41C1-B7F0-7E4946DC61B2}"/>
          </ac:spMkLst>
        </pc:spChg>
        <pc:spChg chg="mod">
          <ac:chgData name="Ugo MANTEL" userId="2d5b7065-31bb-4181-a7f8-a73bf0c30211" providerId="ADAL" clId="{F05BB0D5-3454-45DC-8378-DA45B79D9A06}" dt="2020-10-02T13:04:38.461" v="6121" actId="790"/>
          <ac:spMkLst>
            <pc:docMk/>
            <pc:sldMk cId="3808231367" sldId="1850"/>
            <ac:spMk id="17" creationId="{79542B58-C0DE-407D-A96B-E1BDB505A35B}"/>
          </ac:spMkLst>
        </pc:spChg>
        <pc:spChg chg="mod">
          <ac:chgData name="Ugo MANTEL" userId="2d5b7065-31bb-4181-a7f8-a73bf0c30211" providerId="ADAL" clId="{F05BB0D5-3454-45DC-8378-DA45B79D9A06}" dt="2020-10-02T13:04:38.466" v="6123" actId="790"/>
          <ac:spMkLst>
            <pc:docMk/>
            <pc:sldMk cId="3808231367" sldId="1850"/>
            <ac:spMk id="30" creationId="{B9005132-E02A-4690-A859-ADCFCCD210FC}"/>
          </ac:spMkLst>
        </pc:spChg>
        <pc:spChg chg="mod">
          <ac:chgData name="Ugo MANTEL" userId="2d5b7065-31bb-4181-a7f8-a73bf0c30211" providerId="ADAL" clId="{F05BB0D5-3454-45DC-8378-DA45B79D9A06}" dt="2020-10-02T13:04:38.483" v="6126" actId="790"/>
          <ac:spMkLst>
            <pc:docMk/>
            <pc:sldMk cId="3808231367" sldId="1850"/>
            <ac:spMk id="41" creationId="{A1C57B7F-445F-4E16-9D97-2C83BFDDC577}"/>
          </ac:spMkLst>
        </pc:spChg>
        <pc:spChg chg="mod">
          <ac:chgData name="Ugo MANTEL" userId="2d5b7065-31bb-4181-a7f8-a73bf0c30211" providerId="ADAL" clId="{F05BB0D5-3454-45DC-8378-DA45B79D9A06}" dt="2020-10-02T13:04:38.521" v="6131" actId="790"/>
          <ac:spMkLst>
            <pc:docMk/>
            <pc:sldMk cId="3808231367" sldId="1850"/>
            <ac:spMk id="43" creationId="{FFD9C8AA-74A1-4E3D-B25E-7B6F6DDFE9AC}"/>
          </ac:spMkLst>
        </pc:spChg>
        <pc:spChg chg="mod">
          <ac:chgData name="Ugo MANTEL" userId="2d5b7065-31bb-4181-a7f8-a73bf0c30211" providerId="ADAL" clId="{F05BB0D5-3454-45DC-8378-DA45B79D9A06}" dt="2020-10-02T13:04:38.522" v="6132" actId="790"/>
          <ac:spMkLst>
            <pc:docMk/>
            <pc:sldMk cId="3808231367" sldId="1850"/>
            <ac:spMk id="44" creationId="{CC56505C-CEAA-45B5-AF98-0EE86E43670D}"/>
          </ac:spMkLst>
        </pc:spChg>
        <pc:spChg chg="mod">
          <ac:chgData name="Ugo MANTEL" userId="2d5b7065-31bb-4181-a7f8-a73bf0c30211" providerId="ADAL" clId="{F05BB0D5-3454-45DC-8378-DA45B79D9A06}" dt="2020-10-02T13:04:38.493" v="6127" actId="790"/>
          <ac:spMkLst>
            <pc:docMk/>
            <pc:sldMk cId="3808231367" sldId="1850"/>
            <ac:spMk id="46" creationId="{33A4EF29-CBE5-4998-BA9A-365E3BB2690C}"/>
          </ac:spMkLst>
        </pc:spChg>
        <pc:spChg chg="mod">
          <ac:chgData name="Ugo MANTEL" userId="2d5b7065-31bb-4181-a7f8-a73bf0c30211" providerId="ADAL" clId="{F05BB0D5-3454-45DC-8378-DA45B79D9A06}" dt="2020-10-02T13:04:38.500" v="6128" actId="790"/>
          <ac:spMkLst>
            <pc:docMk/>
            <pc:sldMk cId="3808231367" sldId="1850"/>
            <ac:spMk id="47" creationId="{5CA9BDD4-CDB4-48EF-8419-CCFC5DD0A28E}"/>
          </ac:spMkLst>
        </pc:spChg>
        <pc:spChg chg="mod">
          <ac:chgData name="Ugo MANTEL" userId="2d5b7065-31bb-4181-a7f8-a73bf0c30211" providerId="ADAL" clId="{F05BB0D5-3454-45DC-8378-DA45B79D9A06}" dt="2020-10-02T13:04:38.523" v="6133" actId="790"/>
          <ac:spMkLst>
            <pc:docMk/>
            <pc:sldMk cId="3808231367" sldId="1850"/>
            <ac:spMk id="48" creationId="{77D67BC6-F051-459C-B093-C60824A83DD6}"/>
          </ac:spMkLst>
        </pc:spChg>
        <pc:spChg chg="mod">
          <ac:chgData name="Ugo MANTEL" userId="2d5b7065-31bb-4181-a7f8-a73bf0c30211" providerId="ADAL" clId="{F05BB0D5-3454-45DC-8378-DA45B79D9A06}" dt="2020-10-02T13:04:38.468" v="6124" actId="790"/>
          <ac:spMkLst>
            <pc:docMk/>
            <pc:sldMk cId="3808231367" sldId="1850"/>
            <ac:spMk id="50" creationId="{7F2304D4-CE75-469D-8D65-CB800D1DE9A1}"/>
          </ac:spMkLst>
        </pc:spChg>
        <pc:spChg chg="mod">
          <ac:chgData name="Ugo MANTEL" userId="2d5b7065-31bb-4181-a7f8-a73bf0c30211" providerId="ADAL" clId="{F05BB0D5-3454-45DC-8378-DA45B79D9A06}" dt="2020-10-02T13:04:38.507" v="6129" actId="790"/>
          <ac:spMkLst>
            <pc:docMk/>
            <pc:sldMk cId="3808231367" sldId="1850"/>
            <ac:spMk id="55" creationId="{F36697AB-7CD2-45AD-B318-B7A1571D0A99}"/>
          </ac:spMkLst>
        </pc:spChg>
        <pc:spChg chg="mod">
          <ac:chgData name="Ugo MANTEL" userId="2d5b7065-31bb-4181-a7f8-a73bf0c30211" providerId="ADAL" clId="{F05BB0D5-3454-45DC-8378-DA45B79D9A06}" dt="2020-10-02T13:04:38.519" v="6130" actId="790"/>
          <ac:spMkLst>
            <pc:docMk/>
            <pc:sldMk cId="3808231367" sldId="1850"/>
            <ac:spMk id="56" creationId="{9000A707-3E4D-4067-925E-59EAB5500820}"/>
          </ac:spMkLst>
        </pc:spChg>
        <pc:spChg chg="mod">
          <ac:chgData name="Ugo MANTEL" userId="2d5b7065-31bb-4181-a7f8-a73bf0c30211" providerId="ADAL" clId="{F05BB0D5-3454-45DC-8378-DA45B79D9A06}" dt="2020-10-02T13:04:38.526" v="6134" actId="790"/>
          <ac:spMkLst>
            <pc:docMk/>
            <pc:sldMk cId="3808231367" sldId="1850"/>
            <ac:spMk id="61" creationId="{6BD66FAC-1D19-4252-A0E6-5FD42CB55E95}"/>
          </ac:spMkLst>
        </pc:spChg>
        <pc:spChg chg="mod">
          <ac:chgData name="Ugo MANTEL" userId="2d5b7065-31bb-4181-a7f8-a73bf0c30211" providerId="ADAL" clId="{F05BB0D5-3454-45DC-8378-DA45B79D9A06}" dt="2020-10-02T13:04:38.530" v="6136" actId="790"/>
          <ac:spMkLst>
            <pc:docMk/>
            <pc:sldMk cId="3808231367" sldId="1850"/>
            <ac:spMk id="62" creationId="{7A117639-607C-4FC9-841A-BAEF2DF1E2C2}"/>
          </ac:spMkLst>
        </pc:spChg>
        <pc:spChg chg="mod">
          <ac:chgData name="Ugo MANTEL" userId="2d5b7065-31bb-4181-a7f8-a73bf0c30211" providerId="ADAL" clId="{F05BB0D5-3454-45DC-8378-DA45B79D9A06}" dt="2020-10-02T13:04:38.528" v="6135" actId="790"/>
          <ac:spMkLst>
            <pc:docMk/>
            <pc:sldMk cId="3808231367" sldId="1850"/>
            <ac:spMk id="63" creationId="{FE8B780A-72A4-4BA3-BEF8-7D38F7EF42BB}"/>
          </ac:spMkLst>
        </pc:spChg>
        <pc:spChg chg="mod">
          <ac:chgData name="Ugo MANTEL" userId="2d5b7065-31bb-4181-a7f8-a73bf0c30211" providerId="ADAL" clId="{F05BB0D5-3454-45DC-8378-DA45B79D9A06}" dt="2020-10-02T13:04:38.532" v="6137" actId="790"/>
          <ac:spMkLst>
            <pc:docMk/>
            <pc:sldMk cId="3808231367" sldId="1850"/>
            <ac:spMk id="64" creationId="{F31ABA5E-6D88-42B1-BF41-F72DB0298E86}"/>
          </ac:spMkLst>
        </pc:spChg>
        <pc:spChg chg="mod">
          <ac:chgData name="Ugo MANTEL" userId="2d5b7065-31bb-4181-a7f8-a73bf0c30211" providerId="ADAL" clId="{F05BB0D5-3454-45DC-8378-DA45B79D9A06}" dt="2020-10-02T13:04:38.534" v="6138" actId="790"/>
          <ac:spMkLst>
            <pc:docMk/>
            <pc:sldMk cId="3808231367" sldId="1850"/>
            <ac:spMk id="65" creationId="{7849ED26-B4F5-448F-8BC7-3C867E4FFDA6}"/>
          </ac:spMkLst>
        </pc:spChg>
        <pc:spChg chg="mod">
          <ac:chgData name="Ugo MANTEL" userId="2d5b7065-31bb-4181-a7f8-a73bf0c30211" providerId="ADAL" clId="{F05BB0D5-3454-45DC-8378-DA45B79D9A06}" dt="2020-10-02T13:04:38.464" v="6122" actId="790"/>
          <ac:spMkLst>
            <pc:docMk/>
            <pc:sldMk cId="3808231367" sldId="1850"/>
            <ac:spMk id="66" creationId="{11AC2BF9-A8AA-4D9B-A774-9622B7E27451}"/>
          </ac:spMkLst>
        </pc:spChg>
      </pc:sldChg>
      <pc:sldChg chg="modSp mod">
        <pc:chgData name="Ugo MANTEL" userId="2d5b7065-31bb-4181-a7f8-a73bf0c30211" providerId="ADAL" clId="{F05BB0D5-3454-45DC-8378-DA45B79D9A06}" dt="2020-10-02T13:04:38.547" v="6143" actId="790"/>
        <pc:sldMkLst>
          <pc:docMk/>
          <pc:sldMk cId="3496310080" sldId="2987"/>
        </pc:sldMkLst>
        <pc:spChg chg="mod">
          <ac:chgData name="Ugo MANTEL" userId="2d5b7065-31bb-4181-a7f8-a73bf0c30211" providerId="ADAL" clId="{F05BB0D5-3454-45DC-8378-DA45B79D9A06}" dt="2020-10-02T13:04:38.537" v="6139" actId="790"/>
          <ac:spMkLst>
            <pc:docMk/>
            <pc:sldMk cId="3496310080" sldId="2987"/>
            <ac:spMk id="7" creationId="{C65EEC1D-F030-48BA-9A06-275374EFFB9C}"/>
          </ac:spMkLst>
        </pc:spChg>
        <pc:spChg chg="mod">
          <ac:chgData name="Ugo MANTEL" userId="2d5b7065-31bb-4181-a7f8-a73bf0c30211" providerId="ADAL" clId="{F05BB0D5-3454-45DC-8378-DA45B79D9A06}" dt="2020-10-02T13:04:38.547" v="6143" actId="790"/>
          <ac:spMkLst>
            <pc:docMk/>
            <pc:sldMk cId="3496310080" sldId="2987"/>
            <ac:spMk id="12" creationId="{27BC1BB1-8962-4787-9F3F-5709471BEEF0}"/>
          </ac:spMkLst>
        </pc:spChg>
        <pc:spChg chg="mod">
          <ac:chgData name="Ugo MANTEL" userId="2d5b7065-31bb-4181-a7f8-a73bf0c30211" providerId="ADAL" clId="{F05BB0D5-3454-45DC-8378-DA45B79D9A06}" dt="2020-10-02T13:04:38.541" v="6141" actId="790"/>
          <ac:spMkLst>
            <pc:docMk/>
            <pc:sldMk cId="3496310080" sldId="2987"/>
            <ac:spMk id="19" creationId="{F70F631C-DE69-46D9-9204-FF753F430C6E}"/>
          </ac:spMkLst>
        </pc:spChg>
        <pc:spChg chg="mod">
          <ac:chgData name="Ugo MANTEL" userId="2d5b7065-31bb-4181-a7f8-a73bf0c30211" providerId="ADAL" clId="{F05BB0D5-3454-45DC-8378-DA45B79D9A06}" dt="2020-10-02T13:04:38.543" v="6142" actId="790"/>
          <ac:spMkLst>
            <pc:docMk/>
            <pc:sldMk cId="3496310080" sldId="2987"/>
            <ac:spMk id="20" creationId="{91380749-67A5-49C7-B627-88876897897B}"/>
          </ac:spMkLst>
        </pc:spChg>
        <pc:spChg chg="mod">
          <ac:chgData name="Ugo MANTEL" userId="2d5b7065-31bb-4181-a7f8-a73bf0c30211" providerId="ADAL" clId="{F05BB0D5-3454-45DC-8378-DA45B79D9A06}" dt="2020-10-02T13:04:38.539" v="6140" actId="790"/>
          <ac:spMkLst>
            <pc:docMk/>
            <pc:sldMk cId="3496310080" sldId="2987"/>
            <ac:spMk id="151" creationId="{5E2FA5F2-67F0-440B-B945-1EA3B5A0F23F}"/>
          </ac:spMkLst>
        </pc:spChg>
      </pc:sldChg>
      <pc:sldChg chg="modSp mod">
        <pc:chgData name="Ugo MANTEL" userId="2d5b7065-31bb-4181-a7f8-a73bf0c30211" providerId="ADAL" clId="{F05BB0D5-3454-45DC-8378-DA45B79D9A06}" dt="2020-10-02T13:04:34.059" v="2961" actId="790"/>
        <pc:sldMkLst>
          <pc:docMk/>
          <pc:sldMk cId="2842113706" sldId="3950"/>
        </pc:sldMkLst>
        <pc:spChg chg="mod">
          <ac:chgData name="Ugo MANTEL" userId="2d5b7065-31bb-4181-a7f8-a73bf0c30211" providerId="ADAL" clId="{F05BB0D5-3454-45DC-8378-DA45B79D9A06}" dt="2020-10-02T13:04:34.027" v="2941" actId="790"/>
          <ac:spMkLst>
            <pc:docMk/>
            <pc:sldMk cId="2842113706" sldId="3950"/>
            <ac:spMk id="3" creationId="{1201EB5B-31B8-41C6-BA30-CADF4F34182A}"/>
          </ac:spMkLst>
        </pc:spChg>
        <pc:spChg chg="mod">
          <ac:chgData name="Ugo MANTEL" userId="2d5b7065-31bb-4181-a7f8-a73bf0c30211" providerId="ADAL" clId="{F05BB0D5-3454-45DC-8378-DA45B79D9A06}" dt="2020-10-02T13:04:34.025" v="2940" actId="790"/>
          <ac:spMkLst>
            <pc:docMk/>
            <pc:sldMk cId="2842113706" sldId="3950"/>
            <ac:spMk id="4" creationId="{4C5B4747-7853-4F07-8623-5A614B1D9B24}"/>
          </ac:spMkLst>
        </pc:spChg>
        <pc:spChg chg="mod">
          <ac:chgData name="Ugo MANTEL" userId="2d5b7065-31bb-4181-a7f8-a73bf0c30211" providerId="ADAL" clId="{F05BB0D5-3454-45DC-8378-DA45B79D9A06}" dt="2020-10-02T13:04:34.031" v="2942" actId="790"/>
          <ac:spMkLst>
            <pc:docMk/>
            <pc:sldMk cId="2842113706" sldId="3950"/>
            <ac:spMk id="20" creationId="{A7439B76-F64B-4768-819E-4EEEF861528C}"/>
          </ac:spMkLst>
        </pc:spChg>
        <pc:spChg chg="mod">
          <ac:chgData name="Ugo MANTEL" userId="2d5b7065-31bb-4181-a7f8-a73bf0c30211" providerId="ADAL" clId="{F05BB0D5-3454-45DC-8378-DA45B79D9A06}" dt="2020-10-02T13:04:34.032" v="2943" actId="790"/>
          <ac:spMkLst>
            <pc:docMk/>
            <pc:sldMk cId="2842113706" sldId="3950"/>
            <ac:spMk id="21" creationId="{BBE719F3-3EA1-4CB3-AA2D-0B123AFFBFA1}"/>
          </ac:spMkLst>
        </pc:spChg>
        <pc:spChg chg="mod">
          <ac:chgData name="Ugo MANTEL" userId="2d5b7065-31bb-4181-a7f8-a73bf0c30211" providerId="ADAL" clId="{F05BB0D5-3454-45DC-8378-DA45B79D9A06}" dt="2020-10-02T13:04:34.044" v="2951" actId="790"/>
          <ac:spMkLst>
            <pc:docMk/>
            <pc:sldMk cId="2842113706" sldId="3950"/>
            <ac:spMk id="22" creationId="{E48B0AF4-A2AE-4643-B098-FFDD8461EB9F}"/>
          </ac:spMkLst>
        </pc:spChg>
        <pc:spChg chg="mod">
          <ac:chgData name="Ugo MANTEL" userId="2d5b7065-31bb-4181-a7f8-a73bf0c30211" providerId="ADAL" clId="{F05BB0D5-3454-45DC-8378-DA45B79D9A06}" dt="2020-10-02T13:04:34.039" v="2947" actId="790"/>
          <ac:spMkLst>
            <pc:docMk/>
            <pc:sldMk cId="2842113706" sldId="3950"/>
            <ac:spMk id="23" creationId="{FD6E5F5F-CC50-4427-AACD-C8F73B798B6D}"/>
          </ac:spMkLst>
        </pc:spChg>
        <pc:spChg chg="mod">
          <ac:chgData name="Ugo MANTEL" userId="2d5b7065-31bb-4181-a7f8-a73bf0c30211" providerId="ADAL" clId="{F05BB0D5-3454-45DC-8378-DA45B79D9A06}" dt="2020-10-02T13:04:34.035" v="2944" actId="790"/>
          <ac:spMkLst>
            <pc:docMk/>
            <pc:sldMk cId="2842113706" sldId="3950"/>
            <ac:spMk id="24" creationId="{8A244B24-02D0-4359-83A5-4F25CF663597}"/>
          </ac:spMkLst>
        </pc:spChg>
        <pc:spChg chg="mod">
          <ac:chgData name="Ugo MANTEL" userId="2d5b7065-31bb-4181-a7f8-a73bf0c30211" providerId="ADAL" clId="{F05BB0D5-3454-45DC-8378-DA45B79D9A06}" dt="2020-10-02T13:04:34.036" v="2945" actId="790"/>
          <ac:spMkLst>
            <pc:docMk/>
            <pc:sldMk cId="2842113706" sldId="3950"/>
            <ac:spMk id="25" creationId="{B2F9815E-EC27-4DDE-A62F-FAA59DDB6553}"/>
          </ac:spMkLst>
        </pc:spChg>
        <pc:spChg chg="mod">
          <ac:chgData name="Ugo MANTEL" userId="2d5b7065-31bb-4181-a7f8-a73bf0c30211" providerId="ADAL" clId="{F05BB0D5-3454-45DC-8378-DA45B79D9A06}" dt="2020-10-02T13:04:34.038" v="2946" actId="790"/>
          <ac:spMkLst>
            <pc:docMk/>
            <pc:sldMk cId="2842113706" sldId="3950"/>
            <ac:spMk id="37" creationId="{06EC2213-9258-40CE-8C8F-CE521A6C7E90}"/>
          </ac:spMkLst>
        </pc:spChg>
        <pc:spChg chg="mod">
          <ac:chgData name="Ugo MANTEL" userId="2d5b7065-31bb-4181-a7f8-a73bf0c30211" providerId="ADAL" clId="{F05BB0D5-3454-45DC-8378-DA45B79D9A06}" dt="2020-10-02T13:04:34.043" v="2950" actId="790"/>
          <ac:spMkLst>
            <pc:docMk/>
            <pc:sldMk cId="2842113706" sldId="3950"/>
            <ac:spMk id="39" creationId="{1120DF80-31C6-48CA-8C1D-A508EDBCBBEB}"/>
          </ac:spMkLst>
        </pc:spChg>
        <pc:spChg chg="mod">
          <ac:chgData name="Ugo MANTEL" userId="2d5b7065-31bb-4181-a7f8-a73bf0c30211" providerId="ADAL" clId="{F05BB0D5-3454-45DC-8378-DA45B79D9A06}" dt="2020-10-02T13:04:34.040" v="2948" actId="790"/>
          <ac:spMkLst>
            <pc:docMk/>
            <pc:sldMk cId="2842113706" sldId="3950"/>
            <ac:spMk id="48" creationId="{3D750D78-761E-41B1-9532-6A4084C7A284}"/>
          </ac:spMkLst>
        </pc:spChg>
        <pc:spChg chg="mod">
          <ac:chgData name="Ugo MANTEL" userId="2d5b7065-31bb-4181-a7f8-a73bf0c30211" providerId="ADAL" clId="{F05BB0D5-3454-45DC-8378-DA45B79D9A06}" dt="2020-10-02T13:04:34.059" v="2961" actId="790"/>
          <ac:spMkLst>
            <pc:docMk/>
            <pc:sldMk cId="2842113706" sldId="3950"/>
            <ac:spMk id="52" creationId="{A12D3C1F-E245-4AE8-A435-ABD646EAC59C}"/>
          </ac:spMkLst>
        </pc:spChg>
        <pc:spChg chg="mod">
          <ac:chgData name="Ugo MANTEL" userId="2d5b7065-31bb-4181-a7f8-a73bf0c30211" providerId="ADAL" clId="{F05BB0D5-3454-45DC-8378-DA45B79D9A06}" dt="2020-10-02T13:04:34.052" v="2958" actId="790"/>
          <ac:spMkLst>
            <pc:docMk/>
            <pc:sldMk cId="2842113706" sldId="3950"/>
            <ac:spMk id="53" creationId="{02ABCCFE-A8A2-45B7-8AC4-D8545F702576}"/>
          </ac:spMkLst>
        </pc:spChg>
        <pc:spChg chg="mod">
          <ac:chgData name="Ugo MANTEL" userId="2d5b7065-31bb-4181-a7f8-a73bf0c30211" providerId="ADAL" clId="{F05BB0D5-3454-45DC-8378-DA45B79D9A06}" dt="2020-10-02T13:04:34.049" v="2957" actId="790"/>
          <ac:spMkLst>
            <pc:docMk/>
            <pc:sldMk cId="2842113706" sldId="3950"/>
            <ac:spMk id="55" creationId="{6B4FA9BC-4B58-4FBA-BD2D-FC7F3C6114B4}"/>
          </ac:spMkLst>
        </pc:spChg>
        <pc:spChg chg="mod">
          <ac:chgData name="Ugo MANTEL" userId="2d5b7065-31bb-4181-a7f8-a73bf0c30211" providerId="ADAL" clId="{F05BB0D5-3454-45DC-8378-DA45B79D9A06}" dt="2020-10-02T13:04:34.046" v="2953" actId="790"/>
          <ac:spMkLst>
            <pc:docMk/>
            <pc:sldMk cId="2842113706" sldId="3950"/>
            <ac:spMk id="57" creationId="{44900F6B-CCA0-4E08-A085-9940B80B410B}"/>
          </ac:spMkLst>
        </pc:spChg>
        <pc:spChg chg="mod">
          <ac:chgData name="Ugo MANTEL" userId="2d5b7065-31bb-4181-a7f8-a73bf0c30211" providerId="ADAL" clId="{F05BB0D5-3454-45DC-8378-DA45B79D9A06}" dt="2020-10-02T13:04:34.047" v="2954" actId="790"/>
          <ac:spMkLst>
            <pc:docMk/>
            <pc:sldMk cId="2842113706" sldId="3950"/>
            <ac:spMk id="59" creationId="{7FEF13D3-EACC-4636-8C19-1C600828D50C}"/>
          </ac:spMkLst>
        </pc:spChg>
        <pc:spChg chg="mod">
          <ac:chgData name="Ugo MANTEL" userId="2d5b7065-31bb-4181-a7f8-a73bf0c30211" providerId="ADAL" clId="{F05BB0D5-3454-45DC-8378-DA45B79D9A06}" dt="2020-10-02T13:04:34.047" v="2955" actId="790"/>
          <ac:spMkLst>
            <pc:docMk/>
            <pc:sldMk cId="2842113706" sldId="3950"/>
            <ac:spMk id="60" creationId="{56EB2DAE-4CEF-4B70-BC9D-722291666F3E}"/>
          </ac:spMkLst>
        </pc:spChg>
        <pc:spChg chg="mod">
          <ac:chgData name="Ugo MANTEL" userId="2d5b7065-31bb-4181-a7f8-a73bf0c30211" providerId="ADAL" clId="{F05BB0D5-3454-45DC-8378-DA45B79D9A06}" dt="2020-10-02T13:04:34.048" v="2956" actId="790"/>
          <ac:spMkLst>
            <pc:docMk/>
            <pc:sldMk cId="2842113706" sldId="3950"/>
            <ac:spMk id="61" creationId="{CD3B0333-19DE-48CF-A465-29FF4EE257EB}"/>
          </ac:spMkLst>
        </pc:spChg>
        <pc:spChg chg="mod">
          <ac:chgData name="Ugo MANTEL" userId="2d5b7065-31bb-4181-a7f8-a73bf0c30211" providerId="ADAL" clId="{F05BB0D5-3454-45DC-8378-DA45B79D9A06}" dt="2020-10-02T13:04:34.045" v="2952" actId="790"/>
          <ac:spMkLst>
            <pc:docMk/>
            <pc:sldMk cId="2842113706" sldId="3950"/>
            <ac:spMk id="67" creationId="{7F15B4BA-51F8-4750-9D7A-17F3B8DBF82A}"/>
          </ac:spMkLst>
        </pc:spChg>
        <pc:spChg chg="mod">
          <ac:chgData name="Ugo MANTEL" userId="2d5b7065-31bb-4181-a7f8-a73bf0c30211" providerId="ADAL" clId="{F05BB0D5-3454-45DC-8378-DA45B79D9A06}" dt="2020-10-02T13:04:34.052" v="2959" actId="790"/>
          <ac:spMkLst>
            <pc:docMk/>
            <pc:sldMk cId="2842113706" sldId="3950"/>
            <ac:spMk id="70" creationId="{A90237F9-7609-49F5-8DCD-B4415864DF53}"/>
          </ac:spMkLst>
        </pc:spChg>
        <pc:spChg chg="mod">
          <ac:chgData name="Ugo MANTEL" userId="2d5b7065-31bb-4181-a7f8-a73bf0c30211" providerId="ADAL" clId="{F05BB0D5-3454-45DC-8378-DA45B79D9A06}" dt="2020-10-02T13:04:34.042" v="2949" actId="790"/>
          <ac:spMkLst>
            <pc:docMk/>
            <pc:sldMk cId="2842113706" sldId="3950"/>
            <ac:spMk id="71" creationId="{C5FE2007-0B34-4799-A35B-317B6B1C0FF7}"/>
          </ac:spMkLst>
        </pc:spChg>
        <pc:spChg chg="mod">
          <ac:chgData name="Ugo MANTEL" userId="2d5b7065-31bb-4181-a7f8-a73bf0c30211" providerId="ADAL" clId="{F05BB0D5-3454-45DC-8378-DA45B79D9A06}" dt="2020-10-02T13:04:34.058" v="2960" actId="790"/>
          <ac:spMkLst>
            <pc:docMk/>
            <pc:sldMk cId="2842113706" sldId="3950"/>
            <ac:spMk id="72" creationId="{1903763E-9449-4AD6-B709-B9C3447B8FE1}"/>
          </ac:spMkLst>
        </pc:spChg>
      </pc:sldChg>
      <pc:sldChg chg="modSp mod">
        <pc:chgData name="Ugo MANTEL" userId="2d5b7065-31bb-4181-a7f8-a73bf0c30211" providerId="ADAL" clId="{F05BB0D5-3454-45DC-8378-DA45B79D9A06}" dt="2020-10-02T13:04:32.841" v="1733" actId="790"/>
        <pc:sldMkLst>
          <pc:docMk/>
          <pc:sldMk cId="814138608" sldId="4464"/>
        </pc:sldMkLst>
        <pc:spChg chg="mod">
          <ac:chgData name="Ugo MANTEL" userId="2d5b7065-31bb-4181-a7f8-a73bf0c30211" providerId="ADAL" clId="{F05BB0D5-3454-45DC-8378-DA45B79D9A06}" dt="2020-10-02T13:04:32.832" v="1725" actId="790"/>
          <ac:spMkLst>
            <pc:docMk/>
            <pc:sldMk cId="814138608" sldId="4464"/>
            <ac:spMk id="2" creationId="{3507F17F-E8E9-4D3E-BE30-9C6B3BA6C864}"/>
          </ac:spMkLst>
        </pc:spChg>
        <pc:spChg chg="mod">
          <ac:chgData name="Ugo MANTEL" userId="2d5b7065-31bb-4181-a7f8-a73bf0c30211" providerId="ADAL" clId="{F05BB0D5-3454-45DC-8378-DA45B79D9A06}" dt="2020-10-02T13:04:32.812" v="1711" actId="790"/>
          <ac:spMkLst>
            <pc:docMk/>
            <pc:sldMk cId="814138608" sldId="4464"/>
            <ac:spMk id="3" creationId="{19652242-9AEC-453E-B8E4-0AB708316051}"/>
          </ac:spMkLst>
        </pc:spChg>
        <pc:spChg chg="mod">
          <ac:chgData name="Ugo MANTEL" userId="2d5b7065-31bb-4181-a7f8-a73bf0c30211" providerId="ADAL" clId="{F05BB0D5-3454-45DC-8378-DA45B79D9A06}" dt="2020-10-02T13:04:32.813" v="1712" actId="790"/>
          <ac:spMkLst>
            <pc:docMk/>
            <pc:sldMk cId="814138608" sldId="4464"/>
            <ac:spMk id="4" creationId="{FDEF46DD-451D-46BE-938E-1944B10E8A7C}"/>
          </ac:spMkLst>
        </pc:spChg>
        <pc:spChg chg="mod">
          <ac:chgData name="Ugo MANTEL" userId="2d5b7065-31bb-4181-a7f8-a73bf0c30211" providerId="ADAL" clId="{F05BB0D5-3454-45DC-8378-DA45B79D9A06}" dt="2020-10-02T13:04:32.813" v="1713" actId="790"/>
          <ac:spMkLst>
            <pc:docMk/>
            <pc:sldMk cId="814138608" sldId="4464"/>
            <ac:spMk id="5" creationId="{6B01D57F-669E-4987-A039-7312987B4557}"/>
          </ac:spMkLst>
        </pc:spChg>
        <pc:spChg chg="mod">
          <ac:chgData name="Ugo MANTEL" userId="2d5b7065-31bb-4181-a7f8-a73bf0c30211" providerId="ADAL" clId="{F05BB0D5-3454-45DC-8378-DA45B79D9A06}" dt="2020-10-02T13:04:32.814" v="1714" actId="790"/>
          <ac:spMkLst>
            <pc:docMk/>
            <pc:sldMk cId="814138608" sldId="4464"/>
            <ac:spMk id="9" creationId="{C1D446B8-70EC-4686-B213-9BB7984F917B}"/>
          </ac:spMkLst>
        </pc:spChg>
        <pc:spChg chg="mod">
          <ac:chgData name="Ugo MANTEL" userId="2d5b7065-31bb-4181-a7f8-a73bf0c30211" providerId="ADAL" clId="{F05BB0D5-3454-45DC-8378-DA45B79D9A06}" dt="2020-10-02T13:04:32.834" v="1727" actId="790"/>
          <ac:spMkLst>
            <pc:docMk/>
            <pc:sldMk cId="814138608" sldId="4464"/>
            <ac:spMk id="12" creationId="{907C72A4-E75C-4F2A-BC94-537EBB64BB60}"/>
          </ac:spMkLst>
        </pc:spChg>
        <pc:spChg chg="mod">
          <ac:chgData name="Ugo MANTEL" userId="2d5b7065-31bb-4181-a7f8-a73bf0c30211" providerId="ADAL" clId="{F05BB0D5-3454-45DC-8378-DA45B79D9A06}" dt="2020-10-02T13:04:32.814" v="1715" actId="790"/>
          <ac:spMkLst>
            <pc:docMk/>
            <pc:sldMk cId="814138608" sldId="4464"/>
            <ac:spMk id="15" creationId="{2E8AD9B5-C47B-4F05-A1D0-18DF92BB2F19}"/>
          </ac:spMkLst>
        </pc:spChg>
        <pc:spChg chg="mod">
          <ac:chgData name="Ugo MANTEL" userId="2d5b7065-31bb-4181-a7f8-a73bf0c30211" providerId="ADAL" clId="{F05BB0D5-3454-45DC-8378-DA45B79D9A06}" dt="2020-10-02T13:04:32.815" v="1716" actId="790"/>
          <ac:spMkLst>
            <pc:docMk/>
            <pc:sldMk cId="814138608" sldId="4464"/>
            <ac:spMk id="16" creationId="{6AD38115-6BC6-4622-B976-34915D4250E8}"/>
          </ac:spMkLst>
        </pc:spChg>
        <pc:spChg chg="mod">
          <ac:chgData name="Ugo MANTEL" userId="2d5b7065-31bb-4181-a7f8-a73bf0c30211" providerId="ADAL" clId="{F05BB0D5-3454-45DC-8378-DA45B79D9A06}" dt="2020-10-02T13:04:32.816" v="1717" actId="790"/>
          <ac:spMkLst>
            <pc:docMk/>
            <pc:sldMk cId="814138608" sldId="4464"/>
            <ac:spMk id="17" creationId="{4F648C5E-4454-4D8A-BDAD-DF5FE903EDCB}"/>
          </ac:spMkLst>
        </pc:spChg>
        <pc:spChg chg="mod">
          <ac:chgData name="Ugo MANTEL" userId="2d5b7065-31bb-4181-a7f8-a73bf0c30211" providerId="ADAL" clId="{F05BB0D5-3454-45DC-8378-DA45B79D9A06}" dt="2020-10-02T13:04:32.818" v="1718" actId="790"/>
          <ac:spMkLst>
            <pc:docMk/>
            <pc:sldMk cId="814138608" sldId="4464"/>
            <ac:spMk id="18" creationId="{A05EE251-EF8E-4BF4-AE98-B727A7FB5F8E}"/>
          </ac:spMkLst>
        </pc:spChg>
        <pc:spChg chg="mod">
          <ac:chgData name="Ugo MANTEL" userId="2d5b7065-31bb-4181-a7f8-a73bf0c30211" providerId="ADAL" clId="{F05BB0D5-3454-45DC-8378-DA45B79D9A06}" dt="2020-10-02T13:04:32.820" v="1719" actId="790"/>
          <ac:spMkLst>
            <pc:docMk/>
            <pc:sldMk cId="814138608" sldId="4464"/>
            <ac:spMk id="19" creationId="{43E57853-4BC2-4472-8AE2-52AA9CFEEEFC}"/>
          </ac:spMkLst>
        </pc:spChg>
        <pc:spChg chg="mod">
          <ac:chgData name="Ugo MANTEL" userId="2d5b7065-31bb-4181-a7f8-a73bf0c30211" providerId="ADAL" clId="{F05BB0D5-3454-45DC-8378-DA45B79D9A06}" dt="2020-10-02T13:04:32.822" v="1720" actId="790"/>
          <ac:spMkLst>
            <pc:docMk/>
            <pc:sldMk cId="814138608" sldId="4464"/>
            <ac:spMk id="20" creationId="{6F718DF4-6781-4501-87DA-00A4242A5E6E}"/>
          </ac:spMkLst>
        </pc:spChg>
        <pc:spChg chg="mod">
          <ac:chgData name="Ugo MANTEL" userId="2d5b7065-31bb-4181-a7f8-a73bf0c30211" providerId="ADAL" clId="{F05BB0D5-3454-45DC-8378-DA45B79D9A06}" dt="2020-10-02T13:04:32.823" v="1721" actId="790"/>
          <ac:spMkLst>
            <pc:docMk/>
            <pc:sldMk cId="814138608" sldId="4464"/>
            <ac:spMk id="21" creationId="{A8B850C3-E624-4BD7-94D3-767EE3EEF8D1}"/>
          </ac:spMkLst>
        </pc:spChg>
        <pc:spChg chg="mod">
          <ac:chgData name="Ugo MANTEL" userId="2d5b7065-31bb-4181-a7f8-a73bf0c30211" providerId="ADAL" clId="{F05BB0D5-3454-45DC-8378-DA45B79D9A06}" dt="2020-10-02T13:04:32.825" v="1722" actId="790"/>
          <ac:spMkLst>
            <pc:docMk/>
            <pc:sldMk cId="814138608" sldId="4464"/>
            <ac:spMk id="22" creationId="{AC8C7BAB-1000-41F7-ABBE-0CC9275C7DB9}"/>
          </ac:spMkLst>
        </pc:spChg>
        <pc:spChg chg="mod">
          <ac:chgData name="Ugo MANTEL" userId="2d5b7065-31bb-4181-a7f8-a73bf0c30211" providerId="ADAL" clId="{F05BB0D5-3454-45DC-8378-DA45B79D9A06}" dt="2020-10-02T13:04:32.833" v="1726" actId="790"/>
          <ac:spMkLst>
            <pc:docMk/>
            <pc:sldMk cId="814138608" sldId="4464"/>
            <ac:spMk id="24" creationId="{8306873D-C28C-43DB-8822-B5C0F5BA6103}"/>
          </ac:spMkLst>
        </pc:spChg>
        <pc:spChg chg="mod">
          <ac:chgData name="Ugo MANTEL" userId="2d5b7065-31bb-4181-a7f8-a73bf0c30211" providerId="ADAL" clId="{F05BB0D5-3454-45DC-8378-DA45B79D9A06}" dt="2020-10-02T13:04:32.828" v="1723" actId="790"/>
          <ac:spMkLst>
            <pc:docMk/>
            <pc:sldMk cId="814138608" sldId="4464"/>
            <ac:spMk id="30" creationId="{211EC496-F20D-4CD1-B814-A615476F7081}"/>
          </ac:spMkLst>
        </pc:spChg>
        <pc:spChg chg="mod">
          <ac:chgData name="Ugo MANTEL" userId="2d5b7065-31bb-4181-a7f8-a73bf0c30211" providerId="ADAL" clId="{F05BB0D5-3454-45DC-8378-DA45B79D9A06}" dt="2020-10-02T13:04:32.829" v="1724" actId="790"/>
          <ac:spMkLst>
            <pc:docMk/>
            <pc:sldMk cId="814138608" sldId="4464"/>
            <ac:spMk id="32" creationId="{437B9D3E-821F-411F-AECD-1F6585FCFD25}"/>
          </ac:spMkLst>
        </pc:spChg>
        <pc:spChg chg="mod">
          <ac:chgData name="Ugo MANTEL" userId="2d5b7065-31bb-4181-a7f8-a73bf0c30211" providerId="ADAL" clId="{F05BB0D5-3454-45DC-8378-DA45B79D9A06}" dt="2020-10-02T13:04:32.811" v="1710" actId="790"/>
          <ac:spMkLst>
            <pc:docMk/>
            <pc:sldMk cId="814138608" sldId="4464"/>
            <ac:spMk id="42" creationId="{96A037BE-4D2F-4858-82A5-6E84A94BB24A}"/>
          </ac:spMkLst>
        </pc:spChg>
        <pc:spChg chg="mod">
          <ac:chgData name="Ugo MANTEL" userId="2d5b7065-31bb-4181-a7f8-a73bf0c30211" providerId="ADAL" clId="{F05BB0D5-3454-45DC-8378-DA45B79D9A06}" dt="2020-10-02T13:04:32.810" v="1709" actId="790"/>
          <ac:spMkLst>
            <pc:docMk/>
            <pc:sldMk cId="814138608" sldId="4464"/>
            <ac:spMk id="43" creationId="{5404907B-9748-4A0C-A53C-3F7E9EFBA2E8}"/>
          </ac:spMkLst>
        </pc:spChg>
        <pc:spChg chg="mod">
          <ac:chgData name="Ugo MANTEL" userId="2d5b7065-31bb-4181-a7f8-a73bf0c30211" providerId="ADAL" clId="{F05BB0D5-3454-45DC-8378-DA45B79D9A06}" dt="2020-10-02T13:04:32.835" v="1728" actId="790"/>
          <ac:spMkLst>
            <pc:docMk/>
            <pc:sldMk cId="814138608" sldId="4464"/>
            <ac:spMk id="46" creationId="{B8ADC350-2659-48EE-8F25-6AF3A8EF567D}"/>
          </ac:spMkLst>
        </pc:spChg>
        <pc:spChg chg="mod">
          <ac:chgData name="Ugo MANTEL" userId="2d5b7065-31bb-4181-a7f8-a73bf0c30211" providerId="ADAL" clId="{F05BB0D5-3454-45DC-8378-DA45B79D9A06}" dt="2020-10-02T13:04:32.841" v="1733" actId="790"/>
          <ac:spMkLst>
            <pc:docMk/>
            <pc:sldMk cId="814138608" sldId="4464"/>
            <ac:spMk id="49" creationId="{6821E735-D57C-4F89-9D1E-7183C71CC832}"/>
          </ac:spMkLst>
        </pc:spChg>
        <pc:spChg chg="mod">
          <ac:chgData name="Ugo MANTEL" userId="2d5b7065-31bb-4181-a7f8-a73bf0c30211" providerId="ADAL" clId="{F05BB0D5-3454-45DC-8378-DA45B79D9A06}" dt="2020-10-02T13:04:32.836" v="1729" actId="790"/>
          <ac:spMkLst>
            <pc:docMk/>
            <pc:sldMk cId="814138608" sldId="4464"/>
            <ac:spMk id="50" creationId="{A4F88D4A-CCAA-4E80-A02F-E5F77C8050EC}"/>
          </ac:spMkLst>
        </pc:spChg>
        <pc:spChg chg="mod">
          <ac:chgData name="Ugo MANTEL" userId="2d5b7065-31bb-4181-a7f8-a73bf0c30211" providerId="ADAL" clId="{F05BB0D5-3454-45DC-8378-DA45B79D9A06}" dt="2020-10-02T13:04:32.837" v="1730" actId="790"/>
          <ac:spMkLst>
            <pc:docMk/>
            <pc:sldMk cId="814138608" sldId="4464"/>
            <ac:spMk id="52" creationId="{C885EFCE-00A7-49CE-85CC-4493A30AF199}"/>
          </ac:spMkLst>
        </pc:spChg>
        <pc:spChg chg="mod">
          <ac:chgData name="Ugo MANTEL" userId="2d5b7065-31bb-4181-a7f8-a73bf0c30211" providerId="ADAL" clId="{F05BB0D5-3454-45DC-8378-DA45B79D9A06}" dt="2020-10-02T13:04:32.838" v="1731" actId="790"/>
          <ac:spMkLst>
            <pc:docMk/>
            <pc:sldMk cId="814138608" sldId="4464"/>
            <ac:spMk id="54" creationId="{FB1707B3-95BB-43E6-948E-9710F0F59ACE}"/>
          </ac:spMkLst>
        </pc:spChg>
        <pc:spChg chg="mod">
          <ac:chgData name="Ugo MANTEL" userId="2d5b7065-31bb-4181-a7f8-a73bf0c30211" providerId="ADAL" clId="{F05BB0D5-3454-45DC-8378-DA45B79D9A06}" dt="2020-10-02T13:04:32.839" v="1732" actId="790"/>
          <ac:spMkLst>
            <pc:docMk/>
            <pc:sldMk cId="814138608" sldId="4464"/>
            <ac:spMk id="55" creationId="{C1C5419F-8D68-4796-97BE-804EE78CC5BA}"/>
          </ac:spMkLst>
        </pc:spChg>
      </pc:sldChg>
      <pc:sldChg chg="modSp mod">
        <pc:chgData name="Ugo MANTEL" userId="2d5b7065-31bb-4181-a7f8-a73bf0c30211" providerId="ADAL" clId="{F05BB0D5-3454-45DC-8378-DA45B79D9A06}" dt="2020-10-02T13:04:33.755" v="2664" actId="790"/>
        <pc:sldMkLst>
          <pc:docMk/>
          <pc:sldMk cId="3253080124" sldId="4848"/>
        </pc:sldMkLst>
        <pc:spChg chg="mod">
          <ac:chgData name="Ugo MANTEL" userId="2d5b7065-31bb-4181-a7f8-a73bf0c30211" providerId="ADAL" clId="{F05BB0D5-3454-45DC-8378-DA45B79D9A06}" dt="2020-10-02T13:04:33.720" v="2627" actId="790"/>
          <ac:spMkLst>
            <pc:docMk/>
            <pc:sldMk cId="3253080124" sldId="4848"/>
            <ac:spMk id="3" creationId="{DAAD79E8-5156-4AC7-A78F-AB404520F6CB}"/>
          </ac:spMkLst>
        </pc:spChg>
        <pc:spChg chg="mod">
          <ac:chgData name="Ugo MANTEL" userId="2d5b7065-31bb-4181-a7f8-a73bf0c30211" providerId="ADAL" clId="{F05BB0D5-3454-45DC-8378-DA45B79D9A06}" dt="2020-10-02T13:04:33.715" v="2624" actId="790"/>
          <ac:spMkLst>
            <pc:docMk/>
            <pc:sldMk cId="3253080124" sldId="4848"/>
            <ac:spMk id="4" creationId="{EC875C8D-B3C1-4B15-8639-4C789960BFBD}"/>
          </ac:spMkLst>
        </pc:spChg>
        <pc:spChg chg="mod">
          <ac:chgData name="Ugo MANTEL" userId="2d5b7065-31bb-4181-a7f8-a73bf0c30211" providerId="ADAL" clId="{F05BB0D5-3454-45DC-8378-DA45B79D9A06}" dt="2020-10-02T13:04:33.753" v="2661" actId="790"/>
          <ac:spMkLst>
            <pc:docMk/>
            <pc:sldMk cId="3253080124" sldId="4848"/>
            <ac:spMk id="7" creationId="{7C3BFADE-2D02-4299-A91B-F931F530E2E6}"/>
          </ac:spMkLst>
        </pc:spChg>
        <pc:spChg chg="mod">
          <ac:chgData name="Ugo MANTEL" userId="2d5b7065-31bb-4181-a7f8-a73bf0c30211" providerId="ADAL" clId="{F05BB0D5-3454-45DC-8378-DA45B79D9A06}" dt="2020-10-02T13:04:33.739" v="2652" actId="790"/>
          <ac:spMkLst>
            <pc:docMk/>
            <pc:sldMk cId="3253080124" sldId="4848"/>
            <ac:spMk id="30" creationId="{FD4E7352-15A7-49E8-97BD-7A774DBD2FE3}"/>
          </ac:spMkLst>
        </pc:spChg>
        <pc:spChg chg="mod">
          <ac:chgData name="Ugo MANTEL" userId="2d5b7065-31bb-4181-a7f8-a73bf0c30211" providerId="ADAL" clId="{F05BB0D5-3454-45DC-8378-DA45B79D9A06}" dt="2020-10-02T13:04:33.738" v="2651" actId="790"/>
          <ac:spMkLst>
            <pc:docMk/>
            <pc:sldMk cId="3253080124" sldId="4848"/>
            <ac:spMk id="34" creationId="{636EF01C-84E2-4E3D-A199-941DBC5E4A50}"/>
          </ac:spMkLst>
        </pc:spChg>
        <pc:spChg chg="mod">
          <ac:chgData name="Ugo MANTEL" userId="2d5b7065-31bb-4181-a7f8-a73bf0c30211" providerId="ADAL" clId="{F05BB0D5-3454-45DC-8378-DA45B79D9A06}" dt="2020-10-02T13:04:33.716" v="2625" actId="790"/>
          <ac:spMkLst>
            <pc:docMk/>
            <pc:sldMk cId="3253080124" sldId="4848"/>
            <ac:spMk id="35" creationId="{5514C184-27BF-4091-A840-D938845B7D26}"/>
          </ac:spMkLst>
        </pc:spChg>
        <pc:spChg chg="mod">
          <ac:chgData name="Ugo MANTEL" userId="2d5b7065-31bb-4181-a7f8-a73bf0c30211" providerId="ADAL" clId="{F05BB0D5-3454-45DC-8378-DA45B79D9A06}" dt="2020-10-02T13:04:33.730" v="2641" actId="790"/>
          <ac:spMkLst>
            <pc:docMk/>
            <pc:sldMk cId="3253080124" sldId="4848"/>
            <ac:spMk id="36" creationId="{5F3D0B5F-00B0-4FA9-95AC-B8ADBDF3E7FD}"/>
          </ac:spMkLst>
        </pc:spChg>
        <pc:spChg chg="mod">
          <ac:chgData name="Ugo MANTEL" userId="2d5b7065-31bb-4181-a7f8-a73bf0c30211" providerId="ADAL" clId="{F05BB0D5-3454-45DC-8378-DA45B79D9A06}" dt="2020-10-02T13:04:33.721" v="2629" actId="790"/>
          <ac:spMkLst>
            <pc:docMk/>
            <pc:sldMk cId="3253080124" sldId="4848"/>
            <ac:spMk id="40" creationId="{74B43DBD-BFDA-41C9-A1E4-8926C43F7ABB}"/>
          </ac:spMkLst>
        </pc:spChg>
        <pc:spChg chg="mod">
          <ac:chgData name="Ugo MANTEL" userId="2d5b7065-31bb-4181-a7f8-a73bf0c30211" providerId="ADAL" clId="{F05BB0D5-3454-45DC-8378-DA45B79D9A06}" dt="2020-10-02T13:04:33.722" v="2630" actId="790"/>
          <ac:spMkLst>
            <pc:docMk/>
            <pc:sldMk cId="3253080124" sldId="4848"/>
            <ac:spMk id="42" creationId="{0C3B24B9-2A8C-44FF-962E-77E310953AB2}"/>
          </ac:spMkLst>
        </pc:spChg>
        <pc:spChg chg="mod">
          <ac:chgData name="Ugo MANTEL" userId="2d5b7065-31bb-4181-a7f8-a73bf0c30211" providerId="ADAL" clId="{F05BB0D5-3454-45DC-8378-DA45B79D9A06}" dt="2020-10-02T13:04:33.731" v="2642" actId="790"/>
          <ac:spMkLst>
            <pc:docMk/>
            <pc:sldMk cId="3253080124" sldId="4848"/>
            <ac:spMk id="58" creationId="{70C5804B-338C-4F93-8665-8A023F41A016}"/>
          </ac:spMkLst>
        </pc:spChg>
        <pc:spChg chg="mod">
          <ac:chgData name="Ugo MANTEL" userId="2d5b7065-31bb-4181-a7f8-a73bf0c30211" providerId="ADAL" clId="{F05BB0D5-3454-45DC-8378-DA45B79D9A06}" dt="2020-10-02T13:04:33.731" v="2643" actId="790"/>
          <ac:spMkLst>
            <pc:docMk/>
            <pc:sldMk cId="3253080124" sldId="4848"/>
            <ac:spMk id="59" creationId="{1FD83A48-8A44-4B23-9392-EDD82A6C0CB8}"/>
          </ac:spMkLst>
        </pc:spChg>
        <pc:spChg chg="mod">
          <ac:chgData name="Ugo MANTEL" userId="2d5b7065-31bb-4181-a7f8-a73bf0c30211" providerId="ADAL" clId="{F05BB0D5-3454-45DC-8378-DA45B79D9A06}" dt="2020-10-02T13:04:33.732" v="2644" actId="790"/>
          <ac:spMkLst>
            <pc:docMk/>
            <pc:sldMk cId="3253080124" sldId="4848"/>
            <ac:spMk id="60" creationId="{027DEE61-E6B0-4D60-8C08-916312CC5222}"/>
          </ac:spMkLst>
        </pc:spChg>
        <pc:spChg chg="mod">
          <ac:chgData name="Ugo MANTEL" userId="2d5b7065-31bb-4181-a7f8-a73bf0c30211" providerId="ADAL" clId="{F05BB0D5-3454-45DC-8378-DA45B79D9A06}" dt="2020-10-02T13:04:33.733" v="2645" actId="790"/>
          <ac:spMkLst>
            <pc:docMk/>
            <pc:sldMk cId="3253080124" sldId="4848"/>
            <ac:spMk id="61" creationId="{E07D780C-C859-4C6C-A2A9-D1E06EFA4A04}"/>
          </ac:spMkLst>
        </pc:spChg>
        <pc:spChg chg="mod">
          <ac:chgData name="Ugo MANTEL" userId="2d5b7065-31bb-4181-a7f8-a73bf0c30211" providerId="ADAL" clId="{F05BB0D5-3454-45DC-8378-DA45B79D9A06}" dt="2020-10-02T13:04:33.734" v="2646" actId="790"/>
          <ac:spMkLst>
            <pc:docMk/>
            <pc:sldMk cId="3253080124" sldId="4848"/>
            <ac:spMk id="62" creationId="{A18B9EE2-9934-4292-A7CF-88FB7E9982F4}"/>
          </ac:spMkLst>
        </pc:spChg>
        <pc:spChg chg="mod">
          <ac:chgData name="Ugo MANTEL" userId="2d5b7065-31bb-4181-a7f8-a73bf0c30211" providerId="ADAL" clId="{F05BB0D5-3454-45DC-8378-DA45B79D9A06}" dt="2020-10-02T13:04:33.728" v="2638" actId="790"/>
          <ac:spMkLst>
            <pc:docMk/>
            <pc:sldMk cId="3253080124" sldId="4848"/>
            <ac:spMk id="63" creationId="{69283F0B-7CD1-4EF1-8620-F57D9F78079C}"/>
          </ac:spMkLst>
        </pc:spChg>
        <pc:spChg chg="mod">
          <ac:chgData name="Ugo MANTEL" userId="2d5b7065-31bb-4181-a7f8-a73bf0c30211" providerId="ADAL" clId="{F05BB0D5-3454-45DC-8378-DA45B79D9A06}" dt="2020-10-02T13:04:33.735" v="2647" actId="790"/>
          <ac:spMkLst>
            <pc:docMk/>
            <pc:sldMk cId="3253080124" sldId="4848"/>
            <ac:spMk id="72" creationId="{83E62A6F-CBF9-4DCE-A0EB-53D0B08028DA}"/>
          </ac:spMkLst>
        </pc:spChg>
        <pc:spChg chg="mod">
          <ac:chgData name="Ugo MANTEL" userId="2d5b7065-31bb-4181-a7f8-a73bf0c30211" providerId="ADAL" clId="{F05BB0D5-3454-45DC-8378-DA45B79D9A06}" dt="2020-10-02T13:04:33.729" v="2639" actId="790"/>
          <ac:spMkLst>
            <pc:docMk/>
            <pc:sldMk cId="3253080124" sldId="4848"/>
            <ac:spMk id="73" creationId="{EF4D966A-EF5D-46CC-9464-D92BDE7F0BC6}"/>
          </ac:spMkLst>
        </pc:spChg>
        <pc:spChg chg="mod">
          <ac:chgData name="Ugo MANTEL" userId="2d5b7065-31bb-4181-a7f8-a73bf0c30211" providerId="ADAL" clId="{F05BB0D5-3454-45DC-8378-DA45B79D9A06}" dt="2020-10-02T13:04:33.729" v="2640" actId="790"/>
          <ac:spMkLst>
            <pc:docMk/>
            <pc:sldMk cId="3253080124" sldId="4848"/>
            <ac:spMk id="74" creationId="{1FFC91AA-CD1E-4426-B073-7AC72D748D44}"/>
          </ac:spMkLst>
        </pc:spChg>
        <pc:spChg chg="mod">
          <ac:chgData name="Ugo MANTEL" userId="2d5b7065-31bb-4181-a7f8-a73bf0c30211" providerId="ADAL" clId="{F05BB0D5-3454-45DC-8378-DA45B79D9A06}" dt="2020-10-02T13:04:33.736" v="2648" actId="790"/>
          <ac:spMkLst>
            <pc:docMk/>
            <pc:sldMk cId="3253080124" sldId="4848"/>
            <ac:spMk id="75" creationId="{468E3F19-A461-4681-A1F7-6F057D009CED}"/>
          </ac:spMkLst>
        </pc:spChg>
        <pc:spChg chg="mod">
          <ac:chgData name="Ugo MANTEL" userId="2d5b7065-31bb-4181-a7f8-a73bf0c30211" providerId="ADAL" clId="{F05BB0D5-3454-45DC-8378-DA45B79D9A06}" dt="2020-10-02T13:04:33.737" v="2650" actId="790"/>
          <ac:spMkLst>
            <pc:docMk/>
            <pc:sldMk cId="3253080124" sldId="4848"/>
            <ac:spMk id="76" creationId="{889DCB6E-96E1-445D-951F-A7E8611C5B58}"/>
          </ac:spMkLst>
        </pc:spChg>
        <pc:spChg chg="mod">
          <ac:chgData name="Ugo MANTEL" userId="2d5b7065-31bb-4181-a7f8-a73bf0c30211" providerId="ADAL" clId="{F05BB0D5-3454-45DC-8378-DA45B79D9A06}" dt="2020-10-02T13:04:33.739" v="2653" actId="790"/>
          <ac:spMkLst>
            <pc:docMk/>
            <pc:sldMk cId="3253080124" sldId="4848"/>
            <ac:spMk id="77" creationId="{56F10CA0-3598-4C7C-A228-B8D24AD9BC20}"/>
          </ac:spMkLst>
        </pc:spChg>
        <pc:spChg chg="mod">
          <ac:chgData name="Ugo MANTEL" userId="2d5b7065-31bb-4181-a7f8-a73bf0c30211" providerId="ADAL" clId="{F05BB0D5-3454-45DC-8378-DA45B79D9A06}" dt="2020-10-02T13:04:33.743" v="2656" actId="790"/>
          <ac:spMkLst>
            <pc:docMk/>
            <pc:sldMk cId="3253080124" sldId="4848"/>
            <ac:spMk id="83" creationId="{0FC983B7-FA0C-493D-A32D-6864567F63B4}"/>
          </ac:spMkLst>
        </pc:spChg>
        <pc:spChg chg="mod">
          <ac:chgData name="Ugo MANTEL" userId="2d5b7065-31bb-4181-a7f8-a73bf0c30211" providerId="ADAL" clId="{F05BB0D5-3454-45DC-8378-DA45B79D9A06}" dt="2020-10-02T13:04:33.723" v="2631" actId="790"/>
          <ac:spMkLst>
            <pc:docMk/>
            <pc:sldMk cId="3253080124" sldId="4848"/>
            <ac:spMk id="87" creationId="{61B2A45B-71F6-4194-98EE-52DE41A4FE70}"/>
          </ac:spMkLst>
        </pc:spChg>
        <pc:spChg chg="mod">
          <ac:chgData name="Ugo MANTEL" userId="2d5b7065-31bb-4181-a7f8-a73bf0c30211" providerId="ADAL" clId="{F05BB0D5-3454-45DC-8378-DA45B79D9A06}" dt="2020-10-02T13:04:33.736" v="2649" actId="790"/>
          <ac:spMkLst>
            <pc:docMk/>
            <pc:sldMk cId="3253080124" sldId="4848"/>
            <ac:spMk id="90" creationId="{0E58BB99-0FBB-4B33-8998-A92E2A93C1D8}"/>
          </ac:spMkLst>
        </pc:spChg>
        <pc:spChg chg="mod">
          <ac:chgData name="Ugo MANTEL" userId="2d5b7065-31bb-4181-a7f8-a73bf0c30211" providerId="ADAL" clId="{F05BB0D5-3454-45DC-8378-DA45B79D9A06}" dt="2020-10-02T13:04:33.743" v="2657" actId="790"/>
          <ac:spMkLst>
            <pc:docMk/>
            <pc:sldMk cId="3253080124" sldId="4848"/>
            <ac:spMk id="92" creationId="{F8EADC77-8B25-4E3D-964C-5600F0D487F5}"/>
          </ac:spMkLst>
        </pc:spChg>
        <pc:spChg chg="mod">
          <ac:chgData name="Ugo MANTEL" userId="2d5b7065-31bb-4181-a7f8-a73bf0c30211" providerId="ADAL" clId="{F05BB0D5-3454-45DC-8378-DA45B79D9A06}" dt="2020-10-02T13:04:33.751" v="2660" actId="790"/>
          <ac:spMkLst>
            <pc:docMk/>
            <pc:sldMk cId="3253080124" sldId="4848"/>
            <ac:spMk id="93" creationId="{EC3903E5-556F-4C9F-88DF-E0CC88932EB0}"/>
          </ac:spMkLst>
        </pc:spChg>
        <pc:spChg chg="mod">
          <ac:chgData name="Ugo MANTEL" userId="2d5b7065-31bb-4181-a7f8-a73bf0c30211" providerId="ADAL" clId="{F05BB0D5-3454-45DC-8378-DA45B79D9A06}" dt="2020-10-02T13:04:33.728" v="2637" actId="790"/>
          <ac:spMkLst>
            <pc:docMk/>
            <pc:sldMk cId="3253080124" sldId="4848"/>
            <ac:spMk id="95" creationId="{F73B88B8-9664-4696-94A1-BC66A5F1E417}"/>
          </ac:spMkLst>
        </pc:spChg>
        <pc:spChg chg="mod">
          <ac:chgData name="Ugo MANTEL" userId="2d5b7065-31bb-4181-a7f8-a73bf0c30211" providerId="ADAL" clId="{F05BB0D5-3454-45DC-8378-DA45B79D9A06}" dt="2020-10-02T13:04:33.725" v="2633" actId="790"/>
          <ac:spMkLst>
            <pc:docMk/>
            <pc:sldMk cId="3253080124" sldId="4848"/>
            <ac:spMk id="98" creationId="{B709EE46-379A-4CE2-B172-C40F5A8BE22C}"/>
          </ac:spMkLst>
        </pc:spChg>
        <pc:spChg chg="mod">
          <ac:chgData name="Ugo MANTEL" userId="2d5b7065-31bb-4181-a7f8-a73bf0c30211" providerId="ADAL" clId="{F05BB0D5-3454-45DC-8378-DA45B79D9A06}" dt="2020-10-02T13:04:33.718" v="2626" actId="790"/>
          <ac:spMkLst>
            <pc:docMk/>
            <pc:sldMk cId="3253080124" sldId="4848"/>
            <ac:spMk id="99" creationId="{2BBADB4E-0030-459C-8E6F-D15ED13504AC}"/>
          </ac:spMkLst>
        </pc:spChg>
        <pc:spChg chg="mod">
          <ac:chgData name="Ugo MANTEL" userId="2d5b7065-31bb-4181-a7f8-a73bf0c30211" providerId="ADAL" clId="{F05BB0D5-3454-45DC-8378-DA45B79D9A06}" dt="2020-10-02T13:04:33.724" v="2632" actId="790"/>
          <ac:spMkLst>
            <pc:docMk/>
            <pc:sldMk cId="3253080124" sldId="4848"/>
            <ac:spMk id="100" creationId="{61B9CF27-8B12-4EE8-B926-391ADE73675B}"/>
          </ac:spMkLst>
        </pc:spChg>
        <pc:spChg chg="mod">
          <ac:chgData name="Ugo MANTEL" userId="2d5b7065-31bb-4181-a7f8-a73bf0c30211" providerId="ADAL" clId="{F05BB0D5-3454-45DC-8378-DA45B79D9A06}" dt="2020-10-02T13:04:33.741" v="2654" actId="790"/>
          <ac:spMkLst>
            <pc:docMk/>
            <pc:sldMk cId="3253080124" sldId="4848"/>
            <ac:spMk id="102" creationId="{AF0C3CD5-E686-4D74-B2C6-F072E6DA7A36}"/>
          </ac:spMkLst>
        </pc:spChg>
        <pc:spChg chg="mod">
          <ac:chgData name="Ugo MANTEL" userId="2d5b7065-31bb-4181-a7f8-a73bf0c30211" providerId="ADAL" clId="{F05BB0D5-3454-45DC-8378-DA45B79D9A06}" dt="2020-10-02T13:04:33.721" v="2628" actId="790"/>
          <ac:spMkLst>
            <pc:docMk/>
            <pc:sldMk cId="3253080124" sldId="4848"/>
            <ac:spMk id="103" creationId="{5D463D54-9D35-4AF6-877C-D0103FF6C72B}"/>
          </ac:spMkLst>
        </pc:spChg>
        <pc:spChg chg="mod">
          <ac:chgData name="Ugo MANTEL" userId="2d5b7065-31bb-4181-a7f8-a73bf0c30211" providerId="ADAL" clId="{F05BB0D5-3454-45DC-8378-DA45B79D9A06}" dt="2020-10-02T13:04:33.742" v="2655" actId="790"/>
          <ac:spMkLst>
            <pc:docMk/>
            <pc:sldMk cId="3253080124" sldId="4848"/>
            <ac:spMk id="104" creationId="{F6BDB4F8-5770-4847-9FD6-C10902E59480}"/>
          </ac:spMkLst>
        </pc:spChg>
        <pc:spChg chg="mod">
          <ac:chgData name="Ugo MANTEL" userId="2d5b7065-31bb-4181-a7f8-a73bf0c30211" providerId="ADAL" clId="{F05BB0D5-3454-45DC-8378-DA45B79D9A06}" dt="2020-10-02T13:04:33.754" v="2662" actId="790"/>
          <ac:spMkLst>
            <pc:docMk/>
            <pc:sldMk cId="3253080124" sldId="4848"/>
            <ac:spMk id="105" creationId="{55884101-2AA7-4780-A5CD-C241AFE4F88C}"/>
          </ac:spMkLst>
        </pc:spChg>
        <pc:spChg chg="mod">
          <ac:chgData name="Ugo MANTEL" userId="2d5b7065-31bb-4181-a7f8-a73bf0c30211" providerId="ADAL" clId="{F05BB0D5-3454-45DC-8378-DA45B79D9A06}" dt="2020-10-02T13:04:33.746" v="2658" actId="790"/>
          <ac:spMkLst>
            <pc:docMk/>
            <pc:sldMk cId="3253080124" sldId="4848"/>
            <ac:spMk id="106" creationId="{48B2F8A0-1C2C-46E7-B32D-FDE28E5559D7}"/>
          </ac:spMkLst>
        </pc:spChg>
        <pc:spChg chg="mod">
          <ac:chgData name="Ugo MANTEL" userId="2d5b7065-31bb-4181-a7f8-a73bf0c30211" providerId="ADAL" clId="{F05BB0D5-3454-45DC-8378-DA45B79D9A06}" dt="2020-10-02T13:04:33.747" v="2659" actId="790"/>
          <ac:spMkLst>
            <pc:docMk/>
            <pc:sldMk cId="3253080124" sldId="4848"/>
            <ac:spMk id="107" creationId="{EEA509BC-9ADF-4D9A-87E1-84283657EEE2}"/>
          </ac:spMkLst>
        </pc:spChg>
        <pc:spChg chg="mod">
          <ac:chgData name="Ugo MANTEL" userId="2d5b7065-31bb-4181-a7f8-a73bf0c30211" providerId="ADAL" clId="{F05BB0D5-3454-45DC-8378-DA45B79D9A06}" dt="2020-10-02T13:04:33.754" v="2663" actId="790"/>
          <ac:spMkLst>
            <pc:docMk/>
            <pc:sldMk cId="3253080124" sldId="4848"/>
            <ac:spMk id="108" creationId="{1D4D85F5-CBB8-49B5-9795-1AEE1ABE9CC1}"/>
          </ac:spMkLst>
        </pc:spChg>
        <pc:spChg chg="mod">
          <ac:chgData name="Ugo MANTEL" userId="2d5b7065-31bb-4181-a7f8-a73bf0c30211" providerId="ADAL" clId="{F05BB0D5-3454-45DC-8378-DA45B79D9A06}" dt="2020-10-02T13:04:33.726" v="2634" actId="790"/>
          <ac:spMkLst>
            <pc:docMk/>
            <pc:sldMk cId="3253080124" sldId="4848"/>
            <ac:spMk id="110" creationId="{B4D7F15E-B736-46A9-AE30-97F142E5DBE2}"/>
          </ac:spMkLst>
        </pc:spChg>
        <pc:spChg chg="mod">
          <ac:chgData name="Ugo MANTEL" userId="2d5b7065-31bb-4181-a7f8-a73bf0c30211" providerId="ADAL" clId="{F05BB0D5-3454-45DC-8378-DA45B79D9A06}" dt="2020-10-02T13:04:33.726" v="2635" actId="790"/>
          <ac:spMkLst>
            <pc:docMk/>
            <pc:sldMk cId="3253080124" sldId="4848"/>
            <ac:spMk id="111" creationId="{96754791-60D5-4440-A4A3-A5324267D77F}"/>
          </ac:spMkLst>
        </pc:spChg>
        <pc:spChg chg="mod">
          <ac:chgData name="Ugo MANTEL" userId="2d5b7065-31bb-4181-a7f8-a73bf0c30211" providerId="ADAL" clId="{F05BB0D5-3454-45DC-8378-DA45B79D9A06}" dt="2020-10-02T13:04:33.727" v="2636" actId="790"/>
          <ac:spMkLst>
            <pc:docMk/>
            <pc:sldMk cId="3253080124" sldId="4848"/>
            <ac:spMk id="112" creationId="{9F62F452-C394-4430-B681-47D693DCCA14}"/>
          </ac:spMkLst>
        </pc:spChg>
        <pc:spChg chg="mod">
          <ac:chgData name="Ugo MANTEL" userId="2d5b7065-31bb-4181-a7f8-a73bf0c30211" providerId="ADAL" clId="{F05BB0D5-3454-45DC-8378-DA45B79D9A06}" dt="2020-10-02T13:04:33.755" v="2664" actId="790"/>
          <ac:spMkLst>
            <pc:docMk/>
            <pc:sldMk cId="3253080124" sldId="4848"/>
            <ac:spMk id="118" creationId="{7224BE29-F469-4CA6-89D1-8180E934FCF2}"/>
          </ac:spMkLst>
        </pc:spChg>
      </pc:sldChg>
      <pc:sldChg chg="modSp mod">
        <pc:chgData name="Ugo MANTEL" userId="2d5b7065-31bb-4181-a7f8-a73bf0c30211" providerId="ADAL" clId="{F05BB0D5-3454-45DC-8378-DA45B79D9A06}" dt="2020-10-02T13:04:35.063" v="4053" actId="790"/>
        <pc:sldMkLst>
          <pc:docMk/>
          <pc:sldMk cId="4069988287" sldId="4893"/>
        </pc:sldMkLst>
        <pc:spChg chg="mod">
          <ac:chgData name="Ugo MANTEL" userId="2d5b7065-31bb-4181-a7f8-a73bf0c30211" providerId="ADAL" clId="{F05BB0D5-3454-45DC-8378-DA45B79D9A06}" dt="2020-10-02T13:04:35.002" v="3970" actId="790"/>
          <ac:spMkLst>
            <pc:docMk/>
            <pc:sldMk cId="4069988287" sldId="4893"/>
            <ac:spMk id="4" creationId="{A2175CED-6D9E-48D2-A836-77DED4F0CA01}"/>
          </ac:spMkLst>
        </pc:spChg>
        <pc:spChg chg="mod">
          <ac:chgData name="Ugo MANTEL" userId="2d5b7065-31bb-4181-a7f8-a73bf0c30211" providerId="ADAL" clId="{F05BB0D5-3454-45DC-8378-DA45B79D9A06}" dt="2020-10-02T13:04:35.003" v="3971" actId="790"/>
          <ac:spMkLst>
            <pc:docMk/>
            <pc:sldMk cId="4069988287" sldId="4893"/>
            <ac:spMk id="6" creationId="{073CBBBF-3D9B-42D6-9753-7143FCF25F79}"/>
          </ac:spMkLst>
        </pc:spChg>
        <pc:spChg chg="mod">
          <ac:chgData name="Ugo MANTEL" userId="2d5b7065-31bb-4181-a7f8-a73bf0c30211" providerId="ADAL" clId="{F05BB0D5-3454-45DC-8378-DA45B79D9A06}" dt="2020-10-02T13:04:35.039" v="4028" actId="790"/>
          <ac:spMkLst>
            <pc:docMk/>
            <pc:sldMk cId="4069988287" sldId="4893"/>
            <ac:spMk id="12" creationId="{6FF57470-6804-44E9-BB6F-4BAC5AD47C6A}"/>
          </ac:spMkLst>
        </pc:spChg>
        <pc:spChg chg="mod">
          <ac:chgData name="Ugo MANTEL" userId="2d5b7065-31bb-4181-a7f8-a73bf0c30211" providerId="ADAL" clId="{F05BB0D5-3454-45DC-8378-DA45B79D9A06}" dt="2020-10-02T13:04:35.033" v="4020" actId="790"/>
          <ac:spMkLst>
            <pc:docMk/>
            <pc:sldMk cId="4069988287" sldId="4893"/>
            <ac:spMk id="46" creationId="{B935625D-FE85-42D1-9A3B-C3079E1F040B}"/>
          </ac:spMkLst>
        </pc:spChg>
        <pc:spChg chg="mod">
          <ac:chgData name="Ugo MANTEL" userId="2d5b7065-31bb-4181-a7f8-a73bf0c30211" providerId="ADAL" clId="{F05BB0D5-3454-45DC-8378-DA45B79D9A06}" dt="2020-10-02T13:04:35.034" v="4021" actId="790"/>
          <ac:spMkLst>
            <pc:docMk/>
            <pc:sldMk cId="4069988287" sldId="4893"/>
            <ac:spMk id="47" creationId="{0BD14BE5-BC74-4326-8F6E-25890BE862E5}"/>
          </ac:spMkLst>
        </pc:spChg>
        <pc:spChg chg="mod">
          <ac:chgData name="Ugo MANTEL" userId="2d5b7065-31bb-4181-a7f8-a73bf0c30211" providerId="ADAL" clId="{F05BB0D5-3454-45DC-8378-DA45B79D9A06}" dt="2020-10-02T13:04:35.035" v="4022" actId="790"/>
          <ac:spMkLst>
            <pc:docMk/>
            <pc:sldMk cId="4069988287" sldId="4893"/>
            <ac:spMk id="48" creationId="{86D88E4E-B283-44C6-93E1-26F421A2D467}"/>
          </ac:spMkLst>
        </pc:spChg>
        <pc:spChg chg="mod">
          <ac:chgData name="Ugo MANTEL" userId="2d5b7065-31bb-4181-a7f8-a73bf0c30211" providerId="ADAL" clId="{F05BB0D5-3454-45DC-8378-DA45B79D9A06}" dt="2020-10-02T13:04:35.035" v="4023" actId="790"/>
          <ac:spMkLst>
            <pc:docMk/>
            <pc:sldMk cId="4069988287" sldId="4893"/>
            <ac:spMk id="49" creationId="{F5706BF9-E8E1-4F63-8A38-CC3C35E51598}"/>
          </ac:spMkLst>
        </pc:spChg>
        <pc:spChg chg="mod">
          <ac:chgData name="Ugo MANTEL" userId="2d5b7065-31bb-4181-a7f8-a73bf0c30211" providerId="ADAL" clId="{F05BB0D5-3454-45DC-8378-DA45B79D9A06}" dt="2020-10-02T13:04:35.036" v="4024" actId="790"/>
          <ac:spMkLst>
            <pc:docMk/>
            <pc:sldMk cId="4069988287" sldId="4893"/>
            <ac:spMk id="50" creationId="{697685FE-79D8-461E-8E63-A407A35EA21A}"/>
          </ac:spMkLst>
        </pc:spChg>
        <pc:spChg chg="mod">
          <ac:chgData name="Ugo MANTEL" userId="2d5b7065-31bb-4181-a7f8-a73bf0c30211" providerId="ADAL" clId="{F05BB0D5-3454-45DC-8378-DA45B79D9A06}" dt="2020-10-02T13:04:35.037" v="4025" actId="790"/>
          <ac:spMkLst>
            <pc:docMk/>
            <pc:sldMk cId="4069988287" sldId="4893"/>
            <ac:spMk id="51" creationId="{30F74E7C-0861-4C02-8652-12705BF86CA0}"/>
          </ac:spMkLst>
        </pc:spChg>
        <pc:spChg chg="mod">
          <ac:chgData name="Ugo MANTEL" userId="2d5b7065-31bb-4181-a7f8-a73bf0c30211" providerId="ADAL" clId="{F05BB0D5-3454-45DC-8378-DA45B79D9A06}" dt="2020-10-02T13:04:35.006" v="3974" actId="790"/>
          <ac:spMkLst>
            <pc:docMk/>
            <pc:sldMk cId="4069988287" sldId="4893"/>
            <ac:spMk id="57" creationId="{B13DF443-65C5-424C-845A-F58E189D3CA5}"/>
          </ac:spMkLst>
        </pc:spChg>
        <pc:spChg chg="mod">
          <ac:chgData name="Ugo MANTEL" userId="2d5b7065-31bb-4181-a7f8-a73bf0c30211" providerId="ADAL" clId="{F05BB0D5-3454-45DC-8378-DA45B79D9A06}" dt="2020-10-02T13:04:35.006" v="3975" actId="790"/>
          <ac:spMkLst>
            <pc:docMk/>
            <pc:sldMk cId="4069988287" sldId="4893"/>
            <ac:spMk id="58" creationId="{0189A3E4-C5DB-45FC-BF23-54B2740D1DA4}"/>
          </ac:spMkLst>
        </pc:spChg>
        <pc:spChg chg="mod">
          <ac:chgData name="Ugo MANTEL" userId="2d5b7065-31bb-4181-a7f8-a73bf0c30211" providerId="ADAL" clId="{F05BB0D5-3454-45DC-8378-DA45B79D9A06}" dt="2020-10-02T13:04:35.007" v="3976" actId="790"/>
          <ac:spMkLst>
            <pc:docMk/>
            <pc:sldMk cId="4069988287" sldId="4893"/>
            <ac:spMk id="59" creationId="{A4C97B84-9DFC-49F4-A6DC-736D4376B2A0}"/>
          </ac:spMkLst>
        </pc:spChg>
        <pc:spChg chg="mod">
          <ac:chgData name="Ugo MANTEL" userId="2d5b7065-31bb-4181-a7f8-a73bf0c30211" providerId="ADAL" clId="{F05BB0D5-3454-45DC-8378-DA45B79D9A06}" dt="2020-10-02T13:04:35.007" v="3977" actId="790"/>
          <ac:spMkLst>
            <pc:docMk/>
            <pc:sldMk cId="4069988287" sldId="4893"/>
            <ac:spMk id="60" creationId="{24675DD0-0FA3-446C-8DDD-F388B2AF9AFF}"/>
          </ac:spMkLst>
        </pc:spChg>
        <pc:spChg chg="mod">
          <ac:chgData name="Ugo MANTEL" userId="2d5b7065-31bb-4181-a7f8-a73bf0c30211" providerId="ADAL" clId="{F05BB0D5-3454-45DC-8378-DA45B79D9A06}" dt="2020-10-02T13:04:35.008" v="3978" actId="790"/>
          <ac:spMkLst>
            <pc:docMk/>
            <pc:sldMk cId="4069988287" sldId="4893"/>
            <ac:spMk id="61" creationId="{03281B1E-EB54-405E-B79B-40EAE5F0D201}"/>
          </ac:spMkLst>
        </pc:spChg>
        <pc:spChg chg="mod">
          <ac:chgData name="Ugo MANTEL" userId="2d5b7065-31bb-4181-a7f8-a73bf0c30211" providerId="ADAL" clId="{F05BB0D5-3454-45DC-8378-DA45B79D9A06}" dt="2020-10-02T13:04:35.008" v="3979" actId="790"/>
          <ac:spMkLst>
            <pc:docMk/>
            <pc:sldMk cId="4069988287" sldId="4893"/>
            <ac:spMk id="62" creationId="{3251D41D-E154-406D-831B-ACEDEFB9991A}"/>
          </ac:spMkLst>
        </pc:spChg>
        <pc:spChg chg="mod">
          <ac:chgData name="Ugo MANTEL" userId="2d5b7065-31bb-4181-a7f8-a73bf0c30211" providerId="ADAL" clId="{F05BB0D5-3454-45DC-8378-DA45B79D9A06}" dt="2020-10-02T13:04:35.009" v="3980" actId="790"/>
          <ac:spMkLst>
            <pc:docMk/>
            <pc:sldMk cId="4069988287" sldId="4893"/>
            <ac:spMk id="63" creationId="{FCC44B41-6C4A-42A9-8A83-6D294717C301}"/>
          </ac:spMkLst>
        </pc:spChg>
        <pc:spChg chg="mod">
          <ac:chgData name="Ugo MANTEL" userId="2d5b7065-31bb-4181-a7f8-a73bf0c30211" providerId="ADAL" clId="{F05BB0D5-3454-45DC-8378-DA45B79D9A06}" dt="2020-10-02T13:04:35.009" v="3981" actId="790"/>
          <ac:spMkLst>
            <pc:docMk/>
            <pc:sldMk cId="4069988287" sldId="4893"/>
            <ac:spMk id="64" creationId="{4CD420CE-EFDA-4B03-B9DE-9F42096A5DB7}"/>
          </ac:spMkLst>
        </pc:spChg>
        <pc:spChg chg="mod">
          <ac:chgData name="Ugo MANTEL" userId="2d5b7065-31bb-4181-a7f8-a73bf0c30211" providerId="ADAL" clId="{F05BB0D5-3454-45DC-8378-DA45B79D9A06}" dt="2020-10-02T13:04:35.010" v="3982" actId="790"/>
          <ac:spMkLst>
            <pc:docMk/>
            <pc:sldMk cId="4069988287" sldId="4893"/>
            <ac:spMk id="65" creationId="{33B0F95C-A84B-4878-9481-4E5E183F9A84}"/>
          </ac:spMkLst>
        </pc:spChg>
        <pc:spChg chg="mod">
          <ac:chgData name="Ugo MANTEL" userId="2d5b7065-31bb-4181-a7f8-a73bf0c30211" providerId="ADAL" clId="{F05BB0D5-3454-45DC-8378-DA45B79D9A06}" dt="2020-10-02T13:04:35.011" v="3983" actId="790"/>
          <ac:spMkLst>
            <pc:docMk/>
            <pc:sldMk cId="4069988287" sldId="4893"/>
            <ac:spMk id="66" creationId="{89EFB7A0-EE00-4254-9297-8D630A252B64}"/>
          </ac:spMkLst>
        </pc:spChg>
        <pc:spChg chg="mod">
          <ac:chgData name="Ugo MANTEL" userId="2d5b7065-31bb-4181-a7f8-a73bf0c30211" providerId="ADAL" clId="{F05BB0D5-3454-45DC-8378-DA45B79D9A06}" dt="2020-10-02T13:04:35.011" v="3984" actId="790"/>
          <ac:spMkLst>
            <pc:docMk/>
            <pc:sldMk cId="4069988287" sldId="4893"/>
            <ac:spMk id="67" creationId="{98492036-D0E4-4B53-9660-3D24C8BFCE3E}"/>
          </ac:spMkLst>
        </pc:spChg>
        <pc:spChg chg="mod">
          <ac:chgData name="Ugo MANTEL" userId="2d5b7065-31bb-4181-a7f8-a73bf0c30211" providerId="ADAL" clId="{F05BB0D5-3454-45DC-8378-DA45B79D9A06}" dt="2020-10-02T13:04:35.012" v="3985" actId="790"/>
          <ac:spMkLst>
            <pc:docMk/>
            <pc:sldMk cId="4069988287" sldId="4893"/>
            <ac:spMk id="68" creationId="{D92EFE09-CFD3-4A1C-9905-97DF4210AAE3}"/>
          </ac:spMkLst>
        </pc:spChg>
        <pc:spChg chg="mod">
          <ac:chgData name="Ugo MANTEL" userId="2d5b7065-31bb-4181-a7f8-a73bf0c30211" providerId="ADAL" clId="{F05BB0D5-3454-45DC-8378-DA45B79D9A06}" dt="2020-10-02T13:04:35.012" v="3986" actId="790"/>
          <ac:spMkLst>
            <pc:docMk/>
            <pc:sldMk cId="4069988287" sldId="4893"/>
            <ac:spMk id="69" creationId="{F3A071CD-59E8-4A3A-90E8-CD9DD9245369}"/>
          </ac:spMkLst>
        </pc:spChg>
        <pc:spChg chg="mod">
          <ac:chgData name="Ugo MANTEL" userId="2d5b7065-31bb-4181-a7f8-a73bf0c30211" providerId="ADAL" clId="{F05BB0D5-3454-45DC-8378-DA45B79D9A06}" dt="2020-10-02T13:04:35.013" v="3987" actId="790"/>
          <ac:spMkLst>
            <pc:docMk/>
            <pc:sldMk cId="4069988287" sldId="4893"/>
            <ac:spMk id="70" creationId="{9F09764F-54ED-497C-8BEC-DC7C2290ECB2}"/>
          </ac:spMkLst>
        </pc:spChg>
        <pc:spChg chg="mod">
          <ac:chgData name="Ugo MANTEL" userId="2d5b7065-31bb-4181-a7f8-a73bf0c30211" providerId="ADAL" clId="{F05BB0D5-3454-45DC-8378-DA45B79D9A06}" dt="2020-10-02T13:04:35.013" v="3988" actId="790"/>
          <ac:spMkLst>
            <pc:docMk/>
            <pc:sldMk cId="4069988287" sldId="4893"/>
            <ac:spMk id="71" creationId="{A8D8E0A1-B787-40BC-BBDC-AC4CCD0B8D36}"/>
          </ac:spMkLst>
        </pc:spChg>
        <pc:spChg chg="mod">
          <ac:chgData name="Ugo MANTEL" userId="2d5b7065-31bb-4181-a7f8-a73bf0c30211" providerId="ADAL" clId="{F05BB0D5-3454-45DC-8378-DA45B79D9A06}" dt="2020-10-02T13:04:35.014" v="3989" actId="790"/>
          <ac:spMkLst>
            <pc:docMk/>
            <pc:sldMk cId="4069988287" sldId="4893"/>
            <ac:spMk id="72" creationId="{3EFF76FF-63C4-4E96-9AB6-A27DCBFDA21C}"/>
          </ac:spMkLst>
        </pc:spChg>
        <pc:spChg chg="mod">
          <ac:chgData name="Ugo MANTEL" userId="2d5b7065-31bb-4181-a7f8-a73bf0c30211" providerId="ADAL" clId="{F05BB0D5-3454-45DC-8378-DA45B79D9A06}" dt="2020-10-02T13:04:35.029" v="4014" actId="790"/>
          <ac:spMkLst>
            <pc:docMk/>
            <pc:sldMk cId="4069988287" sldId="4893"/>
            <ac:spMk id="78" creationId="{F1D2D26B-38C6-43AB-9D1D-7851AD9914F3}"/>
          </ac:spMkLst>
        </pc:spChg>
        <pc:spChg chg="mod">
          <ac:chgData name="Ugo MANTEL" userId="2d5b7065-31bb-4181-a7f8-a73bf0c30211" providerId="ADAL" clId="{F05BB0D5-3454-45DC-8378-DA45B79D9A06}" dt="2020-10-02T13:04:35.030" v="4015" actId="790"/>
          <ac:spMkLst>
            <pc:docMk/>
            <pc:sldMk cId="4069988287" sldId="4893"/>
            <ac:spMk id="79" creationId="{F17C5DBD-1BF6-4AB3-8C6E-9F593143A76C}"/>
          </ac:spMkLst>
        </pc:spChg>
        <pc:spChg chg="mod">
          <ac:chgData name="Ugo MANTEL" userId="2d5b7065-31bb-4181-a7f8-a73bf0c30211" providerId="ADAL" clId="{F05BB0D5-3454-45DC-8378-DA45B79D9A06}" dt="2020-10-02T13:04:35.015" v="3990" actId="790"/>
          <ac:spMkLst>
            <pc:docMk/>
            <pc:sldMk cId="4069988287" sldId="4893"/>
            <ac:spMk id="80" creationId="{37E14909-97E7-4198-A350-2DB8DD869813}"/>
          </ac:spMkLst>
        </pc:spChg>
        <pc:spChg chg="mod">
          <ac:chgData name="Ugo MANTEL" userId="2d5b7065-31bb-4181-a7f8-a73bf0c30211" providerId="ADAL" clId="{F05BB0D5-3454-45DC-8378-DA45B79D9A06}" dt="2020-10-02T13:04:35.030" v="4016" actId="790"/>
          <ac:spMkLst>
            <pc:docMk/>
            <pc:sldMk cId="4069988287" sldId="4893"/>
            <ac:spMk id="81" creationId="{88B0D50E-36BF-4FEB-9967-14C2E7241AE8}"/>
          </ac:spMkLst>
        </pc:spChg>
        <pc:spChg chg="mod">
          <ac:chgData name="Ugo MANTEL" userId="2d5b7065-31bb-4181-a7f8-a73bf0c30211" providerId="ADAL" clId="{F05BB0D5-3454-45DC-8378-DA45B79D9A06}" dt="2020-10-02T13:04:35.031" v="4017" actId="790"/>
          <ac:spMkLst>
            <pc:docMk/>
            <pc:sldMk cId="4069988287" sldId="4893"/>
            <ac:spMk id="82" creationId="{53BC15A9-4DDF-464D-B838-F8B484086381}"/>
          </ac:spMkLst>
        </pc:spChg>
        <pc:spChg chg="mod">
          <ac:chgData name="Ugo MANTEL" userId="2d5b7065-31bb-4181-a7f8-a73bf0c30211" providerId="ADAL" clId="{F05BB0D5-3454-45DC-8378-DA45B79D9A06}" dt="2020-10-02T13:04:35.015" v="3991" actId="790"/>
          <ac:spMkLst>
            <pc:docMk/>
            <pc:sldMk cId="4069988287" sldId="4893"/>
            <ac:spMk id="83" creationId="{59141F7E-CC81-4CB8-AD2C-3BADA3B1D9E0}"/>
          </ac:spMkLst>
        </pc:spChg>
        <pc:spChg chg="mod">
          <ac:chgData name="Ugo MANTEL" userId="2d5b7065-31bb-4181-a7f8-a73bf0c30211" providerId="ADAL" clId="{F05BB0D5-3454-45DC-8378-DA45B79D9A06}" dt="2020-10-02T13:04:35.016" v="3992" actId="790"/>
          <ac:spMkLst>
            <pc:docMk/>
            <pc:sldMk cId="4069988287" sldId="4893"/>
            <ac:spMk id="89" creationId="{6F49BE15-801F-4528-8A54-AAEAB5D7F179}"/>
          </ac:spMkLst>
        </pc:spChg>
        <pc:spChg chg="mod">
          <ac:chgData name="Ugo MANTEL" userId="2d5b7065-31bb-4181-a7f8-a73bf0c30211" providerId="ADAL" clId="{F05BB0D5-3454-45DC-8378-DA45B79D9A06}" dt="2020-10-02T13:04:35.017" v="3993" actId="790"/>
          <ac:spMkLst>
            <pc:docMk/>
            <pc:sldMk cId="4069988287" sldId="4893"/>
            <ac:spMk id="90" creationId="{63556117-CC35-4D20-8CBD-D9E01848A2D8}"/>
          </ac:spMkLst>
        </pc:spChg>
        <pc:spChg chg="mod">
          <ac:chgData name="Ugo MANTEL" userId="2d5b7065-31bb-4181-a7f8-a73bf0c30211" providerId="ADAL" clId="{F05BB0D5-3454-45DC-8378-DA45B79D9A06}" dt="2020-10-02T13:04:35.017" v="3994" actId="790"/>
          <ac:spMkLst>
            <pc:docMk/>
            <pc:sldMk cId="4069988287" sldId="4893"/>
            <ac:spMk id="91" creationId="{B9D88896-C563-4C92-834D-C5B437C9CC72}"/>
          </ac:spMkLst>
        </pc:spChg>
        <pc:spChg chg="mod">
          <ac:chgData name="Ugo MANTEL" userId="2d5b7065-31bb-4181-a7f8-a73bf0c30211" providerId="ADAL" clId="{F05BB0D5-3454-45DC-8378-DA45B79D9A06}" dt="2020-10-02T13:04:35.018" v="3995" actId="790"/>
          <ac:spMkLst>
            <pc:docMk/>
            <pc:sldMk cId="4069988287" sldId="4893"/>
            <ac:spMk id="92" creationId="{15C37E8A-C622-478D-BE57-4BB5CB83CAAF}"/>
          </ac:spMkLst>
        </pc:spChg>
        <pc:spChg chg="mod">
          <ac:chgData name="Ugo MANTEL" userId="2d5b7065-31bb-4181-a7f8-a73bf0c30211" providerId="ADAL" clId="{F05BB0D5-3454-45DC-8378-DA45B79D9A06}" dt="2020-10-02T13:04:35.018" v="3996" actId="790"/>
          <ac:spMkLst>
            <pc:docMk/>
            <pc:sldMk cId="4069988287" sldId="4893"/>
            <ac:spMk id="93" creationId="{9795EA03-3ADA-4495-8A1E-D99631DF8547}"/>
          </ac:spMkLst>
        </pc:spChg>
        <pc:spChg chg="mod">
          <ac:chgData name="Ugo MANTEL" userId="2d5b7065-31bb-4181-a7f8-a73bf0c30211" providerId="ADAL" clId="{F05BB0D5-3454-45DC-8378-DA45B79D9A06}" dt="2020-10-02T13:04:35.019" v="3997" actId="790"/>
          <ac:spMkLst>
            <pc:docMk/>
            <pc:sldMk cId="4069988287" sldId="4893"/>
            <ac:spMk id="99" creationId="{CC579BC9-F06E-40D6-9089-2F29368CE407}"/>
          </ac:spMkLst>
        </pc:spChg>
        <pc:spChg chg="mod">
          <ac:chgData name="Ugo MANTEL" userId="2d5b7065-31bb-4181-a7f8-a73bf0c30211" providerId="ADAL" clId="{F05BB0D5-3454-45DC-8378-DA45B79D9A06}" dt="2020-10-02T13:04:35.019" v="3998" actId="790"/>
          <ac:spMkLst>
            <pc:docMk/>
            <pc:sldMk cId="4069988287" sldId="4893"/>
            <ac:spMk id="100" creationId="{6B4D98A6-2CC0-4102-B4C1-2574B8461952}"/>
          </ac:spMkLst>
        </pc:spChg>
        <pc:spChg chg="mod">
          <ac:chgData name="Ugo MANTEL" userId="2d5b7065-31bb-4181-a7f8-a73bf0c30211" providerId="ADAL" clId="{F05BB0D5-3454-45DC-8378-DA45B79D9A06}" dt="2020-10-02T13:04:35.020" v="3999" actId="790"/>
          <ac:spMkLst>
            <pc:docMk/>
            <pc:sldMk cId="4069988287" sldId="4893"/>
            <ac:spMk id="101" creationId="{47E216FA-5823-4510-A587-08E21D4E5387}"/>
          </ac:spMkLst>
        </pc:spChg>
        <pc:spChg chg="mod">
          <ac:chgData name="Ugo MANTEL" userId="2d5b7065-31bb-4181-a7f8-a73bf0c30211" providerId="ADAL" clId="{F05BB0D5-3454-45DC-8378-DA45B79D9A06}" dt="2020-10-02T13:04:35.020" v="4000" actId="790"/>
          <ac:spMkLst>
            <pc:docMk/>
            <pc:sldMk cId="4069988287" sldId="4893"/>
            <ac:spMk id="102" creationId="{241AE8A5-4A68-4CFD-A3B1-955BE47B53AF}"/>
          </ac:spMkLst>
        </pc:spChg>
        <pc:spChg chg="mod">
          <ac:chgData name="Ugo MANTEL" userId="2d5b7065-31bb-4181-a7f8-a73bf0c30211" providerId="ADAL" clId="{F05BB0D5-3454-45DC-8378-DA45B79D9A06}" dt="2020-10-02T13:04:35.021" v="4001" actId="790"/>
          <ac:spMkLst>
            <pc:docMk/>
            <pc:sldMk cId="4069988287" sldId="4893"/>
            <ac:spMk id="103" creationId="{6DC8F5F3-B2F0-480A-A6E3-9F4F3BDDDD0D}"/>
          </ac:spMkLst>
        </pc:spChg>
        <pc:spChg chg="mod">
          <ac:chgData name="Ugo MANTEL" userId="2d5b7065-31bb-4181-a7f8-a73bf0c30211" providerId="ADAL" clId="{F05BB0D5-3454-45DC-8378-DA45B79D9A06}" dt="2020-10-02T13:04:35.021" v="4002" actId="790"/>
          <ac:spMkLst>
            <pc:docMk/>
            <pc:sldMk cId="4069988287" sldId="4893"/>
            <ac:spMk id="104" creationId="{3CD4DABD-4152-4FA7-99EF-0C6D2470D395}"/>
          </ac:spMkLst>
        </pc:spChg>
        <pc:spChg chg="mod">
          <ac:chgData name="Ugo MANTEL" userId="2d5b7065-31bb-4181-a7f8-a73bf0c30211" providerId="ADAL" clId="{F05BB0D5-3454-45DC-8378-DA45B79D9A06}" dt="2020-10-02T13:04:35.022" v="4003" actId="790"/>
          <ac:spMkLst>
            <pc:docMk/>
            <pc:sldMk cId="4069988287" sldId="4893"/>
            <ac:spMk id="122" creationId="{8BAA2B8F-E014-480E-9B73-426ED3CA135D}"/>
          </ac:spMkLst>
        </pc:spChg>
        <pc:spChg chg="mod">
          <ac:chgData name="Ugo MANTEL" userId="2d5b7065-31bb-4181-a7f8-a73bf0c30211" providerId="ADAL" clId="{F05BB0D5-3454-45DC-8378-DA45B79D9A06}" dt="2020-10-02T13:04:35.037" v="4026" actId="790"/>
          <ac:spMkLst>
            <pc:docMk/>
            <pc:sldMk cId="4069988287" sldId="4893"/>
            <ac:spMk id="123" creationId="{F94A9885-848E-498F-BCBD-BDF0200BBA6D}"/>
          </ac:spMkLst>
        </pc:spChg>
        <pc:spChg chg="mod">
          <ac:chgData name="Ugo MANTEL" userId="2d5b7065-31bb-4181-a7f8-a73bf0c30211" providerId="ADAL" clId="{F05BB0D5-3454-45DC-8378-DA45B79D9A06}" dt="2020-10-02T13:04:35.038" v="4027" actId="790"/>
          <ac:spMkLst>
            <pc:docMk/>
            <pc:sldMk cId="4069988287" sldId="4893"/>
            <ac:spMk id="124" creationId="{50B91558-2667-4F37-AC69-A1E0F1BD0C95}"/>
          </ac:spMkLst>
        </pc:spChg>
        <pc:spChg chg="mod">
          <ac:chgData name="Ugo MANTEL" userId="2d5b7065-31bb-4181-a7f8-a73bf0c30211" providerId="ADAL" clId="{F05BB0D5-3454-45DC-8378-DA45B79D9A06}" dt="2020-10-02T13:04:35.032" v="4018" actId="790"/>
          <ac:spMkLst>
            <pc:docMk/>
            <pc:sldMk cId="4069988287" sldId="4893"/>
            <ac:spMk id="127" creationId="{C448E81C-0C04-445E-B2D5-56A727A77777}"/>
          </ac:spMkLst>
        </pc:spChg>
        <pc:spChg chg="mod">
          <ac:chgData name="Ugo MANTEL" userId="2d5b7065-31bb-4181-a7f8-a73bf0c30211" providerId="ADAL" clId="{F05BB0D5-3454-45DC-8378-DA45B79D9A06}" dt="2020-10-02T13:04:35.032" v="4019" actId="790"/>
          <ac:spMkLst>
            <pc:docMk/>
            <pc:sldMk cId="4069988287" sldId="4893"/>
            <ac:spMk id="128" creationId="{917FC58C-6148-4C9E-AC3F-76AA30EF4EA0}"/>
          </ac:spMkLst>
        </pc:spChg>
        <pc:spChg chg="mod">
          <ac:chgData name="Ugo MANTEL" userId="2d5b7065-31bb-4181-a7f8-a73bf0c30211" providerId="ADAL" clId="{F05BB0D5-3454-45DC-8378-DA45B79D9A06}" dt="2020-10-02T13:04:35.023" v="4004" actId="790"/>
          <ac:spMkLst>
            <pc:docMk/>
            <pc:sldMk cId="4069988287" sldId="4893"/>
            <ac:spMk id="131" creationId="{E47114D0-8A57-4CB2-9C60-44A7BB8A425A}"/>
          </ac:spMkLst>
        </pc:spChg>
        <pc:spChg chg="mod">
          <ac:chgData name="Ugo MANTEL" userId="2d5b7065-31bb-4181-a7f8-a73bf0c30211" providerId="ADAL" clId="{F05BB0D5-3454-45DC-8378-DA45B79D9A06}" dt="2020-10-02T13:04:35.023" v="4005" actId="790"/>
          <ac:spMkLst>
            <pc:docMk/>
            <pc:sldMk cId="4069988287" sldId="4893"/>
            <ac:spMk id="135" creationId="{149A9BA5-47C4-462B-8A13-11C7FE9FAACC}"/>
          </ac:spMkLst>
        </pc:spChg>
        <pc:spChg chg="mod">
          <ac:chgData name="Ugo MANTEL" userId="2d5b7065-31bb-4181-a7f8-a73bf0c30211" providerId="ADAL" clId="{F05BB0D5-3454-45DC-8378-DA45B79D9A06}" dt="2020-10-02T13:04:35.045" v="4034" actId="790"/>
          <ac:spMkLst>
            <pc:docMk/>
            <pc:sldMk cId="4069988287" sldId="4893"/>
            <ac:spMk id="139" creationId="{D894205B-C3EF-43B7-B1D8-778883A7BFF1}"/>
          </ac:spMkLst>
        </pc:spChg>
        <pc:spChg chg="mod">
          <ac:chgData name="Ugo MANTEL" userId="2d5b7065-31bb-4181-a7f8-a73bf0c30211" providerId="ADAL" clId="{F05BB0D5-3454-45DC-8378-DA45B79D9A06}" dt="2020-10-02T13:04:35.045" v="4035" actId="790"/>
          <ac:spMkLst>
            <pc:docMk/>
            <pc:sldMk cId="4069988287" sldId="4893"/>
            <ac:spMk id="140" creationId="{27AF4AD0-BF0D-414C-A015-73BC467508F4}"/>
          </ac:spMkLst>
        </pc:spChg>
        <pc:spChg chg="mod">
          <ac:chgData name="Ugo MANTEL" userId="2d5b7065-31bb-4181-a7f8-a73bf0c30211" providerId="ADAL" clId="{F05BB0D5-3454-45DC-8378-DA45B79D9A06}" dt="2020-10-02T13:04:35.046" v="4036" actId="790"/>
          <ac:spMkLst>
            <pc:docMk/>
            <pc:sldMk cId="4069988287" sldId="4893"/>
            <ac:spMk id="141" creationId="{5FD840F8-A02B-479F-8622-30E2C07AC927}"/>
          </ac:spMkLst>
        </pc:spChg>
        <pc:spChg chg="mod">
          <ac:chgData name="Ugo MANTEL" userId="2d5b7065-31bb-4181-a7f8-a73bf0c30211" providerId="ADAL" clId="{F05BB0D5-3454-45DC-8378-DA45B79D9A06}" dt="2020-10-02T13:04:35.047" v="4037" actId="790"/>
          <ac:spMkLst>
            <pc:docMk/>
            <pc:sldMk cId="4069988287" sldId="4893"/>
            <ac:spMk id="142" creationId="{5BB5FC48-BCB8-44B6-A612-6A6FFDB17122}"/>
          </ac:spMkLst>
        </pc:spChg>
        <pc:spChg chg="mod">
          <ac:chgData name="Ugo MANTEL" userId="2d5b7065-31bb-4181-a7f8-a73bf0c30211" providerId="ADAL" clId="{F05BB0D5-3454-45DC-8378-DA45B79D9A06}" dt="2020-10-02T13:04:35.047" v="4038" actId="790"/>
          <ac:spMkLst>
            <pc:docMk/>
            <pc:sldMk cId="4069988287" sldId="4893"/>
            <ac:spMk id="150" creationId="{6EAD433D-84A5-4779-B6D8-99E26DFC32F9}"/>
          </ac:spMkLst>
        </pc:spChg>
        <pc:spChg chg="mod">
          <ac:chgData name="Ugo MANTEL" userId="2d5b7065-31bb-4181-a7f8-a73bf0c30211" providerId="ADAL" clId="{F05BB0D5-3454-45DC-8378-DA45B79D9A06}" dt="2020-10-02T13:04:35.043" v="4032" actId="790"/>
          <ac:spMkLst>
            <pc:docMk/>
            <pc:sldMk cId="4069988287" sldId="4893"/>
            <ac:spMk id="151" creationId="{D3B4E2D9-7B20-4F7F-9B0B-046B50D14285}"/>
          </ac:spMkLst>
        </pc:spChg>
        <pc:spChg chg="mod">
          <ac:chgData name="Ugo MANTEL" userId="2d5b7065-31bb-4181-a7f8-a73bf0c30211" providerId="ADAL" clId="{F05BB0D5-3454-45DC-8378-DA45B79D9A06}" dt="2020-10-02T13:04:35.042" v="4030" actId="790"/>
          <ac:spMkLst>
            <pc:docMk/>
            <pc:sldMk cId="4069988287" sldId="4893"/>
            <ac:spMk id="152" creationId="{D94B6BC6-3748-4E85-8BD0-55D9D9E1438A}"/>
          </ac:spMkLst>
        </pc:spChg>
        <pc:spChg chg="mod">
          <ac:chgData name="Ugo MANTEL" userId="2d5b7065-31bb-4181-a7f8-a73bf0c30211" providerId="ADAL" clId="{F05BB0D5-3454-45DC-8378-DA45B79D9A06}" dt="2020-10-02T13:04:35.043" v="4031" actId="790"/>
          <ac:spMkLst>
            <pc:docMk/>
            <pc:sldMk cId="4069988287" sldId="4893"/>
            <ac:spMk id="153" creationId="{83AFB60C-0C46-40B9-A7E9-ADF595775684}"/>
          </ac:spMkLst>
        </pc:spChg>
        <pc:spChg chg="mod">
          <ac:chgData name="Ugo MANTEL" userId="2d5b7065-31bb-4181-a7f8-a73bf0c30211" providerId="ADAL" clId="{F05BB0D5-3454-45DC-8378-DA45B79D9A06}" dt="2020-10-02T13:04:35.044" v="4033" actId="790"/>
          <ac:spMkLst>
            <pc:docMk/>
            <pc:sldMk cId="4069988287" sldId="4893"/>
            <ac:spMk id="154" creationId="{D1108DDE-E10C-4C2B-8928-054141508F2A}"/>
          </ac:spMkLst>
        </pc:spChg>
        <pc:spChg chg="mod">
          <ac:chgData name="Ugo MANTEL" userId="2d5b7065-31bb-4181-a7f8-a73bf0c30211" providerId="ADAL" clId="{F05BB0D5-3454-45DC-8378-DA45B79D9A06}" dt="2020-10-02T13:04:35.048" v="4039" actId="790"/>
          <ac:spMkLst>
            <pc:docMk/>
            <pc:sldMk cId="4069988287" sldId="4893"/>
            <ac:spMk id="156" creationId="{47BD3D67-D4C5-4D07-A1CC-AC186E91DEB7}"/>
          </ac:spMkLst>
        </pc:spChg>
        <pc:spChg chg="mod">
          <ac:chgData name="Ugo MANTEL" userId="2d5b7065-31bb-4181-a7f8-a73bf0c30211" providerId="ADAL" clId="{F05BB0D5-3454-45DC-8378-DA45B79D9A06}" dt="2020-10-02T13:04:35.040" v="4029" actId="790"/>
          <ac:spMkLst>
            <pc:docMk/>
            <pc:sldMk cId="4069988287" sldId="4893"/>
            <ac:spMk id="159" creationId="{2CBDAC5D-A9D4-4AC0-8A9A-AC4EDDAD87FA}"/>
          </ac:spMkLst>
        </pc:spChg>
        <pc:spChg chg="mod">
          <ac:chgData name="Ugo MANTEL" userId="2d5b7065-31bb-4181-a7f8-a73bf0c30211" providerId="ADAL" clId="{F05BB0D5-3454-45DC-8378-DA45B79D9A06}" dt="2020-10-02T13:04:35.052" v="4040" actId="790"/>
          <ac:spMkLst>
            <pc:docMk/>
            <pc:sldMk cId="4069988287" sldId="4893"/>
            <ac:spMk id="161" creationId="{ADEE468E-CAF1-42F0-82EA-AE61F190D2D8}"/>
          </ac:spMkLst>
        </pc:spChg>
        <pc:spChg chg="mod">
          <ac:chgData name="Ugo MANTEL" userId="2d5b7065-31bb-4181-a7f8-a73bf0c30211" providerId="ADAL" clId="{F05BB0D5-3454-45DC-8378-DA45B79D9A06}" dt="2020-10-02T13:04:35.060" v="4049" actId="790"/>
          <ac:spMkLst>
            <pc:docMk/>
            <pc:sldMk cId="4069988287" sldId="4893"/>
            <ac:spMk id="166" creationId="{29B7DAF0-036C-4763-8789-C8570D5F0EB8}"/>
          </ac:spMkLst>
        </pc:spChg>
        <pc:spChg chg="mod">
          <ac:chgData name="Ugo MANTEL" userId="2d5b7065-31bb-4181-a7f8-a73bf0c30211" providerId="ADAL" clId="{F05BB0D5-3454-45DC-8378-DA45B79D9A06}" dt="2020-10-02T13:04:35.061" v="4050" actId="790"/>
          <ac:spMkLst>
            <pc:docMk/>
            <pc:sldMk cId="4069988287" sldId="4893"/>
            <ac:spMk id="167" creationId="{C75B9FA4-D0E4-4F24-ACC4-092B358819FF}"/>
          </ac:spMkLst>
        </pc:spChg>
        <pc:spChg chg="mod">
          <ac:chgData name="Ugo MANTEL" userId="2d5b7065-31bb-4181-a7f8-a73bf0c30211" providerId="ADAL" clId="{F05BB0D5-3454-45DC-8378-DA45B79D9A06}" dt="2020-10-02T13:04:35.062" v="4051" actId="790"/>
          <ac:spMkLst>
            <pc:docMk/>
            <pc:sldMk cId="4069988287" sldId="4893"/>
            <ac:spMk id="170" creationId="{29267CE8-0F88-4D93-AFC7-3C66B099EF49}"/>
          </ac:spMkLst>
        </pc:spChg>
        <pc:spChg chg="mod">
          <ac:chgData name="Ugo MANTEL" userId="2d5b7065-31bb-4181-a7f8-a73bf0c30211" providerId="ADAL" clId="{F05BB0D5-3454-45DC-8378-DA45B79D9A06}" dt="2020-10-02T13:04:35.062" v="4052" actId="790"/>
          <ac:spMkLst>
            <pc:docMk/>
            <pc:sldMk cId="4069988287" sldId="4893"/>
            <ac:spMk id="171" creationId="{348CFF47-1831-495E-B81C-DF9F76285704}"/>
          </ac:spMkLst>
        </pc:spChg>
        <pc:spChg chg="mod">
          <ac:chgData name="Ugo MANTEL" userId="2d5b7065-31bb-4181-a7f8-a73bf0c30211" providerId="ADAL" clId="{F05BB0D5-3454-45DC-8378-DA45B79D9A06}" dt="2020-10-02T13:04:35.055" v="4042" actId="790"/>
          <ac:spMkLst>
            <pc:docMk/>
            <pc:sldMk cId="4069988287" sldId="4893"/>
            <ac:spMk id="173" creationId="{DBA74347-0D03-4127-BF3D-30DC947E184A}"/>
          </ac:spMkLst>
        </pc:spChg>
        <pc:spChg chg="mod">
          <ac:chgData name="Ugo MANTEL" userId="2d5b7065-31bb-4181-a7f8-a73bf0c30211" providerId="ADAL" clId="{F05BB0D5-3454-45DC-8378-DA45B79D9A06}" dt="2020-10-02T13:04:35.054" v="4041" actId="790"/>
          <ac:spMkLst>
            <pc:docMk/>
            <pc:sldMk cId="4069988287" sldId="4893"/>
            <ac:spMk id="174" creationId="{C170F058-0297-4042-B1C2-9092B67F812B}"/>
          </ac:spMkLst>
        </pc:spChg>
        <pc:spChg chg="mod">
          <ac:chgData name="Ugo MANTEL" userId="2d5b7065-31bb-4181-a7f8-a73bf0c30211" providerId="ADAL" clId="{F05BB0D5-3454-45DC-8378-DA45B79D9A06}" dt="2020-10-02T13:04:35.055" v="4043" actId="790"/>
          <ac:spMkLst>
            <pc:docMk/>
            <pc:sldMk cId="4069988287" sldId="4893"/>
            <ac:spMk id="177" creationId="{60741B3A-F65E-4ED1-BD8E-B7814CC2CF57}"/>
          </ac:spMkLst>
        </pc:spChg>
        <pc:spChg chg="mod">
          <ac:chgData name="Ugo MANTEL" userId="2d5b7065-31bb-4181-a7f8-a73bf0c30211" providerId="ADAL" clId="{F05BB0D5-3454-45DC-8378-DA45B79D9A06}" dt="2020-10-02T13:04:35.056" v="4044" actId="790"/>
          <ac:spMkLst>
            <pc:docMk/>
            <pc:sldMk cId="4069988287" sldId="4893"/>
            <ac:spMk id="178" creationId="{78801ED6-2E1E-4F04-A8C3-2547C325C275}"/>
          </ac:spMkLst>
        </pc:spChg>
        <pc:spChg chg="mod">
          <ac:chgData name="Ugo MANTEL" userId="2d5b7065-31bb-4181-a7f8-a73bf0c30211" providerId="ADAL" clId="{F05BB0D5-3454-45DC-8378-DA45B79D9A06}" dt="2020-10-02T13:04:35.057" v="4045" actId="790"/>
          <ac:spMkLst>
            <pc:docMk/>
            <pc:sldMk cId="4069988287" sldId="4893"/>
            <ac:spMk id="179" creationId="{EBEC1396-8ABB-483D-AB1D-F5296B19ED4E}"/>
          </ac:spMkLst>
        </pc:spChg>
        <pc:spChg chg="mod">
          <ac:chgData name="Ugo MANTEL" userId="2d5b7065-31bb-4181-a7f8-a73bf0c30211" providerId="ADAL" clId="{F05BB0D5-3454-45DC-8378-DA45B79D9A06}" dt="2020-10-02T13:04:35.057" v="4046" actId="790"/>
          <ac:spMkLst>
            <pc:docMk/>
            <pc:sldMk cId="4069988287" sldId="4893"/>
            <ac:spMk id="181" creationId="{CA370332-2B47-42C1-9874-260B49B40D23}"/>
          </ac:spMkLst>
        </pc:spChg>
        <pc:spChg chg="mod">
          <ac:chgData name="Ugo MANTEL" userId="2d5b7065-31bb-4181-a7f8-a73bf0c30211" providerId="ADAL" clId="{F05BB0D5-3454-45DC-8378-DA45B79D9A06}" dt="2020-10-02T13:04:35.059" v="4047" actId="790"/>
          <ac:spMkLst>
            <pc:docMk/>
            <pc:sldMk cId="4069988287" sldId="4893"/>
            <ac:spMk id="182" creationId="{F2BB713C-4478-4609-BA97-F1237E266F9C}"/>
          </ac:spMkLst>
        </pc:spChg>
        <pc:spChg chg="mod">
          <ac:chgData name="Ugo MANTEL" userId="2d5b7065-31bb-4181-a7f8-a73bf0c30211" providerId="ADAL" clId="{F05BB0D5-3454-45DC-8378-DA45B79D9A06}" dt="2020-10-02T13:04:35.063" v="4053" actId="790"/>
          <ac:spMkLst>
            <pc:docMk/>
            <pc:sldMk cId="4069988287" sldId="4893"/>
            <ac:spMk id="184" creationId="{8A927B9E-AC07-4D79-BFFE-BA94B7B9D6F9}"/>
          </ac:spMkLst>
        </pc:spChg>
        <pc:spChg chg="mod">
          <ac:chgData name="Ugo MANTEL" userId="2d5b7065-31bb-4181-a7f8-a73bf0c30211" providerId="ADAL" clId="{F05BB0D5-3454-45DC-8378-DA45B79D9A06}" dt="2020-10-02T13:04:35.060" v="4048" actId="790"/>
          <ac:spMkLst>
            <pc:docMk/>
            <pc:sldMk cId="4069988287" sldId="4893"/>
            <ac:spMk id="186" creationId="{0CC9D074-1D9F-4B2E-98A7-A0A404BCDFE7}"/>
          </ac:spMkLst>
        </pc:spChg>
        <pc:spChg chg="mod">
          <ac:chgData name="Ugo MANTEL" userId="2d5b7065-31bb-4181-a7f8-a73bf0c30211" providerId="ADAL" clId="{F05BB0D5-3454-45DC-8378-DA45B79D9A06}" dt="2020-10-02T13:04:35.004" v="3972" actId="790"/>
          <ac:spMkLst>
            <pc:docMk/>
            <pc:sldMk cId="4069988287" sldId="4893"/>
            <ac:spMk id="214" creationId="{A8B7529F-709B-4E9D-B181-9ECA307CB567}"/>
          </ac:spMkLst>
        </pc:spChg>
        <pc:spChg chg="mod">
          <ac:chgData name="Ugo MANTEL" userId="2d5b7065-31bb-4181-a7f8-a73bf0c30211" providerId="ADAL" clId="{F05BB0D5-3454-45DC-8378-DA45B79D9A06}" dt="2020-10-02T13:04:35.005" v="3973" actId="790"/>
          <ac:spMkLst>
            <pc:docMk/>
            <pc:sldMk cId="4069988287" sldId="4893"/>
            <ac:spMk id="286" creationId="{702A4FBF-149D-4A3A-8A6E-8843516745FF}"/>
          </ac:spMkLst>
        </pc:spChg>
        <pc:spChg chg="mod">
          <ac:chgData name="Ugo MANTEL" userId="2d5b7065-31bb-4181-a7f8-a73bf0c30211" providerId="ADAL" clId="{F05BB0D5-3454-45DC-8378-DA45B79D9A06}" dt="2020-10-02T13:04:35.024" v="4006" actId="790"/>
          <ac:spMkLst>
            <pc:docMk/>
            <pc:sldMk cId="4069988287" sldId="4893"/>
            <ac:spMk id="287" creationId="{27533086-8568-404E-B751-37348D582490}"/>
          </ac:spMkLst>
        </pc:spChg>
        <pc:spChg chg="mod">
          <ac:chgData name="Ugo MANTEL" userId="2d5b7065-31bb-4181-a7f8-a73bf0c30211" providerId="ADAL" clId="{F05BB0D5-3454-45DC-8378-DA45B79D9A06}" dt="2020-10-02T13:04:35.025" v="4007" actId="790"/>
          <ac:spMkLst>
            <pc:docMk/>
            <pc:sldMk cId="4069988287" sldId="4893"/>
            <ac:spMk id="295" creationId="{E1CAA2E5-65C6-432D-BE7C-F7E505261921}"/>
          </ac:spMkLst>
        </pc:spChg>
        <pc:spChg chg="mod">
          <ac:chgData name="Ugo MANTEL" userId="2d5b7065-31bb-4181-a7f8-a73bf0c30211" providerId="ADAL" clId="{F05BB0D5-3454-45DC-8378-DA45B79D9A06}" dt="2020-10-02T13:04:35.025" v="4008" actId="790"/>
          <ac:spMkLst>
            <pc:docMk/>
            <pc:sldMk cId="4069988287" sldId="4893"/>
            <ac:spMk id="298" creationId="{7B525590-F87C-44E1-A315-5D105A133BDC}"/>
          </ac:spMkLst>
        </pc:spChg>
        <pc:spChg chg="mod">
          <ac:chgData name="Ugo MANTEL" userId="2d5b7065-31bb-4181-a7f8-a73bf0c30211" providerId="ADAL" clId="{F05BB0D5-3454-45DC-8378-DA45B79D9A06}" dt="2020-10-02T13:04:35.026" v="4009" actId="790"/>
          <ac:spMkLst>
            <pc:docMk/>
            <pc:sldMk cId="4069988287" sldId="4893"/>
            <ac:spMk id="299" creationId="{75863751-7CC6-4D53-B910-11380515DA84}"/>
          </ac:spMkLst>
        </pc:spChg>
        <pc:spChg chg="mod">
          <ac:chgData name="Ugo MANTEL" userId="2d5b7065-31bb-4181-a7f8-a73bf0c30211" providerId="ADAL" clId="{F05BB0D5-3454-45DC-8378-DA45B79D9A06}" dt="2020-10-02T13:04:35.026" v="4010" actId="790"/>
          <ac:spMkLst>
            <pc:docMk/>
            <pc:sldMk cId="4069988287" sldId="4893"/>
            <ac:spMk id="302" creationId="{E8707AA9-398A-4782-AC94-46DED9EDE475}"/>
          </ac:spMkLst>
        </pc:spChg>
        <pc:spChg chg="mod">
          <ac:chgData name="Ugo MANTEL" userId="2d5b7065-31bb-4181-a7f8-a73bf0c30211" providerId="ADAL" clId="{F05BB0D5-3454-45DC-8378-DA45B79D9A06}" dt="2020-10-02T13:04:35.027" v="4011" actId="790"/>
          <ac:spMkLst>
            <pc:docMk/>
            <pc:sldMk cId="4069988287" sldId="4893"/>
            <ac:spMk id="332" creationId="{88438399-992A-49A2-8B5C-669D2FDA7310}"/>
          </ac:spMkLst>
        </pc:spChg>
        <pc:spChg chg="mod">
          <ac:chgData name="Ugo MANTEL" userId="2d5b7065-31bb-4181-a7f8-a73bf0c30211" providerId="ADAL" clId="{F05BB0D5-3454-45DC-8378-DA45B79D9A06}" dt="2020-10-02T13:04:35.028" v="4012" actId="790"/>
          <ac:spMkLst>
            <pc:docMk/>
            <pc:sldMk cId="4069988287" sldId="4893"/>
            <ac:spMk id="333" creationId="{FDCFB3E3-9A05-470D-A8AE-472C9104370D}"/>
          </ac:spMkLst>
        </pc:spChg>
        <pc:spChg chg="mod">
          <ac:chgData name="Ugo MANTEL" userId="2d5b7065-31bb-4181-a7f8-a73bf0c30211" providerId="ADAL" clId="{F05BB0D5-3454-45DC-8378-DA45B79D9A06}" dt="2020-10-02T13:04:35.029" v="4013" actId="790"/>
          <ac:spMkLst>
            <pc:docMk/>
            <pc:sldMk cId="4069988287" sldId="4893"/>
            <ac:spMk id="336" creationId="{A0E96FDB-4305-4A12-9EB7-1A3742B9E5E8}"/>
          </ac:spMkLst>
        </pc:spChg>
      </pc:sldChg>
      <pc:sldChg chg="modSp mod">
        <pc:chgData name="Ugo MANTEL" userId="2d5b7065-31bb-4181-a7f8-a73bf0c30211" providerId="ADAL" clId="{F05BB0D5-3454-45DC-8378-DA45B79D9A06}" dt="2020-10-02T13:04:33.436" v="2357" actId="790"/>
        <pc:sldMkLst>
          <pc:docMk/>
          <pc:sldMk cId="2013015705" sldId="4905"/>
        </pc:sldMkLst>
        <pc:spChg chg="mod">
          <ac:chgData name="Ugo MANTEL" userId="2d5b7065-31bb-4181-a7f8-a73bf0c30211" providerId="ADAL" clId="{F05BB0D5-3454-45DC-8378-DA45B79D9A06}" dt="2020-10-02T13:04:33.395" v="2305" actId="790"/>
          <ac:spMkLst>
            <pc:docMk/>
            <pc:sldMk cId="2013015705" sldId="4905"/>
            <ac:spMk id="2" creationId="{6E96B131-4384-4F20-AAC3-60174B3C2D90}"/>
          </ac:spMkLst>
        </pc:spChg>
        <pc:spChg chg="mod">
          <ac:chgData name="Ugo MANTEL" userId="2d5b7065-31bb-4181-a7f8-a73bf0c30211" providerId="ADAL" clId="{F05BB0D5-3454-45DC-8378-DA45B79D9A06}" dt="2020-10-02T13:04:33.397" v="2306" actId="790"/>
          <ac:spMkLst>
            <pc:docMk/>
            <pc:sldMk cId="2013015705" sldId="4905"/>
            <ac:spMk id="4" creationId="{51C71BBE-9E51-41A6-A2F3-67760E6E3EC5}"/>
          </ac:spMkLst>
        </pc:spChg>
        <pc:spChg chg="mod">
          <ac:chgData name="Ugo MANTEL" userId="2d5b7065-31bb-4181-a7f8-a73bf0c30211" providerId="ADAL" clId="{F05BB0D5-3454-45DC-8378-DA45B79D9A06}" dt="2020-10-02T13:04:33.398" v="2307" actId="790"/>
          <ac:spMkLst>
            <pc:docMk/>
            <pc:sldMk cId="2013015705" sldId="4905"/>
            <ac:spMk id="11" creationId="{47616165-DDD5-44ED-B592-B1C71E3C74B2}"/>
          </ac:spMkLst>
        </pc:spChg>
        <pc:spChg chg="mod">
          <ac:chgData name="Ugo MANTEL" userId="2d5b7065-31bb-4181-a7f8-a73bf0c30211" providerId="ADAL" clId="{F05BB0D5-3454-45DC-8378-DA45B79D9A06}" dt="2020-10-02T13:04:33.407" v="2316" actId="790"/>
          <ac:spMkLst>
            <pc:docMk/>
            <pc:sldMk cId="2013015705" sldId="4905"/>
            <ac:spMk id="61" creationId="{FDB5002F-2A1F-4DD4-8EFD-F412653988D9}"/>
          </ac:spMkLst>
        </pc:spChg>
        <pc:spChg chg="mod">
          <ac:chgData name="Ugo MANTEL" userId="2d5b7065-31bb-4181-a7f8-a73bf0c30211" providerId="ADAL" clId="{F05BB0D5-3454-45DC-8378-DA45B79D9A06}" dt="2020-10-02T13:04:33.408" v="2317" actId="790"/>
          <ac:spMkLst>
            <pc:docMk/>
            <pc:sldMk cId="2013015705" sldId="4905"/>
            <ac:spMk id="62" creationId="{6A682242-E450-4BBB-B779-E472D70FDB93}"/>
          </ac:spMkLst>
        </pc:spChg>
        <pc:spChg chg="mod">
          <ac:chgData name="Ugo MANTEL" userId="2d5b7065-31bb-4181-a7f8-a73bf0c30211" providerId="ADAL" clId="{F05BB0D5-3454-45DC-8378-DA45B79D9A06}" dt="2020-10-02T13:04:33.408" v="2318" actId="790"/>
          <ac:spMkLst>
            <pc:docMk/>
            <pc:sldMk cId="2013015705" sldId="4905"/>
            <ac:spMk id="64" creationId="{53160BA4-2251-4253-8E49-FD18AE130FEC}"/>
          </ac:spMkLst>
        </pc:spChg>
        <pc:spChg chg="mod">
          <ac:chgData name="Ugo MANTEL" userId="2d5b7065-31bb-4181-a7f8-a73bf0c30211" providerId="ADAL" clId="{F05BB0D5-3454-45DC-8378-DA45B79D9A06}" dt="2020-10-02T13:04:33.411" v="2323" actId="790"/>
          <ac:spMkLst>
            <pc:docMk/>
            <pc:sldMk cId="2013015705" sldId="4905"/>
            <ac:spMk id="65" creationId="{AFEEEDE0-D6BE-4212-935C-54A97058AAE1}"/>
          </ac:spMkLst>
        </pc:spChg>
        <pc:spChg chg="mod">
          <ac:chgData name="Ugo MANTEL" userId="2d5b7065-31bb-4181-a7f8-a73bf0c30211" providerId="ADAL" clId="{F05BB0D5-3454-45DC-8378-DA45B79D9A06}" dt="2020-10-02T13:04:33.409" v="2319" actId="790"/>
          <ac:spMkLst>
            <pc:docMk/>
            <pc:sldMk cId="2013015705" sldId="4905"/>
            <ac:spMk id="66" creationId="{A771F62B-931F-4BB1-A172-11CE98427F73}"/>
          </ac:spMkLst>
        </pc:spChg>
        <pc:spChg chg="mod">
          <ac:chgData name="Ugo MANTEL" userId="2d5b7065-31bb-4181-a7f8-a73bf0c30211" providerId="ADAL" clId="{F05BB0D5-3454-45DC-8378-DA45B79D9A06}" dt="2020-10-02T13:04:33.410" v="2320" actId="790"/>
          <ac:spMkLst>
            <pc:docMk/>
            <pc:sldMk cId="2013015705" sldId="4905"/>
            <ac:spMk id="67" creationId="{890D4EC2-8C89-454C-A0FF-94D9432B9976}"/>
          </ac:spMkLst>
        </pc:spChg>
        <pc:spChg chg="mod">
          <ac:chgData name="Ugo MANTEL" userId="2d5b7065-31bb-4181-a7f8-a73bf0c30211" providerId="ADAL" clId="{F05BB0D5-3454-45DC-8378-DA45B79D9A06}" dt="2020-10-02T13:04:33.410" v="2321" actId="790"/>
          <ac:spMkLst>
            <pc:docMk/>
            <pc:sldMk cId="2013015705" sldId="4905"/>
            <ac:spMk id="68" creationId="{6884DD8F-384E-443B-8CC2-3F346E2B1AC9}"/>
          </ac:spMkLst>
        </pc:spChg>
        <pc:spChg chg="mod">
          <ac:chgData name="Ugo MANTEL" userId="2d5b7065-31bb-4181-a7f8-a73bf0c30211" providerId="ADAL" clId="{F05BB0D5-3454-45DC-8378-DA45B79D9A06}" dt="2020-10-02T13:04:33.412" v="2324" actId="790"/>
          <ac:spMkLst>
            <pc:docMk/>
            <pc:sldMk cId="2013015705" sldId="4905"/>
            <ac:spMk id="73" creationId="{94647690-5630-48A2-8F36-BAA4623B1C2E}"/>
          </ac:spMkLst>
        </pc:spChg>
        <pc:spChg chg="mod">
          <ac:chgData name="Ugo MANTEL" userId="2d5b7065-31bb-4181-a7f8-a73bf0c30211" providerId="ADAL" clId="{F05BB0D5-3454-45DC-8378-DA45B79D9A06}" dt="2020-10-02T13:04:33.413" v="2325" actId="790"/>
          <ac:spMkLst>
            <pc:docMk/>
            <pc:sldMk cId="2013015705" sldId="4905"/>
            <ac:spMk id="74" creationId="{E98F9903-E901-4977-94C2-DF167FD2D2F1}"/>
          </ac:spMkLst>
        </pc:spChg>
        <pc:spChg chg="mod">
          <ac:chgData name="Ugo MANTEL" userId="2d5b7065-31bb-4181-a7f8-a73bf0c30211" providerId="ADAL" clId="{F05BB0D5-3454-45DC-8378-DA45B79D9A06}" dt="2020-10-02T13:04:33.413" v="2326" actId="790"/>
          <ac:spMkLst>
            <pc:docMk/>
            <pc:sldMk cId="2013015705" sldId="4905"/>
            <ac:spMk id="75" creationId="{35ABF51C-0E2F-440B-87E0-E7D7DC92ECBD}"/>
          </ac:spMkLst>
        </pc:spChg>
        <pc:spChg chg="mod">
          <ac:chgData name="Ugo MANTEL" userId="2d5b7065-31bb-4181-a7f8-a73bf0c30211" providerId="ADAL" clId="{F05BB0D5-3454-45DC-8378-DA45B79D9A06}" dt="2020-10-02T13:04:33.414" v="2327" actId="790"/>
          <ac:spMkLst>
            <pc:docMk/>
            <pc:sldMk cId="2013015705" sldId="4905"/>
            <ac:spMk id="76" creationId="{9C2A5DE0-07CB-4F1C-91D1-FF8B5E09DC7E}"/>
          </ac:spMkLst>
        </pc:spChg>
        <pc:spChg chg="mod">
          <ac:chgData name="Ugo MANTEL" userId="2d5b7065-31bb-4181-a7f8-a73bf0c30211" providerId="ADAL" clId="{F05BB0D5-3454-45DC-8378-DA45B79D9A06}" dt="2020-10-02T13:04:33.414" v="2328" actId="790"/>
          <ac:spMkLst>
            <pc:docMk/>
            <pc:sldMk cId="2013015705" sldId="4905"/>
            <ac:spMk id="77" creationId="{2ECE7718-B2B6-4054-9827-EA2C9164DE8C}"/>
          </ac:spMkLst>
        </pc:spChg>
        <pc:spChg chg="mod">
          <ac:chgData name="Ugo MANTEL" userId="2d5b7065-31bb-4181-a7f8-a73bf0c30211" providerId="ADAL" clId="{F05BB0D5-3454-45DC-8378-DA45B79D9A06}" dt="2020-10-02T13:04:33.415" v="2329" actId="790"/>
          <ac:spMkLst>
            <pc:docMk/>
            <pc:sldMk cId="2013015705" sldId="4905"/>
            <ac:spMk id="78" creationId="{CD77C45E-B96C-4703-926E-B89A2E8F4696}"/>
          </ac:spMkLst>
        </pc:spChg>
        <pc:spChg chg="mod">
          <ac:chgData name="Ugo MANTEL" userId="2d5b7065-31bb-4181-a7f8-a73bf0c30211" providerId="ADAL" clId="{F05BB0D5-3454-45DC-8378-DA45B79D9A06}" dt="2020-10-02T13:04:33.415" v="2330" actId="790"/>
          <ac:spMkLst>
            <pc:docMk/>
            <pc:sldMk cId="2013015705" sldId="4905"/>
            <ac:spMk id="79" creationId="{53EB1135-A45B-4737-B5E6-A2735AF58FF3}"/>
          </ac:spMkLst>
        </pc:spChg>
        <pc:spChg chg="mod">
          <ac:chgData name="Ugo MANTEL" userId="2d5b7065-31bb-4181-a7f8-a73bf0c30211" providerId="ADAL" clId="{F05BB0D5-3454-45DC-8378-DA45B79D9A06}" dt="2020-10-02T13:04:33.418" v="2334" actId="790"/>
          <ac:spMkLst>
            <pc:docMk/>
            <pc:sldMk cId="2013015705" sldId="4905"/>
            <ac:spMk id="82" creationId="{F570ADB7-CE0C-408B-853F-606FD8CD8390}"/>
          </ac:spMkLst>
        </pc:spChg>
        <pc:spChg chg="mod">
          <ac:chgData name="Ugo MANTEL" userId="2d5b7065-31bb-4181-a7f8-a73bf0c30211" providerId="ADAL" clId="{F05BB0D5-3454-45DC-8378-DA45B79D9A06}" dt="2020-10-02T13:04:33.416" v="2331" actId="790"/>
          <ac:spMkLst>
            <pc:docMk/>
            <pc:sldMk cId="2013015705" sldId="4905"/>
            <ac:spMk id="84" creationId="{53AC35F4-3C27-4152-BE22-550FC486AC50}"/>
          </ac:spMkLst>
        </pc:spChg>
        <pc:spChg chg="mod">
          <ac:chgData name="Ugo MANTEL" userId="2d5b7065-31bb-4181-a7f8-a73bf0c30211" providerId="ADAL" clId="{F05BB0D5-3454-45DC-8378-DA45B79D9A06}" dt="2020-10-02T13:04:33.417" v="2332" actId="790"/>
          <ac:spMkLst>
            <pc:docMk/>
            <pc:sldMk cId="2013015705" sldId="4905"/>
            <ac:spMk id="85" creationId="{AFD2211E-4559-45CF-AE02-E683D92CA697}"/>
          </ac:spMkLst>
        </pc:spChg>
        <pc:spChg chg="mod">
          <ac:chgData name="Ugo MANTEL" userId="2d5b7065-31bb-4181-a7f8-a73bf0c30211" providerId="ADAL" clId="{F05BB0D5-3454-45DC-8378-DA45B79D9A06}" dt="2020-10-02T13:04:33.418" v="2333" actId="790"/>
          <ac:spMkLst>
            <pc:docMk/>
            <pc:sldMk cId="2013015705" sldId="4905"/>
            <ac:spMk id="86" creationId="{B2BB3AF4-5E8A-4191-B4D2-74C799C2BE4B}"/>
          </ac:spMkLst>
        </pc:spChg>
        <pc:spChg chg="mod">
          <ac:chgData name="Ugo MANTEL" userId="2d5b7065-31bb-4181-a7f8-a73bf0c30211" providerId="ADAL" clId="{F05BB0D5-3454-45DC-8378-DA45B79D9A06}" dt="2020-10-02T13:04:33.419" v="2335" actId="790"/>
          <ac:spMkLst>
            <pc:docMk/>
            <pc:sldMk cId="2013015705" sldId="4905"/>
            <ac:spMk id="89" creationId="{4FB78A22-238D-4CF3-A9D7-B68786242484}"/>
          </ac:spMkLst>
        </pc:spChg>
        <pc:spChg chg="mod">
          <ac:chgData name="Ugo MANTEL" userId="2d5b7065-31bb-4181-a7f8-a73bf0c30211" providerId="ADAL" clId="{F05BB0D5-3454-45DC-8378-DA45B79D9A06}" dt="2020-10-02T13:04:33.420" v="2336" actId="790"/>
          <ac:spMkLst>
            <pc:docMk/>
            <pc:sldMk cId="2013015705" sldId="4905"/>
            <ac:spMk id="90" creationId="{34319078-8A2E-46CB-A716-5C95204CFE7D}"/>
          </ac:spMkLst>
        </pc:spChg>
        <pc:spChg chg="mod">
          <ac:chgData name="Ugo MANTEL" userId="2d5b7065-31bb-4181-a7f8-a73bf0c30211" providerId="ADAL" clId="{F05BB0D5-3454-45DC-8378-DA45B79D9A06}" dt="2020-10-02T13:04:33.421" v="2337" actId="790"/>
          <ac:spMkLst>
            <pc:docMk/>
            <pc:sldMk cId="2013015705" sldId="4905"/>
            <ac:spMk id="92" creationId="{2E078447-81D8-4FF6-9089-EBAB962B4899}"/>
          </ac:spMkLst>
        </pc:spChg>
        <pc:spChg chg="mod">
          <ac:chgData name="Ugo MANTEL" userId="2d5b7065-31bb-4181-a7f8-a73bf0c30211" providerId="ADAL" clId="{F05BB0D5-3454-45DC-8378-DA45B79D9A06}" dt="2020-10-02T13:04:33.399" v="2308" actId="790"/>
          <ac:spMkLst>
            <pc:docMk/>
            <pc:sldMk cId="2013015705" sldId="4905"/>
            <ac:spMk id="95" creationId="{6BF2B5CA-115D-417B-9CF1-095CF9BF4E82}"/>
          </ac:spMkLst>
        </pc:spChg>
        <pc:spChg chg="mod">
          <ac:chgData name="Ugo MANTEL" userId="2d5b7065-31bb-4181-a7f8-a73bf0c30211" providerId="ADAL" clId="{F05BB0D5-3454-45DC-8378-DA45B79D9A06}" dt="2020-10-02T13:04:33.400" v="2309" actId="790"/>
          <ac:spMkLst>
            <pc:docMk/>
            <pc:sldMk cId="2013015705" sldId="4905"/>
            <ac:spMk id="97" creationId="{EAE589A0-B23E-494B-B424-2DAC55BC8C6E}"/>
          </ac:spMkLst>
        </pc:spChg>
        <pc:spChg chg="mod">
          <ac:chgData name="Ugo MANTEL" userId="2d5b7065-31bb-4181-a7f8-a73bf0c30211" providerId="ADAL" clId="{F05BB0D5-3454-45DC-8378-DA45B79D9A06}" dt="2020-10-02T13:04:33.421" v="2338" actId="790"/>
          <ac:spMkLst>
            <pc:docMk/>
            <pc:sldMk cId="2013015705" sldId="4905"/>
            <ac:spMk id="101" creationId="{E2577517-BEF0-45B5-B1D3-B907FB33A177}"/>
          </ac:spMkLst>
        </pc:spChg>
        <pc:spChg chg="mod">
          <ac:chgData name="Ugo MANTEL" userId="2d5b7065-31bb-4181-a7f8-a73bf0c30211" providerId="ADAL" clId="{F05BB0D5-3454-45DC-8378-DA45B79D9A06}" dt="2020-10-02T13:04:33.422" v="2339" actId="790"/>
          <ac:spMkLst>
            <pc:docMk/>
            <pc:sldMk cId="2013015705" sldId="4905"/>
            <ac:spMk id="102" creationId="{788D84D0-0CCD-4C9D-9D5E-120A9FB9016B}"/>
          </ac:spMkLst>
        </pc:spChg>
        <pc:spChg chg="mod">
          <ac:chgData name="Ugo MANTEL" userId="2d5b7065-31bb-4181-a7f8-a73bf0c30211" providerId="ADAL" clId="{F05BB0D5-3454-45DC-8378-DA45B79D9A06}" dt="2020-10-02T13:04:33.423" v="2340" actId="790"/>
          <ac:spMkLst>
            <pc:docMk/>
            <pc:sldMk cId="2013015705" sldId="4905"/>
            <ac:spMk id="103" creationId="{5A01302D-4418-47B2-8F25-2F409529B42C}"/>
          </ac:spMkLst>
        </pc:spChg>
        <pc:spChg chg="mod">
          <ac:chgData name="Ugo MANTEL" userId="2d5b7065-31bb-4181-a7f8-a73bf0c30211" providerId="ADAL" clId="{F05BB0D5-3454-45DC-8378-DA45B79D9A06}" dt="2020-10-02T13:04:33.411" v="2322" actId="790"/>
          <ac:spMkLst>
            <pc:docMk/>
            <pc:sldMk cId="2013015705" sldId="4905"/>
            <ac:spMk id="110" creationId="{F3C70D1F-014F-41FA-95BA-B7491B7B240B}"/>
          </ac:spMkLst>
        </pc:spChg>
        <pc:spChg chg="mod">
          <ac:chgData name="Ugo MANTEL" userId="2d5b7065-31bb-4181-a7f8-a73bf0c30211" providerId="ADAL" clId="{F05BB0D5-3454-45DC-8378-DA45B79D9A06}" dt="2020-10-02T13:04:33.423" v="2341" actId="790"/>
          <ac:spMkLst>
            <pc:docMk/>
            <pc:sldMk cId="2013015705" sldId="4905"/>
            <ac:spMk id="111" creationId="{EBFD71E1-BA06-450E-A74A-8EE049BDD645}"/>
          </ac:spMkLst>
        </pc:spChg>
        <pc:spChg chg="mod">
          <ac:chgData name="Ugo MANTEL" userId="2d5b7065-31bb-4181-a7f8-a73bf0c30211" providerId="ADAL" clId="{F05BB0D5-3454-45DC-8378-DA45B79D9A06}" dt="2020-10-02T13:04:33.424" v="2342" actId="790"/>
          <ac:spMkLst>
            <pc:docMk/>
            <pc:sldMk cId="2013015705" sldId="4905"/>
            <ac:spMk id="112" creationId="{5A6442B5-D093-4C5A-A5A2-351A3327EE57}"/>
          </ac:spMkLst>
        </pc:spChg>
        <pc:spChg chg="mod">
          <ac:chgData name="Ugo MANTEL" userId="2d5b7065-31bb-4181-a7f8-a73bf0c30211" providerId="ADAL" clId="{F05BB0D5-3454-45DC-8378-DA45B79D9A06}" dt="2020-10-02T13:04:33.425" v="2343" actId="790"/>
          <ac:spMkLst>
            <pc:docMk/>
            <pc:sldMk cId="2013015705" sldId="4905"/>
            <ac:spMk id="113" creationId="{E534A449-584B-4DA1-A92D-F282E288C930}"/>
          </ac:spMkLst>
        </pc:spChg>
        <pc:spChg chg="mod">
          <ac:chgData name="Ugo MANTEL" userId="2d5b7065-31bb-4181-a7f8-a73bf0c30211" providerId="ADAL" clId="{F05BB0D5-3454-45DC-8378-DA45B79D9A06}" dt="2020-10-02T13:04:33.426" v="2344" actId="790"/>
          <ac:spMkLst>
            <pc:docMk/>
            <pc:sldMk cId="2013015705" sldId="4905"/>
            <ac:spMk id="114" creationId="{F0032312-E492-4D49-946B-78DB6C67A7B2}"/>
          </ac:spMkLst>
        </pc:spChg>
        <pc:spChg chg="mod">
          <ac:chgData name="Ugo MANTEL" userId="2d5b7065-31bb-4181-a7f8-a73bf0c30211" providerId="ADAL" clId="{F05BB0D5-3454-45DC-8378-DA45B79D9A06}" dt="2020-10-02T13:04:33.427" v="2345" actId="790"/>
          <ac:spMkLst>
            <pc:docMk/>
            <pc:sldMk cId="2013015705" sldId="4905"/>
            <ac:spMk id="116" creationId="{445B4C7B-D570-4EDA-942A-4C421ADCEFBE}"/>
          </ac:spMkLst>
        </pc:spChg>
        <pc:spChg chg="mod">
          <ac:chgData name="Ugo MANTEL" userId="2d5b7065-31bb-4181-a7f8-a73bf0c30211" providerId="ADAL" clId="{F05BB0D5-3454-45DC-8378-DA45B79D9A06}" dt="2020-10-02T13:04:33.428" v="2346" actId="790"/>
          <ac:spMkLst>
            <pc:docMk/>
            <pc:sldMk cId="2013015705" sldId="4905"/>
            <ac:spMk id="117" creationId="{F4531E17-053F-40C1-AF48-6B1D062F728D}"/>
          </ac:spMkLst>
        </pc:spChg>
        <pc:spChg chg="mod">
          <ac:chgData name="Ugo MANTEL" userId="2d5b7065-31bb-4181-a7f8-a73bf0c30211" providerId="ADAL" clId="{F05BB0D5-3454-45DC-8378-DA45B79D9A06}" dt="2020-10-02T13:04:33.429" v="2347" actId="790"/>
          <ac:spMkLst>
            <pc:docMk/>
            <pc:sldMk cId="2013015705" sldId="4905"/>
            <ac:spMk id="118" creationId="{F0FB321C-A1DD-4DC8-9C46-47959477D3CD}"/>
          </ac:spMkLst>
        </pc:spChg>
        <pc:spChg chg="mod">
          <ac:chgData name="Ugo MANTEL" userId="2d5b7065-31bb-4181-a7f8-a73bf0c30211" providerId="ADAL" clId="{F05BB0D5-3454-45DC-8378-DA45B79D9A06}" dt="2020-10-02T13:04:33.403" v="2310" actId="790"/>
          <ac:spMkLst>
            <pc:docMk/>
            <pc:sldMk cId="2013015705" sldId="4905"/>
            <ac:spMk id="119" creationId="{781156AA-350B-4698-8030-1AC29D2E9C95}"/>
          </ac:spMkLst>
        </pc:spChg>
        <pc:spChg chg="mod">
          <ac:chgData name="Ugo MANTEL" userId="2d5b7065-31bb-4181-a7f8-a73bf0c30211" providerId="ADAL" clId="{F05BB0D5-3454-45DC-8378-DA45B79D9A06}" dt="2020-10-02T13:04:33.429" v="2348" actId="790"/>
          <ac:spMkLst>
            <pc:docMk/>
            <pc:sldMk cId="2013015705" sldId="4905"/>
            <ac:spMk id="121" creationId="{22C9C9C0-C8C5-4305-9B62-2C42D0E1F2C4}"/>
          </ac:spMkLst>
        </pc:spChg>
        <pc:spChg chg="mod">
          <ac:chgData name="Ugo MANTEL" userId="2d5b7065-31bb-4181-a7f8-a73bf0c30211" providerId="ADAL" clId="{F05BB0D5-3454-45DC-8378-DA45B79D9A06}" dt="2020-10-02T13:04:33.430" v="2349" actId="790"/>
          <ac:spMkLst>
            <pc:docMk/>
            <pc:sldMk cId="2013015705" sldId="4905"/>
            <ac:spMk id="122" creationId="{A8E744D2-AE51-42A5-9322-5B7CD211673E}"/>
          </ac:spMkLst>
        </pc:spChg>
        <pc:spChg chg="mod">
          <ac:chgData name="Ugo MANTEL" userId="2d5b7065-31bb-4181-a7f8-a73bf0c30211" providerId="ADAL" clId="{F05BB0D5-3454-45DC-8378-DA45B79D9A06}" dt="2020-10-02T13:04:33.431" v="2350" actId="790"/>
          <ac:spMkLst>
            <pc:docMk/>
            <pc:sldMk cId="2013015705" sldId="4905"/>
            <ac:spMk id="123" creationId="{690709CA-66C9-4A11-AB21-C39174E7C8B2}"/>
          </ac:spMkLst>
        </pc:spChg>
        <pc:spChg chg="mod">
          <ac:chgData name="Ugo MANTEL" userId="2d5b7065-31bb-4181-a7f8-a73bf0c30211" providerId="ADAL" clId="{F05BB0D5-3454-45DC-8378-DA45B79D9A06}" dt="2020-10-02T13:04:33.431" v="2351" actId="790"/>
          <ac:spMkLst>
            <pc:docMk/>
            <pc:sldMk cId="2013015705" sldId="4905"/>
            <ac:spMk id="124" creationId="{1E4D4B87-3853-484C-AF26-F400F244DB61}"/>
          </ac:spMkLst>
        </pc:spChg>
        <pc:spChg chg="mod">
          <ac:chgData name="Ugo MANTEL" userId="2d5b7065-31bb-4181-a7f8-a73bf0c30211" providerId="ADAL" clId="{F05BB0D5-3454-45DC-8378-DA45B79D9A06}" dt="2020-10-02T13:04:33.432" v="2352" actId="790"/>
          <ac:spMkLst>
            <pc:docMk/>
            <pc:sldMk cId="2013015705" sldId="4905"/>
            <ac:spMk id="125" creationId="{A0B03716-111E-473F-A0A3-80CC8C4CDD84}"/>
          </ac:spMkLst>
        </pc:spChg>
        <pc:spChg chg="mod">
          <ac:chgData name="Ugo MANTEL" userId="2d5b7065-31bb-4181-a7f8-a73bf0c30211" providerId="ADAL" clId="{F05BB0D5-3454-45DC-8378-DA45B79D9A06}" dt="2020-10-02T13:04:33.433" v="2353" actId="790"/>
          <ac:spMkLst>
            <pc:docMk/>
            <pc:sldMk cId="2013015705" sldId="4905"/>
            <ac:spMk id="126" creationId="{DCEF34A2-9215-48A4-ADDF-0DC3487DC45A}"/>
          </ac:spMkLst>
        </pc:spChg>
        <pc:spChg chg="mod">
          <ac:chgData name="Ugo MANTEL" userId="2d5b7065-31bb-4181-a7f8-a73bf0c30211" providerId="ADAL" clId="{F05BB0D5-3454-45DC-8378-DA45B79D9A06}" dt="2020-10-02T13:04:33.434" v="2354" actId="790"/>
          <ac:spMkLst>
            <pc:docMk/>
            <pc:sldMk cId="2013015705" sldId="4905"/>
            <ac:spMk id="127" creationId="{1508050E-9AA2-4CE3-86B0-6A7DF409CA24}"/>
          </ac:spMkLst>
        </pc:spChg>
        <pc:spChg chg="mod">
          <ac:chgData name="Ugo MANTEL" userId="2d5b7065-31bb-4181-a7f8-a73bf0c30211" providerId="ADAL" clId="{F05BB0D5-3454-45DC-8378-DA45B79D9A06}" dt="2020-10-02T13:04:33.435" v="2355" actId="790"/>
          <ac:spMkLst>
            <pc:docMk/>
            <pc:sldMk cId="2013015705" sldId="4905"/>
            <ac:spMk id="128" creationId="{229A1A71-33E3-4019-8A4C-31508BC2A3FD}"/>
          </ac:spMkLst>
        </pc:spChg>
        <pc:spChg chg="mod">
          <ac:chgData name="Ugo MANTEL" userId="2d5b7065-31bb-4181-a7f8-a73bf0c30211" providerId="ADAL" clId="{F05BB0D5-3454-45DC-8378-DA45B79D9A06}" dt="2020-10-02T13:04:33.435" v="2356" actId="790"/>
          <ac:spMkLst>
            <pc:docMk/>
            <pc:sldMk cId="2013015705" sldId="4905"/>
            <ac:spMk id="129" creationId="{7A6C40CB-2A3E-4B73-A437-BA42E341F572}"/>
          </ac:spMkLst>
        </pc:spChg>
        <pc:spChg chg="mod">
          <ac:chgData name="Ugo MANTEL" userId="2d5b7065-31bb-4181-a7f8-a73bf0c30211" providerId="ADAL" clId="{F05BB0D5-3454-45DC-8378-DA45B79D9A06}" dt="2020-10-02T13:04:33.436" v="2357" actId="790"/>
          <ac:spMkLst>
            <pc:docMk/>
            <pc:sldMk cId="2013015705" sldId="4905"/>
            <ac:spMk id="130" creationId="{33E94679-2074-418D-ADEB-5E58E9592DA7}"/>
          </ac:spMkLst>
        </pc:spChg>
        <pc:spChg chg="mod">
          <ac:chgData name="Ugo MANTEL" userId="2d5b7065-31bb-4181-a7f8-a73bf0c30211" providerId="ADAL" clId="{F05BB0D5-3454-45DC-8378-DA45B79D9A06}" dt="2020-10-02T13:04:33.407" v="2315" actId="790"/>
          <ac:spMkLst>
            <pc:docMk/>
            <pc:sldMk cId="2013015705" sldId="4905"/>
            <ac:spMk id="135" creationId="{6773EAC1-C8AB-4D85-AF3D-D0589D0C29F2}"/>
          </ac:spMkLst>
        </pc:spChg>
        <pc:spChg chg="mod">
          <ac:chgData name="Ugo MANTEL" userId="2d5b7065-31bb-4181-a7f8-a73bf0c30211" providerId="ADAL" clId="{F05BB0D5-3454-45DC-8378-DA45B79D9A06}" dt="2020-10-02T13:04:33.404" v="2311" actId="790"/>
          <ac:spMkLst>
            <pc:docMk/>
            <pc:sldMk cId="2013015705" sldId="4905"/>
            <ac:spMk id="136" creationId="{FA0FC610-8EF8-4ECE-8D1A-FBC5E15F7386}"/>
          </ac:spMkLst>
        </pc:spChg>
        <pc:spChg chg="mod">
          <ac:chgData name="Ugo MANTEL" userId="2d5b7065-31bb-4181-a7f8-a73bf0c30211" providerId="ADAL" clId="{F05BB0D5-3454-45DC-8378-DA45B79D9A06}" dt="2020-10-02T13:04:33.405" v="2312" actId="790"/>
          <ac:spMkLst>
            <pc:docMk/>
            <pc:sldMk cId="2013015705" sldId="4905"/>
            <ac:spMk id="137" creationId="{7A11DAE5-DB09-438E-A868-9815ABE0A166}"/>
          </ac:spMkLst>
        </pc:spChg>
        <pc:spChg chg="mod">
          <ac:chgData name="Ugo MANTEL" userId="2d5b7065-31bb-4181-a7f8-a73bf0c30211" providerId="ADAL" clId="{F05BB0D5-3454-45DC-8378-DA45B79D9A06}" dt="2020-10-02T13:04:33.405" v="2313" actId="790"/>
          <ac:spMkLst>
            <pc:docMk/>
            <pc:sldMk cId="2013015705" sldId="4905"/>
            <ac:spMk id="138" creationId="{B4CA78ED-187D-4DF1-9C92-3D250751A14E}"/>
          </ac:spMkLst>
        </pc:spChg>
        <pc:spChg chg="mod">
          <ac:chgData name="Ugo MANTEL" userId="2d5b7065-31bb-4181-a7f8-a73bf0c30211" providerId="ADAL" clId="{F05BB0D5-3454-45DC-8378-DA45B79D9A06}" dt="2020-10-02T13:04:33.406" v="2314" actId="790"/>
          <ac:spMkLst>
            <pc:docMk/>
            <pc:sldMk cId="2013015705" sldId="4905"/>
            <ac:spMk id="139" creationId="{5587E5F2-3D47-403D-AD42-823DD29430B6}"/>
          </ac:spMkLst>
        </pc:spChg>
      </pc:sldChg>
      <pc:sldChg chg="delSp modSp mod">
        <pc:chgData name="Ugo MANTEL" userId="2d5b7065-31bb-4181-a7f8-a73bf0c30211" providerId="ADAL" clId="{F05BB0D5-3454-45DC-8378-DA45B79D9A06}" dt="2020-10-07T07:45:35.622" v="10559" actId="478"/>
        <pc:sldMkLst>
          <pc:docMk/>
          <pc:sldMk cId="1092298302" sldId="4910"/>
        </pc:sldMkLst>
        <pc:spChg chg="del">
          <ac:chgData name="Ugo MANTEL" userId="2d5b7065-31bb-4181-a7f8-a73bf0c30211" providerId="ADAL" clId="{F05BB0D5-3454-45DC-8378-DA45B79D9A06}" dt="2020-10-02T15:42:12.998" v="7500" actId="478"/>
          <ac:spMkLst>
            <pc:docMk/>
            <pc:sldMk cId="1092298302" sldId="4910"/>
            <ac:spMk id="3" creationId="{486C3A30-C550-4E3D-A6DA-C7934EAAADA5}"/>
          </ac:spMkLst>
        </pc:spChg>
        <pc:spChg chg="mod">
          <ac:chgData name="Ugo MANTEL" userId="2d5b7065-31bb-4181-a7f8-a73bf0c30211" providerId="ADAL" clId="{F05BB0D5-3454-45DC-8378-DA45B79D9A06}" dt="2020-10-02T13:04:32.014" v="953" actId="790"/>
          <ac:spMkLst>
            <pc:docMk/>
            <pc:sldMk cId="1092298302" sldId="4910"/>
            <ac:spMk id="4" creationId="{6A37D74C-3E44-4559-ABDA-59A4FF5495ED}"/>
          </ac:spMkLst>
        </pc:spChg>
        <pc:spChg chg="mod">
          <ac:chgData name="Ugo MANTEL" userId="2d5b7065-31bb-4181-a7f8-a73bf0c30211" providerId="ADAL" clId="{F05BB0D5-3454-45DC-8378-DA45B79D9A06}" dt="2020-10-02T13:04:32.015" v="954" actId="790"/>
          <ac:spMkLst>
            <pc:docMk/>
            <pc:sldMk cId="1092298302" sldId="4910"/>
            <ac:spMk id="7" creationId="{C1F6D9E0-1BF3-414C-B043-078D59ED26B1}"/>
          </ac:spMkLst>
        </pc:spChg>
        <pc:spChg chg="del">
          <ac:chgData name="Ugo MANTEL" userId="2d5b7065-31bb-4181-a7f8-a73bf0c30211" providerId="ADAL" clId="{F05BB0D5-3454-45DC-8378-DA45B79D9A06}" dt="2020-10-02T15:37:31.349" v="7499" actId="478"/>
          <ac:spMkLst>
            <pc:docMk/>
            <pc:sldMk cId="1092298302" sldId="4910"/>
            <ac:spMk id="14" creationId="{2081E113-75C8-4730-83F2-D43052470158}"/>
          </ac:spMkLst>
        </pc:spChg>
        <pc:spChg chg="del">
          <ac:chgData name="Ugo MANTEL" userId="2d5b7065-31bb-4181-a7f8-a73bf0c30211" providerId="ADAL" clId="{F05BB0D5-3454-45DC-8378-DA45B79D9A06}" dt="2020-10-07T07:45:35.622" v="10559" actId="478"/>
          <ac:spMkLst>
            <pc:docMk/>
            <pc:sldMk cId="1092298302" sldId="4910"/>
            <ac:spMk id="14" creationId="{50ED9426-0A53-4E0D-85C2-55BF70EFBE99}"/>
          </ac:spMkLst>
        </pc:spChg>
        <pc:spChg chg="del">
          <ac:chgData name="Ugo MANTEL" userId="2d5b7065-31bb-4181-a7f8-a73bf0c30211" providerId="ADAL" clId="{F05BB0D5-3454-45DC-8378-DA45B79D9A06}" dt="2020-10-07T07:43:08.872" v="10558" actId="478"/>
          <ac:spMkLst>
            <pc:docMk/>
            <pc:sldMk cId="1092298302" sldId="4910"/>
            <ac:spMk id="16" creationId="{ABE37E28-5CDF-404B-987D-8CA7D4215FCE}"/>
          </ac:spMkLst>
        </pc:spChg>
        <pc:spChg chg="mod">
          <ac:chgData name="Ugo MANTEL" userId="2d5b7065-31bb-4181-a7f8-a73bf0c30211" providerId="ADAL" clId="{F05BB0D5-3454-45DC-8378-DA45B79D9A06}" dt="2020-10-02T13:04:32.018" v="955" actId="790"/>
          <ac:spMkLst>
            <pc:docMk/>
            <pc:sldMk cId="1092298302" sldId="4910"/>
            <ac:spMk id="17" creationId="{B6E2BF46-448F-4046-BDE6-055311F7B6C9}"/>
          </ac:spMkLst>
        </pc:spChg>
        <pc:spChg chg="mod">
          <ac:chgData name="Ugo MANTEL" userId="2d5b7065-31bb-4181-a7f8-a73bf0c30211" providerId="ADAL" clId="{F05BB0D5-3454-45DC-8378-DA45B79D9A06}" dt="2020-10-02T13:04:32.020" v="956" actId="790"/>
          <ac:spMkLst>
            <pc:docMk/>
            <pc:sldMk cId="1092298302" sldId="4910"/>
            <ac:spMk id="23" creationId="{7CB568E8-F292-49FC-96ED-BFCD4922C8B5}"/>
          </ac:spMkLst>
        </pc:spChg>
        <pc:spChg chg="mod">
          <ac:chgData name="Ugo MANTEL" userId="2d5b7065-31bb-4181-a7f8-a73bf0c30211" providerId="ADAL" clId="{F05BB0D5-3454-45DC-8378-DA45B79D9A06}" dt="2020-10-02T13:04:32.022" v="957" actId="790"/>
          <ac:spMkLst>
            <pc:docMk/>
            <pc:sldMk cId="1092298302" sldId="4910"/>
            <ac:spMk id="25" creationId="{FEEE95EB-703D-42E1-A1CF-8404BA161B37}"/>
          </ac:spMkLst>
        </pc:spChg>
        <pc:spChg chg="mod">
          <ac:chgData name="Ugo MANTEL" userId="2d5b7065-31bb-4181-a7f8-a73bf0c30211" providerId="ADAL" clId="{F05BB0D5-3454-45DC-8378-DA45B79D9A06}" dt="2020-10-02T13:04:32.023" v="958" actId="790"/>
          <ac:spMkLst>
            <pc:docMk/>
            <pc:sldMk cId="1092298302" sldId="4910"/>
            <ac:spMk id="30" creationId="{0BCD5D7A-24B9-4EBF-B0D8-5A35598BC47E}"/>
          </ac:spMkLst>
        </pc:spChg>
      </pc:sldChg>
      <pc:sldChg chg="modSp mod">
        <pc:chgData name="Ugo MANTEL" userId="2d5b7065-31bb-4181-a7f8-a73bf0c30211" providerId="ADAL" clId="{F05BB0D5-3454-45DC-8378-DA45B79D9A06}" dt="2020-10-02T13:04:33.789" v="2683" actId="790"/>
        <pc:sldMkLst>
          <pc:docMk/>
          <pc:sldMk cId="740883891" sldId="4920"/>
        </pc:sldMkLst>
        <pc:spChg chg="mod">
          <ac:chgData name="Ugo MANTEL" userId="2d5b7065-31bb-4181-a7f8-a73bf0c30211" providerId="ADAL" clId="{F05BB0D5-3454-45DC-8378-DA45B79D9A06}" dt="2020-10-02T13:04:33.761" v="2666" actId="790"/>
          <ac:spMkLst>
            <pc:docMk/>
            <pc:sldMk cId="740883891" sldId="4920"/>
            <ac:spMk id="2" creationId="{62F2303A-8FFD-49AE-90E9-089CC3634CFA}"/>
          </ac:spMkLst>
        </pc:spChg>
        <pc:spChg chg="mod">
          <ac:chgData name="Ugo MANTEL" userId="2d5b7065-31bb-4181-a7f8-a73bf0c30211" providerId="ADAL" clId="{F05BB0D5-3454-45DC-8378-DA45B79D9A06}" dt="2020-10-02T13:04:33.762" v="2667" actId="790"/>
          <ac:spMkLst>
            <pc:docMk/>
            <pc:sldMk cId="740883891" sldId="4920"/>
            <ac:spMk id="3" creationId="{03F0CE59-59F1-4F12-B8CF-F41C488F73F1}"/>
          </ac:spMkLst>
        </pc:spChg>
        <pc:spChg chg="mod">
          <ac:chgData name="Ugo MANTEL" userId="2d5b7065-31bb-4181-a7f8-a73bf0c30211" providerId="ADAL" clId="{F05BB0D5-3454-45DC-8378-DA45B79D9A06}" dt="2020-10-02T13:04:33.764" v="2668" actId="790"/>
          <ac:spMkLst>
            <pc:docMk/>
            <pc:sldMk cId="740883891" sldId="4920"/>
            <ac:spMk id="6" creationId="{A9769DEA-AB65-4D3C-B8E5-4E4F18B42E1B}"/>
          </ac:spMkLst>
        </pc:spChg>
        <pc:spChg chg="mod">
          <ac:chgData name="Ugo MANTEL" userId="2d5b7065-31bb-4181-a7f8-a73bf0c30211" providerId="ADAL" clId="{F05BB0D5-3454-45DC-8378-DA45B79D9A06}" dt="2020-10-02T13:04:33.765" v="2669" actId="790"/>
          <ac:spMkLst>
            <pc:docMk/>
            <pc:sldMk cId="740883891" sldId="4920"/>
            <ac:spMk id="7" creationId="{0E1A1CF0-1A17-40C4-AB13-398172392B3C}"/>
          </ac:spMkLst>
        </pc:spChg>
        <pc:spChg chg="mod">
          <ac:chgData name="Ugo MANTEL" userId="2d5b7065-31bb-4181-a7f8-a73bf0c30211" providerId="ADAL" clId="{F05BB0D5-3454-45DC-8378-DA45B79D9A06}" dt="2020-10-02T13:04:33.767" v="2670" actId="790"/>
          <ac:spMkLst>
            <pc:docMk/>
            <pc:sldMk cId="740883891" sldId="4920"/>
            <ac:spMk id="8" creationId="{28881FAE-6B02-430E-BF3C-B9D97CADFD68}"/>
          </ac:spMkLst>
        </pc:spChg>
        <pc:spChg chg="mod">
          <ac:chgData name="Ugo MANTEL" userId="2d5b7065-31bb-4181-a7f8-a73bf0c30211" providerId="ADAL" clId="{F05BB0D5-3454-45DC-8378-DA45B79D9A06}" dt="2020-10-02T13:04:33.783" v="2676" actId="790"/>
          <ac:spMkLst>
            <pc:docMk/>
            <pc:sldMk cId="740883891" sldId="4920"/>
            <ac:spMk id="9" creationId="{C237F50B-4DB3-46F3-9CF8-B6C9E7C70672}"/>
          </ac:spMkLst>
        </pc:spChg>
        <pc:spChg chg="mod">
          <ac:chgData name="Ugo MANTEL" userId="2d5b7065-31bb-4181-a7f8-a73bf0c30211" providerId="ADAL" clId="{F05BB0D5-3454-45DC-8378-DA45B79D9A06}" dt="2020-10-02T13:04:33.760" v="2665" actId="790"/>
          <ac:spMkLst>
            <pc:docMk/>
            <pc:sldMk cId="740883891" sldId="4920"/>
            <ac:spMk id="10" creationId="{34767758-FA4D-4727-967E-124A31051E8B}"/>
          </ac:spMkLst>
        </pc:spChg>
        <pc:spChg chg="mod">
          <ac:chgData name="Ugo MANTEL" userId="2d5b7065-31bb-4181-a7f8-a73bf0c30211" providerId="ADAL" clId="{F05BB0D5-3454-45DC-8378-DA45B79D9A06}" dt="2020-10-02T13:04:33.771" v="2671" actId="790"/>
          <ac:spMkLst>
            <pc:docMk/>
            <pc:sldMk cId="740883891" sldId="4920"/>
            <ac:spMk id="12" creationId="{5FD86F9F-EB58-4C00-8DF3-9621A83E6677}"/>
          </ac:spMkLst>
        </pc:spChg>
        <pc:spChg chg="mod">
          <ac:chgData name="Ugo MANTEL" userId="2d5b7065-31bb-4181-a7f8-a73bf0c30211" providerId="ADAL" clId="{F05BB0D5-3454-45DC-8378-DA45B79D9A06}" dt="2020-10-02T13:04:33.775" v="2672" actId="790"/>
          <ac:spMkLst>
            <pc:docMk/>
            <pc:sldMk cId="740883891" sldId="4920"/>
            <ac:spMk id="13" creationId="{F3B38A53-AE1A-4D50-8CC1-D12920A71E03}"/>
          </ac:spMkLst>
        </pc:spChg>
        <pc:spChg chg="mod">
          <ac:chgData name="Ugo MANTEL" userId="2d5b7065-31bb-4181-a7f8-a73bf0c30211" providerId="ADAL" clId="{F05BB0D5-3454-45DC-8378-DA45B79D9A06}" dt="2020-10-02T13:04:33.776" v="2673" actId="790"/>
          <ac:spMkLst>
            <pc:docMk/>
            <pc:sldMk cId="740883891" sldId="4920"/>
            <ac:spMk id="16" creationId="{1AB8EDE3-93BE-4204-89F9-F7528E3DDFFF}"/>
          </ac:spMkLst>
        </pc:spChg>
        <pc:spChg chg="mod">
          <ac:chgData name="Ugo MANTEL" userId="2d5b7065-31bb-4181-a7f8-a73bf0c30211" providerId="ADAL" clId="{F05BB0D5-3454-45DC-8378-DA45B79D9A06}" dt="2020-10-02T13:04:33.781" v="2674" actId="790"/>
          <ac:spMkLst>
            <pc:docMk/>
            <pc:sldMk cId="740883891" sldId="4920"/>
            <ac:spMk id="17" creationId="{A288E874-9442-4EDE-925F-CF5FFBF5C20F}"/>
          </ac:spMkLst>
        </pc:spChg>
        <pc:spChg chg="mod">
          <ac:chgData name="Ugo MANTEL" userId="2d5b7065-31bb-4181-a7f8-a73bf0c30211" providerId="ADAL" clId="{F05BB0D5-3454-45DC-8378-DA45B79D9A06}" dt="2020-10-02T13:04:33.782" v="2675" actId="790"/>
          <ac:spMkLst>
            <pc:docMk/>
            <pc:sldMk cId="740883891" sldId="4920"/>
            <ac:spMk id="18" creationId="{EA8F80C3-7CAF-4DDE-AB29-1A2729C26376}"/>
          </ac:spMkLst>
        </pc:spChg>
        <pc:spChg chg="mod">
          <ac:chgData name="Ugo MANTEL" userId="2d5b7065-31bb-4181-a7f8-a73bf0c30211" providerId="ADAL" clId="{F05BB0D5-3454-45DC-8378-DA45B79D9A06}" dt="2020-10-02T13:04:33.786" v="2681" actId="790"/>
          <ac:spMkLst>
            <pc:docMk/>
            <pc:sldMk cId="740883891" sldId="4920"/>
            <ac:spMk id="26" creationId="{E8204433-CF00-4E32-8CB4-3A1FCCF19E18}"/>
          </ac:spMkLst>
        </pc:spChg>
        <pc:spChg chg="mod">
          <ac:chgData name="Ugo MANTEL" userId="2d5b7065-31bb-4181-a7f8-a73bf0c30211" providerId="ADAL" clId="{F05BB0D5-3454-45DC-8378-DA45B79D9A06}" dt="2020-10-02T13:04:33.784" v="2677" actId="790"/>
          <ac:spMkLst>
            <pc:docMk/>
            <pc:sldMk cId="740883891" sldId="4920"/>
            <ac:spMk id="27" creationId="{B48A42D3-5A83-4432-A2B0-517BC028186C}"/>
          </ac:spMkLst>
        </pc:spChg>
        <pc:spChg chg="mod">
          <ac:chgData name="Ugo MANTEL" userId="2d5b7065-31bb-4181-a7f8-a73bf0c30211" providerId="ADAL" clId="{F05BB0D5-3454-45DC-8378-DA45B79D9A06}" dt="2020-10-02T13:04:33.784" v="2678" actId="790"/>
          <ac:spMkLst>
            <pc:docMk/>
            <pc:sldMk cId="740883891" sldId="4920"/>
            <ac:spMk id="28" creationId="{9D4D8BA4-F73C-4876-B0F4-34B649CF5C78}"/>
          </ac:spMkLst>
        </pc:spChg>
        <pc:spChg chg="mod">
          <ac:chgData name="Ugo MANTEL" userId="2d5b7065-31bb-4181-a7f8-a73bf0c30211" providerId="ADAL" clId="{F05BB0D5-3454-45DC-8378-DA45B79D9A06}" dt="2020-10-02T13:04:33.785" v="2679" actId="790"/>
          <ac:spMkLst>
            <pc:docMk/>
            <pc:sldMk cId="740883891" sldId="4920"/>
            <ac:spMk id="29" creationId="{516ADA86-2952-4A0C-991E-2A30A6CF44A6}"/>
          </ac:spMkLst>
        </pc:spChg>
        <pc:spChg chg="mod">
          <ac:chgData name="Ugo MANTEL" userId="2d5b7065-31bb-4181-a7f8-a73bf0c30211" providerId="ADAL" clId="{F05BB0D5-3454-45DC-8378-DA45B79D9A06}" dt="2020-10-02T13:04:33.786" v="2680" actId="790"/>
          <ac:spMkLst>
            <pc:docMk/>
            <pc:sldMk cId="740883891" sldId="4920"/>
            <ac:spMk id="30" creationId="{4E7B87E1-92BA-450A-9F36-726D0EF51474}"/>
          </ac:spMkLst>
        </pc:spChg>
        <pc:spChg chg="mod">
          <ac:chgData name="Ugo MANTEL" userId="2d5b7065-31bb-4181-a7f8-a73bf0c30211" providerId="ADAL" clId="{F05BB0D5-3454-45DC-8378-DA45B79D9A06}" dt="2020-10-02T13:04:33.787" v="2682" actId="790"/>
          <ac:spMkLst>
            <pc:docMk/>
            <pc:sldMk cId="740883891" sldId="4920"/>
            <ac:spMk id="40" creationId="{DC5F025D-74B2-45E0-A7BF-BF389E0BE4CC}"/>
          </ac:spMkLst>
        </pc:spChg>
        <pc:spChg chg="mod">
          <ac:chgData name="Ugo MANTEL" userId="2d5b7065-31bb-4181-a7f8-a73bf0c30211" providerId="ADAL" clId="{F05BB0D5-3454-45DC-8378-DA45B79D9A06}" dt="2020-10-02T13:04:33.789" v="2683" actId="790"/>
          <ac:spMkLst>
            <pc:docMk/>
            <pc:sldMk cId="740883891" sldId="4920"/>
            <ac:spMk id="42" creationId="{3873F056-C298-4A4C-892F-D20EC80C5790}"/>
          </ac:spMkLst>
        </pc:spChg>
      </pc:sldChg>
      <pc:sldChg chg="modSp mod">
        <pc:chgData name="Ugo MANTEL" userId="2d5b7065-31bb-4181-a7f8-a73bf0c30211" providerId="ADAL" clId="{F05BB0D5-3454-45DC-8378-DA45B79D9A06}" dt="2020-10-05T15:12:07.933" v="10315" actId="948"/>
        <pc:sldMkLst>
          <pc:docMk/>
          <pc:sldMk cId="434245041" sldId="4996"/>
        </pc:sldMkLst>
        <pc:spChg chg="mod">
          <ac:chgData name="Ugo MANTEL" userId="2d5b7065-31bb-4181-a7f8-a73bf0c30211" providerId="ADAL" clId="{F05BB0D5-3454-45DC-8378-DA45B79D9A06}" dt="2020-10-05T15:12:07.933" v="10315" actId="948"/>
          <ac:spMkLst>
            <pc:docMk/>
            <pc:sldMk cId="434245041" sldId="4996"/>
            <ac:spMk id="2" creationId="{7814B1B9-7435-4EC7-9F25-EF7783D80DBD}"/>
          </ac:spMkLst>
        </pc:spChg>
        <pc:spChg chg="mod">
          <ac:chgData name="Ugo MANTEL" userId="2d5b7065-31bb-4181-a7f8-a73bf0c30211" providerId="ADAL" clId="{F05BB0D5-3454-45DC-8378-DA45B79D9A06}" dt="2020-10-02T13:04:34.681" v="3578" actId="790"/>
          <ac:spMkLst>
            <pc:docMk/>
            <pc:sldMk cId="434245041" sldId="4996"/>
            <ac:spMk id="5" creationId="{5F96B990-0CA3-4E24-B618-02A198F72517}"/>
          </ac:spMkLst>
        </pc:spChg>
        <pc:spChg chg="mod">
          <ac:chgData name="Ugo MANTEL" userId="2d5b7065-31bb-4181-a7f8-a73bf0c30211" providerId="ADAL" clId="{F05BB0D5-3454-45DC-8378-DA45B79D9A06}" dt="2020-10-02T13:04:34.684" v="3580" actId="790"/>
          <ac:spMkLst>
            <pc:docMk/>
            <pc:sldMk cId="434245041" sldId="4996"/>
            <ac:spMk id="12" creationId="{4C961ACA-3E54-4C59-A2C3-77D1091D3776}"/>
          </ac:spMkLst>
        </pc:spChg>
        <pc:spChg chg="mod">
          <ac:chgData name="Ugo MANTEL" userId="2d5b7065-31bb-4181-a7f8-a73bf0c30211" providerId="ADAL" clId="{F05BB0D5-3454-45DC-8378-DA45B79D9A06}" dt="2020-10-02T13:04:34.685" v="3581" actId="790"/>
          <ac:spMkLst>
            <pc:docMk/>
            <pc:sldMk cId="434245041" sldId="4996"/>
            <ac:spMk id="17" creationId="{52098047-A403-445B-A3E8-441DB75D4E21}"/>
          </ac:spMkLst>
        </pc:spChg>
        <pc:spChg chg="mod">
          <ac:chgData name="Ugo MANTEL" userId="2d5b7065-31bb-4181-a7f8-a73bf0c30211" providerId="ADAL" clId="{F05BB0D5-3454-45DC-8378-DA45B79D9A06}" dt="2020-10-02T13:04:34.686" v="3582" actId="790"/>
          <ac:spMkLst>
            <pc:docMk/>
            <pc:sldMk cId="434245041" sldId="4996"/>
            <ac:spMk id="61" creationId="{5ED89B92-DCA3-447A-8D7C-E83BB83C0FC5}"/>
          </ac:spMkLst>
        </pc:spChg>
        <pc:spChg chg="mod">
          <ac:chgData name="Ugo MANTEL" userId="2d5b7065-31bb-4181-a7f8-a73bf0c30211" providerId="ADAL" clId="{F05BB0D5-3454-45DC-8378-DA45B79D9A06}" dt="2020-10-02T13:04:34.683" v="3579" actId="790"/>
          <ac:spMkLst>
            <pc:docMk/>
            <pc:sldMk cId="434245041" sldId="4996"/>
            <ac:spMk id="62" creationId="{4F068F14-C657-460F-8E71-33B81F38B03E}"/>
          </ac:spMkLst>
        </pc:spChg>
        <pc:spChg chg="mod">
          <ac:chgData name="Ugo MANTEL" userId="2d5b7065-31bb-4181-a7f8-a73bf0c30211" providerId="ADAL" clId="{F05BB0D5-3454-45DC-8378-DA45B79D9A06}" dt="2020-10-02T13:04:34.691" v="3589" actId="790"/>
          <ac:spMkLst>
            <pc:docMk/>
            <pc:sldMk cId="434245041" sldId="4996"/>
            <ac:spMk id="67" creationId="{453E9960-BB4B-4E27-9D94-763DF0FDECFF}"/>
          </ac:spMkLst>
        </pc:spChg>
        <pc:spChg chg="mod">
          <ac:chgData name="Ugo MANTEL" userId="2d5b7065-31bb-4181-a7f8-a73bf0c30211" providerId="ADAL" clId="{F05BB0D5-3454-45DC-8378-DA45B79D9A06}" dt="2020-10-02T13:04:34.687" v="3583" actId="790"/>
          <ac:spMkLst>
            <pc:docMk/>
            <pc:sldMk cId="434245041" sldId="4996"/>
            <ac:spMk id="68" creationId="{29169BC0-6B60-4499-BBD3-0851F4B751C2}"/>
          </ac:spMkLst>
        </pc:spChg>
        <pc:spChg chg="mod">
          <ac:chgData name="Ugo MANTEL" userId="2d5b7065-31bb-4181-a7f8-a73bf0c30211" providerId="ADAL" clId="{F05BB0D5-3454-45DC-8378-DA45B79D9A06}" dt="2020-10-02T13:04:34.689" v="3586" actId="790"/>
          <ac:spMkLst>
            <pc:docMk/>
            <pc:sldMk cId="434245041" sldId="4996"/>
            <ac:spMk id="69" creationId="{6E37BA65-93C8-42DB-9640-E5F34B880D16}"/>
          </ac:spMkLst>
        </pc:spChg>
        <pc:spChg chg="mod">
          <ac:chgData name="Ugo MANTEL" userId="2d5b7065-31bb-4181-a7f8-a73bf0c30211" providerId="ADAL" clId="{F05BB0D5-3454-45DC-8378-DA45B79D9A06}" dt="2020-10-02T13:04:34.690" v="3587" actId="790"/>
          <ac:spMkLst>
            <pc:docMk/>
            <pc:sldMk cId="434245041" sldId="4996"/>
            <ac:spMk id="76" creationId="{93E3994B-407C-4E91-9359-23F937BA88DD}"/>
          </ac:spMkLst>
        </pc:spChg>
        <pc:spChg chg="mod">
          <ac:chgData name="Ugo MANTEL" userId="2d5b7065-31bb-4181-a7f8-a73bf0c30211" providerId="ADAL" clId="{F05BB0D5-3454-45DC-8378-DA45B79D9A06}" dt="2020-10-02T13:04:34.690" v="3588" actId="790"/>
          <ac:spMkLst>
            <pc:docMk/>
            <pc:sldMk cId="434245041" sldId="4996"/>
            <ac:spMk id="77" creationId="{89494FF4-C79F-4E69-8DB0-04E604EE0F58}"/>
          </ac:spMkLst>
        </pc:spChg>
        <pc:spChg chg="mod">
          <ac:chgData name="Ugo MANTEL" userId="2d5b7065-31bb-4181-a7f8-a73bf0c30211" providerId="ADAL" clId="{F05BB0D5-3454-45DC-8378-DA45B79D9A06}" dt="2020-10-02T13:04:34.692" v="3590" actId="790"/>
          <ac:spMkLst>
            <pc:docMk/>
            <pc:sldMk cId="434245041" sldId="4996"/>
            <ac:spMk id="78" creationId="{629DFAEE-54FA-473A-B931-E3CF92306B12}"/>
          </ac:spMkLst>
        </pc:spChg>
        <pc:spChg chg="mod">
          <ac:chgData name="Ugo MANTEL" userId="2d5b7065-31bb-4181-a7f8-a73bf0c30211" providerId="ADAL" clId="{F05BB0D5-3454-45DC-8378-DA45B79D9A06}" dt="2020-10-02T13:04:34.688" v="3584" actId="790"/>
          <ac:spMkLst>
            <pc:docMk/>
            <pc:sldMk cId="434245041" sldId="4996"/>
            <ac:spMk id="80" creationId="{CFD0E1B9-4669-4FBA-A1D7-D1367EB59856}"/>
          </ac:spMkLst>
        </pc:spChg>
        <pc:spChg chg="mod">
          <ac:chgData name="Ugo MANTEL" userId="2d5b7065-31bb-4181-a7f8-a73bf0c30211" providerId="ADAL" clId="{F05BB0D5-3454-45DC-8378-DA45B79D9A06}" dt="2020-10-02T13:04:34.724" v="3639" actId="790"/>
          <ac:spMkLst>
            <pc:docMk/>
            <pc:sldMk cId="434245041" sldId="4996"/>
            <ac:spMk id="96" creationId="{E295DECD-EA51-4CC3-804F-8344EDB59E61}"/>
          </ac:spMkLst>
        </pc:spChg>
        <pc:spChg chg="mod">
          <ac:chgData name="Ugo MANTEL" userId="2d5b7065-31bb-4181-a7f8-a73bf0c30211" providerId="ADAL" clId="{F05BB0D5-3454-45DC-8378-DA45B79D9A06}" dt="2020-10-02T13:04:34.725" v="3640" actId="790"/>
          <ac:spMkLst>
            <pc:docMk/>
            <pc:sldMk cId="434245041" sldId="4996"/>
            <ac:spMk id="97" creationId="{6D886A7F-299B-45EC-8290-98430C15E9AC}"/>
          </ac:spMkLst>
        </pc:spChg>
        <pc:spChg chg="mod">
          <ac:chgData name="Ugo MANTEL" userId="2d5b7065-31bb-4181-a7f8-a73bf0c30211" providerId="ADAL" clId="{F05BB0D5-3454-45DC-8378-DA45B79D9A06}" dt="2020-10-02T13:04:34.726" v="3641" actId="790"/>
          <ac:spMkLst>
            <pc:docMk/>
            <pc:sldMk cId="434245041" sldId="4996"/>
            <ac:spMk id="98" creationId="{92ED6E43-7B18-4676-997F-ADB93B2C6064}"/>
          </ac:spMkLst>
        </pc:spChg>
        <pc:spChg chg="mod">
          <ac:chgData name="Ugo MANTEL" userId="2d5b7065-31bb-4181-a7f8-a73bf0c30211" providerId="ADAL" clId="{F05BB0D5-3454-45DC-8378-DA45B79D9A06}" dt="2020-10-02T13:04:34.726" v="3642" actId="790"/>
          <ac:spMkLst>
            <pc:docMk/>
            <pc:sldMk cId="434245041" sldId="4996"/>
            <ac:spMk id="99" creationId="{215D5B16-779F-47EB-BC2D-DB116E169414}"/>
          </ac:spMkLst>
        </pc:spChg>
        <pc:spChg chg="mod">
          <ac:chgData name="Ugo MANTEL" userId="2d5b7065-31bb-4181-a7f8-a73bf0c30211" providerId="ADAL" clId="{F05BB0D5-3454-45DC-8378-DA45B79D9A06}" dt="2020-10-02T13:04:34.688" v="3585" actId="790"/>
          <ac:spMkLst>
            <pc:docMk/>
            <pc:sldMk cId="434245041" sldId="4996"/>
            <ac:spMk id="111" creationId="{45E97946-942A-4CCC-9A43-88A9A3F8DC27}"/>
          </ac:spMkLst>
        </pc:spChg>
        <pc:spChg chg="mod">
          <ac:chgData name="Ugo MANTEL" userId="2d5b7065-31bb-4181-a7f8-a73bf0c30211" providerId="ADAL" clId="{F05BB0D5-3454-45DC-8378-DA45B79D9A06}" dt="2020-10-02T13:04:34.696" v="3598" actId="790"/>
          <ac:spMkLst>
            <pc:docMk/>
            <pc:sldMk cId="434245041" sldId="4996"/>
            <ac:spMk id="113" creationId="{BDCF6002-F126-4BAA-8E81-1ADA81DCCB00}"/>
          </ac:spMkLst>
        </pc:spChg>
        <pc:spChg chg="mod">
          <ac:chgData name="Ugo MANTEL" userId="2d5b7065-31bb-4181-a7f8-a73bf0c30211" providerId="ADAL" clId="{F05BB0D5-3454-45DC-8378-DA45B79D9A06}" dt="2020-10-02T13:04:34.692" v="3591" actId="790"/>
          <ac:spMkLst>
            <pc:docMk/>
            <pc:sldMk cId="434245041" sldId="4996"/>
            <ac:spMk id="114" creationId="{8E58BE3A-4423-454F-B340-E835D0AE23C3}"/>
          </ac:spMkLst>
        </pc:spChg>
        <pc:spChg chg="mod">
          <ac:chgData name="Ugo MANTEL" userId="2d5b7065-31bb-4181-a7f8-a73bf0c30211" providerId="ADAL" clId="{F05BB0D5-3454-45DC-8378-DA45B79D9A06}" dt="2020-10-02T13:04:34.693" v="3592" actId="790"/>
          <ac:spMkLst>
            <pc:docMk/>
            <pc:sldMk cId="434245041" sldId="4996"/>
            <ac:spMk id="117" creationId="{9C1DCFB4-C414-48A0-9185-CF1D87019D68}"/>
          </ac:spMkLst>
        </pc:spChg>
        <pc:spChg chg="mod">
          <ac:chgData name="Ugo MANTEL" userId="2d5b7065-31bb-4181-a7f8-a73bf0c30211" providerId="ADAL" clId="{F05BB0D5-3454-45DC-8378-DA45B79D9A06}" dt="2020-10-02T13:04:34.693" v="3593" actId="790"/>
          <ac:spMkLst>
            <pc:docMk/>
            <pc:sldMk cId="434245041" sldId="4996"/>
            <ac:spMk id="118" creationId="{1585080F-A5B1-4DDA-ADF6-778B0FE78FE2}"/>
          </ac:spMkLst>
        </pc:spChg>
        <pc:spChg chg="mod">
          <ac:chgData name="Ugo MANTEL" userId="2d5b7065-31bb-4181-a7f8-a73bf0c30211" providerId="ADAL" clId="{F05BB0D5-3454-45DC-8378-DA45B79D9A06}" dt="2020-10-02T13:04:34.694" v="3594" actId="790"/>
          <ac:spMkLst>
            <pc:docMk/>
            <pc:sldMk cId="434245041" sldId="4996"/>
            <ac:spMk id="119" creationId="{06DF5E9C-B82F-4DD9-905D-45E513173F8C}"/>
          </ac:spMkLst>
        </pc:spChg>
        <pc:spChg chg="mod">
          <ac:chgData name="Ugo MANTEL" userId="2d5b7065-31bb-4181-a7f8-a73bf0c30211" providerId="ADAL" clId="{F05BB0D5-3454-45DC-8378-DA45B79D9A06}" dt="2020-10-02T13:04:34.694" v="3595" actId="790"/>
          <ac:spMkLst>
            <pc:docMk/>
            <pc:sldMk cId="434245041" sldId="4996"/>
            <ac:spMk id="120" creationId="{02054F66-0ABA-4C6C-906C-5FD8A73B4C15}"/>
          </ac:spMkLst>
        </pc:spChg>
        <pc:spChg chg="mod">
          <ac:chgData name="Ugo MANTEL" userId="2d5b7065-31bb-4181-a7f8-a73bf0c30211" providerId="ADAL" clId="{F05BB0D5-3454-45DC-8378-DA45B79D9A06}" dt="2020-10-02T13:04:34.695" v="3596" actId="790"/>
          <ac:spMkLst>
            <pc:docMk/>
            <pc:sldMk cId="434245041" sldId="4996"/>
            <ac:spMk id="121" creationId="{5DEC71E7-FD14-4EEC-B8A5-4A4FF92BBC58}"/>
          </ac:spMkLst>
        </pc:spChg>
        <pc:spChg chg="mod">
          <ac:chgData name="Ugo MANTEL" userId="2d5b7065-31bb-4181-a7f8-a73bf0c30211" providerId="ADAL" clId="{F05BB0D5-3454-45DC-8378-DA45B79D9A06}" dt="2020-10-02T13:04:34.695" v="3597" actId="790"/>
          <ac:spMkLst>
            <pc:docMk/>
            <pc:sldMk cId="434245041" sldId="4996"/>
            <ac:spMk id="122" creationId="{23A9F659-28F2-4A12-8B40-2D47B755E139}"/>
          </ac:spMkLst>
        </pc:spChg>
        <pc:spChg chg="mod">
          <ac:chgData name="Ugo MANTEL" userId="2d5b7065-31bb-4181-a7f8-a73bf0c30211" providerId="ADAL" clId="{F05BB0D5-3454-45DC-8378-DA45B79D9A06}" dt="2020-10-02T13:04:34.697" v="3599" actId="790"/>
          <ac:spMkLst>
            <pc:docMk/>
            <pc:sldMk cId="434245041" sldId="4996"/>
            <ac:spMk id="123" creationId="{C8A67AEA-C020-4524-915A-9DA0C107FD1F}"/>
          </ac:spMkLst>
        </pc:spChg>
        <pc:spChg chg="mod">
          <ac:chgData name="Ugo MANTEL" userId="2d5b7065-31bb-4181-a7f8-a73bf0c30211" providerId="ADAL" clId="{F05BB0D5-3454-45DC-8378-DA45B79D9A06}" dt="2020-10-02T13:04:34.697" v="3600" actId="790"/>
          <ac:spMkLst>
            <pc:docMk/>
            <pc:sldMk cId="434245041" sldId="4996"/>
            <ac:spMk id="124" creationId="{0045869F-604D-4CD1-BF4C-67A83FECC400}"/>
          </ac:spMkLst>
        </pc:spChg>
        <pc:spChg chg="mod">
          <ac:chgData name="Ugo MANTEL" userId="2d5b7065-31bb-4181-a7f8-a73bf0c30211" providerId="ADAL" clId="{F05BB0D5-3454-45DC-8378-DA45B79D9A06}" dt="2020-10-02T13:04:34.698" v="3601" actId="790"/>
          <ac:spMkLst>
            <pc:docMk/>
            <pc:sldMk cId="434245041" sldId="4996"/>
            <ac:spMk id="126" creationId="{563DE920-B635-48E6-9101-BAAF1B3023CA}"/>
          </ac:spMkLst>
        </pc:spChg>
        <pc:spChg chg="mod">
          <ac:chgData name="Ugo MANTEL" userId="2d5b7065-31bb-4181-a7f8-a73bf0c30211" providerId="ADAL" clId="{F05BB0D5-3454-45DC-8378-DA45B79D9A06}" dt="2020-10-02T13:04:34.699" v="3602" actId="790"/>
          <ac:spMkLst>
            <pc:docMk/>
            <pc:sldMk cId="434245041" sldId="4996"/>
            <ac:spMk id="128" creationId="{7BC1362B-0459-4065-8D47-402673947C07}"/>
          </ac:spMkLst>
        </pc:spChg>
        <pc:spChg chg="mod">
          <ac:chgData name="Ugo MANTEL" userId="2d5b7065-31bb-4181-a7f8-a73bf0c30211" providerId="ADAL" clId="{F05BB0D5-3454-45DC-8378-DA45B79D9A06}" dt="2020-10-02T13:04:34.699" v="3603" actId="790"/>
          <ac:spMkLst>
            <pc:docMk/>
            <pc:sldMk cId="434245041" sldId="4996"/>
            <ac:spMk id="129" creationId="{47A7ECC1-8E53-45AB-B402-2A2AEB6D8328}"/>
          </ac:spMkLst>
        </pc:spChg>
        <pc:spChg chg="mod">
          <ac:chgData name="Ugo MANTEL" userId="2d5b7065-31bb-4181-a7f8-a73bf0c30211" providerId="ADAL" clId="{F05BB0D5-3454-45DC-8378-DA45B79D9A06}" dt="2020-10-02T13:04:34.700" v="3604" actId="790"/>
          <ac:spMkLst>
            <pc:docMk/>
            <pc:sldMk cId="434245041" sldId="4996"/>
            <ac:spMk id="130" creationId="{8025374C-7616-44F0-97A4-1C9862201BE6}"/>
          </ac:spMkLst>
        </pc:spChg>
        <pc:spChg chg="mod">
          <ac:chgData name="Ugo MANTEL" userId="2d5b7065-31bb-4181-a7f8-a73bf0c30211" providerId="ADAL" clId="{F05BB0D5-3454-45DC-8378-DA45B79D9A06}" dt="2020-10-02T13:04:34.701" v="3605" actId="790"/>
          <ac:spMkLst>
            <pc:docMk/>
            <pc:sldMk cId="434245041" sldId="4996"/>
            <ac:spMk id="131" creationId="{35D3384B-834F-48A0-A61D-07FE5A020EB8}"/>
          </ac:spMkLst>
        </pc:spChg>
        <pc:spChg chg="mod">
          <ac:chgData name="Ugo MANTEL" userId="2d5b7065-31bb-4181-a7f8-a73bf0c30211" providerId="ADAL" clId="{F05BB0D5-3454-45DC-8378-DA45B79D9A06}" dt="2020-10-02T13:04:34.701" v="3606" actId="790"/>
          <ac:spMkLst>
            <pc:docMk/>
            <pc:sldMk cId="434245041" sldId="4996"/>
            <ac:spMk id="132" creationId="{FF06FC44-A592-44BA-8AF4-73CF8C28EA12}"/>
          </ac:spMkLst>
        </pc:spChg>
        <pc:spChg chg="mod">
          <ac:chgData name="Ugo MANTEL" userId="2d5b7065-31bb-4181-a7f8-a73bf0c30211" providerId="ADAL" clId="{F05BB0D5-3454-45DC-8378-DA45B79D9A06}" dt="2020-10-02T13:04:34.702" v="3607" actId="790"/>
          <ac:spMkLst>
            <pc:docMk/>
            <pc:sldMk cId="434245041" sldId="4996"/>
            <ac:spMk id="133" creationId="{F17A0E13-B36C-4C3B-8C08-97D66F161216}"/>
          </ac:spMkLst>
        </pc:spChg>
        <pc:spChg chg="mod">
          <ac:chgData name="Ugo MANTEL" userId="2d5b7065-31bb-4181-a7f8-a73bf0c30211" providerId="ADAL" clId="{F05BB0D5-3454-45DC-8378-DA45B79D9A06}" dt="2020-10-02T13:04:34.703" v="3608" actId="790"/>
          <ac:spMkLst>
            <pc:docMk/>
            <pc:sldMk cId="434245041" sldId="4996"/>
            <ac:spMk id="134" creationId="{0E9F05F5-1E14-4A19-9A44-6FC294A695F8}"/>
          </ac:spMkLst>
        </pc:spChg>
        <pc:spChg chg="mod">
          <ac:chgData name="Ugo MANTEL" userId="2d5b7065-31bb-4181-a7f8-a73bf0c30211" providerId="ADAL" clId="{F05BB0D5-3454-45DC-8378-DA45B79D9A06}" dt="2020-10-02T13:04:34.703" v="3609" actId="790"/>
          <ac:spMkLst>
            <pc:docMk/>
            <pc:sldMk cId="434245041" sldId="4996"/>
            <ac:spMk id="135" creationId="{F20FE480-8728-4244-9052-F1C080DE1E95}"/>
          </ac:spMkLst>
        </pc:spChg>
        <pc:spChg chg="mod">
          <ac:chgData name="Ugo MANTEL" userId="2d5b7065-31bb-4181-a7f8-a73bf0c30211" providerId="ADAL" clId="{F05BB0D5-3454-45DC-8378-DA45B79D9A06}" dt="2020-10-02T13:04:34.704" v="3610" actId="790"/>
          <ac:spMkLst>
            <pc:docMk/>
            <pc:sldMk cId="434245041" sldId="4996"/>
            <ac:spMk id="136" creationId="{F99F66DF-C80A-4C72-8A6F-C3468A01ED04}"/>
          </ac:spMkLst>
        </pc:spChg>
        <pc:spChg chg="mod">
          <ac:chgData name="Ugo MANTEL" userId="2d5b7065-31bb-4181-a7f8-a73bf0c30211" providerId="ADAL" clId="{F05BB0D5-3454-45DC-8378-DA45B79D9A06}" dt="2020-10-02T13:04:34.704" v="3611" actId="790"/>
          <ac:spMkLst>
            <pc:docMk/>
            <pc:sldMk cId="434245041" sldId="4996"/>
            <ac:spMk id="137" creationId="{DA787A2E-FAF8-4BC1-9C67-64DCBBA46D86}"/>
          </ac:spMkLst>
        </pc:spChg>
        <pc:spChg chg="mod">
          <ac:chgData name="Ugo MANTEL" userId="2d5b7065-31bb-4181-a7f8-a73bf0c30211" providerId="ADAL" clId="{F05BB0D5-3454-45DC-8378-DA45B79D9A06}" dt="2020-10-02T13:04:34.705" v="3612" actId="790"/>
          <ac:spMkLst>
            <pc:docMk/>
            <pc:sldMk cId="434245041" sldId="4996"/>
            <ac:spMk id="138" creationId="{56DA984E-3ACA-4FED-BDD8-E5F94B62ABFF}"/>
          </ac:spMkLst>
        </pc:spChg>
        <pc:spChg chg="mod">
          <ac:chgData name="Ugo MANTEL" userId="2d5b7065-31bb-4181-a7f8-a73bf0c30211" providerId="ADAL" clId="{F05BB0D5-3454-45DC-8378-DA45B79D9A06}" dt="2020-10-02T13:04:34.706" v="3613" actId="790"/>
          <ac:spMkLst>
            <pc:docMk/>
            <pc:sldMk cId="434245041" sldId="4996"/>
            <ac:spMk id="139" creationId="{0118EEF5-1AE5-41D5-A2FF-62A319CEADD3}"/>
          </ac:spMkLst>
        </pc:spChg>
        <pc:spChg chg="mod">
          <ac:chgData name="Ugo MANTEL" userId="2d5b7065-31bb-4181-a7f8-a73bf0c30211" providerId="ADAL" clId="{F05BB0D5-3454-45DC-8378-DA45B79D9A06}" dt="2020-10-02T13:04:34.706" v="3614" actId="790"/>
          <ac:spMkLst>
            <pc:docMk/>
            <pc:sldMk cId="434245041" sldId="4996"/>
            <ac:spMk id="140" creationId="{AA51BC7D-E708-4820-88E2-4933FE75A81D}"/>
          </ac:spMkLst>
        </pc:spChg>
        <pc:spChg chg="mod">
          <ac:chgData name="Ugo MANTEL" userId="2d5b7065-31bb-4181-a7f8-a73bf0c30211" providerId="ADAL" clId="{F05BB0D5-3454-45DC-8378-DA45B79D9A06}" dt="2020-10-02T13:04:34.707" v="3615" actId="790"/>
          <ac:spMkLst>
            <pc:docMk/>
            <pc:sldMk cId="434245041" sldId="4996"/>
            <ac:spMk id="141" creationId="{C76053D0-00CE-4B85-BABF-C4F1E2CB8DFB}"/>
          </ac:spMkLst>
        </pc:spChg>
        <pc:spChg chg="mod">
          <ac:chgData name="Ugo MANTEL" userId="2d5b7065-31bb-4181-a7f8-a73bf0c30211" providerId="ADAL" clId="{F05BB0D5-3454-45DC-8378-DA45B79D9A06}" dt="2020-10-02T13:04:34.707" v="3616" actId="790"/>
          <ac:spMkLst>
            <pc:docMk/>
            <pc:sldMk cId="434245041" sldId="4996"/>
            <ac:spMk id="142" creationId="{CF6A8BDC-77E8-4C7F-830A-65F789639286}"/>
          </ac:spMkLst>
        </pc:spChg>
        <pc:spChg chg="mod">
          <ac:chgData name="Ugo MANTEL" userId="2d5b7065-31bb-4181-a7f8-a73bf0c30211" providerId="ADAL" clId="{F05BB0D5-3454-45DC-8378-DA45B79D9A06}" dt="2020-10-02T13:04:34.708" v="3617" actId="790"/>
          <ac:spMkLst>
            <pc:docMk/>
            <pc:sldMk cId="434245041" sldId="4996"/>
            <ac:spMk id="143" creationId="{CBD1B17B-AE58-443E-9DBB-CCDFECDF5A13}"/>
          </ac:spMkLst>
        </pc:spChg>
        <pc:spChg chg="mod">
          <ac:chgData name="Ugo MANTEL" userId="2d5b7065-31bb-4181-a7f8-a73bf0c30211" providerId="ADAL" clId="{F05BB0D5-3454-45DC-8378-DA45B79D9A06}" dt="2020-10-02T13:04:34.708" v="3618" actId="790"/>
          <ac:spMkLst>
            <pc:docMk/>
            <pc:sldMk cId="434245041" sldId="4996"/>
            <ac:spMk id="144" creationId="{D996DA67-43E7-41C6-9775-345E0328AF49}"/>
          </ac:spMkLst>
        </pc:spChg>
        <pc:spChg chg="mod">
          <ac:chgData name="Ugo MANTEL" userId="2d5b7065-31bb-4181-a7f8-a73bf0c30211" providerId="ADAL" clId="{F05BB0D5-3454-45DC-8378-DA45B79D9A06}" dt="2020-10-02T13:04:34.709" v="3619" actId="790"/>
          <ac:spMkLst>
            <pc:docMk/>
            <pc:sldMk cId="434245041" sldId="4996"/>
            <ac:spMk id="145" creationId="{1CDFCF33-BEBF-437F-BDC4-479F47D93A1D}"/>
          </ac:spMkLst>
        </pc:spChg>
        <pc:spChg chg="mod">
          <ac:chgData name="Ugo MANTEL" userId="2d5b7065-31bb-4181-a7f8-a73bf0c30211" providerId="ADAL" clId="{F05BB0D5-3454-45DC-8378-DA45B79D9A06}" dt="2020-10-02T13:04:34.710" v="3620" actId="790"/>
          <ac:spMkLst>
            <pc:docMk/>
            <pc:sldMk cId="434245041" sldId="4996"/>
            <ac:spMk id="146" creationId="{DE13916F-8E0F-48C7-A553-DD154824B5EE}"/>
          </ac:spMkLst>
        </pc:spChg>
        <pc:spChg chg="mod">
          <ac:chgData name="Ugo MANTEL" userId="2d5b7065-31bb-4181-a7f8-a73bf0c30211" providerId="ADAL" clId="{F05BB0D5-3454-45DC-8378-DA45B79D9A06}" dt="2020-10-02T13:04:34.710" v="3621" actId="790"/>
          <ac:spMkLst>
            <pc:docMk/>
            <pc:sldMk cId="434245041" sldId="4996"/>
            <ac:spMk id="147" creationId="{1CCE3165-9F23-4EAB-8052-CA9B606882A5}"/>
          </ac:spMkLst>
        </pc:spChg>
        <pc:spChg chg="mod">
          <ac:chgData name="Ugo MANTEL" userId="2d5b7065-31bb-4181-a7f8-a73bf0c30211" providerId="ADAL" clId="{F05BB0D5-3454-45DC-8378-DA45B79D9A06}" dt="2020-10-02T13:04:34.711" v="3622" actId="790"/>
          <ac:spMkLst>
            <pc:docMk/>
            <pc:sldMk cId="434245041" sldId="4996"/>
            <ac:spMk id="148" creationId="{5BA28840-576E-4F7B-BC86-CCC7167A91C2}"/>
          </ac:spMkLst>
        </pc:spChg>
        <pc:spChg chg="mod">
          <ac:chgData name="Ugo MANTEL" userId="2d5b7065-31bb-4181-a7f8-a73bf0c30211" providerId="ADAL" clId="{F05BB0D5-3454-45DC-8378-DA45B79D9A06}" dt="2020-10-02T13:04:34.711" v="3623" actId="790"/>
          <ac:spMkLst>
            <pc:docMk/>
            <pc:sldMk cId="434245041" sldId="4996"/>
            <ac:spMk id="149" creationId="{24323A92-2BEF-4CA1-983E-D2DB8C1232AF}"/>
          </ac:spMkLst>
        </pc:spChg>
        <pc:spChg chg="mod">
          <ac:chgData name="Ugo MANTEL" userId="2d5b7065-31bb-4181-a7f8-a73bf0c30211" providerId="ADAL" clId="{F05BB0D5-3454-45DC-8378-DA45B79D9A06}" dt="2020-10-02T13:04:34.712" v="3624" actId="790"/>
          <ac:spMkLst>
            <pc:docMk/>
            <pc:sldMk cId="434245041" sldId="4996"/>
            <ac:spMk id="150" creationId="{F384EDC8-E7BC-47D3-9FFA-9E6422083EEE}"/>
          </ac:spMkLst>
        </pc:spChg>
        <pc:spChg chg="mod">
          <ac:chgData name="Ugo MANTEL" userId="2d5b7065-31bb-4181-a7f8-a73bf0c30211" providerId="ADAL" clId="{F05BB0D5-3454-45DC-8378-DA45B79D9A06}" dt="2020-10-02T13:04:34.712" v="3625" actId="790"/>
          <ac:spMkLst>
            <pc:docMk/>
            <pc:sldMk cId="434245041" sldId="4996"/>
            <ac:spMk id="151" creationId="{A4391137-AD67-4011-B33F-9B26ACA4796D}"/>
          </ac:spMkLst>
        </pc:spChg>
        <pc:spChg chg="mod">
          <ac:chgData name="Ugo MANTEL" userId="2d5b7065-31bb-4181-a7f8-a73bf0c30211" providerId="ADAL" clId="{F05BB0D5-3454-45DC-8378-DA45B79D9A06}" dt="2020-10-02T13:04:34.713" v="3626" actId="790"/>
          <ac:spMkLst>
            <pc:docMk/>
            <pc:sldMk cId="434245041" sldId="4996"/>
            <ac:spMk id="152" creationId="{8F30D895-A80E-4165-A698-3BD41DB2B41A}"/>
          </ac:spMkLst>
        </pc:spChg>
        <pc:spChg chg="mod">
          <ac:chgData name="Ugo MANTEL" userId="2d5b7065-31bb-4181-a7f8-a73bf0c30211" providerId="ADAL" clId="{F05BB0D5-3454-45DC-8378-DA45B79D9A06}" dt="2020-10-02T13:04:34.718" v="3633" actId="790"/>
          <ac:spMkLst>
            <pc:docMk/>
            <pc:sldMk cId="434245041" sldId="4996"/>
            <ac:spMk id="155" creationId="{1C23A93C-F188-41BD-9C9B-06FE8471FE3A}"/>
          </ac:spMkLst>
        </pc:spChg>
        <pc:spChg chg="mod">
          <ac:chgData name="Ugo MANTEL" userId="2d5b7065-31bb-4181-a7f8-a73bf0c30211" providerId="ADAL" clId="{F05BB0D5-3454-45DC-8378-DA45B79D9A06}" dt="2020-10-02T13:04:34.713" v="3627" actId="790"/>
          <ac:spMkLst>
            <pc:docMk/>
            <pc:sldMk cId="434245041" sldId="4996"/>
            <ac:spMk id="156" creationId="{3705F063-FE28-4E7E-BA53-B01C8874EA98}"/>
          </ac:spMkLst>
        </pc:spChg>
        <pc:spChg chg="mod">
          <ac:chgData name="Ugo MANTEL" userId="2d5b7065-31bb-4181-a7f8-a73bf0c30211" providerId="ADAL" clId="{F05BB0D5-3454-45DC-8378-DA45B79D9A06}" dt="2020-10-02T13:04:34.714" v="3628" actId="790"/>
          <ac:spMkLst>
            <pc:docMk/>
            <pc:sldMk cId="434245041" sldId="4996"/>
            <ac:spMk id="157" creationId="{0F0DD957-84A5-4F44-B3F7-1B8658B5D57D}"/>
          </ac:spMkLst>
        </pc:spChg>
        <pc:spChg chg="mod">
          <ac:chgData name="Ugo MANTEL" userId="2d5b7065-31bb-4181-a7f8-a73bf0c30211" providerId="ADAL" clId="{F05BB0D5-3454-45DC-8378-DA45B79D9A06}" dt="2020-10-02T13:04:34.715" v="3629" actId="790"/>
          <ac:spMkLst>
            <pc:docMk/>
            <pc:sldMk cId="434245041" sldId="4996"/>
            <ac:spMk id="158" creationId="{AB6532CF-6144-4521-8FC4-FF7142FA79FB}"/>
          </ac:spMkLst>
        </pc:spChg>
        <pc:spChg chg="mod">
          <ac:chgData name="Ugo MANTEL" userId="2d5b7065-31bb-4181-a7f8-a73bf0c30211" providerId="ADAL" clId="{F05BB0D5-3454-45DC-8378-DA45B79D9A06}" dt="2020-10-02T13:04:34.715" v="3630" actId="790"/>
          <ac:spMkLst>
            <pc:docMk/>
            <pc:sldMk cId="434245041" sldId="4996"/>
            <ac:spMk id="159" creationId="{5150297D-B5AD-44DB-9FE4-425DC4117517}"/>
          </ac:spMkLst>
        </pc:spChg>
        <pc:spChg chg="mod">
          <ac:chgData name="Ugo MANTEL" userId="2d5b7065-31bb-4181-a7f8-a73bf0c30211" providerId="ADAL" clId="{F05BB0D5-3454-45DC-8378-DA45B79D9A06}" dt="2020-10-02T13:04:34.716" v="3631" actId="790"/>
          <ac:spMkLst>
            <pc:docMk/>
            <pc:sldMk cId="434245041" sldId="4996"/>
            <ac:spMk id="160" creationId="{5ECE1081-FEBC-4798-BB0E-DFC6852ED6AD}"/>
          </ac:spMkLst>
        </pc:spChg>
        <pc:spChg chg="mod">
          <ac:chgData name="Ugo MANTEL" userId="2d5b7065-31bb-4181-a7f8-a73bf0c30211" providerId="ADAL" clId="{F05BB0D5-3454-45DC-8378-DA45B79D9A06}" dt="2020-10-02T13:04:34.717" v="3632" actId="790"/>
          <ac:spMkLst>
            <pc:docMk/>
            <pc:sldMk cId="434245041" sldId="4996"/>
            <ac:spMk id="161" creationId="{7C7EC767-C238-4BCB-866D-9220705652D8}"/>
          </ac:spMkLst>
        </pc:spChg>
        <pc:spChg chg="mod">
          <ac:chgData name="Ugo MANTEL" userId="2d5b7065-31bb-4181-a7f8-a73bf0c30211" providerId="ADAL" clId="{F05BB0D5-3454-45DC-8378-DA45B79D9A06}" dt="2020-10-02T13:04:34.718" v="3634" actId="790"/>
          <ac:spMkLst>
            <pc:docMk/>
            <pc:sldMk cId="434245041" sldId="4996"/>
            <ac:spMk id="162" creationId="{9DD4F141-9772-44F2-8377-CE85A8A89520}"/>
          </ac:spMkLst>
        </pc:spChg>
        <pc:spChg chg="mod">
          <ac:chgData name="Ugo MANTEL" userId="2d5b7065-31bb-4181-a7f8-a73bf0c30211" providerId="ADAL" clId="{F05BB0D5-3454-45DC-8378-DA45B79D9A06}" dt="2020-10-02T13:04:34.719" v="3635" actId="790"/>
          <ac:spMkLst>
            <pc:docMk/>
            <pc:sldMk cId="434245041" sldId="4996"/>
            <ac:spMk id="164" creationId="{7A575100-63EC-4C2D-AF9E-3D64A2811925}"/>
          </ac:spMkLst>
        </pc:spChg>
        <pc:spChg chg="mod">
          <ac:chgData name="Ugo MANTEL" userId="2d5b7065-31bb-4181-a7f8-a73bf0c30211" providerId="ADAL" clId="{F05BB0D5-3454-45DC-8378-DA45B79D9A06}" dt="2020-10-02T13:04:34.720" v="3636" actId="790"/>
          <ac:spMkLst>
            <pc:docMk/>
            <pc:sldMk cId="434245041" sldId="4996"/>
            <ac:spMk id="165" creationId="{F7EA5B7D-4AC8-43DF-987C-0CAB82338F9C}"/>
          </ac:spMkLst>
        </pc:spChg>
        <pc:spChg chg="mod">
          <ac:chgData name="Ugo MANTEL" userId="2d5b7065-31bb-4181-a7f8-a73bf0c30211" providerId="ADAL" clId="{F05BB0D5-3454-45DC-8378-DA45B79D9A06}" dt="2020-10-02T13:04:34.722" v="3637" actId="790"/>
          <ac:spMkLst>
            <pc:docMk/>
            <pc:sldMk cId="434245041" sldId="4996"/>
            <ac:spMk id="166" creationId="{D30442F1-5CDF-424E-BB56-C7C4247E4979}"/>
          </ac:spMkLst>
        </pc:spChg>
        <pc:spChg chg="mod">
          <ac:chgData name="Ugo MANTEL" userId="2d5b7065-31bb-4181-a7f8-a73bf0c30211" providerId="ADAL" clId="{F05BB0D5-3454-45DC-8378-DA45B79D9A06}" dt="2020-10-02T13:04:34.727" v="3643" actId="790"/>
          <ac:spMkLst>
            <pc:docMk/>
            <pc:sldMk cId="434245041" sldId="4996"/>
            <ac:spMk id="167" creationId="{7A3002E4-B192-4519-9DD3-EB4D0DEC846E}"/>
          </ac:spMkLst>
        </pc:spChg>
      </pc:sldChg>
      <pc:sldChg chg="modSp mod">
        <pc:chgData name="Ugo MANTEL" userId="2d5b7065-31bb-4181-a7f8-a73bf0c30211" providerId="ADAL" clId="{F05BB0D5-3454-45DC-8378-DA45B79D9A06}" dt="2020-10-02T13:04:35.001" v="3969" actId="790"/>
        <pc:sldMkLst>
          <pc:docMk/>
          <pc:sldMk cId="2560867724" sldId="4999"/>
        </pc:sldMkLst>
        <pc:spChg chg="mod">
          <ac:chgData name="Ugo MANTEL" userId="2d5b7065-31bb-4181-a7f8-a73bf0c30211" providerId="ADAL" clId="{F05BB0D5-3454-45DC-8378-DA45B79D9A06}" dt="2020-10-02T13:04:34.944" v="3890" actId="790"/>
          <ac:spMkLst>
            <pc:docMk/>
            <pc:sldMk cId="2560867724" sldId="4999"/>
            <ac:spMk id="4" creationId="{209ACD1F-8256-4576-BACE-9EAD37EF359D}"/>
          </ac:spMkLst>
        </pc:spChg>
        <pc:spChg chg="mod">
          <ac:chgData name="Ugo MANTEL" userId="2d5b7065-31bb-4181-a7f8-a73bf0c30211" providerId="ADAL" clId="{F05BB0D5-3454-45DC-8378-DA45B79D9A06}" dt="2020-10-02T13:04:34.947" v="3893" actId="790"/>
          <ac:spMkLst>
            <pc:docMk/>
            <pc:sldMk cId="2560867724" sldId="4999"/>
            <ac:spMk id="6" creationId="{073CBBBF-3D9B-42D6-9753-7143FCF25F79}"/>
          </ac:spMkLst>
        </pc:spChg>
        <pc:spChg chg="mod">
          <ac:chgData name="Ugo MANTEL" userId="2d5b7065-31bb-4181-a7f8-a73bf0c30211" providerId="ADAL" clId="{F05BB0D5-3454-45DC-8378-DA45B79D9A06}" dt="2020-10-02T13:04:34.946" v="3891" actId="790"/>
          <ac:spMkLst>
            <pc:docMk/>
            <pc:sldMk cId="2560867724" sldId="4999"/>
            <ac:spMk id="7" creationId="{6A14060D-9373-4696-92EF-8A765C296131}"/>
          </ac:spMkLst>
        </pc:spChg>
        <pc:spChg chg="mod">
          <ac:chgData name="Ugo MANTEL" userId="2d5b7065-31bb-4181-a7f8-a73bf0c30211" providerId="ADAL" clId="{F05BB0D5-3454-45DC-8378-DA45B79D9A06}" dt="2020-10-02T13:04:34.981" v="3950" actId="790"/>
          <ac:spMkLst>
            <pc:docMk/>
            <pc:sldMk cId="2560867724" sldId="4999"/>
            <ac:spMk id="10" creationId="{4AEACDD4-5756-4928-A607-17B9232073B1}"/>
          </ac:spMkLst>
        </pc:spChg>
        <pc:spChg chg="mod">
          <ac:chgData name="Ugo MANTEL" userId="2d5b7065-31bb-4181-a7f8-a73bf0c30211" providerId="ADAL" clId="{F05BB0D5-3454-45DC-8378-DA45B79D9A06}" dt="2020-10-02T13:04:34.948" v="3894" actId="790"/>
          <ac:spMkLst>
            <pc:docMk/>
            <pc:sldMk cId="2560867724" sldId="4999"/>
            <ac:spMk id="16" creationId="{B06104E7-3FBF-4052-909E-31812CEB7227}"/>
          </ac:spMkLst>
        </pc:spChg>
        <pc:spChg chg="mod">
          <ac:chgData name="Ugo MANTEL" userId="2d5b7065-31bb-4181-a7f8-a73bf0c30211" providerId="ADAL" clId="{F05BB0D5-3454-45DC-8378-DA45B79D9A06}" dt="2020-10-02T13:04:34.949" v="3895" actId="790"/>
          <ac:spMkLst>
            <pc:docMk/>
            <pc:sldMk cId="2560867724" sldId="4999"/>
            <ac:spMk id="17" creationId="{913F5C94-CF9D-4A7F-B560-C86EFE6C58D7}"/>
          </ac:spMkLst>
        </pc:spChg>
        <pc:spChg chg="mod">
          <ac:chgData name="Ugo MANTEL" userId="2d5b7065-31bb-4181-a7f8-a73bf0c30211" providerId="ADAL" clId="{F05BB0D5-3454-45DC-8378-DA45B79D9A06}" dt="2020-10-02T13:04:34.950" v="3896" actId="790"/>
          <ac:spMkLst>
            <pc:docMk/>
            <pc:sldMk cId="2560867724" sldId="4999"/>
            <ac:spMk id="18" creationId="{3A250FCF-FA30-4F7E-BDCD-420DDC63DECA}"/>
          </ac:spMkLst>
        </pc:spChg>
        <pc:spChg chg="mod">
          <ac:chgData name="Ugo MANTEL" userId="2d5b7065-31bb-4181-a7f8-a73bf0c30211" providerId="ADAL" clId="{F05BB0D5-3454-45DC-8378-DA45B79D9A06}" dt="2020-10-02T13:04:34.951" v="3897" actId="790"/>
          <ac:spMkLst>
            <pc:docMk/>
            <pc:sldMk cId="2560867724" sldId="4999"/>
            <ac:spMk id="19" creationId="{D5E0A3E6-87FD-4EE6-9D76-A7078149A41C}"/>
          </ac:spMkLst>
        </pc:spChg>
        <pc:spChg chg="mod">
          <ac:chgData name="Ugo MANTEL" userId="2d5b7065-31bb-4181-a7f8-a73bf0c30211" providerId="ADAL" clId="{F05BB0D5-3454-45DC-8378-DA45B79D9A06}" dt="2020-10-02T13:04:34.952" v="3898" actId="790"/>
          <ac:spMkLst>
            <pc:docMk/>
            <pc:sldMk cId="2560867724" sldId="4999"/>
            <ac:spMk id="20" creationId="{F14304AE-6747-4532-9987-6CE59DD41206}"/>
          </ac:spMkLst>
        </pc:spChg>
        <pc:spChg chg="mod">
          <ac:chgData name="Ugo MANTEL" userId="2d5b7065-31bb-4181-a7f8-a73bf0c30211" providerId="ADAL" clId="{F05BB0D5-3454-45DC-8378-DA45B79D9A06}" dt="2020-10-02T13:04:34.952" v="3899" actId="790"/>
          <ac:spMkLst>
            <pc:docMk/>
            <pc:sldMk cId="2560867724" sldId="4999"/>
            <ac:spMk id="21" creationId="{177724EC-7E54-4161-A242-388DD0A23E85}"/>
          </ac:spMkLst>
        </pc:spChg>
        <pc:spChg chg="mod">
          <ac:chgData name="Ugo MANTEL" userId="2d5b7065-31bb-4181-a7f8-a73bf0c30211" providerId="ADAL" clId="{F05BB0D5-3454-45DC-8378-DA45B79D9A06}" dt="2020-10-02T13:04:34.953" v="3900" actId="790"/>
          <ac:spMkLst>
            <pc:docMk/>
            <pc:sldMk cId="2560867724" sldId="4999"/>
            <ac:spMk id="22" creationId="{8B875634-9E00-4DC2-A20D-D8C07989348F}"/>
          </ac:spMkLst>
        </pc:spChg>
        <pc:spChg chg="mod">
          <ac:chgData name="Ugo MANTEL" userId="2d5b7065-31bb-4181-a7f8-a73bf0c30211" providerId="ADAL" clId="{F05BB0D5-3454-45DC-8378-DA45B79D9A06}" dt="2020-10-02T13:04:34.954" v="3901" actId="790"/>
          <ac:spMkLst>
            <pc:docMk/>
            <pc:sldMk cId="2560867724" sldId="4999"/>
            <ac:spMk id="23" creationId="{6D8A25CD-0899-4673-B8F4-3D48F1A3C65B}"/>
          </ac:spMkLst>
        </pc:spChg>
        <pc:spChg chg="mod">
          <ac:chgData name="Ugo MANTEL" userId="2d5b7065-31bb-4181-a7f8-a73bf0c30211" providerId="ADAL" clId="{F05BB0D5-3454-45DC-8378-DA45B79D9A06}" dt="2020-10-02T13:04:34.975" v="3938" actId="790"/>
          <ac:spMkLst>
            <pc:docMk/>
            <pc:sldMk cId="2560867724" sldId="4999"/>
            <ac:spMk id="46" creationId="{B935625D-FE85-42D1-9A3B-C3079E1F040B}"/>
          </ac:spMkLst>
        </pc:spChg>
        <pc:spChg chg="mod">
          <ac:chgData name="Ugo MANTEL" userId="2d5b7065-31bb-4181-a7f8-a73bf0c30211" providerId="ADAL" clId="{F05BB0D5-3454-45DC-8378-DA45B79D9A06}" dt="2020-10-02T13:04:34.975" v="3939" actId="790"/>
          <ac:spMkLst>
            <pc:docMk/>
            <pc:sldMk cId="2560867724" sldId="4999"/>
            <ac:spMk id="47" creationId="{0BD14BE5-BC74-4326-8F6E-25890BE862E5}"/>
          </ac:spMkLst>
        </pc:spChg>
        <pc:spChg chg="mod">
          <ac:chgData name="Ugo MANTEL" userId="2d5b7065-31bb-4181-a7f8-a73bf0c30211" providerId="ADAL" clId="{F05BB0D5-3454-45DC-8378-DA45B79D9A06}" dt="2020-10-02T13:04:34.976" v="3940" actId="790"/>
          <ac:spMkLst>
            <pc:docMk/>
            <pc:sldMk cId="2560867724" sldId="4999"/>
            <ac:spMk id="48" creationId="{86D88E4E-B283-44C6-93E1-26F421A2D467}"/>
          </ac:spMkLst>
        </pc:spChg>
        <pc:spChg chg="mod">
          <ac:chgData name="Ugo MANTEL" userId="2d5b7065-31bb-4181-a7f8-a73bf0c30211" providerId="ADAL" clId="{F05BB0D5-3454-45DC-8378-DA45B79D9A06}" dt="2020-10-02T13:04:34.976" v="3941" actId="790"/>
          <ac:spMkLst>
            <pc:docMk/>
            <pc:sldMk cId="2560867724" sldId="4999"/>
            <ac:spMk id="49" creationId="{F5706BF9-E8E1-4F63-8A38-CC3C35E51598}"/>
          </ac:spMkLst>
        </pc:spChg>
        <pc:spChg chg="mod">
          <ac:chgData name="Ugo MANTEL" userId="2d5b7065-31bb-4181-a7f8-a73bf0c30211" providerId="ADAL" clId="{F05BB0D5-3454-45DC-8378-DA45B79D9A06}" dt="2020-10-02T13:04:34.977" v="3942" actId="790"/>
          <ac:spMkLst>
            <pc:docMk/>
            <pc:sldMk cId="2560867724" sldId="4999"/>
            <ac:spMk id="50" creationId="{697685FE-79D8-461E-8E63-A407A35EA21A}"/>
          </ac:spMkLst>
        </pc:spChg>
        <pc:spChg chg="mod">
          <ac:chgData name="Ugo MANTEL" userId="2d5b7065-31bb-4181-a7f8-a73bf0c30211" providerId="ADAL" clId="{F05BB0D5-3454-45DC-8378-DA45B79D9A06}" dt="2020-10-02T13:04:34.977" v="3943" actId="790"/>
          <ac:spMkLst>
            <pc:docMk/>
            <pc:sldMk cId="2560867724" sldId="4999"/>
            <ac:spMk id="51" creationId="{30F74E7C-0861-4C02-8652-12705BF86CA0}"/>
          </ac:spMkLst>
        </pc:spChg>
        <pc:spChg chg="mod">
          <ac:chgData name="Ugo MANTEL" userId="2d5b7065-31bb-4181-a7f8-a73bf0c30211" providerId="ADAL" clId="{F05BB0D5-3454-45DC-8378-DA45B79D9A06}" dt="2020-10-02T13:04:34.961" v="3914" actId="790"/>
          <ac:spMkLst>
            <pc:docMk/>
            <pc:sldMk cId="2560867724" sldId="4999"/>
            <ac:spMk id="57" creationId="{B13DF443-65C5-424C-845A-F58E189D3CA5}"/>
          </ac:spMkLst>
        </pc:spChg>
        <pc:spChg chg="mod">
          <ac:chgData name="Ugo MANTEL" userId="2d5b7065-31bb-4181-a7f8-a73bf0c30211" providerId="ADAL" clId="{F05BB0D5-3454-45DC-8378-DA45B79D9A06}" dt="2020-10-02T13:04:34.978" v="3944" actId="790"/>
          <ac:spMkLst>
            <pc:docMk/>
            <pc:sldMk cId="2560867724" sldId="4999"/>
            <ac:spMk id="58" creationId="{0189A3E4-C5DB-45FC-BF23-54B2740D1DA4}"/>
          </ac:spMkLst>
        </pc:spChg>
        <pc:spChg chg="mod">
          <ac:chgData name="Ugo MANTEL" userId="2d5b7065-31bb-4181-a7f8-a73bf0c30211" providerId="ADAL" clId="{F05BB0D5-3454-45DC-8378-DA45B79D9A06}" dt="2020-10-02T13:04:34.978" v="3945" actId="790"/>
          <ac:spMkLst>
            <pc:docMk/>
            <pc:sldMk cId="2560867724" sldId="4999"/>
            <ac:spMk id="59" creationId="{A4C97B84-9DFC-49F4-A6DC-736D4376B2A0}"/>
          </ac:spMkLst>
        </pc:spChg>
        <pc:spChg chg="mod">
          <ac:chgData name="Ugo MANTEL" userId="2d5b7065-31bb-4181-a7f8-a73bf0c30211" providerId="ADAL" clId="{F05BB0D5-3454-45DC-8378-DA45B79D9A06}" dt="2020-10-02T13:04:34.979" v="3946" actId="790"/>
          <ac:spMkLst>
            <pc:docMk/>
            <pc:sldMk cId="2560867724" sldId="4999"/>
            <ac:spMk id="60" creationId="{24675DD0-0FA3-446C-8DDD-F388B2AF9AFF}"/>
          </ac:spMkLst>
        </pc:spChg>
        <pc:spChg chg="mod">
          <ac:chgData name="Ugo MANTEL" userId="2d5b7065-31bb-4181-a7f8-a73bf0c30211" providerId="ADAL" clId="{F05BB0D5-3454-45DC-8378-DA45B79D9A06}" dt="2020-10-02T13:04:34.954" v="3902" actId="790"/>
          <ac:spMkLst>
            <pc:docMk/>
            <pc:sldMk cId="2560867724" sldId="4999"/>
            <ac:spMk id="61" creationId="{03281B1E-EB54-405E-B79B-40EAE5F0D201}"/>
          </ac:spMkLst>
        </pc:spChg>
        <pc:spChg chg="mod">
          <ac:chgData name="Ugo MANTEL" userId="2d5b7065-31bb-4181-a7f8-a73bf0c30211" providerId="ADAL" clId="{F05BB0D5-3454-45DC-8378-DA45B79D9A06}" dt="2020-10-02T13:04:34.955" v="3903" actId="790"/>
          <ac:spMkLst>
            <pc:docMk/>
            <pc:sldMk cId="2560867724" sldId="4999"/>
            <ac:spMk id="62" creationId="{3251D41D-E154-406D-831B-ACEDEFB9991A}"/>
          </ac:spMkLst>
        </pc:spChg>
        <pc:spChg chg="mod">
          <ac:chgData name="Ugo MANTEL" userId="2d5b7065-31bb-4181-a7f8-a73bf0c30211" providerId="ADAL" clId="{F05BB0D5-3454-45DC-8378-DA45B79D9A06}" dt="2020-10-02T13:04:34.955" v="3904" actId="790"/>
          <ac:spMkLst>
            <pc:docMk/>
            <pc:sldMk cId="2560867724" sldId="4999"/>
            <ac:spMk id="63" creationId="{FCC44B41-6C4A-42A9-8A83-6D294717C301}"/>
          </ac:spMkLst>
        </pc:spChg>
        <pc:spChg chg="mod">
          <ac:chgData name="Ugo MANTEL" userId="2d5b7065-31bb-4181-a7f8-a73bf0c30211" providerId="ADAL" clId="{F05BB0D5-3454-45DC-8378-DA45B79D9A06}" dt="2020-10-02T13:04:34.956" v="3905" actId="790"/>
          <ac:spMkLst>
            <pc:docMk/>
            <pc:sldMk cId="2560867724" sldId="4999"/>
            <ac:spMk id="64" creationId="{4CD420CE-EFDA-4B03-B9DE-9F42096A5DB7}"/>
          </ac:spMkLst>
        </pc:spChg>
        <pc:spChg chg="mod">
          <ac:chgData name="Ugo MANTEL" userId="2d5b7065-31bb-4181-a7f8-a73bf0c30211" providerId="ADAL" clId="{F05BB0D5-3454-45DC-8378-DA45B79D9A06}" dt="2020-10-02T13:04:34.962" v="3915" actId="790"/>
          <ac:spMkLst>
            <pc:docMk/>
            <pc:sldMk cId="2560867724" sldId="4999"/>
            <ac:spMk id="65" creationId="{33B0F95C-A84B-4878-9481-4E5E183F9A84}"/>
          </ac:spMkLst>
        </pc:spChg>
        <pc:spChg chg="mod">
          <ac:chgData name="Ugo MANTEL" userId="2d5b7065-31bb-4181-a7f8-a73bf0c30211" providerId="ADAL" clId="{F05BB0D5-3454-45DC-8378-DA45B79D9A06}" dt="2020-10-02T13:04:34.962" v="3916" actId="790"/>
          <ac:spMkLst>
            <pc:docMk/>
            <pc:sldMk cId="2560867724" sldId="4999"/>
            <ac:spMk id="66" creationId="{89EFB7A0-EE00-4254-9297-8D630A252B64}"/>
          </ac:spMkLst>
        </pc:spChg>
        <pc:spChg chg="mod">
          <ac:chgData name="Ugo MANTEL" userId="2d5b7065-31bb-4181-a7f8-a73bf0c30211" providerId="ADAL" clId="{F05BB0D5-3454-45DC-8378-DA45B79D9A06}" dt="2020-10-02T13:04:34.963" v="3917" actId="790"/>
          <ac:spMkLst>
            <pc:docMk/>
            <pc:sldMk cId="2560867724" sldId="4999"/>
            <ac:spMk id="67" creationId="{98492036-D0E4-4B53-9660-3D24C8BFCE3E}"/>
          </ac:spMkLst>
        </pc:spChg>
        <pc:spChg chg="mod">
          <ac:chgData name="Ugo MANTEL" userId="2d5b7065-31bb-4181-a7f8-a73bf0c30211" providerId="ADAL" clId="{F05BB0D5-3454-45DC-8378-DA45B79D9A06}" dt="2020-10-02T13:04:34.963" v="3918" actId="790"/>
          <ac:spMkLst>
            <pc:docMk/>
            <pc:sldMk cId="2560867724" sldId="4999"/>
            <ac:spMk id="68" creationId="{D92EFE09-CFD3-4A1C-9905-97DF4210AAE3}"/>
          </ac:spMkLst>
        </pc:spChg>
        <pc:spChg chg="mod">
          <ac:chgData name="Ugo MANTEL" userId="2d5b7065-31bb-4181-a7f8-a73bf0c30211" providerId="ADAL" clId="{F05BB0D5-3454-45DC-8378-DA45B79D9A06}" dt="2020-10-02T13:04:34.968" v="3926" actId="790"/>
          <ac:spMkLst>
            <pc:docMk/>
            <pc:sldMk cId="2560867724" sldId="4999"/>
            <ac:spMk id="69" creationId="{F3A071CD-59E8-4A3A-90E8-CD9DD9245369}"/>
          </ac:spMkLst>
        </pc:spChg>
        <pc:spChg chg="mod">
          <ac:chgData name="Ugo MANTEL" userId="2d5b7065-31bb-4181-a7f8-a73bf0c30211" providerId="ADAL" clId="{F05BB0D5-3454-45DC-8378-DA45B79D9A06}" dt="2020-10-02T13:04:34.969" v="3927" actId="790"/>
          <ac:spMkLst>
            <pc:docMk/>
            <pc:sldMk cId="2560867724" sldId="4999"/>
            <ac:spMk id="70" creationId="{9F09764F-54ED-497C-8BEC-DC7C2290ECB2}"/>
          </ac:spMkLst>
        </pc:spChg>
        <pc:spChg chg="mod">
          <ac:chgData name="Ugo MANTEL" userId="2d5b7065-31bb-4181-a7f8-a73bf0c30211" providerId="ADAL" clId="{F05BB0D5-3454-45DC-8378-DA45B79D9A06}" dt="2020-10-02T13:04:34.969" v="3928" actId="790"/>
          <ac:spMkLst>
            <pc:docMk/>
            <pc:sldMk cId="2560867724" sldId="4999"/>
            <ac:spMk id="71" creationId="{A8D8E0A1-B787-40BC-BBDC-AC4CCD0B8D36}"/>
          </ac:spMkLst>
        </pc:spChg>
        <pc:spChg chg="mod">
          <ac:chgData name="Ugo MANTEL" userId="2d5b7065-31bb-4181-a7f8-a73bf0c30211" providerId="ADAL" clId="{F05BB0D5-3454-45DC-8378-DA45B79D9A06}" dt="2020-10-02T13:04:34.970" v="3929" actId="790"/>
          <ac:spMkLst>
            <pc:docMk/>
            <pc:sldMk cId="2560867724" sldId="4999"/>
            <ac:spMk id="72" creationId="{3EFF76FF-63C4-4E96-9AB6-A27DCBFDA21C}"/>
          </ac:spMkLst>
        </pc:spChg>
        <pc:spChg chg="mod">
          <ac:chgData name="Ugo MANTEL" userId="2d5b7065-31bb-4181-a7f8-a73bf0c30211" providerId="ADAL" clId="{F05BB0D5-3454-45DC-8378-DA45B79D9A06}" dt="2020-10-02T13:04:34.956" v="3906" actId="790"/>
          <ac:spMkLst>
            <pc:docMk/>
            <pc:sldMk cId="2560867724" sldId="4999"/>
            <ac:spMk id="78" creationId="{F1D2D26B-38C6-43AB-9D1D-7851AD9914F3}"/>
          </ac:spMkLst>
        </pc:spChg>
        <pc:spChg chg="mod">
          <ac:chgData name="Ugo MANTEL" userId="2d5b7065-31bb-4181-a7f8-a73bf0c30211" providerId="ADAL" clId="{F05BB0D5-3454-45DC-8378-DA45B79D9A06}" dt="2020-10-02T13:04:34.957" v="3907" actId="790"/>
          <ac:spMkLst>
            <pc:docMk/>
            <pc:sldMk cId="2560867724" sldId="4999"/>
            <ac:spMk id="79" creationId="{F17C5DBD-1BF6-4AB3-8C6E-9F593143A76C}"/>
          </ac:spMkLst>
        </pc:spChg>
        <pc:spChg chg="mod">
          <ac:chgData name="Ugo MANTEL" userId="2d5b7065-31bb-4181-a7f8-a73bf0c30211" providerId="ADAL" clId="{F05BB0D5-3454-45DC-8378-DA45B79D9A06}" dt="2020-10-02T13:04:34.957" v="3908" actId="790"/>
          <ac:spMkLst>
            <pc:docMk/>
            <pc:sldMk cId="2560867724" sldId="4999"/>
            <ac:spMk id="80" creationId="{37E14909-97E7-4198-A350-2DB8DD869813}"/>
          </ac:spMkLst>
        </pc:spChg>
        <pc:spChg chg="mod">
          <ac:chgData name="Ugo MANTEL" userId="2d5b7065-31bb-4181-a7f8-a73bf0c30211" providerId="ADAL" clId="{F05BB0D5-3454-45DC-8378-DA45B79D9A06}" dt="2020-10-02T13:04:34.958" v="3909" actId="790"/>
          <ac:spMkLst>
            <pc:docMk/>
            <pc:sldMk cId="2560867724" sldId="4999"/>
            <ac:spMk id="81" creationId="{88B0D50E-36BF-4FEB-9967-14C2E7241AE8}"/>
          </ac:spMkLst>
        </pc:spChg>
        <pc:spChg chg="mod">
          <ac:chgData name="Ugo MANTEL" userId="2d5b7065-31bb-4181-a7f8-a73bf0c30211" providerId="ADAL" clId="{F05BB0D5-3454-45DC-8378-DA45B79D9A06}" dt="2020-10-02T13:04:34.959" v="3910" actId="790"/>
          <ac:spMkLst>
            <pc:docMk/>
            <pc:sldMk cId="2560867724" sldId="4999"/>
            <ac:spMk id="82" creationId="{53BC15A9-4DDF-464D-B838-F8B484086381}"/>
          </ac:spMkLst>
        </pc:spChg>
        <pc:spChg chg="mod">
          <ac:chgData name="Ugo MANTEL" userId="2d5b7065-31bb-4181-a7f8-a73bf0c30211" providerId="ADAL" clId="{F05BB0D5-3454-45DC-8378-DA45B79D9A06}" dt="2020-10-02T13:04:34.959" v="3911" actId="790"/>
          <ac:spMkLst>
            <pc:docMk/>
            <pc:sldMk cId="2560867724" sldId="4999"/>
            <ac:spMk id="83" creationId="{59141F7E-CC81-4CB8-AD2C-3BADA3B1D9E0}"/>
          </ac:spMkLst>
        </pc:spChg>
        <pc:spChg chg="mod">
          <ac:chgData name="Ugo MANTEL" userId="2d5b7065-31bb-4181-a7f8-a73bf0c30211" providerId="ADAL" clId="{F05BB0D5-3454-45DC-8378-DA45B79D9A06}" dt="2020-10-02T13:04:34.964" v="3919" actId="790"/>
          <ac:spMkLst>
            <pc:docMk/>
            <pc:sldMk cId="2560867724" sldId="4999"/>
            <ac:spMk id="89" creationId="{6F49BE15-801F-4528-8A54-AAEAB5D7F179}"/>
          </ac:spMkLst>
        </pc:spChg>
        <pc:spChg chg="mod">
          <ac:chgData name="Ugo MANTEL" userId="2d5b7065-31bb-4181-a7f8-a73bf0c30211" providerId="ADAL" clId="{F05BB0D5-3454-45DC-8378-DA45B79D9A06}" dt="2020-10-02T13:04:34.964" v="3920" actId="790"/>
          <ac:spMkLst>
            <pc:docMk/>
            <pc:sldMk cId="2560867724" sldId="4999"/>
            <ac:spMk id="90" creationId="{63556117-CC35-4D20-8CBD-D9E01848A2D8}"/>
          </ac:spMkLst>
        </pc:spChg>
        <pc:spChg chg="mod">
          <ac:chgData name="Ugo MANTEL" userId="2d5b7065-31bb-4181-a7f8-a73bf0c30211" providerId="ADAL" clId="{F05BB0D5-3454-45DC-8378-DA45B79D9A06}" dt="2020-10-02T13:04:34.965" v="3921" actId="790"/>
          <ac:spMkLst>
            <pc:docMk/>
            <pc:sldMk cId="2560867724" sldId="4999"/>
            <ac:spMk id="91" creationId="{B9D88896-C563-4C92-834D-C5B437C9CC72}"/>
          </ac:spMkLst>
        </pc:spChg>
        <pc:spChg chg="mod">
          <ac:chgData name="Ugo MANTEL" userId="2d5b7065-31bb-4181-a7f8-a73bf0c30211" providerId="ADAL" clId="{F05BB0D5-3454-45DC-8378-DA45B79D9A06}" dt="2020-10-02T13:04:34.965" v="3922" actId="790"/>
          <ac:spMkLst>
            <pc:docMk/>
            <pc:sldMk cId="2560867724" sldId="4999"/>
            <ac:spMk id="92" creationId="{15C37E8A-C622-478D-BE57-4BB5CB83CAAF}"/>
          </ac:spMkLst>
        </pc:spChg>
        <pc:spChg chg="mod">
          <ac:chgData name="Ugo MANTEL" userId="2d5b7065-31bb-4181-a7f8-a73bf0c30211" providerId="ADAL" clId="{F05BB0D5-3454-45DC-8378-DA45B79D9A06}" dt="2020-10-02T13:04:34.966" v="3923" actId="790"/>
          <ac:spMkLst>
            <pc:docMk/>
            <pc:sldMk cId="2560867724" sldId="4999"/>
            <ac:spMk id="93" creationId="{9795EA03-3ADA-4495-8A1E-D99631DF8547}"/>
          </ac:spMkLst>
        </pc:spChg>
        <pc:spChg chg="mod">
          <ac:chgData name="Ugo MANTEL" userId="2d5b7065-31bb-4181-a7f8-a73bf0c30211" providerId="ADAL" clId="{F05BB0D5-3454-45DC-8378-DA45B79D9A06}" dt="2020-10-02T13:04:34.970" v="3930" actId="790"/>
          <ac:spMkLst>
            <pc:docMk/>
            <pc:sldMk cId="2560867724" sldId="4999"/>
            <ac:spMk id="99" creationId="{CC579BC9-F06E-40D6-9089-2F29368CE407}"/>
          </ac:spMkLst>
        </pc:spChg>
        <pc:spChg chg="mod">
          <ac:chgData name="Ugo MANTEL" userId="2d5b7065-31bb-4181-a7f8-a73bf0c30211" providerId="ADAL" clId="{F05BB0D5-3454-45DC-8378-DA45B79D9A06}" dt="2020-10-02T13:04:34.971" v="3931" actId="790"/>
          <ac:spMkLst>
            <pc:docMk/>
            <pc:sldMk cId="2560867724" sldId="4999"/>
            <ac:spMk id="100" creationId="{6B4D98A6-2CC0-4102-B4C1-2574B8461952}"/>
          </ac:spMkLst>
        </pc:spChg>
        <pc:spChg chg="mod">
          <ac:chgData name="Ugo MANTEL" userId="2d5b7065-31bb-4181-a7f8-a73bf0c30211" providerId="ADAL" clId="{F05BB0D5-3454-45DC-8378-DA45B79D9A06}" dt="2020-10-02T13:04:34.971" v="3932" actId="790"/>
          <ac:spMkLst>
            <pc:docMk/>
            <pc:sldMk cId="2560867724" sldId="4999"/>
            <ac:spMk id="101" creationId="{47E216FA-5823-4510-A587-08E21D4E5387}"/>
          </ac:spMkLst>
        </pc:spChg>
        <pc:spChg chg="mod">
          <ac:chgData name="Ugo MANTEL" userId="2d5b7065-31bb-4181-a7f8-a73bf0c30211" providerId="ADAL" clId="{F05BB0D5-3454-45DC-8378-DA45B79D9A06}" dt="2020-10-02T13:04:34.972" v="3933" actId="790"/>
          <ac:spMkLst>
            <pc:docMk/>
            <pc:sldMk cId="2560867724" sldId="4999"/>
            <ac:spMk id="102" creationId="{241AE8A5-4A68-4CFD-A3B1-955BE47B53AF}"/>
          </ac:spMkLst>
        </pc:spChg>
        <pc:spChg chg="mod">
          <ac:chgData name="Ugo MANTEL" userId="2d5b7065-31bb-4181-a7f8-a73bf0c30211" providerId="ADAL" clId="{F05BB0D5-3454-45DC-8378-DA45B79D9A06}" dt="2020-10-02T13:04:34.972" v="3934" actId="790"/>
          <ac:spMkLst>
            <pc:docMk/>
            <pc:sldMk cId="2560867724" sldId="4999"/>
            <ac:spMk id="103" creationId="{6DC8F5F3-B2F0-480A-A6E3-9F4F3BDDDD0D}"/>
          </ac:spMkLst>
        </pc:spChg>
        <pc:spChg chg="mod">
          <ac:chgData name="Ugo MANTEL" userId="2d5b7065-31bb-4181-a7f8-a73bf0c30211" providerId="ADAL" clId="{F05BB0D5-3454-45DC-8378-DA45B79D9A06}" dt="2020-10-02T13:04:34.973" v="3935" actId="790"/>
          <ac:spMkLst>
            <pc:docMk/>
            <pc:sldMk cId="2560867724" sldId="4999"/>
            <ac:spMk id="104" creationId="{3CD4DABD-4152-4FA7-99EF-0C6D2470D395}"/>
          </ac:spMkLst>
        </pc:spChg>
        <pc:spChg chg="mod">
          <ac:chgData name="Ugo MANTEL" userId="2d5b7065-31bb-4181-a7f8-a73bf0c30211" providerId="ADAL" clId="{F05BB0D5-3454-45DC-8378-DA45B79D9A06}" dt="2020-10-02T13:04:34.980" v="3947" actId="790"/>
          <ac:spMkLst>
            <pc:docMk/>
            <pc:sldMk cId="2560867724" sldId="4999"/>
            <ac:spMk id="122" creationId="{8BAA2B8F-E014-480E-9B73-426ED3CA135D}"/>
          </ac:spMkLst>
        </pc:spChg>
        <pc:spChg chg="mod">
          <ac:chgData name="Ugo MANTEL" userId="2d5b7065-31bb-4181-a7f8-a73bf0c30211" providerId="ADAL" clId="{F05BB0D5-3454-45DC-8378-DA45B79D9A06}" dt="2020-10-02T13:04:34.980" v="3948" actId="790"/>
          <ac:spMkLst>
            <pc:docMk/>
            <pc:sldMk cId="2560867724" sldId="4999"/>
            <ac:spMk id="123" creationId="{F94A9885-848E-498F-BCBD-BDF0200BBA6D}"/>
          </ac:spMkLst>
        </pc:spChg>
        <pc:spChg chg="mod">
          <ac:chgData name="Ugo MANTEL" userId="2d5b7065-31bb-4181-a7f8-a73bf0c30211" providerId="ADAL" clId="{F05BB0D5-3454-45DC-8378-DA45B79D9A06}" dt="2020-10-02T13:04:34.981" v="3949" actId="790"/>
          <ac:spMkLst>
            <pc:docMk/>
            <pc:sldMk cId="2560867724" sldId="4999"/>
            <ac:spMk id="124" creationId="{50B91558-2667-4F37-AC69-A1E0F1BD0C95}"/>
          </ac:spMkLst>
        </pc:spChg>
        <pc:spChg chg="mod">
          <ac:chgData name="Ugo MANTEL" userId="2d5b7065-31bb-4181-a7f8-a73bf0c30211" providerId="ADAL" clId="{F05BB0D5-3454-45DC-8378-DA45B79D9A06}" dt="2020-10-02T13:04:34.960" v="3912" actId="790"/>
          <ac:spMkLst>
            <pc:docMk/>
            <pc:sldMk cId="2560867724" sldId="4999"/>
            <ac:spMk id="127" creationId="{C448E81C-0C04-445E-B2D5-56A727A77777}"/>
          </ac:spMkLst>
        </pc:spChg>
        <pc:spChg chg="mod">
          <ac:chgData name="Ugo MANTEL" userId="2d5b7065-31bb-4181-a7f8-a73bf0c30211" providerId="ADAL" clId="{F05BB0D5-3454-45DC-8378-DA45B79D9A06}" dt="2020-10-02T13:04:34.960" v="3913" actId="790"/>
          <ac:spMkLst>
            <pc:docMk/>
            <pc:sldMk cId="2560867724" sldId="4999"/>
            <ac:spMk id="128" creationId="{917FC58C-6148-4C9E-AC3F-76AA30EF4EA0}"/>
          </ac:spMkLst>
        </pc:spChg>
        <pc:spChg chg="mod">
          <ac:chgData name="Ugo MANTEL" userId="2d5b7065-31bb-4181-a7f8-a73bf0c30211" providerId="ADAL" clId="{F05BB0D5-3454-45DC-8378-DA45B79D9A06}" dt="2020-10-02T13:04:34.967" v="3924" actId="790"/>
          <ac:spMkLst>
            <pc:docMk/>
            <pc:sldMk cId="2560867724" sldId="4999"/>
            <ac:spMk id="131" creationId="{E47114D0-8A57-4CB2-9C60-44A7BB8A425A}"/>
          </ac:spMkLst>
        </pc:spChg>
        <pc:spChg chg="mod">
          <ac:chgData name="Ugo MANTEL" userId="2d5b7065-31bb-4181-a7f8-a73bf0c30211" providerId="ADAL" clId="{F05BB0D5-3454-45DC-8378-DA45B79D9A06}" dt="2020-10-02T13:04:34.967" v="3925" actId="790"/>
          <ac:spMkLst>
            <pc:docMk/>
            <pc:sldMk cId="2560867724" sldId="4999"/>
            <ac:spMk id="132" creationId="{C833ACF6-F610-4096-BAEB-C213E8F79084}"/>
          </ac:spMkLst>
        </pc:spChg>
        <pc:spChg chg="mod">
          <ac:chgData name="Ugo MANTEL" userId="2d5b7065-31bb-4181-a7f8-a73bf0c30211" providerId="ADAL" clId="{F05BB0D5-3454-45DC-8378-DA45B79D9A06}" dt="2020-10-02T13:04:34.974" v="3936" actId="790"/>
          <ac:spMkLst>
            <pc:docMk/>
            <pc:sldMk cId="2560867724" sldId="4999"/>
            <ac:spMk id="135" creationId="{149A9BA5-47C4-462B-8A13-11C7FE9FAACC}"/>
          </ac:spMkLst>
        </pc:spChg>
        <pc:spChg chg="mod">
          <ac:chgData name="Ugo MANTEL" userId="2d5b7065-31bb-4181-a7f8-a73bf0c30211" providerId="ADAL" clId="{F05BB0D5-3454-45DC-8378-DA45B79D9A06}" dt="2020-10-02T13:04:34.974" v="3937" actId="790"/>
          <ac:spMkLst>
            <pc:docMk/>
            <pc:sldMk cId="2560867724" sldId="4999"/>
            <ac:spMk id="136" creationId="{0F89392A-7C98-4626-B2AC-3DC6CD6FB91E}"/>
          </ac:spMkLst>
        </pc:spChg>
        <pc:spChg chg="mod">
          <ac:chgData name="Ugo MANTEL" userId="2d5b7065-31bb-4181-a7f8-a73bf0c30211" providerId="ADAL" clId="{F05BB0D5-3454-45DC-8378-DA45B79D9A06}" dt="2020-10-02T13:04:34.994" v="3961" actId="790"/>
          <ac:spMkLst>
            <pc:docMk/>
            <pc:sldMk cId="2560867724" sldId="4999"/>
            <ac:spMk id="148" creationId="{7E3B7961-0B6D-4E30-83E2-1EC54419A51E}"/>
          </ac:spMkLst>
        </pc:spChg>
        <pc:spChg chg="mod">
          <ac:chgData name="Ugo MANTEL" userId="2d5b7065-31bb-4181-a7f8-a73bf0c30211" providerId="ADAL" clId="{F05BB0D5-3454-45DC-8378-DA45B79D9A06}" dt="2020-10-02T13:04:34.987" v="3955" actId="790"/>
          <ac:spMkLst>
            <pc:docMk/>
            <pc:sldMk cId="2560867724" sldId="4999"/>
            <ac:spMk id="150" creationId="{102B905A-837B-41DC-A808-ED64E9A93AA5}"/>
          </ac:spMkLst>
        </pc:spChg>
        <pc:spChg chg="mod">
          <ac:chgData name="Ugo MANTEL" userId="2d5b7065-31bb-4181-a7f8-a73bf0c30211" providerId="ADAL" clId="{F05BB0D5-3454-45DC-8378-DA45B79D9A06}" dt="2020-10-02T13:04:34.987" v="3956" actId="790"/>
          <ac:spMkLst>
            <pc:docMk/>
            <pc:sldMk cId="2560867724" sldId="4999"/>
            <ac:spMk id="151" creationId="{8D190E54-F3A2-49EF-8A82-4BF752403E03}"/>
          </ac:spMkLst>
        </pc:spChg>
        <pc:spChg chg="mod">
          <ac:chgData name="Ugo MANTEL" userId="2d5b7065-31bb-4181-a7f8-a73bf0c30211" providerId="ADAL" clId="{F05BB0D5-3454-45DC-8378-DA45B79D9A06}" dt="2020-10-02T13:04:34.995" v="3962" actId="790"/>
          <ac:spMkLst>
            <pc:docMk/>
            <pc:sldMk cId="2560867724" sldId="4999"/>
            <ac:spMk id="152" creationId="{2BBD314E-5D24-403F-BB3D-288D26143D9A}"/>
          </ac:spMkLst>
        </pc:spChg>
        <pc:spChg chg="mod">
          <ac:chgData name="Ugo MANTEL" userId="2d5b7065-31bb-4181-a7f8-a73bf0c30211" providerId="ADAL" clId="{F05BB0D5-3454-45DC-8378-DA45B79D9A06}" dt="2020-10-02T13:04:34.998" v="3965" actId="790"/>
          <ac:spMkLst>
            <pc:docMk/>
            <pc:sldMk cId="2560867724" sldId="4999"/>
            <ac:spMk id="155" creationId="{6F5F5645-6C8E-4B42-A187-592B84195307}"/>
          </ac:spMkLst>
        </pc:spChg>
        <pc:spChg chg="mod">
          <ac:chgData name="Ugo MANTEL" userId="2d5b7065-31bb-4181-a7f8-a73bf0c30211" providerId="ADAL" clId="{F05BB0D5-3454-45DC-8378-DA45B79D9A06}" dt="2020-10-02T13:04:34.988" v="3957" actId="790"/>
          <ac:spMkLst>
            <pc:docMk/>
            <pc:sldMk cId="2560867724" sldId="4999"/>
            <ac:spMk id="156" creationId="{15E63A5D-4FA6-4E4C-8AF6-35FCC3E2E7A5}"/>
          </ac:spMkLst>
        </pc:spChg>
        <pc:spChg chg="mod">
          <ac:chgData name="Ugo MANTEL" userId="2d5b7065-31bb-4181-a7f8-a73bf0c30211" providerId="ADAL" clId="{F05BB0D5-3454-45DC-8378-DA45B79D9A06}" dt="2020-10-02T13:04:35.001" v="3969" actId="790"/>
          <ac:spMkLst>
            <pc:docMk/>
            <pc:sldMk cId="2560867724" sldId="4999"/>
            <ac:spMk id="159" creationId="{D0CA5697-8155-42E6-88A8-96663A0480B1}"/>
          </ac:spMkLst>
        </pc:spChg>
        <pc:spChg chg="mod">
          <ac:chgData name="Ugo MANTEL" userId="2d5b7065-31bb-4181-a7f8-a73bf0c30211" providerId="ADAL" clId="{F05BB0D5-3454-45DC-8378-DA45B79D9A06}" dt="2020-10-02T13:04:34.996" v="3963" actId="790"/>
          <ac:spMkLst>
            <pc:docMk/>
            <pc:sldMk cId="2560867724" sldId="4999"/>
            <ac:spMk id="160" creationId="{4DCFCBC1-4269-49E7-B0C6-8D3E7C7D64CE}"/>
          </ac:spMkLst>
        </pc:spChg>
        <pc:spChg chg="mod">
          <ac:chgData name="Ugo MANTEL" userId="2d5b7065-31bb-4181-a7f8-a73bf0c30211" providerId="ADAL" clId="{F05BB0D5-3454-45DC-8378-DA45B79D9A06}" dt="2020-10-02T13:04:34.997" v="3964" actId="790"/>
          <ac:spMkLst>
            <pc:docMk/>
            <pc:sldMk cId="2560867724" sldId="4999"/>
            <ac:spMk id="161" creationId="{6BE217FC-531A-45E9-BA9D-CAC77EDB31E8}"/>
          </ac:spMkLst>
        </pc:spChg>
        <pc:spChg chg="mod">
          <ac:chgData name="Ugo MANTEL" userId="2d5b7065-31bb-4181-a7f8-a73bf0c30211" providerId="ADAL" clId="{F05BB0D5-3454-45DC-8378-DA45B79D9A06}" dt="2020-10-02T13:04:34.999" v="3966" actId="790"/>
          <ac:spMkLst>
            <pc:docMk/>
            <pc:sldMk cId="2560867724" sldId="4999"/>
            <ac:spMk id="163" creationId="{A6369CCF-6951-41FE-91BE-751C8F89B903}"/>
          </ac:spMkLst>
        </pc:spChg>
        <pc:spChg chg="mod">
          <ac:chgData name="Ugo MANTEL" userId="2d5b7065-31bb-4181-a7f8-a73bf0c30211" providerId="ADAL" clId="{F05BB0D5-3454-45DC-8378-DA45B79D9A06}" dt="2020-10-02T13:04:34.989" v="3958" actId="790"/>
          <ac:spMkLst>
            <pc:docMk/>
            <pc:sldMk cId="2560867724" sldId="4999"/>
            <ac:spMk id="164" creationId="{ADBD6D03-D397-496D-8A6A-225C80221206}"/>
          </ac:spMkLst>
        </pc:spChg>
        <pc:spChg chg="mod">
          <ac:chgData name="Ugo MANTEL" userId="2d5b7065-31bb-4181-a7f8-a73bf0c30211" providerId="ADAL" clId="{F05BB0D5-3454-45DC-8378-DA45B79D9A06}" dt="2020-10-02T13:04:34.990" v="3959" actId="790"/>
          <ac:spMkLst>
            <pc:docMk/>
            <pc:sldMk cId="2560867724" sldId="4999"/>
            <ac:spMk id="172" creationId="{B314F272-0D50-4AD7-A487-7D85627525B3}"/>
          </ac:spMkLst>
        </pc:spChg>
        <pc:spChg chg="mod">
          <ac:chgData name="Ugo MANTEL" userId="2d5b7065-31bb-4181-a7f8-a73bf0c30211" providerId="ADAL" clId="{F05BB0D5-3454-45DC-8378-DA45B79D9A06}" dt="2020-10-02T13:04:34.990" v="3960" actId="790"/>
          <ac:spMkLst>
            <pc:docMk/>
            <pc:sldMk cId="2560867724" sldId="4999"/>
            <ac:spMk id="174" creationId="{BD2EAC60-8BFC-416A-8F45-D269F1B6C5AF}"/>
          </ac:spMkLst>
        </pc:spChg>
        <pc:spChg chg="mod">
          <ac:chgData name="Ugo MANTEL" userId="2d5b7065-31bb-4181-a7f8-a73bf0c30211" providerId="ADAL" clId="{F05BB0D5-3454-45DC-8378-DA45B79D9A06}" dt="2020-10-02T13:04:35" v="3967" actId="790"/>
          <ac:spMkLst>
            <pc:docMk/>
            <pc:sldMk cId="2560867724" sldId="4999"/>
            <ac:spMk id="175" creationId="{893303C1-BBD9-4EE0-AC58-25B5407F21A1}"/>
          </ac:spMkLst>
        </pc:spChg>
        <pc:spChg chg="mod">
          <ac:chgData name="Ugo MANTEL" userId="2d5b7065-31bb-4181-a7f8-a73bf0c30211" providerId="ADAL" clId="{F05BB0D5-3454-45DC-8378-DA45B79D9A06}" dt="2020-10-02T13:04:34.986" v="3953" actId="790"/>
          <ac:spMkLst>
            <pc:docMk/>
            <pc:sldMk cId="2560867724" sldId="4999"/>
            <ac:spMk id="176" creationId="{00394D19-18FE-418A-83D8-20DEA9A75083}"/>
          </ac:spMkLst>
        </pc:spChg>
        <pc:spChg chg="mod">
          <ac:chgData name="Ugo MANTEL" userId="2d5b7065-31bb-4181-a7f8-a73bf0c30211" providerId="ADAL" clId="{F05BB0D5-3454-45DC-8378-DA45B79D9A06}" dt="2020-10-02T13:04:34.986" v="3954" actId="790"/>
          <ac:spMkLst>
            <pc:docMk/>
            <pc:sldMk cId="2560867724" sldId="4999"/>
            <ac:spMk id="177" creationId="{B995C5C0-E8E1-4D42-8468-BF4A2106B360}"/>
          </ac:spMkLst>
        </pc:spChg>
        <pc:spChg chg="mod">
          <ac:chgData name="Ugo MANTEL" userId="2d5b7065-31bb-4181-a7f8-a73bf0c30211" providerId="ADAL" clId="{F05BB0D5-3454-45DC-8378-DA45B79D9A06}" dt="2020-10-02T13:04:35" v="3968" actId="790"/>
          <ac:spMkLst>
            <pc:docMk/>
            <pc:sldMk cId="2560867724" sldId="4999"/>
            <ac:spMk id="183" creationId="{20ABB844-E3A4-4F1B-8367-728B71C778EB}"/>
          </ac:spMkLst>
        </pc:spChg>
        <pc:spChg chg="mod">
          <ac:chgData name="Ugo MANTEL" userId="2d5b7065-31bb-4181-a7f8-a73bf0c30211" providerId="ADAL" clId="{F05BB0D5-3454-45DC-8378-DA45B79D9A06}" dt="2020-10-02T13:04:34.947" v="3892" actId="790"/>
          <ac:spMkLst>
            <pc:docMk/>
            <pc:sldMk cId="2560867724" sldId="4999"/>
            <ac:spMk id="214" creationId="{A8B7529F-709B-4E9D-B181-9ECA307CB567}"/>
          </ac:spMkLst>
        </pc:spChg>
        <pc:spChg chg="mod">
          <ac:chgData name="Ugo MANTEL" userId="2d5b7065-31bb-4181-a7f8-a73bf0c30211" providerId="ADAL" clId="{F05BB0D5-3454-45DC-8378-DA45B79D9A06}" dt="2020-10-02T13:04:34.983" v="3951" actId="790"/>
          <ac:spMkLst>
            <pc:docMk/>
            <pc:sldMk cId="2560867724" sldId="4999"/>
            <ac:spMk id="238" creationId="{F800A041-6AC0-4987-9EEE-4A767AAC531C}"/>
          </ac:spMkLst>
        </pc:spChg>
        <pc:spChg chg="mod">
          <ac:chgData name="Ugo MANTEL" userId="2d5b7065-31bb-4181-a7f8-a73bf0c30211" providerId="ADAL" clId="{F05BB0D5-3454-45DC-8378-DA45B79D9A06}" dt="2020-10-02T13:04:34.984" v="3952" actId="790"/>
          <ac:spMkLst>
            <pc:docMk/>
            <pc:sldMk cId="2560867724" sldId="4999"/>
            <ac:spMk id="239" creationId="{E9609528-E28A-48C3-88F0-F30ED7654F09}"/>
          </ac:spMkLst>
        </pc:spChg>
      </pc:sldChg>
      <pc:sldChg chg="modSp mod">
        <pc:chgData name="Ugo MANTEL" userId="2d5b7065-31bb-4181-a7f8-a73bf0c30211" providerId="ADAL" clId="{F05BB0D5-3454-45DC-8378-DA45B79D9A06}" dt="2020-10-02T13:04:35.122" v="4129" actId="790"/>
        <pc:sldMkLst>
          <pc:docMk/>
          <pc:sldMk cId="2590481141" sldId="5012"/>
        </pc:sldMkLst>
        <pc:spChg chg="mod">
          <ac:chgData name="Ugo MANTEL" userId="2d5b7065-31bb-4181-a7f8-a73bf0c30211" providerId="ADAL" clId="{F05BB0D5-3454-45DC-8378-DA45B79D9A06}" dt="2020-10-02T13:04:35.063" v="4054" actId="790"/>
          <ac:spMkLst>
            <pc:docMk/>
            <pc:sldMk cId="2590481141" sldId="5012"/>
            <ac:spMk id="3" creationId="{012DBA1F-8B84-4ED3-81C9-DC9F7C936064}"/>
          </ac:spMkLst>
        </pc:spChg>
        <pc:spChg chg="mod">
          <ac:chgData name="Ugo MANTEL" userId="2d5b7065-31bb-4181-a7f8-a73bf0c30211" providerId="ADAL" clId="{F05BB0D5-3454-45DC-8378-DA45B79D9A06}" dt="2020-10-02T13:04:35.067" v="4057" actId="790"/>
          <ac:spMkLst>
            <pc:docMk/>
            <pc:sldMk cId="2590481141" sldId="5012"/>
            <ac:spMk id="6" creationId="{073CBBBF-3D9B-42D6-9753-7143FCF25F79}"/>
          </ac:spMkLst>
        </pc:spChg>
        <pc:spChg chg="mod">
          <ac:chgData name="Ugo MANTEL" userId="2d5b7065-31bb-4181-a7f8-a73bf0c30211" providerId="ADAL" clId="{F05BB0D5-3454-45DC-8378-DA45B79D9A06}" dt="2020-10-02T13:04:35.108" v="4115" actId="790"/>
          <ac:spMkLst>
            <pc:docMk/>
            <pc:sldMk cId="2590481141" sldId="5012"/>
            <ac:spMk id="18" creationId="{F9F91A28-FE2F-4E36-A61A-ADBDE39508B1}"/>
          </ac:spMkLst>
        </pc:spChg>
        <pc:spChg chg="mod">
          <ac:chgData name="Ugo MANTEL" userId="2d5b7065-31bb-4181-a7f8-a73bf0c30211" providerId="ADAL" clId="{F05BB0D5-3454-45DC-8378-DA45B79D9A06}" dt="2020-10-02T13:04:35.097" v="4102" actId="790"/>
          <ac:spMkLst>
            <pc:docMk/>
            <pc:sldMk cId="2590481141" sldId="5012"/>
            <ac:spMk id="46" creationId="{B935625D-FE85-42D1-9A3B-C3079E1F040B}"/>
          </ac:spMkLst>
        </pc:spChg>
        <pc:spChg chg="mod">
          <ac:chgData name="Ugo MANTEL" userId="2d5b7065-31bb-4181-a7f8-a73bf0c30211" providerId="ADAL" clId="{F05BB0D5-3454-45DC-8378-DA45B79D9A06}" dt="2020-10-02T13:04:35.097" v="4103" actId="790"/>
          <ac:spMkLst>
            <pc:docMk/>
            <pc:sldMk cId="2590481141" sldId="5012"/>
            <ac:spMk id="47" creationId="{0BD14BE5-BC74-4326-8F6E-25890BE862E5}"/>
          </ac:spMkLst>
        </pc:spChg>
        <pc:spChg chg="mod">
          <ac:chgData name="Ugo MANTEL" userId="2d5b7065-31bb-4181-a7f8-a73bf0c30211" providerId="ADAL" clId="{F05BB0D5-3454-45DC-8378-DA45B79D9A06}" dt="2020-10-02T13:04:35.098" v="4104" actId="790"/>
          <ac:spMkLst>
            <pc:docMk/>
            <pc:sldMk cId="2590481141" sldId="5012"/>
            <ac:spMk id="48" creationId="{86D88E4E-B283-44C6-93E1-26F421A2D467}"/>
          </ac:spMkLst>
        </pc:spChg>
        <pc:spChg chg="mod">
          <ac:chgData name="Ugo MANTEL" userId="2d5b7065-31bb-4181-a7f8-a73bf0c30211" providerId="ADAL" clId="{F05BB0D5-3454-45DC-8378-DA45B79D9A06}" dt="2020-10-02T13:04:35.104" v="4113" actId="790"/>
          <ac:spMkLst>
            <pc:docMk/>
            <pc:sldMk cId="2590481141" sldId="5012"/>
            <ac:spMk id="49" creationId="{F5706BF9-E8E1-4F63-8A38-CC3C35E51598}"/>
          </ac:spMkLst>
        </pc:spChg>
        <pc:spChg chg="mod">
          <ac:chgData name="Ugo MANTEL" userId="2d5b7065-31bb-4181-a7f8-a73bf0c30211" providerId="ADAL" clId="{F05BB0D5-3454-45DC-8378-DA45B79D9A06}" dt="2020-10-02T13:04:35.098" v="4105" actId="790"/>
          <ac:spMkLst>
            <pc:docMk/>
            <pc:sldMk cId="2590481141" sldId="5012"/>
            <ac:spMk id="50" creationId="{697685FE-79D8-461E-8E63-A407A35EA21A}"/>
          </ac:spMkLst>
        </pc:spChg>
        <pc:spChg chg="mod">
          <ac:chgData name="Ugo MANTEL" userId="2d5b7065-31bb-4181-a7f8-a73bf0c30211" providerId="ADAL" clId="{F05BB0D5-3454-45DC-8378-DA45B79D9A06}" dt="2020-10-02T13:04:35.099" v="4106" actId="790"/>
          <ac:spMkLst>
            <pc:docMk/>
            <pc:sldMk cId="2590481141" sldId="5012"/>
            <ac:spMk id="51" creationId="{30F74E7C-0861-4C02-8652-12705BF86CA0}"/>
          </ac:spMkLst>
        </pc:spChg>
        <pc:spChg chg="mod">
          <ac:chgData name="Ugo MANTEL" userId="2d5b7065-31bb-4181-a7f8-a73bf0c30211" providerId="ADAL" clId="{F05BB0D5-3454-45DC-8378-DA45B79D9A06}" dt="2020-10-02T13:04:35.100" v="4107" actId="790"/>
          <ac:spMkLst>
            <pc:docMk/>
            <pc:sldMk cId="2590481141" sldId="5012"/>
            <ac:spMk id="58" creationId="{0189A3E4-C5DB-45FC-BF23-54B2740D1DA4}"/>
          </ac:spMkLst>
        </pc:spChg>
        <pc:spChg chg="mod">
          <ac:chgData name="Ugo MANTEL" userId="2d5b7065-31bb-4181-a7f8-a73bf0c30211" providerId="ADAL" clId="{F05BB0D5-3454-45DC-8378-DA45B79D9A06}" dt="2020-10-02T13:04:35.101" v="4108" actId="790"/>
          <ac:spMkLst>
            <pc:docMk/>
            <pc:sldMk cId="2590481141" sldId="5012"/>
            <ac:spMk id="59" creationId="{A4C97B84-9DFC-49F4-A6DC-736D4376B2A0}"/>
          </ac:spMkLst>
        </pc:spChg>
        <pc:spChg chg="mod">
          <ac:chgData name="Ugo MANTEL" userId="2d5b7065-31bb-4181-a7f8-a73bf0c30211" providerId="ADAL" clId="{F05BB0D5-3454-45DC-8378-DA45B79D9A06}" dt="2020-10-02T13:04:35.102" v="4109" actId="790"/>
          <ac:spMkLst>
            <pc:docMk/>
            <pc:sldMk cId="2590481141" sldId="5012"/>
            <ac:spMk id="60" creationId="{24675DD0-0FA3-446C-8DDD-F388B2AF9AFF}"/>
          </ac:spMkLst>
        </pc:spChg>
        <pc:spChg chg="mod">
          <ac:chgData name="Ugo MANTEL" userId="2d5b7065-31bb-4181-a7f8-a73bf0c30211" providerId="ADAL" clId="{F05BB0D5-3454-45DC-8378-DA45B79D9A06}" dt="2020-10-02T13:04:35.090" v="4090" actId="790"/>
          <ac:spMkLst>
            <pc:docMk/>
            <pc:sldMk cId="2590481141" sldId="5012"/>
            <ac:spMk id="61" creationId="{03281B1E-EB54-405E-B79B-40EAE5F0D201}"/>
          </ac:spMkLst>
        </pc:spChg>
        <pc:spChg chg="mod">
          <ac:chgData name="Ugo MANTEL" userId="2d5b7065-31bb-4181-a7f8-a73bf0c30211" providerId="ADAL" clId="{F05BB0D5-3454-45DC-8378-DA45B79D9A06}" dt="2020-10-02T13:04:35.090" v="4091" actId="790"/>
          <ac:spMkLst>
            <pc:docMk/>
            <pc:sldMk cId="2590481141" sldId="5012"/>
            <ac:spMk id="62" creationId="{3251D41D-E154-406D-831B-ACEDEFB9991A}"/>
          </ac:spMkLst>
        </pc:spChg>
        <pc:spChg chg="mod">
          <ac:chgData name="Ugo MANTEL" userId="2d5b7065-31bb-4181-a7f8-a73bf0c30211" providerId="ADAL" clId="{F05BB0D5-3454-45DC-8378-DA45B79D9A06}" dt="2020-10-02T13:04:35.091" v="4092" actId="790"/>
          <ac:spMkLst>
            <pc:docMk/>
            <pc:sldMk cId="2590481141" sldId="5012"/>
            <ac:spMk id="63" creationId="{FCC44B41-6C4A-42A9-8A83-6D294717C301}"/>
          </ac:spMkLst>
        </pc:spChg>
        <pc:spChg chg="mod">
          <ac:chgData name="Ugo MANTEL" userId="2d5b7065-31bb-4181-a7f8-a73bf0c30211" providerId="ADAL" clId="{F05BB0D5-3454-45DC-8378-DA45B79D9A06}" dt="2020-10-02T13:04:35.092" v="4093" actId="790"/>
          <ac:spMkLst>
            <pc:docMk/>
            <pc:sldMk cId="2590481141" sldId="5012"/>
            <ac:spMk id="64" creationId="{4CD420CE-EFDA-4B03-B9DE-9F42096A5DB7}"/>
          </ac:spMkLst>
        </pc:spChg>
        <pc:spChg chg="mod">
          <ac:chgData name="Ugo MANTEL" userId="2d5b7065-31bb-4181-a7f8-a73bf0c30211" providerId="ADAL" clId="{F05BB0D5-3454-45DC-8378-DA45B79D9A06}" dt="2020-10-02T13:04:35.068" v="4058" actId="790"/>
          <ac:spMkLst>
            <pc:docMk/>
            <pc:sldMk cId="2590481141" sldId="5012"/>
            <ac:spMk id="69" creationId="{F3A071CD-59E8-4A3A-90E8-CD9DD9245369}"/>
          </ac:spMkLst>
        </pc:spChg>
        <pc:spChg chg="mod">
          <ac:chgData name="Ugo MANTEL" userId="2d5b7065-31bb-4181-a7f8-a73bf0c30211" providerId="ADAL" clId="{F05BB0D5-3454-45DC-8378-DA45B79D9A06}" dt="2020-10-02T13:04:35.069" v="4059" actId="790"/>
          <ac:spMkLst>
            <pc:docMk/>
            <pc:sldMk cId="2590481141" sldId="5012"/>
            <ac:spMk id="70" creationId="{9F09764F-54ED-497C-8BEC-DC7C2290ECB2}"/>
          </ac:spMkLst>
        </pc:spChg>
        <pc:spChg chg="mod">
          <ac:chgData name="Ugo MANTEL" userId="2d5b7065-31bb-4181-a7f8-a73bf0c30211" providerId="ADAL" clId="{F05BB0D5-3454-45DC-8378-DA45B79D9A06}" dt="2020-10-02T13:04:35.070" v="4060" actId="790"/>
          <ac:spMkLst>
            <pc:docMk/>
            <pc:sldMk cId="2590481141" sldId="5012"/>
            <ac:spMk id="71" creationId="{A8D8E0A1-B787-40BC-BBDC-AC4CCD0B8D36}"/>
          </ac:spMkLst>
        </pc:spChg>
        <pc:spChg chg="mod">
          <ac:chgData name="Ugo MANTEL" userId="2d5b7065-31bb-4181-a7f8-a73bf0c30211" providerId="ADAL" clId="{F05BB0D5-3454-45DC-8378-DA45B79D9A06}" dt="2020-10-02T13:04:35.070" v="4061" actId="790"/>
          <ac:spMkLst>
            <pc:docMk/>
            <pc:sldMk cId="2590481141" sldId="5012"/>
            <ac:spMk id="72" creationId="{3EFF76FF-63C4-4E96-9AB6-A27DCBFDA21C}"/>
          </ac:spMkLst>
        </pc:spChg>
        <pc:spChg chg="mod">
          <ac:chgData name="Ugo MANTEL" userId="2d5b7065-31bb-4181-a7f8-a73bf0c30211" providerId="ADAL" clId="{F05BB0D5-3454-45DC-8378-DA45B79D9A06}" dt="2020-10-02T13:04:35.092" v="4094" actId="790"/>
          <ac:spMkLst>
            <pc:docMk/>
            <pc:sldMk cId="2590481141" sldId="5012"/>
            <ac:spMk id="78" creationId="{F1D2D26B-38C6-43AB-9D1D-7851AD9914F3}"/>
          </ac:spMkLst>
        </pc:spChg>
        <pc:spChg chg="mod">
          <ac:chgData name="Ugo MANTEL" userId="2d5b7065-31bb-4181-a7f8-a73bf0c30211" providerId="ADAL" clId="{F05BB0D5-3454-45DC-8378-DA45B79D9A06}" dt="2020-10-02T13:04:35.093" v="4095" actId="790"/>
          <ac:spMkLst>
            <pc:docMk/>
            <pc:sldMk cId="2590481141" sldId="5012"/>
            <ac:spMk id="79" creationId="{F17C5DBD-1BF6-4AB3-8C6E-9F593143A76C}"/>
          </ac:spMkLst>
        </pc:spChg>
        <pc:spChg chg="mod">
          <ac:chgData name="Ugo MANTEL" userId="2d5b7065-31bb-4181-a7f8-a73bf0c30211" providerId="ADAL" clId="{F05BB0D5-3454-45DC-8378-DA45B79D9A06}" dt="2020-10-02T13:04:35.093" v="4096" actId="790"/>
          <ac:spMkLst>
            <pc:docMk/>
            <pc:sldMk cId="2590481141" sldId="5012"/>
            <ac:spMk id="80" creationId="{37E14909-97E7-4198-A350-2DB8DD869813}"/>
          </ac:spMkLst>
        </pc:spChg>
        <pc:spChg chg="mod">
          <ac:chgData name="Ugo MANTEL" userId="2d5b7065-31bb-4181-a7f8-a73bf0c30211" providerId="ADAL" clId="{F05BB0D5-3454-45DC-8378-DA45B79D9A06}" dt="2020-10-02T13:04:35.094" v="4097" actId="790"/>
          <ac:spMkLst>
            <pc:docMk/>
            <pc:sldMk cId="2590481141" sldId="5012"/>
            <ac:spMk id="81" creationId="{88B0D50E-36BF-4FEB-9967-14C2E7241AE8}"/>
          </ac:spMkLst>
        </pc:spChg>
        <pc:spChg chg="mod">
          <ac:chgData name="Ugo MANTEL" userId="2d5b7065-31bb-4181-a7f8-a73bf0c30211" providerId="ADAL" clId="{F05BB0D5-3454-45DC-8378-DA45B79D9A06}" dt="2020-10-02T13:04:35.094" v="4098" actId="790"/>
          <ac:spMkLst>
            <pc:docMk/>
            <pc:sldMk cId="2590481141" sldId="5012"/>
            <ac:spMk id="82" creationId="{53BC15A9-4DDF-464D-B838-F8B484086381}"/>
          </ac:spMkLst>
        </pc:spChg>
        <pc:spChg chg="mod">
          <ac:chgData name="Ugo MANTEL" userId="2d5b7065-31bb-4181-a7f8-a73bf0c30211" providerId="ADAL" clId="{F05BB0D5-3454-45DC-8378-DA45B79D9A06}" dt="2020-10-02T13:04:35.095" v="4099" actId="790"/>
          <ac:spMkLst>
            <pc:docMk/>
            <pc:sldMk cId="2590481141" sldId="5012"/>
            <ac:spMk id="83" creationId="{59141F7E-CC81-4CB8-AD2C-3BADA3B1D9E0}"/>
          </ac:spMkLst>
        </pc:spChg>
        <pc:spChg chg="mod">
          <ac:chgData name="Ugo MANTEL" userId="2d5b7065-31bb-4181-a7f8-a73bf0c30211" providerId="ADAL" clId="{F05BB0D5-3454-45DC-8378-DA45B79D9A06}" dt="2020-10-02T13:04:35.071" v="4062" actId="790"/>
          <ac:spMkLst>
            <pc:docMk/>
            <pc:sldMk cId="2590481141" sldId="5012"/>
            <ac:spMk id="99" creationId="{CC579BC9-F06E-40D6-9089-2F29368CE407}"/>
          </ac:spMkLst>
        </pc:spChg>
        <pc:spChg chg="mod">
          <ac:chgData name="Ugo MANTEL" userId="2d5b7065-31bb-4181-a7f8-a73bf0c30211" providerId="ADAL" clId="{F05BB0D5-3454-45DC-8378-DA45B79D9A06}" dt="2020-10-02T13:04:35.071" v="4063" actId="790"/>
          <ac:spMkLst>
            <pc:docMk/>
            <pc:sldMk cId="2590481141" sldId="5012"/>
            <ac:spMk id="100" creationId="{6B4D98A6-2CC0-4102-B4C1-2574B8461952}"/>
          </ac:spMkLst>
        </pc:spChg>
        <pc:spChg chg="mod">
          <ac:chgData name="Ugo MANTEL" userId="2d5b7065-31bb-4181-a7f8-a73bf0c30211" providerId="ADAL" clId="{F05BB0D5-3454-45DC-8378-DA45B79D9A06}" dt="2020-10-02T13:04:35.072" v="4064" actId="790"/>
          <ac:spMkLst>
            <pc:docMk/>
            <pc:sldMk cId="2590481141" sldId="5012"/>
            <ac:spMk id="101" creationId="{47E216FA-5823-4510-A587-08E21D4E5387}"/>
          </ac:spMkLst>
        </pc:spChg>
        <pc:spChg chg="mod">
          <ac:chgData name="Ugo MANTEL" userId="2d5b7065-31bb-4181-a7f8-a73bf0c30211" providerId="ADAL" clId="{F05BB0D5-3454-45DC-8378-DA45B79D9A06}" dt="2020-10-02T13:04:35.073" v="4065" actId="790"/>
          <ac:spMkLst>
            <pc:docMk/>
            <pc:sldMk cId="2590481141" sldId="5012"/>
            <ac:spMk id="102" creationId="{241AE8A5-4A68-4CFD-A3B1-955BE47B53AF}"/>
          </ac:spMkLst>
        </pc:spChg>
        <pc:spChg chg="mod">
          <ac:chgData name="Ugo MANTEL" userId="2d5b7065-31bb-4181-a7f8-a73bf0c30211" providerId="ADAL" clId="{F05BB0D5-3454-45DC-8378-DA45B79D9A06}" dt="2020-10-02T13:04:35.073" v="4066" actId="790"/>
          <ac:spMkLst>
            <pc:docMk/>
            <pc:sldMk cId="2590481141" sldId="5012"/>
            <ac:spMk id="103" creationId="{6DC8F5F3-B2F0-480A-A6E3-9F4F3BDDDD0D}"/>
          </ac:spMkLst>
        </pc:spChg>
        <pc:spChg chg="mod">
          <ac:chgData name="Ugo MANTEL" userId="2d5b7065-31bb-4181-a7f8-a73bf0c30211" providerId="ADAL" clId="{F05BB0D5-3454-45DC-8378-DA45B79D9A06}" dt="2020-10-02T13:04:35.074" v="4067" actId="790"/>
          <ac:spMkLst>
            <pc:docMk/>
            <pc:sldMk cId="2590481141" sldId="5012"/>
            <ac:spMk id="104" creationId="{3CD4DABD-4152-4FA7-99EF-0C6D2470D395}"/>
          </ac:spMkLst>
        </pc:spChg>
        <pc:spChg chg="mod">
          <ac:chgData name="Ugo MANTEL" userId="2d5b7065-31bb-4181-a7f8-a73bf0c30211" providerId="ADAL" clId="{F05BB0D5-3454-45DC-8378-DA45B79D9A06}" dt="2020-10-02T13:04:35.102" v="4110" actId="790"/>
          <ac:spMkLst>
            <pc:docMk/>
            <pc:sldMk cId="2590481141" sldId="5012"/>
            <ac:spMk id="122" creationId="{8BAA2B8F-E014-480E-9B73-426ED3CA135D}"/>
          </ac:spMkLst>
        </pc:spChg>
        <pc:spChg chg="mod">
          <ac:chgData name="Ugo MANTEL" userId="2d5b7065-31bb-4181-a7f8-a73bf0c30211" providerId="ADAL" clId="{F05BB0D5-3454-45DC-8378-DA45B79D9A06}" dt="2020-10-02T13:04:35.103" v="4111" actId="790"/>
          <ac:spMkLst>
            <pc:docMk/>
            <pc:sldMk cId="2590481141" sldId="5012"/>
            <ac:spMk id="123" creationId="{F94A9885-848E-498F-BCBD-BDF0200BBA6D}"/>
          </ac:spMkLst>
        </pc:spChg>
        <pc:spChg chg="mod">
          <ac:chgData name="Ugo MANTEL" userId="2d5b7065-31bb-4181-a7f8-a73bf0c30211" providerId="ADAL" clId="{F05BB0D5-3454-45DC-8378-DA45B79D9A06}" dt="2020-10-02T13:04:35.103" v="4112" actId="790"/>
          <ac:spMkLst>
            <pc:docMk/>
            <pc:sldMk cId="2590481141" sldId="5012"/>
            <ac:spMk id="124" creationId="{50B91558-2667-4F37-AC69-A1E0F1BD0C95}"/>
          </ac:spMkLst>
        </pc:spChg>
        <pc:spChg chg="mod">
          <ac:chgData name="Ugo MANTEL" userId="2d5b7065-31bb-4181-a7f8-a73bf0c30211" providerId="ADAL" clId="{F05BB0D5-3454-45DC-8378-DA45B79D9A06}" dt="2020-10-02T13:04:35.095" v="4100" actId="790"/>
          <ac:spMkLst>
            <pc:docMk/>
            <pc:sldMk cId="2590481141" sldId="5012"/>
            <ac:spMk id="127" creationId="{C448E81C-0C04-445E-B2D5-56A727A77777}"/>
          </ac:spMkLst>
        </pc:spChg>
        <pc:spChg chg="mod">
          <ac:chgData name="Ugo MANTEL" userId="2d5b7065-31bb-4181-a7f8-a73bf0c30211" providerId="ADAL" clId="{F05BB0D5-3454-45DC-8378-DA45B79D9A06}" dt="2020-10-02T13:04:35.096" v="4101" actId="790"/>
          <ac:spMkLst>
            <pc:docMk/>
            <pc:sldMk cId="2590481141" sldId="5012"/>
            <ac:spMk id="128" creationId="{917FC58C-6148-4C9E-AC3F-76AA30EF4EA0}"/>
          </ac:spMkLst>
        </pc:spChg>
        <pc:spChg chg="mod">
          <ac:chgData name="Ugo MANTEL" userId="2d5b7065-31bb-4181-a7f8-a73bf0c30211" providerId="ADAL" clId="{F05BB0D5-3454-45DC-8378-DA45B79D9A06}" dt="2020-10-02T13:04:35.075" v="4068" actId="790"/>
          <ac:spMkLst>
            <pc:docMk/>
            <pc:sldMk cId="2590481141" sldId="5012"/>
            <ac:spMk id="135" creationId="{149A9BA5-47C4-462B-8A13-11C7FE9FAACC}"/>
          </ac:spMkLst>
        </pc:spChg>
        <pc:spChg chg="mod">
          <ac:chgData name="Ugo MANTEL" userId="2d5b7065-31bb-4181-a7f8-a73bf0c30211" providerId="ADAL" clId="{F05BB0D5-3454-45DC-8378-DA45B79D9A06}" dt="2020-10-02T13:04:35.075" v="4069" actId="790"/>
          <ac:spMkLst>
            <pc:docMk/>
            <pc:sldMk cId="2590481141" sldId="5012"/>
            <ac:spMk id="136" creationId="{0F89392A-7C98-4626-B2AC-3DC6CD6FB91E}"/>
          </ac:spMkLst>
        </pc:spChg>
        <pc:spChg chg="mod">
          <ac:chgData name="Ugo MANTEL" userId="2d5b7065-31bb-4181-a7f8-a73bf0c30211" providerId="ADAL" clId="{F05BB0D5-3454-45DC-8378-DA45B79D9A06}" dt="2020-10-02T13:04:35.111" v="4118" actId="790"/>
          <ac:spMkLst>
            <pc:docMk/>
            <pc:sldMk cId="2590481141" sldId="5012"/>
            <ac:spMk id="139" creationId="{A7BE8061-45C8-4AE0-BB3F-8CDE3EB2E19B}"/>
          </ac:spMkLst>
        </pc:spChg>
        <pc:spChg chg="mod">
          <ac:chgData name="Ugo MANTEL" userId="2d5b7065-31bb-4181-a7f8-a73bf0c30211" providerId="ADAL" clId="{F05BB0D5-3454-45DC-8378-DA45B79D9A06}" dt="2020-10-02T13:04:35.111" v="4119" actId="790"/>
          <ac:spMkLst>
            <pc:docMk/>
            <pc:sldMk cId="2590481141" sldId="5012"/>
            <ac:spMk id="140" creationId="{FD062457-869E-4FEA-A5C8-4418946D58AA}"/>
          </ac:spMkLst>
        </pc:spChg>
        <pc:spChg chg="mod">
          <ac:chgData name="Ugo MANTEL" userId="2d5b7065-31bb-4181-a7f8-a73bf0c30211" providerId="ADAL" clId="{F05BB0D5-3454-45DC-8378-DA45B79D9A06}" dt="2020-10-02T13:04:35.111" v="4120" actId="790"/>
          <ac:spMkLst>
            <pc:docMk/>
            <pc:sldMk cId="2590481141" sldId="5012"/>
            <ac:spMk id="141" creationId="{1259519B-8257-42D7-9F09-96BFF4423624}"/>
          </ac:spMkLst>
        </pc:spChg>
        <pc:spChg chg="mod">
          <ac:chgData name="Ugo MANTEL" userId="2d5b7065-31bb-4181-a7f8-a73bf0c30211" providerId="ADAL" clId="{F05BB0D5-3454-45DC-8378-DA45B79D9A06}" dt="2020-10-02T13:04:35.112" v="4121" actId="790"/>
          <ac:spMkLst>
            <pc:docMk/>
            <pc:sldMk cId="2590481141" sldId="5012"/>
            <ac:spMk id="142" creationId="{B1A5C9A7-F94D-46D6-84A9-8335A306CF0B}"/>
          </ac:spMkLst>
        </pc:spChg>
        <pc:spChg chg="mod">
          <ac:chgData name="Ugo MANTEL" userId="2d5b7065-31bb-4181-a7f8-a73bf0c30211" providerId="ADAL" clId="{F05BB0D5-3454-45DC-8378-DA45B79D9A06}" dt="2020-10-02T13:04:35.113" v="4122" actId="790"/>
          <ac:spMkLst>
            <pc:docMk/>
            <pc:sldMk cId="2590481141" sldId="5012"/>
            <ac:spMk id="150" creationId="{DD5621E8-B6F0-4B6E-9774-09049869EBAB}"/>
          </ac:spMkLst>
        </pc:spChg>
        <pc:spChg chg="mod">
          <ac:chgData name="Ugo MANTEL" userId="2d5b7065-31bb-4181-a7f8-a73bf0c30211" providerId="ADAL" clId="{F05BB0D5-3454-45DC-8378-DA45B79D9A06}" dt="2020-10-02T13:04:35.116" v="4123" actId="790"/>
          <ac:spMkLst>
            <pc:docMk/>
            <pc:sldMk cId="2590481141" sldId="5012"/>
            <ac:spMk id="154" creationId="{BB60A36A-33B8-4066-8289-2CDC88F5AF3F}"/>
          </ac:spMkLst>
        </pc:spChg>
        <pc:spChg chg="mod">
          <ac:chgData name="Ugo MANTEL" userId="2d5b7065-31bb-4181-a7f8-a73bf0c30211" providerId="ADAL" clId="{F05BB0D5-3454-45DC-8378-DA45B79D9A06}" dt="2020-10-02T13:04:35.118" v="4124" actId="790"/>
          <ac:spMkLst>
            <pc:docMk/>
            <pc:sldMk cId="2590481141" sldId="5012"/>
            <ac:spMk id="156" creationId="{BFAE6B84-32BA-4F1B-9D1F-DDE9F125B538}"/>
          </ac:spMkLst>
        </pc:spChg>
        <pc:spChg chg="mod">
          <ac:chgData name="Ugo MANTEL" userId="2d5b7065-31bb-4181-a7f8-a73bf0c30211" providerId="ADAL" clId="{F05BB0D5-3454-45DC-8378-DA45B79D9A06}" dt="2020-10-02T13:04:35.118" v="4125" actId="790"/>
          <ac:spMkLst>
            <pc:docMk/>
            <pc:sldMk cId="2590481141" sldId="5012"/>
            <ac:spMk id="159" creationId="{3EBDE634-4401-42DE-8181-2BE19193FEAE}"/>
          </ac:spMkLst>
        </pc:spChg>
        <pc:spChg chg="mod">
          <ac:chgData name="Ugo MANTEL" userId="2d5b7065-31bb-4181-a7f8-a73bf0c30211" providerId="ADAL" clId="{F05BB0D5-3454-45DC-8378-DA45B79D9A06}" dt="2020-10-02T13:04:35.119" v="4126" actId="790"/>
          <ac:spMkLst>
            <pc:docMk/>
            <pc:sldMk cId="2590481141" sldId="5012"/>
            <ac:spMk id="161" creationId="{91ABD05F-C8D1-4C42-AD7B-B7C2B01A00D8}"/>
          </ac:spMkLst>
        </pc:spChg>
        <pc:spChg chg="mod">
          <ac:chgData name="Ugo MANTEL" userId="2d5b7065-31bb-4181-a7f8-a73bf0c30211" providerId="ADAL" clId="{F05BB0D5-3454-45DC-8378-DA45B79D9A06}" dt="2020-10-02T13:04:35.120" v="4127" actId="790"/>
          <ac:spMkLst>
            <pc:docMk/>
            <pc:sldMk cId="2590481141" sldId="5012"/>
            <ac:spMk id="162" creationId="{B974EF32-2508-468A-BADD-CAD40944FD8C}"/>
          </ac:spMkLst>
        </pc:spChg>
        <pc:spChg chg="mod">
          <ac:chgData name="Ugo MANTEL" userId="2d5b7065-31bb-4181-a7f8-a73bf0c30211" providerId="ADAL" clId="{F05BB0D5-3454-45DC-8378-DA45B79D9A06}" dt="2020-10-02T13:04:35.121" v="4128" actId="790"/>
          <ac:spMkLst>
            <pc:docMk/>
            <pc:sldMk cId="2590481141" sldId="5012"/>
            <ac:spMk id="163" creationId="{058D2836-D066-4F68-9986-466BF2B736EB}"/>
          </ac:spMkLst>
        </pc:spChg>
        <pc:spChg chg="mod">
          <ac:chgData name="Ugo MANTEL" userId="2d5b7065-31bb-4181-a7f8-a73bf0c30211" providerId="ADAL" clId="{F05BB0D5-3454-45DC-8378-DA45B79D9A06}" dt="2020-10-02T13:04:35.122" v="4129" actId="790"/>
          <ac:spMkLst>
            <pc:docMk/>
            <pc:sldMk cId="2590481141" sldId="5012"/>
            <ac:spMk id="165" creationId="{1EF7BC05-E548-496A-8582-A587E9C86C2B}"/>
          </ac:spMkLst>
        </pc:spChg>
        <pc:spChg chg="mod">
          <ac:chgData name="Ugo MANTEL" userId="2d5b7065-31bb-4181-a7f8-a73bf0c30211" providerId="ADAL" clId="{F05BB0D5-3454-45DC-8378-DA45B79D9A06}" dt="2020-10-02T13:04:35.110" v="4116" actId="790"/>
          <ac:spMkLst>
            <pc:docMk/>
            <pc:sldMk cId="2590481141" sldId="5012"/>
            <ac:spMk id="191" creationId="{84EA73DA-23CC-4DE4-9658-2A0DD618CDC9}"/>
          </ac:spMkLst>
        </pc:spChg>
        <pc:spChg chg="mod">
          <ac:chgData name="Ugo MANTEL" userId="2d5b7065-31bb-4181-a7f8-a73bf0c30211" providerId="ADAL" clId="{F05BB0D5-3454-45DC-8378-DA45B79D9A06}" dt="2020-10-02T13:04:35.110" v="4117" actId="790"/>
          <ac:spMkLst>
            <pc:docMk/>
            <pc:sldMk cId="2590481141" sldId="5012"/>
            <ac:spMk id="192" creationId="{96E1325C-0390-4F62-8C93-1D74EB387935}"/>
          </ac:spMkLst>
        </pc:spChg>
        <pc:spChg chg="mod">
          <ac:chgData name="Ugo MANTEL" userId="2d5b7065-31bb-4181-a7f8-a73bf0c30211" providerId="ADAL" clId="{F05BB0D5-3454-45DC-8378-DA45B79D9A06}" dt="2020-10-02T13:04:35.065" v="4055" actId="790"/>
          <ac:spMkLst>
            <pc:docMk/>
            <pc:sldMk cId="2590481141" sldId="5012"/>
            <ac:spMk id="214" creationId="{A8B7529F-709B-4E9D-B181-9ECA307CB567}"/>
          </ac:spMkLst>
        </pc:spChg>
        <pc:spChg chg="mod">
          <ac:chgData name="Ugo MANTEL" userId="2d5b7065-31bb-4181-a7f8-a73bf0c30211" providerId="ADAL" clId="{F05BB0D5-3454-45DC-8378-DA45B79D9A06}" dt="2020-10-02T13:04:35.076" v="4070" actId="790"/>
          <ac:spMkLst>
            <pc:docMk/>
            <pc:sldMk cId="2590481141" sldId="5012"/>
            <ac:spMk id="287" creationId="{37324F9E-51FA-42A4-8195-DC80ECBC34C1}"/>
          </ac:spMkLst>
        </pc:spChg>
        <pc:spChg chg="mod">
          <ac:chgData name="Ugo MANTEL" userId="2d5b7065-31bb-4181-a7f8-a73bf0c30211" providerId="ADAL" clId="{F05BB0D5-3454-45DC-8378-DA45B79D9A06}" dt="2020-10-02T13:04:35.077" v="4071" actId="790"/>
          <ac:spMkLst>
            <pc:docMk/>
            <pc:sldMk cId="2590481141" sldId="5012"/>
            <ac:spMk id="288" creationId="{5B7F494D-D642-43F8-8322-0BFCBFA05FEF}"/>
          </ac:spMkLst>
        </pc:spChg>
        <pc:spChg chg="mod">
          <ac:chgData name="Ugo MANTEL" userId="2d5b7065-31bb-4181-a7f8-a73bf0c30211" providerId="ADAL" clId="{F05BB0D5-3454-45DC-8378-DA45B79D9A06}" dt="2020-10-02T13:04:35.077" v="4072" actId="790"/>
          <ac:spMkLst>
            <pc:docMk/>
            <pc:sldMk cId="2590481141" sldId="5012"/>
            <ac:spMk id="289" creationId="{8A94459B-28A4-4343-9FAB-0B85E90BCFF1}"/>
          </ac:spMkLst>
        </pc:spChg>
        <pc:spChg chg="mod">
          <ac:chgData name="Ugo MANTEL" userId="2d5b7065-31bb-4181-a7f8-a73bf0c30211" providerId="ADAL" clId="{F05BB0D5-3454-45DC-8378-DA45B79D9A06}" dt="2020-10-02T13:04:35.078" v="4073" actId="790"/>
          <ac:spMkLst>
            <pc:docMk/>
            <pc:sldMk cId="2590481141" sldId="5012"/>
            <ac:spMk id="290" creationId="{FAAAA21E-BFF7-4AC5-99F4-C417FC09F7BF}"/>
          </ac:spMkLst>
        </pc:spChg>
        <pc:spChg chg="mod">
          <ac:chgData name="Ugo MANTEL" userId="2d5b7065-31bb-4181-a7f8-a73bf0c30211" providerId="ADAL" clId="{F05BB0D5-3454-45DC-8378-DA45B79D9A06}" dt="2020-10-02T13:04:35.079" v="4074" actId="790"/>
          <ac:spMkLst>
            <pc:docMk/>
            <pc:sldMk cId="2590481141" sldId="5012"/>
            <ac:spMk id="291" creationId="{7C587134-FBEA-4E63-8D36-992A6B1A0B82}"/>
          </ac:spMkLst>
        </pc:spChg>
        <pc:spChg chg="mod">
          <ac:chgData name="Ugo MANTEL" userId="2d5b7065-31bb-4181-a7f8-a73bf0c30211" providerId="ADAL" clId="{F05BB0D5-3454-45DC-8378-DA45B79D9A06}" dt="2020-10-02T13:04:35.080" v="4075" actId="790"/>
          <ac:spMkLst>
            <pc:docMk/>
            <pc:sldMk cId="2590481141" sldId="5012"/>
            <ac:spMk id="292" creationId="{F5FF0E66-83B8-4551-AEB6-77C95161D0BE}"/>
          </ac:spMkLst>
        </pc:spChg>
        <pc:spChg chg="mod">
          <ac:chgData name="Ugo MANTEL" userId="2d5b7065-31bb-4181-a7f8-a73bf0c30211" providerId="ADAL" clId="{F05BB0D5-3454-45DC-8378-DA45B79D9A06}" dt="2020-10-02T13:04:35.080" v="4076" actId="790"/>
          <ac:spMkLst>
            <pc:docMk/>
            <pc:sldMk cId="2590481141" sldId="5012"/>
            <ac:spMk id="293" creationId="{CABC5F1E-8CD3-4129-A49A-DD9298585123}"/>
          </ac:spMkLst>
        </pc:spChg>
        <pc:spChg chg="mod">
          <ac:chgData name="Ugo MANTEL" userId="2d5b7065-31bb-4181-a7f8-a73bf0c30211" providerId="ADAL" clId="{F05BB0D5-3454-45DC-8378-DA45B79D9A06}" dt="2020-10-02T13:04:35.081" v="4077" actId="790"/>
          <ac:spMkLst>
            <pc:docMk/>
            <pc:sldMk cId="2590481141" sldId="5012"/>
            <ac:spMk id="294" creationId="{52599EE1-7C93-4D42-BD02-9716EAE306D1}"/>
          </ac:spMkLst>
        </pc:spChg>
        <pc:spChg chg="mod">
          <ac:chgData name="Ugo MANTEL" userId="2d5b7065-31bb-4181-a7f8-a73bf0c30211" providerId="ADAL" clId="{F05BB0D5-3454-45DC-8378-DA45B79D9A06}" dt="2020-10-02T13:04:35.066" v="4056" actId="790"/>
          <ac:spMkLst>
            <pc:docMk/>
            <pc:sldMk cId="2590481141" sldId="5012"/>
            <ac:spMk id="297" creationId="{D4669BDD-3925-423C-B911-CEE9D651D2E3}"/>
          </ac:spMkLst>
        </pc:spChg>
        <pc:spChg chg="mod">
          <ac:chgData name="Ugo MANTEL" userId="2d5b7065-31bb-4181-a7f8-a73bf0c30211" providerId="ADAL" clId="{F05BB0D5-3454-45DC-8378-DA45B79D9A06}" dt="2020-10-02T13:04:35.105" v="4114" actId="790"/>
          <ac:spMkLst>
            <pc:docMk/>
            <pc:sldMk cId="2590481141" sldId="5012"/>
            <ac:spMk id="300" creationId="{EC415B2C-B983-4F97-962F-3A20DA1DBB13}"/>
          </ac:spMkLst>
        </pc:spChg>
        <pc:spChg chg="mod">
          <ac:chgData name="Ugo MANTEL" userId="2d5b7065-31bb-4181-a7f8-a73bf0c30211" providerId="ADAL" clId="{F05BB0D5-3454-45DC-8378-DA45B79D9A06}" dt="2020-10-02T13:04:35.081" v="4078" actId="790"/>
          <ac:spMkLst>
            <pc:docMk/>
            <pc:sldMk cId="2590481141" sldId="5012"/>
            <ac:spMk id="312" creationId="{82380AC1-C71C-459C-A4BC-9F06B43AFEE7}"/>
          </ac:spMkLst>
        </pc:spChg>
        <pc:spChg chg="mod">
          <ac:chgData name="Ugo MANTEL" userId="2d5b7065-31bb-4181-a7f8-a73bf0c30211" providerId="ADAL" clId="{F05BB0D5-3454-45DC-8378-DA45B79D9A06}" dt="2020-10-02T13:04:35.082" v="4079" actId="790"/>
          <ac:spMkLst>
            <pc:docMk/>
            <pc:sldMk cId="2590481141" sldId="5012"/>
            <ac:spMk id="313" creationId="{E8F773D4-AB2F-427E-BB10-AFE42B07B06E}"/>
          </ac:spMkLst>
        </pc:spChg>
        <pc:spChg chg="mod">
          <ac:chgData name="Ugo MANTEL" userId="2d5b7065-31bb-4181-a7f8-a73bf0c30211" providerId="ADAL" clId="{F05BB0D5-3454-45DC-8378-DA45B79D9A06}" dt="2020-10-02T13:04:35.083" v="4080" actId="790"/>
          <ac:spMkLst>
            <pc:docMk/>
            <pc:sldMk cId="2590481141" sldId="5012"/>
            <ac:spMk id="314" creationId="{7FD6B7DE-3510-4688-9A78-A3C98AC6A2AC}"/>
          </ac:spMkLst>
        </pc:spChg>
        <pc:spChg chg="mod">
          <ac:chgData name="Ugo MANTEL" userId="2d5b7065-31bb-4181-a7f8-a73bf0c30211" providerId="ADAL" clId="{F05BB0D5-3454-45DC-8378-DA45B79D9A06}" dt="2020-10-02T13:04:35.084" v="4081" actId="790"/>
          <ac:spMkLst>
            <pc:docMk/>
            <pc:sldMk cId="2590481141" sldId="5012"/>
            <ac:spMk id="315" creationId="{796D524E-1B5D-43FD-A400-5FAA173808C3}"/>
          </ac:spMkLst>
        </pc:spChg>
        <pc:spChg chg="mod">
          <ac:chgData name="Ugo MANTEL" userId="2d5b7065-31bb-4181-a7f8-a73bf0c30211" providerId="ADAL" clId="{F05BB0D5-3454-45DC-8378-DA45B79D9A06}" dt="2020-10-02T13:04:35.085" v="4082" actId="790"/>
          <ac:spMkLst>
            <pc:docMk/>
            <pc:sldMk cId="2590481141" sldId="5012"/>
            <ac:spMk id="316" creationId="{F066D878-52EC-47CF-918D-2238225C8E83}"/>
          </ac:spMkLst>
        </pc:spChg>
        <pc:spChg chg="mod">
          <ac:chgData name="Ugo MANTEL" userId="2d5b7065-31bb-4181-a7f8-a73bf0c30211" providerId="ADAL" clId="{F05BB0D5-3454-45DC-8378-DA45B79D9A06}" dt="2020-10-02T13:04:35.085" v="4083" actId="790"/>
          <ac:spMkLst>
            <pc:docMk/>
            <pc:sldMk cId="2590481141" sldId="5012"/>
            <ac:spMk id="317" creationId="{6DB934DC-CD6A-41F1-A479-E4210571138B}"/>
          </ac:spMkLst>
        </pc:spChg>
        <pc:spChg chg="mod">
          <ac:chgData name="Ugo MANTEL" userId="2d5b7065-31bb-4181-a7f8-a73bf0c30211" providerId="ADAL" clId="{F05BB0D5-3454-45DC-8378-DA45B79D9A06}" dt="2020-10-02T13:04:35.086" v="4084" actId="790"/>
          <ac:spMkLst>
            <pc:docMk/>
            <pc:sldMk cId="2590481141" sldId="5012"/>
            <ac:spMk id="318" creationId="{E4EFDC80-EF8F-43E8-9D46-D466D2441D6C}"/>
          </ac:spMkLst>
        </pc:spChg>
        <pc:spChg chg="mod">
          <ac:chgData name="Ugo MANTEL" userId="2d5b7065-31bb-4181-a7f8-a73bf0c30211" providerId="ADAL" clId="{F05BB0D5-3454-45DC-8378-DA45B79D9A06}" dt="2020-10-02T13:04:35.086" v="4085" actId="790"/>
          <ac:spMkLst>
            <pc:docMk/>
            <pc:sldMk cId="2590481141" sldId="5012"/>
            <ac:spMk id="319" creationId="{18D144E9-D3F3-4AF2-A41F-BF890D476769}"/>
          </ac:spMkLst>
        </pc:spChg>
        <pc:spChg chg="mod">
          <ac:chgData name="Ugo MANTEL" userId="2d5b7065-31bb-4181-a7f8-a73bf0c30211" providerId="ADAL" clId="{F05BB0D5-3454-45DC-8378-DA45B79D9A06}" dt="2020-10-02T13:04:35.087" v="4086" actId="790"/>
          <ac:spMkLst>
            <pc:docMk/>
            <pc:sldMk cId="2590481141" sldId="5012"/>
            <ac:spMk id="320" creationId="{BDD086E4-DA97-43EF-8A6B-41A6C8AF363C}"/>
          </ac:spMkLst>
        </pc:spChg>
        <pc:spChg chg="mod">
          <ac:chgData name="Ugo MANTEL" userId="2d5b7065-31bb-4181-a7f8-a73bf0c30211" providerId="ADAL" clId="{F05BB0D5-3454-45DC-8378-DA45B79D9A06}" dt="2020-10-02T13:04:35.088" v="4087" actId="790"/>
          <ac:spMkLst>
            <pc:docMk/>
            <pc:sldMk cId="2590481141" sldId="5012"/>
            <ac:spMk id="321" creationId="{0D48A485-0AEF-4D0E-BFD6-14545ECCD66C}"/>
          </ac:spMkLst>
        </pc:spChg>
        <pc:spChg chg="mod">
          <ac:chgData name="Ugo MANTEL" userId="2d5b7065-31bb-4181-a7f8-a73bf0c30211" providerId="ADAL" clId="{F05BB0D5-3454-45DC-8378-DA45B79D9A06}" dt="2020-10-02T13:04:35.088" v="4088" actId="790"/>
          <ac:spMkLst>
            <pc:docMk/>
            <pc:sldMk cId="2590481141" sldId="5012"/>
            <ac:spMk id="327" creationId="{9AE9C836-34F0-4180-94B2-A5F3B0A533AB}"/>
          </ac:spMkLst>
        </pc:spChg>
        <pc:spChg chg="mod">
          <ac:chgData name="Ugo MANTEL" userId="2d5b7065-31bb-4181-a7f8-a73bf0c30211" providerId="ADAL" clId="{F05BB0D5-3454-45DC-8378-DA45B79D9A06}" dt="2020-10-02T13:04:35.089" v="4089" actId="790"/>
          <ac:spMkLst>
            <pc:docMk/>
            <pc:sldMk cId="2590481141" sldId="5012"/>
            <ac:spMk id="328" creationId="{B528D4E4-F7BA-47FA-9F2C-F5421C2A2603}"/>
          </ac:spMkLst>
        </pc:spChg>
      </pc:sldChg>
      <pc:sldChg chg="modSp mod">
        <pc:chgData name="Ugo MANTEL" userId="2d5b7065-31bb-4181-a7f8-a73bf0c30211" providerId="ADAL" clId="{F05BB0D5-3454-45DC-8378-DA45B79D9A06}" dt="2020-10-02T13:04:32.063" v="965" actId="790"/>
        <pc:sldMkLst>
          <pc:docMk/>
          <pc:sldMk cId="2276093590" sldId="5833"/>
        </pc:sldMkLst>
        <pc:spChg chg="mod">
          <ac:chgData name="Ugo MANTEL" userId="2d5b7065-31bb-4181-a7f8-a73bf0c30211" providerId="ADAL" clId="{F05BB0D5-3454-45DC-8378-DA45B79D9A06}" dt="2020-10-02T13:04:32.061" v="962" actId="790"/>
          <ac:spMkLst>
            <pc:docMk/>
            <pc:sldMk cId="2276093590" sldId="5833"/>
            <ac:spMk id="2" creationId="{2A46F82C-3CA9-4FF8-BA0D-7E708749DA6F}"/>
          </ac:spMkLst>
        </pc:spChg>
        <pc:spChg chg="mod">
          <ac:chgData name="Ugo MANTEL" userId="2d5b7065-31bb-4181-a7f8-a73bf0c30211" providerId="ADAL" clId="{F05BB0D5-3454-45DC-8378-DA45B79D9A06}" dt="2020-10-02T13:04:32.062" v="963" actId="790"/>
          <ac:spMkLst>
            <pc:docMk/>
            <pc:sldMk cId="2276093590" sldId="5833"/>
            <ac:spMk id="3" creationId="{EAA2276C-E341-4629-9CDA-8040C792C597}"/>
          </ac:spMkLst>
        </pc:spChg>
        <pc:spChg chg="mod">
          <ac:chgData name="Ugo MANTEL" userId="2d5b7065-31bb-4181-a7f8-a73bf0c30211" providerId="ADAL" clId="{F05BB0D5-3454-45DC-8378-DA45B79D9A06}" dt="2020-10-02T13:04:32.063" v="964" actId="790"/>
          <ac:spMkLst>
            <pc:docMk/>
            <pc:sldMk cId="2276093590" sldId="5833"/>
            <ac:spMk id="4" creationId="{1B3DA1E5-4E7E-48A5-A599-9949DD7B7A2D}"/>
          </ac:spMkLst>
        </pc:spChg>
        <pc:spChg chg="mod">
          <ac:chgData name="Ugo MANTEL" userId="2d5b7065-31bb-4181-a7f8-a73bf0c30211" providerId="ADAL" clId="{F05BB0D5-3454-45DC-8378-DA45B79D9A06}" dt="2020-10-02T13:04:32.063" v="965" actId="790"/>
          <ac:spMkLst>
            <pc:docMk/>
            <pc:sldMk cId="2276093590" sldId="5833"/>
            <ac:spMk id="5" creationId="{08C07BB0-C831-4180-B595-4E9C36AB51C8}"/>
          </ac:spMkLst>
        </pc:spChg>
      </pc:sldChg>
      <pc:sldChg chg="modSp mod">
        <pc:chgData name="Ugo MANTEL" userId="2d5b7065-31bb-4181-a7f8-a73bf0c30211" providerId="ADAL" clId="{F05BB0D5-3454-45DC-8378-DA45B79D9A06}" dt="2020-10-02T13:04:32.666" v="1578" actId="790"/>
        <pc:sldMkLst>
          <pc:docMk/>
          <pc:sldMk cId="2296975917" sldId="5834"/>
        </pc:sldMkLst>
        <pc:spChg chg="mod">
          <ac:chgData name="Ugo MANTEL" userId="2d5b7065-31bb-4181-a7f8-a73bf0c30211" providerId="ADAL" clId="{F05BB0D5-3454-45DC-8378-DA45B79D9A06}" dt="2020-10-02T13:04:32.660" v="1576" actId="790"/>
          <ac:spMkLst>
            <pc:docMk/>
            <pc:sldMk cId="2296975917" sldId="5834"/>
            <ac:spMk id="3" creationId="{15C80389-6548-4E62-B1DE-3FED01EC77DC}"/>
          </ac:spMkLst>
        </pc:spChg>
        <pc:spChg chg="mod">
          <ac:chgData name="Ugo MANTEL" userId="2d5b7065-31bb-4181-a7f8-a73bf0c30211" providerId="ADAL" clId="{F05BB0D5-3454-45DC-8378-DA45B79D9A06}" dt="2020-10-02T13:04:32.665" v="1577" actId="790"/>
          <ac:spMkLst>
            <pc:docMk/>
            <pc:sldMk cId="2296975917" sldId="5834"/>
            <ac:spMk id="4" creationId="{75FE8F21-E3E3-4251-AE38-E7F5ADF23A80}"/>
          </ac:spMkLst>
        </pc:spChg>
        <pc:spChg chg="mod">
          <ac:chgData name="Ugo MANTEL" userId="2d5b7065-31bb-4181-a7f8-a73bf0c30211" providerId="ADAL" clId="{F05BB0D5-3454-45DC-8378-DA45B79D9A06}" dt="2020-10-02T13:04:32.666" v="1578" actId="790"/>
          <ac:spMkLst>
            <pc:docMk/>
            <pc:sldMk cId="2296975917" sldId="5834"/>
            <ac:spMk id="5" creationId="{E411076D-BD7D-4F3C-BA4F-785FA7DEB8E0}"/>
          </ac:spMkLst>
        </pc:spChg>
      </pc:sldChg>
      <pc:sldChg chg="modSp mod">
        <pc:chgData name="Ugo MANTEL" userId="2d5b7065-31bb-4181-a7f8-a73bf0c30211" providerId="ADAL" clId="{F05BB0D5-3454-45DC-8378-DA45B79D9A06}" dt="2020-10-02T13:04:34.434" v="3319" actId="790"/>
        <pc:sldMkLst>
          <pc:docMk/>
          <pc:sldMk cId="868196847" sldId="5835"/>
        </pc:sldMkLst>
        <pc:spChg chg="mod">
          <ac:chgData name="Ugo MANTEL" userId="2d5b7065-31bb-4181-a7f8-a73bf0c30211" providerId="ADAL" clId="{F05BB0D5-3454-45DC-8378-DA45B79D9A06}" dt="2020-10-02T13:04:34.428" v="3316" actId="790"/>
          <ac:spMkLst>
            <pc:docMk/>
            <pc:sldMk cId="868196847" sldId="5835"/>
            <ac:spMk id="2" creationId="{AE96EA93-E714-4D0F-A1A8-2AAA5188B475}"/>
          </ac:spMkLst>
        </pc:spChg>
        <pc:spChg chg="mod">
          <ac:chgData name="Ugo MANTEL" userId="2d5b7065-31bb-4181-a7f8-a73bf0c30211" providerId="ADAL" clId="{F05BB0D5-3454-45DC-8378-DA45B79D9A06}" dt="2020-10-02T13:04:34.429" v="3317" actId="790"/>
          <ac:spMkLst>
            <pc:docMk/>
            <pc:sldMk cId="868196847" sldId="5835"/>
            <ac:spMk id="3" creationId="{4E9DE99D-BD68-42FE-9B3C-2293D0C1089E}"/>
          </ac:spMkLst>
        </pc:spChg>
        <pc:spChg chg="mod">
          <ac:chgData name="Ugo MANTEL" userId="2d5b7065-31bb-4181-a7f8-a73bf0c30211" providerId="ADAL" clId="{F05BB0D5-3454-45DC-8378-DA45B79D9A06}" dt="2020-10-02T13:04:34.433" v="3318" actId="790"/>
          <ac:spMkLst>
            <pc:docMk/>
            <pc:sldMk cId="868196847" sldId="5835"/>
            <ac:spMk id="4" creationId="{BC317995-D852-4549-AC70-AA5A11CAFAFC}"/>
          </ac:spMkLst>
        </pc:spChg>
        <pc:spChg chg="mod">
          <ac:chgData name="Ugo MANTEL" userId="2d5b7065-31bb-4181-a7f8-a73bf0c30211" providerId="ADAL" clId="{F05BB0D5-3454-45DC-8378-DA45B79D9A06}" dt="2020-10-02T13:04:34.434" v="3319" actId="790"/>
          <ac:spMkLst>
            <pc:docMk/>
            <pc:sldMk cId="868196847" sldId="5835"/>
            <ac:spMk id="5" creationId="{19C7AF68-ADEF-46DC-A209-2CDD74387B37}"/>
          </ac:spMkLst>
        </pc:spChg>
      </pc:sldChg>
      <pc:sldChg chg="modSp mod">
        <pc:chgData name="Ugo MANTEL" userId="2d5b7065-31bb-4181-a7f8-a73bf0c30211" providerId="ADAL" clId="{F05BB0D5-3454-45DC-8378-DA45B79D9A06}" dt="2020-10-02T13:04:36.282" v="4958" actId="790"/>
        <pc:sldMkLst>
          <pc:docMk/>
          <pc:sldMk cId="2248408134" sldId="5838"/>
        </pc:sldMkLst>
        <pc:spChg chg="mod">
          <ac:chgData name="Ugo MANTEL" userId="2d5b7065-31bb-4181-a7f8-a73bf0c30211" providerId="ADAL" clId="{F05BB0D5-3454-45DC-8378-DA45B79D9A06}" dt="2020-10-02T13:04:36.276" v="4955" actId="790"/>
          <ac:spMkLst>
            <pc:docMk/>
            <pc:sldMk cId="2248408134" sldId="5838"/>
            <ac:spMk id="2" creationId="{6A44C8C8-2F36-450B-A067-045DF42C7170}"/>
          </ac:spMkLst>
        </pc:spChg>
        <pc:spChg chg="mod">
          <ac:chgData name="Ugo MANTEL" userId="2d5b7065-31bb-4181-a7f8-a73bf0c30211" providerId="ADAL" clId="{F05BB0D5-3454-45DC-8378-DA45B79D9A06}" dt="2020-10-02T13:04:36.277" v="4956" actId="790"/>
          <ac:spMkLst>
            <pc:docMk/>
            <pc:sldMk cId="2248408134" sldId="5838"/>
            <ac:spMk id="3" creationId="{59AD0D4C-52B6-4887-95DD-FD6DE794558F}"/>
          </ac:spMkLst>
        </pc:spChg>
        <pc:spChg chg="mod">
          <ac:chgData name="Ugo MANTEL" userId="2d5b7065-31bb-4181-a7f8-a73bf0c30211" providerId="ADAL" clId="{F05BB0D5-3454-45DC-8378-DA45B79D9A06}" dt="2020-10-02T13:04:36.280" v="4957" actId="790"/>
          <ac:spMkLst>
            <pc:docMk/>
            <pc:sldMk cId="2248408134" sldId="5838"/>
            <ac:spMk id="4" creationId="{F0A06676-82C0-4F43-87A1-A34EA0E8CFAF}"/>
          </ac:spMkLst>
        </pc:spChg>
        <pc:spChg chg="mod">
          <ac:chgData name="Ugo MANTEL" userId="2d5b7065-31bb-4181-a7f8-a73bf0c30211" providerId="ADAL" clId="{F05BB0D5-3454-45DC-8378-DA45B79D9A06}" dt="2020-10-02T13:04:36.282" v="4958" actId="790"/>
          <ac:spMkLst>
            <pc:docMk/>
            <pc:sldMk cId="2248408134" sldId="5838"/>
            <ac:spMk id="71" creationId="{2A230948-1EC9-463F-98FF-E0E458B9B00C}"/>
          </ac:spMkLst>
        </pc:spChg>
      </pc:sldChg>
      <pc:sldChg chg="modSp mod">
        <pc:chgData name="Ugo MANTEL" userId="2d5b7065-31bb-4181-a7f8-a73bf0c30211" providerId="ADAL" clId="{F05BB0D5-3454-45DC-8378-DA45B79D9A06}" dt="2020-10-02T13:04:38.377" v="6088" actId="790"/>
        <pc:sldMkLst>
          <pc:docMk/>
          <pc:sldMk cId="3068203980" sldId="5839"/>
        </pc:sldMkLst>
        <pc:spChg chg="mod">
          <ac:chgData name="Ugo MANTEL" userId="2d5b7065-31bb-4181-a7f8-a73bf0c30211" providerId="ADAL" clId="{F05BB0D5-3454-45DC-8378-DA45B79D9A06}" dt="2020-10-02T13:04:38.370" v="6085" actId="790"/>
          <ac:spMkLst>
            <pc:docMk/>
            <pc:sldMk cId="3068203980" sldId="5839"/>
            <ac:spMk id="2" creationId="{6A44C8C8-2F36-450B-A067-045DF42C7170}"/>
          </ac:spMkLst>
        </pc:spChg>
        <pc:spChg chg="mod">
          <ac:chgData name="Ugo MANTEL" userId="2d5b7065-31bb-4181-a7f8-a73bf0c30211" providerId="ADAL" clId="{F05BB0D5-3454-45DC-8378-DA45B79D9A06}" dt="2020-10-02T13:04:38.372" v="6086" actId="790"/>
          <ac:spMkLst>
            <pc:docMk/>
            <pc:sldMk cId="3068203980" sldId="5839"/>
            <ac:spMk id="3" creationId="{59AD0D4C-52B6-4887-95DD-FD6DE794558F}"/>
          </ac:spMkLst>
        </pc:spChg>
        <pc:spChg chg="mod">
          <ac:chgData name="Ugo MANTEL" userId="2d5b7065-31bb-4181-a7f8-a73bf0c30211" providerId="ADAL" clId="{F05BB0D5-3454-45DC-8378-DA45B79D9A06}" dt="2020-10-02T13:04:38.373" v="6087" actId="790"/>
          <ac:spMkLst>
            <pc:docMk/>
            <pc:sldMk cId="3068203980" sldId="5839"/>
            <ac:spMk id="4" creationId="{F0A06676-82C0-4F43-87A1-A34EA0E8CFAF}"/>
          </ac:spMkLst>
        </pc:spChg>
        <pc:spChg chg="mod">
          <ac:chgData name="Ugo MANTEL" userId="2d5b7065-31bb-4181-a7f8-a73bf0c30211" providerId="ADAL" clId="{F05BB0D5-3454-45DC-8378-DA45B79D9A06}" dt="2020-10-02T13:04:38.377" v="6088" actId="790"/>
          <ac:spMkLst>
            <pc:docMk/>
            <pc:sldMk cId="3068203980" sldId="5839"/>
            <ac:spMk id="7" creationId="{EF6CEB47-AB43-43A1-9490-E2BF43F53355}"/>
          </ac:spMkLst>
        </pc:spChg>
      </pc:sldChg>
      <pc:sldChg chg="modSp mod">
        <pc:chgData name="Ugo MANTEL" userId="2d5b7065-31bb-4181-a7f8-a73bf0c30211" providerId="ADAL" clId="{F05BB0D5-3454-45DC-8378-DA45B79D9A06}" dt="2020-10-02T13:04:32.053" v="961" actId="790"/>
        <pc:sldMkLst>
          <pc:docMk/>
          <pc:sldMk cId="2217405137" sldId="5840"/>
        </pc:sldMkLst>
        <pc:spChg chg="mod">
          <ac:chgData name="Ugo MANTEL" userId="2d5b7065-31bb-4181-a7f8-a73bf0c30211" providerId="ADAL" clId="{F05BB0D5-3454-45DC-8378-DA45B79D9A06}" dt="2020-10-02T13:04:32.053" v="960" actId="790"/>
          <ac:spMkLst>
            <pc:docMk/>
            <pc:sldMk cId="2217405137" sldId="5840"/>
            <ac:spMk id="2" creationId="{EEAE506D-1019-4D1C-8CF6-AB7FBF5CA008}"/>
          </ac:spMkLst>
        </pc:spChg>
        <pc:spChg chg="mod">
          <ac:chgData name="Ugo MANTEL" userId="2d5b7065-31bb-4181-a7f8-a73bf0c30211" providerId="ADAL" clId="{F05BB0D5-3454-45DC-8378-DA45B79D9A06}" dt="2020-10-02T13:04:32.053" v="961" actId="790"/>
          <ac:spMkLst>
            <pc:docMk/>
            <pc:sldMk cId="2217405137" sldId="5840"/>
            <ac:spMk id="3" creationId="{810D02CC-3A93-4B28-991C-9D14246227BA}"/>
          </ac:spMkLst>
        </pc:spChg>
      </pc:sldChg>
      <pc:sldChg chg="modSp mod">
        <pc:chgData name="Ugo MANTEL" userId="2d5b7065-31bb-4181-a7f8-a73bf0c30211" providerId="ADAL" clId="{F05BB0D5-3454-45DC-8378-DA45B79D9A06}" dt="2020-10-02T13:04:33.117" v="2030" actId="790"/>
        <pc:sldMkLst>
          <pc:docMk/>
          <pc:sldMk cId="294017909" sldId="5851"/>
        </pc:sldMkLst>
        <pc:spChg chg="mod">
          <ac:chgData name="Ugo MANTEL" userId="2d5b7065-31bb-4181-a7f8-a73bf0c30211" providerId="ADAL" clId="{F05BB0D5-3454-45DC-8378-DA45B79D9A06}" dt="2020-10-02T13:04:33.093" v="1999" actId="790"/>
          <ac:spMkLst>
            <pc:docMk/>
            <pc:sldMk cId="294017909" sldId="5851"/>
            <ac:spMk id="4" creationId="{ABC8B357-48EA-405E-A073-E8A1FDBAD5B2}"/>
          </ac:spMkLst>
        </pc:spChg>
        <pc:spChg chg="mod">
          <ac:chgData name="Ugo MANTEL" userId="2d5b7065-31bb-4181-a7f8-a73bf0c30211" providerId="ADAL" clId="{F05BB0D5-3454-45DC-8378-DA45B79D9A06}" dt="2020-10-02T13:04:33.095" v="2000" actId="790"/>
          <ac:spMkLst>
            <pc:docMk/>
            <pc:sldMk cId="294017909" sldId="5851"/>
            <ac:spMk id="8" creationId="{03651272-1EA7-4138-B4BF-6E1A2FA873DD}"/>
          </ac:spMkLst>
        </pc:spChg>
        <pc:spChg chg="mod">
          <ac:chgData name="Ugo MANTEL" userId="2d5b7065-31bb-4181-a7f8-a73bf0c30211" providerId="ADAL" clId="{F05BB0D5-3454-45DC-8378-DA45B79D9A06}" dt="2020-10-02T13:04:33.098" v="2004" actId="790"/>
          <ac:spMkLst>
            <pc:docMk/>
            <pc:sldMk cId="294017909" sldId="5851"/>
            <ac:spMk id="9" creationId="{51EE08BF-5FDC-49EF-94A3-4996218622E3}"/>
          </ac:spMkLst>
        </pc:spChg>
        <pc:spChg chg="mod">
          <ac:chgData name="Ugo MANTEL" userId="2d5b7065-31bb-4181-a7f8-a73bf0c30211" providerId="ADAL" clId="{F05BB0D5-3454-45DC-8378-DA45B79D9A06}" dt="2020-10-02T13:04:33.098" v="2005" actId="790"/>
          <ac:spMkLst>
            <pc:docMk/>
            <pc:sldMk cId="294017909" sldId="5851"/>
            <ac:spMk id="32" creationId="{331109C5-3C72-46B5-B709-99A63A0B8123}"/>
          </ac:spMkLst>
        </pc:spChg>
        <pc:spChg chg="mod">
          <ac:chgData name="Ugo MANTEL" userId="2d5b7065-31bb-4181-a7f8-a73bf0c30211" providerId="ADAL" clId="{F05BB0D5-3454-45DC-8378-DA45B79D9A06}" dt="2020-10-02T13:04:33.100" v="2006" actId="790"/>
          <ac:spMkLst>
            <pc:docMk/>
            <pc:sldMk cId="294017909" sldId="5851"/>
            <ac:spMk id="33" creationId="{F6710FAA-60AB-4349-B63B-A90EE8BD584E}"/>
          </ac:spMkLst>
        </pc:spChg>
        <pc:spChg chg="mod">
          <ac:chgData name="Ugo MANTEL" userId="2d5b7065-31bb-4181-a7f8-a73bf0c30211" providerId="ADAL" clId="{F05BB0D5-3454-45DC-8378-DA45B79D9A06}" dt="2020-10-02T13:04:33.101" v="2007" actId="790"/>
          <ac:spMkLst>
            <pc:docMk/>
            <pc:sldMk cId="294017909" sldId="5851"/>
            <ac:spMk id="34" creationId="{52257FE4-0BC0-4DFA-9606-9B0FC6E960AF}"/>
          </ac:spMkLst>
        </pc:spChg>
        <pc:spChg chg="mod">
          <ac:chgData name="Ugo MANTEL" userId="2d5b7065-31bb-4181-a7f8-a73bf0c30211" providerId="ADAL" clId="{F05BB0D5-3454-45DC-8378-DA45B79D9A06}" dt="2020-10-02T13:04:33.102" v="2008" actId="790"/>
          <ac:spMkLst>
            <pc:docMk/>
            <pc:sldMk cId="294017909" sldId="5851"/>
            <ac:spMk id="35" creationId="{1D2DA5D0-4070-4D53-95DC-FBE373A9CA67}"/>
          </ac:spMkLst>
        </pc:spChg>
        <pc:spChg chg="mod">
          <ac:chgData name="Ugo MANTEL" userId="2d5b7065-31bb-4181-a7f8-a73bf0c30211" providerId="ADAL" clId="{F05BB0D5-3454-45DC-8378-DA45B79D9A06}" dt="2020-10-02T13:04:33.102" v="2009" actId="790"/>
          <ac:spMkLst>
            <pc:docMk/>
            <pc:sldMk cId="294017909" sldId="5851"/>
            <ac:spMk id="44" creationId="{7B37FB61-4B84-4909-8363-B836B1A17DBA}"/>
          </ac:spMkLst>
        </pc:spChg>
        <pc:spChg chg="mod">
          <ac:chgData name="Ugo MANTEL" userId="2d5b7065-31bb-4181-a7f8-a73bf0c30211" providerId="ADAL" clId="{F05BB0D5-3454-45DC-8378-DA45B79D9A06}" dt="2020-10-02T13:04:33.117" v="2030" actId="790"/>
          <ac:spMkLst>
            <pc:docMk/>
            <pc:sldMk cId="294017909" sldId="5851"/>
            <ac:spMk id="54" creationId="{1CAF0848-A474-4030-B880-0C02F74BB611}"/>
          </ac:spMkLst>
        </pc:spChg>
        <pc:spChg chg="mod">
          <ac:chgData name="Ugo MANTEL" userId="2d5b7065-31bb-4181-a7f8-a73bf0c30211" providerId="ADAL" clId="{F05BB0D5-3454-45DC-8378-DA45B79D9A06}" dt="2020-10-02T13:04:33.114" v="2026" actId="790"/>
          <ac:spMkLst>
            <pc:docMk/>
            <pc:sldMk cId="294017909" sldId="5851"/>
            <ac:spMk id="55" creationId="{2372B4FA-0E2F-4028-BBA0-DF862C230085}"/>
          </ac:spMkLst>
        </pc:spChg>
        <pc:spChg chg="mod">
          <ac:chgData name="Ugo MANTEL" userId="2d5b7065-31bb-4181-a7f8-a73bf0c30211" providerId="ADAL" clId="{F05BB0D5-3454-45DC-8378-DA45B79D9A06}" dt="2020-10-02T13:04:33.115" v="2027" actId="790"/>
          <ac:spMkLst>
            <pc:docMk/>
            <pc:sldMk cId="294017909" sldId="5851"/>
            <ac:spMk id="56" creationId="{F6FAC7EE-A18A-4BDE-B9C6-C13F878F1050}"/>
          </ac:spMkLst>
        </pc:spChg>
        <pc:spChg chg="mod">
          <ac:chgData name="Ugo MANTEL" userId="2d5b7065-31bb-4181-a7f8-a73bf0c30211" providerId="ADAL" clId="{F05BB0D5-3454-45DC-8378-DA45B79D9A06}" dt="2020-10-02T13:04:33.115" v="2028" actId="790"/>
          <ac:spMkLst>
            <pc:docMk/>
            <pc:sldMk cId="294017909" sldId="5851"/>
            <ac:spMk id="57" creationId="{6BF25721-FC30-4EB0-B252-3EAD871AFD91}"/>
          </ac:spMkLst>
        </pc:spChg>
        <pc:spChg chg="mod">
          <ac:chgData name="Ugo MANTEL" userId="2d5b7065-31bb-4181-a7f8-a73bf0c30211" providerId="ADAL" clId="{F05BB0D5-3454-45DC-8378-DA45B79D9A06}" dt="2020-10-02T13:04:33.116" v="2029" actId="790"/>
          <ac:spMkLst>
            <pc:docMk/>
            <pc:sldMk cId="294017909" sldId="5851"/>
            <ac:spMk id="58" creationId="{E79A0D92-7BDF-444C-A928-788F6C59EB44}"/>
          </ac:spMkLst>
        </pc:spChg>
        <pc:spChg chg="mod">
          <ac:chgData name="Ugo MANTEL" userId="2d5b7065-31bb-4181-a7f8-a73bf0c30211" providerId="ADAL" clId="{F05BB0D5-3454-45DC-8378-DA45B79D9A06}" dt="2020-10-02T13:04:33.095" v="2001" actId="790"/>
          <ac:spMkLst>
            <pc:docMk/>
            <pc:sldMk cId="294017909" sldId="5851"/>
            <ac:spMk id="71" creationId="{11230721-AC4A-45E7-83F0-9D5527D4D7EB}"/>
          </ac:spMkLst>
        </pc:spChg>
        <pc:spChg chg="mod">
          <ac:chgData name="Ugo MANTEL" userId="2d5b7065-31bb-4181-a7f8-a73bf0c30211" providerId="ADAL" clId="{F05BB0D5-3454-45DC-8378-DA45B79D9A06}" dt="2020-10-02T13:04:33.096" v="2002" actId="790"/>
          <ac:spMkLst>
            <pc:docMk/>
            <pc:sldMk cId="294017909" sldId="5851"/>
            <ac:spMk id="72" creationId="{49D2F766-46E9-4BB4-B280-F81C8BBBF4E3}"/>
          </ac:spMkLst>
        </pc:spChg>
        <pc:spChg chg="mod">
          <ac:chgData name="Ugo MANTEL" userId="2d5b7065-31bb-4181-a7f8-a73bf0c30211" providerId="ADAL" clId="{F05BB0D5-3454-45DC-8378-DA45B79D9A06}" dt="2020-10-02T13:04:33.097" v="2003" actId="790"/>
          <ac:spMkLst>
            <pc:docMk/>
            <pc:sldMk cId="294017909" sldId="5851"/>
            <ac:spMk id="78" creationId="{4E5570E4-33AB-4E75-A8D9-2654C6127B34}"/>
          </ac:spMkLst>
        </pc:spChg>
        <pc:spChg chg="mod">
          <ac:chgData name="Ugo MANTEL" userId="2d5b7065-31bb-4181-a7f8-a73bf0c30211" providerId="ADAL" clId="{F05BB0D5-3454-45DC-8378-DA45B79D9A06}" dt="2020-10-02T13:04:33.110" v="2020" actId="790"/>
          <ac:spMkLst>
            <pc:docMk/>
            <pc:sldMk cId="294017909" sldId="5851"/>
            <ac:spMk id="79" creationId="{66F8EA3F-A1C6-434C-B83A-7F8470B39F6E}"/>
          </ac:spMkLst>
        </pc:spChg>
        <pc:spChg chg="mod">
          <ac:chgData name="Ugo MANTEL" userId="2d5b7065-31bb-4181-a7f8-a73bf0c30211" providerId="ADAL" clId="{F05BB0D5-3454-45DC-8378-DA45B79D9A06}" dt="2020-10-02T13:04:33.111" v="2021" actId="790"/>
          <ac:spMkLst>
            <pc:docMk/>
            <pc:sldMk cId="294017909" sldId="5851"/>
            <ac:spMk id="81" creationId="{52892F92-F7E5-4B57-A6C9-A6A7F779929C}"/>
          </ac:spMkLst>
        </pc:spChg>
        <pc:spChg chg="mod">
          <ac:chgData name="Ugo MANTEL" userId="2d5b7065-31bb-4181-a7f8-a73bf0c30211" providerId="ADAL" clId="{F05BB0D5-3454-45DC-8378-DA45B79D9A06}" dt="2020-10-02T13:04:33.112" v="2022" actId="790"/>
          <ac:spMkLst>
            <pc:docMk/>
            <pc:sldMk cId="294017909" sldId="5851"/>
            <ac:spMk id="83" creationId="{FB632D86-F65E-4A88-9E68-4D653E892C15}"/>
          </ac:spMkLst>
        </pc:spChg>
        <pc:spChg chg="mod">
          <ac:chgData name="Ugo MANTEL" userId="2d5b7065-31bb-4181-a7f8-a73bf0c30211" providerId="ADAL" clId="{F05BB0D5-3454-45DC-8378-DA45B79D9A06}" dt="2020-10-02T13:04:33.112" v="2023" actId="790"/>
          <ac:spMkLst>
            <pc:docMk/>
            <pc:sldMk cId="294017909" sldId="5851"/>
            <ac:spMk id="85" creationId="{1735B153-730A-4768-977D-3DC3861FD09E}"/>
          </ac:spMkLst>
        </pc:spChg>
        <pc:spChg chg="mod">
          <ac:chgData name="Ugo MANTEL" userId="2d5b7065-31bb-4181-a7f8-a73bf0c30211" providerId="ADAL" clId="{F05BB0D5-3454-45DC-8378-DA45B79D9A06}" dt="2020-10-02T13:04:33.113" v="2024" actId="790"/>
          <ac:spMkLst>
            <pc:docMk/>
            <pc:sldMk cId="294017909" sldId="5851"/>
            <ac:spMk id="86" creationId="{365B24F1-90E0-4431-8A69-91915808E235}"/>
          </ac:spMkLst>
        </pc:spChg>
        <pc:spChg chg="mod">
          <ac:chgData name="Ugo MANTEL" userId="2d5b7065-31bb-4181-a7f8-a73bf0c30211" providerId="ADAL" clId="{F05BB0D5-3454-45DC-8378-DA45B79D9A06}" dt="2020-10-02T13:04:33.113" v="2025" actId="790"/>
          <ac:spMkLst>
            <pc:docMk/>
            <pc:sldMk cId="294017909" sldId="5851"/>
            <ac:spMk id="87" creationId="{A0563A38-7AC2-4482-BEFA-5B79C50513A9}"/>
          </ac:spMkLst>
        </pc:spChg>
        <pc:spChg chg="mod">
          <ac:chgData name="Ugo MANTEL" userId="2d5b7065-31bb-4181-a7f8-a73bf0c30211" providerId="ADAL" clId="{F05BB0D5-3454-45DC-8378-DA45B79D9A06}" dt="2020-10-02T13:04:33.103" v="2010" actId="790"/>
          <ac:spMkLst>
            <pc:docMk/>
            <pc:sldMk cId="294017909" sldId="5851"/>
            <ac:spMk id="104" creationId="{A6699241-E616-4E2F-B293-C04E861B82D9}"/>
          </ac:spMkLst>
        </pc:spChg>
        <pc:spChg chg="mod">
          <ac:chgData name="Ugo MANTEL" userId="2d5b7065-31bb-4181-a7f8-a73bf0c30211" providerId="ADAL" clId="{F05BB0D5-3454-45DC-8378-DA45B79D9A06}" dt="2020-10-02T13:04:33.103" v="2011" actId="790"/>
          <ac:spMkLst>
            <pc:docMk/>
            <pc:sldMk cId="294017909" sldId="5851"/>
            <ac:spMk id="105" creationId="{90820A45-F5DC-4090-86E0-B644FEFA3265}"/>
          </ac:spMkLst>
        </pc:spChg>
        <pc:spChg chg="mod">
          <ac:chgData name="Ugo MANTEL" userId="2d5b7065-31bb-4181-a7f8-a73bf0c30211" providerId="ADAL" clId="{F05BB0D5-3454-45DC-8378-DA45B79D9A06}" dt="2020-10-02T13:04:33.104" v="2012" actId="790"/>
          <ac:spMkLst>
            <pc:docMk/>
            <pc:sldMk cId="294017909" sldId="5851"/>
            <ac:spMk id="106" creationId="{CFD5DFCC-233B-46D1-B1BF-DABF09218374}"/>
          </ac:spMkLst>
        </pc:spChg>
        <pc:spChg chg="mod">
          <ac:chgData name="Ugo MANTEL" userId="2d5b7065-31bb-4181-a7f8-a73bf0c30211" providerId="ADAL" clId="{F05BB0D5-3454-45DC-8378-DA45B79D9A06}" dt="2020-10-02T13:04:33.105" v="2013" actId="790"/>
          <ac:spMkLst>
            <pc:docMk/>
            <pc:sldMk cId="294017909" sldId="5851"/>
            <ac:spMk id="107" creationId="{31626741-5C83-4054-A689-0BDEA51B3CBB}"/>
          </ac:spMkLst>
        </pc:spChg>
        <pc:spChg chg="mod">
          <ac:chgData name="Ugo MANTEL" userId="2d5b7065-31bb-4181-a7f8-a73bf0c30211" providerId="ADAL" clId="{F05BB0D5-3454-45DC-8378-DA45B79D9A06}" dt="2020-10-02T13:04:33.105" v="2014" actId="790"/>
          <ac:spMkLst>
            <pc:docMk/>
            <pc:sldMk cId="294017909" sldId="5851"/>
            <ac:spMk id="109" creationId="{4FC2B732-176C-4685-BD92-03362DF1C396}"/>
          </ac:spMkLst>
        </pc:spChg>
        <pc:spChg chg="mod">
          <ac:chgData name="Ugo MANTEL" userId="2d5b7065-31bb-4181-a7f8-a73bf0c30211" providerId="ADAL" clId="{F05BB0D5-3454-45DC-8378-DA45B79D9A06}" dt="2020-10-02T13:04:33.106" v="2015" actId="790"/>
          <ac:spMkLst>
            <pc:docMk/>
            <pc:sldMk cId="294017909" sldId="5851"/>
            <ac:spMk id="111" creationId="{BD606428-C27B-4586-B5F1-1CBB7A29510F}"/>
          </ac:spMkLst>
        </pc:spChg>
        <pc:spChg chg="mod">
          <ac:chgData name="Ugo MANTEL" userId="2d5b7065-31bb-4181-a7f8-a73bf0c30211" providerId="ADAL" clId="{F05BB0D5-3454-45DC-8378-DA45B79D9A06}" dt="2020-10-02T13:04:33.107" v="2016" actId="790"/>
          <ac:spMkLst>
            <pc:docMk/>
            <pc:sldMk cId="294017909" sldId="5851"/>
            <ac:spMk id="112" creationId="{01FF2583-B93D-471E-ACBA-02CE7993E741}"/>
          </ac:spMkLst>
        </pc:spChg>
        <pc:spChg chg="mod">
          <ac:chgData name="Ugo MANTEL" userId="2d5b7065-31bb-4181-a7f8-a73bf0c30211" providerId="ADAL" clId="{F05BB0D5-3454-45DC-8378-DA45B79D9A06}" dt="2020-10-02T13:04:33.108" v="2017" actId="790"/>
          <ac:spMkLst>
            <pc:docMk/>
            <pc:sldMk cId="294017909" sldId="5851"/>
            <ac:spMk id="113" creationId="{481C9C55-27A9-4C32-AEBC-C14564338D64}"/>
          </ac:spMkLst>
        </pc:spChg>
        <pc:spChg chg="mod">
          <ac:chgData name="Ugo MANTEL" userId="2d5b7065-31bb-4181-a7f8-a73bf0c30211" providerId="ADAL" clId="{F05BB0D5-3454-45DC-8378-DA45B79D9A06}" dt="2020-10-02T13:04:33.108" v="2018" actId="790"/>
          <ac:spMkLst>
            <pc:docMk/>
            <pc:sldMk cId="294017909" sldId="5851"/>
            <ac:spMk id="121" creationId="{FF66944B-643B-4150-860B-2608DD561BFA}"/>
          </ac:spMkLst>
        </pc:spChg>
        <pc:spChg chg="mod">
          <ac:chgData name="Ugo MANTEL" userId="2d5b7065-31bb-4181-a7f8-a73bf0c30211" providerId="ADAL" clId="{F05BB0D5-3454-45DC-8378-DA45B79D9A06}" dt="2020-10-02T13:04:33.110" v="2019" actId="790"/>
          <ac:spMkLst>
            <pc:docMk/>
            <pc:sldMk cId="294017909" sldId="5851"/>
            <ac:spMk id="122" creationId="{76DEC65D-369B-4524-9588-17618DA513AC}"/>
          </ac:spMkLst>
        </pc:spChg>
      </pc:sldChg>
      <pc:sldChg chg="modSp mod">
        <pc:chgData name="Ugo MANTEL" userId="2d5b7065-31bb-4181-a7f8-a73bf0c30211" providerId="ADAL" clId="{F05BB0D5-3454-45DC-8378-DA45B79D9A06}" dt="2020-10-02T13:04:34.202" v="3104" actId="790"/>
        <pc:sldMkLst>
          <pc:docMk/>
          <pc:sldMk cId="1019315081" sldId="5955"/>
        </pc:sldMkLst>
        <pc:spChg chg="mod">
          <ac:chgData name="Ugo MANTEL" userId="2d5b7065-31bb-4181-a7f8-a73bf0c30211" providerId="ADAL" clId="{F05BB0D5-3454-45DC-8378-DA45B79D9A06}" dt="2020-10-02T13:04:34.172" v="3067" actId="790"/>
          <ac:spMkLst>
            <pc:docMk/>
            <pc:sldMk cId="1019315081" sldId="5955"/>
            <ac:spMk id="3" creationId="{07FBEF58-ABDE-46CD-AE57-454D452DA16B}"/>
          </ac:spMkLst>
        </pc:spChg>
        <pc:spChg chg="mod">
          <ac:chgData name="Ugo MANTEL" userId="2d5b7065-31bb-4181-a7f8-a73bf0c30211" providerId="ADAL" clId="{F05BB0D5-3454-45DC-8378-DA45B79D9A06}" dt="2020-10-02T13:04:34.174" v="3069" actId="790"/>
          <ac:spMkLst>
            <pc:docMk/>
            <pc:sldMk cId="1019315081" sldId="5955"/>
            <ac:spMk id="4" creationId="{9D1D5660-74DF-45D6-8CCD-5C116124E8CD}"/>
          </ac:spMkLst>
        </pc:spChg>
        <pc:spChg chg="mod">
          <ac:chgData name="Ugo MANTEL" userId="2d5b7065-31bb-4181-a7f8-a73bf0c30211" providerId="ADAL" clId="{F05BB0D5-3454-45DC-8378-DA45B79D9A06}" dt="2020-10-02T13:04:34.175" v="3070" actId="790"/>
          <ac:spMkLst>
            <pc:docMk/>
            <pc:sldMk cId="1019315081" sldId="5955"/>
            <ac:spMk id="6" creationId="{ABB6686B-7406-4EFE-96C9-956C190654F5}"/>
          </ac:spMkLst>
        </pc:spChg>
        <pc:spChg chg="mod">
          <ac:chgData name="Ugo MANTEL" userId="2d5b7065-31bb-4181-a7f8-a73bf0c30211" providerId="ADAL" clId="{F05BB0D5-3454-45DC-8378-DA45B79D9A06}" dt="2020-10-02T13:04:34.183" v="3082" actId="790"/>
          <ac:spMkLst>
            <pc:docMk/>
            <pc:sldMk cId="1019315081" sldId="5955"/>
            <ac:spMk id="7" creationId="{63382622-5048-4C87-B8A0-B9F93A07B925}"/>
          </ac:spMkLst>
        </pc:spChg>
        <pc:spChg chg="mod">
          <ac:chgData name="Ugo MANTEL" userId="2d5b7065-31bb-4181-a7f8-a73bf0c30211" providerId="ADAL" clId="{F05BB0D5-3454-45DC-8378-DA45B79D9A06}" dt="2020-10-02T13:04:34.173" v="3068" actId="790"/>
          <ac:spMkLst>
            <pc:docMk/>
            <pc:sldMk cId="1019315081" sldId="5955"/>
            <ac:spMk id="8" creationId="{86B0CF2E-6BDF-44D8-BC36-A90571F7FA93}"/>
          </ac:spMkLst>
        </pc:spChg>
        <pc:spChg chg="mod">
          <ac:chgData name="Ugo MANTEL" userId="2d5b7065-31bb-4181-a7f8-a73bf0c30211" providerId="ADAL" clId="{F05BB0D5-3454-45DC-8378-DA45B79D9A06}" dt="2020-10-02T13:04:34.175" v="3071" actId="790"/>
          <ac:spMkLst>
            <pc:docMk/>
            <pc:sldMk cId="1019315081" sldId="5955"/>
            <ac:spMk id="10" creationId="{A602704D-B47F-4AA3-BFE1-EA4DB93A8FDF}"/>
          </ac:spMkLst>
        </pc:spChg>
        <pc:spChg chg="mod">
          <ac:chgData name="Ugo MANTEL" userId="2d5b7065-31bb-4181-a7f8-a73bf0c30211" providerId="ADAL" clId="{F05BB0D5-3454-45DC-8378-DA45B79D9A06}" dt="2020-10-02T13:04:34.195" v="3097" actId="790"/>
          <ac:spMkLst>
            <pc:docMk/>
            <pc:sldMk cId="1019315081" sldId="5955"/>
            <ac:spMk id="15" creationId="{62D81834-1484-4AE7-A24A-88176FE319B3}"/>
          </ac:spMkLst>
        </pc:spChg>
        <pc:spChg chg="mod">
          <ac:chgData name="Ugo MANTEL" userId="2d5b7065-31bb-4181-a7f8-a73bf0c30211" providerId="ADAL" clId="{F05BB0D5-3454-45DC-8378-DA45B79D9A06}" dt="2020-10-02T13:04:34.176" v="3072" actId="790"/>
          <ac:spMkLst>
            <pc:docMk/>
            <pc:sldMk cId="1019315081" sldId="5955"/>
            <ac:spMk id="16" creationId="{C026D4DA-5BA0-4ECC-9A7A-C70C13C56204}"/>
          </ac:spMkLst>
        </pc:spChg>
        <pc:spChg chg="mod">
          <ac:chgData name="Ugo MANTEL" userId="2d5b7065-31bb-4181-a7f8-a73bf0c30211" providerId="ADAL" clId="{F05BB0D5-3454-45DC-8378-DA45B79D9A06}" dt="2020-10-02T13:04:34.170" v="3066" actId="790"/>
          <ac:spMkLst>
            <pc:docMk/>
            <pc:sldMk cId="1019315081" sldId="5955"/>
            <ac:spMk id="18" creationId="{2CB229BC-D2DC-4A17-8DD7-2B774B9684DF}"/>
          </ac:spMkLst>
        </pc:spChg>
        <pc:spChg chg="mod">
          <ac:chgData name="Ugo MANTEL" userId="2d5b7065-31bb-4181-a7f8-a73bf0c30211" providerId="ADAL" clId="{F05BB0D5-3454-45DC-8378-DA45B79D9A06}" dt="2020-10-02T13:04:34.177" v="3073" actId="790"/>
          <ac:spMkLst>
            <pc:docMk/>
            <pc:sldMk cId="1019315081" sldId="5955"/>
            <ac:spMk id="20" creationId="{C11A55E8-4DD2-45F9-99D6-C71CA69F689B}"/>
          </ac:spMkLst>
        </pc:spChg>
        <pc:spChg chg="mod">
          <ac:chgData name="Ugo MANTEL" userId="2d5b7065-31bb-4181-a7f8-a73bf0c30211" providerId="ADAL" clId="{F05BB0D5-3454-45DC-8378-DA45B79D9A06}" dt="2020-10-02T13:04:34.177" v="3074" actId="790"/>
          <ac:spMkLst>
            <pc:docMk/>
            <pc:sldMk cId="1019315081" sldId="5955"/>
            <ac:spMk id="22" creationId="{BEE307D4-3F8F-44EA-87B2-2C46140B62B7}"/>
          </ac:spMkLst>
        </pc:spChg>
        <pc:spChg chg="mod">
          <ac:chgData name="Ugo MANTEL" userId="2d5b7065-31bb-4181-a7f8-a73bf0c30211" providerId="ADAL" clId="{F05BB0D5-3454-45DC-8378-DA45B79D9A06}" dt="2020-10-02T13:04:34.178" v="3075" actId="790"/>
          <ac:spMkLst>
            <pc:docMk/>
            <pc:sldMk cId="1019315081" sldId="5955"/>
            <ac:spMk id="24" creationId="{EE9B931F-A275-40D7-8CFC-03ACE5FCEFAE}"/>
          </ac:spMkLst>
        </pc:spChg>
        <pc:spChg chg="mod">
          <ac:chgData name="Ugo MANTEL" userId="2d5b7065-31bb-4181-a7f8-a73bf0c30211" providerId="ADAL" clId="{F05BB0D5-3454-45DC-8378-DA45B79D9A06}" dt="2020-10-02T13:04:34.179" v="3076" actId="790"/>
          <ac:spMkLst>
            <pc:docMk/>
            <pc:sldMk cId="1019315081" sldId="5955"/>
            <ac:spMk id="28" creationId="{FEA60E3E-4BA4-4DBA-9A43-4957C0D46687}"/>
          </ac:spMkLst>
        </pc:spChg>
        <pc:spChg chg="mod">
          <ac:chgData name="Ugo MANTEL" userId="2d5b7065-31bb-4181-a7f8-a73bf0c30211" providerId="ADAL" clId="{F05BB0D5-3454-45DC-8378-DA45B79D9A06}" dt="2020-10-02T13:04:34.179" v="3077" actId="790"/>
          <ac:spMkLst>
            <pc:docMk/>
            <pc:sldMk cId="1019315081" sldId="5955"/>
            <ac:spMk id="30" creationId="{C56358EB-30C0-4843-B7E7-AE1DEC2D6372}"/>
          </ac:spMkLst>
        </pc:spChg>
        <pc:spChg chg="mod">
          <ac:chgData name="Ugo MANTEL" userId="2d5b7065-31bb-4181-a7f8-a73bf0c30211" providerId="ADAL" clId="{F05BB0D5-3454-45DC-8378-DA45B79D9A06}" dt="2020-10-02T13:04:34.180" v="3078" actId="790"/>
          <ac:spMkLst>
            <pc:docMk/>
            <pc:sldMk cId="1019315081" sldId="5955"/>
            <ac:spMk id="32" creationId="{A2AD1EED-2B72-4F8E-9201-ED32EAA15107}"/>
          </ac:spMkLst>
        </pc:spChg>
        <pc:spChg chg="mod">
          <ac:chgData name="Ugo MANTEL" userId="2d5b7065-31bb-4181-a7f8-a73bf0c30211" providerId="ADAL" clId="{F05BB0D5-3454-45DC-8378-DA45B79D9A06}" dt="2020-10-02T13:04:34.181" v="3079" actId="790"/>
          <ac:spMkLst>
            <pc:docMk/>
            <pc:sldMk cId="1019315081" sldId="5955"/>
            <ac:spMk id="34" creationId="{64FA3305-E835-4F27-8946-30FDA06D4DD3}"/>
          </ac:spMkLst>
        </pc:spChg>
        <pc:spChg chg="mod">
          <ac:chgData name="Ugo MANTEL" userId="2d5b7065-31bb-4181-a7f8-a73bf0c30211" providerId="ADAL" clId="{F05BB0D5-3454-45DC-8378-DA45B79D9A06}" dt="2020-10-02T13:04:34.181" v="3080" actId="790"/>
          <ac:spMkLst>
            <pc:docMk/>
            <pc:sldMk cId="1019315081" sldId="5955"/>
            <ac:spMk id="36" creationId="{0CFD5E3F-150D-4F6E-8916-6EE3EDA6DAEA}"/>
          </ac:spMkLst>
        </pc:spChg>
        <pc:spChg chg="mod">
          <ac:chgData name="Ugo MANTEL" userId="2d5b7065-31bb-4181-a7f8-a73bf0c30211" providerId="ADAL" clId="{F05BB0D5-3454-45DC-8378-DA45B79D9A06}" dt="2020-10-02T13:04:34.192" v="3095" actId="790"/>
          <ac:spMkLst>
            <pc:docMk/>
            <pc:sldMk cId="1019315081" sldId="5955"/>
            <ac:spMk id="55" creationId="{A911B27E-6611-46E8-A7CB-8EA79B925723}"/>
          </ac:spMkLst>
        </pc:spChg>
        <pc:spChg chg="mod">
          <ac:chgData name="Ugo MANTEL" userId="2d5b7065-31bb-4181-a7f8-a73bf0c30211" providerId="ADAL" clId="{F05BB0D5-3454-45DC-8378-DA45B79D9A06}" dt="2020-10-02T13:04:34.194" v="3096" actId="790"/>
          <ac:spMkLst>
            <pc:docMk/>
            <pc:sldMk cId="1019315081" sldId="5955"/>
            <ac:spMk id="56" creationId="{66034046-10D4-47E7-AD30-D5760DCF0C55}"/>
          </ac:spMkLst>
        </pc:spChg>
        <pc:spChg chg="mod">
          <ac:chgData name="Ugo MANTEL" userId="2d5b7065-31bb-4181-a7f8-a73bf0c30211" providerId="ADAL" clId="{F05BB0D5-3454-45DC-8378-DA45B79D9A06}" dt="2020-10-02T13:04:34.197" v="3098" actId="790"/>
          <ac:spMkLst>
            <pc:docMk/>
            <pc:sldMk cId="1019315081" sldId="5955"/>
            <ac:spMk id="57" creationId="{A4C6C939-E772-4F8F-B059-98312F715A12}"/>
          </ac:spMkLst>
        </pc:spChg>
        <pc:spChg chg="mod">
          <ac:chgData name="Ugo MANTEL" userId="2d5b7065-31bb-4181-a7f8-a73bf0c30211" providerId="ADAL" clId="{F05BB0D5-3454-45DC-8378-DA45B79D9A06}" dt="2020-10-02T13:04:34.182" v="3081" actId="790"/>
          <ac:spMkLst>
            <pc:docMk/>
            <pc:sldMk cId="1019315081" sldId="5955"/>
            <ac:spMk id="58" creationId="{A4AE88CD-85B2-4898-A186-424A67B3BD56}"/>
          </ac:spMkLst>
        </pc:spChg>
        <pc:spChg chg="mod">
          <ac:chgData name="Ugo MANTEL" userId="2d5b7065-31bb-4181-a7f8-a73bf0c30211" providerId="ADAL" clId="{F05BB0D5-3454-45DC-8378-DA45B79D9A06}" dt="2020-10-02T13:04:34.184" v="3083" actId="790"/>
          <ac:spMkLst>
            <pc:docMk/>
            <pc:sldMk cId="1019315081" sldId="5955"/>
            <ac:spMk id="61" creationId="{7263C693-3234-43BE-9AF4-2543823AE0AB}"/>
          </ac:spMkLst>
        </pc:spChg>
        <pc:spChg chg="mod">
          <ac:chgData name="Ugo MANTEL" userId="2d5b7065-31bb-4181-a7f8-a73bf0c30211" providerId="ADAL" clId="{F05BB0D5-3454-45DC-8378-DA45B79D9A06}" dt="2020-10-02T13:04:34.201" v="3103" actId="790"/>
          <ac:spMkLst>
            <pc:docMk/>
            <pc:sldMk cId="1019315081" sldId="5955"/>
            <ac:spMk id="64" creationId="{0B8D27C6-9D61-4341-8B05-ABEE6E985103}"/>
          </ac:spMkLst>
        </pc:spChg>
        <pc:spChg chg="mod">
          <ac:chgData name="Ugo MANTEL" userId="2d5b7065-31bb-4181-a7f8-a73bf0c30211" providerId="ADAL" clId="{F05BB0D5-3454-45DC-8378-DA45B79D9A06}" dt="2020-10-02T13:04:34.185" v="3084" actId="790"/>
          <ac:spMkLst>
            <pc:docMk/>
            <pc:sldMk cId="1019315081" sldId="5955"/>
            <ac:spMk id="65" creationId="{9ECC3938-69CE-492B-BFC2-D77DB310B551}"/>
          </ac:spMkLst>
        </pc:spChg>
        <pc:spChg chg="mod">
          <ac:chgData name="Ugo MANTEL" userId="2d5b7065-31bb-4181-a7f8-a73bf0c30211" providerId="ADAL" clId="{F05BB0D5-3454-45DC-8378-DA45B79D9A06}" dt="2020-10-02T13:04:34.198" v="3099" actId="790"/>
          <ac:spMkLst>
            <pc:docMk/>
            <pc:sldMk cId="1019315081" sldId="5955"/>
            <ac:spMk id="66" creationId="{7901287D-B614-48C5-A9EC-4F5AD440F40D}"/>
          </ac:spMkLst>
        </pc:spChg>
        <pc:spChg chg="mod">
          <ac:chgData name="Ugo MANTEL" userId="2d5b7065-31bb-4181-a7f8-a73bf0c30211" providerId="ADAL" clId="{F05BB0D5-3454-45DC-8378-DA45B79D9A06}" dt="2020-10-02T13:04:34.186" v="3086" actId="790"/>
          <ac:spMkLst>
            <pc:docMk/>
            <pc:sldMk cId="1019315081" sldId="5955"/>
            <ac:spMk id="67" creationId="{3DD9FB98-72B9-44EC-9663-2CB648C1F035}"/>
          </ac:spMkLst>
        </pc:spChg>
        <pc:spChg chg="mod">
          <ac:chgData name="Ugo MANTEL" userId="2d5b7065-31bb-4181-a7f8-a73bf0c30211" providerId="ADAL" clId="{F05BB0D5-3454-45DC-8378-DA45B79D9A06}" dt="2020-10-02T13:04:34.198" v="3100" actId="790"/>
          <ac:spMkLst>
            <pc:docMk/>
            <pc:sldMk cId="1019315081" sldId="5955"/>
            <ac:spMk id="68" creationId="{128C8D3F-F71F-4415-8C86-1C46F1721C88}"/>
          </ac:spMkLst>
        </pc:spChg>
        <pc:spChg chg="mod">
          <ac:chgData name="Ugo MANTEL" userId="2d5b7065-31bb-4181-a7f8-a73bf0c30211" providerId="ADAL" clId="{F05BB0D5-3454-45DC-8378-DA45B79D9A06}" dt="2020-10-02T13:04:34.185" v="3085" actId="790"/>
          <ac:spMkLst>
            <pc:docMk/>
            <pc:sldMk cId="1019315081" sldId="5955"/>
            <ac:spMk id="69" creationId="{A4C1B0B8-4876-41B2-8658-A14FA87C0CAB}"/>
          </ac:spMkLst>
        </pc:spChg>
        <pc:spChg chg="mod">
          <ac:chgData name="Ugo MANTEL" userId="2d5b7065-31bb-4181-a7f8-a73bf0c30211" providerId="ADAL" clId="{F05BB0D5-3454-45DC-8378-DA45B79D9A06}" dt="2020-10-02T13:04:34.199" v="3101" actId="790"/>
          <ac:spMkLst>
            <pc:docMk/>
            <pc:sldMk cId="1019315081" sldId="5955"/>
            <ac:spMk id="70" creationId="{F77668ED-4048-4F84-9894-81DE7C5AE9B4}"/>
          </ac:spMkLst>
        </pc:spChg>
        <pc:spChg chg="mod">
          <ac:chgData name="Ugo MANTEL" userId="2d5b7065-31bb-4181-a7f8-a73bf0c30211" providerId="ADAL" clId="{F05BB0D5-3454-45DC-8378-DA45B79D9A06}" dt="2020-10-02T13:04:34.200" v="3102" actId="790"/>
          <ac:spMkLst>
            <pc:docMk/>
            <pc:sldMk cId="1019315081" sldId="5955"/>
            <ac:spMk id="72" creationId="{0FD426B0-5770-4F04-9C5E-DBA7A9998C15}"/>
          </ac:spMkLst>
        </pc:spChg>
        <pc:spChg chg="mod">
          <ac:chgData name="Ugo MANTEL" userId="2d5b7065-31bb-4181-a7f8-a73bf0c30211" providerId="ADAL" clId="{F05BB0D5-3454-45DC-8378-DA45B79D9A06}" dt="2020-10-02T13:04:34.202" v="3104" actId="790"/>
          <ac:spMkLst>
            <pc:docMk/>
            <pc:sldMk cId="1019315081" sldId="5955"/>
            <ac:spMk id="82" creationId="{5E81A229-CDF1-4AE9-9452-5A2A4C6E06DE}"/>
          </ac:spMkLst>
        </pc:spChg>
        <pc:spChg chg="mod">
          <ac:chgData name="Ugo MANTEL" userId="2d5b7065-31bb-4181-a7f8-a73bf0c30211" providerId="ADAL" clId="{F05BB0D5-3454-45DC-8378-DA45B79D9A06}" dt="2020-10-02T13:04:34.187" v="3087" actId="790"/>
          <ac:spMkLst>
            <pc:docMk/>
            <pc:sldMk cId="1019315081" sldId="5955"/>
            <ac:spMk id="97" creationId="{CAC8F506-C2E7-4CF0-840C-B0C658CEF717}"/>
          </ac:spMkLst>
        </pc:spChg>
        <pc:spChg chg="mod">
          <ac:chgData name="Ugo MANTEL" userId="2d5b7065-31bb-4181-a7f8-a73bf0c30211" providerId="ADAL" clId="{F05BB0D5-3454-45DC-8378-DA45B79D9A06}" dt="2020-10-02T13:04:34.188" v="3088" actId="790"/>
          <ac:spMkLst>
            <pc:docMk/>
            <pc:sldMk cId="1019315081" sldId="5955"/>
            <ac:spMk id="98" creationId="{230BDA7C-1B27-4ECE-92C2-6AFD4CBD87B1}"/>
          </ac:spMkLst>
        </pc:spChg>
        <pc:spChg chg="mod">
          <ac:chgData name="Ugo MANTEL" userId="2d5b7065-31bb-4181-a7f8-a73bf0c30211" providerId="ADAL" clId="{F05BB0D5-3454-45DC-8378-DA45B79D9A06}" dt="2020-10-02T13:04:34.188" v="3089" actId="790"/>
          <ac:spMkLst>
            <pc:docMk/>
            <pc:sldMk cId="1019315081" sldId="5955"/>
            <ac:spMk id="106" creationId="{5F69FA45-723A-4CBF-AB9D-9B447DC9E3E4}"/>
          </ac:spMkLst>
        </pc:spChg>
        <pc:spChg chg="mod">
          <ac:chgData name="Ugo MANTEL" userId="2d5b7065-31bb-4181-a7f8-a73bf0c30211" providerId="ADAL" clId="{F05BB0D5-3454-45DC-8378-DA45B79D9A06}" dt="2020-10-02T13:04:34.189" v="3090" actId="790"/>
          <ac:spMkLst>
            <pc:docMk/>
            <pc:sldMk cId="1019315081" sldId="5955"/>
            <ac:spMk id="108" creationId="{25D15AB4-82EF-4F33-BFD0-A924BEDB2089}"/>
          </ac:spMkLst>
        </pc:spChg>
        <pc:spChg chg="mod">
          <ac:chgData name="Ugo MANTEL" userId="2d5b7065-31bb-4181-a7f8-a73bf0c30211" providerId="ADAL" clId="{F05BB0D5-3454-45DC-8378-DA45B79D9A06}" dt="2020-10-02T13:04:34.190" v="3091" actId="790"/>
          <ac:spMkLst>
            <pc:docMk/>
            <pc:sldMk cId="1019315081" sldId="5955"/>
            <ac:spMk id="110" creationId="{C98DAE98-60B5-441C-B9BC-762FCCB05C48}"/>
          </ac:spMkLst>
        </pc:spChg>
        <pc:spChg chg="mod">
          <ac:chgData name="Ugo MANTEL" userId="2d5b7065-31bb-4181-a7f8-a73bf0c30211" providerId="ADAL" clId="{F05BB0D5-3454-45DC-8378-DA45B79D9A06}" dt="2020-10-02T13:04:34.190" v="3092" actId="790"/>
          <ac:spMkLst>
            <pc:docMk/>
            <pc:sldMk cId="1019315081" sldId="5955"/>
            <ac:spMk id="111" creationId="{19E62E77-A593-47D2-8166-19AF291B7F7D}"/>
          </ac:spMkLst>
        </pc:spChg>
        <pc:spChg chg="mod">
          <ac:chgData name="Ugo MANTEL" userId="2d5b7065-31bb-4181-a7f8-a73bf0c30211" providerId="ADAL" clId="{F05BB0D5-3454-45DC-8378-DA45B79D9A06}" dt="2020-10-02T13:04:34.191" v="3093" actId="790"/>
          <ac:spMkLst>
            <pc:docMk/>
            <pc:sldMk cId="1019315081" sldId="5955"/>
            <ac:spMk id="120" creationId="{072BBBDF-E2D1-45C0-8CC0-FDE87C29A5E6}"/>
          </ac:spMkLst>
        </pc:spChg>
        <pc:spChg chg="mod">
          <ac:chgData name="Ugo MANTEL" userId="2d5b7065-31bb-4181-a7f8-a73bf0c30211" providerId="ADAL" clId="{F05BB0D5-3454-45DC-8378-DA45B79D9A06}" dt="2020-10-02T13:04:34.191" v="3094" actId="790"/>
          <ac:spMkLst>
            <pc:docMk/>
            <pc:sldMk cId="1019315081" sldId="5955"/>
            <ac:spMk id="122" creationId="{3B74F160-00AF-46C0-BE9A-C37F5E6ECAEF}"/>
          </ac:spMkLst>
        </pc:spChg>
      </pc:sldChg>
      <pc:sldChg chg="modSp mod">
        <pc:chgData name="Ugo MANTEL" userId="2d5b7065-31bb-4181-a7f8-a73bf0c30211" providerId="ADAL" clId="{F05BB0D5-3454-45DC-8378-DA45B79D9A06}" dt="2020-10-02T13:04:33.670" v="2589" actId="790"/>
        <pc:sldMkLst>
          <pc:docMk/>
          <pc:sldMk cId="574623477" sldId="6630"/>
        </pc:sldMkLst>
        <pc:spChg chg="mod">
          <ac:chgData name="Ugo MANTEL" userId="2d5b7065-31bb-4181-a7f8-a73bf0c30211" providerId="ADAL" clId="{F05BB0D5-3454-45DC-8378-DA45B79D9A06}" dt="2020-10-02T13:04:33.624" v="2538" actId="790"/>
          <ac:spMkLst>
            <pc:docMk/>
            <pc:sldMk cId="574623477" sldId="6630"/>
            <ac:spMk id="3" creationId="{53ED0692-1499-4BDC-9F73-06FDE8FE4C78}"/>
          </ac:spMkLst>
        </pc:spChg>
        <pc:spChg chg="mod">
          <ac:chgData name="Ugo MANTEL" userId="2d5b7065-31bb-4181-a7f8-a73bf0c30211" providerId="ADAL" clId="{F05BB0D5-3454-45DC-8378-DA45B79D9A06}" dt="2020-10-02T13:04:33.642" v="2551" actId="790"/>
          <ac:spMkLst>
            <pc:docMk/>
            <pc:sldMk cId="574623477" sldId="6630"/>
            <ac:spMk id="4" creationId="{47956439-DF1E-43C0-AF6E-53332A81B614}"/>
          </ac:spMkLst>
        </pc:spChg>
        <pc:spChg chg="mod">
          <ac:chgData name="Ugo MANTEL" userId="2d5b7065-31bb-4181-a7f8-a73bf0c30211" providerId="ADAL" clId="{F05BB0D5-3454-45DC-8378-DA45B79D9A06}" dt="2020-10-02T13:04:33.621" v="2537" actId="790"/>
          <ac:spMkLst>
            <pc:docMk/>
            <pc:sldMk cId="574623477" sldId="6630"/>
            <ac:spMk id="6" creationId="{553123DB-4927-4904-B0B0-EC23B1985C74}"/>
          </ac:spMkLst>
        </pc:spChg>
        <pc:spChg chg="mod">
          <ac:chgData name="Ugo MANTEL" userId="2d5b7065-31bb-4181-a7f8-a73bf0c30211" providerId="ADAL" clId="{F05BB0D5-3454-45DC-8378-DA45B79D9A06}" dt="2020-10-02T13:04:33.620" v="2536" actId="790"/>
          <ac:spMkLst>
            <pc:docMk/>
            <pc:sldMk cId="574623477" sldId="6630"/>
            <ac:spMk id="8" creationId="{9A44C854-958B-4B99-AAA3-1B32EA610484}"/>
          </ac:spMkLst>
        </pc:spChg>
        <pc:spChg chg="mod">
          <ac:chgData name="Ugo MANTEL" userId="2d5b7065-31bb-4181-a7f8-a73bf0c30211" providerId="ADAL" clId="{F05BB0D5-3454-45DC-8378-DA45B79D9A06}" dt="2020-10-02T13:04:33.657" v="2572" actId="790"/>
          <ac:spMkLst>
            <pc:docMk/>
            <pc:sldMk cId="574623477" sldId="6630"/>
            <ac:spMk id="14" creationId="{2F0A1FE1-ABDF-4C59-9C96-F0CB64BBFCE4}"/>
          </ac:spMkLst>
        </pc:spChg>
        <pc:spChg chg="mod">
          <ac:chgData name="Ugo MANTEL" userId="2d5b7065-31bb-4181-a7f8-a73bf0c30211" providerId="ADAL" clId="{F05BB0D5-3454-45DC-8378-DA45B79D9A06}" dt="2020-10-02T13:04:33.633" v="2542" actId="790"/>
          <ac:spMkLst>
            <pc:docMk/>
            <pc:sldMk cId="574623477" sldId="6630"/>
            <ac:spMk id="16" creationId="{5C467E77-9F3E-48E1-AEEA-599D0795F842}"/>
          </ac:spMkLst>
        </pc:spChg>
        <pc:spChg chg="mod">
          <ac:chgData name="Ugo MANTEL" userId="2d5b7065-31bb-4181-a7f8-a73bf0c30211" providerId="ADAL" clId="{F05BB0D5-3454-45DC-8378-DA45B79D9A06}" dt="2020-10-02T13:04:33.635" v="2543" actId="790"/>
          <ac:spMkLst>
            <pc:docMk/>
            <pc:sldMk cId="574623477" sldId="6630"/>
            <ac:spMk id="17" creationId="{B740B520-C75D-4338-8864-EA5F94FB00D1}"/>
          </ac:spMkLst>
        </pc:spChg>
        <pc:spChg chg="mod">
          <ac:chgData name="Ugo MANTEL" userId="2d5b7065-31bb-4181-a7f8-a73bf0c30211" providerId="ADAL" clId="{F05BB0D5-3454-45DC-8378-DA45B79D9A06}" dt="2020-10-02T13:04:33.629" v="2539" actId="790"/>
          <ac:spMkLst>
            <pc:docMk/>
            <pc:sldMk cId="574623477" sldId="6630"/>
            <ac:spMk id="18" creationId="{58DA846E-6205-408C-AEF8-9DC2D530FC04}"/>
          </ac:spMkLst>
        </pc:spChg>
        <pc:spChg chg="mod">
          <ac:chgData name="Ugo MANTEL" userId="2d5b7065-31bb-4181-a7f8-a73bf0c30211" providerId="ADAL" clId="{F05BB0D5-3454-45DC-8378-DA45B79D9A06}" dt="2020-10-02T13:04:33.641" v="2550" actId="790"/>
          <ac:spMkLst>
            <pc:docMk/>
            <pc:sldMk cId="574623477" sldId="6630"/>
            <ac:spMk id="23" creationId="{0621E76A-66A9-43BC-A0D4-0DFDD6EBF9F4}"/>
          </ac:spMkLst>
        </pc:spChg>
        <pc:spChg chg="mod">
          <ac:chgData name="Ugo MANTEL" userId="2d5b7065-31bb-4181-a7f8-a73bf0c30211" providerId="ADAL" clId="{F05BB0D5-3454-45DC-8378-DA45B79D9A06}" dt="2020-10-02T13:04:33.643" v="2552" actId="790"/>
          <ac:spMkLst>
            <pc:docMk/>
            <pc:sldMk cId="574623477" sldId="6630"/>
            <ac:spMk id="29" creationId="{1D92FA05-F3C5-467D-9906-F557B81AE140}"/>
          </ac:spMkLst>
        </pc:spChg>
        <pc:spChg chg="mod">
          <ac:chgData name="Ugo MANTEL" userId="2d5b7065-31bb-4181-a7f8-a73bf0c30211" providerId="ADAL" clId="{F05BB0D5-3454-45DC-8378-DA45B79D9A06}" dt="2020-10-02T13:04:33.643" v="2553" actId="790"/>
          <ac:spMkLst>
            <pc:docMk/>
            <pc:sldMk cId="574623477" sldId="6630"/>
            <ac:spMk id="31" creationId="{12C140D8-2D11-4201-B269-486B046C9E26}"/>
          </ac:spMkLst>
        </pc:spChg>
        <pc:spChg chg="mod">
          <ac:chgData name="Ugo MANTEL" userId="2d5b7065-31bb-4181-a7f8-a73bf0c30211" providerId="ADAL" clId="{F05BB0D5-3454-45DC-8378-DA45B79D9A06}" dt="2020-10-02T13:04:33.651" v="2564" actId="790"/>
          <ac:spMkLst>
            <pc:docMk/>
            <pc:sldMk cId="574623477" sldId="6630"/>
            <ac:spMk id="45" creationId="{F518D1DA-1399-4A19-B2E7-1A17D362BF18}"/>
          </ac:spMkLst>
        </pc:spChg>
        <pc:spChg chg="mod">
          <ac:chgData name="Ugo MANTEL" userId="2d5b7065-31bb-4181-a7f8-a73bf0c30211" providerId="ADAL" clId="{F05BB0D5-3454-45DC-8378-DA45B79D9A06}" dt="2020-10-02T13:04:33.648" v="2560" actId="790"/>
          <ac:spMkLst>
            <pc:docMk/>
            <pc:sldMk cId="574623477" sldId="6630"/>
            <ac:spMk id="46" creationId="{F9EC2A7B-3F6F-44EF-8ABE-4A8675AE6001}"/>
          </ac:spMkLst>
        </pc:spChg>
        <pc:spChg chg="mod">
          <ac:chgData name="Ugo MANTEL" userId="2d5b7065-31bb-4181-a7f8-a73bf0c30211" providerId="ADAL" clId="{F05BB0D5-3454-45DC-8378-DA45B79D9A06}" dt="2020-10-02T13:04:33.649" v="2561" actId="790"/>
          <ac:spMkLst>
            <pc:docMk/>
            <pc:sldMk cId="574623477" sldId="6630"/>
            <ac:spMk id="48" creationId="{DC4D698F-3F38-45D4-AC78-86B4D233E4A2}"/>
          </ac:spMkLst>
        </pc:spChg>
        <pc:spChg chg="mod">
          <ac:chgData name="Ugo MANTEL" userId="2d5b7065-31bb-4181-a7f8-a73bf0c30211" providerId="ADAL" clId="{F05BB0D5-3454-45DC-8378-DA45B79D9A06}" dt="2020-10-02T13:04:33.644" v="2554" actId="790"/>
          <ac:spMkLst>
            <pc:docMk/>
            <pc:sldMk cId="574623477" sldId="6630"/>
            <ac:spMk id="51" creationId="{A6DEA6AA-65C9-4B39-B75F-698F0C073EBC}"/>
          </ac:spMkLst>
        </pc:spChg>
        <pc:spChg chg="mod">
          <ac:chgData name="Ugo MANTEL" userId="2d5b7065-31bb-4181-a7f8-a73bf0c30211" providerId="ADAL" clId="{F05BB0D5-3454-45DC-8378-DA45B79D9A06}" dt="2020-10-02T13:04:33.649" v="2562" actId="790"/>
          <ac:spMkLst>
            <pc:docMk/>
            <pc:sldMk cId="574623477" sldId="6630"/>
            <ac:spMk id="59" creationId="{8EF3C066-F474-460C-BBF5-7DA4A22E7F08}"/>
          </ac:spMkLst>
        </pc:spChg>
        <pc:spChg chg="mod">
          <ac:chgData name="Ugo MANTEL" userId="2d5b7065-31bb-4181-a7f8-a73bf0c30211" providerId="ADAL" clId="{F05BB0D5-3454-45DC-8378-DA45B79D9A06}" dt="2020-10-02T13:04:33.655" v="2569" actId="790"/>
          <ac:spMkLst>
            <pc:docMk/>
            <pc:sldMk cId="574623477" sldId="6630"/>
            <ac:spMk id="60" creationId="{B48410F2-D72C-4755-8DA1-2674BB3B1813}"/>
          </ac:spMkLst>
        </pc:spChg>
        <pc:spChg chg="mod">
          <ac:chgData name="Ugo MANTEL" userId="2d5b7065-31bb-4181-a7f8-a73bf0c30211" providerId="ADAL" clId="{F05BB0D5-3454-45DC-8378-DA45B79D9A06}" dt="2020-10-02T13:04:33.650" v="2563" actId="790"/>
          <ac:spMkLst>
            <pc:docMk/>
            <pc:sldMk cId="574623477" sldId="6630"/>
            <ac:spMk id="66" creationId="{0A267233-26E1-42C7-BF43-6B0A44EF3503}"/>
          </ac:spMkLst>
        </pc:spChg>
        <pc:spChg chg="mod">
          <ac:chgData name="Ugo MANTEL" userId="2d5b7065-31bb-4181-a7f8-a73bf0c30211" providerId="ADAL" clId="{F05BB0D5-3454-45DC-8378-DA45B79D9A06}" dt="2020-10-02T13:04:33.656" v="2570" actId="790"/>
          <ac:spMkLst>
            <pc:docMk/>
            <pc:sldMk cId="574623477" sldId="6630"/>
            <ac:spMk id="67" creationId="{40CB132F-FA52-4320-BC33-146C6E5C3114}"/>
          </ac:spMkLst>
        </pc:spChg>
        <pc:spChg chg="mod">
          <ac:chgData name="Ugo MANTEL" userId="2d5b7065-31bb-4181-a7f8-a73bf0c30211" providerId="ADAL" clId="{F05BB0D5-3454-45DC-8378-DA45B79D9A06}" dt="2020-10-02T13:04:33.637" v="2546" actId="790"/>
          <ac:spMkLst>
            <pc:docMk/>
            <pc:sldMk cId="574623477" sldId="6630"/>
            <ac:spMk id="69" creationId="{057EE0BC-BA04-4EB5-9BB0-03C10FA01175}"/>
          </ac:spMkLst>
        </pc:spChg>
        <pc:spChg chg="mod">
          <ac:chgData name="Ugo MANTEL" userId="2d5b7065-31bb-4181-a7f8-a73bf0c30211" providerId="ADAL" clId="{F05BB0D5-3454-45DC-8378-DA45B79D9A06}" dt="2020-10-02T13:04:33.645" v="2555" actId="790"/>
          <ac:spMkLst>
            <pc:docMk/>
            <pc:sldMk cId="574623477" sldId="6630"/>
            <ac:spMk id="75" creationId="{391349FA-D89D-4368-BA48-49DD324CBDF6}"/>
          </ac:spMkLst>
        </pc:spChg>
        <pc:spChg chg="mod">
          <ac:chgData name="Ugo MANTEL" userId="2d5b7065-31bb-4181-a7f8-a73bf0c30211" providerId="ADAL" clId="{F05BB0D5-3454-45DC-8378-DA45B79D9A06}" dt="2020-10-02T13:04:33.646" v="2556" actId="790"/>
          <ac:spMkLst>
            <pc:docMk/>
            <pc:sldMk cId="574623477" sldId="6630"/>
            <ac:spMk id="76" creationId="{D8F77AD5-509D-4F7C-9D9A-2F89457A75E3}"/>
          </ac:spMkLst>
        </pc:spChg>
        <pc:spChg chg="mod">
          <ac:chgData name="Ugo MANTEL" userId="2d5b7065-31bb-4181-a7f8-a73bf0c30211" providerId="ADAL" clId="{F05BB0D5-3454-45DC-8378-DA45B79D9A06}" dt="2020-10-02T13:04:33.646" v="2557" actId="790"/>
          <ac:spMkLst>
            <pc:docMk/>
            <pc:sldMk cId="574623477" sldId="6630"/>
            <ac:spMk id="77" creationId="{1ED881CD-4474-4A28-AF25-251FC7E84BEB}"/>
          </ac:spMkLst>
        </pc:spChg>
        <pc:spChg chg="mod">
          <ac:chgData name="Ugo MANTEL" userId="2d5b7065-31bb-4181-a7f8-a73bf0c30211" providerId="ADAL" clId="{F05BB0D5-3454-45DC-8378-DA45B79D9A06}" dt="2020-10-02T13:04:33.647" v="2558" actId="790"/>
          <ac:spMkLst>
            <pc:docMk/>
            <pc:sldMk cId="574623477" sldId="6630"/>
            <ac:spMk id="78" creationId="{1345DEE6-A962-48ED-9D35-60E985CFA47A}"/>
          </ac:spMkLst>
        </pc:spChg>
        <pc:spChg chg="mod">
          <ac:chgData name="Ugo MANTEL" userId="2d5b7065-31bb-4181-a7f8-a73bf0c30211" providerId="ADAL" clId="{F05BB0D5-3454-45DC-8378-DA45B79D9A06}" dt="2020-10-02T13:04:33.647" v="2559" actId="790"/>
          <ac:spMkLst>
            <pc:docMk/>
            <pc:sldMk cId="574623477" sldId="6630"/>
            <ac:spMk id="79" creationId="{95452029-7176-432A-BC45-895B53D48102}"/>
          </ac:spMkLst>
        </pc:spChg>
        <pc:spChg chg="mod">
          <ac:chgData name="Ugo MANTEL" userId="2d5b7065-31bb-4181-a7f8-a73bf0c30211" providerId="ADAL" clId="{F05BB0D5-3454-45DC-8378-DA45B79D9A06}" dt="2020-10-02T13:04:33.631" v="2540" actId="790"/>
          <ac:spMkLst>
            <pc:docMk/>
            <pc:sldMk cId="574623477" sldId="6630"/>
            <ac:spMk id="81" creationId="{F6538891-4B78-4BA6-991D-FCF671087672}"/>
          </ac:spMkLst>
        </pc:spChg>
        <pc:spChg chg="mod">
          <ac:chgData name="Ugo MANTEL" userId="2d5b7065-31bb-4181-a7f8-a73bf0c30211" providerId="ADAL" clId="{F05BB0D5-3454-45DC-8378-DA45B79D9A06}" dt="2020-10-02T13:04:33.635" v="2544" actId="790"/>
          <ac:spMkLst>
            <pc:docMk/>
            <pc:sldMk cId="574623477" sldId="6630"/>
            <ac:spMk id="91" creationId="{7B66ECC0-A573-4990-94B6-EE362A313094}"/>
          </ac:spMkLst>
        </pc:spChg>
        <pc:spChg chg="mod">
          <ac:chgData name="Ugo MANTEL" userId="2d5b7065-31bb-4181-a7f8-a73bf0c30211" providerId="ADAL" clId="{F05BB0D5-3454-45DC-8378-DA45B79D9A06}" dt="2020-10-02T13:04:33.654" v="2568" actId="790"/>
          <ac:spMkLst>
            <pc:docMk/>
            <pc:sldMk cId="574623477" sldId="6630"/>
            <ac:spMk id="93" creationId="{3EE7B248-E08F-44AE-9FA1-2E5FC795D693}"/>
          </ac:spMkLst>
        </pc:spChg>
        <pc:spChg chg="mod">
          <ac:chgData name="Ugo MANTEL" userId="2d5b7065-31bb-4181-a7f8-a73bf0c30211" providerId="ADAL" clId="{F05BB0D5-3454-45DC-8378-DA45B79D9A06}" dt="2020-10-02T13:04:33.662" v="2580" actId="790"/>
          <ac:spMkLst>
            <pc:docMk/>
            <pc:sldMk cId="574623477" sldId="6630"/>
            <ac:spMk id="98" creationId="{C0A75675-C61C-4184-9F2E-4724E075FE31}"/>
          </ac:spMkLst>
        </pc:spChg>
        <pc:spChg chg="mod">
          <ac:chgData name="Ugo MANTEL" userId="2d5b7065-31bb-4181-a7f8-a73bf0c30211" providerId="ADAL" clId="{F05BB0D5-3454-45DC-8378-DA45B79D9A06}" dt="2020-10-02T13:04:33.638" v="2547" actId="790"/>
          <ac:spMkLst>
            <pc:docMk/>
            <pc:sldMk cId="574623477" sldId="6630"/>
            <ac:spMk id="100" creationId="{D480FCA0-FA71-498D-8200-991D1A243907}"/>
          </ac:spMkLst>
        </pc:spChg>
        <pc:spChg chg="mod">
          <ac:chgData name="Ugo MANTEL" userId="2d5b7065-31bb-4181-a7f8-a73bf0c30211" providerId="ADAL" clId="{F05BB0D5-3454-45DC-8378-DA45B79D9A06}" dt="2020-10-02T13:04:33.639" v="2548" actId="790"/>
          <ac:spMkLst>
            <pc:docMk/>
            <pc:sldMk cId="574623477" sldId="6630"/>
            <ac:spMk id="101" creationId="{14056EA4-415D-450B-8555-F65174200527}"/>
          </ac:spMkLst>
        </pc:spChg>
        <pc:spChg chg="mod">
          <ac:chgData name="Ugo MANTEL" userId="2d5b7065-31bb-4181-a7f8-a73bf0c30211" providerId="ADAL" clId="{F05BB0D5-3454-45DC-8378-DA45B79D9A06}" dt="2020-10-02T13:04:33.636" v="2545" actId="790"/>
          <ac:spMkLst>
            <pc:docMk/>
            <pc:sldMk cId="574623477" sldId="6630"/>
            <ac:spMk id="103" creationId="{C3073759-75B1-48FD-87F0-76C9F9B283DB}"/>
          </ac:spMkLst>
        </pc:spChg>
        <pc:spChg chg="mod">
          <ac:chgData name="Ugo MANTEL" userId="2d5b7065-31bb-4181-a7f8-a73bf0c30211" providerId="ADAL" clId="{F05BB0D5-3454-45DC-8378-DA45B79D9A06}" dt="2020-10-02T13:04:33.658" v="2573" actId="790"/>
          <ac:spMkLst>
            <pc:docMk/>
            <pc:sldMk cId="574623477" sldId="6630"/>
            <ac:spMk id="106" creationId="{D8E851FE-269F-4875-8FF0-D4EFF8BCD8E6}"/>
          </ac:spMkLst>
        </pc:spChg>
        <pc:spChg chg="mod">
          <ac:chgData name="Ugo MANTEL" userId="2d5b7065-31bb-4181-a7f8-a73bf0c30211" providerId="ADAL" clId="{F05BB0D5-3454-45DC-8378-DA45B79D9A06}" dt="2020-10-02T13:04:33.656" v="2571" actId="790"/>
          <ac:spMkLst>
            <pc:docMk/>
            <pc:sldMk cId="574623477" sldId="6630"/>
            <ac:spMk id="107" creationId="{1E1976D2-542D-4FC7-9E78-A3116C9EE0B8}"/>
          </ac:spMkLst>
        </pc:spChg>
        <pc:spChg chg="mod">
          <ac:chgData name="Ugo MANTEL" userId="2d5b7065-31bb-4181-a7f8-a73bf0c30211" providerId="ADAL" clId="{F05BB0D5-3454-45DC-8378-DA45B79D9A06}" dt="2020-10-02T13:04:33.658" v="2574" actId="790"/>
          <ac:spMkLst>
            <pc:docMk/>
            <pc:sldMk cId="574623477" sldId="6630"/>
            <ac:spMk id="109" creationId="{44D4BE40-8998-467F-9C6F-86C1D1839891}"/>
          </ac:spMkLst>
        </pc:spChg>
        <pc:spChg chg="mod">
          <ac:chgData name="Ugo MANTEL" userId="2d5b7065-31bb-4181-a7f8-a73bf0c30211" providerId="ADAL" clId="{F05BB0D5-3454-45DC-8378-DA45B79D9A06}" dt="2020-10-02T13:04:33.661" v="2579" actId="790"/>
          <ac:spMkLst>
            <pc:docMk/>
            <pc:sldMk cId="574623477" sldId="6630"/>
            <ac:spMk id="111" creationId="{6793F758-A552-4625-BCEA-FE32DA729AB7}"/>
          </ac:spMkLst>
        </pc:spChg>
        <pc:spChg chg="mod">
          <ac:chgData name="Ugo MANTEL" userId="2d5b7065-31bb-4181-a7f8-a73bf0c30211" providerId="ADAL" clId="{F05BB0D5-3454-45DC-8378-DA45B79D9A06}" dt="2020-10-02T13:04:33.659" v="2575" actId="790"/>
          <ac:spMkLst>
            <pc:docMk/>
            <pc:sldMk cId="574623477" sldId="6630"/>
            <ac:spMk id="112" creationId="{AB2EDE16-F24F-4981-92EF-A6B8E5567EEB}"/>
          </ac:spMkLst>
        </pc:spChg>
        <pc:spChg chg="mod">
          <ac:chgData name="Ugo MANTEL" userId="2d5b7065-31bb-4181-a7f8-a73bf0c30211" providerId="ADAL" clId="{F05BB0D5-3454-45DC-8378-DA45B79D9A06}" dt="2020-10-02T13:04:33.659" v="2576" actId="790"/>
          <ac:spMkLst>
            <pc:docMk/>
            <pc:sldMk cId="574623477" sldId="6630"/>
            <ac:spMk id="113" creationId="{9AD2D6A6-F8A9-4BA0-B39B-F9934A9D0159}"/>
          </ac:spMkLst>
        </pc:spChg>
        <pc:spChg chg="mod">
          <ac:chgData name="Ugo MANTEL" userId="2d5b7065-31bb-4181-a7f8-a73bf0c30211" providerId="ADAL" clId="{F05BB0D5-3454-45DC-8378-DA45B79D9A06}" dt="2020-10-02T13:04:33.660" v="2577" actId="790"/>
          <ac:spMkLst>
            <pc:docMk/>
            <pc:sldMk cId="574623477" sldId="6630"/>
            <ac:spMk id="114" creationId="{566D2057-1299-401E-815E-E992B60E3C55}"/>
          </ac:spMkLst>
        </pc:spChg>
        <pc:spChg chg="mod">
          <ac:chgData name="Ugo MANTEL" userId="2d5b7065-31bb-4181-a7f8-a73bf0c30211" providerId="ADAL" clId="{F05BB0D5-3454-45DC-8378-DA45B79D9A06}" dt="2020-10-02T13:04:33.632" v="2541" actId="790"/>
          <ac:spMkLst>
            <pc:docMk/>
            <pc:sldMk cId="574623477" sldId="6630"/>
            <ac:spMk id="115" creationId="{C4BFD170-741E-44F7-AB19-03743D1A0EE2}"/>
          </ac:spMkLst>
        </pc:spChg>
        <pc:spChg chg="mod">
          <ac:chgData name="Ugo MANTEL" userId="2d5b7065-31bb-4181-a7f8-a73bf0c30211" providerId="ADAL" clId="{F05BB0D5-3454-45DC-8378-DA45B79D9A06}" dt="2020-10-02T13:04:33.661" v="2578" actId="790"/>
          <ac:spMkLst>
            <pc:docMk/>
            <pc:sldMk cId="574623477" sldId="6630"/>
            <ac:spMk id="116" creationId="{62420C4F-D75E-4584-B261-04E6A879DAF9}"/>
          </ac:spMkLst>
        </pc:spChg>
        <pc:spChg chg="mod">
          <ac:chgData name="Ugo MANTEL" userId="2d5b7065-31bb-4181-a7f8-a73bf0c30211" providerId="ADAL" clId="{F05BB0D5-3454-45DC-8378-DA45B79D9A06}" dt="2020-10-02T13:04:33.620" v="2535" actId="790"/>
          <ac:spMkLst>
            <pc:docMk/>
            <pc:sldMk cId="574623477" sldId="6630"/>
            <ac:spMk id="117" creationId="{E9538D6F-BB06-436E-9591-7BA107FA0BE6}"/>
          </ac:spMkLst>
        </pc:spChg>
        <pc:spChg chg="mod">
          <ac:chgData name="Ugo MANTEL" userId="2d5b7065-31bb-4181-a7f8-a73bf0c30211" providerId="ADAL" clId="{F05BB0D5-3454-45DC-8378-DA45B79D9A06}" dt="2020-10-02T13:04:33.651" v="2565" actId="790"/>
          <ac:spMkLst>
            <pc:docMk/>
            <pc:sldMk cId="574623477" sldId="6630"/>
            <ac:spMk id="119" creationId="{69DE2AF3-6B1B-495E-9133-2169345C5109}"/>
          </ac:spMkLst>
        </pc:spChg>
        <pc:spChg chg="mod">
          <ac:chgData name="Ugo MANTEL" userId="2d5b7065-31bb-4181-a7f8-a73bf0c30211" providerId="ADAL" clId="{F05BB0D5-3454-45DC-8378-DA45B79D9A06}" dt="2020-10-02T13:04:33.652" v="2566" actId="790"/>
          <ac:spMkLst>
            <pc:docMk/>
            <pc:sldMk cId="574623477" sldId="6630"/>
            <ac:spMk id="120" creationId="{B7727CD2-622C-4B27-81BD-82B721D7471F}"/>
          </ac:spMkLst>
        </pc:spChg>
        <pc:spChg chg="mod">
          <ac:chgData name="Ugo MANTEL" userId="2d5b7065-31bb-4181-a7f8-a73bf0c30211" providerId="ADAL" clId="{F05BB0D5-3454-45DC-8378-DA45B79D9A06}" dt="2020-10-02T13:04:33.653" v="2567" actId="790"/>
          <ac:spMkLst>
            <pc:docMk/>
            <pc:sldMk cId="574623477" sldId="6630"/>
            <ac:spMk id="123" creationId="{309FC094-D175-4FD3-AABF-13FB60BB019B}"/>
          </ac:spMkLst>
        </pc:spChg>
        <pc:spChg chg="mod">
          <ac:chgData name="Ugo MANTEL" userId="2d5b7065-31bb-4181-a7f8-a73bf0c30211" providerId="ADAL" clId="{F05BB0D5-3454-45DC-8378-DA45B79D9A06}" dt="2020-10-02T13:04:33.668" v="2587" actId="790"/>
          <ac:spMkLst>
            <pc:docMk/>
            <pc:sldMk cId="574623477" sldId="6630"/>
            <ac:spMk id="124" creationId="{0BF6FDE0-3EF9-46A9-9C2E-30BE8635C7AB}"/>
          </ac:spMkLst>
        </pc:spChg>
        <pc:spChg chg="mod">
          <ac:chgData name="Ugo MANTEL" userId="2d5b7065-31bb-4181-a7f8-a73bf0c30211" providerId="ADAL" clId="{F05BB0D5-3454-45DC-8378-DA45B79D9A06}" dt="2020-10-02T13:04:33.669" v="2588" actId="790"/>
          <ac:spMkLst>
            <pc:docMk/>
            <pc:sldMk cId="574623477" sldId="6630"/>
            <ac:spMk id="125" creationId="{DC8E29AD-5E86-4D2D-91B0-80D8793129F5}"/>
          </ac:spMkLst>
        </pc:spChg>
        <pc:spChg chg="mod">
          <ac:chgData name="Ugo MANTEL" userId="2d5b7065-31bb-4181-a7f8-a73bf0c30211" providerId="ADAL" clId="{F05BB0D5-3454-45DC-8378-DA45B79D9A06}" dt="2020-10-02T13:04:33.670" v="2589" actId="790"/>
          <ac:spMkLst>
            <pc:docMk/>
            <pc:sldMk cId="574623477" sldId="6630"/>
            <ac:spMk id="133" creationId="{D04997C9-A317-4D83-B20B-CDA0CC234137}"/>
          </ac:spMkLst>
        </pc:spChg>
        <pc:spChg chg="mod">
          <ac:chgData name="Ugo MANTEL" userId="2d5b7065-31bb-4181-a7f8-a73bf0c30211" providerId="ADAL" clId="{F05BB0D5-3454-45DC-8378-DA45B79D9A06}" dt="2020-10-02T13:04:33.663" v="2581" actId="790"/>
          <ac:spMkLst>
            <pc:docMk/>
            <pc:sldMk cId="574623477" sldId="6630"/>
            <ac:spMk id="137" creationId="{8A662744-2D2E-42B6-A4F1-4B618F65FFD8}"/>
          </ac:spMkLst>
        </pc:spChg>
        <pc:spChg chg="mod">
          <ac:chgData name="Ugo MANTEL" userId="2d5b7065-31bb-4181-a7f8-a73bf0c30211" providerId="ADAL" clId="{F05BB0D5-3454-45DC-8378-DA45B79D9A06}" dt="2020-10-02T13:04:33.664" v="2582" actId="790"/>
          <ac:spMkLst>
            <pc:docMk/>
            <pc:sldMk cId="574623477" sldId="6630"/>
            <ac:spMk id="138" creationId="{89C137EE-BF15-4E7C-BD37-E25267F37D6B}"/>
          </ac:spMkLst>
        </pc:spChg>
        <pc:spChg chg="mod">
          <ac:chgData name="Ugo MANTEL" userId="2d5b7065-31bb-4181-a7f8-a73bf0c30211" providerId="ADAL" clId="{F05BB0D5-3454-45DC-8378-DA45B79D9A06}" dt="2020-10-02T13:04:33.664" v="2583" actId="790"/>
          <ac:spMkLst>
            <pc:docMk/>
            <pc:sldMk cId="574623477" sldId="6630"/>
            <ac:spMk id="139" creationId="{39484C7D-8B7B-4017-99B9-CDA35CDE454C}"/>
          </ac:spMkLst>
        </pc:spChg>
        <pc:spChg chg="mod">
          <ac:chgData name="Ugo MANTEL" userId="2d5b7065-31bb-4181-a7f8-a73bf0c30211" providerId="ADAL" clId="{F05BB0D5-3454-45DC-8378-DA45B79D9A06}" dt="2020-10-02T13:04:33.665" v="2584" actId="790"/>
          <ac:spMkLst>
            <pc:docMk/>
            <pc:sldMk cId="574623477" sldId="6630"/>
            <ac:spMk id="140" creationId="{C2EA8CAD-CA69-4698-A437-ECD32626C348}"/>
          </ac:spMkLst>
        </pc:spChg>
        <pc:spChg chg="mod">
          <ac:chgData name="Ugo MANTEL" userId="2d5b7065-31bb-4181-a7f8-a73bf0c30211" providerId="ADAL" clId="{F05BB0D5-3454-45DC-8378-DA45B79D9A06}" dt="2020-10-02T13:04:33.667" v="2585" actId="790"/>
          <ac:spMkLst>
            <pc:docMk/>
            <pc:sldMk cId="574623477" sldId="6630"/>
            <ac:spMk id="141" creationId="{70E6DDD4-798C-42C9-ACE1-BCEF32CF65AF}"/>
          </ac:spMkLst>
        </pc:spChg>
        <pc:spChg chg="mod">
          <ac:chgData name="Ugo MANTEL" userId="2d5b7065-31bb-4181-a7f8-a73bf0c30211" providerId="ADAL" clId="{F05BB0D5-3454-45DC-8378-DA45B79D9A06}" dt="2020-10-02T13:04:33.668" v="2586" actId="790"/>
          <ac:spMkLst>
            <pc:docMk/>
            <pc:sldMk cId="574623477" sldId="6630"/>
            <ac:spMk id="142" creationId="{9064F364-7F1C-4E1A-AC63-44F8A164F374}"/>
          </ac:spMkLst>
        </pc:spChg>
        <pc:spChg chg="mod">
          <ac:chgData name="Ugo MANTEL" userId="2d5b7065-31bb-4181-a7f8-a73bf0c30211" providerId="ADAL" clId="{F05BB0D5-3454-45DC-8378-DA45B79D9A06}" dt="2020-10-02T13:04:33.640" v="2549" actId="790"/>
          <ac:spMkLst>
            <pc:docMk/>
            <pc:sldMk cId="574623477" sldId="6630"/>
            <ac:spMk id="153" creationId="{407B283D-D963-4FA6-B16A-915528FD58F1}"/>
          </ac:spMkLst>
        </pc:spChg>
      </pc:sldChg>
      <pc:sldChg chg="modSp mod">
        <pc:chgData name="Ugo MANTEL" userId="2d5b7065-31bb-4181-a7f8-a73bf0c30211" providerId="ADAL" clId="{F05BB0D5-3454-45DC-8378-DA45B79D9A06}" dt="2020-10-02T13:04:33.852" v="2751" actId="790"/>
        <pc:sldMkLst>
          <pc:docMk/>
          <pc:sldMk cId="56233329" sldId="6631"/>
        </pc:sldMkLst>
        <pc:spChg chg="mod">
          <ac:chgData name="Ugo MANTEL" userId="2d5b7065-31bb-4181-a7f8-a73bf0c30211" providerId="ADAL" clId="{F05BB0D5-3454-45DC-8378-DA45B79D9A06}" dt="2020-10-02T13:04:33.803" v="2688" actId="790"/>
          <ac:spMkLst>
            <pc:docMk/>
            <pc:sldMk cId="56233329" sldId="6631"/>
            <ac:spMk id="2" creationId="{40405687-1983-497B-BFE2-6759881CBEB0}"/>
          </ac:spMkLst>
        </pc:spChg>
        <pc:spChg chg="mod">
          <ac:chgData name="Ugo MANTEL" userId="2d5b7065-31bb-4181-a7f8-a73bf0c30211" providerId="ADAL" clId="{F05BB0D5-3454-45DC-8378-DA45B79D9A06}" dt="2020-10-02T13:04:33.808" v="2694" actId="790"/>
          <ac:spMkLst>
            <pc:docMk/>
            <pc:sldMk cId="56233329" sldId="6631"/>
            <ac:spMk id="4" creationId="{D8606062-948A-43FA-B1CC-E700D8B483DB}"/>
          </ac:spMkLst>
        </pc:spChg>
        <pc:spChg chg="mod">
          <ac:chgData name="Ugo MANTEL" userId="2d5b7065-31bb-4181-a7f8-a73bf0c30211" providerId="ADAL" clId="{F05BB0D5-3454-45DC-8378-DA45B79D9A06}" dt="2020-10-02T13:04:33.808" v="2695" actId="790"/>
          <ac:spMkLst>
            <pc:docMk/>
            <pc:sldMk cId="56233329" sldId="6631"/>
            <ac:spMk id="7" creationId="{435B9F27-B1BD-4B3C-A2F6-1EE2E3F7FB14}"/>
          </ac:spMkLst>
        </pc:spChg>
        <pc:spChg chg="mod">
          <ac:chgData name="Ugo MANTEL" userId="2d5b7065-31bb-4181-a7f8-a73bf0c30211" providerId="ADAL" clId="{F05BB0D5-3454-45DC-8378-DA45B79D9A06}" dt="2020-10-02T13:04:33.809" v="2696" actId="790"/>
          <ac:spMkLst>
            <pc:docMk/>
            <pc:sldMk cId="56233329" sldId="6631"/>
            <ac:spMk id="8" creationId="{AAD72BBF-A4CA-461C-B638-44AC7A6488A4}"/>
          </ac:spMkLst>
        </pc:spChg>
        <pc:spChg chg="mod">
          <ac:chgData name="Ugo MANTEL" userId="2d5b7065-31bb-4181-a7f8-a73bf0c30211" providerId="ADAL" clId="{F05BB0D5-3454-45DC-8378-DA45B79D9A06}" dt="2020-10-02T13:04:33.809" v="2697" actId="790"/>
          <ac:spMkLst>
            <pc:docMk/>
            <pc:sldMk cId="56233329" sldId="6631"/>
            <ac:spMk id="13" creationId="{3DC1EDB4-E48E-478F-865E-918F522F9571}"/>
          </ac:spMkLst>
        </pc:spChg>
        <pc:spChg chg="mod">
          <ac:chgData name="Ugo MANTEL" userId="2d5b7065-31bb-4181-a7f8-a73bf0c30211" providerId="ADAL" clId="{F05BB0D5-3454-45DC-8378-DA45B79D9A06}" dt="2020-10-02T13:04:33.843" v="2738" actId="790"/>
          <ac:spMkLst>
            <pc:docMk/>
            <pc:sldMk cId="56233329" sldId="6631"/>
            <ac:spMk id="16" creationId="{2FC29DD7-EB5A-4F66-84FD-690F2921EBD9}"/>
          </ac:spMkLst>
        </pc:spChg>
        <pc:spChg chg="mod">
          <ac:chgData name="Ugo MANTEL" userId="2d5b7065-31bb-4181-a7f8-a73bf0c30211" providerId="ADAL" clId="{F05BB0D5-3454-45DC-8378-DA45B79D9A06}" dt="2020-10-02T13:04:33.810" v="2698" actId="790"/>
          <ac:spMkLst>
            <pc:docMk/>
            <pc:sldMk cId="56233329" sldId="6631"/>
            <ac:spMk id="18" creationId="{CB2D50C3-5F5C-4E32-B512-4E1C7C85EC03}"/>
          </ac:spMkLst>
        </pc:spChg>
        <pc:spChg chg="mod">
          <ac:chgData name="Ugo MANTEL" userId="2d5b7065-31bb-4181-a7f8-a73bf0c30211" providerId="ADAL" clId="{F05BB0D5-3454-45DC-8378-DA45B79D9A06}" dt="2020-10-02T13:04:33.811" v="2699" actId="790"/>
          <ac:spMkLst>
            <pc:docMk/>
            <pc:sldMk cId="56233329" sldId="6631"/>
            <ac:spMk id="32" creationId="{C939D34D-C7FA-4A02-A1A5-8107C77E496C}"/>
          </ac:spMkLst>
        </pc:spChg>
        <pc:spChg chg="mod">
          <ac:chgData name="Ugo MANTEL" userId="2d5b7065-31bb-4181-a7f8-a73bf0c30211" providerId="ADAL" clId="{F05BB0D5-3454-45DC-8378-DA45B79D9A06}" dt="2020-10-02T13:04:33.812" v="2700" actId="790"/>
          <ac:spMkLst>
            <pc:docMk/>
            <pc:sldMk cId="56233329" sldId="6631"/>
            <ac:spMk id="33" creationId="{BAF004BE-B230-40A7-90C0-9DDB4F5E8C1A}"/>
          </ac:spMkLst>
        </pc:spChg>
        <pc:spChg chg="mod">
          <ac:chgData name="Ugo MANTEL" userId="2d5b7065-31bb-4181-a7f8-a73bf0c30211" providerId="ADAL" clId="{F05BB0D5-3454-45DC-8378-DA45B79D9A06}" dt="2020-10-02T13:04:33.812" v="2701" actId="790"/>
          <ac:spMkLst>
            <pc:docMk/>
            <pc:sldMk cId="56233329" sldId="6631"/>
            <ac:spMk id="34" creationId="{52AF4BC8-AE04-4315-8FD9-CABBB6359651}"/>
          </ac:spMkLst>
        </pc:spChg>
        <pc:spChg chg="mod">
          <ac:chgData name="Ugo MANTEL" userId="2d5b7065-31bb-4181-a7f8-a73bf0c30211" providerId="ADAL" clId="{F05BB0D5-3454-45DC-8378-DA45B79D9A06}" dt="2020-10-02T13:04:33.813" v="2702" actId="790"/>
          <ac:spMkLst>
            <pc:docMk/>
            <pc:sldMk cId="56233329" sldId="6631"/>
            <ac:spMk id="35" creationId="{E4B8C5A5-69F0-47C3-A8CA-E61527A42DBB}"/>
          </ac:spMkLst>
        </pc:spChg>
        <pc:spChg chg="mod">
          <ac:chgData name="Ugo MANTEL" userId="2d5b7065-31bb-4181-a7f8-a73bf0c30211" providerId="ADAL" clId="{F05BB0D5-3454-45DC-8378-DA45B79D9A06}" dt="2020-10-02T13:04:33.814" v="2703" actId="790"/>
          <ac:spMkLst>
            <pc:docMk/>
            <pc:sldMk cId="56233329" sldId="6631"/>
            <ac:spMk id="38" creationId="{102F71C5-4EFC-41A5-A648-4F896BEF6753}"/>
          </ac:spMkLst>
        </pc:spChg>
        <pc:spChg chg="mod">
          <ac:chgData name="Ugo MANTEL" userId="2d5b7065-31bb-4181-a7f8-a73bf0c30211" providerId="ADAL" clId="{F05BB0D5-3454-45DC-8378-DA45B79D9A06}" dt="2020-10-02T13:04:33.815" v="2704" actId="790"/>
          <ac:spMkLst>
            <pc:docMk/>
            <pc:sldMk cId="56233329" sldId="6631"/>
            <ac:spMk id="39" creationId="{5DD3D8CB-0540-46AE-83D0-CDC126BC02F1}"/>
          </ac:spMkLst>
        </pc:spChg>
        <pc:spChg chg="mod">
          <ac:chgData name="Ugo MANTEL" userId="2d5b7065-31bb-4181-a7f8-a73bf0c30211" providerId="ADAL" clId="{F05BB0D5-3454-45DC-8378-DA45B79D9A06}" dt="2020-10-02T13:04:33.815" v="2705" actId="790"/>
          <ac:spMkLst>
            <pc:docMk/>
            <pc:sldMk cId="56233329" sldId="6631"/>
            <ac:spMk id="42" creationId="{D33E7FDE-7897-4F5A-9CE5-A05D725289A3}"/>
          </ac:spMkLst>
        </pc:spChg>
        <pc:spChg chg="mod">
          <ac:chgData name="Ugo MANTEL" userId="2d5b7065-31bb-4181-a7f8-a73bf0c30211" providerId="ADAL" clId="{F05BB0D5-3454-45DC-8378-DA45B79D9A06}" dt="2020-10-02T13:04:33.805" v="2692" actId="790"/>
          <ac:spMkLst>
            <pc:docMk/>
            <pc:sldMk cId="56233329" sldId="6631"/>
            <ac:spMk id="44" creationId="{0F687173-BC55-430F-90F5-08006A56846C}"/>
          </ac:spMkLst>
        </pc:spChg>
        <pc:spChg chg="mod">
          <ac:chgData name="Ugo MANTEL" userId="2d5b7065-31bb-4181-a7f8-a73bf0c30211" providerId="ADAL" clId="{F05BB0D5-3454-45DC-8378-DA45B79D9A06}" dt="2020-10-02T13:04:33.816" v="2706" actId="790"/>
          <ac:spMkLst>
            <pc:docMk/>
            <pc:sldMk cId="56233329" sldId="6631"/>
            <ac:spMk id="45" creationId="{0423039B-D003-4607-B4ED-E062873E6E7D}"/>
          </ac:spMkLst>
        </pc:spChg>
        <pc:spChg chg="mod">
          <ac:chgData name="Ugo MANTEL" userId="2d5b7065-31bb-4181-a7f8-a73bf0c30211" providerId="ADAL" clId="{F05BB0D5-3454-45DC-8378-DA45B79D9A06}" dt="2020-10-02T13:04:33.819" v="2709" actId="790"/>
          <ac:spMkLst>
            <pc:docMk/>
            <pc:sldMk cId="56233329" sldId="6631"/>
            <ac:spMk id="49" creationId="{189071B0-AD82-43AA-A2F3-B017F82C90EA}"/>
          </ac:spMkLst>
        </pc:spChg>
        <pc:spChg chg="mod">
          <ac:chgData name="Ugo MANTEL" userId="2d5b7065-31bb-4181-a7f8-a73bf0c30211" providerId="ADAL" clId="{F05BB0D5-3454-45DC-8378-DA45B79D9A06}" dt="2020-10-02T13:04:33.806" v="2693" actId="790"/>
          <ac:spMkLst>
            <pc:docMk/>
            <pc:sldMk cId="56233329" sldId="6631"/>
            <ac:spMk id="52" creationId="{6A3A6DDC-5EA2-4628-84D0-1E45F8457938}"/>
          </ac:spMkLst>
        </pc:spChg>
        <pc:spChg chg="mod">
          <ac:chgData name="Ugo MANTEL" userId="2d5b7065-31bb-4181-a7f8-a73bf0c30211" providerId="ADAL" clId="{F05BB0D5-3454-45DC-8378-DA45B79D9A06}" dt="2020-10-02T13:04:33.817" v="2707" actId="790"/>
          <ac:spMkLst>
            <pc:docMk/>
            <pc:sldMk cId="56233329" sldId="6631"/>
            <ac:spMk id="53" creationId="{861B5060-3961-43F3-A998-34DF3E2806B0}"/>
          </ac:spMkLst>
        </pc:spChg>
        <pc:spChg chg="mod">
          <ac:chgData name="Ugo MANTEL" userId="2d5b7065-31bb-4181-a7f8-a73bf0c30211" providerId="ADAL" clId="{F05BB0D5-3454-45DC-8378-DA45B79D9A06}" dt="2020-10-02T13:04:33.818" v="2708" actId="790"/>
          <ac:spMkLst>
            <pc:docMk/>
            <pc:sldMk cId="56233329" sldId="6631"/>
            <ac:spMk id="54" creationId="{B6C3162D-39D0-4110-8488-7D1433ECF0C6}"/>
          </ac:spMkLst>
        </pc:spChg>
        <pc:spChg chg="mod">
          <ac:chgData name="Ugo MANTEL" userId="2d5b7065-31bb-4181-a7f8-a73bf0c30211" providerId="ADAL" clId="{F05BB0D5-3454-45DC-8378-DA45B79D9A06}" dt="2020-10-02T13:04:33.819" v="2710" actId="790"/>
          <ac:spMkLst>
            <pc:docMk/>
            <pc:sldMk cId="56233329" sldId="6631"/>
            <ac:spMk id="62" creationId="{5AD5EA41-567F-4CA9-907D-E3F8BAE0D01E}"/>
          </ac:spMkLst>
        </pc:spChg>
        <pc:spChg chg="mod">
          <ac:chgData name="Ugo MANTEL" userId="2d5b7065-31bb-4181-a7f8-a73bf0c30211" providerId="ADAL" clId="{F05BB0D5-3454-45DC-8378-DA45B79D9A06}" dt="2020-10-02T13:04:33.821" v="2711" actId="790"/>
          <ac:spMkLst>
            <pc:docMk/>
            <pc:sldMk cId="56233329" sldId="6631"/>
            <ac:spMk id="64" creationId="{7FD14E1F-BDAB-4878-9096-BB82BE96364D}"/>
          </ac:spMkLst>
        </pc:spChg>
        <pc:spChg chg="mod">
          <ac:chgData name="Ugo MANTEL" userId="2d5b7065-31bb-4181-a7f8-a73bf0c30211" providerId="ADAL" clId="{F05BB0D5-3454-45DC-8378-DA45B79D9A06}" dt="2020-10-02T13:04:33.825" v="2716" actId="790"/>
          <ac:spMkLst>
            <pc:docMk/>
            <pc:sldMk cId="56233329" sldId="6631"/>
            <ac:spMk id="73" creationId="{C3136EAB-7736-472C-BC82-1C34F6667101}"/>
          </ac:spMkLst>
        </pc:spChg>
        <pc:spChg chg="mod">
          <ac:chgData name="Ugo MANTEL" userId="2d5b7065-31bb-4181-a7f8-a73bf0c30211" providerId="ADAL" clId="{F05BB0D5-3454-45DC-8378-DA45B79D9A06}" dt="2020-10-02T13:04:33.821" v="2712" actId="790"/>
          <ac:spMkLst>
            <pc:docMk/>
            <pc:sldMk cId="56233329" sldId="6631"/>
            <ac:spMk id="74" creationId="{FB8B01D0-DE3C-47C2-8D5E-3E7AB71B7075}"/>
          </ac:spMkLst>
        </pc:spChg>
        <pc:spChg chg="mod">
          <ac:chgData name="Ugo MANTEL" userId="2d5b7065-31bb-4181-a7f8-a73bf0c30211" providerId="ADAL" clId="{F05BB0D5-3454-45DC-8378-DA45B79D9A06}" dt="2020-10-02T13:04:33.823" v="2713" actId="790"/>
          <ac:spMkLst>
            <pc:docMk/>
            <pc:sldMk cId="56233329" sldId="6631"/>
            <ac:spMk id="75" creationId="{67E081B7-5B9E-4FF0-AF32-DFFC32BD18FD}"/>
          </ac:spMkLst>
        </pc:spChg>
        <pc:spChg chg="mod">
          <ac:chgData name="Ugo MANTEL" userId="2d5b7065-31bb-4181-a7f8-a73bf0c30211" providerId="ADAL" clId="{F05BB0D5-3454-45DC-8378-DA45B79D9A06}" dt="2020-10-02T13:04:33.824" v="2714" actId="790"/>
          <ac:spMkLst>
            <pc:docMk/>
            <pc:sldMk cId="56233329" sldId="6631"/>
            <ac:spMk id="76" creationId="{1660F69F-383B-4082-9E01-85578359A202}"/>
          </ac:spMkLst>
        </pc:spChg>
        <pc:spChg chg="mod">
          <ac:chgData name="Ugo MANTEL" userId="2d5b7065-31bb-4181-a7f8-a73bf0c30211" providerId="ADAL" clId="{F05BB0D5-3454-45DC-8378-DA45B79D9A06}" dt="2020-10-02T13:04:33.824" v="2715" actId="790"/>
          <ac:spMkLst>
            <pc:docMk/>
            <pc:sldMk cId="56233329" sldId="6631"/>
            <ac:spMk id="78" creationId="{691947C0-F796-4E53-ADD7-5211E9182CE3}"/>
          </ac:spMkLst>
        </pc:spChg>
        <pc:spChg chg="mod">
          <ac:chgData name="Ugo MANTEL" userId="2d5b7065-31bb-4181-a7f8-a73bf0c30211" providerId="ADAL" clId="{F05BB0D5-3454-45DC-8378-DA45B79D9A06}" dt="2020-10-02T13:04:33.805" v="2691" actId="790"/>
          <ac:spMkLst>
            <pc:docMk/>
            <pc:sldMk cId="56233329" sldId="6631"/>
            <ac:spMk id="98" creationId="{04AB31F6-FF6B-42BC-99B7-34EC8CAA169A}"/>
          </ac:spMkLst>
        </pc:spChg>
        <pc:spChg chg="mod">
          <ac:chgData name="Ugo MANTEL" userId="2d5b7065-31bb-4181-a7f8-a73bf0c30211" providerId="ADAL" clId="{F05BB0D5-3454-45DC-8378-DA45B79D9A06}" dt="2020-10-02T13:04:33.826" v="2717" actId="790"/>
          <ac:spMkLst>
            <pc:docMk/>
            <pc:sldMk cId="56233329" sldId="6631"/>
            <ac:spMk id="99" creationId="{F6EEE0DD-1AE4-4D88-AF84-0E04ACAF6C4F}"/>
          </ac:spMkLst>
        </pc:spChg>
        <pc:spChg chg="mod">
          <ac:chgData name="Ugo MANTEL" userId="2d5b7065-31bb-4181-a7f8-a73bf0c30211" providerId="ADAL" clId="{F05BB0D5-3454-45DC-8378-DA45B79D9A06}" dt="2020-10-02T13:04:33.804" v="2689" actId="790"/>
          <ac:spMkLst>
            <pc:docMk/>
            <pc:sldMk cId="56233329" sldId="6631"/>
            <ac:spMk id="102" creationId="{EF7B682B-B125-4FD7-A55E-BB6C6277EC3A}"/>
          </ac:spMkLst>
        </pc:spChg>
        <pc:spChg chg="mod">
          <ac:chgData name="Ugo MANTEL" userId="2d5b7065-31bb-4181-a7f8-a73bf0c30211" providerId="ADAL" clId="{F05BB0D5-3454-45DC-8378-DA45B79D9A06}" dt="2020-10-02T13:04:33.845" v="2741" actId="790"/>
          <ac:spMkLst>
            <pc:docMk/>
            <pc:sldMk cId="56233329" sldId="6631"/>
            <ac:spMk id="105" creationId="{D556BB4A-A2C1-404E-9F9B-331E2B5BFF88}"/>
          </ac:spMkLst>
        </pc:spChg>
        <pc:spChg chg="mod">
          <ac:chgData name="Ugo MANTEL" userId="2d5b7065-31bb-4181-a7f8-a73bf0c30211" providerId="ADAL" clId="{F05BB0D5-3454-45DC-8378-DA45B79D9A06}" dt="2020-10-02T13:04:33.844" v="2739" actId="790"/>
          <ac:spMkLst>
            <pc:docMk/>
            <pc:sldMk cId="56233329" sldId="6631"/>
            <ac:spMk id="106" creationId="{59CE9247-69AF-4256-9661-2547B3923C7A}"/>
          </ac:spMkLst>
        </pc:spChg>
        <pc:spChg chg="mod">
          <ac:chgData name="Ugo MANTEL" userId="2d5b7065-31bb-4181-a7f8-a73bf0c30211" providerId="ADAL" clId="{F05BB0D5-3454-45DC-8378-DA45B79D9A06}" dt="2020-10-02T13:04:33.845" v="2742" actId="790"/>
          <ac:spMkLst>
            <pc:docMk/>
            <pc:sldMk cId="56233329" sldId="6631"/>
            <ac:spMk id="107" creationId="{1342B815-7362-4B87-8C6E-A6BAD1D29205}"/>
          </ac:spMkLst>
        </pc:spChg>
        <pc:spChg chg="mod">
          <ac:chgData name="Ugo MANTEL" userId="2d5b7065-31bb-4181-a7f8-a73bf0c30211" providerId="ADAL" clId="{F05BB0D5-3454-45DC-8378-DA45B79D9A06}" dt="2020-10-02T13:04:33.847" v="2743" actId="790"/>
          <ac:spMkLst>
            <pc:docMk/>
            <pc:sldMk cId="56233329" sldId="6631"/>
            <ac:spMk id="108" creationId="{9F637803-E08C-4C60-BBFA-8AAC7A0ED0EA}"/>
          </ac:spMkLst>
        </pc:spChg>
        <pc:spChg chg="mod">
          <ac:chgData name="Ugo MANTEL" userId="2d5b7065-31bb-4181-a7f8-a73bf0c30211" providerId="ADAL" clId="{F05BB0D5-3454-45DC-8378-DA45B79D9A06}" dt="2020-10-02T13:04:33.844" v="2740" actId="790"/>
          <ac:spMkLst>
            <pc:docMk/>
            <pc:sldMk cId="56233329" sldId="6631"/>
            <ac:spMk id="109" creationId="{425ADA15-2169-4F9A-8283-3FAD7C6DF0F8}"/>
          </ac:spMkLst>
        </pc:spChg>
        <pc:spChg chg="mod">
          <ac:chgData name="Ugo MANTEL" userId="2d5b7065-31bb-4181-a7f8-a73bf0c30211" providerId="ADAL" clId="{F05BB0D5-3454-45DC-8378-DA45B79D9A06}" dt="2020-10-02T13:04:33.847" v="2744" actId="790"/>
          <ac:spMkLst>
            <pc:docMk/>
            <pc:sldMk cId="56233329" sldId="6631"/>
            <ac:spMk id="110" creationId="{9608DF1A-8CF0-4543-A92D-179A9C7E48F1}"/>
          </ac:spMkLst>
        </pc:spChg>
        <pc:spChg chg="mod">
          <ac:chgData name="Ugo MANTEL" userId="2d5b7065-31bb-4181-a7f8-a73bf0c30211" providerId="ADAL" clId="{F05BB0D5-3454-45DC-8378-DA45B79D9A06}" dt="2020-10-02T13:04:33.827" v="2718" actId="790"/>
          <ac:spMkLst>
            <pc:docMk/>
            <pc:sldMk cId="56233329" sldId="6631"/>
            <ac:spMk id="111" creationId="{965B25B2-9B80-4C05-BB9C-73D39306A1AD}"/>
          </ac:spMkLst>
        </pc:spChg>
        <pc:spChg chg="mod">
          <ac:chgData name="Ugo MANTEL" userId="2d5b7065-31bb-4181-a7f8-a73bf0c30211" providerId="ADAL" clId="{F05BB0D5-3454-45DC-8378-DA45B79D9A06}" dt="2020-10-02T13:04:33.827" v="2719" actId="790"/>
          <ac:spMkLst>
            <pc:docMk/>
            <pc:sldMk cId="56233329" sldId="6631"/>
            <ac:spMk id="112" creationId="{B152ECF9-A339-4898-A09E-76691BE19DDC}"/>
          </ac:spMkLst>
        </pc:spChg>
        <pc:spChg chg="mod">
          <ac:chgData name="Ugo MANTEL" userId="2d5b7065-31bb-4181-a7f8-a73bf0c30211" providerId="ADAL" clId="{F05BB0D5-3454-45DC-8378-DA45B79D9A06}" dt="2020-10-02T13:04:33.848" v="2745" actId="790"/>
          <ac:spMkLst>
            <pc:docMk/>
            <pc:sldMk cId="56233329" sldId="6631"/>
            <ac:spMk id="113" creationId="{42A3D6FE-02E6-4742-A849-9FAD883277F2}"/>
          </ac:spMkLst>
        </pc:spChg>
        <pc:spChg chg="mod">
          <ac:chgData name="Ugo MANTEL" userId="2d5b7065-31bb-4181-a7f8-a73bf0c30211" providerId="ADAL" clId="{F05BB0D5-3454-45DC-8378-DA45B79D9A06}" dt="2020-10-02T13:04:33.828" v="2720" actId="790"/>
          <ac:spMkLst>
            <pc:docMk/>
            <pc:sldMk cId="56233329" sldId="6631"/>
            <ac:spMk id="120" creationId="{1D56F3BA-989B-4711-8EB3-5B611082CB15}"/>
          </ac:spMkLst>
        </pc:spChg>
        <pc:spChg chg="mod">
          <ac:chgData name="Ugo MANTEL" userId="2d5b7065-31bb-4181-a7f8-a73bf0c30211" providerId="ADAL" clId="{F05BB0D5-3454-45DC-8378-DA45B79D9A06}" dt="2020-10-02T13:04:33.829" v="2721" actId="790"/>
          <ac:spMkLst>
            <pc:docMk/>
            <pc:sldMk cId="56233329" sldId="6631"/>
            <ac:spMk id="121" creationId="{8801569B-2922-4FB9-A66A-EED4A3B8C29C}"/>
          </ac:spMkLst>
        </pc:spChg>
        <pc:spChg chg="mod">
          <ac:chgData name="Ugo MANTEL" userId="2d5b7065-31bb-4181-a7f8-a73bf0c30211" providerId="ADAL" clId="{F05BB0D5-3454-45DC-8378-DA45B79D9A06}" dt="2020-10-02T13:04:33.830" v="2722" actId="790"/>
          <ac:spMkLst>
            <pc:docMk/>
            <pc:sldMk cId="56233329" sldId="6631"/>
            <ac:spMk id="123" creationId="{45BD7119-0632-4639-A5E5-015C8E6129FF}"/>
          </ac:spMkLst>
        </pc:spChg>
        <pc:spChg chg="mod">
          <ac:chgData name="Ugo MANTEL" userId="2d5b7065-31bb-4181-a7f8-a73bf0c30211" providerId="ADAL" clId="{F05BB0D5-3454-45DC-8378-DA45B79D9A06}" dt="2020-10-02T13:04:33.830" v="2723" actId="790"/>
          <ac:spMkLst>
            <pc:docMk/>
            <pc:sldMk cId="56233329" sldId="6631"/>
            <ac:spMk id="124" creationId="{4B3377DB-6C8C-4CAF-9227-F08D462DDFA6}"/>
          </ac:spMkLst>
        </pc:spChg>
        <pc:spChg chg="mod">
          <ac:chgData name="Ugo MANTEL" userId="2d5b7065-31bb-4181-a7f8-a73bf0c30211" providerId="ADAL" clId="{F05BB0D5-3454-45DC-8378-DA45B79D9A06}" dt="2020-10-02T13:04:33.852" v="2751" actId="790"/>
          <ac:spMkLst>
            <pc:docMk/>
            <pc:sldMk cId="56233329" sldId="6631"/>
            <ac:spMk id="125" creationId="{D59EFAD0-0342-4B9E-82AE-5E8B02335667}"/>
          </ac:spMkLst>
        </pc:spChg>
        <pc:spChg chg="mod">
          <ac:chgData name="Ugo MANTEL" userId="2d5b7065-31bb-4181-a7f8-a73bf0c30211" providerId="ADAL" clId="{F05BB0D5-3454-45DC-8378-DA45B79D9A06}" dt="2020-10-02T13:04:33.849" v="2746" actId="790"/>
          <ac:spMkLst>
            <pc:docMk/>
            <pc:sldMk cId="56233329" sldId="6631"/>
            <ac:spMk id="126" creationId="{D33B99F4-A84D-4CC9-8F38-F90B45EF2C65}"/>
          </ac:spMkLst>
        </pc:spChg>
        <pc:spChg chg="mod">
          <ac:chgData name="Ugo MANTEL" userId="2d5b7065-31bb-4181-a7f8-a73bf0c30211" providerId="ADAL" clId="{F05BB0D5-3454-45DC-8378-DA45B79D9A06}" dt="2020-10-02T13:04:33.849" v="2747" actId="790"/>
          <ac:spMkLst>
            <pc:docMk/>
            <pc:sldMk cId="56233329" sldId="6631"/>
            <ac:spMk id="127" creationId="{505764C8-D764-45E3-9061-88462717BCBF}"/>
          </ac:spMkLst>
        </pc:spChg>
        <pc:spChg chg="mod">
          <ac:chgData name="Ugo MANTEL" userId="2d5b7065-31bb-4181-a7f8-a73bf0c30211" providerId="ADAL" clId="{F05BB0D5-3454-45DC-8378-DA45B79D9A06}" dt="2020-10-02T13:04:33.850" v="2748" actId="790"/>
          <ac:spMkLst>
            <pc:docMk/>
            <pc:sldMk cId="56233329" sldId="6631"/>
            <ac:spMk id="128" creationId="{40636C22-6AFC-47DB-A1BF-0AB0B3D1BFE8}"/>
          </ac:spMkLst>
        </pc:spChg>
        <pc:spChg chg="mod">
          <ac:chgData name="Ugo MANTEL" userId="2d5b7065-31bb-4181-a7f8-a73bf0c30211" providerId="ADAL" clId="{F05BB0D5-3454-45DC-8378-DA45B79D9A06}" dt="2020-10-02T13:04:33.851" v="2749" actId="790"/>
          <ac:spMkLst>
            <pc:docMk/>
            <pc:sldMk cId="56233329" sldId="6631"/>
            <ac:spMk id="129" creationId="{4534F817-1E09-49F1-8798-0CA95915F31E}"/>
          </ac:spMkLst>
        </pc:spChg>
        <pc:spChg chg="mod">
          <ac:chgData name="Ugo MANTEL" userId="2d5b7065-31bb-4181-a7f8-a73bf0c30211" providerId="ADAL" clId="{F05BB0D5-3454-45DC-8378-DA45B79D9A06}" dt="2020-10-02T13:04:33.851" v="2750" actId="790"/>
          <ac:spMkLst>
            <pc:docMk/>
            <pc:sldMk cId="56233329" sldId="6631"/>
            <ac:spMk id="130" creationId="{7A9AE601-7433-4671-9F7F-51431CE55736}"/>
          </ac:spMkLst>
        </pc:spChg>
        <pc:spChg chg="mod">
          <ac:chgData name="Ugo MANTEL" userId="2d5b7065-31bb-4181-a7f8-a73bf0c30211" providerId="ADAL" clId="{F05BB0D5-3454-45DC-8378-DA45B79D9A06}" dt="2020-10-02T13:04:33.831" v="2724" actId="790"/>
          <ac:spMkLst>
            <pc:docMk/>
            <pc:sldMk cId="56233329" sldId="6631"/>
            <ac:spMk id="149" creationId="{1F0EBA45-FB3F-43DC-9C1A-EC53D2C50F6F}"/>
          </ac:spMkLst>
        </pc:spChg>
        <pc:spChg chg="mod">
          <ac:chgData name="Ugo MANTEL" userId="2d5b7065-31bb-4181-a7f8-a73bf0c30211" providerId="ADAL" clId="{F05BB0D5-3454-45DC-8378-DA45B79D9A06}" dt="2020-10-02T13:04:33.832" v="2725" actId="790"/>
          <ac:spMkLst>
            <pc:docMk/>
            <pc:sldMk cId="56233329" sldId="6631"/>
            <ac:spMk id="156" creationId="{EDA3BD6A-69E2-458F-A126-5F412E1C186D}"/>
          </ac:spMkLst>
        </pc:spChg>
        <pc:spChg chg="mod">
          <ac:chgData name="Ugo MANTEL" userId="2d5b7065-31bb-4181-a7f8-a73bf0c30211" providerId="ADAL" clId="{F05BB0D5-3454-45DC-8378-DA45B79D9A06}" dt="2020-10-02T13:04:33.833" v="2726" actId="790"/>
          <ac:spMkLst>
            <pc:docMk/>
            <pc:sldMk cId="56233329" sldId="6631"/>
            <ac:spMk id="157" creationId="{B33E565A-75D9-40FF-B6F5-BEE5743E2440}"/>
          </ac:spMkLst>
        </pc:spChg>
        <pc:spChg chg="mod">
          <ac:chgData name="Ugo MANTEL" userId="2d5b7065-31bb-4181-a7f8-a73bf0c30211" providerId="ADAL" clId="{F05BB0D5-3454-45DC-8378-DA45B79D9A06}" dt="2020-10-02T13:04:33.833" v="2727" actId="790"/>
          <ac:spMkLst>
            <pc:docMk/>
            <pc:sldMk cId="56233329" sldId="6631"/>
            <ac:spMk id="158" creationId="{E1E52FF8-7295-4D48-9762-866497F5A021}"/>
          </ac:spMkLst>
        </pc:spChg>
        <pc:spChg chg="mod">
          <ac:chgData name="Ugo MANTEL" userId="2d5b7065-31bb-4181-a7f8-a73bf0c30211" providerId="ADAL" clId="{F05BB0D5-3454-45DC-8378-DA45B79D9A06}" dt="2020-10-02T13:04:33.834" v="2728" actId="790"/>
          <ac:spMkLst>
            <pc:docMk/>
            <pc:sldMk cId="56233329" sldId="6631"/>
            <ac:spMk id="159" creationId="{B288E49B-351E-43FC-BB36-E8D3A0704E35}"/>
          </ac:spMkLst>
        </pc:spChg>
        <pc:spChg chg="mod">
          <ac:chgData name="Ugo MANTEL" userId="2d5b7065-31bb-4181-a7f8-a73bf0c30211" providerId="ADAL" clId="{F05BB0D5-3454-45DC-8378-DA45B79D9A06}" dt="2020-10-02T13:04:33.835" v="2729" actId="790"/>
          <ac:spMkLst>
            <pc:docMk/>
            <pc:sldMk cId="56233329" sldId="6631"/>
            <ac:spMk id="160" creationId="{45FE3BF8-23E9-45CB-8FDD-F5E7387747CA}"/>
          </ac:spMkLst>
        </pc:spChg>
        <pc:spChg chg="mod">
          <ac:chgData name="Ugo MANTEL" userId="2d5b7065-31bb-4181-a7f8-a73bf0c30211" providerId="ADAL" clId="{F05BB0D5-3454-45DC-8378-DA45B79D9A06}" dt="2020-10-02T13:04:33.804" v="2690" actId="790"/>
          <ac:spMkLst>
            <pc:docMk/>
            <pc:sldMk cId="56233329" sldId="6631"/>
            <ac:spMk id="161" creationId="{EA404FBD-510D-4A62-8B1B-F195F3484671}"/>
          </ac:spMkLst>
        </pc:spChg>
        <pc:spChg chg="mod">
          <ac:chgData name="Ugo MANTEL" userId="2d5b7065-31bb-4181-a7f8-a73bf0c30211" providerId="ADAL" clId="{F05BB0D5-3454-45DC-8378-DA45B79D9A06}" dt="2020-10-02T13:04:33.835" v="2730" actId="790"/>
          <ac:spMkLst>
            <pc:docMk/>
            <pc:sldMk cId="56233329" sldId="6631"/>
            <ac:spMk id="168" creationId="{D92B35D9-C369-4365-B338-48B1338D2E58}"/>
          </ac:spMkLst>
        </pc:spChg>
        <pc:spChg chg="mod">
          <ac:chgData name="Ugo MANTEL" userId="2d5b7065-31bb-4181-a7f8-a73bf0c30211" providerId="ADAL" clId="{F05BB0D5-3454-45DC-8378-DA45B79D9A06}" dt="2020-10-02T13:04:33.836" v="2731" actId="790"/>
          <ac:spMkLst>
            <pc:docMk/>
            <pc:sldMk cId="56233329" sldId="6631"/>
            <ac:spMk id="169" creationId="{04EC7436-2BD2-40BB-B99C-5A9420039838}"/>
          </ac:spMkLst>
        </pc:spChg>
        <pc:spChg chg="mod">
          <ac:chgData name="Ugo MANTEL" userId="2d5b7065-31bb-4181-a7f8-a73bf0c30211" providerId="ADAL" clId="{F05BB0D5-3454-45DC-8378-DA45B79D9A06}" dt="2020-10-02T13:04:33.837" v="2732" actId="790"/>
          <ac:spMkLst>
            <pc:docMk/>
            <pc:sldMk cId="56233329" sldId="6631"/>
            <ac:spMk id="170" creationId="{68411403-EAB2-4BC3-A17D-456FCAD8FE81}"/>
          </ac:spMkLst>
        </pc:spChg>
        <pc:spChg chg="mod">
          <ac:chgData name="Ugo MANTEL" userId="2d5b7065-31bb-4181-a7f8-a73bf0c30211" providerId="ADAL" clId="{F05BB0D5-3454-45DC-8378-DA45B79D9A06}" dt="2020-10-02T13:04:33.837" v="2733" actId="790"/>
          <ac:spMkLst>
            <pc:docMk/>
            <pc:sldMk cId="56233329" sldId="6631"/>
            <ac:spMk id="171" creationId="{B815DE1D-8112-431A-9AEA-93B436C795D8}"/>
          </ac:spMkLst>
        </pc:spChg>
        <pc:spChg chg="mod">
          <ac:chgData name="Ugo MANTEL" userId="2d5b7065-31bb-4181-a7f8-a73bf0c30211" providerId="ADAL" clId="{F05BB0D5-3454-45DC-8378-DA45B79D9A06}" dt="2020-10-02T13:04:33.838" v="2734" actId="790"/>
          <ac:spMkLst>
            <pc:docMk/>
            <pc:sldMk cId="56233329" sldId="6631"/>
            <ac:spMk id="172" creationId="{60E95D88-35AC-4053-A889-19A3F4EDFA5C}"/>
          </ac:spMkLst>
        </pc:spChg>
        <pc:spChg chg="mod">
          <ac:chgData name="Ugo MANTEL" userId="2d5b7065-31bb-4181-a7f8-a73bf0c30211" providerId="ADAL" clId="{F05BB0D5-3454-45DC-8378-DA45B79D9A06}" dt="2020-10-02T13:04:33.839" v="2735" actId="790"/>
          <ac:spMkLst>
            <pc:docMk/>
            <pc:sldMk cId="56233329" sldId="6631"/>
            <ac:spMk id="176" creationId="{F1C1CD5A-7D34-4900-8C9B-280FE4756EB5}"/>
          </ac:spMkLst>
        </pc:spChg>
        <pc:spChg chg="mod">
          <ac:chgData name="Ugo MANTEL" userId="2d5b7065-31bb-4181-a7f8-a73bf0c30211" providerId="ADAL" clId="{F05BB0D5-3454-45DC-8378-DA45B79D9A06}" dt="2020-10-02T13:04:33.840" v="2736" actId="790"/>
          <ac:spMkLst>
            <pc:docMk/>
            <pc:sldMk cId="56233329" sldId="6631"/>
            <ac:spMk id="179" creationId="{26F240B3-12E8-40D3-9533-559C696B4154}"/>
          </ac:spMkLst>
        </pc:spChg>
        <pc:spChg chg="mod">
          <ac:chgData name="Ugo MANTEL" userId="2d5b7065-31bb-4181-a7f8-a73bf0c30211" providerId="ADAL" clId="{F05BB0D5-3454-45DC-8378-DA45B79D9A06}" dt="2020-10-02T13:04:33.842" v="2737" actId="790"/>
          <ac:spMkLst>
            <pc:docMk/>
            <pc:sldMk cId="56233329" sldId="6631"/>
            <ac:spMk id="181" creationId="{078FD15E-6785-4E8E-B2C5-70F1E4B77FF6}"/>
          </ac:spMkLst>
        </pc:spChg>
      </pc:sldChg>
      <pc:sldChg chg="modSp mod">
        <pc:chgData name="Ugo MANTEL" userId="2d5b7065-31bb-4181-a7f8-a73bf0c30211" providerId="ADAL" clId="{F05BB0D5-3454-45DC-8378-DA45B79D9A06}" dt="2020-10-02T13:04:33.901" v="2810" actId="790"/>
        <pc:sldMkLst>
          <pc:docMk/>
          <pc:sldMk cId="588035919" sldId="6632"/>
        </pc:sldMkLst>
        <pc:spChg chg="mod">
          <ac:chgData name="Ugo MANTEL" userId="2d5b7065-31bb-4181-a7f8-a73bf0c30211" providerId="ADAL" clId="{F05BB0D5-3454-45DC-8378-DA45B79D9A06}" dt="2020-10-02T13:04:33.856" v="2756" actId="790"/>
          <ac:spMkLst>
            <pc:docMk/>
            <pc:sldMk cId="588035919" sldId="6632"/>
            <ac:spMk id="3" creationId="{ECD6B838-50D7-4925-BA68-C1D1F0152C3F}"/>
          </ac:spMkLst>
        </pc:spChg>
        <pc:spChg chg="mod">
          <ac:chgData name="Ugo MANTEL" userId="2d5b7065-31bb-4181-a7f8-a73bf0c30211" providerId="ADAL" clId="{F05BB0D5-3454-45DC-8378-DA45B79D9A06}" dt="2020-10-02T13:04:33.853" v="2752" actId="790"/>
          <ac:spMkLst>
            <pc:docMk/>
            <pc:sldMk cId="588035919" sldId="6632"/>
            <ac:spMk id="5" creationId="{349B7D58-C617-49E9-89B9-1AC0FF651F74}"/>
          </ac:spMkLst>
        </pc:spChg>
        <pc:spChg chg="mod">
          <ac:chgData name="Ugo MANTEL" userId="2d5b7065-31bb-4181-a7f8-a73bf0c30211" providerId="ADAL" clId="{F05BB0D5-3454-45DC-8378-DA45B79D9A06}" dt="2020-10-02T13:04:33.860" v="2757" actId="790"/>
          <ac:spMkLst>
            <pc:docMk/>
            <pc:sldMk cId="588035919" sldId="6632"/>
            <ac:spMk id="10" creationId="{5983FA2E-54BB-46E8-AFCE-1A44F4E558A1}"/>
          </ac:spMkLst>
        </pc:spChg>
        <pc:spChg chg="mod">
          <ac:chgData name="Ugo MANTEL" userId="2d5b7065-31bb-4181-a7f8-a73bf0c30211" providerId="ADAL" clId="{F05BB0D5-3454-45DC-8378-DA45B79D9A06}" dt="2020-10-02T13:04:33.896" v="2804" actId="790"/>
          <ac:spMkLst>
            <pc:docMk/>
            <pc:sldMk cId="588035919" sldId="6632"/>
            <ac:spMk id="32" creationId="{EE6042B6-A9EB-4CF2-8FE1-56CAD51DD305}"/>
          </ac:spMkLst>
        </pc:spChg>
        <pc:spChg chg="mod">
          <ac:chgData name="Ugo MANTEL" userId="2d5b7065-31bb-4181-a7f8-a73bf0c30211" providerId="ADAL" clId="{F05BB0D5-3454-45DC-8378-DA45B79D9A06}" dt="2020-10-02T13:04:33.897" v="2805" actId="790"/>
          <ac:spMkLst>
            <pc:docMk/>
            <pc:sldMk cId="588035919" sldId="6632"/>
            <ac:spMk id="33" creationId="{43623613-D13D-48F7-8961-3CCFF428006B}"/>
          </ac:spMkLst>
        </pc:spChg>
        <pc:spChg chg="mod">
          <ac:chgData name="Ugo MANTEL" userId="2d5b7065-31bb-4181-a7f8-a73bf0c30211" providerId="ADAL" clId="{F05BB0D5-3454-45DC-8378-DA45B79D9A06}" dt="2020-10-02T13:04:33.862" v="2758" actId="790"/>
          <ac:spMkLst>
            <pc:docMk/>
            <pc:sldMk cId="588035919" sldId="6632"/>
            <ac:spMk id="37" creationId="{56D89242-0B0F-4AF3-BA64-33D2293FE228}"/>
          </ac:spMkLst>
        </pc:spChg>
        <pc:spChg chg="mod">
          <ac:chgData name="Ugo MANTEL" userId="2d5b7065-31bb-4181-a7f8-a73bf0c30211" providerId="ADAL" clId="{F05BB0D5-3454-45DC-8378-DA45B79D9A06}" dt="2020-10-02T13:04:33.863" v="2759" actId="790"/>
          <ac:spMkLst>
            <pc:docMk/>
            <pc:sldMk cId="588035919" sldId="6632"/>
            <ac:spMk id="39" creationId="{0DC17497-0E37-48D1-A1D9-D88C7E5CC052}"/>
          </ac:spMkLst>
        </pc:spChg>
        <pc:spChg chg="mod">
          <ac:chgData name="Ugo MANTEL" userId="2d5b7065-31bb-4181-a7f8-a73bf0c30211" providerId="ADAL" clId="{F05BB0D5-3454-45DC-8378-DA45B79D9A06}" dt="2020-10-02T13:04:33.864" v="2760" actId="790"/>
          <ac:spMkLst>
            <pc:docMk/>
            <pc:sldMk cId="588035919" sldId="6632"/>
            <ac:spMk id="50" creationId="{6BCB85EB-7167-42D3-9E74-8F93C79D2286}"/>
          </ac:spMkLst>
        </pc:spChg>
        <pc:spChg chg="mod">
          <ac:chgData name="Ugo MANTEL" userId="2d5b7065-31bb-4181-a7f8-a73bf0c30211" providerId="ADAL" clId="{F05BB0D5-3454-45DC-8378-DA45B79D9A06}" dt="2020-10-02T13:04:33.865" v="2761" actId="790"/>
          <ac:spMkLst>
            <pc:docMk/>
            <pc:sldMk cId="588035919" sldId="6632"/>
            <ac:spMk id="71" creationId="{1643DEE2-0630-43A4-A6A8-9BFA1AB86C10}"/>
          </ac:spMkLst>
        </pc:spChg>
        <pc:spChg chg="mod">
          <ac:chgData name="Ugo MANTEL" userId="2d5b7065-31bb-4181-a7f8-a73bf0c30211" providerId="ADAL" clId="{F05BB0D5-3454-45DC-8378-DA45B79D9A06}" dt="2020-10-02T13:04:33.886" v="2792" actId="790"/>
          <ac:spMkLst>
            <pc:docMk/>
            <pc:sldMk cId="588035919" sldId="6632"/>
            <ac:spMk id="97" creationId="{8B87F2EA-7416-47D4-9366-CE355C13D2F1}"/>
          </ac:spMkLst>
        </pc:spChg>
        <pc:spChg chg="mod">
          <ac:chgData name="Ugo MANTEL" userId="2d5b7065-31bb-4181-a7f8-a73bf0c30211" providerId="ADAL" clId="{F05BB0D5-3454-45DC-8378-DA45B79D9A06}" dt="2020-10-02T13:04:33.901" v="2810" actId="790"/>
          <ac:spMkLst>
            <pc:docMk/>
            <pc:sldMk cId="588035919" sldId="6632"/>
            <ac:spMk id="111" creationId="{105BC421-63D6-46F1-B259-FD252E6E6561}"/>
          </ac:spMkLst>
        </pc:spChg>
        <pc:spChg chg="mod">
          <ac:chgData name="Ugo MANTEL" userId="2d5b7065-31bb-4181-a7f8-a73bf0c30211" providerId="ADAL" clId="{F05BB0D5-3454-45DC-8378-DA45B79D9A06}" dt="2020-10-02T13:04:33.897" v="2806" actId="790"/>
          <ac:spMkLst>
            <pc:docMk/>
            <pc:sldMk cId="588035919" sldId="6632"/>
            <ac:spMk id="113" creationId="{3734B023-3CFD-4C83-BA59-7537D149EF4B}"/>
          </ac:spMkLst>
        </pc:spChg>
        <pc:spChg chg="mod">
          <ac:chgData name="Ugo MANTEL" userId="2d5b7065-31bb-4181-a7f8-a73bf0c30211" providerId="ADAL" clId="{F05BB0D5-3454-45DC-8378-DA45B79D9A06}" dt="2020-10-02T13:04:33.898" v="2807" actId="790"/>
          <ac:spMkLst>
            <pc:docMk/>
            <pc:sldMk cId="588035919" sldId="6632"/>
            <ac:spMk id="114" creationId="{25A8B168-827F-4049-B650-BBFF06ABA3BB}"/>
          </ac:spMkLst>
        </pc:spChg>
        <pc:spChg chg="mod">
          <ac:chgData name="Ugo MANTEL" userId="2d5b7065-31bb-4181-a7f8-a73bf0c30211" providerId="ADAL" clId="{F05BB0D5-3454-45DC-8378-DA45B79D9A06}" dt="2020-10-02T13:04:33.899" v="2808" actId="790"/>
          <ac:spMkLst>
            <pc:docMk/>
            <pc:sldMk cId="588035919" sldId="6632"/>
            <ac:spMk id="115" creationId="{CF426FE2-FD59-4A5A-999B-B8F38E1379EB}"/>
          </ac:spMkLst>
        </pc:spChg>
        <pc:spChg chg="mod">
          <ac:chgData name="Ugo MANTEL" userId="2d5b7065-31bb-4181-a7f8-a73bf0c30211" providerId="ADAL" clId="{F05BB0D5-3454-45DC-8378-DA45B79D9A06}" dt="2020-10-02T13:04:33.900" v="2809" actId="790"/>
          <ac:spMkLst>
            <pc:docMk/>
            <pc:sldMk cId="588035919" sldId="6632"/>
            <ac:spMk id="116" creationId="{B3587B1C-A3D9-4BBC-A66D-C8AFDE07C900}"/>
          </ac:spMkLst>
        </pc:spChg>
        <pc:spChg chg="mod">
          <ac:chgData name="Ugo MANTEL" userId="2d5b7065-31bb-4181-a7f8-a73bf0c30211" providerId="ADAL" clId="{F05BB0D5-3454-45DC-8378-DA45B79D9A06}" dt="2020-10-02T13:04:33.865" v="2762" actId="790"/>
          <ac:spMkLst>
            <pc:docMk/>
            <pc:sldMk cId="588035919" sldId="6632"/>
            <ac:spMk id="150" creationId="{F1A90A2E-7ADE-4277-908B-FB4B1A49386A}"/>
          </ac:spMkLst>
        </pc:spChg>
        <pc:spChg chg="mod">
          <ac:chgData name="Ugo MANTEL" userId="2d5b7065-31bb-4181-a7f8-a73bf0c30211" providerId="ADAL" clId="{F05BB0D5-3454-45DC-8378-DA45B79D9A06}" dt="2020-10-02T13:04:33.866" v="2763" actId="790"/>
          <ac:spMkLst>
            <pc:docMk/>
            <pc:sldMk cId="588035919" sldId="6632"/>
            <ac:spMk id="151" creationId="{20D631EC-9E83-411D-9C99-D3969DFF0B7E}"/>
          </ac:spMkLst>
        </pc:spChg>
        <pc:spChg chg="mod">
          <ac:chgData name="Ugo MANTEL" userId="2d5b7065-31bb-4181-a7f8-a73bf0c30211" providerId="ADAL" clId="{F05BB0D5-3454-45DC-8378-DA45B79D9A06}" dt="2020-10-02T13:04:33.867" v="2764" actId="790"/>
          <ac:spMkLst>
            <pc:docMk/>
            <pc:sldMk cId="588035919" sldId="6632"/>
            <ac:spMk id="153" creationId="{EDC6F53C-0FEB-453E-A0B7-5B17031ADE8D}"/>
          </ac:spMkLst>
        </pc:spChg>
        <pc:spChg chg="mod">
          <ac:chgData name="Ugo MANTEL" userId="2d5b7065-31bb-4181-a7f8-a73bf0c30211" providerId="ADAL" clId="{F05BB0D5-3454-45DC-8378-DA45B79D9A06}" dt="2020-10-02T13:04:33.867" v="2765" actId="790"/>
          <ac:spMkLst>
            <pc:docMk/>
            <pc:sldMk cId="588035919" sldId="6632"/>
            <ac:spMk id="154" creationId="{EFCA927C-2131-40F2-AA98-C81EDA98756C}"/>
          </ac:spMkLst>
        </pc:spChg>
        <pc:spChg chg="mod">
          <ac:chgData name="Ugo MANTEL" userId="2d5b7065-31bb-4181-a7f8-a73bf0c30211" providerId="ADAL" clId="{F05BB0D5-3454-45DC-8378-DA45B79D9A06}" dt="2020-10-02T13:04:33.868" v="2766" actId="790"/>
          <ac:spMkLst>
            <pc:docMk/>
            <pc:sldMk cId="588035919" sldId="6632"/>
            <ac:spMk id="155" creationId="{60A83057-EAF9-41BC-9864-B13798B8990D}"/>
          </ac:spMkLst>
        </pc:spChg>
        <pc:spChg chg="mod">
          <ac:chgData name="Ugo MANTEL" userId="2d5b7065-31bb-4181-a7f8-a73bf0c30211" providerId="ADAL" clId="{F05BB0D5-3454-45DC-8378-DA45B79D9A06}" dt="2020-10-02T13:04:33.869" v="2767" actId="790"/>
          <ac:spMkLst>
            <pc:docMk/>
            <pc:sldMk cId="588035919" sldId="6632"/>
            <ac:spMk id="157" creationId="{4769867A-8237-43CF-8A70-B12229DB6ADB}"/>
          </ac:spMkLst>
        </pc:spChg>
        <pc:spChg chg="mod">
          <ac:chgData name="Ugo MANTEL" userId="2d5b7065-31bb-4181-a7f8-a73bf0c30211" providerId="ADAL" clId="{F05BB0D5-3454-45DC-8378-DA45B79D9A06}" dt="2020-10-02T13:04:33.869" v="2768" actId="790"/>
          <ac:spMkLst>
            <pc:docMk/>
            <pc:sldMk cId="588035919" sldId="6632"/>
            <ac:spMk id="158" creationId="{B2046E6D-9AB8-45E2-923A-9CFFDC8C6271}"/>
          </ac:spMkLst>
        </pc:spChg>
        <pc:spChg chg="mod">
          <ac:chgData name="Ugo MANTEL" userId="2d5b7065-31bb-4181-a7f8-a73bf0c30211" providerId="ADAL" clId="{F05BB0D5-3454-45DC-8378-DA45B79D9A06}" dt="2020-10-02T13:04:33.870" v="2769" actId="790"/>
          <ac:spMkLst>
            <pc:docMk/>
            <pc:sldMk cId="588035919" sldId="6632"/>
            <ac:spMk id="164" creationId="{DD60547A-DFE0-479C-969A-54C7B418BC63}"/>
          </ac:spMkLst>
        </pc:spChg>
        <pc:spChg chg="mod">
          <ac:chgData name="Ugo MANTEL" userId="2d5b7065-31bb-4181-a7f8-a73bf0c30211" providerId="ADAL" clId="{F05BB0D5-3454-45DC-8378-DA45B79D9A06}" dt="2020-10-02T13:04:33.871" v="2770" actId="790"/>
          <ac:spMkLst>
            <pc:docMk/>
            <pc:sldMk cId="588035919" sldId="6632"/>
            <ac:spMk id="222" creationId="{7452E057-4413-45A8-B6CD-EAF2A5932968}"/>
          </ac:spMkLst>
        </pc:spChg>
        <pc:spChg chg="mod">
          <ac:chgData name="Ugo MANTEL" userId="2d5b7065-31bb-4181-a7f8-a73bf0c30211" providerId="ADAL" clId="{F05BB0D5-3454-45DC-8378-DA45B79D9A06}" dt="2020-10-02T13:04:33.871" v="2771" actId="790"/>
          <ac:spMkLst>
            <pc:docMk/>
            <pc:sldMk cId="588035919" sldId="6632"/>
            <ac:spMk id="223" creationId="{313A611C-743F-406F-B2E1-8B9D1DAD67D4}"/>
          </ac:spMkLst>
        </pc:spChg>
        <pc:spChg chg="mod">
          <ac:chgData name="Ugo MANTEL" userId="2d5b7065-31bb-4181-a7f8-a73bf0c30211" providerId="ADAL" clId="{F05BB0D5-3454-45DC-8378-DA45B79D9A06}" dt="2020-10-02T13:04:33.872" v="2772" actId="790"/>
          <ac:spMkLst>
            <pc:docMk/>
            <pc:sldMk cId="588035919" sldId="6632"/>
            <ac:spMk id="224" creationId="{0DDADAEF-D311-4ED6-AE6D-8125A1E9FE0F}"/>
          </ac:spMkLst>
        </pc:spChg>
        <pc:spChg chg="mod">
          <ac:chgData name="Ugo MANTEL" userId="2d5b7065-31bb-4181-a7f8-a73bf0c30211" providerId="ADAL" clId="{F05BB0D5-3454-45DC-8378-DA45B79D9A06}" dt="2020-10-02T13:04:33.873" v="2773" actId="790"/>
          <ac:spMkLst>
            <pc:docMk/>
            <pc:sldMk cId="588035919" sldId="6632"/>
            <ac:spMk id="225" creationId="{244D0206-F15E-4230-BB43-4CDBCA1A9037}"/>
          </ac:spMkLst>
        </pc:spChg>
        <pc:spChg chg="mod">
          <ac:chgData name="Ugo MANTEL" userId="2d5b7065-31bb-4181-a7f8-a73bf0c30211" providerId="ADAL" clId="{F05BB0D5-3454-45DC-8378-DA45B79D9A06}" dt="2020-10-02T13:04:33.873" v="2774" actId="790"/>
          <ac:spMkLst>
            <pc:docMk/>
            <pc:sldMk cId="588035919" sldId="6632"/>
            <ac:spMk id="227" creationId="{F0EC680E-AD43-4611-A545-033BDFB33148}"/>
          </ac:spMkLst>
        </pc:spChg>
        <pc:spChg chg="mod">
          <ac:chgData name="Ugo MANTEL" userId="2d5b7065-31bb-4181-a7f8-a73bf0c30211" providerId="ADAL" clId="{F05BB0D5-3454-45DC-8378-DA45B79D9A06}" dt="2020-10-02T13:04:33.874" v="2775" actId="790"/>
          <ac:spMkLst>
            <pc:docMk/>
            <pc:sldMk cId="588035919" sldId="6632"/>
            <ac:spMk id="228" creationId="{F1139D36-B5C5-42F1-89B0-98B7151A0922}"/>
          </ac:spMkLst>
        </pc:spChg>
        <pc:spChg chg="mod">
          <ac:chgData name="Ugo MANTEL" userId="2d5b7065-31bb-4181-a7f8-a73bf0c30211" providerId="ADAL" clId="{F05BB0D5-3454-45DC-8378-DA45B79D9A06}" dt="2020-10-02T13:04:33.874" v="2776" actId="790"/>
          <ac:spMkLst>
            <pc:docMk/>
            <pc:sldMk cId="588035919" sldId="6632"/>
            <ac:spMk id="229" creationId="{C33D9FE2-E212-4FE5-8F86-8B44AF714DAD}"/>
          </ac:spMkLst>
        </pc:spChg>
        <pc:spChg chg="mod">
          <ac:chgData name="Ugo MANTEL" userId="2d5b7065-31bb-4181-a7f8-a73bf0c30211" providerId="ADAL" clId="{F05BB0D5-3454-45DC-8378-DA45B79D9A06}" dt="2020-10-02T13:04:33.875" v="2777" actId="790"/>
          <ac:spMkLst>
            <pc:docMk/>
            <pc:sldMk cId="588035919" sldId="6632"/>
            <ac:spMk id="230" creationId="{7F639BD8-BAD9-4BEC-881F-0E2E8869300D}"/>
          </ac:spMkLst>
        </pc:spChg>
        <pc:spChg chg="mod">
          <ac:chgData name="Ugo MANTEL" userId="2d5b7065-31bb-4181-a7f8-a73bf0c30211" providerId="ADAL" clId="{F05BB0D5-3454-45DC-8378-DA45B79D9A06}" dt="2020-10-02T13:04:33.876" v="2778" actId="790"/>
          <ac:spMkLst>
            <pc:docMk/>
            <pc:sldMk cId="588035919" sldId="6632"/>
            <ac:spMk id="232" creationId="{9AA8C073-2375-4178-9DD0-C948BD3E3B45}"/>
          </ac:spMkLst>
        </pc:spChg>
        <pc:spChg chg="mod">
          <ac:chgData name="Ugo MANTEL" userId="2d5b7065-31bb-4181-a7f8-a73bf0c30211" providerId="ADAL" clId="{F05BB0D5-3454-45DC-8378-DA45B79D9A06}" dt="2020-10-02T13:04:33.876" v="2779" actId="790"/>
          <ac:spMkLst>
            <pc:docMk/>
            <pc:sldMk cId="588035919" sldId="6632"/>
            <ac:spMk id="235" creationId="{0ADC5EE0-2643-4F85-AAB9-07AC3862D6FE}"/>
          </ac:spMkLst>
        </pc:spChg>
        <pc:spChg chg="mod">
          <ac:chgData name="Ugo MANTEL" userId="2d5b7065-31bb-4181-a7f8-a73bf0c30211" providerId="ADAL" clId="{F05BB0D5-3454-45DC-8378-DA45B79D9A06}" dt="2020-10-02T13:04:33.877" v="2780" actId="790"/>
          <ac:spMkLst>
            <pc:docMk/>
            <pc:sldMk cId="588035919" sldId="6632"/>
            <ac:spMk id="237" creationId="{13818359-8F23-4B01-A285-1E5506D771AD}"/>
          </ac:spMkLst>
        </pc:spChg>
        <pc:spChg chg="mod">
          <ac:chgData name="Ugo MANTEL" userId="2d5b7065-31bb-4181-a7f8-a73bf0c30211" providerId="ADAL" clId="{F05BB0D5-3454-45DC-8378-DA45B79D9A06}" dt="2020-10-02T13:04:33.878" v="2781" actId="790"/>
          <ac:spMkLst>
            <pc:docMk/>
            <pc:sldMk cId="588035919" sldId="6632"/>
            <ac:spMk id="238" creationId="{3120D2A1-80BF-49BD-9C66-B79CD018FC1B}"/>
          </ac:spMkLst>
        </pc:spChg>
        <pc:spChg chg="mod">
          <ac:chgData name="Ugo MANTEL" userId="2d5b7065-31bb-4181-a7f8-a73bf0c30211" providerId="ADAL" clId="{F05BB0D5-3454-45DC-8378-DA45B79D9A06}" dt="2020-10-02T13:04:33.878" v="2782" actId="790"/>
          <ac:spMkLst>
            <pc:docMk/>
            <pc:sldMk cId="588035919" sldId="6632"/>
            <ac:spMk id="239" creationId="{35D2834A-B4E6-4EFB-9BE0-477098BA7999}"/>
          </ac:spMkLst>
        </pc:spChg>
        <pc:spChg chg="mod">
          <ac:chgData name="Ugo MANTEL" userId="2d5b7065-31bb-4181-a7f8-a73bf0c30211" providerId="ADAL" clId="{F05BB0D5-3454-45DC-8378-DA45B79D9A06}" dt="2020-10-02T13:04:33.879" v="2783" actId="790"/>
          <ac:spMkLst>
            <pc:docMk/>
            <pc:sldMk cId="588035919" sldId="6632"/>
            <ac:spMk id="244" creationId="{814FD901-DF6D-4178-9879-8862F39756D8}"/>
          </ac:spMkLst>
        </pc:spChg>
        <pc:spChg chg="mod">
          <ac:chgData name="Ugo MANTEL" userId="2d5b7065-31bb-4181-a7f8-a73bf0c30211" providerId="ADAL" clId="{F05BB0D5-3454-45DC-8378-DA45B79D9A06}" dt="2020-10-02T13:04:33.880" v="2784" actId="790"/>
          <ac:spMkLst>
            <pc:docMk/>
            <pc:sldMk cId="588035919" sldId="6632"/>
            <ac:spMk id="245" creationId="{67749999-E364-4339-8EB5-F5D4F7E73061}"/>
          </ac:spMkLst>
        </pc:spChg>
        <pc:spChg chg="mod">
          <ac:chgData name="Ugo MANTEL" userId="2d5b7065-31bb-4181-a7f8-a73bf0c30211" providerId="ADAL" clId="{F05BB0D5-3454-45DC-8378-DA45B79D9A06}" dt="2020-10-02T13:04:33.880" v="2785" actId="790"/>
          <ac:spMkLst>
            <pc:docMk/>
            <pc:sldMk cId="588035919" sldId="6632"/>
            <ac:spMk id="250" creationId="{65AFCBD8-1A76-4DAD-A2CC-4D3084B399BA}"/>
          </ac:spMkLst>
        </pc:spChg>
        <pc:spChg chg="mod">
          <ac:chgData name="Ugo MANTEL" userId="2d5b7065-31bb-4181-a7f8-a73bf0c30211" providerId="ADAL" clId="{F05BB0D5-3454-45DC-8378-DA45B79D9A06}" dt="2020-10-02T13:04:33.853" v="2753" actId="790"/>
          <ac:spMkLst>
            <pc:docMk/>
            <pc:sldMk cId="588035919" sldId="6632"/>
            <ac:spMk id="259" creationId="{39A01E1E-8318-413B-B139-6FEAD081D578}"/>
          </ac:spMkLst>
        </pc:spChg>
        <pc:spChg chg="mod">
          <ac:chgData name="Ugo MANTEL" userId="2d5b7065-31bb-4181-a7f8-a73bf0c30211" providerId="ADAL" clId="{F05BB0D5-3454-45DC-8378-DA45B79D9A06}" dt="2020-10-02T13:04:33.854" v="2755" actId="790"/>
          <ac:spMkLst>
            <pc:docMk/>
            <pc:sldMk cId="588035919" sldId="6632"/>
            <ac:spMk id="260" creationId="{E18304CF-6F9E-4711-950E-D8174D2A8D1F}"/>
          </ac:spMkLst>
        </pc:spChg>
        <pc:spChg chg="mod">
          <ac:chgData name="Ugo MANTEL" userId="2d5b7065-31bb-4181-a7f8-a73bf0c30211" providerId="ADAL" clId="{F05BB0D5-3454-45DC-8378-DA45B79D9A06}" dt="2020-10-02T13:04:33.881" v="2786" actId="790"/>
          <ac:spMkLst>
            <pc:docMk/>
            <pc:sldMk cId="588035919" sldId="6632"/>
            <ac:spMk id="265" creationId="{499231AD-CDCA-45FF-8E40-02A7E22BFED9}"/>
          </ac:spMkLst>
        </pc:spChg>
        <pc:spChg chg="mod">
          <ac:chgData name="Ugo MANTEL" userId="2d5b7065-31bb-4181-a7f8-a73bf0c30211" providerId="ADAL" clId="{F05BB0D5-3454-45DC-8378-DA45B79D9A06}" dt="2020-10-02T13:04:33.882" v="2787" actId="790"/>
          <ac:spMkLst>
            <pc:docMk/>
            <pc:sldMk cId="588035919" sldId="6632"/>
            <ac:spMk id="273" creationId="{9DAC84C4-3C59-4523-8C8C-F0BC1D9D6461}"/>
          </ac:spMkLst>
        </pc:spChg>
        <pc:spChg chg="mod">
          <ac:chgData name="Ugo MANTEL" userId="2d5b7065-31bb-4181-a7f8-a73bf0c30211" providerId="ADAL" clId="{F05BB0D5-3454-45DC-8378-DA45B79D9A06}" dt="2020-10-02T13:04:33.882" v="2788" actId="790"/>
          <ac:spMkLst>
            <pc:docMk/>
            <pc:sldMk cId="588035919" sldId="6632"/>
            <ac:spMk id="275" creationId="{4426A689-27D2-4D45-B777-4DB714AF0878}"/>
          </ac:spMkLst>
        </pc:spChg>
        <pc:spChg chg="mod">
          <ac:chgData name="Ugo MANTEL" userId="2d5b7065-31bb-4181-a7f8-a73bf0c30211" providerId="ADAL" clId="{F05BB0D5-3454-45DC-8378-DA45B79D9A06}" dt="2020-10-02T13:04:33.883" v="2789" actId="790"/>
          <ac:spMkLst>
            <pc:docMk/>
            <pc:sldMk cId="588035919" sldId="6632"/>
            <ac:spMk id="277" creationId="{822213BF-125B-4631-AAF7-A7C905D8D431}"/>
          </ac:spMkLst>
        </pc:spChg>
        <pc:spChg chg="mod">
          <ac:chgData name="Ugo MANTEL" userId="2d5b7065-31bb-4181-a7f8-a73bf0c30211" providerId="ADAL" clId="{F05BB0D5-3454-45DC-8378-DA45B79D9A06}" dt="2020-10-02T13:04:33.854" v="2754" actId="790"/>
          <ac:spMkLst>
            <pc:docMk/>
            <pc:sldMk cId="588035919" sldId="6632"/>
            <ac:spMk id="278" creationId="{153D4AF7-08C7-407E-BF9D-BBDEF49D8835}"/>
          </ac:spMkLst>
        </pc:spChg>
        <pc:spChg chg="mod">
          <ac:chgData name="Ugo MANTEL" userId="2d5b7065-31bb-4181-a7f8-a73bf0c30211" providerId="ADAL" clId="{F05BB0D5-3454-45DC-8378-DA45B79D9A06}" dt="2020-10-02T13:04:33.884" v="2790" actId="790"/>
          <ac:spMkLst>
            <pc:docMk/>
            <pc:sldMk cId="588035919" sldId="6632"/>
            <ac:spMk id="279" creationId="{FC8AD86F-7A89-4F22-BCD9-395DC580987A}"/>
          </ac:spMkLst>
        </pc:spChg>
        <pc:spChg chg="mod">
          <ac:chgData name="Ugo MANTEL" userId="2d5b7065-31bb-4181-a7f8-a73bf0c30211" providerId="ADAL" clId="{F05BB0D5-3454-45DC-8378-DA45B79D9A06}" dt="2020-10-02T13:04:33.884" v="2791" actId="790"/>
          <ac:spMkLst>
            <pc:docMk/>
            <pc:sldMk cId="588035919" sldId="6632"/>
            <ac:spMk id="281" creationId="{18E5D8C7-2509-42FB-8033-B6375F1DC5D3}"/>
          </ac:spMkLst>
        </pc:spChg>
        <pc:spChg chg="mod">
          <ac:chgData name="Ugo MANTEL" userId="2d5b7065-31bb-4181-a7f8-a73bf0c30211" providerId="ADAL" clId="{F05BB0D5-3454-45DC-8378-DA45B79D9A06}" dt="2020-10-02T13:04:33.886" v="2793" actId="790"/>
          <ac:spMkLst>
            <pc:docMk/>
            <pc:sldMk cId="588035919" sldId="6632"/>
            <ac:spMk id="284" creationId="{36DCB932-461E-4295-968F-CF5EC86F2ABA}"/>
          </ac:spMkLst>
        </pc:spChg>
        <pc:spChg chg="mod">
          <ac:chgData name="Ugo MANTEL" userId="2d5b7065-31bb-4181-a7f8-a73bf0c30211" providerId="ADAL" clId="{F05BB0D5-3454-45DC-8378-DA45B79D9A06}" dt="2020-10-02T13:04:33.887" v="2794" actId="790"/>
          <ac:spMkLst>
            <pc:docMk/>
            <pc:sldMk cId="588035919" sldId="6632"/>
            <ac:spMk id="285" creationId="{F0E6EEB6-99EB-4CFA-878E-BA2FF55D2E6B}"/>
          </ac:spMkLst>
        </pc:spChg>
        <pc:spChg chg="mod">
          <ac:chgData name="Ugo MANTEL" userId="2d5b7065-31bb-4181-a7f8-a73bf0c30211" providerId="ADAL" clId="{F05BB0D5-3454-45DC-8378-DA45B79D9A06}" dt="2020-10-02T13:04:33.888" v="2795" actId="790"/>
          <ac:spMkLst>
            <pc:docMk/>
            <pc:sldMk cId="588035919" sldId="6632"/>
            <ac:spMk id="286" creationId="{156BDA44-5E1D-40C1-ADF3-FA047933ACB4}"/>
          </ac:spMkLst>
        </pc:spChg>
        <pc:spChg chg="mod">
          <ac:chgData name="Ugo MANTEL" userId="2d5b7065-31bb-4181-a7f8-a73bf0c30211" providerId="ADAL" clId="{F05BB0D5-3454-45DC-8378-DA45B79D9A06}" dt="2020-10-02T13:04:33.888" v="2796" actId="790"/>
          <ac:spMkLst>
            <pc:docMk/>
            <pc:sldMk cId="588035919" sldId="6632"/>
            <ac:spMk id="288" creationId="{B3536A46-975D-4E78-B135-106093AAB200}"/>
          </ac:spMkLst>
        </pc:spChg>
        <pc:spChg chg="mod">
          <ac:chgData name="Ugo MANTEL" userId="2d5b7065-31bb-4181-a7f8-a73bf0c30211" providerId="ADAL" clId="{F05BB0D5-3454-45DC-8378-DA45B79D9A06}" dt="2020-10-02T13:04:33.889" v="2797" actId="790"/>
          <ac:spMkLst>
            <pc:docMk/>
            <pc:sldMk cId="588035919" sldId="6632"/>
            <ac:spMk id="289" creationId="{1B6A7AB8-5295-4663-AD25-FEDF8AEA2794}"/>
          </ac:spMkLst>
        </pc:spChg>
        <pc:spChg chg="mod">
          <ac:chgData name="Ugo MANTEL" userId="2d5b7065-31bb-4181-a7f8-a73bf0c30211" providerId="ADAL" clId="{F05BB0D5-3454-45DC-8378-DA45B79D9A06}" dt="2020-10-02T13:04:33.890" v="2798" actId="790"/>
          <ac:spMkLst>
            <pc:docMk/>
            <pc:sldMk cId="588035919" sldId="6632"/>
            <ac:spMk id="297" creationId="{A94A2AAA-E850-44AE-A5C2-E6D0FFDB945D}"/>
          </ac:spMkLst>
        </pc:spChg>
        <pc:spChg chg="mod">
          <ac:chgData name="Ugo MANTEL" userId="2d5b7065-31bb-4181-a7f8-a73bf0c30211" providerId="ADAL" clId="{F05BB0D5-3454-45DC-8378-DA45B79D9A06}" dt="2020-10-02T13:04:33.891" v="2799" actId="790"/>
          <ac:spMkLst>
            <pc:docMk/>
            <pc:sldMk cId="588035919" sldId="6632"/>
            <ac:spMk id="298" creationId="{EFC14F7D-DA41-43CF-B6F6-DC2333299333}"/>
          </ac:spMkLst>
        </pc:spChg>
        <pc:spChg chg="mod">
          <ac:chgData name="Ugo MANTEL" userId="2d5b7065-31bb-4181-a7f8-a73bf0c30211" providerId="ADAL" clId="{F05BB0D5-3454-45DC-8378-DA45B79D9A06}" dt="2020-10-02T13:04:33.892" v="2800" actId="790"/>
          <ac:spMkLst>
            <pc:docMk/>
            <pc:sldMk cId="588035919" sldId="6632"/>
            <ac:spMk id="300" creationId="{7248A86B-4BAE-4A5E-A995-DE522DFE9901}"/>
          </ac:spMkLst>
        </pc:spChg>
        <pc:spChg chg="mod">
          <ac:chgData name="Ugo MANTEL" userId="2d5b7065-31bb-4181-a7f8-a73bf0c30211" providerId="ADAL" clId="{F05BB0D5-3454-45DC-8378-DA45B79D9A06}" dt="2020-10-02T13:04:33.893" v="2801" actId="790"/>
          <ac:spMkLst>
            <pc:docMk/>
            <pc:sldMk cId="588035919" sldId="6632"/>
            <ac:spMk id="301" creationId="{B40BB363-1B39-42EB-84F5-AF375EEDCEA9}"/>
          </ac:spMkLst>
        </pc:spChg>
        <pc:spChg chg="mod">
          <ac:chgData name="Ugo MANTEL" userId="2d5b7065-31bb-4181-a7f8-a73bf0c30211" providerId="ADAL" clId="{F05BB0D5-3454-45DC-8378-DA45B79D9A06}" dt="2020-10-02T13:04:33.894" v="2802" actId="790"/>
          <ac:spMkLst>
            <pc:docMk/>
            <pc:sldMk cId="588035919" sldId="6632"/>
            <ac:spMk id="302" creationId="{203D8DFB-DFDA-4BEF-9416-B26E3E479DE7}"/>
          </ac:spMkLst>
        </pc:spChg>
        <pc:spChg chg="mod">
          <ac:chgData name="Ugo MANTEL" userId="2d5b7065-31bb-4181-a7f8-a73bf0c30211" providerId="ADAL" clId="{F05BB0D5-3454-45DC-8378-DA45B79D9A06}" dt="2020-10-02T13:04:33.894" v="2803" actId="790"/>
          <ac:spMkLst>
            <pc:docMk/>
            <pc:sldMk cId="588035919" sldId="6632"/>
            <ac:spMk id="303" creationId="{0B705800-AB19-4651-82CD-A64700FDA6C4}"/>
          </ac:spMkLst>
        </pc:spChg>
      </pc:sldChg>
      <pc:sldChg chg="modSp mod">
        <pc:chgData name="Ugo MANTEL" userId="2d5b7065-31bb-4181-a7f8-a73bf0c30211" providerId="ADAL" clId="{F05BB0D5-3454-45DC-8378-DA45B79D9A06}" dt="2020-10-02T13:04:32.849" v="1737" actId="790"/>
        <pc:sldMkLst>
          <pc:docMk/>
          <pc:sldMk cId="1303992329" sldId="6647"/>
        </pc:sldMkLst>
        <pc:spChg chg="mod">
          <ac:chgData name="Ugo MANTEL" userId="2d5b7065-31bb-4181-a7f8-a73bf0c30211" providerId="ADAL" clId="{F05BB0D5-3454-45DC-8378-DA45B79D9A06}" dt="2020-10-02T13:04:32.841" v="1734" actId="790"/>
          <ac:spMkLst>
            <pc:docMk/>
            <pc:sldMk cId="1303992329" sldId="6647"/>
            <ac:spMk id="2" creationId="{24E8BB55-4454-4FE4-A0CA-08C2677BB30A}"/>
          </ac:spMkLst>
        </pc:spChg>
        <pc:spChg chg="mod">
          <ac:chgData name="Ugo MANTEL" userId="2d5b7065-31bb-4181-a7f8-a73bf0c30211" providerId="ADAL" clId="{F05BB0D5-3454-45DC-8378-DA45B79D9A06}" dt="2020-10-02T13:04:32.842" v="1735" actId="790"/>
          <ac:spMkLst>
            <pc:docMk/>
            <pc:sldMk cId="1303992329" sldId="6647"/>
            <ac:spMk id="3" creationId="{15C80389-6548-4E62-B1DE-3FED01EC77DC}"/>
          </ac:spMkLst>
        </pc:spChg>
        <pc:spChg chg="mod">
          <ac:chgData name="Ugo MANTEL" userId="2d5b7065-31bb-4181-a7f8-a73bf0c30211" providerId="ADAL" clId="{F05BB0D5-3454-45DC-8378-DA45B79D9A06}" dt="2020-10-02T13:04:32.848" v="1736" actId="790"/>
          <ac:spMkLst>
            <pc:docMk/>
            <pc:sldMk cId="1303992329" sldId="6647"/>
            <ac:spMk id="4" creationId="{75FE8F21-E3E3-4251-AE38-E7F5ADF23A80}"/>
          </ac:spMkLst>
        </pc:spChg>
        <pc:spChg chg="mod">
          <ac:chgData name="Ugo MANTEL" userId="2d5b7065-31bb-4181-a7f8-a73bf0c30211" providerId="ADAL" clId="{F05BB0D5-3454-45DC-8378-DA45B79D9A06}" dt="2020-10-02T13:04:32.849" v="1737" actId="790"/>
          <ac:spMkLst>
            <pc:docMk/>
            <pc:sldMk cId="1303992329" sldId="6647"/>
            <ac:spMk id="5" creationId="{E411076D-BD7D-4F3C-BA4F-785FA7DEB8E0}"/>
          </ac:spMkLst>
        </pc:spChg>
      </pc:sldChg>
      <pc:sldChg chg="modSp mod">
        <pc:chgData name="Ugo MANTEL" userId="2d5b7065-31bb-4181-a7f8-a73bf0c30211" providerId="ADAL" clId="{F05BB0D5-3454-45DC-8378-DA45B79D9A06}" dt="2020-10-02T13:04:34.495" v="3380" actId="790"/>
        <pc:sldMkLst>
          <pc:docMk/>
          <pc:sldMk cId="2836574278" sldId="6649"/>
        </pc:sldMkLst>
        <pc:spChg chg="mod">
          <ac:chgData name="Ugo MANTEL" userId="2d5b7065-31bb-4181-a7f8-a73bf0c30211" providerId="ADAL" clId="{F05BB0D5-3454-45DC-8378-DA45B79D9A06}" dt="2020-10-02T13:04:34.490" v="3377" actId="790"/>
          <ac:spMkLst>
            <pc:docMk/>
            <pc:sldMk cId="2836574278" sldId="6649"/>
            <ac:spMk id="2" creationId="{AE96EA93-E714-4D0F-A1A8-2AAA5188B475}"/>
          </ac:spMkLst>
        </pc:spChg>
        <pc:spChg chg="mod">
          <ac:chgData name="Ugo MANTEL" userId="2d5b7065-31bb-4181-a7f8-a73bf0c30211" providerId="ADAL" clId="{F05BB0D5-3454-45DC-8378-DA45B79D9A06}" dt="2020-10-02T13:04:34.490" v="3378" actId="790"/>
          <ac:spMkLst>
            <pc:docMk/>
            <pc:sldMk cId="2836574278" sldId="6649"/>
            <ac:spMk id="3" creationId="{4E9DE99D-BD68-42FE-9B3C-2293D0C1089E}"/>
          </ac:spMkLst>
        </pc:spChg>
        <pc:spChg chg="mod">
          <ac:chgData name="Ugo MANTEL" userId="2d5b7065-31bb-4181-a7f8-a73bf0c30211" providerId="ADAL" clId="{F05BB0D5-3454-45DC-8378-DA45B79D9A06}" dt="2020-10-02T13:04:34.494" v="3379" actId="790"/>
          <ac:spMkLst>
            <pc:docMk/>
            <pc:sldMk cId="2836574278" sldId="6649"/>
            <ac:spMk id="4" creationId="{BC317995-D852-4549-AC70-AA5A11CAFAFC}"/>
          </ac:spMkLst>
        </pc:spChg>
        <pc:spChg chg="mod">
          <ac:chgData name="Ugo MANTEL" userId="2d5b7065-31bb-4181-a7f8-a73bf0c30211" providerId="ADAL" clId="{F05BB0D5-3454-45DC-8378-DA45B79D9A06}" dt="2020-10-02T13:04:34.495" v="3380" actId="790"/>
          <ac:spMkLst>
            <pc:docMk/>
            <pc:sldMk cId="2836574278" sldId="6649"/>
            <ac:spMk id="5" creationId="{19C7AF68-ADEF-46DC-A209-2CDD74387B37}"/>
          </ac:spMkLst>
        </pc:spChg>
      </pc:sldChg>
      <pc:sldChg chg="modSp mod">
        <pc:chgData name="Ugo MANTEL" userId="2d5b7065-31bb-4181-a7f8-a73bf0c30211" providerId="ADAL" clId="{F05BB0D5-3454-45DC-8378-DA45B79D9A06}" dt="2020-10-02T13:04:34.858" v="3765" actId="790"/>
        <pc:sldMkLst>
          <pc:docMk/>
          <pc:sldMk cId="2292193147" sldId="6650"/>
        </pc:sldMkLst>
        <pc:spChg chg="mod">
          <ac:chgData name="Ugo MANTEL" userId="2d5b7065-31bb-4181-a7f8-a73bf0c30211" providerId="ADAL" clId="{F05BB0D5-3454-45DC-8378-DA45B79D9A06}" dt="2020-10-02T13:04:34.853" v="3762" actId="790"/>
          <ac:spMkLst>
            <pc:docMk/>
            <pc:sldMk cId="2292193147" sldId="6650"/>
            <ac:spMk id="2" creationId="{AE96EA93-E714-4D0F-A1A8-2AAA5188B475}"/>
          </ac:spMkLst>
        </pc:spChg>
        <pc:spChg chg="mod">
          <ac:chgData name="Ugo MANTEL" userId="2d5b7065-31bb-4181-a7f8-a73bf0c30211" providerId="ADAL" clId="{F05BB0D5-3454-45DC-8378-DA45B79D9A06}" dt="2020-10-02T13:04:34.854" v="3763" actId="790"/>
          <ac:spMkLst>
            <pc:docMk/>
            <pc:sldMk cId="2292193147" sldId="6650"/>
            <ac:spMk id="3" creationId="{4E9DE99D-BD68-42FE-9B3C-2293D0C1089E}"/>
          </ac:spMkLst>
        </pc:spChg>
        <pc:spChg chg="mod">
          <ac:chgData name="Ugo MANTEL" userId="2d5b7065-31bb-4181-a7f8-a73bf0c30211" providerId="ADAL" clId="{F05BB0D5-3454-45DC-8378-DA45B79D9A06}" dt="2020-10-02T13:04:34.858" v="3764" actId="790"/>
          <ac:spMkLst>
            <pc:docMk/>
            <pc:sldMk cId="2292193147" sldId="6650"/>
            <ac:spMk id="4" creationId="{BC317995-D852-4549-AC70-AA5A11CAFAFC}"/>
          </ac:spMkLst>
        </pc:spChg>
        <pc:spChg chg="mod">
          <ac:chgData name="Ugo MANTEL" userId="2d5b7065-31bb-4181-a7f8-a73bf0c30211" providerId="ADAL" clId="{F05BB0D5-3454-45DC-8378-DA45B79D9A06}" dt="2020-10-02T13:04:34.858" v="3765" actId="790"/>
          <ac:spMkLst>
            <pc:docMk/>
            <pc:sldMk cId="2292193147" sldId="6650"/>
            <ac:spMk id="5" creationId="{19C7AF68-ADEF-46DC-A209-2CDD74387B37}"/>
          </ac:spMkLst>
        </pc:spChg>
      </pc:sldChg>
      <pc:sldChg chg="modSp mod">
        <pc:chgData name="Ugo MANTEL" userId="2d5b7065-31bb-4181-a7f8-a73bf0c30211" providerId="ADAL" clId="{F05BB0D5-3454-45DC-8378-DA45B79D9A06}" dt="2020-10-02T13:04:33.060" v="1969" actId="790"/>
        <pc:sldMkLst>
          <pc:docMk/>
          <pc:sldMk cId="3001211257" sldId="6651"/>
        </pc:sldMkLst>
        <pc:spChg chg="mod">
          <ac:chgData name="Ugo MANTEL" userId="2d5b7065-31bb-4181-a7f8-a73bf0c30211" providerId="ADAL" clId="{F05BB0D5-3454-45DC-8378-DA45B79D9A06}" dt="2020-10-02T13:04:33.052" v="1966" actId="790"/>
          <ac:spMkLst>
            <pc:docMk/>
            <pc:sldMk cId="3001211257" sldId="6651"/>
            <ac:spMk id="2" creationId="{24E8BB55-4454-4FE4-A0CA-08C2677BB30A}"/>
          </ac:spMkLst>
        </pc:spChg>
        <pc:spChg chg="mod">
          <ac:chgData name="Ugo MANTEL" userId="2d5b7065-31bb-4181-a7f8-a73bf0c30211" providerId="ADAL" clId="{F05BB0D5-3454-45DC-8378-DA45B79D9A06}" dt="2020-10-02T13:04:33.052" v="1967" actId="790"/>
          <ac:spMkLst>
            <pc:docMk/>
            <pc:sldMk cId="3001211257" sldId="6651"/>
            <ac:spMk id="3" creationId="{15C80389-6548-4E62-B1DE-3FED01EC77DC}"/>
          </ac:spMkLst>
        </pc:spChg>
        <pc:spChg chg="mod">
          <ac:chgData name="Ugo MANTEL" userId="2d5b7065-31bb-4181-a7f8-a73bf0c30211" providerId="ADAL" clId="{F05BB0D5-3454-45DC-8378-DA45B79D9A06}" dt="2020-10-02T13:04:33.053" v="1968" actId="790"/>
          <ac:spMkLst>
            <pc:docMk/>
            <pc:sldMk cId="3001211257" sldId="6651"/>
            <ac:spMk id="5" creationId="{E411076D-BD7D-4F3C-BA4F-785FA7DEB8E0}"/>
          </ac:spMkLst>
        </pc:spChg>
        <pc:spChg chg="mod">
          <ac:chgData name="Ugo MANTEL" userId="2d5b7065-31bb-4181-a7f8-a73bf0c30211" providerId="ADAL" clId="{F05BB0D5-3454-45DC-8378-DA45B79D9A06}" dt="2020-10-02T13:04:33.060" v="1969" actId="790"/>
          <ac:spMkLst>
            <pc:docMk/>
            <pc:sldMk cId="3001211257" sldId="6651"/>
            <ac:spMk id="7" creationId="{ADACB22F-FE35-42D2-A230-417D29672BEF}"/>
          </ac:spMkLst>
        </pc:spChg>
      </pc:sldChg>
      <pc:sldChg chg="modSp mod">
        <pc:chgData name="Ugo MANTEL" userId="2d5b7065-31bb-4181-a7f8-a73bf0c30211" providerId="ADAL" clId="{F05BB0D5-3454-45DC-8378-DA45B79D9A06}" dt="2020-10-02T13:04:35.154" v="4153" actId="790"/>
        <pc:sldMkLst>
          <pc:docMk/>
          <pc:sldMk cId="2866209410" sldId="6652"/>
        </pc:sldMkLst>
        <pc:spChg chg="mod">
          <ac:chgData name="Ugo MANTEL" userId="2d5b7065-31bb-4181-a7f8-a73bf0c30211" providerId="ADAL" clId="{F05BB0D5-3454-45DC-8378-DA45B79D9A06}" dt="2020-10-02T13:04:35.148" v="4150" actId="790"/>
          <ac:spMkLst>
            <pc:docMk/>
            <pc:sldMk cId="2866209410" sldId="6652"/>
            <ac:spMk id="2" creationId="{AE96EA93-E714-4D0F-A1A8-2AAA5188B475}"/>
          </ac:spMkLst>
        </pc:spChg>
        <pc:spChg chg="mod">
          <ac:chgData name="Ugo MANTEL" userId="2d5b7065-31bb-4181-a7f8-a73bf0c30211" providerId="ADAL" clId="{F05BB0D5-3454-45DC-8378-DA45B79D9A06}" dt="2020-10-02T13:04:35.149" v="4151" actId="790"/>
          <ac:spMkLst>
            <pc:docMk/>
            <pc:sldMk cId="2866209410" sldId="6652"/>
            <ac:spMk id="3" creationId="{4E9DE99D-BD68-42FE-9B3C-2293D0C1089E}"/>
          </ac:spMkLst>
        </pc:spChg>
        <pc:spChg chg="mod">
          <ac:chgData name="Ugo MANTEL" userId="2d5b7065-31bb-4181-a7f8-a73bf0c30211" providerId="ADAL" clId="{F05BB0D5-3454-45DC-8378-DA45B79D9A06}" dt="2020-10-02T13:04:35.153" v="4152" actId="790"/>
          <ac:spMkLst>
            <pc:docMk/>
            <pc:sldMk cId="2866209410" sldId="6652"/>
            <ac:spMk id="4" creationId="{BC317995-D852-4549-AC70-AA5A11CAFAFC}"/>
          </ac:spMkLst>
        </pc:spChg>
        <pc:spChg chg="mod">
          <ac:chgData name="Ugo MANTEL" userId="2d5b7065-31bb-4181-a7f8-a73bf0c30211" providerId="ADAL" clId="{F05BB0D5-3454-45DC-8378-DA45B79D9A06}" dt="2020-10-02T13:04:35.154" v="4153" actId="790"/>
          <ac:spMkLst>
            <pc:docMk/>
            <pc:sldMk cId="2866209410" sldId="6652"/>
            <ac:spMk id="5" creationId="{19C7AF68-ADEF-46DC-A209-2CDD74387B37}"/>
          </ac:spMkLst>
        </pc:spChg>
      </pc:sldChg>
      <pc:sldChg chg="modSp mod">
        <pc:chgData name="Ugo MANTEL" userId="2d5b7065-31bb-4181-a7f8-a73bf0c30211" providerId="ADAL" clId="{F05BB0D5-3454-45DC-8378-DA45B79D9A06}" dt="2020-10-02T13:04:33.499" v="2441" actId="790"/>
        <pc:sldMkLst>
          <pc:docMk/>
          <pc:sldMk cId="2838887486" sldId="6661"/>
        </pc:sldMkLst>
        <pc:spChg chg="mod">
          <ac:chgData name="Ugo MANTEL" userId="2d5b7065-31bb-4181-a7f8-a73bf0c30211" providerId="ADAL" clId="{F05BB0D5-3454-45DC-8378-DA45B79D9A06}" dt="2020-10-02T13:04:33.492" v="2438" actId="790"/>
          <ac:spMkLst>
            <pc:docMk/>
            <pc:sldMk cId="2838887486" sldId="6661"/>
            <ac:spMk id="2" creationId="{24E8BB55-4454-4FE4-A0CA-08C2677BB30A}"/>
          </ac:spMkLst>
        </pc:spChg>
        <pc:spChg chg="mod">
          <ac:chgData name="Ugo MANTEL" userId="2d5b7065-31bb-4181-a7f8-a73bf0c30211" providerId="ADAL" clId="{F05BB0D5-3454-45DC-8378-DA45B79D9A06}" dt="2020-10-02T13:04:33.493" v="2439" actId="790"/>
          <ac:spMkLst>
            <pc:docMk/>
            <pc:sldMk cId="2838887486" sldId="6661"/>
            <ac:spMk id="3" creationId="{15C80389-6548-4E62-B1DE-3FED01EC77DC}"/>
          </ac:spMkLst>
        </pc:spChg>
        <pc:spChg chg="mod">
          <ac:chgData name="Ugo MANTEL" userId="2d5b7065-31bb-4181-a7f8-a73bf0c30211" providerId="ADAL" clId="{F05BB0D5-3454-45DC-8378-DA45B79D9A06}" dt="2020-10-02T13:04:33.493" v="2440" actId="790"/>
          <ac:spMkLst>
            <pc:docMk/>
            <pc:sldMk cId="2838887486" sldId="6661"/>
            <ac:spMk id="5" creationId="{E411076D-BD7D-4F3C-BA4F-785FA7DEB8E0}"/>
          </ac:spMkLst>
        </pc:spChg>
        <pc:spChg chg="mod">
          <ac:chgData name="Ugo MANTEL" userId="2d5b7065-31bb-4181-a7f8-a73bf0c30211" providerId="ADAL" clId="{F05BB0D5-3454-45DC-8378-DA45B79D9A06}" dt="2020-10-02T13:04:33.499" v="2441" actId="790"/>
          <ac:spMkLst>
            <pc:docMk/>
            <pc:sldMk cId="2838887486" sldId="6661"/>
            <ac:spMk id="9" creationId="{624CC054-0A35-4E7C-A671-C465564E0783}"/>
          </ac:spMkLst>
        </pc:spChg>
      </pc:sldChg>
      <pc:sldChg chg="modSp mod">
        <pc:chgData name="Ugo MANTEL" userId="2d5b7065-31bb-4181-a7f8-a73bf0c30211" providerId="ADAL" clId="{F05BB0D5-3454-45DC-8378-DA45B79D9A06}" dt="2020-10-02T13:04:34.103" v="3000" actId="790"/>
        <pc:sldMkLst>
          <pc:docMk/>
          <pc:sldMk cId="3186716976" sldId="6662"/>
        </pc:sldMkLst>
        <pc:spChg chg="mod">
          <ac:chgData name="Ugo MANTEL" userId="2d5b7065-31bb-4181-a7f8-a73bf0c30211" providerId="ADAL" clId="{F05BB0D5-3454-45DC-8378-DA45B79D9A06}" dt="2020-10-02T13:04:34.094" v="2997" actId="790"/>
          <ac:spMkLst>
            <pc:docMk/>
            <pc:sldMk cId="3186716976" sldId="6662"/>
            <ac:spMk id="2" creationId="{24E8BB55-4454-4FE4-A0CA-08C2677BB30A}"/>
          </ac:spMkLst>
        </pc:spChg>
        <pc:spChg chg="mod">
          <ac:chgData name="Ugo MANTEL" userId="2d5b7065-31bb-4181-a7f8-a73bf0c30211" providerId="ADAL" clId="{F05BB0D5-3454-45DC-8378-DA45B79D9A06}" dt="2020-10-02T13:04:34.095" v="2998" actId="790"/>
          <ac:spMkLst>
            <pc:docMk/>
            <pc:sldMk cId="3186716976" sldId="6662"/>
            <ac:spMk id="3" creationId="{15C80389-6548-4E62-B1DE-3FED01EC77DC}"/>
          </ac:spMkLst>
        </pc:spChg>
        <pc:spChg chg="mod">
          <ac:chgData name="Ugo MANTEL" userId="2d5b7065-31bb-4181-a7f8-a73bf0c30211" providerId="ADAL" clId="{F05BB0D5-3454-45DC-8378-DA45B79D9A06}" dt="2020-10-02T13:04:34.095" v="2999" actId="790"/>
          <ac:spMkLst>
            <pc:docMk/>
            <pc:sldMk cId="3186716976" sldId="6662"/>
            <ac:spMk id="5" creationId="{E411076D-BD7D-4F3C-BA4F-785FA7DEB8E0}"/>
          </ac:spMkLst>
        </pc:spChg>
        <pc:spChg chg="mod">
          <ac:chgData name="Ugo MANTEL" userId="2d5b7065-31bb-4181-a7f8-a73bf0c30211" providerId="ADAL" clId="{F05BB0D5-3454-45DC-8378-DA45B79D9A06}" dt="2020-10-02T13:04:34.103" v="3000" actId="790"/>
          <ac:spMkLst>
            <pc:docMk/>
            <pc:sldMk cId="3186716976" sldId="6662"/>
            <ac:spMk id="9" creationId="{07C3F887-6FB4-428D-9074-A2DCF97F6A43}"/>
          </ac:spMkLst>
        </pc:spChg>
      </pc:sldChg>
      <pc:sldChg chg="modSp mod">
        <pc:chgData name="Ugo MANTEL" userId="2d5b7065-31bb-4181-a7f8-a73bf0c30211" providerId="ADAL" clId="{F05BB0D5-3454-45DC-8378-DA45B79D9A06}" dt="2020-10-02T13:04:34.142" v="3031" actId="790"/>
        <pc:sldMkLst>
          <pc:docMk/>
          <pc:sldMk cId="84797541" sldId="6664"/>
        </pc:sldMkLst>
        <pc:spChg chg="mod">
          <ac:chgData name="Ugo MANTEL" userId="2d5b7065-31bb-4181-a7f8-a73bf0c30211" providerId="ADAL" clId="{F05BB0D5-3454-45DC-8378-DA45B79D9A06}" dt="2020-10-02T13:04:34.111" v="3002" actId="790"/>
          <ac:spMkLst>
            <pc:docMk/>
            <pc:sldMk cId="84797541" sldId="6664"/>
            <ac:spMk id="3" creationId="{B66E256D-ED32-4E13-A0C0-CF1897D67355}"/>
          </ac:spMkLst>
        </pc:spChg>
        <pc:spChg chg="mod">
          <ac:chgData name="Ugo MANTEL" userId="2d5b7065-31bb-4181-a7f8-a73bf0c30211" providerId="ADAL" clId="{F05BB0D5-3454-45DC-8378-DA45B79D9A06}" dt="2020-10-02T13:04:34.109" v="3001" actId="790"/>
          <ac:spMkLst>
            <pc:docMk/>
            <pc:sldMk cId="84797541" sldId="6664"/>
            <ac:spMk id="5" creationId="{D31C3D51-1B00-418C-939F-038583F89992}"/>
          </ac:spMkLst>
        </pc:spChg>
        <pc:spChg chg="mod">
          <ac:chgData name="Ugo MANTEL" userId="2d5b7065-31bb-4181-a7f8-a73bf0c30211" providerId="ADAL" clId="{F05BB0D5-3454-45DC-8378-DA45B79D9A06}" dt="2020-10-02T13:04:34.112" v="3003" actId="790"/>
          <ac:spMkLst>
            <pc:docMk/>
            <pc:sldMk cId="84797541" sldId="6664"/>
            <ac:spMk id="16" creationId="{82B671EF-58F9-4ECF-BEF8-BEE2C691CAAB}"/>
          </ac:spMkLst>
        </pc:spChg>
        <pc:spChg chg="mod">
          <ac:chgData name="Ugo MANTEL" userId="2d5b7065-31bb-4181-a7f8-a73bf0c30211" providerId="ADAL" clId="{F05BB0D5-3454-45DC-8378-DA45B79D9A06}" dt="2020-10-02T13:04:34.115" v="3004" actId="790"/>
          <ac:spMkLst>
            <pc:docMk/>
            <pc:sldMk cId="84797541" sldId="6664"/>
            <ac:spMk id="17" creationId="{8AE057FB-738F-40FA-B820-46AB087DBF49}"/>
          </ac:spMkLst>
        </pc:spChg>
        <pc:spChg chg="mod">
          <ac:chgData name="Ugo MANTEL" userId="2d5b7065-31bb-4181-a7f8-a73bf0c30211" providerId="ADAL" clId="{F05BB0D5-3454-45DC-8378-DA45B79D9A06}" dt="2020-10-02T13:04:34.116" v="3005" actId="790"/>
          <ac:spMkLst>
            <pc:docMk/>
            <pc:sldMk cId="84797541" sldId="6664"/>
            <ac:spMk id="18" creationId="{E0C88EA2-4013-4C5A-A8A3-7DE67E08E6E4}"/>
          </ac:spMkLst>
        </pc:spChg>
        <pc:spChg chg="mod">
          <ac:chgData name="Ugo MANTEL" userId="2d5b7065-31bb-4181-a7f8-a73bf0c30211" providerId="ADAL" clId="{F05BB0D5-3454-45DC-8378-DA45B79D9A06}" dt="2020-10-02T13:04:34.118" v="3006" actId="790"/>
          <ac:spMkLst>
            <pc:docMk/>
            <pc:sldMk cId="84797541" sldId="6664"/>
            <ac:spMk id="21" creationId="{0CC83291-58CF-4035-A61A-D920439759F4}"/>
          </ac:spMkLst>
        </pc:spChg>
        <pc:spChg chg="mod">
          <ac:chgData name="Ugo MANTEL" userId="2d5b7065-31bb-4181-a7f8-a73bf0c30211" providerId="ADAL" clId="{F05BB0D5-3454-45DC-8378-DA45B79D9A06}" dt="2020-10-02T13:04:34.122" v="3007" actId="790"/>
          <ac:spMkLst>
            <pc:docMk/>
            <pc:sldMk cId="84797541" sldId="6664"/>
            <ac:spMk id="44" creationId="{4C87B3B3-D16E-4BF4-9473-73AD82D3AC7A}"/>
          </ac:spMkLst>
        </pc:spChg>
        <pc:spChg chg="mod">
          <ac:chgData name="Ugo MANTEL" userId="2d5b7065-31bb-4181-a7f8-a73bf0c30211" providerId="ADAL" clId="{F05BB0D5-3454-45DC-8378-DA45B79D9A06}" dt="2020-10-02T13:04:34.128" v="3014" actId="790"/>
          <ac:spMkLst>
            <pc:docMk/>
            <pc:sldMk cId="84797541" sldId="6664"/>
            <ac:spMk id="45" creationId="{9730AF3E-CB7E-4E0E-8D29-7D474789EA11}"/>
          </ac:spMkLst>
        </pc:spChg>
        <pc:spChg chg="mod">
          <ac:chgData name="Ugo MANTEL" userId="2d5b7065-31bb-4181-a7f8-a73bf0c30211" providerId="ADAL" clId="{F05BB0D5-3454-45DC-8378-DA45B79D9A06}" dt="2020-10-02T13:04:34.124" v="3008" actId="790"/>
          <ac:spMkLst>
            <pc:docMk/>
            <pc:sldMk cId="84797541" sldId="6664"/>
            <ac:spMk id="46" creationId="{BD8C193F-E473-417E-9171-522C3ADD106E}"/>
          </ac:spMkLst>
        </pc:spChg>
        <pc:spChg chg="mod">
          <ac:chgData name="Ugo MANTEL" userId="2d5b7065-31bb-4181-a7f8-a73bf0c30211" providerId="ADAL" clId="{F05BB0D5-3454-45DC-8378-DA45B79D9A06}" dt="2020-10-02T13:04:34.126" v="3010" actId="790"/>
          <ac:spMkLst>
            <pc:docMk/>
            <pc:sldMk cId="84797541" sldId="6664"/>
            <ac:spMk id="47" creationId="{40E5C15A-FC7E-4147-9F95-4EA381F0DA53}"/>
          </ac:spMkLst>
        </pc:spChg>
        <pc:spChg chg="mod">
          <ac:chgData name="Ugo MANTEL" userId="2d5b7065-31bb-4181-a7f8-a73bf0c30211" providerId="ADAL" clId="{F05BB0D5-3454-45DC-8378-DA45B79D9A06}" dt="2020-10-02T13:04:34.125" v="3009" actId="790"/>
          <ac:spMkLst>
            <pc:docMk/>
            <pc:sldMk cId="84797541" sldId="6664"/>
            <ac:spMk id="48" creationId="{761FF478-F9D2-4823-B1EE-AFA098AB174F}"/>
          </ac:spMkLst>
        </pc:spChg>
        <pc:spChg chg="mod">
          <ac:chgData name="Ugo MANTEL" userId="2d5b7065-31bb-4181-a7f8-a73bf0c30211" providerId="ADAL" clId="{F05BB0D5-3454-45DC-8378-DA45B79D9A06}" dt="2020-10-02T13:04:34.126" v="3011" actId="790"/>
          <ac:spMkLst>
            <pc:docMk/>
            <pc:sldMk cId="84797541" sldId="6664"/>
            <ac:spMk id="49" creationId="{C32FF0AA-2233-4516-AF67-FAD1B5938D62}"/>
          </ac:spMkLst>
        </pc:spChg>
        <pc:spChg chg="mod">
          <ac:chgData name="Ugo MANTEL" userId="2d5b7065-31bb-4181-a7f8-a73bf0c30211" providerId="ADAL" clId="{F05BB0D5-3454-45DC-8378-DA45B79D9A06}" dt="2020-10-02T13:04:34.127" v="3012" actId="790"/>
          <ac:spMkLst>
            <pc:docMk/>
            <pc:sldMk cId="84797541" sldId="6664"/>
            <ac:spMk id="50" creationId="{9CB14580-D25B-417F-834F-C423B4AF79CD}"/>
          </ac:spMkLst>
        </pc:spChg>
        <pc:spChg chg="mod">
          <ac:chgData name="Ugo MANTEL" userId="2d5b7065-31bb-4181-a7f8-a73bf0c30211" providerId="ADAL" clId="{F05BB0D5-3454-45DC-8378-DA45B79D9A06}" dt="2020-10-02T13:04:34.128" v="3013" actId="790"/>
          <ac:spMkLst>
            <pc:docMk/>
            <pc:sldMk cId="84797541" sldId="6664"/>
            <ac:spMk id="51" creationId="{8C2E237C-C4B5-4851-AE62-95154B3E101C}"/>
          </ac:spMkLst>
        </pc:spChg>
        <pc:spChg chg="mod">
          <ac:chgData name="Ugo MANTEL" userId="2d5b7065-31bb-4181-a7f8-a73bf0c30211" providerId="ADAL" clId="{F05BB0D5-3454-45DC-8378-DA45B79D9A06}" dt="2020-10-02T13:04:34.129" v="3015" actId="790"/>
          <ac:spMkLst>
            <pc:docMk/>
            <pc:sldMk cId="84797541" sldId="6664"/>
            <ac:spMk id="60" creationId="{F44761AE-84E9-4716-A32E-5B20448F7AED}"/>
          </ac:spMkLst>
        </pc:spChg>
        <pc:spChg chg="mod">
          <ac:chgData name="Ugo MANTEL" userId="2d5b7065-31bb-4181-a7f8-a73bf0c30211" providerId="ADAL" clId="{F05BB0D5-3454-45DC-8378-DA45B79D9A06}" dt="2020-10-02T13:04:34.130" v="3016" actId="790"/>
          <ac:spMkLst>
            <pc:docMk/>
            <pc:sldMk cId="84797541" sldId="6664"/>
            <ac:spMk id="61" creationId="{88C7591D-AA3A-4135-9141-CDFA4D2FBE4F}"/>
          </ac:spMkLst>
        </pc:spChg>
        <pc:spChg chg="mod">
          <ac:chgData name="Ugo MANTEL" userId="2d5b7065-31bb-4181-a7f8-a73bf0c30211" providerId="ADAL" clId="{F05BB0D5-3454-45DC-8378-DA45B79D9A06}" dt="2020-10-02T13:04:34.131" v="3017" actId="790"/>
          <ac:spMkLst>
            <pc:docMk/>
            <pc:sldMk cId="84797541" sldId="6664"/>
            <ac:spMk id="62" creationId="{7413BC68-81A5-450A-85C9-C210E1B84423}"/>
          </ac:spMkLst>
        </pc:spChg>
        <pc:spChg chg="mod">
          <ac:chgData name="Ugo MANTEL" userId="2d5b7065-31bb-4181-a7f8-a73bf0c30211" providerId="ADAL" clId="{F05BB0D5-3454-45DC-8378-DA45B79D9A06}" dt="2020-10-02T13:04:34.132" v="3018" actId="790"/>
          <ac:spMkLst>
            <pc:docMk/>
            <pc:sldMk cId="84797541" sldId="6664"/>
            <ac:spMk id="64" creationId="{FA2A0918-8F9B-4279-BD7B-B4D3286A5345}"/>
          </ac:spMkLst>
        </pc:spChg>
        <pc:spChg chg="mod">
          <ac:chgData name="Ugo MANTEL" userId="2d5b7065-31bb-4181-a7f8-a73bf0c30211" providerId="ADAL" clId="{F05BB0D5-3454-45DC-8378-DA45B79D9A06}" dt="2020-10-02T13:04:34.132" v="3019" actId="790"/>
          <ac:spMkLst>
            <pc:docMk/>
            <pc:sldMk cId="84797541" sldId="6664"/>
            <ac:spMk id="66" creationId="{47438480-86C8-4FD5-A676-3CBAD3879F2F}"/>
          </ac:spMkLst>
        </pc:spChg>
        <pc:spChg chg="mod">
          <ac:chgData name="Ugo MANTEL" userId="2d5b7065-31bb-4181-a7f8-a73bf0c30211" providerId="ADAL" clId="{F05BB0D5-3454-45DC-8378-DA45B79D9A06}" dt="2020-10-02T13:04:34.134" v="3020" actId="790"/>
          <ac:spMkLst>
            <pc:docMk/>
            <pc:sldMk cId="84797541" sldId="6664"/>
            <ac:spMk id="67" creationId="{DE665E5B-7546-4674-AF3F-FFD553F54D17}"/>
          </ac:spMkLst>
        </pc:spChg>
        <pc:spChg chg="mod">
          <ac:chgData name="Ugo MANTEL" userId="2d5b7065-31bb-4181-a7f8-a73bf0c30211" providerId="ADAL" clId="{F05BB0D5-3454-45DC-8378-DA45B79D9A06}" dt="2020-10-02T13:04:34.135" v="3021" actId="790"/>
          <ac:spMkLst>
            <pc:docMk/>
            <pc:sldMk cId="84797541" sldId="6664"/>
            <ac:spMk id="68" creationId="{C9329512-E171-43B4-AB0C-017A0C978912}"/>
          </ac:spMkLst>
        </pc:spChg>
        <pc:spChg chg="mod">
          <ac:chgData name="Ugo MANTEL" userId="2d5b7065-31bb-4181-a7f8-a73bf0c30211" providerId="ADAL" clId="{F05BB0D5-3454-45DC-8378-DA45B79D9A06}" dt="2020-10-02T13:04:34.135" v="3022" actId="790"/>
          <ac:spMkLst>
            <pc:docMk/>
            <pc:sldMk cId="84797541" sldId="6664"/>
            <ac:spMk id="70" creationId="{EBE1CFE2-9012-46AA-BDEC-DDDAA84D2D5C}"/>
          </ac:spMkLst>
        </pc:spChg>
        <pc:spChg chg="mod">
          <ac:chgData name="Ugo MANTEL" userId="2d5b7065-31bb-4181-a7f8-a73bf0c30211" providerId="ADAL" clId="{F05BB0D5-3454-45DC-8378-DA45B79D9A06}" dt="2020-10-02T13:04:34.136" v="3023" actId="790"/>
          <ac:spMkLst>
            <pc:docMk/>
            <pc:sldMk cId="84797541" sldId="6664"/>
            <ac:spMk id="72" creationId="{72FD2B72-2FE4-47FC-8337-D246330BE4A1}"/>
          </ac:spMkLst>
        </pc:spChg>
        <pc:spChg chg="mod">
          <ac:chgData name="Ugo MANTEL" userId="2d5b7065-31bb-4181-a7f8-a73bf0c30211" providerId="ADAL" clId="{F05BB0D5-3454-45DC-8378-DA45B79D9A06}" dt="2020-10-02T13:04:34.137" v="3024" actId="790"/>
          <ac:spMkLst>
            <pc:docMk/>
            <pc:sldMk cId="84797541" sldId="6664"/>
            <ac:spMk id="73" creationId="{5DD8A478-014E-436B-9BA9-BED5599E171C}"/>
          </ac:spMkLst>
        </pc:spChg>
        <pc:spChg chg="mod">
          <ac:chgData name="Ugo MANTEL" userId="2d5b7065-31bb-4181-a7f8-a73bf0c30211" providerId="ADAL" clId="{F05BB0D5-3454-45DC-8378-DA45B79D9A06}" dt="2020-10-02T13:04:34.138" v="3025" actId="790"/>
          <ac:spMkLst>
            <pc:docMk/>
            <pc:sldMk cId="84797541" sldId="6664"/>
            <ac:spMk id="74" creationId="{11360494-CA90-4CD3-9727-4814E5E85222}"/>
          </ac:spMkLst>
        </pc:spChg>
        <pc:spChg chg="mod">
          <ac:chgData name="Ugo MANTEL" userId="2d5b7065-31bb-4181-a7f8-a73bf0c30211" providerId="ADAL" clId="{F05BB0D5-3454-45DC-8378-DA45B79D9A06}" dt="2020-10-02T13:04:34.139" v="3026" actId="790"/>
          <ac:spMkLst>
            <pc:docMk/>
            <pc:sldMk cId="84797541" sldId="6664"/>
            <ac:spMk id="76" creationId="{7D670FA2-E52F-4AA8-8465-ECA44C6D5FD2}"/>
          </ac:spMkLst>
        </pc:spChg>
        <pc:spChg chg="mod">
          <ac:chgData name="Ugo MANTEL" userId="2d5b7065-31bb-4181-a7f8-a73bf0c30211" providerId="ADAL" clId="{F05BB0D5-3454-45DC-8378-DA45B79D9A06}" dt="2020-10-02T13:04:34.139" v="3027" actId="790"/>
          <ac:spMkLst>
            <pc:docMk/>
            <pc:sldMk cId="84797541" sldId="6664"/>
            <ac:spMk id="78" creationId="{2326F0AB-0D25-4FDD-8C30-62C3C9CF9A92}"/>
          </ac:spMkLst>
        </pc:spChg>
        <pc:spChg chg="mod">
          <ac:chgData name="Ugo MANTEL" userId="2d5b7065-31bb-4181-a7f8-a73bf0c30211" providerId="ADAL" clId="{F05BB0D5-3454-45DC-8378-DA45B79D9A06}" dt="2020-10-02T13:04:34.140" v="3028" actId="790"/>
          <ac:spMkLst>
            <pc:docMk/>
            <pc:sldMk cId="84797541" sldId="6664"/>
            <ac:spMk id="79" creationId="{51927D47-2625-4BB9-82E1-22F63C699812}"/>
          </ac:spMkLst>
        </pc:spChg>
        <pc:spChg chg="mod">
          <ac:chgData name="Ugo MANTEL" userId="2d5b7065-31bb-4181-a7f8-a73bf0c30211" providerId="ADAL" clId="{F05BB0D5-3454-45DC-8378-DA45B79D9A06}" dt="2020-10-02T13:04:34.141" v="3029" actId="790"/>
          <ac:spMkLst>
            <pc:docMk/>
            <pc:sldMk cId="84797541" sldId="6664"/>
            <ac:spMk id="80" creationId="{7F7C75F8-5BCC-407E-99F6-1737918C7609}"/>
          </ac:spMkLst>
        </pc:spChg>
        <pc:spChg chg="mod">
          <ac:chgData name="Ugo MANTEL" userId="2d5b7065-31bb-4181-a7f8-a73bf0c30211" providerId="ADAL" clId="{F05BB0D5-3454-45DC-8378-DA45B79D9A06}" dt="2020-10-02T13:04:34.142" v="3030" actId="790"/>
          <ac:spMkLst>
            <pc:docMk/>
            <pc:sldMk cId="84797541" sldId="6664"/>
            <ac:spMk id="82" creationId="{F801B7CA-FFEE-47A5-90E8-0563CF7887CF}"/>
          </ac:spMkLst>
        </pc:spChg>
        <pc:spChg chg="mod">
          <ac:chgData name="Ugo MANTEL" userId="2d5b7065-31bb-4181-a7f8-a73bf0c30211" providerId="ADAL" clId="{F05BB0D5-3454-45DC-8378-DA45B79D9A06}" dt="2020-10-02T13:04:34.142" v="3031" actId="790"/>
          <ac:spMkLst>
            <pc:docMk/>
            <pc:sldMk cId="84797541" sldId="6664"/>
            <ac:spMk id="85" creationId="{8E577A19-6A0B-4935-9275-A3AC6226CE98}"/>
          </ac:spMkLst>
        </pc:spChg>
      </pc:sldChg>
      <pc:sldChg chg="modSp mod">
        <pc:chgData name="Ugo MANTEL" userId="2d5b7065-31bb-4181-a7f8-a73bf0c30211" providerId="ADAL" clId="{F05BB0D5-3454-45DC-8378-DA45B79D9A06}" dt="2020-10-02T13:04:35.661" v="4488" actId="790"/>
        <pc:sldMkLst>
          <pc:docMk/>
          <pc:sldMk cId="1112437642" sldId="6668"/>
        </pc:sldMkLst>
        <pc:spChg chg="mod">
          <ac:chgData name="Ugo MANTEL" userId="2d5b7065-31bb-4181-a7f8-a73bf0c30211" providerId="ADAL" clId="{F05BB0D5-3454-45DC-8378-DA45B79D9A06}" dt="2020-10-02T13:04:35.657" v="4486" actId="790"/>
          <ac:spMkLst>
            <pc:docMk/>
            <pc:sldMk cId="1112437642" sldId="6668"/>
            <ac:spMk id="3" creationId="{4E9DE99D-BD68-42FE-9B3C-2293D0C1089E}"/>
          </ac:spMkLst>
        </pc:spChg>
        <pc:spChg chg="mod">
          <ac:chgData name="Ugo MANTEL" userId="2d5b7065-31bb-4181-a7f8-a73bf0c30211" providerId="ADAL" clId="{F05BB0D5-3454-45DC-8378-DA45B79D9A06}" dt="2020-10-02T13:04:35.661" v="4487" actId="790"/>
          <ac:spMkLst>
            <pc:docMk/>
            <pc:sldMk cId="1112437642" sldId="6668"/>
            <ac:spMk id="4" creationId="{BC317995-D852-4549-AC70-AA5A11CAFAFC}"/>
          </ac:spMkLst>
        </pc:spChg>
        <pc:spChg chg="mod">
          <ac:chgData name="Ugo MANTEL" userId="2d5b7065-31bb-4181-a7f8-a73bf0c30211" providerId="ADAL" clId="{F05BB0D5-3454-45DC-8378-DA45B79D9A06}" dt="2020-10-02T13:04:35.661" v="4488" actId="790"/>
          <ac:spMkLst>
            <pc:docMk/>
            <pc:sldMk cId="1112437642" sldId="6668"/>
            <ac:spMk id="5" creationId="{19C7AF68-ADEF-46DC-A209-2CDD74387B37}"/>
          </ac:spMkLst>
        </pc:spChg>
      </pc:sldChg>
      <pc:sldChg chg="modSp mod">
        <pc:chgData name="Ugo MANTEL" userId="2d5b7065-31bb-4181-a7f8-a73bf0c30211" providerId="ADAL" clId="{F05BB0D5-3454-45DC-8378-DA45B79D9A06}" dt="2020-10-02T13:04:35.826" v="4637" actId="790"/>
        <pc:sldMkLst>
          <pc:docMk/>
          <pc:sldMk cId="2696763137" sldId="6669"/>
        </pc:sldMkLst>
        <pc:spChg chg="mod">
          <ac:chgData name="Ugo MANTEL" userId="2d5b7065-31bb-4181-a7f8-a73bf0c30211" providerId="ADAL" clId="{F05BB0D5-3454-45DC-8378-DA45B79D9A06}" dt="2020-10-02T13:04:35.821" v="4634" actId="790"/>
          <ac:spMkLst>
            <pc:docMk/>
            <pc:sldMk cId="2696763137" sldId="6669"/>
            <ac:spMk id="2" creationId="{AE96EA93-E714-4D0F-A1A8-2AAA5188B475}"/>
          </ac:spMkLst>
        </pc:spChg>
        <pc:spChg chg="mod">
          <ac:chgData name="Ugo MANTEL" userId="2d5b7065-31bb-4181-a7f8-a73bf0c30211" providerId="ADAL" clId="{F05BB0D5-3454-45DC-8378-DA45B79D9A06}" dt="2020-10-02T13:04:35.822" v="4635" actId="790"/>
          <ac:spMkLst>
            <pc:docMk/>
            <pc:sldMk cId="2696763137" sldId="6669"/>
            <ac:spMk id="3" creationId="{4E9DE99D-BD68-42FE-9B3C-2293D0C1089E}"/>
          </ac:spMkLst>
        </pc:spChg>
        <pc:spChg chg="mod">
          <ac:chgData name="Ugo MANTEL" userId="2d5b7065-31bb-4181-a7f8-a73bf0c30211" providerId="ADAL" clId="{F05BB0D5-3454-45DC-8378-DA45B79D9A06}" dt="2020-10-02T13:04:35.826" v="4636" actId="790"/>
          <ac:spMkLst>
            <pc:docMk/>
            <pc:sldMk cId="2696763137" sldId="6669"/>
            <ac:spMk id="4" creationId="{BC317995-D852-4549-AC70-AA5A11CAFAFC}"/>
          </ac:spMkLst>
        </pc:spChg>
        <pc:spChg chg="mod">
          <ac:chgData name="Ugo MANTEL" userId="2d5b7065-31bb-4181-a7f8-a73bf0c30211" providerId="ADAL" clId="{F05BB0D5-3454-45DC-8378-DA45B79D9A06}" dt="2020-10-02T13:04:35.826" v="4637" actId="790"/>
          <ac:spMkLst>
            <pc:docMk/>
            <pc:sldMk cId="2696763137" sldId="6669"/>
            <ac:spMk id="5" creationId="{19C7AF68-ADEF-46DC-A209-2CDD74387B37}"/>
          </ac:spMkLst>
        </pc:spChg>
      </pc:sldChg>
      <pc:sldChg chg="modSp mod">
        <pc:chgData name="Ugo MANTEL" userId="2d5b7065-31bb-4181-a7f8-a73bf0c30211" providerId="ADAL" clId="{F05BB0D5-3454-45DC-8378-DA45B79D9A06}" dt="2020-10-02T13:04:36.106" v="4812" actId="790"/>
        <pc:sldMkLst>
          <pc:docMk/>
          <pc:sldMk cId="4050176803" sldId="6670"/>
        </pc:sldMkLst>
        <pc:spChg chg="mod">
          <ac:chgData name="Ugo MANTEL" userId="2d5b7065-31bb-4181-a7f8-a73bf0c30211" providerId="ADAL" clId="{F05BB0D5-3454-45DC-8378-DA45B79D9A06}" dt="2020-10-02T13:04:36.100" v="4809" actId="790"/>
          <ac:spMkLst>
            <pc:docMk/>
            <pc:sldMk cId="4050176803" sldId="6670"/>
            <ac:spMk id="2" creationId="{AE96EA93-E714-4D0F-A1A8-2AAA5188B475}"/>
          </ac:spMkLst>
        </pc:spChg>
        <pc:spChg chg="mod">
          <ac:chgData name="Ugo MANTEL" userId="2d5b7065-31bb-4181-a7f8-a73bf0c30211" providerId="ADAL" clId="{F05BB0D5-3454-45DC-8378-DA45B79D9A06}" dt="2020-10-02T13:04:36.101" v="4810" actId="790"/>
          <ac:spMkLst>
            <pc:docMk/>
            <pc:sldMk cId="4050176803" sldId="6670"/>
            <ac:spMk id="3" creationId="{4E9DE99D-BD68-42FE-9B3C-2293D0C1089E}"/>
          </ac:spMkLst>
        </pc:spChg>
        <pc:spChg chg="mod">
          <ac:chgData name="Ugo MANTEL" userId="2d5b7065-31bb-4181-a7f8-a73bf0c30211" providerId="ADAL" clId="{F05BB0D5-3454-45DC-8378-DA45B79D9A06}" dt="2020-10-02T13:04:36.105" v="4811" actId="790"/>
          <ac:spMkLst>
            <pc:docMk/>
            <pc:sldMk cId="4050176803" sldId="6670"/>
            <ac:spMk id="4" creationId="{BC317995-D852-4549-AC70-AA5A11CAFAFC}"/>
          </ac:spMkLst>
        </pc:spChg>
        <pc:spChg chg="mod">
          <ac:chgData name="Ugo MANTEL" userId="2d5b7065-31bb-4181-a7f8-a73bf0c30211" providerId="ADAL" clId="{F05BB0D5-3454-45DC-8378-DA45B79D9A06}" dt="2020-10-02T13:04:36.106" v="4812" actId="790"/>
          <ac:spMkLst>
            <pc:docMk/>
            <pc:sldMk cId="4050176803" sldId="6670"/>
            <ac:spMk id="5" creationId="{19C7AF68-ADEF-46DC-A209-2CDD74387B37}"/>
          </ac:spMkLst>
        </pc:spChg>
      </pc:sldChg>
      <pc:sldChg chg="modSp mod">
        <pc:chgData name="Ugo MANTEL" userId="2d5b7065-31bb-4181-a7f8-a73bf0c30211" providerId="ADAL" clId="{F05BB0D5-3454-45DC-8378-DA45B79D9A06}" dt="2020-10-05T15:10:14.579" v="10313" actId="57"/>
        <pc:sldMkLst>
          <pc:docMk/>
          <pc:sldMk cId="2982811336" sldId="6703"/>
        </pc:sldMkLst>
        <pc:spChg chg="mod">
          <ac:chgData name="Ugo MANTEL" userId="2d5b7065-31bb-4181-a7f8-a73bf0c30211" providerId="ADAL" clId="{F05BB0D5-3454-45DC-8378-DA45B79D9A06}" dt="2020-10-02T13:04:34.505" v="3383" actId="790"/>
          <ac:spMkLst>
            <pc:docMk/>
            <pc:sldMk cId="2982811336" sldId="6703"/>
            <ac:spMk id="3" creationId="{B8B4D0F1-0504-478F-B211-CD89A1BB1DB2}"/>
          </ac:spMkLst>
        </pc:spChg>
        <pc:spChg chg="mod">
          <ac:chgData name="Ugo MANTEL" userId="2d5b7065-31bb-4181-a7f8-a73bf0c30211" providerId="ADAL" clId="{F05BB0D5-3454-45DC-8378-DA45B79D9A06}" dt="2020-10-02T13:04:34.530" v="3410" actId="790"/>
          <ac:spMkLst>
            <pc:docMk/>
            <pc:sldMk cId="2982811336" sldId="6703"/>
            <ac:spMk id="4" creationId="{CE2D637A-75FC-487E-B619-B5A7FB874EA0}"/>
          </ac:spMkLst>
        </pc:spChg>
        <pc:spChg chg="mod">
          <ac:chgData name="Ugo MANTEL" userId="2d5b7065-31bb-4181-a7f8-a73bf0c30211" providerId="ADAL" clId="{F05BB0D5-3454-45DC-8378-DA45B79D9A06}" dt="2020-10-02T13:04:34.524" v="3402" actId="790"/>
          <ac:spMkLst>
            <pc:docMk/>
            <pc:sldMk cId="2982811336" sldId="6703"/>
            <ac:spMk id="5" creationId="{3CB3819C-BF09-498C-87F9-F83688D50A53}"/>
          </ac:spMkLst>
        </pc:spChg>
        <pc:spChg chg="mod">
          <ac:chgData name="Ugo MANTEL" userId="2d5b7065-31bb-4181-a7f8-a73bf0c30211" providerId="ADAL" clId="{F05BB0D5-3454-45DC-8378-DA45B79D9A06}" dt="2020-10-02T13:04:34.506" v="3384" actId="790"/>
          <ac:spMkLst>
            <pc:docMk/>
            <pc:sldMk cId="2982811336" sldId="6703"/>
            <ac:spMk id="8" creationId="{7DCE6FDF-E846-4FFE-892A-BA7BA30CD470}"/>
          </ac:spMkLst>
        </pc:spChg>
        <pc:spChg chg="mod">
          <ac:chgData name="Ugo MANTEL" userId="2d5b7065-31bb-4181-a7f8-a73bf0c30211" providerId="ADAL" clId="{F05BB0D5-3454-45DC-8378-DA45B79D9A06}" dt="2020-10-02T13:04:34.501" v="3381" actId="790"/>
          <ac:spMkLst>
            <pc:docMk/>
            <pc:sldMk cId="2982811336" sldId="6703"/>
            <ac:spMk id="11" creationId="{ACF22D3B-6FB4-4CCA-9776-EA522339A097}"/>
          </ac:spMkLst>
        </pc:spChg>
        <pc:spChg chg="mod">
          <ac:chgData name="Ugo MANTEL" userId="2d5b7065-31bb-4181-a7f8-a73bf0c30211" providerId="ADAL" clId="{F05BB0D5-3454-45DC-8378-DA45B79D9A06}" dt="2020-10-02T13:04:34.507" v="3385" actId="790"/>
          <ac:spMkLst>
            <pc:docMk/>
            <pc:sldMk cId="2982811336" sldId="6703"/>
            <ac:spMk id="12" creationId="{BCE7AF8C-B636-4043-9445-A58FE56CD2D5}"/>
          </ac:spMkLst>
        </pc:spChg>
        <pc:spChg chg="mod">
          <ac:chgData name="Ugo MANTEL" userId="2d5b7065-31bb-4181-a7f8-a73bf0c30211" providerId="ADAL" clId="{F05BB0D5-3454-45DC-8378-DA45B79D9A06}" dt="2020-10-02T13:04:34.508" v="3386" actId="790"/>
          <ac:spMkLst>
            <pc:docMk/>
            <pc:sldMk cId="2982811336" sldId="6703"/>
            <ac:spMk id="15" creationId="{E6F03B4F-F54A-453B-AE62-9B4E72EA2071}"/>
          </ac:spMkLst>
        </pc:spChg>
        <pc:spChg chg="mod">
          <ac:chgData name="Ugo MANTEL" userId="2d5b7065-31bb-4181-a7f8-a73bf0c30211" providerId="ADAL" clId="{F05BB0D5-3454-45DC-8378-DA45B79D9A06}" dt="2020-10-02T13:04:34.509" v="3387" actId="790"/>
          <ac:spMkLst>
            <pc:docMk/>
            <pc:sldMk cId="2982811336" sldId="6703"/>
            <ac:spMk id="16" creationId="{BD0852ED-0332-447D-95BC-5E8E8A4B7F98}"/>
          </ac:spMkLst>
        </pc:spChg>
        <pc:spChg chg="mod">
          <ac:chgData name="Ugo MANTEL" userId="2d5b7065-31bb-4181-a7f8-a73bf0c30211" providerId="ADAL" clId="{F05BB0D5-3454-45DC-8378-DA45B79D9A06}" dt="2020-10-02T13:04:34.510" v="3388" actId="790"/>
          <ac:spMkLst>
            <pc:docMk/>
            <pc:sldMk cId="2982811336" sldId="6703"/>
            <ac:spMk id="17" creationId="{6DB79AEC-161A-447E-9B93-D860F5C79199}"/>
          </ac:spMkLst>
        </pc:spChg>
        <pc:spChg chg="mod">
          <ac:chgData name="Ugo MANTEL" userId="2d5b7065-31bb-4181-a7f8-a73bf0c30211" providerId="ADAL" clId="{F05BB0D5-3454-45DC-8378-DA45B79D9A06}" dt="2020-10-02T13:04:34.511" v="3389" actId="790"/>
          <ac:spMkLst>
            <pc:docMk/>
            <pc:sldMk cId="2982811336" sldId="6703"/>
            <ac:spMk id="19" creationId="{E0E01A3C-1D0F-47C0-AE0D-E5E6CB569D7A}"/>
          </ac:spMkLst>
        </pc:spChg>
        <pc:spChg chg="mod">
          <ac:chgData name="Ugo MANTEL" userId="2d5b7065-31bb-4181-a7f8-a73bf0c30211" providerId="ADAL" clId="{F05BB0D5-3454-45DC-8378-DA45B79D9A06}" dt="2020-10-02T13:04:34.512" v="3390" actId="790"/>
          <ac:spMkLst>
            <pc:docMk/>
            <pc:sldMk cId="2982811336" sldId="6703"/>
            <ac:spMk id="24" creationId="{6972F7F1-27BC-46E1-8AEE-849E41C0089F}"/>
          </ac:spMkLst>
        </pc:spChg>
        <pc:spChg chg="mod">
          <ac:chgData name="Ugo MANTEL" userId="2d5b7065-31bb-4181-a7f8-a73bf0c30211" providerId="ADAL" clId="{F05BB0D5-3454-45DC-8378-DA45B79D9A06}" dt="2020-10-02T13:04:34.501" v="3382" actId="790"/>
          <ac:spMkLst>
            <pc:docMk/>
            <pc:sldMk cId="2982811336" sldId="6703"/>
            <ac:spMk id="35" creationId="{F88EC41A-274F-42A0-B690-8B9CAB09C61B}"/>
          </ac:spMkLst>
        </pc:spChg>
        <pc:spChg chg="mod">
          <ac:chgData name="Ugo MANTEL" userId="2d5b7065-31bb-4181-a7f8-a73bf0c30211" providerId="ADAL" clId="{F05BB0D5-3454-45DC-8378-DA45B79D9A06}" dt="2020-10-02T13:04:34.512" v="3391" actId="790"/>
          <ac:spMkLst>
            <pc:docMk/>
            <pc:sldMk cId="2982811336" sldId="6703"/>
            <ac:spMk id="42" creationId="{DEFE4EE6-4B7A-4A2B-BE6C-E722B1F06675}"/>
          </ac:spMkLst>
        </pc:spChg>
        <pc:spChg chg="mod">
          <ac:chgData name="Ugo MANTEL" userId="2d5b7065-31bb-4181-a7f8-a73bf0c30211" providerId="ADAL" clId="{F05BB0D5-3454-45DC-8378-DA45B79D9A06}" dt="2020-10-02T13:04:34.513" v="3392" actId="790"/>
          <ac:spMkLst>
            <pc:docMk/>
            <pc:sldMk cId="2982811336" sldId="6703"/>
            <ac:spMk id="46" creationId="{F63DD640-2F60-4CEC-A8A8-CF02D91374F6}"/>
          </ac:spMkLst>
        </pc:spChg>
        <pc:spChg chg="mod">
          <ac:chgData name="Ugo MANTEL" userId="2d5b7065-31bb-4181-a7f8-a73bf0c30211" providerId="ADAL" clId="{F05BB0D5-3454-45DC-8378-DA45B79D9A06}" dt="2020-10-02T13:04:34.514" v="3393" actId="790"/>
          <ac:spMkLst>
            <pc:docMk/>
            <pc:sldMk cId="2982811336" sldId="6703"/>
            <ac:spMk id="47" creationId="{C28FFEFC-915F-4277-B4B2-A7B3F6CF0E29}"/>
          </ac:spMkLst>
        </pc:spChg>
        <pc:spChg chg="mod">
          <ac:chgData name="Ugo MANTEL" userId="2d5b7065-31bb-4181-a7f8-a73bf0c30211" providerId="ADAL" clId="{F05BB0D5-3454-45DC-8378-DA45B79D9A06}" dt="2020-10-02T13:04:34.525" v="3404" actId="790"/>
          <ac:spMkLst>
            <pc:docMk/>
            <pc:sldMk cId="2982811336" sldId="6703"/>
            <ac:spMk id="51" creationId="{96AD56DC-DCE0-4EE2-AA2B-BC2886D6021C}"/>
          </ac:spMkLst>
        </pc:spChg>
        <pc:spChg chg="mod">
          <ac:chgData name="Ugo MANTEL" userId="2d5b7065-31bb-4181-a7f8-a73bf0c30211" providerId="ADAL" clId="{F05BB0D5-3454-45DC-8378-DA45B79D9A06}" dt="2020-10-02T13:04:34.526" v="3405" actId="790"/>
          <ac:spMkLst>
            <pc:docMk/>
            <pc:sldMk cId="2982811336" sldId="6703"/>
            <ac:spMk id="52" creationId="{2E192AA9-454E-49D9-84AB-F3E9046CE649}"/>
          </ac:spMkLst>
        </pc:spChg>
        <pc:spChg chg="mod">
          <ac:chgData name="Ugo MANTEL" userId="2d5b7065-31bb-4181-a7f8-a73bf0c30211" providerId="ADAL" clId="{F05BB0D5-3454-45DC-8378-DA45B79D9A06}" dt="2020-10-02T13:04:34.514" v="3394" actId="790"/>
          <ac:spMkLst>
            <pc:docMk/>
            <pc:sldMk cId="2982811336" sldId="6703"/>
            <ac:spMk id="53" creationId="{F340307B-FD1C-4C66-8057-6EEDF0008108}"/>
          </ac:spMkLst>
        </pc:spChg>
        <pc:spChg chg="mod">
          <ac:chgData name="Ugo MANTEL" userId="2d5b7065-31bb-4181-a7f8-a73bf0c30211" providerId="ADAL" clId="{F05BB0D5-3454-45DC-8378-DA45B79D9A06}" dt="2020-10-02T13:04:34.516" v="3395" actId="790"/>
          <ac:spMkLst>
            <pc:docMk/>
            <pc:sldMk cId="2982811336" sldId="6703"/>
            <ac:spMk id="54" creationId="{8F18514B-F6AB-4DA4-85A1-19C1F2CE8ED7}"/>
          </ac:spMkLst>
        </pc:spChg>
        <pc:spChg chg="mod">
          <ac:chgData name="Ugo MANTEL" userId="2d5b7065-31bb-4181-a7f8-a73bf0c30211" providerId="ADAL" clId="{F05BB0D5-3454-45DC-8378-DA45B79D9A06}" dt="2020-10-02T13:04:34.517" v="3396" actId="790"/>
          <ac:spMkLst>
            <pc:docMk/>
            <pc:sldMk cId="2982811336" sldId="6703"/>
            <ac:spMk id="55" creationId="{13E464CB-0433-4406-A004-E56DABC4C385}"/>
          </ac:spMkLst>
        </pc:spChg>
        <pc:spChg chg="mod">
          <ac:chgData name="Ugo MANTEL" userId="2d5b7065-31bb-4181-a7f8-a73bf0c30211" providerId="ADAL" clId="{F05BB0D5-3454-45DC-8378-DA45B79D9A06}" dt="2020-10-02T13:04:34.527" v="3406" actId="790"/>
          <ac:spMkLst>
            <pc:docMk/>
            <pc:sldMk cId="2982811336" sldId="6703"/>
            <ac:spMk id="56" creationId="{36DD2CA0-A722-464A-B64E-770E91F0DBFC}"/>
          </ac:spMkLst>
        </pc:spChg>
        <pc:spChg chg="mod">
          <ac:chgData name="Ugo MANTEL" userId="2d5b7065-31bb-4181-a7f8-a73bf0c30211" providerId="ADAL" clId="{F05BB0D5-3454-45DC-8378-DA45B79D9A06}" dt="2020-10-02T13:04:34.527" v="3407" actId="790"/>
          <ac:spMkLst>
            <pc:docMk/>
            <pc:sldMk cId="2982811336" sldId="6703"/>
            <ac:spMk id="57" creationId="{419D619B-4B71-4E4A-848F-E459B8283809}"/>
          </ac:spMkLst>
        </pc:spChg>
        <pc:spChg chg="mod">
          <ac:chgData name="Ugo MANTEL" userId="2d5b7065-31bb-4181-a7f8-a73bf0c30211" providerId="ADAL" clId="{F05BB0D5-3454-45DC-8378-DA45B79D9A06}" dt="2020-10-02T13:04:34.518" v="3397" actId="790"/>
          <ac:spMkLst>
            <pc:docMk/>
            <pc:sldMk cId="2982811336" sldId="6703"/>
            <ac:spMk id="58" creationId="{7EED4CF3-DA51-4383-9304-A624EF3A602E}"/>
          </ac:spMkLst>
        </pc:spChg>
        <pc:spChg chg="mod">
          <ac:chgData name="Ugo MANTEL" userId="2d5b7065-31bb-4181-a7f8-a73bf0c30211" providerId="ADAL" clId="{F05BB0D5-3454-45DC-8378-DA45B79D9A06}" dt="2020-10-02T13:04:34.525" v="3403" actId="790"/>
          <ac:spMkLst>
            <pc:docMk/>
            <pc:sldMk cId="2982811336" sldId="6703"/>
            <ac:spMk id="60" creationId="{C52D6E29-2E27-4BB0-BE5B-DBB86E2A521C}"/>
          </ac:spMkLst>
        </pc:spChg>
        <pc:spChg chg="mod">
          <ac:chgData name="Ugo MANTEL" userId="2d5b7065-31bb-4181-a7f8-a73bf0c30211" providerId="ADAL" clId="{F05BB0D5-3454-45DC-8378-DA45B79D9A06}" dt="2020-10-02T13:04:34.528" v="3408" actId="790"/>
          <ac:spMkLst>
            <pc:docMk/>
            <pc:sldMk cId="2982811336" sldId="6703"/>
            <ac:spMk id="68" creationId="{59774376-3779-4DD3-AD19-55F78F7309B0}"/>
          </ac:spMkLst>
        </pc:spChg>
        <pc:spChg chg="mod">
          <ac:chgData name="Ugo MANTEL" userId="2d5b7065-31bb-4181-a7f8-a73bf0c30211" providerId="ADAL" clId="{F05BB0D5-3454-45DC-8378-DA45B79D9A06}" dt="2020-10-02T13:04:34.529" v="3409" actId="790"/>
          <ac:spMkLst>
            <pc:docMk/>
            <pc:sldMk cId="2982811336" sldId="6703"/>
            <ac:spMk id="70" creationId="{78E1728E-D7F0-47B0-BD54-8A8E37FEA275}"/>
          </ac:spMkLst>
        </pc:spChg>
        <pc:spChg chg="mod">
          <ac:chgData name="Ugo MANTEL" userId="2d5b7065-31bb-4181-a7f8-a73bf0c30211" providerId="ADAL" clId="{F05BB0D5-3454-45DC-8378-DA45B79D9A06}" dt="2020-10-02T13:04:34.531" v="3411" actId="790"/>
          <ac:spMkLst>
            <pc:docMk/>
            <pc:sldMk cId="2982811336" sldId="6703"/>
            <ac:spMk id="71" creationId="{13649359-9902-48DA-B55D-01749DCF3023}"/>
          </ac:spMkLst>
        </pc:spChg>
        <pc:spChg chg="mod">
          <ac:chgData name="Ugo MANTEL" userId="2d5b7065-31bb-4181-a7f8-a73bf0c30211" providerId="ADAL" clId="{F05BB0D5-3454-45DC-8378-DA45B79D9A06}" dt="2020-10-02T13:04:34.532" v="3412" actId="790"/>
          <ac:spMkLst>
            <pc:docMk/>
            <pc:sldMk cId="2982811336" sldId="6703"/>
            <ac:spMk id="72" creationId="{EEA9AAF1-D12F-492C-A463-DC3A28C7826D}"/>
          </ac:spMkLst>
        </pc:spChg>
        <pc:spChg chg="mod">
          <ac:chgData name="Ugo MANTEL" userId="2d5b7065-31bb-4181-a7f8-a73bf0c30211" providerId="ADAL" clId="{F05BB0D5-3454-45DC-8378-DA45B79D9A06}" dt="2020-10-05T15:10:14.579" v="10313" actId="57"/>
          <ac:spMkLst>
            <pc:docMk/>
            <pc:sldMk cId="2982811336" sldId="6703"/>
            <ac:spMk id="105" creationId="{D2B9FD11-2B87-4D59-8373-5A12D1F6CF63}"/>
          </ac:spMkLst>
        </pc:spChg>
        <pc:spChg chg="mod">
          <ac:chgData name="Ugo MANTEL" userId="2d5b7065-31bb-4181-a7f8-a73bf0c30211" providerId="ADAL" clId="{F05BB0D5-3454-45DC-8378-DA45B79D9A06}" dt="2020-10-02T13:04:34.522" v="3399" actId="790"/>
          <ac:spMkLst>
            <pc:docMk/>
            <pc:sldMk cId="2982811336" sldId="6703"/>
            <ac:spMk id="107" creationId="{2B60E5F0-2DC8-4891-8EC9-3AC450897E87}"/>
          </ac:spMkLst>
        </pc:spChg>
        <pc:spChg chg="mod">
          <ac:chgData name="Ugo MANTEL" userId="2d5b7065-31bb-4181-a7f8-a73bf0c30211" providerId="ADAL" clId="{F05BB0D5-3454-45DC-8378-DA45B79D9A06}" dt="2020-10-02T13:04:34.523" v="3400" actId="790"/>
          <ac:spMkLst>
            <pc:docMk/>
            <pc:sldMk cId="2982811336" sldId="6703"/>
            <ac:spMk id="109" creationId="{E8E4AA4A-DAC0-4E57-8325-693C08AEF10E}"/>
          </ac:spMkLst>
        </pc:spChg>
        <pc:spChg chg="mod">
          <ac:chgData name="Ugo MANTEL" userId="2d5b7065-31bb-4181-a7f8-a73bf0c30211" providerId="ADAL" clId="{F05BB0D5-3454-45DC-8378-DA45B79D9A06}" dt="2020-10-02T13:04:34.524" v="3401" actId="790"/>
          <ac:spMkLst>
            <pc:docMk/>
            <pc:sldMk cId="2982811336" sldId="6703"/>
            <ac:spMk id="111" creationId="{21199C27-F9A8-482D-866A-93060DEC2DF2}"/>
          </ac:spMkLst>
        </pc:spChg>
      </pc:sldChg>
      <pc:sldChg chg="modSp mod">
        <pc:chgData name="Ugo MANTEL" userId="2d5b7065-31bb-4181-a7f8-a73bf0c30211" providerId="ADAL" clId="{F05BB0D5-3454-45DC-8378-DA45B79D9A06}" dt="2020-10-02T13:04:35.480" v="4357" actId="790"/>
        <pc:sldMkLst>
          <pc:docMk/>
          <pc:sldMk cId="3832596698" sldId="6706"/>
        </pc:sldMkLst>
        <pc:spChg chg="mod">
          <ac:chgData name="Ugo MANTEL" userId="2d5b7065-31bb-4181-a7f8-a73bf0c30211" providerId="ADAL" clId="{F05BB0D5-3454-45DC-8378-DA45B79D9A06}" dt="2020-10-02T13:04:35.367" v="4334" actId="790"/>
          <ac:spMkLst>
            <pc:docMk/>
            <pc:sldMk cId="3832596698" sldId="6706"/>
            <ac:spMk id="3" creationId="{4F817FF3-93BE-4F06-BF48-8D8B26FE33D0}"/>
          </ac:spMkLst>
        </pc:spChg>
        <pc:spChg chg="mod">
          <ac:chgData name="Ugo MANTEL" userId="2d5b7065-31bb-4181-a7f8-a73bf0c30211" providerId="ADAL" clId="{F05BB0D5-3454-45DC-8378-DA45B79D9A06}" dt="2020-10-02T13:04:35.438" v="4337" actId="790"/>
          <ac:spMkLst>
            <pc:docMk/>
            <pc:sldMk cId="3832596698" sldId="6706"/>
            <ac:spMk id="5" creationId="{014CF1B0-9A58-4FC5-9290-F77DAD37B5AF}"/>
          </ac:spMkLst>
        </pc:spChg>
        <pc:spChg chg="mod">
          <ac:chgData name="Ugo MANTEL" userId="2d5b7065-31bb-4181-a7f8-a73bf0c30211" providerId="ADAL" clId="{F05BB0D5-3454-45DC-8378-DA45B79D9A06}" dt="2020-10-02T13:04:35.443" v="4340" actId="790"/>
          <ac:spMkLst>
            <pc:docMk/>
            <pc:sldMk cId="3832596698" sldId="6706"/>
            <ac:spMk id="6" creationId="{D5FF0079-9415-4118-9D35-DD6D96468727}"/>
          </ac:spMkLst>
        </pc:spChg>
        <pc:spChg chg="mod">
          <ac:chgData name="Ugo MANTEL" userId="2d5b7065-31bb-4181-a7f8-a73bf0c30211" providerId="ADAL" clId="{F05BB0D5-3454-45DC-8378-DA45B79D9A06}" dt="2020-10-02T13:04:35.448" v="4343" actId="790"/>
          <ac:spMkLst>
            <pc:docMk/>
            <pc:sldMk cId="3832596698" sldId="6706"/>
            <ac:spMk id="12" creationId="{D6A42CBF-BEF5-412E-A717-49945E9D96F8}"/>
          </ac:spMkLst>
        </pc:spChg>
        <pc:spChg chg="mod">
          <ac:chgData name="Ugo MANTEL" userId="2d5b7065-31bb-4181-a7f8-a73bf0c30211" providerId="ADAL" clId="{F05BB0D5-3454-45DC-8378-DA45B79D9A06}" dt="2020-10-02T13:04:35.441" v="4338" actId="790"/>
          <ac:spMkLst>
            <pc:docMk/>
            <pc:sldMk cId="3832596698" sldId="6706"/>
            <ac:spMk id="17" creationId="{5C6C1BA9-95BC-432F-8C2A-ED1A5A11E7EA}"/>
          </ac:spMkLst>
        </pc:spChg>
        <pc:spChg chg="mod">
          <ac:chgData name="Ugo MANTEL" userId="2d5b7065-31bb-4181-a7f8-a73bf0c30211" providerId="ADAL" clId="{F05BB0D5-3454-45DC-8378-DA45B79D9A06}" dt="2020-10-02T13:04:35.442" v="4339" actId="790"/>
          <ac:spMkLst>
            <pc:docMk/>
            <pc:sldMk cId="3832596698" sldId="6706"/>
            <ac:spMk id="19" creationId="{75099653-278E-4F2C-B6CF-303DA699E52B}"/>
          </ac:spMkLst>
        </pc:spChg>
        <pc:spChg chg="mod">
          <ac:chgData name="Ugo MANTEL" userId="2d5b7065-31bb-4181-a7f8-a73bf0c30211" providerId="ADAL" clId="{F05BB0D5-3454-45DC-8378-DA45B79D9A06}" dt="2020-10-02T13:04:35.369" v="4335" actId="790"/>
          <ac:spMkLst>
            <pc:docMk/>
            <pc:sldMk cId="3832596698" sldId="6706"/>
            <ac:spMk id="23" creationId="{8A459DC7-09AC-44BF-A728-79912313FFFA}"/>
          </ac:spMkLst>
        </pc:spChg>
        <pc:spChg chg="mod">
          <ac:chgData name="Ugo MANTEL" userId="2d5b7065-31bb-4181-a7f8-a73bf0c30211" providerId="ADAL" clId="{F05BB0D5-3454-45DC-8378-DA45B79D9A06}" dt="2020-10-02T13:04:35.370" v="4336" actId="790"/>
          <ac:spMkLst>
            <pc:docMk/>
            <pc:sldMk cId="3832596698" sldId="6706"/>
            <ac:spMk id="24" creationId="{DDDB4857-B6CD-454B-A731-46D73ED06CF3}"/>
          </ac:spMkLst>
        </pc:spChg>
        <pc:spChg chg="mod">
          <ac:chgData name="Ugo MANTEL" userId="2d5b7065-31bb-4181-a7f8-a73bf0c30211" providerId="ADAL" clId="{F05BB0D5-3454-45DC-8378-DA45B79D9A06}" dt="2020-10-02T13:04:35.443" v="4341" actId="790"/>
          <ac:spMkLst>
            <pc:docMk/>
            <pc:sldMk cId="3832596698" sldId="6706"/>
            <ac:spMk id="25" creationId="{E041A2CC-1278-4B6D-A2F0-53E03E5318C0}"/>
          </ac:spMkLst>
        </pc:spChg>
        <pc:spChg chg="mod">
          <ac:chgData name="Ugo MANTEL" userId="2d5b7065-31bb-4181-a7f8-a73bf0c30211" providerId="ADAL" clId="{F05BB0D5-3454-45DC-8378-DA45B79D9A06}" dt="2020-10-02T13:04:35.444" v="4342" actId="790"/>
          <ac:spMkLst>
            <pc:docMk/>
            <pc:sldMk cId="3832596698" sldId="6706"/>
            <ac:spMk id="26" creationId="{A45D0269-8518-45D9-ABA9-5F08D744CE29}"/>
          </ac:spMkLst>
        </pc:spChg>
        <pc:spChg chg="mod">
          <ac:chgData name="Ugo MANTEL" userId="2d5b7065-31bb-4181-a7f8-a73bf0c30211" providerId="ADAL" clId="{F05BB0D5-3454-45DC-8378-DA45B79D9A06}" dt="2020-10-02T13:04:35.449" v="4344" actId="790"/>
          <ac:spMkLst>
            <pc:docMk/>
            <pc:sldMk cId="3832596698" sldId="6706"/>
            <ac:spMk id="27" creationId="{F404A29A-A1A1-4D49-8D3D-B0CC9AAA6C7F}"/>
          </ac:spMkLst>
        </pc:spChg>
        <pc:spChg chg="mod">
          <ac:chgData name="Ugo MANTEL" userId="2d5b7065-31bb-4181-a7f8-a73bf0c30211" providerId="ADAL" clId="{F05BB0D5-3454-45DC-8378-DA45B79D9A06}" dt="2020-10-02T13:04:35.452" v="4345" actId="790"/>
          <ac:spMkLst>
            <pc:docMk/>
            <pc:sldMk cId="3832596698" sldId="6706"/>
            <ac:spMk id="28" creationId="{BC20079B-C8A7-46D6-89B1-13ACF45EC29E}"/>
          </ac:spMkLst>
        </pc:spChg>
        <pc:spChg chg="mod">
          <ac:chgData name="Ugo MANTEL" userId="2d5b7065-31bb-4181-a7f8-a73bf0c30211" providerId="ADAL" clId="{F05BB0D5-3454-45DC-8378-DA45B79D9A06}" dt="2020-10-02T13:04:35.452" v="4346" actId="790"/>
          <ac:spMkLst>
            <pc:docMk/>
            <pc:sldMk cId="3832596698" sldId="6706"/>
            <ac:spMk id="32" creationId="{D026FA8A-780D-479E-8E0A-317AE7598A7D}"/>
          </ac:spMkLst>
        </pc:spChg>
        <pc:spChg chg="mod">
          <ac:chgData name="Ugo MANTEL" userId="2d5b7065-31bb-4181-a7f8-a73bf0c30211" providerId="ADAL" clId="{F05BB0D5-3454-45DC-8378-DA45B79D9A06}" dt="2020-10-02T13:04:35.454" v="4348" actId="790"/>
          <ac:spMkLst>
            <pc:docMk/>
            <pc:sldMk cId="3832596698" sldId="6706"/>
            <ac:spMk id="35" creationId="{4393F08B-F360-4114-9144-F6F81BBDB9E2}"/>
          </ac:spMkLst>
        </pc:spChg>
        <pc:spChg chg="mod">
          <ac:chgData name="Ugo MANTEL" userId="2d5b7065-31bb-4181-a7f8-a73bf0c30211" providerId="ADAL" clId="{F05BB0D5-3454-45DC-8378-DA45B79D9A06}" dt="2020-10-02T13:04:35.453" v="4347" actId="790"/>
          <ac:spMkLst>
            <pc:docMk/>
            <pc:sldMk cId="3832596698" sldId="6706"/>
            <ac:spMk id="37" creationId="{DCBA344A-89F0-4A9E-AF05-982AED251C1B}"/>
          </ac:spMkLst>
        </pc:spChg>
        <pc:spChg chg="mod">
          <ac:chgData name="Ugo MANTEL" userId="2d5b7065-31bb-4181-a7f8-a73bf0c30211" providerId="ADAL" clId="{F05BB0D5-3454-45DC-8378-DA45B79D9A06}" dt="2020-10-02T13:04:35.454" v="4349" actId="790"/>
          <ac:spMkLst>
            <pc:docMk/>
            <pc:sldMk cId="3832596698" sldId="6706"/>
            <ac:spMk id="38" creationId="{288C4FF0-58D1-403E-AAFA-C9B3DBAA5114}"/>
          </ac:spMkLst>
        </pc:spChg>
        <pc:spChg chg="mod">
          <ac:chgData name="Ugo MANTEL" userId="2d5b7065-31bb-4181-a7f8-a73bf0c30211" providerId="ADAL" clId="{F05BB0D5-3454-45DC-8378-DA45B79D9A06}" dt="2020-10-02T13:04:35.455" v="4350" actId="790"/>
          <ac:spMkLst>
            <pc:docMk/>
            <pc:sldMk cId="3832596698" sldId="6706"/>
            <ac:spMk id="39" creationId="{5C214B5A-57AB-4E17-A6F2-A3F69EA2189F}"/>
          </ac:spMkLst>
        </pc:spChg>
        <pc:spChg chg="mod">
          <ac:chgData name="Ugo MANTEL" userId="2d5b7065-31bb-4181-a7f8-a73bf0c30211" providerId="ADAL" clId="{F05BB0D5-3454-45DC-8378-DA45B79D9A06}" dt="2020-10-02T13:04:35.456" v="4351" actId="790"/>
          <ac:spMkLst>
            <pc:docMk/>
            <pc:sldMk cId="3832596698" sldId="6706"/>
            <ac:spMk id="40" creationId="{114913A6-B2F7-49ED-8405-7A3A95F41F89}"/>
          </ac:spMkLst>
        </pc:spChg>
        <pc:spChg chg="mod">
          <ac:chgData name="Ugo MANTEL" userId="2d5b7065-31bb-4181-a7f8-a73bf0c30211" providerId="ADAL" clId="{F05BB0D5-3454-45DC-8378-DA45B79D9A06}" dt="2020-10-02T13:04:35.457" v="4352" actId="790"/>
          <ac:spMkLst>
            <pc:docMk/>
            <pc:sldMk cId="3832596698" sldId="6706"/>
            <ac:spMk id="41" creationId="{C3F9F24C-C121-4A29-890E-2329FCFF88E8}"/>
          </ac:spMkLst>
        </pc:spChg>
        <pc:spChg chg="mod">
          <ac:chgData name="Ugo MANTEL" userId="2d5b7065-31bb-4181-a7f8-a73bf0c30211" providerId="ADAL" clId="{F05BB0D5-3454-45DC-8378-DA45B79D9A06}" dt="2020-10-02T13:04:35.457" v="4353" actId="790"/>
          <ac:spMkLst>
            <pc:docMk/>
            <pc:sldMk cId="3832596698" sldId="6706"/>
            <ac:spMk id="46" creationId="{4153E6E1-171C-4F42-9C6E-6EAD280A8C60}"/>
          </ac:spMkLst>
        </pc:spChg>
        <pc:spChg chg="mod">
          <ac:chgData name="Ugo MANTEL" userId="2d5b7065-31bb-4181-a7f8-a73bf0c30211" providerId="ADAL" clId="{F05BB0D5-3454-45DC-8378-DA45B79D9A06}" dt="2020-10-02T13:04:35.461" v="4356" actId="790"/>
          <ac:spMkLst>
            <pc:docMk/>
            <pc:sldMk cId="3832596698" sldId="6706"/>
            <ac:spMk id="49" creationId="{BCAFD85F-338D-4A8A-BA51-4AA534A0AE74}"/>
          </ac:spMkLst>
        </pc:spChg>
        <pc:spChg chg="mod">
          <ac:chgData name="Ugo MANTEL" userId="2d5b7065-31bb-4181-a7f8-a73bf0c30211" providerId="ADAL" clId="{F05BB0D5-3454-45DC-8378-DA45B79D9A06}" dt="2020-10-02T13:04:35.459" v="4354" actId="790"/>
          <ac:spMkLst>
            <pc:docMk/>
            <pc:sldMk cId="3832596698" sldId="6706"/>
            <ac:spMk id="50" creationId="{A77F0CF3-1794-491A-9951-D4387D4A441A}"/>
          </ac:spMkLst>
        </pc:spChg>
        <pc:spChg chg="mod">
          <ac:chgData name="Ugo MANTEL" userId="2d5b7065-31bb-4181-a7f8-a73bf0c30211" providerId="ADAL" clId="{F05BB0D5-3454-45DC-8378-DA45B79D9A06}" dt="2020-10-02T13:04:35.460" v="4355" actId="790"/>
          <ac:spMkLst>
            <pc:docMk/>
            <pc:sldMk cId="3832596698" sldId="6706"/>
            <ac:spMk id="51" creationId="{A063EF1D-84F8-4558-8653-3C41E985B077}"/>
          </ac:spMkLst>
        </pc:spChg>
        <pc:spChg chg="mod">
          <ac:chgData name="Ugo MANTEL" userId="2d5b7065-31bb-4181-a7f8-a73bf0c30211" providerId="ADAL" clId="{F05BB0D5-3454-45DC-8378-DA45B79D9A06}" dt="2020-10-02T13:04:35.480" v="4357" actId="790"/>
          <ac:spMkLst>
            <pc:docMk/>
            <pc:sldMk cId="3832596698" sldId="6706"/>
            <ac:spMk id="53" creationId="{9175CAA3-C14C-4E56-B174-06DC2A877E97}"/>
          </ac:spMkLst>
        </pc:spChg>
      </pc:sldChg>
      <pc:sldChg chg="modSp mod">
        <pc:chgData name="Ugo MANTEL" userId="2d5b7065-31bb-4181-a7f8-a73bf0c30211" providerId="ADAL" clId="{F05BB0D5-3454-45DC-8378-DA45B79D9A06}" dt="2020-10-02T13:04:36.099" v="4808" actId="790"/>
        <pc:sldMkLst>
          <pc:docMk/>
          <pc:sldMk cId="1848653610" sldId="6709"/>
        </pc:sldMkLst>
        <pc:spChg chg="mod">
          <ac:chgData name="Ugo MANTEL" userId="2d5b7065-31bb-4181-a7f8-a73bf0c30211" providerId="ADAL" clId="{F05BB0D5-3454-45DC-8378-DA45B79D9A06}" dt="2020-10-02T13:04:36.063" v="4788" actId="790"/>
          <ac:spMkLst>
            <pc:docMk/>
            <pc:sldMk cId="1848653610" sldId="6709"/>
            <ac:spMk id="3" creationId="{749645C0-D71E-4419-A046-E4F0F7BD4BE9}"/>
          </ac:spMkLst>
        </pc:spChg>
        <pc:spChg chg="mod">
          <ac:chgData name="Ugo MANTEL" userId="2d5b7065-31bb-4181-a7f8-a73bf0c30211" providerId="ADAL" clId="{F05BB0D5-3454-45DC-8378-DA45B79D9A06}" dt="2020-10-02T13:04:36.064" v="4789" actId="790"/>
          <ac:spMkLst>
            <pc:docMk/>
            <pc:sldMk cId="1848653610" sldId="6709"/>
            <ac:spMk id="5" creationId="{CAFEC213-0BEB-4B7C-9AA8-7D33A6C5729C}"/>
          </ac:spMkLst>
        </pc:spChg>
        <pc:spChg chg="mod">
          <ac:chgData name="Ugo MANTEL" userId="2d5b7065-31bb-4181-a7f8-a73bf0c30211" providerId="ADAL" clId="{F05BB0D5-3454-45DC-8378-DA45B79D9A06}" dt="2020-10-02T13:04:36.061" v="4787" actId="790"/>
          <ac:spMkLst>
            <pc:docMk/>
            <pc:sldMk cId="1848653610" sldId="6709"/>
            <ac:spMk id="6" creationId="{AB6E85AE-BA00-478C-8758-6A1D12D075B3}"/>
          </ac:spMkLst>
        </pc:spChg>
        <pc:spChg chg="mod">
          <ac:chgData name="Ugo MANTEL" userId="2d5b7065-31bb-4181-a7f8-a73bf0c30211" providerId="ADAL" clId="{F05BB0D5-3454-45DC-8378-DA45B79D9A06}" dt="2020-10-02T13:04:36.074" v="4790" actId="790"/>
          <ac:spMkLst>
            <pc:docMk/>
            <pc:sldMk cId="1848653610" sldId="6709"/>
            <ac:spMk id="7" creationId="{9F1D5B12-40D5-4CD7-81BA-C240BA3209E7}"/>
          </ac:spMkLst>
        </pc:spChg>
        <pc:spChg chg="mod">
          <ac:chgData name="Ugo MANTEL" userId="2d5b7065-31bb-4181-a7f8-a73bf0c30211" providerId="ADAL" clId="{F05BB0D5-3454-45DC-8378-DA45B79D9A06}" dt="2020-10-02T13:04:36.080" v="4791" actId="790"/>
          <ac:spMkLst>
            <pc:docMk/>
            <pc:sldMk cId="1848653610" sldId="6709"/>
            <ac:spMk id="8" creationId="{6093F9A6-3DB2-451A-BB85-44416A2C98D5}"/>
          </ac:spMkLst>
        </pc:spChg>
        <pc:spChg chg="mod">
          <ac:chgData name="Ugo MANTEL" userId="2d5b7065-31bb-4181-a7f8-a73bf0c30211" providerId="ADAL" clId="{F05BB0D5-3454-45DC-8378-DA45B79D9A06}" dt="2020-10-02T13:04:36.083" v="4792" actId="790"/>
          <ac:spMkLst>
            <pc:docMk/>
            <pc:sldMk cId="1848653610" sldId="6709"/>
            <ac:spMk id="14" creationId="{4C3CBB5F-9FCD-461F-A027-07F7D5248298}"/>
          </ac:spMkLst>
        </pc:spChg>
        <pc:spChg chg="mod">
          <ac:chgData name="Ugo MANTEL" userId="2d5b7065-31bb-4181-a7f8-a73bf0c30211" providerId="ADAL" clId="{F05BB0D5-3454-45DC-8378-DA45B79D9A06}" dt="2020-10-02T13:04:36.085" v="4793" actId="790"/>
          <ac:spMkLst>
            <pc:docMk/>
            <pc:sldMk cId="1848653610" sldId="6709"/>
            <ac:spMk id="18" creationId="{B3283C3D-BCB0-48FF-AAD7-18F8A57B5158}"/>
          </ac:spMkLst>
        </pc:spChg>
        <pc:spChg chg="mod">
          <ac:chgData name="Ugo MANTEL" userId="2d5b7065-31bb-4181-a7f8-a73bf0c30211" providerId="ADAL" clId="{F05BB0D5-3454-45DC-8378-DA45B79D9A06}" dt="2020-10-02T13:04:36.086" v="4794" actId="790"/>
          <ac:spMkLst>
            <pc:docMk/>
            <pc:sldMk cId="1848653610" sldId="6709"/>
            <ac:spMk id="21" creationId="{7F22CD3E-CB56-4B91-9899-7AB3B25DDACB}"/>
          </ac:spMkLst>
        </pc:spChg>
        <pc:spChg chg="mod">
          <ac:chgData name="Ugo MANTEL" userId="2d5b7065-31bb-4181-a7f8-a73bf0c30211" providerId="ADAL" clId="{F05BB0D5-3454-45DC-8378-DA45B79D9A06}" dt="2020-10-02T13:04:36.096" v="4804" actId="790"/>
          <ac:spMkLst>
            <pc:docMk/>
            <pc:sldMk cId="1848653610" sldId="6709"/>
            <ac:spMk id="34" creationId="{910822C5-1E53-480C-B639-86AAE7C9499F}"/>
          </ac:spMkLst>
        </pc:spChg>
        <pc:spChg chg="mod">
          <ac:chgData name="Ugo MANTEL" userId="2d5b7065-31bb-4181-a7f8-a73bf0c30211" providerId="ADAL" clId="{F05BB0D5-3454-45DC-8378-DA45B79D9A06}" dt="2020-10-02T13:04:36.096" v="4805" actId="790"/>
          <ac:spMkLst>
            <pc:docMk/>
            <pc:sldMk cId="1848653610" sldId="6709"/>
            <ac:spMk id="35" creationId="{A050E8B8-132D-4F34-AE5B-10FC91A1698C}"/>
          </ac:spMkLst>
        </pc:spChg>
        <pc:spChg chg="mod">
          <ac:chgData name="Ugo MANTEL" userId="2d5b7065-31bb-4181-a7f8-a73bf0c30211" providerId="ADAL" clId="{F05BB0D5-3454-45DC-8378-DA45B79D9A06}" dt="2020-10-02T13:04:36.097" v="4806" actId="790"/>
          <ac:spMkLst>
            <pc:docMk/>
            <pc:sldMk cId="1848653610" sldId="6709"/>
            <ac:spMk id="37" creationId="{13FC00AE-2580-4BE2-9757-EB8EEDAB65C6}"/>
          </ac:spMkLst>
        </pc:spChg>
        <pc:spChg chg="mod">
          <ac:chgData name="Ugo MANTEL" userId="2d5b7065-31bb-4181-a7f8-a73bf0c30211" providerId="ADAL" clId="{F05BB0D5-3454-45DC-8378-DA45B79D9A06}" dt="2020-10-02T13:04:36.098" v="4807" actId="790"/>
          <ac:spMkLst>
            <pc:docMk/>
            <pc:sldMk cId="1848653610" sldId="6709"/>
            <ac:spMk id="38" creationId="{1342BD81-47F9-4365-BDAB-01B72C23CFB1}"/>
          </ac:spMkLst>
        </pc:spChg>
        <pc:spChg chg="mod">
          <ac:chgData name="Ugo MANTEL" userId="2d5b7065-31bb-4181-a7f8-a73bf0c30211" providerId="ADAL" clId="{F05BB0D5-3454-45DC-8378-DA45B79D9A06}" dt="2020-10-02T13:04:36.088" v="4795" actId="790"/>
          <ac:spMkLst>
            <pc:docMk/>
            <pc:sldMk cId="1848653610" sldId="6709"/>
            <ac:spMk id="41" creationId="{419639F0-D4AD-48B6-BAAF-248E0D9E3FB7}"/>
          </ac:spMkLst>
        </pc:spChg>
        <pc:spChg chg="mod">
          <ac:chgData name="Ugo MANTEL" userId="2d5b7065-31bb-4181-a7f8-a73bf0c30211" providerId="ADAL" clId="{F05BB0D5-3454-45DC-8378-DA45B79D9A06}" dt="2020-10-02T13:04:36.089" v="4796" actId="790"/>
          <ac:spMkLst>
            <pc:docMk/>
            <pc:sldMk cId="1848653610" sldId="6709"/>
            <ac:spMk id="42" creationId="{CDBDB0EC-E1C6-4827-8AE1-545CBFC778A4}"/>
          </ac:spMkLst>
        </pc:spChg>
        <pc:spChg chg="mod">
          <ac:chgData name="Ugo MANTEL" userId="2d5b7065-31bb-4181-a7f8-a73bf0c30211" providerId="ADAL" clId="{F05BB0D5-3454-45DC-8378-DA45B79D9A06}" dt="2020-10-02T13:04:36.090" v="4797" actId="790"/>
          <ac:spMkLst>
            <pc:docMk/>
            <pc:sldMk cId="1848653610" sldId="6709"/>
            <ac:spMk id="43" creationId="{499665C9-2472-4A5A-B24F-169EE4A305B6}"/>
          </ac:spMkLst>
        </pc:spChg>
        <pc:spChg chg="mod">
          <ac:chgData name="Ugo MANTEL" userId="2d5b7065-31bb-4181-a7f8-a73bf0c30211" providerId="ADAL" clId="{F05BB0D5-3454-45DC-8378-DA45B79D9A06}" dt="2020-10-02T13:04:36.091" v="4798" actId="790"/>
          <ac:spMkLst>
            <pc:docMk/>
            <pc:sldMk cId="1848653610" sldId="6709"/>
            <ac:spMk id="44" creationId="{A73321B8-C8D5-4F5A-826F-40E2303CDE34}"/>
          </ac:spMkLst>
        </pc:spChg>
        <pc:spChg chg="mod">
          <ac:chgData name="Ugo MANTEL" userId="2d5b7065-31bb-4181-a7f8-a73bf0c30211" providerId="ADAL" clId="{F05BB0D5-3454-45DC-8378-DA45B79D9A06}" dt="2020-10-02T13:04:36.092" v="4799" actId="790"/>
          <ac:spMkLst>
            <pc:docMk/>
            <pc:sldMk cId="1848653610" sldId="6709"/>
            <ac:spMk id="45" creationId="{7265AB18-14D4-41F6-9C06-79305C1EAC13}"/>
          </ac:spMkLst>
        </pc:spChg>
        <pc:spChg chg="mod">
          <ac:chgData name="Ugo MANTEL" userId="2d5b7065-31bb-4181-a7f8-a73bf0c30211" providerId="ADAL" clId="{F05BB0D5-3454-45DC-8378-DA45B79D9A06}" dt="2020-10-02T13:04:36.092" v="4800" actId="790"/>
          <ac:spMkLst>
            <pc:docMk/>
            <pc:sldMk cId="1848653610" sldId="6709"/>
            <ac:spMk id="46" creationId="{CBCBE8C9-B114-4AAA-9559-F42B35511F75}"/>
          </ac:spMkLst>
        </pc:spChg>
        <pc:spChg chg="mod">
          <ac:chgData name="Ugo MANTEL" userId="2d5b7065-31bb-4181-a7f8-a73bf0c30211" providerId="ADAL" clId="{F05BB0D5-3454-45DC-8378-DA45B79D9A06}" dt="2020-10-02T13:04:36.093" v="4801" actId="790"/>
          <ac:spMkLst>
            <pc:docMk/>
            <pc:sldMk cId="1848653610" sldId="6709"/>
            <ac:spMk id="47" creationId="{77C53BBC-7A21-4528-A009-81980579015A}"/>
          </ac:spMkLst>
        </pc:spChg>
        <pc:spChg chg="mod">
          <ac:chgData name="Ugo MANTEL" userId="2d5b7065-31bb-4181-a7f8-a73bf0c30211" providerId="ADAL" clId="{F05BB0D5-3454-45DC-8378-DA45B79D9A06}" dt="2020-10-02T13:04:36.094" v="4802" actId="790"/>
          <ac:spMkLst>
            <pc:docMk/>
            <pc:sldMk cId="1848653610" sldId="6709"/>
            <ac:spMk id="48" creationId="{45FB1E45-4FE2-4FC5-B9F3-44374C503481}"/>
          </ac:spMkLst>
        </pc:spChg>
        <pc:spChg chg="mod">
          <ac:chgData name="Ugo MANTEL" userId="2d5b7065-31bb-4181-a7f8-a73bf0c30211" providerId="ADAL" clId="{F05BB0D5-3454-45DC-8378-DA45B79D9A06}" dt="2020-10-02T13:04:36.095" v="4803" actId="790"/>
          <ac:spMkLst>
            <pc:docMk/>
            <pc:sldMk cId="1848653610" sldId="6709"/>
            <ac:spMk id="54" creationId="{E861EEC6-182F-4839-BA5A-39F838B09559}"/>
          </ac:spMkLst>
        </pc:spChg>
        <pc:spChg chg="mod">
          <ac:chgData name="Ugo MANTEL" userId="2d5b7065-31bb-4181-a7f8-a73bf0c30211" providerId="ADAL" clId="{F05BB0D5-3454-45DC-8378-DA45B79D9A06}" dt="2020-10-02T13:04:36.099" v="4808" actId="790"/>
          <ac:spMkLst>
            <pc:docMk/>
            <pc:sldMk cId="1848653610" sldId="6709"/>
            <ac:spMk id="57" creationId="{E0B1074A-D6D4-4A1A-8DAC-A1EAADC06D96}"/>
          </ac:spMkLst>
        </pc:spChg>
      </pc:sldChg>
      <pc:sldChg chg="modSp mod">
        <pc:chgData name="Ugo MANTEL" userId="2d5b7065-31bb-4181-a7f8-a73bf0c30211" providerId="ADAL" clId="{F05BB0D5-3454-45DC-8378-DA45B79D9A06}" dt="2020-10-02T13:04:35.226" v="4224" actId="790"/>
        <pc:sldMkLst>
          <pc:docMk/>
          <pc:sldMk cId="1525157620" sldId="6714"/>
        </pc:sldMkLst>
        <pc:spChg chg="mod">
          <ac:chgData name="Ugo MANTEL" userId="2d5b7065-31bb-4181-a7f8-a73bf0c30211" providerId="ADAL" clId="{F05BB0D5-3454-45DC-8378-DA45B79D9A06}" dt="2020-10-02T13:04:35.219" v="4214" actId="790"/>
          <ac:spMkLst>
            <pc:docMk/>
            <pc:sldMk cId="1525157620" sldId="6714"/>
            <ac:spMk id="3" creationId="{D6E20E56-8E21-45E5-9FDC-86B657DE6502}"/>
          </ac:spMkLst>
        </pc:spChg>
        <pc:spChg chg="mod">
          <ac:chgData name="Ugo MANTEL" userId="2d5b7065-31bb-4181-a7f8-a73bf0c30211" providerId="ADAL" clId="{F05BB0D5-3454-45DC-8378-DA45B79D9A06}" dt="2020-10-02T13:04:35.205" v="4198" actId="790"/>
          <ac:spMkLst>
            <pc:docMk/>
            <pc:sldMk cId="1525157620" sldId="6714"/>
            <ac:spMk id="9" creationId="{0E4FDB76-96B2-4D7B-9438-FA0D003F401F}"/>
          </ac:spMkLst>
        </pc:spChg>
        <pc:spChg chg="mod">
          <ac:chgData name="Ugo MANTEL" userId="2d5b7065-31bb-4181-a7f8-a73bf0c30211" providerId="ADAL" clId="{F05BB0D5-3454-45DC-8378-DA45B79D9A06}" dt="2020-10-02T13:04:35.209" v="4201" actId="790"/>
          <ac:spMkLst>
            <pc:docMk/>
            <pc:sldMk cId="1525157620" sldId="6714"/>
            <ac:spMk id="13" creationId="{8B42516F-2F32-49F7-87A6-5517623875D9}"/>
          </ac:spMkLst>
        </pc:spChg>
        <pc:spChg chg="mod">
          <ac:chgData name="Ugo MANTEL" userId="2d5b7065-31bb-4181-a7f8-a73bf0c30211" providerId="ADAL" clId="{F05BB0D5-3454-45DC-8378-DA45B79D9A06}" dt="2020-10-02T13:04:35.221" v="4216" actId="790"/>
          <ac:spMkLst>
            <pc:docMk/>
            <pc:sldMk cId="1525157620" sldId="6714"/>
            <ac:spMk id="15" creationId="{83AD9294-4994-4A98-BCC4-928852A67358}"/>
          </ac:spMkLst>
        </pc:spChg>
        <pc:spChg chg="mod">
          <ac:chgData name="Ugo MANTEL" userId="2d5b7065-31bb-4181-a7f8-a73bf0c30211" providerId="ADAL" clId="{F05BB0D5-3454-45DC-8378-DA45B79D9A06}" dt="2020-10-02T13:04:35.206" v="4199" actId="790"/>
          <ac:spMkLst>
            <pc:docMk/>
            <pc:sldMk cId="1525157620" sldId="6714"/>
            <ac:spMk id="17" creationId="{DA7EB334-4E23-4A52-9B24-501C78E807EB}"/>
          </ac:spMkLst>
        </pc:spChg>
        <pc:spChg chg="mod">
          <ac:chgData name="Ugo MANTEL" userId="2d5b7065-31bb-4181-a7f8-a73bf0c30211" providerId="ADAL" clId="{F05BB0D5-3454-45DC-8378-DA45B79D9A06}" dt="2020-10-02T13:04:35.208" v="4200" actId="790"/>
          <ac:spMkLst>
            <pc:docMk/>
            <pc:sldMk cId="1525157620" sldId="6714"/>
            <ac:spMk id="37" creationId="{68ADE3A2-A098-4350-8C54-7492519B587D}"/>
          </ac:spMkLst>
        </pc:spChg>
        <pc:spChg chg="mod">
          <ac:chgData name="Ugo MANTEL" userId="2d5b7065-31bb-4181-a7f8-a73bf0c30211" providerId="ADAL" clId="{F05BB0D5-3454-45DC-8378-DA45B79D9A06}" dt="2020-10-02T13:04:35.218" v="4212" actId="790"/>
          <ac:spMkLst>
            <pc:docMk/>
            <pc:sldMk cId="1525157620" sldId="6714"/>
            <ac:spMk id="52" creationId="{75909ACF-7330-41EF-95C1-413FB0C18307}"/>
          </ac:spMkLst>
        </pc:spChg>
        <pc:spChg chg="mod">
          <ac:chgData name="Ugo MANTEL" userId="2d5b7065-31bb-4181-a7f8-a73bf0c30211" providerId="ADAL" clId="{F05BB0D5-3454-45DC-8378-DA45B79D9A06}" dt="2020-10-02T13:04:35.218" v="4213" actId="790"/>
          <ac:spMkLst>
            <pc:docMk/>
            <pc:sldMk cId="1525157620" sldId="6714"/>
            <ac:spMk id="53" creationId="{FB45F596-2944-470E-9873-81B0F53910DF}"/>
          </ac:spMkLst>
        </pc:spChg>
        <pc:spChg chg="mod">
          <ac:chgData name="Ugo MANTEL" userId="2d5b7065-31bb-4181-a7f8-a73bf0c30211" providerId="ADAL" clId="{F05BB0D5-3454-45DC-8378-DA45B79D9A06}" dt="2020-10-02T13:04:35.211" v="4203" actId="790"/>
          <ac:spMkLst>
            <pc:docMk/>
            <pc:sldMk cId="1525157620" sldId="6714"/>
            <ac:spMk id="59" creationId="{38BEDF64-6976-49A4-86EF-4BC84627E963}"/>
          </ac:spMkLst>
        </pc:spChg>
        <pc:spChg chg="mod">
          <ac:chgData name="Ugo MANTEL" userId="2d5b7065-31bb-4181-a7f8-a73bf0c30211" providerId="ADAL" clId="{F05BB0D5-3454-45DC-8378-DA45B79D9A06}" dt="2020-10-02T13:04:35.210" v="4202" actId="790"/>
          <ac:spMkLst>
            <pc:docMk/>
            <pc:sldMk cId="1525157620" sldId="6714"/>
            <ac:spMk id="61" creationId="{71394C2D-6D59-4237-A19B-A41C2AF96069}"/>
          </ac:spMkLst>
        </pc:spChg>
        <pc:spChg chg="mod">
          <ac:chgData name="Ugo MANTEL" userId="2d5b7065-31bb-4181-a7f8-a73bf0c30211" providerId="ADAL" clId="{F05BB0D5-3454-45DC-8378-DA45B79D9A06}" dt="2020-10-02T13:04:35.222" v="4218" actId="790"/>
          <ac:spMkLst>
            <pc:docMk/>
            <pc:sldMk cId="1525157620" sldId="6714"/>
            <ac:spMk id="62" creationId="{26563643-05D6-49FC-AB73-20317CED2306}"/>
          </ac:spMkLst>
        </pc:spChg>
        <pc:spChg chg="mod">
          <ac:chgData name="Ugo MANTEL" userId="2d5b7065-31bb-4181-a7f8-a73bf0c30211" providerId="ADAL" clId="{F05BB0D5-3454-45DC-8378-DA45B79D9A06}" dt="2020-10-02T13:04:35.212" v="4205" actId="790"/>
          <ac:spMkLst>
            <pc:docMk/>
            <pc:sldMk cId="1525157620" sldId="6714"/>
            <ac:spMk id="63" creationId="{5EC73E46-A95F-4A18-A76F-315C27B3959B}"/>
          </ac:spMkLst>
        </pc:spChg>
        <pc:spChg chg="mod">
          <ac:chgData name="Ugo MANTEL" userId="2d5b7065-31bb-4181-a7f8-a73bf0c30211" providerId="ADAL" clId="{F05BB0D5-3454-45DC-8378-DA45B79D9A06}" dt="2020-10-02T13:04:35.221" v="4217" actId="790"/>
          <ac:spMkLst>
            <pc:docMk/>
            <pc:sldMk cId="1525157620" sldId="6714"/>
            <ac:spMk id="66" creationId="{99389CE3-923F-4328-947B-2FD093040232}"/>
          </ac:spMkLst>
        </pc:spChg>
        <pc:spChg chg="mod">
          <ac:chgData name="Ugo MANTEL" userId="2d5b7065-31bb-4181-a7f8-a73bf0c30211" providerId="ADAL" clId="{F05BB0D5-3454-45DC-8378-DA45B79D9A06}" dt="2020-10-02T13:04:35.220" v="4215" actId="790"/>
          <ac:spMkLst>
            <pc:docMk/>
            <pc:sldMk cId="1525157620" sldId="6714"/>
            <ac:spMk id="70" creationId="{A3A63D91-18A3-487E-ACA1-73EBCAFF971B}"/>
          </ac:spMkLst>
        </pc:spChg>
        <pc:spChg chg="mod">
          <ac:chgData name="Ugo MANTEL" userId="2d5b7065-31bb-4181-a7f8-a73bf0c30211" providerId="ADAL" clId="{F05BB0D5-3454-45DC-8378-DA45B79D9A06}" dt="2020-10-02T13:04:35.223" v="4220" actId="790"/>
          <ac:spMkLst>
            <pc:docMk/>
            <pc:sldMk cId="1525157620" sldId="6714"/>
            <ac:spMk id="72" creationId="{1F216F53-B0E6-430E-B3E1-D1AD12E7E86B}"/>
          </ac:spMkLst>
        </pc:spChg>
        <pc:spChg chg="mod">
          <ac:chgData name="Ugo MANTEL" userId="2d5b7065-31bb-4181-a7f8-a73bf0c30211" providerId="ADAL" clId="{F05BB0D5-3454-45DC-8378-DA45B79D9A06}" dt="2020-10-02T13:04:35.224" v="4221" actId="790"/>
          <ac:spMkLst>
            <pc:docMk/>
            <pc:sldMk cId="1525157620" sldId="6714"/>
            <ac:spMk id="73" creationId="{65F0DB8F-A647-4E0A-809F-8E7D2D69DCFD}"/>
          </ac:spMkLst>
        </pc:spChg>
        <pc:spChg chg="mod">
          <ac:chgData name="Ugo MANTEL" userId="2d5b7065-31bb-4181-a7f8-a73bf0c30211" providerId="ADAL" clId="{F05BB0D5-3454-45DC-8378-DA45B79D9A06}" dt="2020-10-02T13:04:35.225" v="4222" actId="790"/>
          <ac:spMkLst>
            <pc:docMk/>
            <pc:sldMk cId="1525157620" sldId="6714"/>
            <ac:spMk id="74" creationId="{E4B7964B-A26C-4CBD-96D3-0D0DC486F0A8}"/>
          </ac:spMkLst>
        </pc:spChg>
        <pc:spChg chg="mod">
          <ac:chgData name="Ugo MANTEL" userId="2d5b7065-31bb-4181-a7f8-a73bf0c30211" providerId="ADAL" clId="{F05BB0D5-3454-45DC-8378-DA45B79D9A06}" dt="2020-10-02T13:04:35.226" v="4223" actId="790"/>
          <ac:spMkLst>
            <pc:docMk/>
            <pc:sldMk cId="1525157620" sldId="6714"/>
            <ac:spMk id="75" creationId="{0F9D7677-4575-411D-80E4-1196D461DF1E}"/>
          </ac:spMkLst>
        </pc:spChg>
        <pc:spChg chg="mod">
          <ac:chgData name="Ugo MANTEL" userId="2d5b7065-31bb-4181-a7f8-a73bf0c30211" providerId="ADAL" clId="{F05BB0D5-3454-45DC-8378-DA45B79D9A06}" dt="2020-10-02T13:04:35.212" v="4204" actId="790"/>
          <ac:spMkLst>
            <pc:docMk/>
            <pc:sldMk cId="1525157620" sldId="6714"/>
            <ac:spMk id="78" creationId="{46829F03-300B-44E3-A821-80002E83A25A}"/>
          </ac:spMkLst>
        </pc:spChg>
        <pc:spChg chg="mod">
          <ac:chgData name="Ugo MANTEL" userId="2d5b7065-31bb-4181-a7f8-a73bf0c30211" providerId="ADAL" clId="{F05BB0D5-3454-45DC-8378-DA45B79D9A06}" dt="2020-10-02T13:04:35.223" v="4219" actId="790"/>
          <ac:spMkLst>
            <pc:docMk/>
            <pc:sldMk cId="1525157620" sldId="6714"/>
            <ac:spMk id="79" creationId="{54011B9E-6677-4A06-8EC5-3EDA81FA19CC}"/>
          </ac:spMkLst>
        </pc:spChg>
        <pc:spChg chg="mod">
          <ac:chgData name="Ugo MANTEL" userId="2d5b7065-31bb-4181-a7f8-a73bf0c30211" providerId="ADAL" clId="{F05BB0D5-3454-45DC-8378-DA45B79D9A06}" dt="2020-10-02T13:04:35.213" v="4206" actId="790"/>
          <ac:spMkLst>
            <pc:docMk/>
            <pc:sldMk cId="1525157620" sldId="6714"/>
            <ac:spMk id="80" creationId="{A2587242-4317-4754-9BC7-66808F913AEF}"/>
          </ac:spMkLst>
        </pc:spChg>
        <pc:spChg chg="mod">
          <ac:chgData name="Ugo MANTEL" userId="2d5b7065-31bb-4181-a7f8-a73bf0c30211" providerId="ADAL" clId="{F05BB0D5-3454-45DC-8378-DA45B79D9A06}" dt="2020-10-02T13:04:35.213" v="4207" actId="790"/>
          <ac:spMkLst>
            <pc:docMk/>
            <pc:sldMk cId="1525157620" sldId="6714"/>
            <ac:spMk id="81" creationId="{1377438F-BDD9-443A-8546-BBB5E47DA7A4}"/>
          </ac:spMkLst>
        </pc:spChg>
        <pc:spChg chg="mod">
          <ac:chgData name="Ugo MANTEL" userId="2d5b7065-31bb-4181-a7f8-a73bf0c30211" providerId="ADAL" clId="{F05BB0D5-3454-45DC-8378-DA45B79D9A06}" dt="2020-10-02T13:04:35.214" v="4208" actId="790"/>
          <ac:spMkLst>
            <pc:docMk/>
            <pc:sldMk cId="1525157620" sldId="6714"/>
            <ac:spMk id="82" creationId="{EAABF3E0-7630-4FD3-97AE-447EA1453D1C}"/>
          </ac:spMkLst>
        </pc:spChg>
        <pc:spChg chg="mod">
          <ac:chgData name="Ugo MANTEL" userId="2d5b7065-31bb-4181-a7f8-a73bf0c30211" providerId="ADAL" clId="{F05BB0D5-3454-45DC-8378-DA45B79D9A06}" dt="2020-10-02T13:04:35.215" v="4209" actId="790"/>
          <ac:spMkLst>
            <pc:docMk/>
            <pc:sldMk cId="1525157620" sldId="6714"/>
            <ac:spMk id="83" creationId="{4C8283B1-4453-48FC-9827-5CD7A26C58C1}"/>
          </ac:spMkLst>
        </pc:spChg>
        <pc:spChg chg="mod">
          <ac:chgData name="Ugo MANTEL" userId="2d5b7065-31bb-4181-a7f8-a73bf0c30211" providerId="ADAL" clId="{F05BB0D5-3454-45DC-8378-DA45B79D9A06}" dt="2020-10-02T13:04:35.216" v="4210" actId="790"/>
          <ac:spMkLst>
            <pc:docMk/>
            <pc:sldMk cId="1525157620" sldId="6714"/>
            <ac:spMk id="91" creationId="{061A5CD9-62AE-451C-8B74-4F542EC789D7}"/>
          </ac:spMkLst>
        </pc:spChg>
        <pc:spChg chg="mod">
          <ac:chgData name="Ugo MANTEL" userId="2d5b7065-31bb-4181-a7f8-a73bf0c30211" providerId="ADAL" clId="{F05BB0D5-3454-45DC-8378-DA45B79D9A06}" dt="2020-10-02T13:04:35.217" v="4211" actId="790"/>
          <ac:spMkLst>
            <pc:docMk/>
            <pc:sldMk cId="1525157620" sldId="6714"/>
            <ac:spMk id="94" creationId="{D0F62733-9CE6-4C6F-96CE-CDDF1C0703D6}"/>
          </ac:spMkLst>
        </pc:spChg>
        <pc:spChg chg="mod">
          <ac:chgData name="Ugo MANTEL" userId="2d5b7065-31bb-4181-a7f8-a73bf0c30211" providerId="ADAL" clId="{F05BB0D5-3454-45DC-8378-DA45B79D9A06}" dt="2020-10-02T13:04:35.226" v="4224" actId="790"/>
          <ac:spMkLst>
            <pc:docMk/>
            <pc:sldMk cId="1525157620" sldId="6714"/>
            <ac:spMk id="104" creationId="{179E9B90-F9F3-4AC1-87A4-873016EE6E84}"/>
          </ac:spMkLst>
        </pc:spChg>
      </pc:sldChg>
      <pc:sldChg chg="modSp mod">
        <pc:chgData name="Ugo MANTEL" userId="2d5b7065-31bb-4181-a7f8-a73bf0c30211" providerId="ADAL" clId="{F05BB0D5-3454-45DC-8378-DA45B79D9A06}" dt="2020-10-02T13:04:32.981" v="1897" actId="790"/>
        <pc:sldMkLst>
          <pc:docMk/>
          <pc:sldMk cId="2362942929" sldId="6726"/>
        </pc:sldMkLst>
        <pc:spChg chg="mod">
          <ac:chgData name="Ugo MANTEL" userId="2d5b7065-31bb-4181-a7f8-a73bf0c30211" providerId="ADAL" clId="{F05BB0D5-3454-45DC-8378-DA45B79D9A06}" dt="2020-10-02T13:04:32.939" v="1838" actId="790"/>
          <ac:spMkLst>
            <pc:docMk/>
            <pc:sldMk cId="2362942929" sldId="6726"/>
            <ac:spMk id="3" creationId="{B66E256D-ED32-4E13-A0C0-CF1897D67355}"/>
          </ac:spMkLst>
        </pc:spChg>
        <pc:spChg chg="mod">
          <ac:chgData name="Ugo MANTEL" userId="2d5b7065-31bb-4181-a7f8-a73bf0c30211" providerId="ADAL" clId="{F05BB0D5-3454-45DC-8378-DA45B79D9A06}" dt="2020-10-02T13:04:32.940" v="1839" actId="790"/>
          <ac:spMkLst>
            <pc:docMk/>
            <pc:sldMk cId="2362942929" sldId="6726"/>
            <ac:spMk id="6" creationId="{1DE26851-631D-4848-9EBB-E00EE8883FA0}"/>
          </ac:spMkLst>
        </pc:spChg>
        <pc:spChg chg="mod">
          <ac:chgData name="Ugo MANTEL" userId="2d5b7065-31bb-4181-a7f8-a73bf0c30211" providerId="ADAL" clId="{F05BB0D5-3454-45DC-8378-DA45B79D9A06}" dt="2020-10-02T13:04:32.963" v="1871" actId="790"/>
          <ac:spMkLst>
            <pc:docMk/>
            <pc:sldMk cId="2362942929" sldId="6726"/>
            <ac:spMk id="10" creationId="{BFA8C9ED-5005-4F89-9B08-CC4A6B3A4CD8}"/>
          </ac:spMkLst>
        </pc:spChg>
        <pc:spChg chg="mod">
          <ac:chgData name="Ugo MANTEL" userId="2d5b7065-31bb-4181-a7f8-a73bf0c30211" providerId="ADAL" clId="{F05BB0D5-3454-45DC-8378-DA45B79D9A06}" dt="2020-10-02T13:04:32.937" v="1837" actId="790"/>
          <ac:spMkLst>
            <pc:docMk/>
            <pc:sldMk cId="2362942929" sldId="6726"/>
            <ac:spMk id="16" creationId="{A29E73CE-3BF5-4210-BDE1-F106CD780CEE}"/>
          </ac:spMkLst>
        </pc:spChg>
        <pc:spChg chg="mod">
          <ac:chgData name="Ugo MANTEL" userId="2d5b7065-31bb-4181-a7f8-a73bf0c30211" providerId="ADAL" clId="{F05BB0D5-3454-45DC-8378-DA45B79D9A06}" dt="2020-10-02T13:04:32.947" v="1850" actId="790"/>
          <ac:spMkLst>
            <pc:docMk/>
            <pc:sldMk cId="2362942929" sldId="6726"/>
            <ac:spMk id="47" creationId="{2C7EB5DC-F28C-4CD5-8A4E-7D74584D8E0F}"/>
          </ac:spMkLst>
        </pc:spChg>
        <pc:spChg chg="mod">
          <ac:chgData name="Ugo MANTEL" userId="2d5b7065-31bb-4181-a7f8-a73bf0c30211" providerId="ADAL" clId="{F05BB0D5-3454-45DC-8378-DA45B79D9A06}" dt="2020-10-02T13:04:32.948" v="1851" actId="790"/>
          <ac:spMkLst>
            <pc:docMk/>
            <pc:sldMk cId="2362942929" sldId="6726"/>
            <ac:spMk id="48" creationId="{BFBB240E-0ED2-45A7-B07E-5177D9D23D67}"/>
          </ac:spMkLst>
        </pc:spChg>
        <pc:spChg chg="mod">
          <ac:chgData name="Ugo MANTEL" userId="2d5b7065-31bb-4181-a7f8-a73bf0c30211" providerId="ADAL" clId="{F05BB0D5-3454-45DC-8378-DA45B79D9A06}" dt="2020-10-02T13:04:32.949" v="1852" actId="790"/>
          <ac:spMkLst>
            <pc:docMk/>
            <pc:sldMk cId="2362942929" sldId="6726"/>
            <ac:spMk id="52" creationId="{E9CB9E6D-B162-4E11-9E61-329207C51FA3}"/>
          </ac:spMkLst>
        </pc:spChg>
        <pc:spChg chg="mod">
          <ac:chgData name="Ugo MANTEL" userId="2d5b7065-31bb-4181-a7f8-a73bf0c30211" providerId="ADAL" clId="{F05BB0D5-3454-45DC-8378-DA45B79D9A06}" dt="2020-10-02T13:04:32.950" v="1853" actId="790"/>
          <ac:spMkLst>
            <pc:docMk/>
            <pc:sldMk cId="2362942929" sldId="6726"/>
            <ac:spMk id="54" creationId="{CFE0DA9C-CA14-4F1D-A1D9-A9C1B3C0DBFF}"/>
          </ac:spMkLst>
        </pc:spChg>
        <pc:spChg chg="mod">
          <ac:chgData name="Ugo MANTEL" userId="2d5b7065-31bb-4181-a7f8-a73bf0c30211" providerId="ADAL" clId="{F05BB0D5-3454-45DC-8378-DA45B79D9A06}" dt="2020-10-02T13:04:32.951" v="1854" actId="790"/>
          <ac:spMkLst>
            <pc:docMk/>
            <pc:sldMk cId="2362942929" sldId="6726"/>
            <ac:spMk id="55" creationId="{50BC5652-3FC0-4C60-9442-1FA76657F690}"/>
          </ac:spMkLst>
        </pc:spChg>
        <pc:spChg chg="mod">
          <ac:chgData name="Ugo MANTEL" userId="2d5b7065-31bb-4181-a7f8-a73bf0c30211" providerId="ADAL" clId="{F05BB0D5-3454-45DC-8378-DA45B79D9A06}" dt="2020-10-02T13:04:32.952" v="1855" actId="790"/>
          <ac:spMkLst>
            <pc:docMk/>
            <pc:sldMk cId="2362942929" sldId="6726"/>
            <ac:spMk id="56" creationId="{73291E4E-730E-4C6E-B026-1D163A9AAD7F}"/>
          </ac:spMkLst>
        </pc:spChg>
        <pc:spChg chg="mod">
          <ac:chgData name="Ugo MANTEL" userId="2d5b7065-31bb-4181-a7f8-a73bf0c30211" providerId="ADAL" clId="{F05BB0D5-3454-45DC-8378-DA45B79D9A06}" dt="2020-10-02T13:04:32.953" v="1856" actId="790"/>
          <ac:spMkLst>
            <pc:docMk/>
            <pc:sldMk cId="2362942929" sldId="6726"/>
            <ac:spMk id="57" creationId="{5F199639-2799-4520-9CD5-F410B10BBC25}"/>
          </ac:spMkLst>
        </pc:spChg>
        <pc:spChg chg="mod">
          <ac:chgData name="Ugo MANTEL" userId="2d5b7065-31bb-4181-a7f8-a73bf0c30211" providerId="ADAL" clId="{F05BB0D5-3454-45DC-8378-DA45B79D9A06}" dt="2020-10-02T13:04:32.946" v="1847" actId="790"/>
          <ac:spMkLst>
            <pc:docMk/>
            <pc:sldMk cId="2362942929" sldId="6726"/>
            <ac:spMk id="68" creationId="{3129BBB8-FEBE-4EDE-A29A-A2715953D234}"/>
          </ac:spMkLst>
        </pc:spChg>
        <pc:spChg chg="mod">
          <ac:chgData name="Ugo MANTEL" userId="2d5b7065-31bb-4181-a7f8-a73bf0c30211" providerId="ADAL" clId="{F05BB0D5-3454-45DC-8378-DA45B79D9A06}" dt="2020-10-02T13:04:32.962" v="1870" actId="790"/>
          <ac:spMkLst>
            <pc:docMk/>
            <pc:sldMk cId="2362942929" sldId="6726"/>
            <ac:spMk id="73" creationId="{795AFF1B-C9B6-442A-BFED-B952793CF387}"/>
          </ac:spMkLst>
        </pc:spChg>
        <pc:spChg chg="mod">
          <ac:chgData name="Ugo MANTEL" userId="2d5b7065-31bb-4181-a7f8-a73bf0c30211" providerId="ADAL" clId="{F05BB0D5-3454-45DC-8378-DA45B79D9A06}" dt="2020-10-02T13:04:32.959" v="1866" actId="790"/>
          <ac:spMkLst>
            <pc:docMk/>
            <pc:sldMk cId="2362942929" sldId="6726"/>
            <ac:spMk id="74" creationId="{024E5636-E71E-452B-8601-2BB96A9DD293}"/>
          </ac:spMkLst>
        </pc:spChg>
        <pc:spChg chg="mod">
          <ac:chgData name="Ugo MANTEL" userId="2d5b7065-31bb-4181-a7f8-a73bf0c30211" providerId="ADAL" clId="{F05BB0D5-3454-45DC-8378-DA45B79D9A06}" dt="2020-10-02T13:04:32.960" v="1867" actId="790"/>
          <ac:spMkLst>
            <pc:docMk/>
            <pc:sldMk cId="2362942929" sldId="6726"/>
            <ac:spMk id="75" creationId="{FC1C8EAD-86DA-4BB2-B0B9-90BD15D4FE83}"/>
          </ac:spMkLst>
        </pc:spChg>
        <pc:spChg chg="mod">
          <ac:chgData name="Ugo MANTEL" userId="2d5b7065-31bb-4181-a7f8-a73bf0c30211" providerId="ADAL" clId="{F05BB0D5-3454-45DC-8378-DA45B79D9A06}" dt="2020-10-02T13:04:32.961" v="1868" actId="790"/>
          <ac:spMkLst>
            <pc:docMk/>
            <pc:sldMk cId="2362942929" sldId="6726"/>
            <ac:spMk id="76" creationId="{3C335CF1-29CE-41E4-B8B5-94DA14F0C148}"/>
          </ac:spMkLst>
        </pc:spChg>
        <pc:spChg chg="mod">
          <ac:chgData name="Ugo MANTEL" userId="2d5b7065-31bb-4181-a7f8-a73bf0c30211" providerId="ADAL" clId="{F05BB0D5-3454-45DC-8378-DA45B79D9A06}" dt="2020-10-02T13:04:32.962" v="1869" actId="790"/>
          <ac:spMkLst>
            <pc:docMk/>
            <pc:sldMk cId="2362942929" sldId="6726"/>
            <ac:spMk id="77" creationId="{C9D92328-6F8A-476D-BBFB-D1BFD34BA8BA}"/>
          </ac:spMkLst>
        </pc:spChg>
        <pc:spChg chg="mod">
          <ac:chgData name="Ugo MANTEL" userId="2d5b7065-31bb-4181-a7f8-a73bf0c30211" providerId="ADAL" clId="{F05BB0D5-3454-45DC-8378-DA45B79D9A06}" dt="2020-10-02T13:04:32.946" v="1848" actId="790"/>
          <ac:spMkLst>
            <pc:docMk/>
            <pc:sldMk cId="2362942929" sldId="6726"/>
            <ac:spMk id="78" creationId="{A788D61C-7524-4FDA-A5F7-24AC9BC4C311}"/>
          </ac:spMkLst>
        </pc:spChg>
        <pc:spChg chg="mod">
          <ac:chgData name="Ugo MANTEL" userId="2d5b7065-31bb-4181-a7f8-a73bf0c30211" providerId="ADAL" clId="{F05BB0D5-3454-45DC-8378-DA45B79D9A06}" dt="2020-10-02T13:04:32.947" v="1849" actId="790"/>
          <ac:spMkLst>
            <pc:docMk/>
            <pc:sldMk cId="2362942929" sldId="6726"/>
            <ac:spMk id="80" creationId="{C5E09EFE-5C85-4D90-8B02-1AA08B48A0C2}"/>
          </ac:spMkLst>
        </pc:spChg>
        <pc:spChg chg="mod">
          <ac:chgData name="Ugo MANTEL" userId="2d5b7065-31bb-4181-a7f8-a73bf0c30211" providerId="ADAL" clId="{F05BB0D5-3454-45DC-8378-DA45B79D9A06}" dt="2020-10-02T13:04:32.959" v="1865" actId="790"/>
          <ac:spMkLst>
            <pc:docMk/>
            <pc:sldMk cId="2362942929" sldId="6726"/>
            <ac:spMk id="82" creationId="{86A72F3A-78A1-46A2-B165-8C76B003B3CF}"/>
          </ac:spMkLst>
        </pc:spChg>
        <pc:spChg chg="mod">
          <ac:chgData name="Ugo MANTEL" userId="2d5b7065-31bb-4181-a7f8-a73bf0c30211" providerId="ADAL" clId="{F05BB0D5-3454-45DC-8378-DA45B79D9A06}" dt="2020-10-02T13:04:32.941" v="1840" actId="790"/>
          <ac:spMkLst>
            <pc:docMk/>
            <pc:sldMk cId="2362942929" sldId="6726"/>
            <ac:spMk id="89" creationId="{0A42DE0C-0424-41DB-9BC9-A65146960FF7}"/>
          </ac:spMkLst>
        </pc:spChg>
        <pc:spChg chg="mod">
          <ac:chgData name="Ugo MANTEL" userId="2d5b7065-31bb-4181-a7f8-a73bf0c30211" providerId="ADAL" clId="{F05BB0D5-3454-45DC-8378-DA45B79D9A06}" dt="2020-10-02T13:04:32.963" v="1872" actId="790"/>
          <ac:spMkLst>
            <pc:docMk/>
            <pc:sldMk cId="2362942929" sldId="6726"/>
            <ac:spMk id="91" creationId="{DCF6F4B2-9A1B-4E9D-B9A5-7AB60F9A447C}"/>
          </ac:spMkLst>
        </pc:spChg>
        <pc:spChg chg="mod">
          <ac:chgData name="Ugo MANTEL" userId="2d5b7065-31bb-4181-a7f8-a73bf0c30211" providerId="ADAL" clId="{F05BB0D5-3454-45DC-8378-DA45B79D9A06}" dt="2020-10-02T13:04:32.964" v="1873" actId="790"/>
          <ac:spMkLst>
            <pc:docMk/>
            <pc:sldMk cId="2362942929" sldId="6726"/>
            <ac:spMk id="92" creationId="{F0D0BBCB-C50C-4D78-90B5-726DA41BDFCE}"/>
          </ac:spMkLst>
        </pc:spChg>
        <pc:spChg chg="mod">
          <ac:chgData name="Ugo MANTEL" userId="2d5b7065-31bb-4181-a7f8-a73bf0c30211" providerId="ADAL" clId="{F05BB0D5-3454-45DC-8378-DA45B79D9A06}" dt="2020-10-02T13:04:32.942" v="1841" actId="790"/>
          <ac:spMkLst>
            <pc:docMk/>
            <pc:sldMk cId="2362942929" sldId="6726"/>
            <ac:spMk id="93" creationId="{27E00AC9-A6EC-4085-9312-C6E034401CAB}"/>
          </ac:spMkLst>
        </pc:spChg>
        <pc:spChg chg="mod">
          <ac:chgData name="Ugo MANTEL" userId="2d5b7065-31bb-4181-a7f8-a73bf0c30211" providerId="ADAL" clId="{F05BB0D5-3454-45DC-8378-DA45B79D9A06}" dt="2020-10-02T13:04:32.942" v="1842" actId="790"/>
          <ac:spMkLst>
            <pc:docMk/>
            <pc:sldMk cId="2362942929" sldId="6726"/>
            <ac:spMk id="94" creationId="{421DA50F-45D5-4307-80CC-94FEC0902CE8}"/>
          </ac:spMkLst>
        </pc:spChg>
        <pc:spChg chg="mod">
          <ac:chgData name="Ugo MANTEL" userId="2d5b7065-31bb-4181-a7f8-a73bf0c30211" providerId="ADAL" clId="{F05BB0D5-3454-45DC-8378-DA45B79D9A06}" dt="2020-10-02T13:04:32.943" v="1843" actId="790"/>
          <ac:spMkLst>
            <pc:docMk/>
            <pc:sldMk cId="2362942929" sldId="6726"/>
            <ac:spMk id="95" creationId="{23027BF8-31C7-4EA5-91A2-9E1854EF0242}"/>
          </ac:spMkLst>
        </pc:spChg>
        <pc:spChg chg="mod">
          <ac:chgData name="Ugo MANTEL" userId="2d5b7065-31bb-4181-a7f8-a73bf0c30211" providerId="ADAL" clId="{F05BB0D5-3454-45DC-8378-DA45B79D9A06}" dt="2020-10-02T13:04:32.944" v="1844" actId="790"/>
          <ac:spMkLst>
            <pc:docMk/>
            <pc:sldMk cId="2362942929" sldId="6726"/>
            <ac:spMk id="96" creationId="{FFDAAEBC-0AA9-43A9-8C1F-720AE3314F4D}"/>
          </ac:spMkLst>
        </pc:spChg>
        <pc:spChg chg="mod">
          <ac:chgData name="Ugo MANTEL" userId="2d5b7065-31bb-4181-a7f8-a73bf0c30211" providerId="ADAL" clId="{F05BB0D5-3454-45DC-8378-DA45B79D9A06}" dt="2020-10-02T13:04:32.944" v="1845" actId="790"/>
          <ac:spMkLst>
            <pc:docMk/>
            <pc:sldMk cId="2362942929" sldId="6726"/>
            <ac:spMk id="97" creationId="{1D7614EE-35F9-4BDE-AF13-C5F2D301983F}"/>
          </ac:spMkLst>
        </pc:spChg>
        <pc:spChg chg="mod">
          <ac:chgData name="Ugo MANTEL" userId="2d5b7065-31bb-4181-a7f8-a73bf0c30211" providerId="ADAL" clId="{F05BB0D5-3454-45DC-8378-DA45B79D9A06}" dt="2020-10-02T13:04:32.945" v="1846" actId="790"/>
          <ac:spMkLst>
            <pc:docMk/>
            <pc:sldMk cId="2362942929" sldId="6726"/>
            <ac:spMk id="98" creationId="{8BEB003C-5849-4172-AF32-E8B31D98767D}"/>
          </ac:spMkLst>
        </pc:spChg>
        <pc:spChg chg="mod">
          <ac:chgData name="Ugo MANTEL" userId="2d5b7065-31bb-4181-a7f8-a73bf0c30211" providerId="ADAL" clId="{F05BB0D5-3454-45DC-8378-DA45B79D9A06}" dt="2020-10-02T13:04:32.953" v="1857" actId="790"/>
          <ac:spMkLst>
            <pc:docMk/>
            <pc:sldMk cId="2362942929" sldId="6726"/>
            <ac:spMk id="99" creationId="{4BCBFDBF-585C-4290-A4C4-9C51B4593A71}"/>
          </ac:spMkLst>
        </pc:spChg>
        <pc:spChg chg="mod">
          <ac:chgData name="Ugo MANTEL" userId="2d5b7065-31bb-4181-a7f8-a73bf0c30211" providerId="ADAL" clId="{F05BB0D5-3454-45DC-8378-DA45B79D9A06}" dt="2020-10-02T13:04:32.967" v="1877" actId="790"/>
          <ac:spMkLst>
            <pc:docMk/>
            <pc:sldMk cId="2362942929" sldId="6726"/>
            <ac:spMk id="100" creationId="{121F4550-55B5-43BA-BF7E-D817570AC7D3}"/>
          </ac:spMkLst>
        </pc:spChg>
        <pc:spChg chg="mod">
          <ac:chgData name="Ugo MANTEL" userId="2d5b7065-31bb-4181-a7f8-a73bf0c30211" providerId="ADAL" clId="{F05BB0D5-3454-45DC-8378-DA45B79D9A06}" dt="2020-10-02T13:04:32.968" v="1878" actId="790"/>
          <ac:spMkLst>
            <pc:docMk/>
            <pc:sldMk cId="2362942929" sldId="6726"/>
            <ac:spMk id="101" creationId="{565D390C-50D9-433D-B03D-F680F77BE8F8}"/>
          </ac:spMkLst>
        </pc:spChg>
        <pc:spChg chg="mod">
          <ac:chgData name="Ugo MANTEL" userId="2d5b7065-31bb-4181-a7f8-a73bf0c30211" providerId="ADAL" clId="{F05BB0D5-3454-45DC-8378-DA45B79D9A06}" dt="2020-10-02T13:04:32.969" v="1879" actId="790"/>
          <ac:spMkLst>
            <pc:docMk/>
            <pc:sldMk cId="2362942929" sldId="6726"/>
            <ac:spMk id="102" creationId="{90545B1B-807E-49F9-A47E-E1E3BDBE5209}"/>
          </ac:spMkLst>
        </pc:spChg>
        <pc:spChg chg="mod">
          <ac:chgData name="Ugo MANTEL" userId="2d5b7065-31bb-4181-a7f8-a73bf0c30211" providerId="ADAL" clId="{F05BB0D5-3454-45DC-8378-DA45B79D9A06}" dt="2020-10-02T13:04:32.975" v="1887" actId="790"/>
          <ac:spMkLst>
            <pc:docMk/>
            <pc:sldMk cId="2362942929" sldId="6726"/>
            <ac:spMk id="103" creationId="{BBD7967C-AB1F-4105-AF78-DD6D9E15DE63}"/>
          </ac:spMkLst>
        </pc:spChg>
        <pc:spChg chg="mod">
          <ac:chgData name="Ugo MANTEL" userId="2d5b7065-31bb-4181-a7f8-a73bf0c30211" providerId="ADAL" clId="{F05BB0D5-3454-45DC-8378-DA45B79D9A06}" dt="2020-10-02T13:04:32.975" v="1888" actId="790"/>
          <ac:spMkLst>
            <pc:docMk/>
            <pc:sldMk cId="2362942929" sldId="6726"/>
            <ac:spMk id="104" creationId="{24C198AD-118E-42D9-AC53-B0B2D78C1464}"/>
          </ac:spMkLst>
        </pc:spChg>
        <pc:spChg chg="mod">
          <ac:chgData name="Ugo MANTEL" userId="2d5b7065-31bb-4181-a7f8-a73bf0c30211" providerId="ADAL" clId="{F05BB0D5-3454-45DC-8378-DA45B79D9A06}" dt="2020-10-02T13:04:32.976" v="1889" actId="790"/>
          <ac:spMkLst>
            <pc:docMk/>
            <pc:sldMk cId="2362942929" sldId="6726"/>
            <ac:spMk id="105" creationId="{66E546F3-0161-475F-A004-F5C763233EFF}"/>
          </ac:spMkLst>
        </pc:spChg>
        <pc:spChg chg="mod">
          <ac:chgData name="Ugo MANTEL" userId="2d5b7065-31bb-4181-a7f8-a73bf0c30211" providerId="ADAL" clId="{F05BB0D5-3454-45DC-8378-DA45B79D9A06}" dt="2020-10-02T13:04:32.965" v="1874" actId="790"/>
          <ac:spMkLst>
            <pc:docMk/>
            <pc:sldMk cId="2362942929" sldId="6726"/>
            <ac:spMk id="109" creationId="{141E3EF0-99E6-49EC-9454-C3BE9637A1AC}"/>
          </ac:spMkLst>
        </pc:spChg>
        <pc:spChg chg="mod">
          <ac:chgData name="Ugo MANTEL" userId="2d5b7065-31bb-4181-a7f8-a73bf0c30211" providerId="ADAL" clId="{F05BB0D5-3454-45DC-8378-DA45B79D9A06}" dt="2020-10-02T13:04:32.954" v="1858" actId="790"/>
          <ac:spMkLst>
            <pc:docMk/>
            <pc:sldMk cId="2362942929" sldId="6726"/>
            <ac:spMk id="110" creationId="{6CAF9CD0-D168-4D72-B052-99F2B45D4BEF}"/>
          </ac:spMkLst>
        </pc:spChg>
        <pc:spChg chg="mod">
          <ac:chgData name="Ugo MANTEL" userId="2d5b7065-31bb-4181-a7f8-a73bf0c30211" providerId="ADAL" clId="{F05BB0D5-3454-45DC-8378-DA45B79D9A06}" dt="2020-10-02T13:04:32.955" v="1859" actId="790"/>
          <ac:spMkLst>
            <pc:docMk/>
            <pc:sldMk cId="2362942929" sldId="6726"/>
            <ac:spMk id="111" creationId="{B92AEBEA-C80F-48EC-BA75-66526FED773D}"/>
          </ac:spMkLst>
        </pc:spChg>
        <pc:spChg chg="mod">
          <ac:chgData name="Ugo MANTEL" userId="2d5b7065-31bb-4181-a7f8-a73bf0c30211" providerId="ADAL" clId="{F05BB0D5-3454-45DC-8378-DA45B79D9A06}" dt="2020-10-02T13:04:32.955" v="1860" actId="790"/>
          <ac:spMkLst>
            <pc:docMk/>
            <pc:sldMk cId="2362942929" sldId="6726"/>
            <ac:spMk id="112" creationId="{DC5C62C6-62B5-40DF-8BC1-6419FB988805}"/>
          </ac:spMkLst>
        </pc:spChg>
        <pc:spChg chg="mod">
          <ac:chgData name="Ugo MANTEL" userId="2d5b7065-31bb-4181-a7f8-a73bf0c30211" providerId="ADAL" clId="{F05BB0D5-3454-45DC-8378-DA45B79D9A06}" dt="2020-10-02T13:04:32.956" v="1861" actId="790"/>
          <ac:spMkLst>
            <pc:docMk/>
            <pc:sldMk cId="2362942929" sldId="6726"/>
            <ac:spMk id="113" creationId="{71910195-4190-4988-BB54-991D7680B99E}"/>
          </ac:spMkLst>
        </pc:spChg>
        <pc:spChg chg="mod">
          <ac:chgData name="Ugo MANTEL" userId="2d5b7065-31bb-4181-a7f8-a73bf0c30211" providerId="ADAL" clId="{F05BB0D5-3454-45DC-8378-DA45B79D9A06}" dt="2020-10-02T13:04:32.957" v="1862" actId="790"/>
          <ac:spMkLst>
            <pc:docMk/>
            <pc:sldMk cId="2362942929" sldId="6726"/>
            <ac:spMk id="114" creationId="{89A5A8B3-F6D2-46AC-8D44-D5D430F8CA88}"/>
          </ac:spMkLst>
        </pc:spChg>
        <pc:spChg chg="mod">
          <ac:chgData name="Ugo MANTEL" userId="2d5b7065-31bb-4181-a7f8-a73bf0c30211" providerId="ADAL" clId="{F05BB0D5-3454-45DC-8378-DA45B79D9A06}" dt="2020-10-02T13:04:32.958" v="1863" actId="790"/>
          <ac:spMkLst>
            <pc:docMk/>
            <pc:sldMk cId="2362942929" sldId="6726"/>
            <ac:spMk id="115" creationId="{83A7BA3A-0CC7-4429-8112-95C5763C4FD0}"/>
          </ac:spMkLst>
        </pc:spChg>
        <pc:spChg chg="mod">
          <ac:chgData name="Ugo MANTEL" userId="2d5b7065-31bb-4181-a7f8-a73bf0c30211" providerId="ADAL" clId="{F05BB0D5-3454-45DC-8378-DA45B79D9A06}" dt="2020-10-02T13:04:32.958" v="1864" actId="790"/>
          <ac:spMkLst>
            <pc:docMk/>
            <pc:sldMk cId="2362942929" sldId="6726"/>
            <ac:spMk id="116" creationId="{B741CF4B-D80F-4705-A7B2-0CAE342BE001}"/>
          </ac:spMkLst>
        </pc:spChg>
        <pc:spChg chg="mod">
          <ac:chgData name="Ugo MANTEL" userId="2d5b7065-31bb-4181-a7f8-a73bf0c30211" providerId="ADAL" clId="{F05BB0D5-3454-45DC-8378-DA45B79D9A06}" dt="2020-10-02T13:04:32.965" v="1875" actId="790"/>
          <ac:spMkLst>
            <pc:docMk/>
            <pc:sldMk cId="2362942929" sldId="6726"/>
            <ac:spMk id="119" creationId="{5F7ADA61-F3F1-4E90-A3F8-24A260DAD33D}"/>
          </ac:spMkLst>
        </pc:spChg>
        <pc:spChg chg="mod">
          <ac:chgData name="Ugo MANTEL" userId="2d5b7065-31bb-4181-a7f8-a73bf0c30211" providerId="ADAL" clId="{F05BB0D5-3454-45DC-8378-DA45B79D9A06}" dt="2020-10-02T13:04:32.979" v="1894" actId="790"/>
          <ac:spMkLst>
            <pc:docMk/>
            <pc:sldMk cId="2362942929" sldId="6726"/>
            <ac:spMk id="120" creationId="{AC365600-E1B8-41C4-801C-D9B36AAA8AB1}"/>
          </ac:spMkLst>
        </pc:spChg>
        <pc:spChg chg="mod">
          <ac:chgData name="Ugo MANTEL" userId="2d5b7065-31bb-4181-a7f8-a73bf0c30211" providerId="ADAL" clId="{F05BB0D5-3454-45DC-8378-DA45B79D9A06}" dt="2020-10-02T13:04:32.966" v="1876" actId="790"/>
          <ac:spMkLst>
            <pc:docMk/>
            <pc:sldMk cId="2362942929" sldId="6726"/>
            <ac:spMk id="121" creationId="{9414500E-5E00-425B-96D1-C5D2435D44A2}"/>
          </ac:spMkLst>
        </pc:spChg>
        <pc:spChg chg="mod">
          <ac:chgData name="Ugo MANTEL" userId="2d5b7065-31bb-4181-a7f8-a73bf0c30211" providerId="ADAL" clId="{F05BB0D5-3454-45DC-8378-DA45B79D9A06}" dt="2020-10-02T13:04:32.970" v="1880" actId="790"/>
          <ac:spMkLst>
            <pc:docMk/>
            <pc:sldMk cId="2362942929" sldId="6726"/>
            <ac:spMk id="123" creationId="{8EA820EE-CD08-4001-8FCA-BC7A532C73A3}"/>
          </ac:spMkLst>
        </pc:spChg>
        <pc:spChg chg="mod">
          <ac:chgData name="Ugo MANTEL" userId="2d5b7065-31bb-4181-a7f8-a73bf0c30211" providerId="ADAL" clId="{F05BB0D5-3454-45DC-8378-DA45B79D9A06}" dt="2020-10-02T13:04:32.971" v="1881" actId="790"/>
          <ac:spMkLst>
            <pc:docMk/>
            <pc:sldMk cId="2362942929" sldId="6726"/>
            <ac:spMk id="124" creationId="{A76F87E0-F1D7-4C3F-9A96-6330E208FF74}"/>
          </ac:spMkLst>
        </pc:spChg>
        <pc:spChg chg="mod">
          <ac:chgData name="Ugo MANTEL" userId="2d5b7065-31bb-4181-a7f8-a73bf0c30211" providerId="ADAL" clId="{F05BB0D5-3454-45DC-8378-DA45B79D9A06}" dt="2020-10-02T13:04:32.971" v="1882" actId="790"/>
          <ac:spMkLst>
            <pc:docMk/>
            <pc:sldMk cId="2362942929" sldId="6726"/>
            <ac:spMk id="125" creationId="{7B7337F6-2863-4349-96C3-51E9A92ABE34}"/>
          </ac:spMkLst>
        </pc:spChg>
        <pc:spChg chg="mod">
          <ac:chgData name="Ugo MANTEL" userId="2d5b7065-31bb-4181-a7f8-a73bf0c30211" providerId="ADAL" clId="{F05BB0D5-3454-45DC-8378-DA45B79D9A06}" dt="2020-10-02T13:04:32.972" v="1883" actId="790"/>
          <ac:spMkLst>
            <pc:docMk/>
            <pc:sldMk cId="2362942929" sldId="6726"/>
            <ac:spMk id="126" creationId="{D642447E-6F6E-41D7-9BBB-CEBBD1C852E5}"/>
          </ac:spMkLst>
        </pc:spChg>
        <pc:spChg chg="mod">
          <ac:chgData name="Ugo MANTEL" userId="2d5b7065-31bb-4181-a7f8-a73bf0c30211" providerId="ADAL" clId="{F05BB0D5-3454-45DC-8378-DA45B79D9A06}" dt="2020-10-02T13:04:32.977" v="1890" actId="790"/>
          <ac:spMkLst>
            <pc:docMk/>
            <pc:sldMk cId="2362942929" sldId="6726"/>
            <ac:spMk id="127" creationId="{DD48B380-E497-40D9-B8D9-F54C3B0D273A}"/>
          </ac:spMkLst>
        </pc:spChg>
        <pc:spChg chg="mod">
          <ac:chgData name="Ugo MANTEL" userId="2d5b7065-31bb-4181-a7f8-a73bf0c30211" providerId="ADAL" clId="{F05BB0D5-3454-45DC-8378-DA45B79D9A06}" dt="2020-10-02T13:04:32.977" v="1891" actId="790"/>
          <ac:spMkLst>
            <pc:docMk/>
            <pc:sldMk cId="2362942929" sldId="6726"/>
            <ac:spMk id="128" creationId="{79980424-B6BD-4403-B5B0-0164BB59CD06}"/>
          </ac:spMkLst>
        </pc:spChg>
        <pc:spChg chg="mod">
          <ac:chgData name="Ugo MANTEL" userId="2d5b7065-31bb-4181-a7f8-a73bf0c30211" providerId="ADAL" clId="{F05BB0D5-3454-45DC-8378-DA45B79D9A06}" dt="2020-10-02T13:04:32.978" v="1892" actId="790"/>
          <ac:spMkLst>
            <pc:docMk/>
            <pc:sldMk cId="2362942929" sldId="6726"/>
            <ac:spMk id="129" creationId="{652E5BA4-D056-4C87-9345-85D5C4AC955C}"/>
          </ac:spMkLst>
        </pc:spChg>
        <pc:spChg chg="mod">
          <ac:chgData name="Ugo MANTEL" userId="2d5b7065-31bb-4181-a7f8-a73bf0c30211" providerId="ADAL" clId="{F05BB0D5-3454-45DC-8378-DA45B79D9A06}" dt="2020-10-02T13:04:32.978" v="1893" actId="790"/>
          <ac:spMkLst>
            <pc:docMk/>
            <pc:sldMk cId="2362942929" sldId="6726"/>
            <ac:spMk id="130" creationId="{86B548EA-FCC1-4EE3-9441-A30BAC44D090}"/>
          </ac:spMkLst>
        </pc:spChg>
        <pc:spChg chg="mod">
          <ac:chgData name="Ugo MANTEL" userId="2d5b7065-31bb-4181-a7f8-a73bf0c30211" providerId="ADAL" clId="{F05BB0D5-3454-45DC-8378-DA45B79D9A06}" dt="2020-10-02T13:04:32.973" v="1884" actId="790"/>
          <ac:spMkLst>
            <pc:docMk/>
            <pc:sldMk cId="2362942929" sldId="6726"/>
            <ac:spMk id="131" creationId="{3AE408D4-0E74-4F5D-B991-4CCE8BE61C83}"/>
          </ac:spMkLst>
        </pc:spChg>
        <pc:spChg chg="mod">
          <ac:chgData name="Ugo MANTEL" userId="2d5b7065-31bb-4181-a7f8-a73bf0c30211" providerId="ADAL" clId="{F05BB0D5-3454-45DC-8378-DA45B79D9A06}" dt="2020-10-02T13:04:32.973" v="1885" actId="790"/>
          <ac:spMkLst>
            <pc:docMk/>
            <pc:sldMk cId="2362942929" sldId="6726"/>
            <ac:spMk id="132" creationId="{F34B240A-1FFD-40D9-AD74-768F660F776C}"/>
          </ac:spMkLst>
        </pc:spChg>
        <pc:spChg chg="mod">
          <ac:chgData name="Ugo MANTEL" userId="2d5b7065-31bb-4181-a7f8-a73bf0c30211" providerId="ADAL" clId="{F05BB0D5-3454-45DC-8378-DA45B79D9A06}" dt="2020-10-02T13:04:32.974" v="1886" actId="790"/>
          <ac:spMkLst>
            <pc:docMk/>
            <pc:sldMk cId="2362942929" sldId="6726"/>
            <ac:spMk id="133" creationId="{674B610F-7245-4550-9203-F2FA95398E8F}"/>
          </ac:spMkLst>
        </pc:spChg>
        <pc:spChg chg="mod">
          <ac:chgData name="Ugo MANTEL" userId="2d5b7065-31bb-4181-a7f8-a73bf0c30211" providerId="ADAL" clId="{F05BB0D5-3454-45DC-8378-DA45B79D9A06}" dt="2020-10-02T13:04:32.980" v="1895" actId="790"/>
          <ac:spMkLst>
            <pc:docMk/>
            <pc:sldMk cId="2362942929" sldId="6726"/>
            <ac:spMk id="137" creationId="{10A52D15-0D18-4EDA-AC9B-D38F71453732}"/>
          </ac:spMkLst>
        </pc:spChg>
        <pc:spChg chg="mod">
          <ac:chgData name="Ugo MANTEL" userId="2d5b7065-31bb-4181-a7f8-a73bf0c30211" providerId="ADAL" clId="{F05BB0D5-3454-45DC-8378-DA45B79D9A06}" dt="2020-10-02T13:04:32.981" v="1896" actId="790"/>
          <ac:spMkLst>
            <pc:docMk/>
            <pc:sldMk cId="2362942929" sldId="6726"/>
            <ac:spMk id="145" creationId="{3DE436EA-0E6F-4721-8566-0C9C7FE08C9D}"/>
          </ac:spMkLst>
        </pc:spChg>
        <pc:spChg chg="mod">
          <ac:chgData name="Ugo MANTEL" userId="2d5b7065-31bb-4181-a7f8-a73bf0c30211" providerId="ADAL" clId="{F05BB0D5-3454-45DC-8378-DA45B79D9A06}" dt="2020-10-02T13:04:32.981" v="1897" actId="790"/>
          <ac:spMkLst>
            <pc:docMk/>
            <pc:sldMk cId="2362942929" sldId="6726"/>
            <ac:spMk id="147" creationId="{AA90726F-7A58-4FC5-A6F1-17B829F0C4D2}"/>
          </ac:spMkLst>
        </pc:spChg>
      </pc:sldChg>
      <pc:sldChg chg="modSp mod">
        <pc:chgData name="Ugo MANTEL" userId="2d5b7065-31bb-4181-a7f8-a73bf0c30211" providerId="ADAL" clId="{F05BB0D5-3454-45DC-8378-DA45B79D9A06}" dt="2020-10-02T13:04:33.092" v="1998" actId="790"/>
        <pc:sldMkLst>
          <pc:docMk/>
          <pc:sldMk cId="1770045098" sldId="6727"/>
        </pc:sldMkLst>
        <pc:spChg chg="mod">
          <ac:chgData name="Ugo MANTEL" userId="2d5b7065-31bb-4181-a7f8-a73bf0c30211" providerId="ADAL" clId="{F05BB0D5-3454-45DC-8378-DA45B79D9A06}" dt="2020-10-02T13:04:33.077" v="1977" actId="790"/>
          <ac:spMkLst>
            <pc:docMk/>
            <pc:sldMk cId="1770045098" sldId="6727"/>
            <ac:spMk id="3" creationId="{90D4CBD9-7DF1-4BA8-BD5E-64D2C8DEB362}"/>
          </ac:spMkLst>
        </pc:spChg>
        <pc:spChg chg="mod">
          <ac:chgData name="Ugo MANTEL" userId="2d5b7065-31bb-4181-a7f8-a73bf0c30211" providerId="ADAL" clId="{F05BB0D5-3454-45DC-8378-DA45B79D9A06}" dt="2020-10-02T13:04:33.076" v="1976" actId="790"/>
          <ac:spMkLst>
            <pc:docMk/>
            <pc:sldMk cId="1770045098" sldId="6727"/>
            <ac:spMk id="5" creationId="{343FD597-189D-47CE-9DDB-00AAEBAA5CFE}"/>
          </ac:spMkLst>
        </pc:spChg>
        <pc:spChg chg="mod">
          <ac:chgData name="Ugo MANTEL" userId="2d5b7065-31bb-4181-a7f8-a73bf0c30211" providerId="ADAL" clId="{F05BB0D5-3454-45DC-8378-DA45B79D9A06}" dt="2020-10-02T13:04:33.066" v="1971" actId="790"/>
          <ac:spMkLst>
            <pc:docMk/>
            <pc:sldMk cId="1770045098" sldId="6727"/>
            <ac:spMk id="6" creationId="{8D9A547B-79DD-442E-BD6B-A339FEADE1CD}"/>
          </ac:spMkLst>
        </pc:spChg>
        <pc:spChg chg="mod">
          <ac:chgData name="Ugo MANTEL" userId="2d5b7065-31bb-4181-a7f8-a73bf0c30211" providerId="ADAL" clId="{F05BB0D5-3454-45DC-8378-DA45B79D9A06}" dt="2020-10-02T13:04:33.066" v="1970" actId="790"/>
          <ac:spMkLst>
            <pc:docMk/>
            <pc:sldMk cId="1770045098" sldId="6727"/>
            <ac:spMk id="7" creationId="{31356344-5549-4E62-A510-47789B3D6AAC}"/>
          </ac:spMkLst>
        </pc:spChg>
        <pc:spChg chg="mod">
          <ac:chgData name="Ugo MANTEL" userId="2d5b7065-31bb-4181-a7f8-a73bf0c30211" providerId="ADAL" clId="{F05BB0D5-3454-45DC-8378-DA45B79D9A06}" dt="2020-10-02T13:04:33.068" v="1972" actId="790"/>
          <ac:spMkLst>
            <pc:docMk/>
            <pc:sldMk cId="1770045098" sldId="6727"/>
            <ac:spMk id="22" creationId="{1F80FF39-9038-4641-947A-58505FD32607}"/>
          </ac:spMkLst>
        </pc:spChg>
        <pc:spChg chg="mod">
          <ac:chgData name="Ugo MANTEL" userId="2d5b7065-31bb-4181-a7f8-a73bf0c30211" providerId="ADAL" clId="{F05BB0D5-3454-45DC-8378-DA45B79D9A06}" dt="2020-10-02T13:04:33.080" v="1983" actId="790"/>
          <ac:spMkLst>
            <pc:docMk/>
            <pc:sldMk cId="1770045098" sldId="6727"/>
            <ac:spMk id="29" creationId="{0A8FEE59-28C4-4395-8A95-2D36FA037EC1}"/>
          </ac:spMkLst>
        </pc:spChg>
        <pc:spChg chg="mod">
          <ac:chgData name="Ugo MANTEL" userId="2d5b7065-31bb-4181-a7f8-a73bf0c30211" providerId="ADAL" clId="{F05BB0D5-3454-45DC-8378-DA45B79D9A06}" dt="2020-10-02T13:04:33.069" v="1973" actId="790"/>
          <ac:spMkLst>
            <pc:docMk/>
            <pc:sldMk cId="1770045098" sldId="6727"/>
            <ac:spMk id="33" creationId="{A4A584A9-DE9A-4596-AC67-07538E75411F}"/>
          </ac:spMkLst>
        </pc:spChg>
        <pc:spChg chg="mod">
          <ac:chgData name="Ugo MANTEL" userId="2d5b7065-31bb-4181-a7f8-a73bf0c30211" providerId="ADAL" clId="{F05BB0D5-3454-45DC-8378-DA45B79D9A06}" dt="2020-10-02T13:04:33.073" v="1974" actId="790"/>
          <ac:spMkLst>
            <pc:docMk/>
            <pc:sldMk cId="1770045098" sldId="6727"/>
            <ac:spMk id="34" creationId="{25BFF712-FBF1-4DF2-AD8D-6466B435F2D6}"/>
          </ac:spMkLst>
        </pc:spChg>
        <pc:spChg chg="mod">
          <ac:chgData name="Ugo MANTEL" userId="2d5b7065-31bb-4181-a7f8-a73bf0c30211" providerId="ADAL" clId="{F05BB0D5-3454-45DC-8378-DA45B79D9A06}" dt="2020-10-02T13:04:33.074" v="1975" actId="790"/>
          <ac:spMkLst>
            <pc:docMk/>
            <pc:sldMk cId="1770045098" sldId="6727"/>
            <ac:spMk id="35" creationId="{6E06CD1B-F374-4AD2-A1F0-7EC54EAF9593}"/>
          </ac:spMkLst>
        </pc:spChg>
        <pc:spChg chg="mod">
          <ac:chgData name="Ugo MANTEL" userId="2d5b7065-31bb-4181-a7f8-a73bf0c30211" providerId="ADAL" clId="{F05BB0D5-3454-45DC-8378-DA45B79D9A06}" dt="2020-10-02T13:04:33.080" v="1982" actId="790"/>
          <ac:spMkLst>
            <pc:docMk/>
            <pc:sldMk cId="1770045098" sldId="6727"/>
            <ac:spMk id="37" creationId="{EEFDAF66-2DCD-4701-A7CA-13CA717DD2C6}"/>
          </ac:spMkLst>
        </pc:spChg>
        <pc:spChg chg="mod">
          <ac:chgData name="Ugo MANTEL" userId="2d5b7065-31bb-4181-a7f8-a73bf0c30211" providerId="ADAL" clId="{F05BB0D5-3454-45DC-8378-DA45B79D9A06}" dt="2020-10-02T13:04:33.077" v="1978" actId="790"/>
          <ac:spMkLst>
            <pc:docMk/>
            <pc:sldMk cId="1770045098" sldId="6727"/>
            <ac:spMk id="38" creationId="{1705FFA1-5FBA-40A3-B3E2-473E692A0ABB}"/>
          </ac:spMkLst>
        </pc:spChg>
        <pc:spChg chg="mod">
          <ac:chgData name="Ugo MANTEL" userId="2d5b7065-31bb-4181-a7f8-a73bf0c30211" providerId="ADAL" clId="{F05BB0D5-3454-45DC-8378-DA45B79D9A06}" dt="2020-10-02T13:04:33.078" v="1979" actId="790"/>
          <ac:spMkLst>
            <pc:docMk/>
            <pc:sldMk cId="1770045098" sldId="6727"/>
            <ac:spMk id="39" creationId="{3D0BEBBA-1595-441E-AED6-DBE27D298499}"/>
          </ac:spMkLst>
        </pc:spChg>
        <pc:spChg chg="mod">
          <ac:chgData name="Ugo MANTEL" userId="2d5b7065-31bb-4181-a7f8-a73bf0c30211" providerId="ADAL" clId="{F05BB0D5-3454-45DC-8378-DA45B79D9A06}" dt="2020-10-02T13:04:33.078" v="1980" actId="790"/>
          <ac:spMkLst>
            <pc:docMk/>
            <pc:sldMk cId="1770045098" sldId="6727"/>
            <ac:spMk id="40" creationId="{20886D96-3964-4565-8ED3-1F7D6EB3DA8D}"/>
          </ac:spMkLst>
        </pc:spChg>
        <pc:spChg chg="mod">
          <ac:chgData name="Ugo MANTEL" userId="2d5b7065-31bb-4181-a7f8-a73bf0c30211" providerId="ADAL" clId="{F05BB0D5-3454-45DC-8378-DA45B79D9A06}" dt="2020-10-02T13:04:33.079" v="1981" actId="790"/>
          <ac:spMkLst>
            <pc:docMk/>
            <pc:sldMk cId="1770045098" sldId="6727"/>
            <ac:spMk id="43" creationId="{D0DBC933-98C4-4CC8-A378-5E642163C669}"/>
          </ac:spMkLst>
        </pc:spChg>
        <pc:spChg chg="mod">
          <ac:chgData name="Ugo MANTEL" userId="2d5b7065-31bb-4181-a7f8-a73bf0c30211" providerId="ADAL" clId="{F05BB0D5-3454-45DC-8378-DA45B79D9A06}" dt="2020-10-02T13:04:33.081" v="1984" actId="790"/>
          <ac:spMkLst>
            <pc:docMk/>
            <pc:sldMk cId="1770045098" sldId="6727"/>
            <ac:spMk id="53" creationId="{D8C3798D-66E0-49C8-B82D-F42A1FC5CB79}"/>
          </ac:spMkLst>
        </pc:spChg>
        <pc:spChg chg="mod">
          <ac:chgData name="Ugo MANTEL" userId="2d5b7065-31bb-4181-a7f8-a73bf0c30211" providerId="ADAL" clId="{F05BB0D5-3454-45DC-8378-DA45B79D9A06}" dt="2020-10-02T13:04:33.082" v="1985" actId="790"/>
          <ac:spMkLst>
            <pc:docMk/>
            <pc:sldMk cId="1770045098" sldId="6727"/>
            <ac:spMk id="54" creationId="{45546434-5DA5-41FB-98F8-3A40E5F853D9}"/>
          </ac:spMkLst>
        </pc:spChg>
        <pc:spChg chg="mod">
          <ac:chgData name="Ugo MANTEL" userId="2d5b7065-31bb-4181-a7f8-a73bf0c30211" providerId="ADAL" clId="{F05BB0D5-3454-45DC-8378-DA45B79D9A06}" dt="2020-10-02T13:04:33.083" v="1986" actId="790"/>
          <ac:spMkLst>
            <pc:docMk/>
            <pc:sldMk cId="1770045098" sldId="6727"/>
            <ac:spMk id="56" creationId="{F9B6687C-ABFA-4D71-8653-7A8EA92D664B}"/>
          </ac:spMkLst>
        </pc:spChg>
        <pc:spChg chg="mod">
          <ac:chgData name="Ugo MANTEL" userId="2d5b7065-31bb-4181-a7f8-a73bf0c30211" providerId="ADAL" clId="{F05BB0D5-3454-45DC-8378-DA45B79D9A06}" dt="2020-10-02T13:04:33.084" v="1987" actId="790"/>
          <ac:spMkLst>
            <pc:docMk/>
            <pc:sldMk cId="1770045098" sldId="6727"/>
            <ac:spMk id="58" creationId="{92CB1DD2-0D88-4D9E-AF9F-E025CC49E1EB}"/>
          </ac:spMkLst>
        </pc:spChg>
        <pc:spChg chg="mod">
          <ac:chgData name="Ugo MANTEL" userId="2d5b7065-31bb-4181-a7f8-a73bf0c30211" providerId="ADAL" clId="{F05BB0D5-3454-45DC-8378-DA45B79D9A06}" dt="2020-10-02T13:04:33.085" v="1988" actId="790"/>
          <ac:spMkLst>
            <pc:docMk/>
            <pc:sldMk cId="1770045098" sldId="6727"/>
            <ac:spMk id="59" creationId="{66694ED5-F44C-477F-A871-927AA8BBD1E1}"/>
          </ac:spMkLst>
        </pc:spChg>
        <pc:spChg chg="mod">
          <ac:chgData name="Ugo MANTEL" userId="2d5b7065-31bb-4181-a7f8-a73bf0c30211" providerId="ADAL" clId="{F05BB0D5-3454-45DC-8378-DA45B79D9A06}" dt="2020-10-02T13:04:33.086" v="1989" actId="790"/>
          <ac:spMkLst>
            <pc:docMk/>
            <pc:sldMk cId="1770045098" sldId="6727"/>
            <ac:spMk id="60" creationId="{89AA39F7-3458-4D4C-83F6-43836D1E22AE}"/>
          </ac:spMkLst>
        </pc:spChg>
        <pc:spChg chg="mod">
          <ac:chgData name="Ugo MANTEL" userId="2d5b7065-31bb-4181-a7f8-a73bf0c30211" providerId="ADAL" clId="{F05BB0D5-3454-45DC-8378-DA45B79D9A06}" dt="2020-10-02T13:04:33.086" v="1990" actId="790"/>
          <ac:spMkLst>
            <pc:docMk/>
            <pc:sldMk cId="1770045098" sldId="6727"/>
            <ac:spMk id="62" creationId="{22ECD98C-8FB1-4A10-A53B-34D0BD5CE105}"/>
          </ac:spMkLst>
        </pc:spChg>
        <pc:spChg chg="mod">
          <ac:chgData name="Ugo MANTEL" userId="2d5b7065-31bb-4181-a7f8-a73bf0c30211" providerId="ADAL" clId="{F05BB0D5-3454-45DC-8378-DA45B79D9A06}" dt="2020-10-02T13:04:33.087" v="1991" actId="790"/>
          <ac:spMkLst>
            <pc:docMk/>
            <pc:sldMk cId="1770045098" sldId="6727"/>
            <ac:spMk id="64" creationId="{ED023466-F322-4383-9247-160C4EB511E1}"/>
          </ac:spMkLst>
        </pc:spChg>
        <pc:spChg chg="mod">
          <ac:chgData name="Ugo MANTEL" userId="2d5b7065-31bb-4181-a7f8-a73bf0c30211" providerId="ADAL" clId="{F05BB0D5-3454-45DC-8378-DA45B79D9A06}" dt="2020-10-02T13:04:33.088" v="1992" actId="790"/>
          <ac:spMkLst>
            <pc:docMk/>
            <pc:sldMk cId="1770045098" sldId="6727"/>
            <ac:spMk id="65" creationId="{28D5DE04-50A0-4D29-94DC-1643C2C0C540}"/>
          </ac:spMkLst>
        </pc:spChg>
        <pc:spChg chg="mod">
          <ac:chgData name="Ugo MANTEL" userId="2d5b7065-31bb-4181-a7f8-a73bf0c30211" providerId="ADAL" clId="{F05BB0D5-3454-45DC-8378-DA45B79D9A06}" dt="2020-10-02T13:04:33.089" v="1993" actId="790"/>
          <ac:spMkLst>
            <pc:docMk/>
            <pc:sldMk cId="1770045098" sldId="6727"/>
            <ac:spMk id="66" creationId="{02DA807D-A70A-4901-9126-A2794FD8F12B}"/>
          </ac:spMkLst>
        </pc:spChg>
        <pc:spChg chg="mod">
          <ac:chgData name="Ugo MANTEL" userId="2d5b7065-31bb-4181-a7f8-a73bf0c30211" providerId="ADAL" clId="{F05BB0D5-3454-45DC-8378-DA45B79D9A06}" dt="2020-10-02T13:04:33.089" v="1994" actId="790"/>
          <ac:spMkLst>
            <pc:docMk/>
            <pc:sldMk cId="1770045098" sldId="6727"/>
            <ac:spMk id="69" creationId="{75BD739E-4D4E-4E2B-A767-B59FFF9D8AB9}"/>
          </ac:spMkLst>
        </pc:spChg>
        <pc:spChg chg="mod">
          <ac:chgData name="Ugo MANTEL" userId="2d5b7065-31bb-4181-a7f8-a73bf0c30211" providerId="ADAL" clId="{F05BB0D5-3454-45DC-8378-DA45B79D9A06}" dt="2020-10-02T13:04:33.090" v="1995" actId="790"/>
          <ac:spMkLst>
            <pc:docMk/>
            <pc:sldMk cId="1770045098" sldId="6727"/>
            <ac:spMk id="71" creationId="{ECC7D94D-0C2A-4F17-B078-019ECDB067EE}"/>
          </ac:spMkLst>
        </pc:spChg>
        <pc:spChg chg="mod">
          <ac:chgData name="Ugo MANTEL" userId="2d5b7065-31bb-4181-a7f8-a73bf0c30211" providerId="ADAL" clId="{F05BB0D5-3454-45DC-8378-DA45B79D9A06}" dt="2020-10-02T13:04:33.091" v="1996" actId="790"/>
          <ac:spMkLst>
            <pc:docMk/>
            <pc:sldMk cId="1770045098" sldId="6727"/>
            <ac:spMk id="72" creationId="{53C54B8D-BE68-4D37-A999-4A69EAE72C27}"/>
          </ac:spMkLst>
        </pc:spChg>
        <pc:spChg chg="mod">
          <ac:chgData name="Ugo MANTEL" userId="2d5b7065-31bb-4181-a7f8-a73bf0c30211" providerId="ADAL" clId="{F05BB0D5-3454-45DC-8378-DA45B79D9A06}" dt="2020-10-02T13:04:33.092" v="1997" actId="790"/>
          <ac:spMkLst>
            <pc:docMk/>
            <pc:sldMk cId="1770045098" sldId="6727"/>
            <ac:spMk id="73" creationId="{33EC2CA9-E55A-42EF-AE84-8E6F3F8A905F}"/>
          </ac:spMkLst>
        </pc:spChg>
        <pc:spChg chg="mod">
          <ac:chgData name="Ugo MANTEL" userId="2d5b7065-31bb-4181-a7f8-a73bf0c30211" providerId="ADAL" clId="{F05BB0D5-3454-45DC-8378-DA45B79D9A06}" dt="2020-10-02T13:04:33.092" v="1998" actId="790"/>
          <ac:spMkLst>
            <pc:docMk/>
            <pc:sldMk cId="1770045098" sldId="6727"/>
            <ac:spMk id="75" creationId="{16D16546-4134-4651-99F2-573467EF2354}"/>
          </ac:spMkLst>
        </pc:spChg>
      </pc:sldChg>
      <pc:sldChg chg="modSp mod">
        <pc:chgData name="Ugo MANTEL" userId="2d5b7065-31bb-4181-a7f8-a73bf0c30211" providerId="ADAL" clId="{F05BB0D5-3454-45DC-8378-DA45B79D9A06}" dt="2020-10-02T13:04:32.774" v="1672" actId="790"/>
        <pc:sldMkLst>
          <pc:docMk/>
          <pc:sldMk cId="4144320212" sldId="6728"/>
        </pc:sldMkLst>
        <pc:spChg chg="mod">
          <ac:chgData name="Ugo MANTEL" userId="2d5b7065-31bb-4181-a7f8-a73bf0c30211" providerId="ADAL" clId="{F05BB0D5-3454-45DC-8378-DA45B79D9A06}" dt="2020-10-02T13:04:32.742" v="1645" actId="790"/>
          <ac:spMkLst>
            <pc:docMk/>
            <pc:sldMk cId="4144320212" sldId="6728"/>
            <ac:spMk id="2" creationId="{0FA387D0-9623-4011-8547-7C5D98F981C8}"/>
          </ac:spMkLst>
        </pc:spChg>
        <pc:spChg chg="mod">
          <ac:chgData name="Ugo MANTEL" userId="2d5b7065-31bb-4181-a7f8-a73bf0c30211" providerId="ADAL" clId="{F05BB0D5-3454-45DC-8378-DA45B79D9A06}" dt="2020-10-02T13:04:32.741" v="1644" actId="790"/>
          <ac:spMkLst>
            <pc:docMk/>
            <pc:sldMk cId="4144320212" sldId="6728"/>
            <ac:spMk id="4" creationId="{47079302-09A3-4309-A89A-C211108E4152}"/>
          </ac:spMkLst>
        </pc:spChg>
        <pc:spChg chg="mod">
          <ac:chgData name="Ugo MANTEL" userId="2d5b7065-31bb-4181-a7f8-a73bf0c30211" providerId="ADAL" clId="{F05BB0D5-3454-45DC-8378-DA45B79D9A06}" dt="2020-10-02T13:04:32.743" v="1646" actId="790"/>
          <ac:spMkLst>
            <pc:docMk/>
            <pc:sldMk cId="4144320212" sldId="6728"/>
            <ac:spMk id="9" creationId="{72DB412A-0FB9-4626-8FB6-68A3A75D4E61}"/>
          </ac:spMkLst>
        </pc:spChg>
        <pc:spChg chg="mod">
          <ac:chgData name="Ugo MANTEL" userId="2d5b7065-31bb-4181-a7f8-a73bf0c30211" providerId="ADAL" clId="{F05BB0D5-3454-45DC-8378-DA45B79D9A06}" dt="2020-10-02T13:04:32.761" v="1659" actId="790"/>
          <ac:spMkLst>
            <pc:docMk/>
            <pc:sldMk cId="4144320212" sldId="6728"/>
            <ac:spMk id="12" creationId="{EA1A5C2A-AB1F-4D69-B08A-BB5F8C7A9FA0}"/>
          </ac:spMkLst>
        </pc:spChg>
        <pc:spChg chg="mod">
          <ac:chgData name="Ugo MANTEL" userId="2d5b7065-31bb-4181-a7f8-a73bf0c30211" providerId="ADAL" clId="{F05BB0D5-3454-45DC-8378-DA45B79D9A06}" dt="2020-10-02T13:04:32.739" v="1643" actId="790"/>
          <ac:spMkLst>
            <pc:docMk/>
            <pc:sldMk cId="4144320212" sldId="6728"/>
            <ac:spMk id="13" creationId="{14CE8628-3F24-496F-AE92-A6ACC37B1610}"/>
          </ac:spMkLst>
        </pc:spChg>
        <pc:spChg chg="mod">
          <ac:chgData name="Ugo MANTEL" userId="2d5b7065-31bb-4181-a7f8-a73bf0c30211" providerId="ADAL" clId="{F05BB0D5-3454-45DC-8378-DA45B79D9A06}" dt="2020-10-02T13:04:32.745" v="1649" actId="790"/>
          <ac:spMkLst>
            <pc:docMk/>
            <pc:sldMk cId="4144320212" sldId="6728"/>
            <ac:spMk id="14" creationId="{BCFEC850-E48E-48C2-BFA5-D0FB6DB45241}"/>
          </ac:spMkLst>
        </pc:spChg>
        <pc:spChg chg="mod">
          <ac:chgData name="Ugo MANTEL" userId="2d5b7065-31bb-4181-a7f8-a73bf0c30211" providerId="ADAL" clId="{F05BB0D5-3454-45DC-8378-DA45B79D9A06}" dt="2020-10-02T13:04:32.767" v="1663" actId="790"/>
          <ac:spMkLst>
            <pc:docMk/>
            <pc:sldMk cId="4144320212" sldId="6728"/>
            <ac:spMk id="16" creationId="{692E84D6-5919-44FC-93F6-6322CEB1855D}"/>
          </ac:spMkLst>
        </pc:spChg>
        <pc:spChg chg="mod">
          <ac:chgData name="Ugo MANTEL" userId="2d5b7065-31bb-4181-a7f8-a73bf0c30211" providerId="ADAL" clId="{F05BB0D5-3454-45DC-8378-DA45B79D9A06}" dt="2020-10-02T13:04:32.768" v="1664" actId="790"/>
          <ac:spMkLst>
            <pc:docMk/>
            <pc:sldMk cId="4144320212" sldId="6728"/>
            <ac:spMk id="19" creationId="{ED4AD25C-4830-4C7B-8AFE-059F00E0BEAF}"/>
          </ac:spMkLst>
        </pc:spChg>
        <pc:spChg chg="mod">
          <ac:chgData name="Ugo MANTEL" userId="2d5b7065-31bb-4181-a7f8-a73bf0c30211" providerId="ADAL" clId="{F05BB0D5-3454-45DC-8378-DA45B79D9A06}" dt="2020-10-02T13:04:32.769" v="1665" actId="790"/>
          <ac:spMkLst>
            <pc:docMk/>
            <pc:sldMk cId="4144320212" sldId="6728"/>
            <ac:spMk id="21" creationId="{3128434E-E917-486F-85DC-08CC68829FA8}"/>
          </ac:spMkLst>
        </pc:spChg>
        <pc:spChg chg="mod">
          <ac:chgData name="Ugo MANTEL" userId="2d5b7065-31bb-4181-a7f8-a73bf0c30211" providerId="ADAL" clId="{F05BB0D5-3454-45DC-8378-DA45B79D9A06}" dt="2020-10-02T13:04:32.751" v="1652" actId="790"/>
          <ac:spMkLst>
            <pc:docMk/>
            <pc:sldMk cId="4144320212" sldId="6728"/>
            <ac:spMk id="22" creationId="{A01C38A5-26A3-4F28-9B86-C55EAC05D182}"/>
          </ac:spMkLst>
        </pc:spChg>
        <pc:spChg chg="mod">
          <ac:chgData name="Ugo MANTEL" userId="2d5b7065-31bb-4181-a7f8-a73bf0c30211" providerId="ADAL" clId="{F05BB0D5-3454-45DC-8378-DA45B79D9A06}" dt="2020-10-02T13:04:32.757" v="1655" actId="790"/>
          <ac:spMkLst>
            <pc:docMk/>
            <pc:sldMk cId="4144320212" sldId="6728"/>
            <ac:spMk id="23" creationId="{AF03692B-EDE7-49C0-9469-792607B855DA}"/>
          </ac:spMkLst>
        </pc:spChg>
        <pc:spChg chg="mod">
          <ac:chgData name="Ugo MANTEL" userId="2d5b7065-31bb-4181-a7f8-a73bf0c30211" providerId="ADAL" clId="{F05BB0D5-3454-45DC-8378-DA45B79D9A06}" dt="2020-10-02T13:04:32.748" v="1650" actId="790"/>
          <ac:spMkLst>
            <pc:docMk/>
            <pc:sldMk cId="4144320212" sldId="6728"/>
            <ac:spMk id="24" creationId="{EC237594-AD3D-454F-81E3-8E85A2348146}"/>
          </ac:spMkLst>
        </pc:spChg>
        <pc:spChg chg="mod">
          <ac:chgData name="Ugo MANTEL" userId="2d5b7065-31bb-4181-a7f8-a73bf0c30211" providerId="ADAL" clId="{F05BB0D5-3454-45DC-8378-DA45B79D9A06}" dt="2020-10-02T13:04:32.754" v="1653" actId="790"/>
          <ac:spMkLst>
            <pc:docMk/>
            <pc:sldMk cId="4144320212" sldId="6728"/>
            <ac:spMk id="25" creationId="{F6363530-702C-4B11-956C-D997289455DE}"/>
          </ac:spMkLst>
        </pc:spChg>
        <pc:spChg chg="mod">
          <ac:chgData name="Ugo MANTEL" userId="2d5b7065-31bb-4181-a7f8-a73bf0c30211" providerId="ADAL" clId="{F05BB0D5-3454-45DC-8378-DA45B79D9A06}" dt="2020-10-02T13:04:32.759" v="1656" actId="790"/>
          <ac:spMkLst>
            <pc:docMk/>
            <pc:sldMk cId="4144320212" sldId="6728"/>
            <ac:spMk id="26" creationId="{8A586765-5E7F-493F-88A0-837E50CEF9C7}"/>
          </ac:spMkLst>
        </pc:spChg>
        <pc:spChg chg="mod">
          <ac:chgData name="Ugo MANTEL" userId="2d5b7065-31bb-4181-a7f8-a73bf0c30211" providerId="ADAL" clId="{F05BB0D5-3454-45DC-8378-DA45B79D9A06}" dt="2020-10-02T13:04:32.743" v="1647" actId="790"/>
          <ac:spMkLst>
            <pc:docMk/>
            <pc:sldMk cId="4144320212" sldId="6728"/>
            <ac:spMk id="28" creationId="{61BD83C4-B59F-4998-A193-6C713F365374}"/>
          </ac:spMkLst>
        </pc:spChg>
        <pc:spChg chg="mod">
          <ac:chgData name="Ugo MANTEL" userId="2d5b7065-31bb-4181-a7f8-a73bf0c30211" providerId="ADAL" clId="{F05BB0D5-3454-45DC-8378-DA45B79D9A06}" dt="2020-10-02T13:04:32.749" v="1651" actId="790"/>
          <ac:spMkLst>
            <pc:docMk/>
            <pc:sldMk cId="4144320212" sldId="6728"/>
            <ac:spMk id="29" creationId="{060247D5-41EE-4E1C-8AF2-2F76988F75C8}"/>
          </ac:spMkLst>
        </pc:spChg>
        <pc:spChg chg="mod">
          <ac:chgData name="Ugo MANTEL" userId="2d5b7065-31bb-4181-a7f8-a73bf0c30211" providerId="ADAL" clId="{F05BB0D5-3454-45DC-8378-DA45B79D9A06}" dt="2020-10-02T13:04:32.756" v="1654" actId="790"/>
          <ac:spMkLst>
            <pc:docMk/>
            <pc:sldMk cId="4144320212" sldId="6728"/>
            <ac:spMk id="30" creationId="{915DE561-E594-422C-ABEF-BE658ED3202A}"/>
          </ac:spMkLst>
        </pc:spChg>
        <pc:spChg chg="mod">
          <ac:chgData name="Ugo MANTEL" userId="2d5b7065-31bb-4181-a7f8-a73bf0c30211" providerId="ADAL" clId="{F05BB0D5-3454-45DC-8378-DA45B79D9A06}" dt="2020-10-02T13:04:32.761" v="1658" actId="790"/>
          <ac:spMkLst>
            <pc:docMk/>
            <pc:sldMk cId="4144320212" sldId="6728"/>
            <ac:spMk id="31" creationId="{CF10381D-2B0D-4F0D-A107-DE4398C077FC}"/>
          </ac:spMkLst>
        </pc:spChg>
        <pc:spChg chg="mod">
          <ac:chgData name="Ugo MANTEL" userId="2d5b7065-31bb-4181-a7f8-a73bf0c30211" providerId="ADAL" clId="{F05BB0D5-3454-45DC-8378-DA45B79D9A06}" dt="2020-10-02T13:04:32.770" v="1666" actId="790"/>
          <ac:spMkLst>
            <pc:docMk/>
            <pc:sldMk cId="4144320212" sldId="6728"/>
            <ac:spMk id="32" creationId="{5E35726E-70F3-473F-8AE2-FE626231EE19}"/>
          </ac:spMkLst>
        </pc:spChg>
        <pc:spChg chg="mod">
          <ac:chgData name="Ugo MANTEL" userId="2d5b7065-31bb-4181-a7f8-a73bf0c30211" providerId="ADAL" clId="{F05BB0D5-3454-45DC-8378-DA45B79D9A06}" dt="2020-10-02T13:04:32.770" v="1667" actId="790"/>
          <ac:spMkLst>
            <pc:docMk/>
            <pc:sldMk cId="4144320212" sldId="6728"/>
            <ac:spMk id="33" creationId="{8AD7B1BB-687C-41D1-99CC-748B715F1357}"/>
          </ac:spMkLst>
        </pc:spChg>
        <pc:spChg chg="mod">
          <ac:chgData name="Ugo MANTEL" userId="2d5b7065-31bb-4181-a7f8-a73bf0c30211" providerId="ADAL" clId="{F05BB0D5-3454-45DC-8378-DA45B79D9A06}" dt="2020-10-02T13:04:32.774" v="1672" actId="790"/>
          <ac:spMkLst>
            <pc:docMk/>
            <pc:sldMk cId="4144320212" sldId="6728"/>
            <ac:spMk id="46" creationId="{8A3E495C-BBCF-4977-93DF-67D88835594B}"/>
          </ac:spMkLst>
        </pc:spChg>
        <pc:spChg chg="mod">
          <ac:chgData name="Ugo MANTEL" userId="2d5b7065-31bb-4181-a7f8-a73bf0c30211" providerId="ADAL" clId="{F05BB0D5-3454-45DC-8378-DA45B79D9A06}" dt="2020-10-02T13:04:32.760" v="1657" actId="790"/>
          <ac:spMkLst>
            <pc:docMk/>
            <pc:sldMk cId="4144320212" sldId="6728"/>
            <ac:spMk id="47" creationId="{6EB208DB-88DF-4A4A-B39E-823496A978C9}"/>
          </ac:spMkLst>
        </pc:spChg>
        <pc:spChg chg="mod">
          <ac:chgData name="Ugo MANTEL" userId="2d5b7065-31bb-4181-a7f8-a73bf0c30211" providerId="ADAL" clId="{F05BB0D5-3454-45DC-8378-DA45B79D9A06}" dt="2020-10-02T13:04:32.771" v="1668" actId="790"/>
          <ac:spMkLst>
            <pc:docMk/>
            <pc:sldMk cId="4144320212" sldId="6728"/>
            <ac:spMk id="48" creationId="{D46C80E9-4694-4D7C-893E-290276647A74}"/>
          </ac:spMkLst>
        </pc:spChg>
        <pc:spChg chg="mod">
          <ac:chgData name="Ugo MANTEL" userId="2d5b7065-31bb-4181-a7f8-a73bf0c30211" providerId="ADAL" clId="{F05BB0D5-3454-45DC-8378-DA45B79D9A06}" dt="2020-10-02T13:04:32.772" v="1669" actId="790"/>
          <ac:spMkLst>
            <pc:docMk/>
            <pc:sldMk cId="4144320212" sldId="6728"/>
            <ac:spMk id="49" creationId="{AF7D2484-8E97-49AD-82C2-518216AD0774}"/>
          </ac:spMkLst>
        </pc:spChg>
        <pc:spChg chg="mod">
          <ac:chgData name="Ugo MANTEL" userId="2d5b7065-31bb-4181-a7f8-a73bf0c30211" providerId="ADAL" clId="{F05BB0D5-3454-45DC-8378-DA45B79D9A06}" dt="2020-10-02T13:04:32.772" v="1670" actId="790"/>
          <ac:spMkLst>
            <pc:docMk/>
            <pc:sldMk cId="4144320212" sldId="6728"/>
            <ac:spMk id="50" creationId="{11B3CE88-4382-44E6-9D66-E1F42AF2037A}"/>
          </ac:spMkLst>
        </pc:spChg>
        <pc:spChg chg="mod">
          <ac:chgData name="Ugo MANTEL" userId="2d5b7065-31bb-4181-a7f8-a73bf0c30211" providerId="ADAL" clId="{F05BB0D5-3454-45DC-8378-DA45B79D9A06}" dt="2020-10-02T13:04:32.763" v="1660" actId="790"/>
          <ac:spMkLst>
            <pc:docMk/>
            <pc:sldMk cId="4144320212" sldId="6728"/>
            <ac:spMk id="51" creationId="{977423ED-228E-46FB-AC10-1162D7AE2B5F}"/>
          </ac:spMkLst>
        </pc:spChg>
        <pc:spChg chg="mod">
          <ac:chgData name="Ugo MANTEL" userId="2d5b7065-31bb-4181-a7f8-a73bf0c30211" providerId="ADAL" clId="{F05BB0D5-3454-45DC-8378-DA45B79D9A06}" dt="2020-10-02T13:04:32.764" v="1661" actId="790"/>
          <ac:spMkLst>
            <pc:docMk/>
            <pc:sldMk cId="4144320212" sldId="6728"/>
            <ac:spMk id="52" creationId="{FC557E8E-3266-4F49-8B5B-2FF11AF870F0}"/>
          </ac:spMkLst>
        </pc:spChg>
        <pc:spChg chg="mod">
          <ac:chgData name="Ugo MANTEL" userId="2d5b7065-31bb-4181-a7f8-a73bf0c30211" providerId="ADAL" clId="{F05BB0D5-3454-45DC-8378-DA45B79D9A06}" dt="2020-10-02T13:04:32.766" v="1662" actId="790"/>
          <ac:spMkLst>
            <pc:docMk/>
            <pc:sldMk cId="4144320212" sldId="6728"/>
            <ac:spMk id="53" creationId="{5BAEC41E-5484-44CD-8768-800721C328F8}"/>
          </ac:spMkLst>
        </pc:spChg>
        <pc:spChg chg="mod">
          <ac:chgData name="Ugo MANTEL" userId="2d5b7065-31bb-4181-a7f8-a73bf0c30211" providerId="ADAL" clId="{F05BB0D5-3454-45DC-8378-DA45B79D9A06}" dt="2020-10-02T13:04:32.773" v="1671" actId="790"/>
          <ac:spMkLst>
            <pc:docMk/>
            <pc:sldMk cId="4144320212" sldId="6728"/>
            <ac:spMk id="54" creationId="{ADA12236-4580-46FF-914C-F358ACE0B508}"/>
          </ac:spMkLst>
        </pc:spChg>
        <pc:spChg chg="mod">
          <ac:chgData name="Ugo MANTEL" userId="2d5b7065-31bb-4181-a7f8-a73bf0c30211" providerId="ADAL" clId="{F05BB0D5-3454-45DC-8378-DA45B79D9A06}" dt="2020-10-02T13:04:32.744" v="1648" actId="790"/>
          <ac:spMkLst>
            <pc:docMk/>
            <pc:sldMk cId="4144320212" sldId="6728"/>
            <ac:spMk id="62" creationId="{DE18D103-BF3E-4187-AF51-6B676ECC01A3}"/>
          </ac:spMkLst>
        </pc:spChg>
      </pc:sldChg>
      <pc:sldChg chg="modSp mod">
        <pc:chgData name="Ugo MANTEL" userId="2d5b7065-31bb-4181-a7f8-a73bf0c30211" providerId="ADAL" clId="{F05BB0D5-3454-45DC-8378-DA45B79D9A06}" dt="2020-10-02T13:04:32.738" v="1642" actId="790"/>
        <pc:sldMkLst>
          <pc:docMk/>
          <pc:sldMk cId="729228182" sldId="6731"/>
        </pc:sldMkLst>
        <pc:spChg chg="mod">
          <ac:chgData name="Ugo MANTEL" userId="2d5b7065-31bb-4181-a7f8-a73bf0c30211" providerId="ADAL" clId="{F05BB0D5-3454-45DC-8378-DA45B79D9A06}" dt="2020-10-02T13:04:32.705" v="1612" actId="790"/>
          <ac:spMkLst>
            <pc:docMk/>
            <pc:sldMk cId="729228182" sldId="6731"/>
            <ac:spMk id="3" creationId="{1A6D1EA2-CFB7-43FE-889C-A888A5350F83}"/>
          </ac:spMkLst>
        </pc:spChg>
        <pc:spChg chg="mod">
          <ac:chgData name="Ugo MANTEL" userId="2d5b7065-31bb-4181-a7f8-a73bf0c30211" providerId="ADAL" clId="{F05BB0D5-3454-45DC-8378-DA45B79D9A06}" dt="2020-10-02T13:04:32.729" v="1631" actId="790"/>
          <ac:spMkLst>
            <pc:docMk/>
            <pc:sldMk cId="729228182" sldId="6731"/>
            <ac:spMk id="5" creationId="{8CCC2692-D064-4DA4-9938-6E68C1350D82}"/>
          </ac:spMkLst>
        </pc:spChg>
        <pc:spChg chg="mod">
          <ac:chgData name="Ugo MANTEL" userId="2d5b7065-31bb-4181-a7f8-a73bf0c30211" providerId="ADAL" clId="{F05BB0D5-3454-45DC-8378-DA45B79D9A06}" dt="2020-10-02T13:04:32.730" v="1632" actId="790"/>
          <ac:spMkLst>
            <pc:docMk/>
            <pc:sldMk cId="729228182" sldId="6731"/>
            <ac:spMk id="7" creationId="{25839D09-3D81-42DE-91B0-712104B7B011}"/>
          </ac:spMkLst>
        </pc:spChg>
        <pc:spChg chg="mod">
          <ac:chgData name="Ugo MANTEL" userId="2d5b7065-31bb-4181-a7f8-a73bf0c30211" providerId="ADAL" clId="{F05BB0D5-3454-45DC-8378-DA45B79D9A06}" dt="2020-10-02T13:04:32.708" v="1614" actId="790"/>
          <ac:spMkLst>
            <pc:docMk/>
            <pc:sldMk cId="729228182" sldId="6731"/>
            <ac:spMk id="8" creationId="{DFEFA0AD-2FEB-473B-AC3D-84627D9F51E0}"/>
          </ac:spMkLst>
        </pc:spChg>
        <pc:spChg chg="mod">
          <ac:chgData name="Ugo MANTEL" userId="2d5b7065-31bb-4181-a7f8-a73bf0c30211" providerId="ADAL" clId="{F05BB0D5-3454-45DC-8378-DA45B79D9A06}" dt="2020-10-02T13:04:32.709" v="1615" actId="790"/>
          <ac:spMkLst>
            <pc:docMk/>
            <pc:sldMk cId="729228182" sldId="6731"/>
            <ac:spMk id="12" creationId="{06CB4BD9-EF73-40DB-91F4-8ABB9FF1845C}"/>
          </ac:spMkLst>
        </pc:spChg>
        <pc:spChg chg="mod">
          <ac:chgData name="Ugo MANTEL" userId="2d5b7065-31bb-4181-a7f8-a73bf0c30211" providerId="ADAL" clId="{F05BB0D5-3454-45DC-8378-DA45B79D9A06}" dt="2020-10-02T13:04:32.709" v="1616" actId="790"/>
          <ac:spMkLst>
            <pc:docMk/>
            <pc:sldMk cId="729228182" sldId="6731"/>
            <ac:spMk id="16" creationId="{5807AE6E-29C7-4747-A0B3-D2396D16F586}"/>
          </ac:spMkLst>
        </pc:spChg>
        <pc:spChg chg="mod">
          <ac:chgData name="Ugo MANTEL" userId="2d5b7065-31bb-4181-a7f8-a73bf0c30211" providerId="ADAL" clId="{F05BB0D5-3454-45DC-8378-DA45B79D9A06}" dt="2020-10-02T13:04:32.710" v="1617" actId="790"/>
          <ac:spMkLst>
            <pc:docMk/>
            <pc:sldMk cId="729228182" sldId="6731"/>
            <ac:spMk id="20" creationId="{E860743C-B3FA-4852-8FD9-0B3F073EDB70}"/>
          </ac:spMkLst>
        </pc:spChg>
        <pc:spChg chg="mod">
          <ac:chgData name="Ugo MANTEL" userId="2d5b7065-31bb-4181-a7f8-a73bf0c30211" providerId="ADAL" clId="{F05BB0D5-3454-45DC-8378-DA45B79D9A06}" dt="2020-10-02T13:04:32.730" v="1633" actId="790"/>
          <ac:spMkLst>
            <pc:docMk/>
            <pc:sldMk cId="729228182" sldId="6731"/>
            <ac:spMk id="23" creationId="{D3E8F9F1-0E37-4620-9F03-9C3B7E05C421}"/>
          </ac:spMkLst>
        </pc:spChg>
        <pc:spChg chg="mod">
          <ac:chgData name="Ugo MANTEL" userId="2d5b7065-31bb-4181-a7f8-a73bf0c30211" providerId="ADAL" clId="{F05BB0D5-3454-45DC-8378-DA45B79D9A06}" dt="2020-10-02T13:04:32.734" v="1636" actId="790"/>
          <ac:spMkLst>
            <pc:docMk/>
            <pc:sldMk cId="729228182" sldId="6731"/>
            <ac:spMk id="24" creationId="{CE80B904-2442-49FE-8E06-16A75CC37559}"/>
          </ac:spMkLst>
        </pc:spChg>
        <pc:spChg chg="mod">
          <ac:chgData name="Ugo MANTEL" userId="2d5b7065-31bb-4181-a7f8-a73bf0c30211" providerId="ADAL" clId="{F05BB0D5-3454-45DC-8378-DA45B79D9A06}" dt="2020-10-02T13:04:32.735" v="1637" actId="790"/>
          <ac:spMkLst>
            <pc:docMk/>
            <pc:sldMk cId="729228182" sldId="6731"/>
            <ac:spMk id="26" creationId="{2560CE49-3B43-4AF2-B029-E2D5072657FB}"/>
          </ac:spMkLst>
        </pc:spChg>
        <pc:spChg chg="mod">
          <ac:chgData name="Ugo MANTEL" userId="2d5b7065-31bb-4181-a7f8-a73bf0c30211" providerId="ADAL" clId="{F05BB0D5-3454-45DC-8378-DA45B79D9A06}" dt="2020-10-02T13:04:32.710" v="1618" actId="790"/>
          <ac:spMkLst>
            <pc:docMk/>
            <pc:sldMk cId="729228182" sldId="6731"/>
            <ac:spMk id="28" creationId="{01B97F48-6891-4150-8B29-0C4D633B975F}"/>
          </ac:spMkLst>
        </pc:spChg>
        <pc:spChg chg="mod">
          <ac:chgData name="Ugo MANTEL" userId="2d5b7065-31bb-4181-a7f8-a73bf0c30211" providerId="ADAL" clId="{F05BB0D5-3454-45DC-8378-DA45B79D9A06}" dt="2020-10-02T13:04:32.707" v="1613" actId="790"/>
          <ac:spMkLst>
            <pc:docMk/>
            <pc:sldMk cId="729228182" sldId="6731"/>
            <ac:spMk id="32" creationId="{D0170B06-D36D-4725-9397-6A6018F0F19B}"/>
          </ac:spMkLst>
        </pc:spChg>
        <pc:spChg chg="mod">
          <ac:chgData name="Ugo MANTEL" userId="2d5b7065-31bb-4181-a7f8-a73bf0c30211" providerId="ADAL" clId="{F05BB0D5-3454-45DC-8378-DA45B79D9A06}" dt="2020-10-02T13:04:32.711" v="1619" actId="790"/>
          <ac:spMkLst>
            <pc:docMk/>
            <pc:sldMk cId="729228182" sldId="6731"/>
            <ac:spMk id="40" creationId="{214095A5-49BE-497B-A6E9-295215D70C60}"/>
          </ac:spMkLst>
        </pc:spChg>
        <pc:spChg chg="mod">
          <ac:chgData name="Ugo MANTEL" userId="2d5b7065-31bb-4181-a7f8-a73bf0c30211" providerId="ADAL" clId="{F05BB0D5-3454-45DC-8378-DA45B79D9A06}" dt="2020-10-02T13:04:32.712" v="1620" actId="790"/>
          <ac:spMkLst>
            <pc:docMk/>
            <pc:sldMk cId="729228182" sldId="6731"/>
            <ac:spMk id="41" creationId="{582D6BC7-3B49-4C29-8E4A-276D3EEA72DA}"/>
          </ac:spMkLst>
        </pc:spChg>
        <pc:spChg chg="mod">
          <ac:chgData name="Ugo MANTEL" userId="2d5b7065-31bb-4181-a7f8-a73bf0c30211" providerId="ADAL" clId="{F05BB0D5-3454-45DC-8378-DA45B79D9A06}" dt="2020-10-02T13:04:32.715" v="1621" actId="790"/>
          <ac:spMkLst>
            <pc:docMk/>
            <pc:sldMk cId="729228182" sldId="6731"/>
            <ac:spMk id="42" creationId="{55A4DD3F-2426-4B18-9DC4-FFBCD6B51E32}"/>
          </ac:spMkLst>
        </pc:spChg>
        <pc:spChg chg="mod">
          <ac:chgData name="Ugo MANTEL" userId="2d5b7065-31bb-4181-a7f8-a73bf0c30211" providerId="ADAL" clId="{F05BB0D5-3454-45DC-8378-DA45B79D9A06}" dt="2020-10-02T13:04:32.716" v="1622" actId="790"/>
          <ac:spMkLst>
            <pc:docMk/>
            <pc:sldMk cId="729228182" sldId="6731"/>
            <ac:spMk id="43" creationId="{6DD0BEFF-B8F5-43DE-92AC-FF9E554967F1}"/>
          </ac:spMkLst>
        </pc:spChg>
        <pc:spChg chg="mod">
          <ac:chgData name="Ugo MANTEL" userId="2d5b7065-31bb-4181-a7f8-a73bf0c30211" providerId="ADAL" clId="{F05BB0D5-3454-45DC-8378-DA45B79D9A06}" dt="2020-10-02T13:04:32.716" v="1623" actId="790"/>
          <ac:spMkLst>
            <pc:docMk/>
            <pc:sldMk cId="729228182" sldId="6731"/>
            <ac:spMk id="45" creationId="{B0D2E11F-1C59-4B11-A542-856BAF917D3C}"/>
          </ac:spMkLst>
        </pc:spChg>
        <pc:spChg chg="mod">
          <ac:chgData name="Ugo MANTEL" userId="2d5b7065-31bb-4181-a7f8-a73bf0c30211" providerId="ADAL" clId="{F05BB0D5-3454-45DC-8378-DA45B79D9A06}" dt="2020-10-02T13:04:32.718" v="1624" actId="790"/>
          <ac:spMkLst>
            <pc:docMk/>
            <pc:sldMk cId="729228182" sldId="6731"/>
            <ac:spMk id="46" creationId="{FF3A9800-F877-44B1-9B03-BFA1373D2991}"/>
          </ac:spMkLst>
        </pc:spChg>
        <pc:spChg chg="mod">
          <ac:chgData name="Ugo MANTEL" userId="2d5b7065-31bb-4181-a7f8-a73bf0c30211" providerId="ADAL" clId="{F05BB0D5-3454-45DC-8378-DA45B79D9A06}" dt="2020-10-02T13:04:32.720" v="1625" actId="790"/>
          <ac:spMkLst>
            <pc:docMk/>
            <pc:sldMk cId="729228182" sldId="6731"/>
            <ac:spMk id="47" creationId="{E320C69C-FE52-4E38-BEAB-2C1B4CE87271}"/>
          </ac:spMkLst>
        </pc:spChg>
        <pc:spChg chg="mod">
          <ac:chgData name="Ugo MANTEL" userId="2d5b7065-31bb-4181-a7f8-a73bf0c30211" providerId="ADAL" clId="{F05BB0D5-3454-45DC-8378-DA45B79D9A06}" dt="2020-10-02T13:04:32.721" v="1626" actId="790"/>
          <ac:spMkLst>
            <pc:docMk/>
            <pc:sldMk cId="729228182" sldId="6731"/>
            <ac:spMk id="48" creationId="{D2C841A4-22F9-4570-B6E8-C088BD7D8676}"/>
          </ac:spMkLst>
        </pc:spChg>
        <pc:spChg chg="mod">
          <ac:chgData name="Ugo MANTEL" userId="2d5b7065-31bb-4181-a7f8-a73bf0c30211" providerId="ADAL" clId="{F05BB0D5-3454-45DC-8378-DA45B79D9A06}" dt="2020-10-02T13:04:32.722" v="1627" actId="790"/>
          <ac:spMkLst>
            <pc:docMk/>
            <pc:sldMk cId="729228182" sldId="6731"/>
            <ac:spMk id="49" creationId="{15D5BF73-D6FE-4617-9755-4FD0979C2C80}"/>
          </ac:spMkLst>
        </pc:spChg>
        <pc:spChg chg="mod">
          <ac:chgData name="Ugo MANTEL" userId="2d5b7065-31bb-4181-a7f8-a73bf0c30211" providerId="ADAL" clId="{F05BB0D5-3454-45DC-8378-DA45B79D9A06}" dt="2020-10-02T13:04:32.723" v="1628" actId="790"/>
          <ac:spMkLst>
            <pc:docMk/>
            <pc:sldMk cId="729228182" sldId="6731"/>
            <ac:spMk id="50" creationId="{E76EE27B-A95F-4BEF-8CCB-699A4B7CA56C}"/>
          </ac:spMkLst>
        </pc:spChg>
        <pc:spChg chg="mod">
          <ac:chgData name="Ugo MANTEL" userId="2d5b7065-31bb-4181-a7f8-a73bf0c30211" providerId="ADAL" clId="{F05BB0D5-3454-45DC-8378-DA45B79D9A06}" dt="2020-10-02T13:04:32.724" v="1629" actId="790"/>
          <ac:spMkLst>
            <pc:docMk/>
            <pc:sldMk cId="729228182" sldId="6731"/>
            <ac:spMk id="51" creationId="{5E06FA03-1345-4644-AAE5-A192CA0D4ADA}"/>
          </ac:spMkLst>
        </pc:spChg>
        <pc:spChg chg="mod">
          <ac:chgData name="Ugo MANTEL" userId="2d5b7065-31bb-4181-a7f8-a73bf0c30211" providerId="ADAL" clId="{F05BB0D5-3454-45DC-8378-DA45B79D9A06}" dt="2020-10-02T13:04:32.728" v="1630" actId="790"/>
          <ac:spMkLst>
            <pc:docMk/>
            <pc:sldMk cId="729228182" sldId="6731"/>
            <ac:spMk id="54" creationId="{CAEA9FB2-2EF4-4D1B-B3F4-484DE219648D}"/>
          </ac:spMkLst>
        </pc:spChg>
        <pc:spChg chg="mod">
          <ac:chgData name="Ugo MANTEL" userId="2d5b7065-31bb-4181-a7f8-a73bf0c30211" providerId="ADAL" clId="{F05BB0D5-3454-45DC-8378-DA45B79D9A06}" dt="2020-10-02T13:04:32.732" v="1634" actId="790"/>
          <ac:spMkLst>
            <pc:docMk/>
            <pc:sldMk cId="729228182" sldId="6731"/>
            <ac:spMk id="58" creationId="{E1D43088-65B8-4575-80F3-A6485C9FD2A5}"/>
          </ac:spMkLst>
        </pc:spChg>
        <pc:spChg chg="mod">
          <ac:chgData name="Ugo MANTEL" userId="2d5b7065-31bb-4181-a7f8-a73bf0c30211" providerId="ADAL" clId="{F05BB0D5-3454-45DC-8378-DA45B79D9A06}" dt="2020-10-02T13:04:32.733" v="1635" actId="790"/>
          <ac:spMkLst>
            <pc:docMk/>
            <pc:sldMk cId="729228182" sldId="6731"/>
            <ac:spMk id="60" creationId="{68C9E84E-32B7-48D3-95A7-7DB52ACE1B7A}"/>
          </ac:spMkLst>
        </pc:spChg>
        <pc:spChg chg="mod">
          <ac:chgData name="Ugo MANTEL" userId="2d5b7065-31bb-4181-a7f8-a73bf0c30211" providerId="ADAL" clId="{F05BB0D5-3454-45DC-8378-DA45B79D9A06}" dt="2020-10-02T13:04:32.738" v="1642" actId="790"/>
          <ac:spMkLst>
            <pc:docMk/>
            <pc:sldMk cId="729228182" sldId="6731"/>
            <ac:spMk id="70" creationId="{3FC2ADA9-87E4-4B0A-9CCE-CA80C1F5E0FA}"/>
          </ac:spMkLst>
        </pc:spChg>
        <pc:spChg chg="mod">
          <ac:chgData name="Ugo MANTEL" userId="2d5b7065-31bb-4181-a7f8-a73bf0c30211" providerId="ADAL" clId="{F05BB0D5-3454-45DC-8378-DA45B79D9A06}" dt="2020-10-02T13:04:32.736" v="1638" actId="790"/>
          <ac:spMkLst>
            <pc:docMk/>
            <pc:sldMk cId="729228182" sldId="6731"/>
            <ac:spMk id="71" creationId="{29081F67-E4A9-4812-9DA7-70D5084735CB}"/>
          </ac:spMkLst>
        </pc:spChg>
        <pc:spChg chg="mod">
          <ac:chgData name="Ugo MANTEL" userId="2d5b7065-31bb-4181-a7f8-a73bf0c30211" providerId="ADAL" clId="{F05BB0D5-3454-45DC-8378-DA45B79D9A06}" dt="2020-10-02T13:04:32.736" v="1639" actId="790"/>
          <ac:spMkLst>
            <pc:docMk/>
            <pc:sldMk cId="729228182" sldId="6731"/>
            <ac:spMk id="73" creationId="{E7139C94-C4BE-4D39-82A3-9F2729837537}"/>
          </ac:spMkLst>
        </pc:spChg>
        <pc:spChg chg="mod">
          <ac:chgData name="Ugo MANTEL" userId="2d5b7065-31bb-4181-a7f8-a73bf0c30211" providerId="ADAL" clId="{F05BB0D5-3454-45DC-8378-DA45B79D9A06}" dt="2020-10-02T13:04:32.737" v="1640" actId="790"/>
          <ac:spMkLst>
            <pc:docMk/>
            <pc:sldMk cId="729228182" sldId="6731"/>
            <ac:spMk id="75" creationId="{426B66D6-65C8-40FD-830C-C427118D6E56}"/>
          </ac:spMkLst>
        </pc:spChg>
        <pc:spChg chg="mod">
          <ac:chgData name="Ugo MANTEL" userId="2d5b7065-31bb-4181-a7f8-a73bf0c30211" providerId="ADAL" clId="{F05BB0D5-3454-45DC-8378-DA45B79D9A06}" dt="2020-10-02T13:04:32.738" v="1641" actId="790"/>
          <ac:spMkLst>
            <pc:docMk/>
            <pc:sldMk cId="729228182" sldId="6731"/>
            <ac:spMk id="77" creationId="{90A6287B-FA48-4AAF-BDD3-E49CC83CB4F2}"/>
          </ac:spMkLst>
        </pc:spChg>
      </pc:sldChg>
      <pc:sldChg chg="modSp mod">
        <pc:chgData name="Ugo MANTEL" userId="2d5b7065-31bb-4181-a7f8-a73bf0c30211" providerId="ADAL" clId="{F05BB0D5-3454-45DC-8378-DA45B79D9A06}" dt="2020-10-02T13:04:34.170" v="3065" actId="790"/>
        <pc:sldMkLst>
          <pc:docMk/>
          <pc:sldMk cId="1308138060" sldId="6735"/>
        </pc:sldMkLst>
        <pc:spChg chg="mod">
          <ac:chgData name="Ugo MANTEL" userId="2d5b7065-31bb-4181-a7f8-a73bf0c30211" providerId="ADAL" clId="{F05BB0D5-3454-45DC-8378-DA45B79D9A06}" dt="2020-10-02T13:04:34.147" v="3032" actId="790"/>
          <ac:spMkLst>
            <pc:docMk/>
            <pc:sldMk cId="1308138060" sldId="6735"/>
            <ac:spMk id="3" creationId="{07FBEF58-ABDE-46CD-AE57-454D452DA16B}"/>
          </ac:spMkLst>
        </pc:spChg>
        <pc:spChg chg="mod">
          <ac:chgData name="Ugo MANTEL" userId="2d5b7065-31bb-4181-a7f8-a73bf0c30211" providerId="ADAL" clId="{F05BB0D5-3454-45DC-8378-DA45B79D9A06}" dt="2020-10-02T13:04:34.149" v="3034" actId="790"/>
          <ac:spMkLst>
            <pc:docMk/>
            <pc:sldMk cId="1308138060" sldId="6735"/>
            <ac:spMk id="4" creationId="{9D1D5660-74DF-45D6-8CCD-5C116124E8CD}"/>
          </ac:spMkLst>
        </pc:spChg>
        <pc:spChg chg="mod">
          <ac:chgData name="Ugo MANTEL" userId="2d5b7065-31bb-4181-a7f8-a73bf0c30211" providerId="ADAL" clId="{F05BB0D5-3454-45DC-8378-DA45B79D9A06}" dt="2020-10-02T13:04:34.149" v="3035" actId="790"/>
          <ac:spMkLst>
            <pc:docMk/>
            <pc:sldMk cId="1308138060" sldId="6735"/>
            <ac:spMk id="6" creationId="{ABB6686B-7406-4EFE-96C9-956C190654F5}"/>
          </ac:spMkLst>
        </pc:spChg>
        <pc:spChg chg="mod">
          <ac:chgData name="Ugo MANTEL" userId="2d5b7065-31bb-4181-a7f8-a73bf0c30211" providerId="ADAL" clId="{F05BB0D5-3454-45DC-8378-DA45B79D9A06}" dt="2020-10-02T13:04:34.151" v="3037" actId="790"/>
          <ac:spMkLst>
            <pc:docMk/>
            <pc:sldMk cId="1308138060" sldId="6735"/>
            <ac:spMk id="7" creationId="{63382622-5048-4C87-B8A0-B9F93A07B925}"/>
          </ac:spMkLst>
        </pc:spChg>
        <pc:spChg chg="mod">
          <ac:chgData name="Ugo MANTEL" userId="2d5b7065-31bb-4181-a7f8-a73bf0c30211" providerId="ADAL" clId="{F05BB0D5-3454-45DC-8378-DA45B79D9A06}" dt="2020-10-02T13:04:34.148" v="3033" actId="790"/>
          <ac:spMkLst>
            <pc:docMk/>
            <pc:sldMk cId="1308138060" sldId="6735"/>
            <ac:spMk id="8" creationId="{86B0CF2E-6BDF-44D8-BC36-A90571F7FA93}"/>
          </ac:spMkLst>
        </pc:spChg>
        <pc:spChg chg="mod">
          <ac:chgData name="Ugo MANTEL" userId="2d5b7065-31bb-4181-a7f8-a73bf0c30211" providerId="ADAL" clId="{F05BB0D5-3454-45DC-8378-DA45B79D9A06}" dt="2020-10-02T13:04:34.150" v="3036" actId="790"/>
          <ac:spMkLst>
            <pc:docMk/>
            <pc:sldMk cId="1308138060" sldId="6735"/>
            <ac:spMk id="10" creationId="{A602704D-B47F-4AA3-BFE1-EA4DB93A8FDF}"/>
          </ac:spMkLst>
        </pc:spChg>
        <pc:spChg chg="mod">
          <ac:chgData name="Ugo MANTEL" userId="2d5b7065-31bb-4181-a7f8-a73bf0c30211" providerId="ADAL" clId="{F05BB0D5-3454-45DC-8378-DA45B79D9A06}" dt="2020-10-02T13:04:34.162" v="3054" actId="790"/>
          <ac:spMkLst>
            <pc:docMk/>
            <pc:sldMk cId="1308138060" sldId="6735"/>
            <ac:spMk id="21" creationId="{91DE67D2-FFEB-46A2-87F1-A3CDBDEF52CC}"/>
          </ac:spMkLst>
        </pc:spChg>
        <pc:spChg chg="mod">
          <ac:chgData name="Ugo MANTEL" userId="2d5b7065-31bb-4181-a7f8-a73bf0c30211" providerId="ADAL" clId="{F05BB0D5-3454-45DC-8378-DA45B79D9A06}" dt="2020-10-02T13:04:34.154" v="3041" actId="790"/>
          <ac:spMkLst>
            <pc:docMk/>
            <pc:sldMk cId="1308138060" sldId="6735"/>
            <ac:spMk id="49" creationId="{985A6FC7-275F-4352-849F-C6B7B31089D3}"/>
          </ac:spMkLst>
        </pc:spChg>
        <pc:spChg chg="mod">
          <ac:chgData name="Ugo MANTEL" userId="2d5b7065-31bb-4181-a7f8-a73bf0c30211" providerId="ADAL" clId="{F05BB0D5-3454-45DC-8378-DA45B79D9A06}" dt="2020-10-02T13:04:34.154" v="3042" actId="790"/>
          <ac:spMkLst>
            <pc:docMk/>
            <pc:sldMk cId="1308138060" sldId="6735"/>
            <ac:spMk id="50" creationId="{891077B8-3A85-42A6-91F7-045A25E7D8C2}"/>
          </ac:spMkLst>
        </pc:spChg>
        <pc:spChg chg="mod">
          <ac:chgData name="Ugo MANTEL" userId="2d5b7065-31bb-4181-a7f8-a73bf0c30211" providerId="ADAL" clId="{F05BB0D5-3454-45DC-8378-DA45B79D9A06}" dt="2020-10-02T13:04:34.151" v="3038" actId="790"/>
          <ac:spMkLst>
            <pc:docMk/>
            <pc:sldMk cId="1308138060" sldId="6735"/>
            <ac:spMk id="55" creationId="{A911B27E-6611-46E8-A7CB-8EA79B925723}"/>
          </ac:spMkLst>
        </pc:spChg>
        <pc:spChg chg="mod">
          <ac:chgData name="Ugo MANTEL" userId="2d5b7065-31bb-4181-a7f8-a73bf0c30211" providerId="ADAL" clId="{F05BB0D5-3454-45DC-8378-DA45B79D9A06}" dt="2020-10-02T13:04:34.152" v="3039" actId="790"/>
          <ac:spMkLst>
            <pc:docMk/>
            <pc:sldMk cId="1308138060" sldId="6735"/>
            <ac:spMk id="56" creationId="{66034046-10D4-47E7-AD30-D5760DCF0C55}"/>
          </ac:spMkLst>
        </pc:spChg>
        <pc:spChg chg="mod">
          <ac:chgData name="Ugo MANTEL" userId="2d5b7065-31bb-4181-a7f8-a73bf0c30211" providerId="ADAL" clId="{F05BB0D5-3454-45DC-8378-DA45B79D9A06}" dt="2020-10-02T13:04:34.158" v="3048" actId="790"/>
          <ac:spMkLst>
            <pc:docMk/>
            <pc:sldMk cId="1308138060" sldId="6735"/>
            <ac:spMk id="67" creationId="{8DCFAF46-B04E-4728-92AD-571C728DF781}"/>
          </ac:spMkLst>
        </pc:spChg>
        <pc:spChg chg="mod">
          <ac:chgData name="Ugo MANTEL" userId="2d5b7065-31bb-4181-a7f8-a73bf0c30211" providerId="ADAL" clId="{F05BB0D5-3454-45DC-8378-DA45B79D9A06}" dt="2020-10-02T13:04:34.159" v="3049" actId="790"/>
          <ac:spMkLst>
            <pc:docMk/>
            <pc:sldMk cId="1308138060" sldId="6735"/>
            <ac:spMk id="69" creationId="{AEA07038-651F-4C1A-8EFE-8E415FE4B880}"/>
          </ac:spMkLst>
        </pc:spChg>
        <pc:spChg chg="mod">
          <ac:chgData name="Ugo MANTEL" userId="2d5b7065-31bb-4181-a7f8-a73bf0c30211" providerId="ADAL" clId="{F05BB0D5-3454-45DC-8378-DA45B79D9A06}" dt="2020-10-02T13:04:34.164" v="3057" actId="790"/>
          <ac:spMkLst>
            <pc:docMk/>
            <pc:sldMk cId="1308138060" sldId="6735"/>
            <ac:spMk id="76" creationId="{E937BF6E-4D06-4083-8DB6-8C1BACCA79C7}"/>
          </ac:spMkLst>
        </pc:spChg>
        <pc:spChg chg="mod">
          <ac:chgData name="Ugo MANTEL" userId="2d5b7065-31bb-4181-a7f8-a73bf0c30211" providerId="ADAL" clId="{F05BB0D5-3454-45DC-8378-DA45B79D9A06}" dt="2020-10-02T13:04:34.159" v="3050" actId="790"/>
          <ac:spMkLst>
            <pc:docMk/>
            <pc:sldMk cId="1308138060" sldId="6735"/>
            <ac:spMk id="78" creationId="{52BE6408-3B52-4E10-81FA-531AE186C479}"/>
          </ac:spMkLst>
        </pc:spChg>
        <pc:spChg chg="mod">
          <ac:chgData name="Ugo MANTEL" userId="2d5b7065-31bb-4181-a7f8-a73bf0c30211" providerId="ADAL" clId="{F05BB0D5-3454-45DC-8378-DA45B79D9A06}" dt="2020-10-02T13:04:34.153" v="3040" actId="790"/>
          <ac:spMkLst>
            <pc:docMk/>
            <pc:sldMk cId="1308138060" sldId="6735"/>
            <ac:spMk id="80" creationId="{DA2B536F-5BE2-4550-B811-C3089A99FF32}"/>
          </ac:spMkLst>
        </pc:spChg>
        <pc:spChg chg="mod">
          <ac:chgData name="Ugo MANTEL" userId="2d5b7065-31bb-4181-a7f8-a73bf0c30211" providerId="ADAL" clId="{F05BB0D5-3454-45DC-8378-DA45B79D9A06}" dt="2020-10-02T13:04:34.160" v="3051" actId="790"/>
          <ac:spMkLst>
            <pc:docMk/>
            <pc:sldMk cId="1308138060" sldId="6735"/>
            <ac:spMk id="81" creationId="{7AC3AED8-8539-42A4-A0B0-2F5FAE6DA565}"/>
          </ac:spMkLst>
        </pc:spChg>
        <pc:spChg chg="mod">
          <ac:chgData name="Ugo MANTEL" userId="2d5b7065-31bb-4181-a7f8-a73bf0c30211" providerId="ADAL" clId="{F05BB0D5-3454-45DC-8378-DA45B79D9A06}" dt="2020-10-02T13:04:34.160" v="3052" actId="790"/>
          <ac:spMkLst>
            <pc:docMk/>
            <pc:sldMk cId="1308138060" sldId="6735"/>
            <ac:spMk id="89" creationId="{B0E5F424-F8D2-49ED-A8F7-D94B5AEB42D6}"/>
          </ac:spMkLst>
        </pc:spChg>
        <pc:spChg chg="mod">
          <ac:chgData name="Ugo MANTEL" userId="2d5b7065-31bb-4181-a7f8-a73bf0c30211" providerId="ADAL" clId="{F05BB0D5-3454-45DC-8378-DA45B79D9A06}" dt="2020-10-02T13:04:34.163" v="3056" actId="790"/>
          <ac:spMkLst>
            <pc:docMk/>
            <pc:sldMk cId="1308138060" sldId="6735"/>
            <ac:spMk id="90" creationId="{8D7923F5-5C13-4546-8201-7C37BFCACF60}"/>
          </ac:spMkLst>
        </pc:spChg>
        <pc:spChg chg="mod">
          <ac:chgData name="Ugo MANTEL" userId="2d5b7065-31bb-4181-a7f8-a73bf0c30211" providerId="ADAL" clId="{F05BB0D5-3454-45DC-8378-DA45B79D9A06}" dt="2020-10-02T13:04:34.161" v="3053" actId="790"/>
          <ac:spMkLst>
            <pc:docMk/>
            <pc:sldMk cId="1308138060" sldId="6735"/>
            <ac:spMk id="91" creationId="{0FF5EDD0-3B8A-44B6-AAB8-03C8310B1721}"/>
          </ac:spMkLst>
        </pc:spChg>
        <pc:spChg chg="mod">
          <ac:chgData name="Ugo MANTEL" userId="2d5b7065-31bb-4181-a7f8-a73bf0c30211" providerId="ADAL" clId="{F05BB0D5-3454-45DC-8378-DA45B79D9A06}" dt="2020-10-02T13:04:34.165" v="3058" actId="790"/>
          <ac:spMkLst>
            <pc:docMk/>
            <pc:sldMk cId="1308138060" sldId="6735"/>
            <ac:spMk id="92" creationId="{4B30F97C-B3FD-42C5-A86A-B73F346CFC9F}"/>
          </ac:spMkLst>
        </pc:spChg>
        <pc:spChg chg="mod">
          <ac:chgData name="Ugo MANTEL" userId="2d5b7065-31bb-4181-a7f8-a73bf0c30211" providerId="ADAL" clId="{F05BB0D5-3454-45DC-8378-DA45B79D9A06}" dt="2020-10-02T13:04:34.165" v="3059" actId="790"/>
          <ac:spMkLst>
            <pc:docMk/>
            <pc:sldMk cId="1308138060" sldId="6735"/>
            <ac:spMk id="94" creationId="{642DFECE-CBCB-4E56-8105-76905DF54B5D}"/>
          </ac:spMkLst>
        </pc:spChg>
        <pc:spChg chg="mod">
          <ac:chgData name="Ugo MANTEL" userId="2d5b7065-31bb-4181-a7f8-a73bf0c30211" providerId="ADAL" clId="{F05BB0D5-3454-45DC-8378-DA45B79D9A06}" dt="2020-10-02T13:04:34.166" v="3060" actId="790"/>
          <ac:spMkLst>
            <pc:docMk/>
            <pc:sldMk cId="1308138060" sldId="6735"/>
            <ac:spMk id="95" creationId="{B64DB0F2-F013-4776-ABA9-9C8624E2AC05}"/>
          </ac:spMkLst>
        </pc:spChg>
        <pc:spChg chg="mod">
          <ac:chgData name="Ugo MANTEL" userId="2d5b7065-31bb-4181-a7f8-a73bf0c30211" providerId="ADAL" clId="{F05BB0D5-3454-45DC-8378-DA45B79D9A06}" dt="2020-10-02T13:04:34.170" v="3065" actId="790"/>
          <ac:spMkLst>
            <pc:docMk/>
            <pc:sldMk cId="1308138060" sldId="6735"/>
            <ac:spMk id="99" creationId="{11A49E26-BF68-4FEA-95EA-0EE043F8D0AD}"/>
          </ac:spMkLst>
        </pc:spChg>
        <pc:spChg chg="mod">
          <ac:chgData name="Ugo MANTEL" userId="2d5b7065-31bb-4181-a7f8-a73bf0c30211" providerId="ADAL" clId="{F05BB0D5-3454-45DC-8378-DA45B79D9A06}" dt="2020-10-02T13:04:34.167" v="3061" actId="790"/>
          <ac:spMkLst>
            <pc:docMk/>
            <pc:sldMk cId="1308138060" sldId="6735"/>
            <ac:spMk id="100" creationId="{5DFE1EE5-94DB-4E97-B31B-45FEEB042206}"/>
          </ac:spMkLst>
        </pc:spChg>
        <pc:spChg chg="mod">
          <ac:chgData name="Ugo MANTEL" userId="2d5b7065-31bb-4181-a7f8-a73bf0c30211" providerId="ADAL" clId="{F05BB0D5-3454-45DC-8378-DA45B79D9A06}" dt="2020-10-02T13:04:34.168" v="3062" actId="790"/>
          <ac:spMkLst>
            <pc:docMk/>
            <pc:sldMk cId="1308138060" sldId="6735"/>
            <ac:spMk id="101" creationId="{D7027CDB-825A-4AAE-8179-B215312642F3}"/>
          </ac:spMkLst>
        </pc:spChg>
        <pc:spChg chg="mod">
          <ac:chgData name="Ugo MANTEL" userId="2d5b7065-31bb-4181-a7f8-a73bf0c30211" providerId="ADAL" clId="{F05BB0D5-3454-45DC-8378-DA45B79D9A06}" dt="2020-10-02T13:04:34.168" v="3063" actId="790"/>
          <ac:spMkLst>
            <pc:docMk/>
            <pc:sldMk cId="1308138060" sldId="6735"/>
            <ac:spMk id="102" creationId="{841275F8-2D8A-4445-8E04-19554918A1DD}"/>
          </ac:spMkLst>
        </pc:spChg>
        <pc:spChg chg="mod">
          <ac:chgData name="Ugo MANTEL" userId="2d5b7065-31bb-4181-a7f8-a73bf0c30211" providerId="ADAL" clId="{F05BB0D5-3454-45DC-8378-DA45B79D9A06}" dt="2020-10-02T13:04:34.169" v="3064" actId="790"/>
          <ac:spMkLst>
            <pc:docMk/>
            <pc:sldMk cId="1308138060" sldId="6735"/>
            <ac:spMk id="103" creationId="{F5CBDEBF-7C49-4E90-8081-26487D2B56F9}"/>
          </ac:spMkLst>
        </pc:spChg>
        <pc:spChg chg="mod">
          <ac:chgData name="Ugo MANTEL" userId="2d5b7065-31bb-4181-a7f8-a73bf0c30211" providerId="ADAL" clId="{F05BB0D5-3454-45DC-8378-DA45B79D9A06}" dt="2020-10-02T13:04:34.162" v="3055" actId="790"/>
          <ac:spMkLst>
            <pc:docMk/>
            <pc:sldMk cId="1308138060" sldId="6735"/>
            <ac:spMk id="124" creationId="{3718FD8A-5018-4802-84A8-AC3EF18BEC26}"/>
          </ac:spMkLst>
        </pc:spChg>
        <pc:spChg chg="mod">
          <ac:chgData name="Ugo MANTEL" userId="2d5b7065-31bb-4181-a7f8-a73bf0c30211" providerId="ADAL" clId="{F05BB0D5-3454-45DC-8378-DA45B79D9A06}" dt="2020-10-02T13:04:34.155" v="3043" actId="790"/>
          <ac:spMkLst>
            <pc:docMk/>
            <pc:sldMk cId="1308138060" sldId="6735"/>
            <ac:spMk id="172" creationId="{970E6F62-8951-43A5-95F0-379B5F44B71B}"/>
          </ac:spMkLst>
        </pc:spChg>
        <pc:spChg chg="mod">
          <ac:chgData name="Ugo MANTEL" userId="2d5b7065-31bb-4181-a7f8-a73bf0c30211" providerId="ADAL" clId="{F05BB0D5-3454-45DC-8378-DA45B79D9A06}" dt="2020-10-02T13:04:34.156" v="3044" actId="790"/>
          <ac:spMkLst>
            <pc:docMk/>
            <pc:sldMk cId="1308138060" sldId="6735"/>
            <ac:spMk id="173" creationId="{E723AB41-DD80-4CA8-AEDD-8C90BB09AAB3}"/>
          </ac:spMkLst>
        </pc:spChg>
        <pc:spChg chg="mod">
          <ac:chgData name="Ugo MANTEL" userId="2d5b7065-31bb-4181-a7f8-a73bf0c30211" providerId="ADAL" clId="{F05BB0D5-3454-45DC-8378-DA45B79D9A06}" dt="2020-10-02T13:04:34.156" v="3045" actId="790"/>
          <ac:spMkLst>
            <pc:docMk/>
            <pc:sldMk cId="1308138060" sldId="6735"/>
            <ac:spMk id="176" creationId="{5E868AC3-D02F-4509-B99C-1C6EAD2A6396}"/>
          </ac:spMkLst>
        </pc:spChg>
        <pc:spChg chg="mod">
          <ac:chgData name="Ugo MANTEL" userId="2d5b7065-31bb-4181-a7f8-a73bf0c30211" providerId="ADAL" clId="{F05BB0D5-3454-45DC-8378-DA45B79D9A06}" dt="2020-10-02T13:04:34.157" v="3046" actId="790"/>
          <ac:spMkLst>
            <pc:docMk/>
            <pc:sldMk cId="1308138060" sldId="6735"/>
            <ac:spMk id="179" creationId="{9A43F088-128D-44E4-A522-9C0AD6F88DAE}"/>
          </ac:spMkLst>
        </pc:spChg>
        <pc:spChg chg="mod">
          <ac:chgData name="Ugo MANTEL" userId="2d5b7065-31bb-4181-a7f8-a73bf0c30211" providerId="ADAL" clId="{F05BB0D5-3454-45DC-8378-DA45B79D9A06}" dt="2020-10-02T13:04:34.158" v="3047" actId="790"/>
          <ac:spMkLst>
            <pc:docMk/>
            <pc:sldMk cId="1308138060" sldId="6735"/>
            <ac:spMk id="182" creationId="{F87ACC1F-4BE0-442B-A6FE-80E3F23E1B4F}"/>
          </ac:spMkLst>
        </pc:spChg>
      </pc:sldChg>
      <pc:sldChg chg="modSp mod">
        <pc:chgData name="Ugo MANTEL" userId="2d5b7065-31bb-4181-a7f8-a73bf0c30211" providerId="ADAL" clId="{F05BB0D5-3454-45DC-8378-DA45B79D9A06}" dt="2020-10-02T13:04:34.380" v="3273" actId="790"/>
        <pc:sldMkLst>
          <pc:docMk/>
          <pc:sldMk cId="1462486750" sldId="6737"/>
        </pc:sldMkLst>
        <pc:spChg chg="mod">
          <ac:chgData name="Ugo MANTEL" userId="2d5b7065-31bb-4181-a7f8-a73bf0c30211" providerId="ADAL" clId="{F05BB0D5-3454-45DC-8378-DA45B79D9A06}" dt="2020-10-02T13:04:34.373" v="3270" actId="790"/>
          <ac:spMkLst>
            <pc:docMk/>
            <pc:sldMk cId="1462486750" sldId="6737"/>
            <ac:spMk id="2" creationId="{24E8BB55-4454-4FE4-A0CA-08C2677BB30A}"/>
          </ac:spMkLst>
        </pc:spChg>
        <pc:spChg chg="mod">
          <ac:chgData name="Ugo MANTEL" userId="2d5b7065-31bb-4181-a7f8-a73bf0c30211" providerId="ADAL" clId="{F05BB0D5-3454-45DC-8378-DA45B79D9A06}" dt="2020-10-02T13:04:34.373" v="3271" actId="790"/>
          <ac:spMkLst>
            <pc:docMk/>
            <pc:sldMk cId="1462486750" sldId="6737"/>
            <ac:spMk id="3" creationId="{15C80389-6548-4E62-B1DE-3FED01EC77DC}"/>
          </ac:spMkLst>
        </pc:spChg>
        <pc:spChg chg="mod">
          <ac:chgData name="Ugo MANTEL" userId="2d5b7065-31bb-4181-a7f8-a73bf0c30211" providerId="ADAL" clId="{F05BB0D5-3454-45DC-8378-DA45B79D9A06}" dt="2020-10-02T13:04:34.374" v="3272" actId="790"/>
          <ac:spMkLst>
            <pc:docMk/>
            <pc:sldMk cId="1462486750" sldId="6737"/>
            <ac:spMk id="5" creationId="{E411076D-BD7D-4F3C-BA4F-785FA7DEB8E0}"/>
          </ac:spMkLst>
        </pc:spChg>
        <pc:spChg chg="mod">
          <ac:chgData name="Ugo MANTEL" userId="2d5b7065-31bb-4181-a7f8-a73bf0c30211" providerId="ADAL" clId="{F05BB0D5-3454-45DC-8378-DA45B79D9A06}" dt="2020-10-02T13:04:34.380" v="3273" actId="790"/>
          <ac:spMkLst>
            <pc:docMk/>
            <pc:sldMk cId="1462486750" sldId="6737"/>
            <ac:spMk id="9" creationId="{76C606AD-5967-4A12-8734-8F0585B2B6DC}"/>
          </ac:spMkLst>
        </pc:spChg>
      </pc:sldChg>
      <pc:sldChg chg="modSp mod">
        <pc:chgData name="Ugo MANTEL" userId="2d5b7065-31bb-4181-a7f8-a73bf0c30211" providerId="ADAL" clId="{F05BB0D5-3454-45DC-8378-DA45B79D9A06}" dt="2020-10-02T13:04:34.427" v="3315" actId="790"/>
        <pc:sldMkLst>
          <pc:docMk/>
          <pc:sldMk cId="2321206819" sldId="6738"/>
        </pc:sldMkLst>
        <pc:spChg chg="mod">
          <ac:chgData name="Ugo MANTEL" userId="2d5b7065-31bb-4181-a7f8-a73bf0c30211" providerId="ADAL" clId="{F05BB0D5-3454-45DC-8378-DA45B79D9A06}" dt="2020-10-02T13:04:34.388" v="3275" actId="790"/>
          <ac:spMkLst>
            <pc:docMk/>
            <pc:sldMk cId="2321206819" sldId="6738"/>
            <ac:spMk id="3" creationId="{B66E256D-ED32-4E13-A0C0-CF1897D67355}"/>
          </ac:spMkLst>
        </pc:spChg>
        <pc:spChg chg="mod">
          <ac:chgData name="Ugo MANTEL" userId="2d5b7065-31bb-4181-a7f8-a73bf0c30211" providerId="ADAL" clId="{F05BB0D5-3454-45DC-8378-DA45B79D9A06}" dt="2020-10-02T13:04:34.419" v="3304" actId="790"/>
          <ac:spMkLst>
            <pc:docMk/>
            <pc:sldMk cId="2321206819" sldId="6738"/>
            <ac:spMk id="5" creationId="{4AADB979-6E29-4F1F-A113-2E8F47475B16}"/>
          </ac:spMkLst>
        </pc:spChg>
        <pc:spChg chg="mod">
          <ac:chgData name="Ugo MANTEL" userId="2d5b7065-31bb-4181-a7f8-a73bf0c30211" providerId="ADAL" clId="{F05BB0D5-3454-45DC-8378-DA45B79D9A06}" dt="2020-10-02T13:04:34.386" v="3274" actId="790"/>
          <ac:spMkLst>
            <pc:docMk/>
            <pc:sldMk cId="2321206819" sldId="6738"/>
            <ac:spMk id="6" creationId="{720736DC-F643-4899-AAE1-1567081E994C}"/>
          </ac:spMkLst>
        </pc:spChg>
        <pc:spChg chg="mod">
          <ac:chgData name="Ugo MANTEL" userId="2d5b7065-31bb-4181-a7f8-a73bf0c30211" providerId="ADAL" clId="{F05BB0D5-3454-45DC-8378-DA45B79D9A06}" dt="2020-10-02T13:04:34.416" v="3301" actId="790"/>
          <ac:spMkLst>
            <pc:docMk/>
            <pc:sldMk cId="2321206819" sldId="6738"/>
            <ac:spMk id="8" creationId="{1ABC0AA4-A0AA-49CC-937C-32D49D7BCE6B}"/>
          </ac:spMkLst>
        </pc:spChg>
        <pc:spChg chg="mod">
          <ac:chgData name="Ugo MANTEL" userId="2d5b7065-31bb-4181-a7f8-a73bf0c30211" providerId="ADAL" clId="{F05BB0D5-3454-45DC-8378-DA45B79D9A06}" dt="2020-10-02T13:04:34.417" v="3302" actId="790"/>
          <ac:spMkLst>
            <pc:docMk/>
            <pc:sldMk cId="2321206819" sldId="6738"/>
            <ac:spMk id="10" creationId="{6A92AAE2-AD24-4D33-8AE6-3BCBD837F494}"/>
          </ac:spMkLst>
        </pc:spChg>
        <pc:spChg chg="mod">
          <ac:chgData name="Ugo MANTEL" userId="2d5b7065-31bb-4181-a7f8-a73bf0c30211" providerId="ADAL" clId="{F05BB0D5-3454-45DC-8378-DA45B79D9A06}" dt="2020-10-02T13:04:34.404" v="3291" actId="790"/>
          <ac:spMkLst>
            <pc:docMk/>
            <pc:sldMk cId="2321206819" sldId="6738"/>
            <ac:spMk id="15" creationId="{5339BCB2-B6F8-44C2-AA3B-F0876DCECEFB}"/>
          </ac:spMkLst>
        </pc:spChg>
        <pc:spChg chg="mod">
          <ac:chgData name="Ugo MANTEL" userId="2d5b7065-31bb-4181-a7f8-a73bf0c30211" providerId="ADAL" clId="{F05BB0D5-3454-45DC-8378-DA45B79D9A06}" dt="2020-10-02T13:04:34.420" v="3305" actId="790"/>
          <ac:spMkLst>
            <pc:docMk/>
            <pc:sldMk cId="2321206819" sldId="6738"/>
            <ac:spMk id="16" creationId="{70133D07-F05B-4666-9728-4B2F49B2A61C}"/>
          </ac:spMkLst>
        </pc:spChg>
        <pc:spChg chg="mod">
          <ac:chgData name="Ugo MANTEL" userId="2d5b7065-31bb-4181-a7f8-a73bf0c30211" providerId="ADAL" clId="{F05BB0D5-3454-45DC-8378-DA45B79D9A06}" dt="2020-10-02T13:04:34.421" v="3306" actId="790"/>
          <ac:spMkLst>
            <pc:docMk/>
            <pc:sldMk cId="2321206819" sldId="6738"/>
            <ac:spMk id="24" creationId="{A1B72933-891C-49B8-9A64-43BEDA02E189}"/>
          </ac:spMkLst>
        </pc:spChg>
        <pc:spChg chg="mod">
          <ac:chgData name="Ugo MANTEL" userId="2d5b7065-31bb-4181-a7f8-a73bf0c30211" providerId="ADAL" clId="{F05BB0D5-3454-45DC-8378-DA45B79D9A06}" dt="2020-10-02T13:04:34.421" v="3307" actId="790"/>
          <ac:spMkLst>
            <pc:docMk/>
            <pc:sldMk cId="2321206819" sldId="6738"/>
            <ac:spMk id="25" creationId="{3E157379-3817-48F8-8F7A-CA8FCD6E6834}"/>
          </ac:spMkLst>
        </pc:spChg>
        <pc:spChg chg="mod">
          <ac:chgData name="Ugo MANTEL" userId="2d5b7065-31bb-4181-a7f8-a73bf0c30211" providerId="ADAL" clId="{F05BB0D5-3454-45DC-8378-DA45B79D9A06}" dt="2020-10-02T13:04:34.422" v="3308" actId="790"/>
          <ac:spMkLst>
            <pc:docMk/>
            <pc:sldMk cId="2321206819" sldId="6738"/>
            <ac:spMk id="26" creationId="{DF15FAB7-9553-44B8-A996-E156691C6DF3}"/>
          </ac:spMkLst>
        </pc:spChg>
        <pc:spChg chg="mod">
          <ac:chgData name="Ugo MANTEL" userId="2d5b7065-31bb-4181-a7f8-a73bf0c30211" providerId="ADAL" clId="{F05BB0D5-3454-45DC-8378-DA45B79D9A06}" dt="2020-10-02T13:04:34.422" v="3309" actId="790"/>
          <ac:spMkLst>
            <pc:docMk/>
            <pc:sldMk cId="2321206819" sldId="6738"/>
            <ac:spMk id="27" creationId="{D9A0808B-0C1E-421F-BE41-FFE4FC93ED75}"/>
          </ac:spMkLst>
        </pc:spChg>
        <pc:spChg chg="mod">
          <ac:chgData name="Ugo MANTEL" userId="2d5b7065-31bb-4181-a7f8-a73bf0c30211" providerId="ADAL" clId="{F05BB0D5-3454-45DC-8378-DA45B79D9A06}" dt="2020-10-02T13:04:34.424" v="3310" actId="790"/>
          <ac:spMkLst>
            <pc:docMk/>
            <pc:sldMk cId="2321206819" sldId="6738"/>
            <ac:spMk id="28" creationId="{D3A8106A-6C07-463C-AFE5-15E7A4099B43}"/>
          </ac:spMkLst>
        </pc:spChg>
        <pc:spChg chg="mod">
          <ac:chgData name="Ugo MANTEL" userId="2d5b7065-31bb-4181-a7f8-a73bf0c30211" providerId="ADAL" clId="{F05BB0D5-3454-45DC-8378-DA45B79D9A06}" dt="2020-10-02T13:04:34.389" v="3276" actId="790"/>
          <ac:spMkLst>
            <pc:docMk/>
            <pc:sldMk cId="2321206819" sldId="6738"/>
            <ac:spMk id="47" creationId="{B778DB96-BBEA-4A70-9B8C-F4F77F379970}"/>
          </ac:spMkLst>
        </pc:spChg>
        <pc:spChg chg="mod">
          <ac:chgData name="Ugo MANTEL" userId="2d5b7065-31bb-4181-a7f8-a73bf0c30211" providerId="ADAL" clId="{F05BB0D5-3454-45DC-8378-DA45B79D9A06}" dt="2020-10-02T13:04:34.390" v="3277" actId="790"/>
          <ac:spMkLst>
            <pc:docMk/>
            <pc:sldMk cId="2321206819" sldId="6738"/>
            <ac:spMk id="48" creationId="{D7F15FF1-0C4F-4724-A716-1AFDD91A5A1B}"/>
          </ac:spMkLst>
        </pc:spChg>
        <pc:spChg chg="mod">
          <ac:chgData name="Ugo MANTEL" userId="2d5b7065-31bb-4181-a7f8-a73bf0c30211" providerId="ADAL" clId="{F05BB0D5-3454-45DC-8378-DA45B79D9A06}" dt="2020-10-02T13:04:34.391" v="3278" actId="790"/>
          <ac:spMkLst>
            <pc:docMk/>
            <pc:sldMk cId="2321206819" sldId="6738"/>
            <ac:spMk id="49" creationId="{BCA69757-7837-4D46-AB52-A4EA575A75C2}"/>
          </ac:spMkLst>
        </pc:spChg>
        <pc:spChg chg="mod">
          <ac:chgData name="Ugo MANTEL" userId="2d5b7065-31bb-4181-a7f8-a73bf0c30211" providerId="ADAL" clId="{F05BB0D5-3454-45DC-8378-DA45B79D9A06}" dt="2020-10-02T13:04:34.409" v="3295" actId="790"/>
          <ac:spMkLst>
            <pc:docMk/>
            <pc:sldMk cId="2321206819" sldId="6738"/>
            <ac:spMk id="51" creationId="{8AC6DFA4-7068-4F97-B612-A20AE0181047}"/>
          </ac:spMkLst>
        </pc:spChg>
        <pc:spChg chg="mod">
          <ac:chgData name="Ugo MANTEL" userId="2d5b7065-31bb-4181-a7f8-a73bf0c30211" providerId="ADAL" clId="{F05BB0D5-3454-45DC-8378-DA45B79D9A06}" dt="2020-10-02T13:04:34.396" v="3283" actId="790"/>
          <ac:spMkLst>
            <pc:docMk/>
            <pc:sldMk cId="2321206819" sldId="6738"/>
            <ac:spMk id="52" creationId="{5839C415-FAE0-4649-90B8-9762F9FA80DC}"/>
          </ac:spMkLst>
        </pc:spChg>
        <pc:spChg chg="mod">
          <ac:chgData name="Ugo MANTEL" userId="2d5b7065-31bb-4181-a7f8-a73bf0c30211" providerId="ADAL" clId="{F05BB0D5-3454-45DC-8378-DA45B79D9A06}" dt="2020-10-02T13:04:34.396" v="3284" actId="790"/>
          <ac:spMkLst>
            <pc:docMk/>
            <pc:sldMk cId="2321206819" sldId="6738"/>
            <ac:spMk id="53" creationId="{7B9AEE24-3E24-44C6-B3F2-FF002873C5C0}"/>
          </ac:spMkLst>
        </pc:spChg>
        <pc:spChg chg="mod">
          <ac:chgData name="Ugo MANTEL" userId="2d5b7065-31bb-4181-a7f8-a73bf0c30211" providerId="ADAL" clId="{F05BB0D5-3454-45DC-8378-DA45B79D9A06}" dt="2020-10-02T13:04:34.397" v="3285" actId="790"/>
          <ac:spMkLst>
            <pc:docMk/>
            <pc:sldMk cId="2321206819" sldId="6738"/>
            <ac:spMk id="56" creationId="{E4F69F6F-3351-4A83-820F-DCD6AA57CC4A}"/>
          </ac:spMkLst>
        </pc:spChg>
        <pc:spChg chg="mod">
          <ac:chgData name="Ugo MANTEL" userId="2d5b7065-31bb-4181-a7f8-a73bf0c30211" providerId="ADAL" clId="{F05BB0D5-3454-45DC-8378-DA45B79D9A06}" dt="2020-10-02T13:04:34.398" v="3286" actId="790"/>
          <ac:spMkLst>
            <pc:docMk/>
            <pc:sldMk cId="2321206819" sldId="6738"/>
            <ac:spMk id="57" creationId="{55DCCDDD-B7AD-4BE8-9CC8-8E4F4BE5CB81}"/>
          </ac:spMkLst>
        </pc:spChg>
        <pc:spChg chg="mod">
          <ac:chgData name="Ugo MANTEL" userId="2d5b7065-31bb-4181-a7f8-a73bf0c30211" providerId="ADAL" clId="{F05BB0D5-3454-45DC-8378-DA45B79D9A06}" dt="2020-10-02T13:04:34.415" v="3299" actId="790"/>
          <ac:spMkLst>
            <pc:docMk/>
            <pc:sldMk cId="2321206819" sldId="6738"/>
            <ac:spMk id="61" creationId="{704A1277-9EE9-4B15-AD34-3735CAE83776}"/>
          </ac:spMkLst>
        </pc:spChg>
        <pc:spChg chg="mod">
          <ac:chgData name="Ugo MANTEL" userId="2d5b7065-31bb-4181-a7f8-a73bf0c30211" providerId="ADAL" clId="{F05BB0D5-3454-45DC-8378-DA45B79D9A06}" dt="2020-10-02T13:04:34.416" v="3300" actId="790"/>
          <ac:spMkLst>
            <pc:docMk/>
            <pc:sldMk cId="2321206819" sldId="6738"/>
            <ac:spMk id="62" creationId="{6BFA5ECC-49A6-4119-A7D9-27D961482288}"/>
          </ac:spMkLst>
        </pc:spChg>
        <pc:spChg chg="mod">
          <ac:chgData name="Ugo MANTEL" userId="2d5b7065-31bb-4181-a7f8-a73bf0c30211" providerId="ADAL" clId="{F05BB0D5-3454-45DC-8378-DA45B79D9A06}" dt="2020-10-02T13:04:34.418" v="3303" actId="790"/>
          <ac:spMkLst>
            <pc:docMk/>
            <pc:sldMk cId="2321206819" sldId="6738"/>
            <ac:spMk id="68" creationId="{026E8DB1-C02A-4F78-9623-10C32D8D1303}"/>
          </ac:spMkLst>
        </pc:spChg>
        <pc:spChg chg="mod">
          <ac:chgData name="Ugo MANTEL" userId="2d5b7065-31bb-4181-a7f8-a73bf0c30211" providerId="ADAL" clId="{F05BB0D5-3454-45DC-8378-DA45B79D9A06}" dt="2020-10-02T13:04:34.405" v="3292" actId="790"/>
          <ac:spMkLst>
            <pc:docMk/>
            <pc:sldMk cId="2321206819" sldId="6738"/>
            <ac:spMk id="70" creationId="{25B37198-EAF5-48E4-9D1F-A9E92D436C52}"/>
          </ac:spMkLst>
        </pc:spChg>
        <pc:spChg chg="mod">
          <ac:chgData name="Ugo MANTEL" userId="2d5b7065-31bb-4181-a7f8-a73bf0c30211" providerId="ADAL" clId="{F05BB0D5-3454-45DC-8378-DA45B79D9A06}" dt="2020-10-02T13:04:34.392" v="3279" actId="790"/>
          <ac:spMkLst>
            <pc:docMk/>
            <pc:sldMk cId="2321206819" sldId="6738"/>
            <ac:spMk id="73" creationId="{CD9A46E0-B9FE-40FD-9574-0C19FAB5D7FE}"/>
          </ac:spMkLst>
        </pc:spChg>
        <pc:spChg chg="mod">
          <ac:chgData name="Ugo MANTEL" userId="2d5b7065-31bb-4181-a7f8-a73bf0c30211" providerId="ADAL" clId="{F05BB0D5-3454-45DC-8378-DA45B79D9A06}" dt="2020-10-02T13:04:34.393" v="3280" actId="790"/>
          <ac:spMkLst>
            <pc:docMk/>
            <pc:sldMk cId="2321206819" sldId="6738"/>
            <ac:spMk id="74" creationId="{4811B7CA-D45D-46D8-AE72-59339E473F18}"/>
          </ac:spMkLst>
        </pc:spChg>
        <pc:spChg chg="mod">
          <ac:chgData name="Ugo MANTEL" userId="2d5b7065-31bb-4181-a7f8-a73bf0c30211" providerId="ADAL" clId="{F05BB0D5-3454-45DC-8378-DA45B79D9A06}" dt="2020-10-02T13:04:34.394" v="3281" actId="790"/>
          <ac:spMkLst>
            <pc:docMk/>
            <pc:sldMk cId="2321206819" sldId="6738"/>
            <ac:spMk id="75" creationId="{C417DDE9-B9EF-4D25-8576-EF3130C7C1C6}"/>
          </ac:spMkLst>
        </pc:spChg>
        <pc:spChg chg="mod">
          <ac:chgData name="Ugo MANTEL" userId="2d5b7065-31bb-4181-a7f8-a73bf0c30211" providerId="ADAL" clId="{F05BB0D5-3454-45DC-8378-DA45B79D9A06}" dt="2020-10-02T13:04:34.427" v="3315" actId="790"/>
          <ac:spMkLst>
            <pc:docMk/>
            <pc:sldMk cId="2321206819" sldId="6738"/>
            <ac:spMk id="78" creationId="{BCB31372-4ECE-477C-B6B7-4BD38A84A69F}"/>
          </ac:spMkLst>
        </pc:spChg>
        <pc:spChg chg="mod">
          <ac:chgData name="Ugo MANTEL" userId="2d5b7065-31bb-4181-a7f8-a73bf0c30211" providerId="ADAL" clId="{F05BB0D5-3454-45DC-8378-DA45B79D9A06}" dt="2020-10-02T13:04:34.424" v="3311" actId="790"/>
          <ac:spMkLst>
            <pc:docMk/>
            <pc:sldMk cId="2321206819" sldId="6738"/>
            <ac:spMk id="80" creationId="{5846FDE8-0110-4D8D-884E-F900495DB1FC}"/>
          </ac:spMkLst>
        </pc:spChg>
        <pc:spChg chg="mod">
          <ac:chgData name="Ugo MANTEL" userId="2d5b7065-31bb-4181-a7f8-a73bf0c30211" providerId="ADAL" clId="{F05BB0D5-3454-45DC-8378-DA45B79D9A06}" dt="2020-10-02T13:04:34.395" v="3282" actId="790"/>
          <ac:spMkLst>
            <pc:docMk/>
            <pc:sldMk cId="2321206819" sldId="6738"/>
            <ac:spMk id="82" creationId="{F119D047-B11E-44B0-A380-054F0A9F2108}"/>
          </ac:spMkLst>
        </pc:spChg>
        <pc:spChg chg="mod">
          <ac:chgData name="Ugo MANTEL" userId="2d5b7065-31bb-4181-a7f8-a73bf0c30211" providerId="ADAL" clId="{F05BB0D5-3454-45DC-8378-DA45B79D9A06}" dt="2020-10-02T13:04:34.425" v="3312" actId="790"/>
          <ac:spMkLst>
            <pc:docMk/>
            <pc:sldMk cId="2321206819" sldId="6738"/>
            <ac:spMk id="83" creationId="{FB785FB1-039F-41B3-9A9C-4412AC25BD14}"/>
          </ac:spMkLst>
        </pc:spChg>
        <pc:spChg chg="mod">
          <ac:chgData name="Ugo MANTEL" userId="2d5b7065-31bb-4181-a7f8-a73bf0c30211" providerId="ADAL" clId="{F05BB0D5-3454-45DC-8378-DA45B79D9A06}" dt="2020-10-02T13:04:34.425" v="3313" actId="790"/>
          <ac:spMkLst>
            <pc:docMk/>
            <pc:sldMk cId="2321206819" sldId="6738"/>
            <ac:spMk id="84" creationId="{45E40A67-5710-4AB3-A3C0-24A926DD6790}"/>
          </ac:spMkLst>
        </pc:spChg>
        <pc:spChg chg="mod">
          <ac:chgData name="Ugo MANTEL" userId="2d5b7065-31bb-4181-a7f8-a73bf0c30211" providerId="ADAL" clId="{F05BB0D5-3454-45DC-8378-DA45B79D9A06}" dt="2020-10-02T13:04:34.426" v="3314" actId="790"/>
          <ac:spMkLst>
            <pc:docMk/>
            <pc:sldMk cId="2321206819" sldId="6738"/>
            <ac:spMk id="85" creationId="{FC672528-A55D-4844-9F63-0A4FF7091D51}"/>
          </ac:spMkLst>
        </pc:spChg>
        <pc:spChg chg="mod">
          <ac:chgData name="Ugo MANTEL" userId="2d5b7065-31bb-4181-a7f8-a73bf0c30211" providerId="ADAL" clId="{F05BB0D5-3454-45DC-8378-DA45B79D9A06}" dt="2020-10-02T13:04:34.399" v="3287" actId="790"/>
          <ac:spMkLst>
            <pc:docMk/>
            <pc:sldMk cId="2321206819" sldId="6738"/>
            <ac:spMk id="90" creationId="{19156442-D4B9-40F7-AFA9-A93AF5E0D546}"/>
          </ac:spMkLst>
        </pc:spChg>
        <pc:spChg chg="mod">
          <ac:chgData name="Ugo MANTEL" userId="2d5b7065-31bb-4181-a7f8-a73bf0c30211" providerId="ADAL" clId="{F05BB0D5-3454-45DC-8378-DA45B79D9A06}" dt="2020-10-02T13:04:34.400" v="3288" actId="790"/>
          <ac:spMkLst>
            <pc:docMk/>
            <pc:sldMk cId="2321206819" sldId="6738"/>
            <ac:spMk id="92" creationId="{5507E050-33F3-46AF-BE98-F93C45F7844B}"/>
          </ac:spMkLst>
        </pc:spChg>
        <pc:spChg chg="mod">
          <ac:chgData name="Ugo MANTEL" userId="2d5b7065-31bb-4181-a7f8-a73bf0c30211" providerId="ADAL" clId="{F05BB0D5-3454-45DC-8378-DA45B79D9A06}" dt="2020-10-02T13:04:34.401" v="3289" actId="790"/>
          <ac:spMkLst>
            <pc:docMk/>
            <pc:sldMk cId="2321206819" sldId="6738"/>
            <ac:spMk id="97" creationId="{77A288C4-8076-4B15-9E40-79DE8A999E6A}"/>
          </ac:spMkLst>
        </pc:spChg>
        <pc:spChg chg="mod">
          <ac:chgData name="Ugo MANTEL" userId="2d5b7065-31bb-4181-a7f8-a73bf0c30211" providerId="ADAL" clId="{F05BB0D5-3454-45DC-8378-DA45B79D9A06}" dt="2020-10-02T13:04:34.404" v="3290" actId="790"/>
          <ac:spMkLst>
            <pc:docMk/>
            <pc:sldMk cId="2321206819" sldId="6738"/>
            <ac:spMk id="98" creationId="{B60A82FF-155C-44F5-8FED-27C16503E2FC}"/>
          </ac:spMkLst>
        </pc:spChg>
        <pc:spChg chg="mod">
          <ac:chgData name="Ugo MANTEL" userId="2d5b7065-31bb-4181-a7f8-a73bf0c30211" providerId="ADAL" clId="{F05BB0D5-3454-45DC-8378-DA45B79D9A06}" dt="2020-10-02T13:04:34.407" v="3293" actId="790"/>
          <ac:spMkLst>
            <pc:docMk/>
            <pc:sldMk cId="2321206819" sldId="6738"/>
            <ac:spMk id="102" creationId="{543DE1F1-BC2E-418D-9DCE-350FB29649B8}"/>
          </ac:spMkLst>
        </pc:spChg>
        <pc:spChg chg="mod">
          <ac:chgData name="Ugo MANTEL" userId="2d5b7065-31bb-4181-a7f8-a73bf0c30211" providerId="ADAL" clId="{F05BB0D5-3454-45DC-8378-DA45B79D9A06}" dt="2020-10-02T13:04:34.408" v="3294" actId="790"/>
          <ac:spMkLst>
            <pc:docMk/>
            <pc:sldMk cId="2321206819" sldId="6738"/>
            <ac:spMk id="105" creationId="{E5A56808-1098-4FA5-8A56-1E115F02DBDB}"/>
          </ac:spMkLst>
        </pc:spChg>
        <pc:spChg chg="mod">
          <ac:chgData name="Ugo MANTEL" userId="2d5b7065-31bb-4181-a7f8-a73bf0c30211" providerId="ADAL" clId="{F05BB0D5-3454-45DC-8378-DA45B79D9A06}" dt="2020-10-02T13:04:34.411" v="3296" actId="790"/>
          <ac:spMkLst>
            <pc:docMk/>
            <pc:sldMk cId="2321206819" sldId="6738"/>
            <ac:spMk id="107" creationId="{28983581-E9F6-4B4E-8258-0E2206782231}"/>
          </ac:spMkLst>
        </pc:spChg>
        <pc:spChg chg="mod">
          <ac:chgData name="Ugo MANTEL" userId="2d5b7065-31bb-4181-a7f8-a73bf0c30211" providerId="ADAL" clId="{F05BB0D5-3454-45DC-8378-DA45B79D9A06}" dt="2020-10-02T13:04:34.412" v="3297" actId="790"/>
          <ac:spMkLst>
            <pc:docMk/>
            <pc:sldMk cId="2321206819" sldId="6738"/>
            <ac:spMk id="109" creationId="{227F43C4-9723-4351-8859-D23029A7EBFC}"/>
          </ac:spMkLst>
        </pc:spChg>
        <pc:spChg chg="mod">
          <ac:chgData name="Ugo MANTEL" userId="2d5b7065-31bb-4181-a7f8-a73bf0c30211" providerId="ADAL" clId="{F05BB0D5-3454-45DC-8378-DA45B79D9A06}" dt="2020-10-02T13:04:34.412" v="3298" actId="790"/>
          <ac:spMkLst>
            <pc:docMk/>
            <pc:sldMk cId="2321206819" sldId="6738"/>
            <ac:spMk id="112" creationId="{99FF848E-3671-474C-B635-74DA3D34D7D6}"/>
          </ac:spMkLst>
        </pc:spChg>
      </pc:sldChg>
      <pc:sldChg chg="modSp mod">
        <pc:chgData name="Ugo MANTEL" userId="2d5b7065-31bb-4181-a7f8-a73bf0c30211" providerId="ADAL" clId="{F05BB0D5-3454-45DC-8378-DA45B79D9A06}" dt="2020-10-02T13:04:35.365" v="4333" actId="790"/>
        <pc:sldMkLst>
          <pc:docMk/>
          <pc:sldMk cId="2642514524" sldId="6746"/>
        </pc:sldMkLst>
        <pc:spChg chg="mod">
          <ac:chgData name="Ugo MANTEL" userId="2d5b7065-31bb-4181-a7f8-a73bf0c30211" providerId="ADAL" clId="{F05BB0D5-3454-45DC-8378-DA45B79D9A06}" dt="2020-10-02T13:04:35.344" v="4309" actId="790"/>
          <ac:spMkLst>
            <pc:docMk/>
            <pc:sldMk cId="2642514524" sldId="6746"/>
            <ac:spMk id="2" creationId="{5209868D-496F-4453-AAB1-5E3890BFD587}"/>
          </ac:spMkLst>
        </pc:spChg>
        <pc:spChg chg="mod">
          <ac:chgData name="Ugo MANTEL" userId="2d5b7065-31bb-4181-a7f8-a73bf0c30211" providerId="ADAL" clId="{F05BB0D5-3454-45DC-8378-DA45B79D9A06}" dt="2020-10-02T13:04:35.351" v="4314" actId="790"/>
          <ac:spMkLst>
            <pc:docMk/>
            <pc:sldMk cId="2642514524" sldId="6746"/>
            <ac:spMk id="11" creationId="{D8FCB5A8-80E5-4126-8665-65B7E696A384}"/>
          </ac:spMkLst>
        </pc:spChg>
        <pc:spChg chg="mod">
          <ac:chgData name="Ugo MANTEL" userId="2d5b7065-31bb-4181-a7f8-a73bf0c30211" providerId="ADAL" clId="{F05BB0D5-3454-45DC-8378-DA45B79D9A06}" dt="2020-10-02T13:04:35.346" v="4310" actId="790"/>
          <ac:spMkLst>
            <pc:docMk/>
            <pc:sldMk cId="2642514524" sldId="6746"/>
            <ac:spMk id="13" creationId="{4D4D52A3-3941-4BD5-A6F0-1BD6C7844AF8}"/>
          </ac:spMkLst>
        </pc:spChg>
        <pc:spChg chg="mod">
          <ac:chgData name="Ugo MANTEL" userId="2d5b7065-31bb-4181-a7f8-a73bf0c30211" providerId="ADAL" clId="{F05BB0D5-3454-45DC-8378-DA45B79D9A06}" dt="2020-10-02T13:04:35.358" v="4323" actId="790"/>
          <ac:spMkLst>
            <pc:docMk/>
            <pc:sldMk cId="2642514524" sldId="6746"/>
            <ac:spMk id="30" creationId="{AB98553C-E1F1-41C7-A531-119ED6D613A1}"/>
          </ac:spMkLst>
        </pc:spChg>
        <pc:spChg chg="mod">
          <ac:chgData name="Ugo MANTEL" userId="2d5b7065-31bb-4181-a7f8-a73bf0c30211" providerId="ADAL" clId="{F05BB0D5-3454-45DC-8378-DA45B79D9A06}" dt="2020-10-02T13:04:35.343" v="4308" actId="790"/>
          <ac:spMkLst>
            <pc:docMk/>
            <pc:sldMk cId="2642514524" sldId="6746"/>
            <ac:spMk id="59" creationId="{08A39C34-831C-4C72-BD60-1D82C4BB5792}"/>
          </ac:spMkLst>
        </pc:spChg>
        <pc:spChg chg="mod">
          <ac:chgData name="Ugo MANTEL" userId="2d5b7065-31bb-4181-a7f8-a73bf0c30211" providerId="ADAL" clId="{F05BB0D5-3454-45DC-8378-DA45B79D9A06}" dt="2020-10-02T13:04:35.359" v="4325" actId="790"/>
          <ac:spMkLst>
            <pc:docMk/>
            <pc:sldMk cId="2642514524" sldId="6746"/>
            <ac:spMk id="74" creationId="{7D9B6838-17EF-4B72-94EF-4E412F402F76}"/>
          </ac:spMkLst>
        </pc:spChg>
        <pc:spChg chg="mod">
          <ac:chgData name="Ugo MANTEL" userId="2d5b7065-31bb-4181-a7f8-a73bf0c30211" providerId="ADAL" clId="{F05BB0D5-3454-45DC-8378-DA45B79D9A06}" dt="2020-10-02T13:04:35.361" v="4327" actId="790"/>
          <ac:spMkLst>
            <pc:docMk/>
            <pc:sldMk cId="2642514524" sldId="6746"/>
            <ac:spMk id="75" creationId="{3A034E55-A38F-45F5-A56F-619AA7220458}"/>
          </ac:spMkLst>
        </pc:spChg>
        <pc:spChg chg="mod">
          <ac:chgData name="Ugo MANTEL" userId="2d5b7065-31bb-4181-a7f8-a73bf0c30211" providerId="ADAL" clId="{F05BB0D5-3454-45DC-8378-DA45B79D9A06}" dt="2020-10-02T13:04:35.356" v="4321" actId="790"/>
          <ac:spMkLst>
            <pc:docMk/>
            <pc:sldMk cId="2642514524" sldId="6746"/>
            <ac:spMk id="76" creationId="{C1788870-4C4F-42C9-83E0-E57ECBC800FD}"/>
          </ac:spMkLst>
        </pc:spChg>
        <pc:spChg chg="mod">
          <ac:chgData name="Ugo MANTEL" userId="2d5b7065-31bb-4181-a7f8-a73bf0c30211" providerId="ADAL" clId="{F05BB0D5-3454-45DC-8378-DA45B79D9A06}" dt="2020-10-02T13:04:35.363" v="4330" actId="790"/>
          <ac:spMkLst>
            <pc:docMk/>
            <pc:sldMk cId="2642514524" sldId="6746"/>
            <ac:spMk id="77" creationId="{488276C8-5CBD-44C3-AFA4-48A267F1BE0C}"/>
          </ac:spMkLst>
        </pc:spChg>
        <pc:spChg chg="mod">
          <ac:chgData name="Ugo MANTEL" userId="2d5b7065-31bb-4181-a7f8-a73bf0c30211" providerId="ADAL" clId="{F05BB0D5-3454-45DC-8378-DA45B79D9A06}" dt="2020-10-02T13:04:35.364" v="4332" actId="790"/>
          <ac:spMkLst>
            <pc:docMk/>
            <pc:sldMk cId="2642514524" sldId="6746"/>
            <ac:spMk id="81" creationId="{74FD5DA8-9D86-4714-9BCD-59703DBF3486}"/>
          </ac:spMkLst>
        </pc:spChg>
        <pc:spChg chg="mod">
          <ac:chgData name="Ugo MANTEL" userId="2d5b7065-31bb-4181-a7f8-a73bf0c30211" providerId="ADAL" clId="{F05BB0D5-3454-45DC-8378-DA45B79D9A06}" dt="2020-10-02T13:04:35.347" v="4311" actId="790"/>
          <ac:spMkLst>
            <pc:docMk/>
            <pc:sldMk cId="2642514524" sldId="6746"/>
            <ac:spMk id="92" creationId="{0EA9FDC3-A65A-453A-BA53-BB397A328033}"/>
          </ac:spMkLst>
        </pc:spChg>
        <pc:spChg chg="mod">
          <ac:chgData name="Ugo MANTEL" userId="2d5b7065-31bb-4181-a7f8-a73bf0c30211" providerId="ADAL" clId="{F05BB0D5-3454-45DC-8378-DA45B79D9A06}" dt="2020-10-02T13:04:35.352" v="4315" actId="790"/>
          <ac:spMkLst>
            <pc:docMk/>
            <pc:sldMk cId="2642514524" sldId="6746"/>
            <ac:spMk id="94" creationId="{B871DCE3-CC78-4B66-A296-9B02753DC6DA}"/>
          </ac:spMkLst>
        </pc:spChg>
        <pc:spChg chg="mod">
          <ac:chgData name="Ugo MANTEL" userId="2d5b7065-31bb-4181-a7f8-a73bf0c30211" providerId="ADAL" clId="{F05BB0D5-3454-45DC-8378-DA45B79D9A06}" dt="2020-10-02T13:04:35.360" v="4326" actId="790"/>
          <ac:spMkLst>
            <pc:docMk/>
            <pc:sldMk cId="2642514524" sldId="6746"/>
            <ac:spMk id="96" creationId="{F78E6706-3979-4AE8-9A47-CF19EAB39CEB}"/>
          </ac:spMkLst>
        </pc:spChg>
        <pc:spChg chg="mod">
          <ac:chgData name="Ugo MANTEL" userId="2d5b7065-31bb-4181-a7f8-a73bf0c30211" providerId="ADAL" clId="{F05BB0D5-3454-45DC-8378-DA45B79D9A06}" dt="2020-10-02T13:04:35.352" v="4316" actId="790"/>
          <ac:spMkLst>
            <pc:docMk/>
            <pc:sldMk cId="2642514524" sldId="6746"/>
            <ac:spMk id="100" creationId="{88D81A11-B112-4BB6-8AAD-1523438B32B5}"/>
          </ac:spMkLst>
        </pc:spChg>
        <pc:spChg chg="mod">
          <ac:chgData name="Ugo MANTEL" userId="2d5b7065-31bb-4181-a7f8-a73bf0c30211" providerId="ADAL" clId="{F05BB0D5-3454-45DC-8378-DA45B79D9A06}" dt="2020-10-02T13:04:35.353" v="4317" actId="790"/>
          <ac:spMkLst>
            <pc:docMk/>
            <pc:sldMk cId="2642514524" sldId="6746"/>
            <ac:spMk id="101" creationId="{906A6ADE-AE1A-43FB-B8B4-03358B8A7B67}"/>
          </ac:spMkLst>
        </pc:spChg>
        <pc:spChg chg="mod">
          <ac:chgData name="Ugo MANTEL" userId="2d5b7065-31bb-4181-a7f8-a73bf0c30211" providerId="ADAL" clId="{F05BB0D5-3454-45DC-8378-DA45B79D9A06}" dt="2020-10-02T13:04:35.354" v="4318" actId="790"/>
          <ac:spMkLst>
            <pc:docMk/>
            <pc:sldMk cId="2642514524" sldId="6746"/>
            <ac:spMk id="102" creationId="{E69D31D1-86EB-4494-A929-AF9DCDFCEDA2}"/>
          </ac:spMkLst>
        </pc:spChg>
        <pc:spChg chg="mod">
          <ac:chgData name="Ugo MANTEL" userId="2d5b7065-31bb-4181-a7f8-a73bf0c30211" providerId="ADAL" clId="{F05BB0D5-3454-45DC-8378-DA45B79D9A06}" dt="2020-10-02T13:04:35.355" v="4319" actId="790"/>
          <ac:spMkLst>
            <pc:docMk/>
            <pc:sldMk cId="2642514524" sldId="6746"/>
            <ac:spMk id="103" creationId="{3E97ACBA-1588-4173-9660-07A2573C1C4C}"/>
          </ac:spMkLst>
        </pc:spChg>
        <pc:spChg chg="mod">
          <ac:chgData name="Ugo MANTEL" userId="2d5b7065-31bb-4181-a7f8-a73bf0c30211" providerId="ADAL" clId="{F05BB0D5-3454-45DC-8378-DA45B79D9A06}" dt="2020-10-02T13:04:35.362" v="4328" actId="790"/>
          <ac:spMkLst>
            <pc:docMk/>
            <pc:sldMk cId="2642514524" sldId="6746"/>
            <ac:spMk id="105" creationId="{3DA28EF4-3016-4A36-86FB-EC52CA0626AC}"/>
          </ac:spMkLst>
        </pc:spChg>
        <pc:spChg chg="mod">
          <ac:chgData name="Ugo MANTEL" userId="2d5b7065-31bb-4181-a7f8-a73bf0c30211" providerId="ADAL" clId="{F05BB0D5-3454-45DC-8378-DA45B79D9A06}" dt="2020-10-02T13:04:35.362" v="4329" actId="790"/>
          <ac:spMkLst>
            <pc:docMk/>
            <pc:sldMk cId="2642514524" sldId="6746"/>
            <ac:spMk id="106" creationId="{2D0589D7-CCE0-4025-9259-E76824D1BF4C}"/>
          </ac:spMkLst>
        </pc:spChg>
        <pc:spChg chg="mod">
          <ac:chgData name="Ugo MANTEL" userId="2d5b7065-31bb-4181-a7f8-a73bf0c30211" providerId="ADAL" clId="{F05BB0D5-3454-45DC-8378-DA45B79D9A06}" dt="2020-10-02T13:04:35.364" v="4331" actId="790"/>
          <ac:spMkLst>
            <pc:docMk/>
            <pc:sldMk cId="2642514524" sldId="6746"/>
            <ac:spMk id="110" creationId="{5EBC047A-CFA7-4EE9-82BA-8D8E1B7BC5F4}"/>
          </ac:spMkLst>
        </pc:spChg>
        <pc:spChg chg="mod">
          <ac:chgData name="Ugo MANTEL" userId="2d5b7065-31bb-4181-a7f8-a73bf0c30211" providerId="ADAL" clId="{F05BB0D5-3454-45DC-8378-DA45B79D9A06}" dt="2020-10-02T13:04:35.365" v="4333" actId="790"/>
          <ac:spMkLst>
            <pc:docMk/>
            <pc:sldMk cId="2642514524" sldId="6746"/>
            <ac:spMk id="113" creationId="{EE4AB37F-0F4B-4777-A15F-41947AB36EE5}"/>
          </ac:spMkLst>
        </pc:spChg>
        <pc:spChg chg="mod">
          <ac:chgData name="Ugo MANTEL" userId="2d5b7065-31bb-4181-a7f8-a73bf0c30211" providerId="ADAL" clId="{F05BB0D5-3454-45DC-8378-DA45B79D9A06}" dt="2020-10-02T13:04:35.355" v="4320" actId="790"/>
          <ac:spMkLst>
            <pc:docMk/>
            <pc:sldMk cId="2642514524" sldId="6746"/>
            <ac:spMk id="114" creationId="{6E8600F2-721E-4224-ABA6-F599F9619EB0}"/>
          </ac:spMkLst>
        </pc:spChg>
        <pc:spChg chg="mod">
          <ac:chgData name="Ugo MANTEL" userId="2d5b7065-31bb-4181-a7f8-a73bf0c30211" providerId="ADAL" clId="{F05BB0D5-3454-45DC-8378-DA45B79D9A06}" dt="2020-10-02T13:04:35.358" v="4324" actId="790"/>
          <ac:spMkLst>
            <pc:docMk/>
            <pc:sldMk cId="2642514524" sldId="6746"/>
            <ac:spMk id="115" creationId="{EAD264D8-4D71-41AB-97FF-D6F9C78E0F17}"/>
          </ac:spMkLst>
        </pc:spChg>
        <pc:spChg chg="mod">
          <ac:chgData name="Ugo MANTEL" userId="2d5b7065-31bb-4181-a7f8-a73bf0c30211" providerId="ADAL" clId="{F05BB0D5-3454-45DC-8378-DA45B79D9A06}" dt="2020-10-02T13:04:35.357" v="4322" actId="790"/>
          <ac:spMkLst>
            <pc:docMk/>
            <pc:sldMk cId="2642514524" sldId="6746"/>
            <ac:spMk id="123" creationId="{E30421BD-18E5-48A2-8804-500344325E2E}"/>
          </ac:spMkLst>
        </pc:spChg>
        <pc:spChg chg="mod">
          <ac:chgData name="Ugo MANTEL" userId="2d5b7065-31bb-4181-a7f8-a73bf0c30211" providerId="ADAL" clId="{F05BB0D5-3454-45DC-8378-DA45B79D9A06}" dt="2020-10-02T13:04:35.349" v="4312" actId="790"/>
          <ac:spMkLst>
            <pc:docMk/>
            <pc:sldMk cId="2642514524" sldId="6746"/>
            <ac:spMk id="125" creationId="{3241F3AF-DEB9-4344-9C84-AC42BAB082C3}"/>
          </ac:spMkLst>
        </pc:spChg>
        <pc:spChg chg="mod">
          <ac:chgData name="Ugo MANTEL" userId="2d5b7065-31bb-4181-a7f8-a73bf0c30211" providerId="ADAL" clId="{F05BB0D5-3454-45DC-8378-DA45B79D9A06}" dt="2020-10-02T13:04:35.350" v="4313" actId="790"/>
          <ac:spMkLst>
            <pc:docMk/>
            <pc:sldMk cId="2642514524" sldId="6746"/>
            <ac:spMk id="126" creationId="{1F3EDAD4-F85E-4ACE-938A-97655B0E85EB}"/>
          </ac:spMkLst>
        </pc:spChg>
      </pc:sldChg>
      <pc:sldChg chg="modSp mod">
        <pc:chgData name="Ugo MANTEL" userId="2d5b7065-31bb-4181-a7f8-a73bf0c30211" providerId="ADAL" clId="{F05BB0D5-3454-45DC-8378-DA45B79D9A06}" dt="2020-10-02T13:04:35.204" v="4197" actId="790"/>
        <pc:sldMkLst>
          <pc:docMk/>
          <pc:sldMk cId="2845273452" sldId="6748"/>
        </pc:sldMkLst>
        <pc:spChg chg="mod">
          <ac:chgData name="Ugo MANTEL" userId="2d5b7065-31bb-4181-a7f8-a73bf0c30211" providerId="ADAL" clId="{F05BB0D5-3454-45DC-8378-DA45B79D9A06}" dt="2020-10-02T13:04:35.163" v="4155" actId="790"/>
          <ac:spMkLst>
            <pc:docMk/>
            <pc:sldMk cId="2845273452" sldId="6748"/>
            <ac:spMk id="3" creationId="{2A97A41F-2CC4-4366-AFFC-8A5AF678FEB8}"/>
          </ac:spMkLst>
        </pc:spChg>
        <pc:spChg chg="mod">
          <ac:chgData name="Ugo MANTEL" userId="2d5b7065-31bb-4181-a7f8-a73bf0c30211" providerId="ADAL" clId="{F05BB0D5-3454-45DC-8378-DA45B79D9A06}" dt="2020-10-02T13:04:35.169" v="4161" actId="790"/>
          <ac:spMkLst>
            <pc:docMk/>
            <pc:sldMk cId="2845273452" sldId="6748"/>
            <ac:spMk id="4" creationId="{A53CE249-CA87-48AE-8026-4FB6487E8088}"/>
          </ac:spMkLst>
        </pc:spChg>
        <pc:spChg chg="mod">
          <ac:chgData name="Ugo MANTEL" userId="2d5b7065-31bb-4181-a7f8-a73bf0c30211" providerId="ADAL" clId="{F05BB0D5-3454-45DC-8378-DA45B79D9A06}" dt="2020-10-02T13:04:35.161" v="4154" actId="790"/>
          <ac:spMkLst>
            <pc:docMk/>
            <pc:sldMk cId="2845273452" sldId="6748"/>
            <ac:spMk id="5" creationId="{2894300E-10F9-4861-A901-94E478A19022}"/>
          </ac:spMkLst>
        </pc:spChg>
        <pc:spChg chg="mod">
          <ac:chgData name="Ugo MANTEL" userId="2d5b7065-31bb-4181-a7f8-a73bf0c30211" providerId="ADAL" clId="{F05BB0D5-3454-45DC-8378-DA45B79D9A06}" dt="2020-10-02T13:04:35.171" v="4164" actId="790"/>
          <ac:spMkLst>
            <pc:docMk/>
            <pc:sldMk cId="2845273452" sldId="6748"/>
            <ac:spMk id="6" creationId="{9874D83B-2690-4976-AEE0-06E8D29EDF40}"/>
          </ac:spMkLst>
        </pc:spChg>
        <pc:spChg chg="mod">
          <ac:chgData name="Ugo MANTEL" userId="2d5b7065-31bb-4181-a7f8-a73bf0c30211" providerId="ADAL" clId="{F05BB0D5-3454-45DC-8378-DA45B79D9A06}" dt="2020-10-02T13:04:35.163" v="4156" actId="790"/>
          <ac:spMkLst>
            <pc:docMk/>
            <pc:sldMk cId="2845273452" sldId="6748"/>
            <ac:spMk id="11" creationId="{9CF18410-6B44-41DC-A66D-C89D28D0B509}"/>
          </ac:spMkLst>
        </pc:spChg>
        <pc:spChg chg="mod">
          <ac:chgData name="Ugo MANTEL" userId="2d5b7065-31bb-4181-a7f8-a73bf0c30211" providerId="ADAL" clId="{F05BB0D5-3454-45DC-8378-DA45B79D9A06}" dt="2020-10-02T13:04:35.168" v="4160" actId="790"/>
          <ac:spMkLst>
            <pc:docMk/>
            <pc:sldMk cId="2845273452" sldId="6748"/>
            <ac:spMk id="12" creationId="{F85FB1B6-9C0F-45F8-AF88-485F185D137F}"/>
          </ac:spMkLst>
        </pc:spChg>
        <pc:spChg chg="mod">
          <ac:chgData name="Ugo MANTEL" userId="2d5b7065-31bb-4181-a7f8-a73bf0c30211" providerId="ADAL" clId="{F05BB0D5-3454-45DC-8378-DA45B79D9A06}" dt="2020-10-02T13:04:35.164" v="4157" actId="790"/>
          <ac:spMkLst>
            <pc:docMk/>
            <pc:sldMk cId="2845273452" sldId="6748"/>
            <ac:spMk id="13" creationId="{73CBFE9A-D810-4EA0-935D-2E8BBEC0D1CF}"/>
          </ac:spMkLst>
        </pc:spChg>
        <pc:spChg chg="mod">
          <ac:chgData name="Ugo MANTEL" userId="2d5b7065-31bb-4181-a7f8-a73bf0c30211" providerId="ADAL" clId="{F05BB0D5-3454-45DC-8378-DA45B79D9A06}" dt="2020-10-02T13:04:35.165" v="4158" actId="790"/>
          <ac:spMkLst>
            <pc:docMk/>
            <pc:sldMk cId="2845273452" sldId="6748"/>
            <ac:spMk id="14" creationId="{5B153C6B-A7B2-45BA-819E-B23707B40BC5}"/>
          </ac:spMkLst>
        </pc:spChg>
        <pc:spChg chg="mod">
          <ac:chgData name="Ugo MANTEL" userId="2d5b7065-31bb-4181-a7f8-a73bf0c30211" providerId="ADAL" clId="{F05BB0D5-3454-45DC-8378-DA45B79D9A06}" dt="2020-10-02T13:04:35.167" v="4159" actId="790"/>
          <ac:spMkLst>
            <pc:docMk/>
            <pc:sldMk cId="2845273452" sldId="6748"/>
            <ac:spMk id="20" creationId="{F18540B5-AF48-4E00-A11D-ECFFF75F52D6}"/>
          </ac:spMkLst>
        </pc:spChg>
        <pc:spChg chg="mod">
          <ac:chgData name="Ugo MANTEL" userId="2d5b7065-31bb-4181-a7f8-a73bf0c30211" providerId="ADAL" clId="{F05BB0D5-3454-45DC-8378-DA45B79D9A06}" dt="2020-10-02T13:04:35.172" v="4165" actId="790"/>
          <ac:spMkLst>
            <pc:docMk/>
            <pc:sldMk cId="2845273452" sldId="6748"/>
            <ac:spMk id="25" creationId="{19EA180B-5A11-4563-9446-1F4DFF0AE3EE}"/>
          </ac:spMkLst>
        </pc:spChg>
        <pc:spChg chg="mod">
          <ac:chgData name="Ugo MANTEL" userId="2d5b7065-31bb-4181-a7f8-a73bf0c30211" providerId="ADAL" clId="{F05BB0D5-3454-45DC-8378-DA45B79D9A06}" dt="2020-10-02T13:04:35.190" v="4186" actId="790"/>
          <ac:spMkLst>
            <pc:docMk/>
            <pc:sldMk cId="2845273452" sldId="6748"/>
            <ac:spMk id="31" creationId="{104B5B84-8BA7-48B7-86B5-E42E53CD4206}"/>
          </ac:spMkLst>
        </pc:spChg>
        <pc:spChg chg="mod">
          <ac:chgData name="Ugo MANTEL" userId="2d5b7065-31bb-4181-a7f8-a73bf0c30211" providerId="ADAL" clId="{F05BB0D5-3454-45DC-8378-DA45B79D9A06}" dt="2020-10-02T13:04:35.189" v="4185" actId="790"/>
          <ac:spMkLst>
            <pc:docMk/>
            <pc:sldMk cId="2845273452" sldId="6748"/>
            <ac:spMk id="35" creationId="{F348A758-9B42-456A-9A4D-38EFFD560145}"/>
          </ac:spMkLst>
        </pc:spChg>
        <pc:spChg chg="mod">
          <ac:chgData name="Ugo MANTEL" userId="2d5b7065-31bb-4181-a7f8-a73bf0c30211" providerId="ADAL" clId="{F05BB0D5-3454-45DC-8378-DA45B79D9A06}" dt="2020-10-02T13:04:35.170" v="4162" actId="790"/>
          <ac:spMkLst>
            <pc:docMk/>
            <pc:sldMk cId="2845273452" sldId="6748"/>
            <ac:spMk id="38" creationId="{B82E3964-B351-42FE-8A49-411A4604EC02}"/>
          </ac:spMkLst>
        </pc:spChg>
        <pc:spChg chg="mod">
          <ac:chgData name="Ugo MANTEL" userId="2d5b7065-31bb-4181-a7f8-a73bf0c30211" providerId="ADAL" clId="{F05BB0D5-3454-45DC-8378-DA45B79D9A06}" dt="2020-10-02T13:04:35.170" v="4163" actId="790"/>
          <ac:spMkLst>
            <pc:docMk/>
            <pc:sldMk cId="2845273452" sldId="6748"/>
            <ac:spMk id="39" creationId="{CB2D7823-67EF-45E3-ACF2-467F3CC021EE}"/>
          </ac:spMkLst>
        </pc:spChg>
        <pc:spChg chg="mod">
          <ac:chgData name="Ugo MANTEL" userId="2d5b7065-31bb-4181-a7f8-a73bf0c30211" providerId="ADAL" clId="{F05BB0D5-3454-45DC-8378-DA45B79D9A06}" dt="2020-10-02T13:04:35.181" v="4177" actId="790"/>
          <ac:spMkLst>
            <pc:docMk/>
            <pc:sldMk cId="2845273452" sldId="6748"/>
            <ac:spMk id="46" creationId="{0A74E75D-04D2-4D91-BD31-6FD5533182B3}"/>
          </ac:spMkLst>
        </pc:spChg>
        <pc:spChg chg="mod">
          <ac:chgData name="Ugo MANTEL" userId="2d5b7065-31bb-4181-a7f8-a73bf0c30211" providerId="ADAL" clId="{F05BB0D5-3454-45DC-8378-DA45B79D9A06}" dt="2020-10-02T13:04:35.182" v="4178" actId="790"/>
          <ac:spMkLst>
            <pc:docMk/>
            <pc:sldMk cId="2845273452" sldId="6748"/>
            <ac:spMk id="48" creationId="{6496788F-8CF6-494B-A502-6FF3765A9EEC}"/>
          </ac:spMkLst>
        </pc:spChg>
        <pc:spChg chg="mod">
          <ac:chgData name="Ugo MANTEL" userId="2d5b7065-31bb-4181-a7f8-a73bf0c30211" providerId="ADAL" clId="{F05BB0D5-3454-45DC-8378-DA45B79D9A06}" dt="2020-10-02T13:04:35.176" v="4170" actId="790"/>
          <ac:spMkLst>
            <pc:docMk/>
            <pc:sldMk cId="2845273452" sldId="6748"/>
            <ac:spMk id="51" creationId="{5B537737-0E1F-4FBD-BCF6-39954506E46A}"/>
          </ac:spMkLst>
        </pc:spChg>
        <pc:spChg chg="mod">
          <ac:chgData name="Ugo MANTEL" userId="2d5b7065-31bb-4181-a7f8-a73bf0c30211" providerId="ADAL" clId="{F05BB0D5-3454-45DC-8378-DA45B79D9A06}" dt="2020-10-02T13:04:35.173" v="4166" actId="790"/>
          <ac:spMkLst>
            <pc:docMk/>
            <pc:sldMk cId="2845273452" sldId="6748"/>
            <ac:spMk id="52" creationId="{509824F6-A7F0-449E-8536-452E7D1D2232}"/>
          </ac:spMkLst>
        </pc:spChg>
        <pc:spChg chg="mod">
          <ac:chgData name="Ugo MANTEL" userId="2d5b7065-31bb-4181-a7f8-a73bf0c30211" providerId="ADAL" clId="{F05BB0D5-3454-45DC-8378-DA45B79D9A06}" dt="2020-10-02T13:04:35.174" v="4168" actId="790"/>
          <ac:spMkLst>
            <pc:docMk/>
            <pc:sldMk cId="2845273452" sldId="6748"/>
            <ac:spMk id="53" creationId="{810CB554-BE35-4F5C-881B-B630D0847B01}"/>
          </ac:spMkLst>
        </pc:spChg>
        <pc:spChg chg="mod">
          <ac:chgData name="Ugo MANTEL" userId="2d5b7065-31bb-4181-a7f8-a73bf0c30211" providerId="ADAL" clId="{F05BB0D5-3454-45DC-8378-DA45B79D9A06}" dt="2020-10-02T13:04:35.173" v="4167" actId="790"/>
          <ac:spMkLst>
            <pc:docMk/>
            <pc:sldMk cId="2845273452" sldId="6748"/>
            <ac:spMk id="54" creationId="{37D2D071-C05C-4471-911D-E7F09D694F8F}"/>
          </ac:spMkLst>
        </pc:spChg>
        <pc:spChg chg="mod">
          <ac:chgData name="Ugo MANTEL" userId="2d5b7065-31bb-4181-a7f8-a73bf0c30211" providerId="ADAL" clId="{F05BB0D5-3454-45DC-8378-DA45B79D9A06}" dt="2020-10-02T13:04:35.175" v="4169" actId="790"/>
          <ac:spMkLst>
            <pc:docMk/>
            <pc:sldMk cId="2845273452" sldId="6748"/>
            <ac:spMk id="55" creationId="{D14A3D29-7105-4348-B9CB-B8E500B90A67}"/>
          </ac:spMkLst>
        </pc:spChg>
        <pc:spChg chg="mod">
          <ac:chgData name="Ugo MANTEL" userId="2d5b7065-31bb-4181-a7f8-a73bf0c30211" providerId="ADAL" clId="{F05BB0D5-3454-45DC-8378-DA45B79D9A06}" dt="2020-10-02T13:04:35.177" v="4171" actId="790"/>
          <ac:spMkLst>
            <pc:docMk/>
            <pc:sldMk cId="2845273452" sldId="6748"/>
            <ac:spMk id="57" creationId="{4F74728F-E608-4246-A1A6-B32D3E3DD913}"/>
          </ac:spMkLst>
        </pc:spChg>
        <pc:spChg chg="mod">
          <ac:chgData name="Ugo MANTEL" userId="2d5b7065-31bb-4181-a7f8-a73bf0c30211" providerId="ADAL" clId="{F05BB0D5-3454-45DC-8378-DA45B79D9A06}" dt="2020-10-02T13:04:35.177" v="4172" actId="790"/>
          <ac:spMkLst>
            <pc:docMk/>
            <pc:sldMk cId="2845273452" sldId="6748"/>
            <ac:spMk id="58" creationId="{5A1B86A4-AD88-4BF7-AA60-0EF8F7DB1C78}"/>
          </ac:spMkLst>
        </pc:spChg>
        <pc:spChg chg="mod">
          <ac:chgData name="Ugo MANTEL" userId="2d5b7065-31bb-4181-a7f8-a73bf0c30211" providerId="ADAL" clId="{F05BB0D5-3454-45DC-8378-DA45B79D9A06}" dt="2020-10-02T13:04:35.178" v="4173" actId="790"/>
          <ac:spMkLst>
            <pc:docMk/>
            <pc:sldMk cId="2845273452" sldId="6748"/>
            <ac:spMk id="59" creationId="{D9BFBB26-E00C-4586-AF26-199BD60B579C}"/>
          </ac:spMkLst>
        </pc:spChg>
        <pc:spChg chg="mod">
          <ac:chgData name="Ugo MANTEL" userId="2d5b7065-31bb-4181-a7f8-a73bf0c30211" providerId="ADAL" clId="{F05BB0D5-3454-45DC-8378-DA45B79D9A06}" dt="2020-10-02T13:04:35.179" v="4174" actId="790"/>
          <ac:spMkLst>
            <pc:docMk/>
            <pc:sldMk cId="2845273452" sldId="6748"/>
            <ac:spMk id="60" creationId="{B205C86D-ADE0-4376-A350-74C77837526F}"/>
          </ac:spMkLst>
        </pc:spChg>
        <pc:spChg chg="mod">
          <ac:chgData name="Ugo MANTEL" userId="2d5b7065-31bb-4181-a7f8-a73bf0c30211" providerId="ADAL" clId="{F05BB0D5-3454-45DC-8378-DA45B79D9A06}" dt="2020-10-02T13:04:35.179" v="4175" actId="790"/>
          <ac:spMkLst>
            <pc:docMk/>
            <pc:sldMk cId="2845273452" sldId="6748"/>
            <ac:spMk id="61" creationId="{B0B1C6DB-B260-4DCA-872C-A071E25DB88F}"/>
          </ac:spMkLst>
        </pc:spChg>
        <pc:spChg chg="mod">
          <ac:chgData name="Ugo MANTEL" userId="2d5b7065-31bb-4181-a7f8-a73bf0c30211" providerId="ADAL" clId="{F05BB0D5-3454-45DC-8378-DA45B79D9A06}" dt="2020-10-02T13:04:35.180" v="4176" actId="790"/>
          <ac:spMkLst>
            <pc:docMk/>
            <pc:sldMk cId="2845273452" sldId="6748"/>
            <ac:spMk id="62" creationId="{58E4236D-2DDB-4006-A2DA-727C2BA2D92E}"/>
          </ac:spMkLst>
        </pc:spChg>
        <pc:spChg chg="mod">
          <ac:chgData name="Ugo MANTEL" userId="2d5b7065-31bb-4181-a7f8-a73bf0c30211" providerId="ADAL" clId="{F05BB0D5-3454-45DC-8378-DA45B79D9A06}" dt="2020-10-02T13:04:35.195" v="4189" actId="790"/>
          <ac:spMkLst>
            <pc:docMk/>
            <pc:sldMk cId="2845273452" sldId="6748"/>
            <ac:spMk id="63" creationId="{15F6F7AA-F855-4DE9-993C-27876583ADBB}"/>
          </ac:spMkLst>
        </pc:spChg>
        <pc:spChg chg="mod">
          <ac:chgData name="Ugo MANTEL" userId="2d5b7065-31bb-4181-a7f8-a73bf0c30211" providerId="ADAL" clId="{F05BB0D5-3454-45DC-8378-DA45B79D9A06}" dt="2020-10-02T13:04:35.196" v="4190" actId="790"/>
          <ac:spMkLst>
            <pc:docMk/>
            <pc:sldMk cId="2845273452" sldId="6748"/>
            <ac:spMk id="64" creationId="{6EDE0DF3-3366-407D-9281-2FF99F3044FA}"/>
          </ac:spMkLst>
        </pc:spChg>
        <pc:spChg chg="mod">
          <ac:chgData name="Ugo MANTEL" userId="2d5b7065-31bb-4181-a7f8-a73bf0c30211" providerId="ADAL" clId="{F05BB0D5-3454-45DC-8378-DA45B79D9A06}" dt="2020-10-02T13:04:35.197" v="4191" actId="790"/>
          <ac:spMkLst>
            <pc:docMk/>
            <pc:sldMk cId="2845273452" sldId="6748"/>
            <ac:spMk id="65" creationId="{E4C3A9EA-D421-45DC-A513-17FF60886B5B}"/>
          </ac:spMkLst>
        </pc:spChg>
        <pc:spChg chg="mod">
          <ac:chgData name="Ugo MANTEL" userId="2d5b7065-31bb-4181-a7f8-a73bf0c30211" providerId="ADAL" clId="{F05BB0D5-3454-45DC-8378-DA45B79D9A06}" dt="2020-10-02T13:04:35.186" v="4181" actId="790"/>
          <ac:spMkLst>
            <pc:docMk/>
            <pc:sldMk cId="2845273452" sldId="6748"/>
            <ac:spMk id="66" creationId="{116C9D3F-63C8-47C5-9F5C-85EF8D59EA85}"/>
          </ac:spMkLst>
        </pc:spChg>
        <pc:spChg chg="mod">
          <ac:chgData name="Ugo MANTEL" userId="2d5b7065-31bb-4181-a7f8-a73bf0c30211" providerId="ADAL" clId="{F05BB0D5-3454-45DC-8378-DA45B79D9A06}" dt="2020-10-02T13:04:35.202" v="4196" actId="790"/>
          <ac:spMkLst>
            <pc:docMk/>
            <pc:sldMk cId="2845273452" sldId="6748"/>
            <ac:spMk id="67" creationId="{7ABF8075-9C7D-4EAA-88C6-EFF392413CC9}"/>
          </ac:spMkLst>
        </pc:spChg>
        <pc:spChg chg="mod">
          <ac:chgData name="Ugo MANTEL" userId="2d5b7065-31bb-4181-a7f8-a73bf0c30211" providerId="ADAL" clId="{F05BB0D5-3454-45DC-8378-DA45B79D9A06}" dt="2020-10-02T13:04:35.198" v="4192" actId="790"/>
          <ac:spMkLst>
            <pc:docMk/>
            <pc:sldMk cId="2845273452" sldId="6748"/>
            <ac:spMk id="68" creationId="{00CB8AE5-D08E-409E-8FD0-E5751152629B}"/>
          </ac:spMkLst>
        </pc:spChg>
        <pc:spChg chg="mod">
          <ac:chgData name="Ugo MANTEL" userId="2d5b7065-31bb-4181-a7f8-a73bf0c30211" providerId="ADAL" clId="{F05BB0D5-3454-45DC-8378-DA45B79D9A06}" dt="2020-10-02T13:04:35.199" v="4193" actId="790"/>
          <ac:spMkLst>
            <pc:docMk/>
            <pc:sldMk cId="2845273452" sldId="6748"/>
            <ac:spMk id="69" creationId="{AF09512F-0E56-4916-A303-A1B5D1E1370B}"/>
          </ac:spMkLst>
        </pc:spChg>
        <pc:spChg chg="mod">
          <ac:chgData name="Ugo MANTEL" userId="2d5b7065-31bb-4181-a7f8-a73bf0c30211" providerId="ADAL" clId="{F05BB0D5-3454-45DC-8378-DA45B79D9A06}" dt="2020-10-02T13:04:35.183" v="4179" actId="790"/>
          <ac:spMkLst>
            <pc:docMk/>
            <pc:sldMk cId="2845273452" sldId="6748"/>
            <ac:spMk id="70" creationId="{AB3FE57B-CF45-4F54-8617-772F90169151}"/>
          </ac:spMkLst>
        </pc:spChg>
        <pc:spChg chg="mod">
          <ac:chgData name="Ugo MANTEL" userId="2d5b7065-31bb-4181-a7f8-a73bf0c30211" providerId="ADAL" clId="{F05BB0D5-3454-45DC-8378-DA45B79D9A06}" dt="2020-10-02T13:04:35.184" v="4180" actId="790"/>
          <ac:spMkLst>
            <pc:docMk/>
            <pc:sldMk cId="2845273452" sldId="6748"/>
            <ac:spMk id="71" creationId="{06BBEC3B-C902-4EE0-807D-5F71CCAF55F5}"/>
          </ac:spMkLst>
        </pc:spChg>
        <pc:spChg chg="mod">
          <ac:chgData name="Ugo MANTEL" userId="2d5b7065-31bb-4181-a7f8-a73bf0c30211" providerId="ADAL" clId="{F05BB0D5-3454-45DC-8378-DA45B79D9A06}" dt="2020-10-02T13:04:35.200" v="4194" actId="790"/>
          <ac:spMkLst>
            <pc:docMk/>
            <pc:sldMk cId="2845273452" sldId="6748"/>
            <ac:spMk id="72" creationId="{494FE0F2-378B-4582-9ACB-58C9BAF9DE08}"/>
          </ac:spMkLst>
        </pc:spChg>
        <pc:spChg chg="mod">
          <ac:chgData name="Ugo MANTEL" userId="2d5b7065-31bb-4181-a7f8-a73bf0c30211" providerId="ADAL" clId="{F05BB0D5-3454-45DC-8378-DA45B79D9A06}" dt="2020-10-02T13:04:35.187" v="4182" actId="790"/>
          <ac:spMkLst>
            <pc:docMk/>
            <pc:sldMk cId="2845273452" sldId="6748"/>
            <ac:spMk id="79" creationId="{FEFCECD2-7049-402F-B6E9-5BBB1918C74E}"/>
          </ac:spMkLst>
        </pc:spChg>
        <pc:spChg chg="mod">
          <ac:chgData name="Ugo MANTEL" userId="2d5b7065-31bb-4181-a7f8-a73bf0c30211" providerId="ADAL" clId="{F05BB0D5-3454-45DC-8378-DA45B79D9A06}" dt="2020-10-02T13:04:35.201" v="4195" actId="790"/>
          <ac:spMkLst>
            <pc:docMk/>
            <pc:sldMk cId="2845273452" sldId="6748"/>
            <ac:spMk id="81" creationId="{4A95B493-53A4-4589-AB5A-69D6DCD64FEE}"/>
          </ac:spMkLst>
        </pc:spChg>
        <pc:spChg chg="mod">
          <ac:chgData name="Ugo MANTEL" userId="2d5b7065-31bb-4181-a7f8-a73bf0c30211" providerId="ADAL" clId="{F05BB0D5-3454-45DC-8378-DA45B79D9A06}" dt="2020-10-02T13:04:35.204" v="4197" actId="790"/>
          <ac:spMkLst>
            <pc:docMk/>
            <pc:sldMk cId="2845273452" sldId="6748"/>
            <ac:spMk id="83" creationId="{2FE5A9DF-FB29-439E-85E2-4C391FD2B41F}"/>
          </ac:spMkLst>
        </pc:spChg>
        <pc:spChg chg="mod">
          <ac:chgData name="Ugo MANTEL" userId="2d5b7065-31bb-4181-a7f8-a73bf0c30211" providerId="ADAL" clId="{F05BB0D5-3454-45DC-8378-DA45B79D9A06}" dt="2020-10-02T13:04:35.187" v="4183" actId="790"/>
          <ac:spMkLst>
            <pc:docMk/>
            <pc:sldMk cId="2845273452" sldId="6748"/>
            <ac:spMk id="98" creationId="{98F5973E-E3C6-489E-85A7-872DB8D9D669}"/>
          </ac:spMkLst>
        </pc:spChg>
        <pc:spChg chg="mod">
          <ac:chgData name="Ugo MANTEL" userId="2d5b7065-31bb-4181-a7f8-a73bf0c30211" providerId="ADAL" clId="{F05BB0D5-3454-45DC-8378-DA45B79D9A06}" dt="2020-10-02T13:04:35.188" v="4184" actId="790"/>
          <ac:spMkLst>
            <pc:docMk/>
            <pc:sldMk cId="2845273452" sldId="6748"/>
            <ac:spMk id="99" creationId="{E4757D49-F72B-4DF7-8988-2090BF8F9ED3}"/>
          </ac:spMkLst>
        </pc:spChg>
        <pc:spChg chg="mod">
          <ac:chgData name="Ugo MANTEL" userId="2d5b7065-31bb-4181-a7f8-a73bf0c30211" providerId="ADAL" clId="{F05BB0D5-3454-45DC-8378-DA45B79D9A06}" dt="2020-10-02T13:04:35.192" v="4187" actId="790"/>
          <ac:spMkLst>
            <pc:docMk/>
            <pc:sldMk cId="2845273452" sldId="6748"/>
            <ac:spMk id="107" creationId="{CBAC6596-52C9-4949-967A-F64781F3DA29}"/>
          </ac:spMkLst>
        </pc:spChg>
        <pc:spChg chg="mod">
          <ac:chgData name="Ugo MANTEL" userId="2d5b7065-31bb-4181-a7f8-a73bf0c30211" providerId="ADAL" clId="{F05BB0D5-3454-45DC-8378-DA45B79D9A06}" dt="2020-10-02T13:04:35.194" v="4188" actId="790"/>
          <ac:spMkLst>
            <pc:docMk/>
            <pc:sldMk cId="2845273452" sldId="6748"/>
            <ac:spMk id="108" creationId="{413C00FE-BA09-4CFD-A9A2-8A277DDD24D0}"/>
          </ac:spMkLst>
        </pc:spChg>
      </pc:sldChg>
      <pc:sldChg chg="modSp mod">
        <pc:chgData name="Ugo MANTEL" userId="2d5b7065-31bb-4181-a7f8-a73bf0c30211" providerId="ADAL" clId="{F05BB0D5-3454-45DC-8378-DA45B79D9A06}" dt="2020-10-02T13:04:35.147" v="4149" actId="790"/>
        <pc:sldMkLst>
          <pc:docMk/>
          <pc:sldMk cId="2949308883" sldId="6757"/>
        </pc:sldMkLst>
        <pc:spChg chg="mod">
          <ac:chgData name="Ugo MANTEL" userId="2d5b7065-31bb-4181-a7f8-a73bf0c30211" providerId="ADAL" clId="{F05BB0D5-3454-45DC-8378-DA45B79D9A06}" dt="2020-10-02T13:04:35.125" v="4131" actId="790"/>
          <ac:spMkLst>
            <pc:docMk/>
            <pc:sldMk cId="2949308883" sldId="6757"/>
            <ac:spMk id="3" creationId="{1ACDE84F-2FAA-4631-99C2-5EC09A6CDDAD}"/>
          </ac:spMkLst>
        </pc:spChg>
        <pc:spChg chg="mod">
          <ac:chgData name="Ugo MANTEL" userId="2d5b7065-31bb-4181-a7f8-a73bf0c30211" providerId="ADAL" clId="{F05BB0D5-3454-45DC-8378-DA45B79D9A06}" dt="2020-10-02T13:04:35.126" v="4132" actId="790"/>
          <ac:spMkLst>
            <pc:docMk/>
            <pc:sldMk cId="2949308883" sldId="6757"/>
            <ac:spMk id="10" creationId="{A24ED5A0-1358-4871-B3FE-C1462670F233}"/>
          </ac:spMkLst>
        </pc:spChg>
        <pc:spChg chg="mod">
          <ac:chgData name="Ugo MANTEL" userId="2d5b7065-31bb-4181-a7f8-a73bf0c30211" providerId="ADAL" clId="{F05BB0D5-3454-45DC-8378-DA45B79D9A06}" dt="2020-10-02T13:04:35.122" v="4130" actId="790"/>
          <ac:spMkLst>
            <pc:docMk/>
            <pc:sldMk cId="2949308883" sldId="6757"/>
            <ac:spMk id="12" creationId="{CFBA01E7-F206-4AE5-9F9D-58FF33C489AB}"/>
          </ac:spMkLst>
        </pc:spChg>
        <pc:spChg chg="mod">
          <ac:chgData name="Ugo MANTEL" userId="2d5b7065-31bb-4181-a7f8-a73bf0c30211" providerId="ADAL" clId="{F05BB0D5-3454-45DC-8378-DA45B79D9A06}" dt="2020-10-02T13:04:35.127" v="4133" actId="790"/>
          <ac:spMkLst>
            <pc:docMk/>
            <pc:sldMk cId="2949308883" sldId="6757"/>
            <ac:spMk id="13" creationId="{858E12F6-4DE2-4CC9-9132-62FAD7B8D00A}"/>
          </ac:spMkLst>
        </pc:spChg>
        <pc:spChg chg="mod">
          <ac:chgData name="Ugo MANTEL" userId="2d5b7065-31bb-4181-a7f8-a73bf0c30211" providerId="ADAL" clId="{F05BB0D5-3454-45DC-8378-DA45B79D9A06}" dt="2020-10-02T13:04:35.142" v="4143" actId="790"/>
          <ac:spMkLst>
            <pc:docMk/>
            <pc:sldMk cId="2949308883" sldId="6757"/>
            <ac:spMk id="14" creationId="{958C3AD3-5ABD-4974-B6D2-0758937B86F5}"/>
          </ac:spMkLst>
        </pc:spChg>
        <pc:spChg chg="mod">
          <ac:chgData name="Ugo MANTEL" userId="2d5b7065-31bb-4181-a7f8-a73bf0c30211" providerId="ADAL" clId="{F05BB0D5-3454-45DC-8378-DA45B79D9A06}" dt="2020-10-02T13:04:35.129" v="4135" actId="790"/>
          <ac:spMkLst>
            <pc:docMk/>
            <pc:sldMk cId="2949308883" sldId="6757"/>
            <ac:spMk id="16" creationId="{8429DA71-98FD-46D1-B42B-05EAFC3EA5B8}"/>
          </ac:spMkLst>
        </pc:spChg>
        <pc:spChg chg="mod">
          <ac:chgData name="Ugo MANTEL" userId="2d5b7065-31bb-4181-a7f8-a73bf0c30211" providerId="ADAL" clId="{F05BB0D5-3454-45DC-8378-DA45B79D9A06}" dt="2020-10-02T13:04:35.143" v="4144" actId="790"/>
          <ac:spMkLst>
            <pc:docMk/>
            <pc:sldMk cId="2949308883" sldId="6757"/>
            <ac:spMk id="19" creationId="{1ECCCA65-9CAC-42EA-B44B-1B819C58183E}"/>
          </ac:spMkLst>
        </pc:spChg>
        <pc:spChg chg="mod">
          <ac:chgData name="Ugo MANTEL" userId="2d5b7065-31bb-4181-a7f8-a73bf0c30211" providerId="ADAL" clId="{F05BB0D5-3454-45DC-8378-DA45B79D9A06}" dt="2020-10-02T13:04:35.128" v="4134" actId="790"/>
          <ac:spMkLst>
            <pc:docMk/>
            <pc:sldMk cId="2949308883" sldId="6757"/>
            <ac:spMk id="20" creationId="{42ECEECB-2DFE-4ECF-A59B-603E67516C89}"/>
          </ac:spMkLst>
        </pc:spChg>
        <pc:spChg chg="mod">
          <ac:chgData name="Ugo MANTEL" userId="2d5b7065-31bb-4181-a7f8-a73bf0c30211" providerId="ADAL" clId="{F05BB0D5-3454-45DC-8378-DA45B79D9A06}" dt="2020-10-02T13:04:35.130" v="4136" actId="790"/>
          <ac:spMkLst>
            <pc:docMk/>
            <pc:sldMk cId="2949308883" sldId="6757"/>
            <ac:spMk id="23" creationId="{8304201C-B208-4CAE-A862-B6D5E287859F}"/>
          </ac:spMkLst>
        </pc:spChg>
        <pc:spChg chg="mod">
          <ac:chgData name="Ugo MANTEL" userId="2d5b7065-31bb-4181-a7f8-a73bf0c30211" providerId="ADAL" clId="{F05BB0D5-3454-45DC-8378-DA45B79D9A06}" dt="2020-10-02T13:04:35.133" v="4137" actId="790"/>
          <ac:spMkLst>
            <pc:docMk/>
            <pc:sldMk cId="2949308883" sldId="6757"/>
            <ac:spMk id="24" creationId="{14E9D539-1CDC-4F34-A99C-20CE1EA9D644}"/>
          </ac:spMkLst>
        </pc:spChg>
        <pc:spChg chg="mod">
          <ac:chgData name="Ugo MANTEL" userId="2d5b7065-31bb-4181-a7f8-a73bf0c30211" providerId="ADAL" clId="{F05BB0D5-3454-45DC-8378-DA45B79D9A06}" dt="2020-10-02T13:04:35.137" v="4138" actId="790"/>
          <ac:spMkLst>
            <pc:docMk/>
            <pc:sldMk cId="2949308883" sldId="6757"/>
            <ac:spMk id="25" creationId="{E9EB2054-F2B0-4DC7-A660-A8D1193386CF}"/>
          </ac:spMkLst>
        </pc:spChg>
        <pc:spChg chg="mod">
          <ac:chgData name="Ugo MANTEL" userId="2d5b7065-31bb-4181-a7f8-a73bf0c30211" providerId="ADAL" clId="{F05BB0D5-3454-45DC-8378-DA45B79D9A06}" dt="2020-10-02T13:04:35.139" v="4140" actId="790"/>
          <ac:spMkLst>
            <pc:docMk/>
            <pc:sldMk cId="2949308883" sldId="6757"/>
            <ac:spMk id="27" creationId="{A618EA87-15D6-4F74-B438-8A50AE5B1A0D}"/>
          </ac:spMkLst>
        </pc:spChg>
        <pc:spChg chg="mod">
          <ac:chgData name="Ugo MANTEL" userId="2d5b7065-31bb-4181-a7f8-a73bf0c30211" providerId="ADAL" clId="{F05BB0D5-3454-45DC-8378-DA45B79D9A06}" dt="2020-10-02T13:04:35.140" v="4141" actId="790"/>
          <ac:spMkLst>
            <pc:docMk/>
            <pc:sldMk cId="2949308883" sldId="6757"/>
            <ac:spMk id="28" creationId="{60ED39B1-1FE6-4FBC-B285-24C9714C3EE1}"/>
          </ac:spMkLst>
        </pc:spChg>
        <pc:spChg chg="mod">
          <ac:chgData name="Ugo MANTEL" userId="2d5b7065-31bb-4181-a7f8-a73bf0c30211" providerId="ADAL" clId="{F05BB0D5-3454-45DC-8378-DA45B79D9A06}" dt="2020-10-02T13:04:35.138" v="4139" actId="790"/>
          <ac:spMkLst>
            <pc:docMk/>
            <pc:sldMk cId="2949308883" sldId="6757"/>
            <ac:spMk id="33" creationId="{51971B81-2486-465C-BA03-7B1864433F5A}"/>
          </ac:spMkLst>
        </pc:spChg>
        <pc:spChg chg="mod">
          <ac:chgData name="Ugo MANTEL" userId="2d5b7065-31bb-4181-a7f8-a73bf0c30211" providerId="ADAL" clId="{F05BB0D5-3454-45DC-8378-DA45B79D9A06}" dt="2020-10-02T13:04:35.144" v="4145" actId="790"/>
          <ac:spMkLst>
            <pc:docMk/>
            <pc:sldMk cId="2949308883" sldId="6757"/>
            <ac:spMk id="34" creationId="{698E9C52-3ADD-4E58-AAD8-AB42D044C4AD}"/>
          </ac:spMkLst>
        </pc:spChg>
        <pc:spChg chg="mod">
          <ac:chgData name="Ugo MANTEL" userId="2d5b7065-31bb-4181-a7f8-a73bf0c30211" providerId="ADAL" clId="{F05BB0D5-3454-45DC-8378-DA45B79D9A06}" dt="2020-10-02T13:04:35.144" v="4146" actId="790"/>
          <ac:spMkLst>
            <pc:docMk/>
            <pc:sldMk cId="2949308883" sldId="6757"/>
            <ac:spMk id="35" creationId="{B158BEF3-11CA-4894-B057-46C4D472CB6C}"/>
          </ac:spMkLst>
        </pc:spChg>
        <pc:spChg chg="mod">
          <ac:chgData name="Ugo MANTEL" userId="2d5b7065-31bb-4181-a7f8-a73bf0c30211" providerId="ADAL" clId="{F05BB0D5-3454-45DC-8378-DA45B79D9A06}" dt="2020-10-02T13:04:35.142" v="4142" actId="790"/>
          <ac:spMkLst>
            <pc:docMk/>
            <pc:sldMk cId="2949308883" sldId="6757"/>
            <ac:spMk id="36" creationId="{1882B496-98D2-4BED-B706-7719E09EB10F}"/>
          </ac:spMkLst>
        </pc:spChg>
        <pc:spChg chg="mod">
          <ac:chgData name="Ugo MANTEL" userId="2d5b7065-31bb-4181-a7f8-a73bf0c30211" providerId="ADAL" clId="{F05BB0D5-3454-45DC-8378-DA45B79D9A06}" dt="2020-10-02T13:04:35.145" v="4147" actId="790"/>
          <ac:spMkLst>
            <pc:docMk/>
            <pc:sldMk cId="2949308883" sldId="6757"/>
            <ac:spMk id="37" creationId="{2C79EB06-8C2B-49BF-A1B5-CE0AC51204C1}"/>
          </ac:spMkLst>
        </pc:spChg>
        <pc:spChg chg="mod">
          <ac:chgData name="Ugo MANTEL" userId="2d5b7065-31bb-4181-a7f8-a73bf0c30211" providerId="ADAL" clId="{F05BB0D5-3454-45DC-8378-DA45B79D9A06}" dt="2020-10-02T13:04:35.146" v="4148" actId="790"/>
          <ac:spMkLst>
            <pc:docMk/>
            <pc:sldMk cId="2949308883" sldId="6757"/>
            <ac:spMk id="38" creationId="{ECAB0AF3-9814-456F-A2A5-0F9C2824A4F2}"/>
          </ac:spMkLst>
        </pc:spChg>
        <pc:spChg chg="mod">
          <ac:chgData name="Ugo MANTEL" userId="2d5b7065-31bb-4181-a7f8-a73bf0c30211" providerId="ADAL" clId="{F05BB0D5-3454-45DC-8378-DA45B79D9A06}" dt="2020-10-02T13:04:35.147" v="4149" actId="790"/>
          <ac:spMkLst>
            <pc:docMk/>
            <pc:sldMk cId="2949308883" sldId="6757"/>
            <ac:spMk id="46" creationId="{E647F434-70C0-4D6B-AE09-6FF60AA54307}"/>
          </ac:spMkLst>
        </pc:spChg>
      </pc:sldChg>
      <pc:sldChg chg="modSp mod">
        <pc:chgData name="Ugo MANTEL" userId="2d5b7065-31bb-4181-a7f8-a73bf0c30211" providerId="ADAL" clId="{F05BB0D5-3454-45DC-8378-DA45B79D9A06}" dt="2020-10-02T13:04:34.341" v="3242" actId="790"/>
        <pc:sldMkLst>
          <pc:docMk/>
          <pc:sldMk cId="2596497667" sldId="6759"/>
        </pc:sldMkLst>
        <pc:spChg chg="mod">
          <ac:chgData name="Ugo MANTEL" userId="2d5b7065-31bb-4181-a7f8-a73bf0c30211" providerId="ADAL" clId="{F05BB0D5-3454-45DC-8378-DA45B79D9A06}" dt="2020-10-02T13:04:34.300" v="3199" actId="790"/>
          <ac:spMkLst>
            <pc:docMk/>
            <pc:sldMk cId="2596497667" sldId="6759"/>
            <ac:spMk id="3" creationId="{D8789C8C-16C3-4806-880B-0F8241B8DE4E}"/>
          </ac:spMkLst>
        </pc:spChg>
        <pc:spChg chg="mod">
          <ac:chgData name="Ugo MANTEL" userId="2d5b7065-31bb-4181-a7f8-a73bf0c30211" providerId="ADAL" clId="{F05BB0D5-3454-45DC-8378-DA45B79D9A06}" dt="2020-10-02T13:04:34.329" v="3234" actId="790"/>
          <ac:spMkLst>
            <pc:docMk/>
            <pc:sldMk cId="2596497667" sldId="6759"/>
            <ac:spMk id="5" creationId="{6CE5C42E-C6D8-4BA7-B0A8-2F7387E8111B}"/>
          </ac:spMkLst>
        </pc:spChg>
        <pc:spChg chg="mod">
          <ac:chgData name="Ugo MANTEL" userId="2d5b7065-31bb-4181-a7f8-a73bf0c30211" providerId="ADAL" clId="{F05BB0D5-3454-45DC-8378-DA45B79D9A06}" dt="2020-10-02T13:04:34.341" v="3242" actId="790"/>
          <ac:spMkLst>
            <pc:docMk/>
            <pc:sldMk cId="2596497667" sldId="6759"/>
            <ac:spMk id="6" creationId="{8EC44BB7-1653-45AC-956F-7AD3125E2E0D}"/>
          </ac:spMkLst>
        </pc:spChg>
        <pc:spChg chg="mod">
          <ac:chgData name="Ugo MANTEL" userId="2d5b7065-31bb-4181-a7f8-a73bf0c30211" providerId="ADAL" clId="{F05BB0D5-3454-45DC-8378-DA45B79D9A06}" dt="2020-10-02T13:04:34.297" v="3198" actId="790"/>
          <ac:spMkLst>
            <pc:docMk/>
            <pc:sldMk cId="2596497667" sldId="6759"/>
            <ac:spMk id="7" creationId="{FD99B9BA-4926-453D-89E7-FE53D86F6A9D}"/>
          </ac:spMkLst>
        </pc:spChg>
        <pc:spChg chg="mod">
          <ac:chgData name="Ugo MANTEL" userId="2d5b7065-31bb-4181-a7f8-a73bf0c30211" providerId="ADAL" clId="{F05BB0D5-3454-45DC-8378-DA45B79D9A06}" dt="2020-10-02T13:04:34.301" v="3200" actId="790"/>
          <ac:spMkLst>
            <pc:docMk/>
            <pc:sldMk cId="2596497667" sldId="6759"/>
            <ac:spMk id="14" creationId="{1F4C0C92-9A6E-4F3E-B93D-5E5355EB674D}"/>
          </ac:spMkLst>
        </pc:spChg>
        <pc:spChg chg="mod">
          <ac:chgData name="Ugo MANTEL" userId="2d5b7065-31bb-4181-a7f8-a73bf0c30211" providerId="ADAL" clId="{F05BB0D5-3454-45DC-8378-DA45B79D9A06}" dt="2020-10-02T13:04:34.302" v="3201" actId="790"/>
          <ac:spMkLst>
            <pc:docMk/>
            <pc:sldMk cId="2596497667" sldId="6759"/>
            <ac:spMk id="21" creationId="{D0F80A0C-1F16-4E4C-9FAD-25F9A477A30B}"/>
          </ac:spMkLst>
        </pc:spChg>
        <pc:spChg chg="mod">
          <ac:chgData name="Ugo MANTEL" userId="2d5b7065-31bb-4181-a7f8-a73bf0c30211" providerId="ADAL" clId="{F05BB0D5-3454-45DC-8378-DA45B79D9A06}" dt="2020-10-02T13:04:34.302" v="3202" actId="790"/>
          <ac:spMkLst>
            <pc:docMk/>
            <pc:sldMk cId="2596497667" sldId="6759"/>
            <ac:spMk id="22" creationId="{5D087893-C6CF-4198-BAF5-912A9962B8D9}"/>
          </ac:spMkLst>
        </pc:spChg>
        <pc:spChg chg="mod">
          <ac:chgData name="Ugo MANTEL" userId="2d5b7065-31bb-4181-a7f8-a73bf0c30211" providerId="ADAL" clId="{F05BB0D5-3454-45DC-8378-DA45B79D9A06}" dt="2020-10-02T13:04:34.303" v="3203" actId="790"/>
          <ac:spMkLst>
            <pc:docMk/>
            <pc:sldMk cId="2596497667" sldId="6759"/>
            <ac:spMk id="23" creationId="{88A9BA4A-B4C7-4D05-BE79-2CFD0C4AEED8}"/>
          </ac:spMkLst>
        </pc:spChg>
        <pc:spChg chg="mod">
          <ac:chgData name="Ugo MANTEL" userId="2d5b7065-31bb-4181-a7f8-a73bf0c30211" providerId="ADAL" clId="{F05BB0D5-3454-45DC-8378-DA45B79D9A06}" dt="2020-10-02T13:04:34.304" v="3204" actId="790"/>
          <ac:spMkLst>
            <pc:docMk/>
            <pc:sldMk cId="2596497667" sldId="6759"/>
            <ac:spMk id="24" creationId="{40F36AAB-6CA2-4EE3-B73A-F384B7F8A076}"/>
          </ac:spMkLst>
        </pc:spChg>
        <pc:spChg chg="mod">
          <ac:chgData name="Ugo MANTEL" userId="2d5b7065-31bb-4181-a7f8-a73bf0c30211" providerId="ADAL" clId="{F05BB0D5-3454-45DC-8378-DA45B79D9A06}" dt="2020-10-02T13:04:34.304" v="3205" actId="790"/>
          <ac:spMkLst>
            <pc:docMk/>
            <pc:sldMk cId="2596497667" sldId="6759"/>
            <ac:spMk id="25" creationId="{365B27DD-28ED-4858-9B9A-025EEAFED172}"/>
          </ac:spMkLst>
        </pc:spChg>
        <pc:spChg chg="mod">
          <ac:chgData name="Ugo MANTEL" userId="2d5b7065-31bb-4181-a7f8-a73bf0c30211" providerId="ADAL" clId="{F05BB0D5-3454-45DC-8378-DA45B79D9A06}" dt="2020-10-02T13:04:34.305" v="3206" actId="790"/>
          <ac:spMkLst>
            <pc:docMk/>
            <pc:sldMk cId="2596497667" sldId="6759"/>
            <ac:spMk id="26" creationId="{6F45FDCB-9C2A-4BEF-AC41-42C5CB2B7EAD}"/>
          </ac:spMkLst>
        </pc:spChg>
        <pc:spChg chg="mod">
          <ac:chgData name="Ugo MANTEL" userId="2d5b7065-31bb-4181-a7f8-a73bf0c30211" providerId="ADAL" clId="{F05BB0D5-3454-45DC-8378-DA45B79D9A06}" dt="2020-10-02T13:04:34.306" v="3207" actId="790"/>
          <ac:spMkLst>
            <pc:docMk/>
            <pc:sldMk cId="2596497667" sldId="6759"/>
            <ac:spMk id="50" creationId="{860574A1-DB52-4EC7-9175-8A706A90E0DD}"/>
          </ac:spMkLst>
        </pc:spChg>
        <pc:spChg chg="mod">
          <ac:chgData name="Ugo MANTEL" userId="2d5b7065-31bb-4181-a7f8-a73bf0c30211" providerId="ADAL" clId="{F05BB0D5-3454-45DC-8378-DA45B79D9A06}" dt="2020-10-02T13:04:34.306" v="3208" actId="790"/>
          <ac:spMkLst>
            <pc:docMk/>
            <pc:sldMk cId="2596497667" sldId="6759"/>
            <ac:spMk id="51" creationId="{719F7512-4950-4A5A-9A29-2FE33A145D1C}"/>
          </ac:spMkLst>
        </pc:spChg>
        <pc:spChg chg="mod">
          <ac:chgData name="Ugo MANTEL" userId="2d5b7065-31bb-4181-a7f8-a73bf0c30211" providerId="ADAL" clId="{F05BB0D5-3454-45DC-8378-DA45B79D9A06}" dt="2020-10-02T13:04:34.307" v="3209" actId="790"/>
          <ac:spMkLst>
            <pc:docMk/>
            <pc:sldMk cId="2596497667" sldId="6759"/>
            <ac:spMk id="52" creationId="{18914693-65B2-4310-B1A7-C392E745B40D}"/>
          </ac:spMkLst>
        </pc:spChg>
        <pc:spChg chg="mod">
          <ac:chgData name="Ugo MANTEL" userId="2d5b7065-31bb-4181-a7f8-a73bf0c30211" providerId="ADAL" clId="{F05BB0D5-3454-45DC-8378-DA45B79D9A06}" dt="2020-10-02T13:04:34.308" v="3210" actId="790"/>
          <ac:spMkLst>
            <pc:docMk/>
            <pc:sldMk cId="2596497667" sldId="6759"/>
            <ac:spMk id="53" creationId="{152E5187-3399-49E3-B38A-151267723CB3}"/>
          </ac:spMkLst>
        </pc:spChg>
        <pc:spChg chg="mod">
          <ac:chgData name="Ugo MANTEL" userId="2d5b7065-31bb-4181-a7f8-a73bf0c30211" providerId="ADAL" clId="{F05BB0D5-3454-45DC-8378-DA45B79D9A06}" dt="2020-10-02T13:04:34.321" v="3224" actId="790"/>
          <ac:spMkLst>
            <pc:docMk/>
            <pc:sldMk cId="2596497667" sldId="6759"/>
            <ac:spMk id="55" creationId="{D8C586C3-F383-443F-B308-A39AB5E3E7F3}"/>
          </ac:spMkLst>
        </pc:spChg>
        <pc:spChg chg="mod">
          <ac:chgData name="Ugo MANTEL" userId="2d5b7065-31bb-4181-a7f8-a73bf0c30211" providerId="ADAL" clId="{F05BB0D5-3454-45DC-8378-DA45B79D9A06}" dt="2020-10-02T13:04:34.308" v="3211" actId="790"/>
          <ac:spMkLst>
            <pc:docMk/>
            <pc:sldMk cId="2596497667" sldId="6759"/>
            <ac:spMk id="56" creationId="{FAA6C4C8-C55E-4F19-8431-7C3F35B21EE4}"/>
          </ac:spMkLst>
        </pc:spChg>
        <pc:spChg chg="mod">
          <ac:chgData name="Ugo MANTEL" userId="2d5b7065-31bb-4181-a7f8-a73bf0c30211" providerId="ADAL" clId="{F05BB0D5-3454-45DC-8378-DA45B79D9A06}" dt="2020-10-02T13:04:34.309" v="3212" actId="790"/>
          <ac:spMkLst>
            <pc:docMk/>
            <pc:sldMk cId="2596497667" sldId="6759"/>
            <ac:spMk id="57" creationId="{56E3F740-094B-4DEE-AAB8-4A876B2C28C5}"/>
          </ac:spMkLst>
        </pc:spChg>
        <pc:spChg chg="mod">
          <ac:chgData name="Ugo MANTEL" userId="2d5b7065-31bb-4181-a7f8-a73bf0c30211" providerId="ADAL" clId="{F05BB0D5-3454-45DC-8378-DA45B79D9A06}" dt="2020-10-02T13:04:34.309" v="3213" actId="790"/>
          <ac:spMkLst>
            <pc:docMk/>
            <pc:sldMk cId="2596497667" sldId="6759"/>
            <ac:spMk id="58" creationId="{02115306-F1F1-45CD-9360-CF2439287271}"/>
          </ac:spMkLst>
        </pc:spChg>
        <pc:spChg chg="mod">
          <ac:chgData name="Ugo MANTEL" userId="2d5b7065-31bb-4181-a7f8-a73bf0c30211" providerId="ADAL" clId="{F05BB0D5-3454-45DC-8378-DA45B79D9A06}" dt="2020-10-02T13:04:34.310" v="3214" actId="790"/>
          <ac:spMkLst>
            <pc:docMk/>
            <pc:sldMk cId="2596497667" sldId="6759"/>
            <ac:spMk id="59" creationId="{FB320439-CAD2-4F6F-9FD5-F3CE137D27FF}"/>
          </ac:spMkLst>
        </pc:spChg>
        <pc:spChg chg="mod">
          <ac:chgData name="Ugo MANTEL" userId="2d5b7065-31bb-4181-a7f8-a73bf0c30211" providerId="ADAL" clId="{F05BB0D5-3454-45DC-8378-DA45B79D9A06}" dt="2020-10-02T13:04:34.311" v="3215" actId="790"/>
          <ac:spMkLst>
            <pc:docMk/>
            <pc:sldMk cId="2596497667" sldId="6759"/>
            <ac:spMk id="60" creationId="{0ED8CFE8-4754-4C34-811E-102668B8FDF6}"/>
          </ac:spMkLst>
        </pc:spChg>
        <pc:spChg chg="mod">
          <ac:chgData name="Ugo MANTEL" userId="2d5b7065-31bb-4181-a7f8-a73bf0c30211" providerId="ADAL" clId="{F05BB0D5-3454-45DC-8378-DA45B79D9A06}" dt="2020-10-02T13:04:34.312" v="3216" actId="790"/>
          <ac:spMkLst>
            <pc:docMk/>
            <pc:sldMk cId="2596497667" sldId="6759"/>
            <ac:spMk id="61" creationId="{6A7FCA5A-F02D-4B89-82E7-8F5A774290B6}"/>
          </ac:spMkLst>
        </pc:spChg>
        <pc:spChg chg="mod">
          <ac:chgData name="Ugo MANTEL" userId="2d5b7065-31bb-4181-a7f8-a73bf0c30211" providerId="ADAL" clId="{F05BB0D5-3454-45DC-8378-DA45B79D9A06}" dt="2020-10-02T13:04:34.334" v="3240" actId="790"/>
          <ac:spMkLst>
            <pc:docMk/>
            <pc:sldMk cId="2596497667" sldId="6759"/>
            <ac:spMk id="63" creationId="{11923E20-5CEE-4597-9696-211DA200441F}"/>
          </ac:spMkLst>
        </pc:spChg>
        <pc:spChg chg="mod">
          <ac:chgData name="Ugo MANTEL" userId="2d5b7065-31bb-4181-a7f8-a73bf0c30211" providerId="ADAL" clId="{F05BB0D5-3454-45DC-8378-DA45B79D9A06}" dt="2020-10-02T13:04:34.312" v="3217" actId="790"/>
          <ac:spMkLst>
            <pc:docMk/>
            <pc:sldMk cId="2596497667" sldId="6759"/>
            <ac:spMk id="64" creationId="{89376D02-36D0-4410-8470-67806D79880B}"/>
          </ac:spMkLst>
        </pc:spChg>
        <pc:spChg chg="mod">
          <ac:chgData name="Ugo MANTEL" userId="2d5b7065-31bb-4181-a7f8-a73bf0c30211" providerId="ADAL" clId="{F05BB0D5-3454-45DC-8378-DA45B79D9A06}" dt="2020-10-02T13:04:34.313" v="3218" actId="790"/>
          <ac:spMkLst>
            <pc:docMk/>
            <pc:sldMk cId="2596497667" sldId="6759"/>
            <ac:spMk id="65" creationId="{BC9BBBE7-D550-4BBE-B753-D87DF3D98A3F}"/>
          </ac:spMkLst>
        </pc:spChg>
        <pc:spChg chg="mod">
          <ac:chgData name="Ugo MANTEL" userId="2d5b7065-31bb-4181-a7f8-a73bf0c30211" providerId="ADAL" clId="{F05BB0D5-3454-45DC-8378-DA45B79D9A06}" dt="2020-10-02T13:04:34.322" v="3225" actId="790"/>
          <ac:spMkLst>
            <pc:docMk/>
            <pc:sldMk cId="2596497667" sldId="6759"/>
            <ac:spMk id="66" creationId="{5321217B-3719-4202-AF47-8926412E1DE3}"/>
          </ac:spMkLst>
        </pc:spChg>
        <pc:spChg chg="mod">
          <ac:chgData name="Ugo MANTEL" userId="2d5b7065-31bb-4181-a7f8-a73bf0c30211" providerId="ADAL" clId="{F05BB0D5-3454-45DC-8378-DA45B79D9A06}" dt="2020-10-02T13:04:34.324" v="3226" actId="790"/>
          <ac:spMkLst>
            <pc:docMk/>
            <pc:sldMk cId="2596497667" sldId="6759"/>
            <ac:spMk id="67" creationId="{35040F98-2270-402E-9219-A4FFED1FF05D}"/>
          </ac:spMkLst>
        </pc:spChg>
        <pc:spChg chg="mod">
          <ac:chgData name="Ugo MANTEL" userId="2d5b7065-31bb-4181-a7f8-a73bf0c30211" providerId="ADAL" clId="{F05BB0D5-3454-45DC-8378-DA45B79D9A06}" dt="2020-10-02T13:04:34.327" v="3231" actId="790"/>
          <ac:spMkLst>
            <pc:docMk/>
            <pc:sldMk cId="2596497667" sldId="6759"/>
            <ac:spMk id="72" creationId="{9F50F4DC-D1EC-4CF4-B3D9-8AD8E157A422}"/>
          </ac:spMkLst>
        </pc:spChg>
        <pc:spChg chg="mod">
          <ac:chgData name="Ugo MANTEL" userId="2d5b7065-31bb-4181-a7f8-a73bf0c30211" providerId="ADAL" clId="{F05BB0D5-3454-45DC-8378-DA45B79D9A06}" dt="2020-10-02T13:04:34.325" v="3227" actId="790"/>
          <ac:spMkLst>
            <pc:docMk/>
            <pc:sldMk cId="2596497667" sldId="6759"/>
            <ac:spMk id="73" creationId="{BCC518EC-DC7F-413A-8BE3-8092C48A8437}"/>
          </ac:spMkLst>
        </pc:spChg>
        <pc:spChg chg="mod">
          <ac:chgData name="Ugo MANTEL" userId="2d5b7065-31bb-4181-a7f8-a73bf0c30211" providerId="ADAL" clId="{F05BB0D5-3454-45DC-8378-DA45B79D9A06}" dt="2020-10-02T13:04:34.325" v="3228" actId="790"/>
          <ac:spMkLst>
            <pc:docMk/>
            <pc:sldMk cId="2596497667" sldId="6759"/>
            <ac:spMk id="74" creationId="{FBBC38A0-820F-448D-BF79-3F32AAE19785}"/>
          </ac:spMkLst>
        </pc:spChg>
        <pc:spChg chg="mod">
          <ac:chgData name="Ugo MANTEL" userId="2d5b7065-31bb-4181-a7f8-a73bf0c30211" providerId="ADAL" clId="{F05BB0D5-3454-45DC-8378-DA45B79D9A06}" dt="2020-10-02T13:04:34.314" v="3219" actId="790"/>
          <ac:spMkLst>
            <pc:docMk/>
            <pc:sldMk cId="2596497667" sldId="6759"/>
            <ac:spMk id="75" creationId="{63502ABA-E073-45CB-927B-A41AB91E18AE}"/>
          </ac:spMkLst>
        </pc:spChg>
        <pc:spChg chg="mod">
          <ac:chgData name="Ugo MANTEL" userId="2d5b7065-31bb-4181-a7f8-a73bf0c30211" providerId="ADAL" clId="{F05BB0D5-3454-45DC-8378-DA45B79D9A06}" dt="2020-10-02T13:04:34.316" v="3220" actId="790"/>
          <ac:spMkLst>
            <pc:docMk/>
            <pc:sldMk cId="2596497667" sldId="6759"/>
            <ac:spMk id="76" creationId="{C7ECD30B-DCF9-42C7-A8AB-5522F56A1D76}"/>
          </ac:spMkLst>
        </pc:spChg>
        <pc:spChg chg="mod">
          <ac:chgData name="Ugo MANTEL" userId="2d5b7065-31bb-4181-a7f8-a73bf0c30211" providerId="ADAL" clId="{F05BB0D5-3454-45DC-8378-DA45B79D9A06}" dt="2020-10-02T13:04:34.317" v="3221" actId="790"/>
          <ac:spMkLst>
            <pc:docMk/>
            <pc:sldMk cId="2596497667" sldId="6759"/>
            <ac:spMk id="77" creationId="{3D9A6A0A-9F7E-4E88-A419-DF771EA5DB41}"/>
          </ac:spMkLst>
        </pc:spChg>
        <pc:spChg chg="mod">
          <ac:chgData name="Ugo MANTEL" userId="2d5b7065-31bb-4181-a7f8-a73bf0c30211" providerId="ADAL" clId="{F05BB0D5-3454-45DC-8378-DA45B79D9A06}" dt="2020-10-02T13:04:34.319" v="3222" actId="790"/>
          <ac:spMkLst>
            <pc:docMk/>
            <pc:sldMk cId="2596497667" sldId="6759"/>
            <ac:spMk id="78" creationId="{9C6ADF94-6D39-421D-8451-67D1C9986708}"/>
          </ac:spMkLst>
        </pc:spChg>
        <pc:spChg chg="mod">
          <ac:chgData name="Ugo MANTEL" userId="2d5b7065-31bb-4181-a7f8-a73bf0c30211" providerId="ADAL" clId="{F05BB0D5-3454-45DC-8378-DA45B79D9A06}" dt="2020-10-02T13:04:34.320" v="3223" actId="790"/>
          <ac:spMkLst>
            <pc:docMk/>
            <pc:sldMk cId="2596497667" sldId="6759"/>
            <ac:spMk id="79" creationId="{B0C6EF0E-8829-4B6C-B89E-C14EA11F272B}"/>
          </ac:spMkLst>
        </pc:spChg>
        <pc:spChg chg="mod">
          <ac:chgData name="Ugo MANTEL" userId="2d5b7065-31bb-4181-a7f8-a73bf0c30211" providerId="ADAL" clId="{F05BB0D5-3454-45DC-8378-DA45B79D9A06}" dt="2020-10-02T13:04:34.326" v="3229" actId="790"/>
          <ac:spMkLst>
            <pc:docMk/>
            <pc:sldMk cId="2596497667" sldId="6759"/>
            <ac:spMk id="80" creationId="{FC50BA78-639D-4689-9EDB-9FFAEB3EC742}"/>
          </ac:spMkLst>
        </pc:spChg>
        <pc:spChg chg="mod">
          <ac:chgData name="Ugo MANTEL" userId="2d5b7065-31bb-4181-a7f8-a73bf0c30211" providerId="ADAL" clId="{F05BB0D5-3454-45DC-8378-DA45B79D9A06}" dt="2020-10-02T13:04:34.326" v="3230" actId="790"/>
          <ac:spMkLst>
            <pc:docMk/>
            <pc:sldMk cId="2596497667" sldId="6759"/>
            <ac:spMk id="81" creationId="{C40295D7-119F-4483-996D-D2FB05366CC4}"/>
          </ac:spMkLst>
        </pc:spChg>
        <pc:spChg chg="mod">
          <ac:chgData name="Ugo MANTEL" userId="2d5b7065-31bb-4181-a7f8-a73bf0c30211" providerId="ADAL" clId="{F05BB0D5-3454-45DC-8378-DA45B79D9A06}" dt="2020-10-02T13:04:34.328" v="3232" actId="790"/>
          <ac:spMkLst>
            <pc:docMk/>
            <pc:sldMk cId="2596497667" sldId="6759"/>
            <ac:spMk id="89" creationId="{B97D26A5-5A9B-4DEE-87CD-0DE84E570153}"/>
          </ac:spMkLst>
        </pc:spChg>
        <pc:spChg chg="mod">
          <ac:chgData name="Ugo MANTEL" userId="2d5b7065-31bb-4181-a7f8-a73bf0c30211" providerId="ADAL" clId="{F05BB0D5-3454-45DC-8378-DA45B79D9A06}" dt="2020-10-02T13:04:34.329" v="3233" actId="790"/>
          <ac:spMkLst>
            <pc:docMk/>
            <pc:sldMk cId="2596497667" sldId="6759"/>
            <ac:spMk id="90" creationId="{6BAA9D31-40D9-4DD8-A7C1-638AD348C251}"/>
          </ac:spMkLst>
        </pc:spChg>
        <pc:spChg chg="mod">
          <ac:chgData name="Ugo MANTEL" userId="2d5b7065-31bb-4181-a7f8-a73bf0c30211" providerId="ADAL" clId="{F05BB0D5-3454-45DC-8378-DA45B79D9A06}" dt="2020-10-02T13:04:34.330" v="3235" actId="790"/>
          <ac:spMkLst>
            <pc:docMk/>
            <pc:sldMk cId="2596497667" sldId="6759"/>
            <ac:spMk id="91" creationId="{90D3D37C-F5BB-476B-A8A3-24AA4E8CEB87}"/>
          </ac:spMkLst>
        </pc:spChg>
        <pc:spChg chg="mod">
          <ac:chgData name="Ugo MANTEL" userId="2d5b7065-31bb-4181-a7f8-a73bf0c30211" providerId="ADAL" clId="{F05BB0D5-3454-45DC-8378-DA45B79D9A06}" dt="2020-10-02T13:04:34.330" v="3236" actId="790"/>
          <ac:spMkLst>
            <pc:docMk/>
            <pc:sldMk cId="2596497667" sldId="6759"/>
            <ac:spMk id="92" creationId="{D3F1E75C-C03C-4CEC-B769-84343CA7F5D7}"/>
          </ac:spMkLst>
        </pc:spChg>
        <pc:spChg chg="mod">
          <ac:chgData name="Ugo MANTEL" userId="2d5b7065-31bb-4181-a7f8-a73bf0c30211" providerId="ADAL" clId="{F05BB0D5-3454-45DC-8378-DA45B79D9A06}" dt="2020-10-02T13:04:34.331" v="3237" actId="790"/>
          <ac:spMkLst>
            <pc:docMk/>
            <pc:sldMk cId="2596497667" sldId="6759"/>
            <ac:spMk id="93" creationId="{29E9CCDC-BEF6-4582-B3BA-9C660FA491C1}"/>
          </ac:spMkLst>
        </pc:spChg>
        <pc:spChg chg="mod">
          <ac:chgData name="Ugo MANTEL" userId="2d5b7065-31bb-4181-a7f8-a73bf0c30211" providerId="ADAL" clId="{F05BB0D5-3454-45DC-8378-DA45B79D9A06}" dt="2020-10-02T13:04:34.332" v="3238" actId="790"/>
          <ac:spMkLst>
            <pc:docMk/>
            <pc:sldMk cId="2596497667" sldId="6759"/>
            <ac:spMk id="94" creationId="{E8760EBC-16A9-4D0D-BA07-847C766AAEB5}"/>
          </ac:spMkLst>
        </pc:spChg>
        <pc:spChg chg="mod">
          <ac:chgData name="Ugo MANTEL" userId="2d5b7065-31bb-4181-a7f8-a73bf0c30211" providerId="ADAL" clId="{F05BB0D5-3454-45DC-8378-DA45B79D9A06}" dt="2020-10-02T13:04:34.333" v="3239" actId="790"/>
          <ac:spMkLst>
            <pc:docMk/>
            <pc:sldMk cId="2596497667" sldId="6759"/>
            <ac:spMk id="95" creationId="{B28168DB-4AE3-4F31-B0F4-C3ACFAD593AB}"/>
          </ac:spMkLst>
        </pc:spChg>
        <pc:spChg chg="mod">
          <ac:chgData name="Ugo MANTEL" userId="2d5b7065-31bb-4181-a7f8-a73bf0c30211" providerId="ADAL" clId="{F05BB0D5-3454-45DC-8378-DA45B79D9A06}" dt="2020-10-02T13:04:34.337" v="3241" actId="790"/>
          <ac:spMkLst>
            <pc:docMk/>
            <pc:sldMk cId="2596497667" sldId="6759"/>
            <ac:spMk id="105" creationId="{1C210F1A-9F47-4038-8EE2-4D0FC0C2497D}"/>
          </ac:spMkLst>
        </pc:spChg>
      </pc:sldChg>
      <pc:sldChg chg="modSp mod">
        <pc:chgData name="Ugo MANTEL" userId="2d5b7065-31bb-4181-a7f8-a73bf0c30211" providerId="ADAL" clId="{F05BB0D5-3454-45DC-8378-DA45B79D9A06}" dt="2020-10-02T13:04:33.296" v="2211" actId="790"/>
        <pc:sldMkLst>
          <pc:docMk/>
          <pc:sldMk cId="1752477721" sldId="6767"/>
        </pc:sldMkLst>
        <pc:spChg chg="mod">
          <ac:chgData name="Ugo MANTEL" userId="2d5b7065-31bb-4181-a7f8-a73bf0c30211" providerId="ADAL" clId="{F05BB0D5-3454-45DC-8378-DA45B79D9A06}" dt="2020-10-02T13:04:33.250" v="2174" actId="790"/>
          <ac:spMkLst>
            <pc:docMk/>
            <pc:sldMk cId="1752477721" sldId="6767"/>
            <ac:spMk id="3" creationId="{6E5579C7-DA5D-49DA-80F1-7376D7B55876}"/>
          </ac:spMkLst>
        </pc:spChg>
        <pc:spChg chg="mod">
          <ac:chgData name="Ugo MANTEL" userId="2d5b7065-31bb-4181-a7f8-a73bf0c30211" providerId="ADAL" clId="{F05BB0D5-3454-45DC-8378-DA45B79D9A06}" dt="2020-10-02T13:04:33.242" v="2165" actId="790"/>
          <ac:spMkLst>
            <pc:docMk/>
            <pc:sldMk cId="1752477721" sldId="6767"/>
            <ac:spMk id="5" creationId="{93ADD323-887F-4F55-BF74-62340490DDC0}"/>
          </ac:spMkLst>
        </pc:spChg>
        <pc:spChg chg="mod">
          <ac:chgData name="Ugo MANTEL" userId="2d5b7065-31bb-4181-a7f8-a73bf0c30211" providerId="ADAL" clId="{F05BB0D5-3454-45DC-8378-DA45B79D9A06}" dt="2020-10-02T13:04:33.286" v="2195" actId="790"/>
          <ac:spMkLst>
            <pc:docMk/>
            <pc:sldMk cId="1752477721" sldId="6767"/>
            <ac:spMk id="9" creationId="{3F0F3D1A-8941-4B2F-B9EA-64446D7E7371}"/>
          </ac:spMkLst>
        </pc:spChg>
        <pc:spChg chg="mod">
          <ac:chgData name="Ugo MANTEL" userId="2d5b7065-31bb-4181-a7f8-a73bf0c30211" providerId="ADAL" clId="{F05BB0D5-3454-45DC-8378-DA45B79D9A06}" dt="2020-10-02T13:04:33.240" v="2164" actId="790"/>
          <ac:spMkLst>
            <pc:docMk/>
            <pc:sldMk cId="1752477721" sldId="6767"/>
            <ac:spMk id="13" creationId="{FCCB61A9-18E3-4D56-9AF8-2A82AF56EF7F}"/>
          </ac:spMkLst>
        </pc:spChg>
        <pc:spChg chg="mod">
          <ac:chgData name="Ugo MANTEL" userId="2d5b7065-31bb-4181-a7f8-a73bf0c30211" providerId="ADAL" clId="{F05BB0D5-3454-45DC-8378-DA45B79D9A06}" dt="2020-10-02T13:04:33.265" v="2182" actId="790"/>
          <ac:spMkLst>
            <pc:docMk/>
            <pc:sldMk cId="1752477721" sldId="6767"/>
            <ac:spMk id="24" creationId="{C070191A-70EB-416C-BB55-C461DEBF7420}"/>
          </ac:spMkLst>
        </pc:spChg>
        <pc:spChg chg="mod">
          <ac:chgData name="Ugo MANTEL" userId="2d5b7065-31bb-4181-a7f8-a73bf0c30211" providerId="ADAL" clId="{F05BB0D5-3454-45DC-8378-DA45B79D9A06}" dt="2020-10-02T13:04:33.244" v="2167" actId="790"/>
          <ac:spMkLst>
            <pc:docMk/>
            <pc:sldMk cId="1752477721" sldId="6767"/>
            <ac:spMk id="40" creationId="{2961D17C-ABE4-4B83-B6CB-79DBD5109392}"/>
          </ac:spMkLst>
        </pc:spChg>
        <pc:spChg chg="mod">
          <ac:chgData name="Ugo MANTEL" userId="2d5b7065-31bb-4181-a7f8-a73bf0c30211" providerId="ADAL" clId="{F05BB0D5-3454-45DC-8378-DA45B79D9A06}" dt="2020-10-02T13:04:33.246" v="2169" actId="790"/>
          <ac:spMkLst>
            <pc:docMk/>
            <pc:sldMk cId="1752477721" sldId="6767"/>
            <ac:spMk id="41" creationId="{1127E0C0-7CF4-4D4C-9A94-DCEAFED2F899}"/>
          </ac:spMkLst>
        </pc:spChg>
        <pc:spChg chg="mod">
          <ac:chgData name="Ugo MANTEL" userId="2d5b7065-31bb-4181-a7f8-a73bf0c30211" providerId="ADAL" clId="{F05BB0D5-3454-45DC-8378-DA45B79D9A06}" dt="2020-10-02T13:04:33.249" v="2173" actId="790"/>
          <ac:spMkLst>
            <pc:docMk/>
            <pc:sldMk cId="1752477721" sldId="6767"/>
            <ac:spMk id="43" creationId="{BBC1F1BA-453C-43F4-9A5C-6E2D66AA1C08}"/>
          </ac:spMkLst>
        </pc:spChg>
        <pc:spChg chg="mod">
          <ac:chgData name="Ugo MANTEL" userId="2d5b7065-31bb-4181-a7f8-a73bf0c30211" providerId="ADAL" clId="{F05BB0D5-3454-45DC-8378-DA45B79D9A06}" dt="2020-10-02T13:04:33.281" v="2189" actId="790"/>
          <ac:spMkLst>
            <pc:docMk/>
            <pc:sldMk cId="1752477721" sldId="6767"/>
            <ac:spMk id="62" creationId="{E446C235-E272-49B6-88D9-C7005AD520D8}"/>
          </ac:spMkLst>
        </pc:spChg>
        <pc:spChg chg="mod">
          <ac:chgData name="Ugo MANTEL" userId="2d5b7065-31bb-4181-a7f8-a73bf0c30211" providerId="ADAL" clId="{F05BB0D5-3454-45DC-8378-DA45B79D9A06}" dt="2020-10-02T13:04:33.283" v="2190" actId="790"/>
          <ac:spMkLst>
            <pc:docMk/>
            <pc:sldMk cId="1752477721" sldId="6767"/>
            <ac:spMk id="63" creationId="{8363B66F-DCE4-49EE-8999-D2EC6FE5B373}"/>
          </ac:spMkLst>
        </pc:spChg>
        <pc:spChg chg="mod">
          <ac:chgData name="Ugo MANTEL" userId="2d5b7065-31bb-4181-a7f8-a73bf0c30211" providerId="ADAL" clId="{F05BB0D5-3454-45DC-8378-DA45B79D9A06}" dt="2020-10-02T13:04:33.284" v="2191" actId="790"/>
          <ac:spMkLst>
            <pc:docMk/>
            <pc:sldMk cId="1752477721" sldId="6767"/>
            <ac:spMk id="65" creationId="{B8C3D6B6-800A-4164-9A36-00BC3CE88163}"/>
          </ac:spMkLst>
        </pc:spChg>
        <pc:spChg chg="mod">
          <ac:chgData name="Ugo MANTEL" userId="2d5b7065-31bb-4181-a7f8-a73bf0c30211" providerId="ADAL" clId="{F05BB0D5-3454-45DC-8378-DA45B79D9A06}" dt="2020-10-02T13:04:33.284" v="2192" actId="790"/>
          <ac:spMkLst>
            <pc:docMk/>
            <pc:sldMk cId="1752477721" sldId="6767"/>
            <ac:spMk id="66" creationId="{D324C95D-282C-4F3A-9F1A-F5A5391BB56E}"/>
          </ac:spMkLst>
        </pc:spChg>
        <pc:spChg chg="mod">
          <ac:chgData name="Ugo MANTEL" userId="2d5b7065-31bb-4181-a7f8-a73bf0c30211" providerId="ADAL" clId="{F05BB0D5-3454-45DC-8378-DA45B79D9A06}" dt="2020-10-02T13:04:33.285" v="2193" actId="790"/>
          <ac:spMkLst>
            <pc:docMk/>
            <pc:sldMk cId="1752477721" sldId="6767"/>
            <ac:spMk id="67" creationId="{BF77EC18-AAFD-49FA-88BD-95CC2EC8807C}"/>
          </ac:spMkLst>
        </pc:spChg>
        <pc:spChg chg="mod">
          <ac:chgData name="Ugo MANTEL" userId="2d5b7065-31bb-4181-a7f8-a73bf0c30211" providerId="ADAL" clId="{F05BB0D5-3454-45DC-8378-DA45B79D9A06}" dt="2020-10-02T13:04:33.286" v="2194" actId="790"/>
          <ac:spMkLst>
            <pc:docMk/>
            <pc:sldMk cId="1752477721" sldId="6767"/>
            <ac:spMk id="68" creationId="{A6B003C1-D348-4D39-9BC8-480DD07969B5}"/>
          </ac:spMkLst>
        </pc:spChg>
        <pc:spChg chg="mod">
          <ac:chgData name="Ugo MANTEL" userId="2d5b7065-31bb-4181-a7f8-a73bf0c30211" providerId="ADAL" clId="{F05BB0D5-3454-45DC-8378-DA45B79D9A06}" dt="2020-10-02T13:04:33.287" v="2196" actId="790"/>
          <ac:spMkLst>
            <pc:docMk/>
            <pc:sldMk cId="1752477721" sldId="6767"/>
            <ac:spMk id="73" creationId="{BB64A626-404C-4350-BC32-A47341E04F16}"/>
          </ac:spMkLst>
        </pc:spChg>
        <pc:spChg chg="mod">
          <ac:chgData name="Ugo MANTEL" userId="2d5b7065-31bb-4181-a7f8-a73bf0c30211" providerId="ADAL" clId="{F05BB0D5-3454-45DC-8378-DA45B79D9A06}" dt="2020-10-02T13:04:33.291" v="2203" actId="790"/>
          <ac:spMkLst>
            <pc:docMk/>
            <pc:sldMk cId="1752477721" sldId="6767"/>
            <ac:spMk id="75" creationId="{A0261066-3EA3-4749-8E3B-7D62E6517436}"/>
          </ac:spMkLst>
        </pc:spChg>
        <pc:spChg chg="mod">
          <ac:chgData name="Ugo MANTEL" userId="2d5b7065-31bb-4181-a7f8-a73bf0c30211" providerId="ADAL" clId="{F05BB0D5-3454-45DC-8378-DA45B79D9A06}" dt="2020-10-02T13:04:33.292" v="2204" actId="790"/>
          <ac:spMkLst>
            <pc:docMk/>
            <pc:sldMk cId="1752477721" sldId="6767"/>
            <ac:spMk id="76" creationId="{D64CFB43-5EAA-480F-AF53-ED94C8506AF6}"/>
          </ac:spMkLst>
        </pc:spChg>
        <pc:spChg chg="mod">
          <ac:chgData name="Ugo MANTEL" userId="2d5b7065-31bb-4181-a7f8-a73bf0c30211" providerId="ADAL" clId="{F05BB0D5-3454-45DC-8378-DA45B79D9A06}" dt="2020-10-02T13:04:33.292" v="2205" actId="790"/>
          <ac:spMkLst>
            <pc:docMk/>
            <pc:sldMk cId="1752477721" sldId="6767"/>
            <ac:spMk id="77" creationId="{D4610B38-F3E1-427D-B52B-DC2347ECB551}"/>
          </ac:spMkLst>
        </pc:spChg>
        <pc:spChg chg="mod">
          <ac:chgData name="Ugo MANTEL" userId="2d5b7065-31bb-4181-a7f8-a73bf0c30211" providerId="ADAL" clId="{F05BB0D5-3454-45DC-8378-DA45B79D9A06}" dt="2020-10-02T13:04:33.287" v="2197" actId="790"/>
          <ac:spMkLst>
            <pc:docMk/>
            <pc:sldMk cId="1752477721" sldId="6767"/>
            <ac:spMk id="78" creationId="{CE5C4C33-D9A6-4B8F-BD1E-E02D1E611664}"/>
          </ac:spMkLst>
        </pc:spChg>
        <pc:spChg chg="mod">
          <ac:chgData name="Ugo MANTEL" userId="2d5b7065-31bb-4181-a7f8-a73bf0c30211" providerId="ADAL" clId="{F05BB0D5-3454-45DC-8378-DA45B79D9A06}" dt="2020-10-02T13:04:33.290" v="2202" actId="790"/>
          <ac:spMkLst>
            <pc:docMk/>
            <pc:sldMk cId="1752477721" sldId="6767"/>
            <ac:spMk id="81" creationId="{5D921EB5-DCA7-4327-8F00-FFDEA49F03E1}"/>
          </ac:spMkLst>
        </pc:spChg>
        <pc:spChg chg="mod">
          <ac:chgData name="Ugo MANTEL" userId="2d5b7065-31bb-4181-a7f8-a73bf0c30211" providerId="ADAL" clId="{F05BB0D5-3454-45DC-8378-DA45B79D9A06}" dt="2020-10-02T13:04:33.288" v="2198" actId="790"/>
          <ac:spMkLst>
            <pc:docMk/>
            <pc:sldMk cId="1752477721" sldId="6767"/>
            <ac:spMk id="82" creationId="{CE172AAB-8DA8-4F83-BAD6-48DAA8E888F7}"/>
          </ac:spMkLst>
        </pc:spChg>
        <pc:spChg chg="mod">
          <ac:chgData name="Ugo MANTEL" userId="2d5b7065-31bb-4181-a7f8-a73bf0c30211" providerId="ADAL" clId="{F05BB0D5-3454-45DC-8378-DA45B79D9A06}" dt="2020-10-02T13:04:33.289" v="2199" actId="790"/>
          <ac:spMkLst>
            <pc:docMk/>
            <pc:sldMk cId="1752477721" sldId="6767"/>
            <ac:spMk id="83" creationId="{62AFA1A2-ABA7-47F9-98D7-C22CCACBEA4B}"/>
          </ac:spMkLst>
        </pc:spChg>
        <pc:spChg chg="mod">
          <ac:chgData name="Ugo MANTEL" userId="2d5b7065-31bb-4181-a7f8-a73bf0c30211" providerId="ADAL" clId="{F05BB0D5-3454-45DC-8378-DA45B79D9A06}" dt="2020-10-02T13:04:33.289" v="2200" actId="790"/>
          <ac:spMkLst>
            <pc:docMk/>
            <pc:sldMk cId="1752477721" sldId="6767"/>
            <ac:spMk id="84" creationId="{40EA37F2-2130-4425-844D-D2EA060232BE}"/>
          </ac:spMkLst>
        </pc:spChg>
        <pc:spChg chg="mod">
          <ac:chgData name="Ugo MANTEL" userId="2d5b7065-31bb-4181-a7f8-a73bf0c30211" providerId="ADAL" clId="{F05BB0D5-3454-45DC-8378-DA45B79D9A06}" dt="2020-10-02T13:04:33.290" v="2201" actId="790"/>
          <ac:spMkLst>
            <pc:docMk/>
            <pc:sldMk cId="1752477721" sldId="6767"/>
            <ac:spMk id="85" creationId="{DF6A524D-0FCB-4524-BBF4-577640DCF71A}"/>
          </ac:spMkLst>
        </pc:spChg>
        <pc:spChg chg="mod">
          <ac:chgData name="Ugo MANTEL" userId="2d5b7065-31bb-4181-a7f8-a73bf0c30211" providerId="ADAL" clId="{F05BB0D5-3454-45DC-8378-DA45B79D9A06}" dt="2020-10-02T13:04:33.293" v="2206" actId="790"/>
          <ac:spMkLst>
            <pc:docMk/>
            <pc:sldMk cId="1752477721" sldId="6767"/>
            <ac:spMk id="93" creationId="{5F55EDE0-13AB-483C-9159-5D97989E1931}"/>
          </ac:spMkLst>
        </pc:spChg>
        <pc:spChg chg="mod">
          <ac:chgData name="Ugo MANTEL" userId="2d5b7065-31bb-4181-a7f8-a73bf0c30211" providerId="ADAL" clId="{F05BB0D5-3454-45DC-8378-DA45B79D9A06}" dt="2020-10-02T13:04:33.294" v="2207" actId="790"/>
          <ac:spMkLst>
            <pc:docMk/>
            <pc:sldMk cId="1752477721" sldId="6767"/>
            <ac:spMk id="94" creationId="{0B58332A-D11F-47A9-87C9-4257A59C1060}"/>
          </ac:spMkLst>
        </pc:spChg>
        <pc:spChg chg="mod">
          <ac:chgData name="Ugo MANTEL" userId="2d5b7065-31bb-4181-a7f8-a73bf0c30211" providerId="ADAL" clId="{F05BB0D5-3454-45DC-8378-DA45B79D9A06}" dt="2020-10-02T13:04:33.294" v="2208" actId="790"/>
          <ac:spMkLst>
            <pc:docMk/>
            <pc:sldMk cId="1752477721" sldId="6767"/>
            <ac:spMk id="95" creationId="{5AB6A206-977E-4BB0-8B7F-D11FE469DBAC}"/>
          </ac:spMkLst>
        </pc:spChg>
        <pc:spChg chg="mod">
          <ac:chgData name="Ugo MANTEL" userId="2d5b7065-31bb-4181-a7f8-a73bf0c30211" providerId="ADAL" clId="{F05BB0D5-3454-45DC-8378-DA45B79D9A06}" dt="2020-10-02T13:04:33.295" v="2209" actId="790"/>
          <ac:spMkLst>
            <pc:docMk/>
            <pc:sldMk cId="1752477721" sldId="6767"/>
            <ac:spMk id="96" creationId="{B2FB0BAD-5905-4B69-97A9-5876336DA7C8}"/>
          </ac:spMkLst>
        </pc:spChg>
        <pc:spChg chg="mod">
          <ac:chgData name="Ugo MANTEL" userId="2d5b7065-31bb-4181-a7f8-a73bf0c30211" providerId="ADAL" clId="{F05BB0D5-3454-45DC-8378-DA45B79D9A06}" dt="2020-10-02T13:04:33.295" v="2210" actId="790"/>
          <ac:spMkLst>
            <pc:docMk/>
            <pc:sldMk cId="1752477721" sldId="6767"/>
            <ac:spMk id="97" creationId="{8D59BD32-AFF7-4F03-B757-37B31CACB934}"/>
          </ac:spMkLst>
        </pc:spChg>
        <pc:spChg chg="mod">
          <ac:chgData name="Ugo MANTEL" userId="2d5b7065-31bb-4181-a7f8-a73bf0c30211" providerId="ADAL" clId="{F05BB0D5-3454-45DC-8378-DA45B79D9A06}" dt="2020-10-02T13:04:33.296" v="2211" actId="790"/>
          <ac:spMkLst>
            <pc:docMk/>
            <pc:sldMk cId="1752477721" sldId="6767"/>
            <ac:spMk id="98" creationId="{4D4E0151-0B01-4F0F-AD7F-D49B257C0319}"/>
          </ac:spMkLst>
        </pc:spChg>
        <pc:spChg chg="mod">
          <ac:chgData name="Ugo MANTEL" userId="2d5b7065-31bb-4181-a7f8-a73bf0c30211" providerId="ADAL" clId="{F05BB0D5-3454-45DC-8378-DA45B79D9A06}" dt="2020-10-02T13:04:33.258" v="2176" actId="790"/>
          <ac:spMkLst>
            <pc:docMk/>
            <pc:sldMk cId="1752477721" sldId="6767"/>
            <ac:spMk id="107" creationId="{CB0BCF16-27D0-416C-A0F1-609963092A78}"/>
          </ac:spMkLst>
        </pc:spChg>
        <pc:spChg chg="mod">
          <ac:chgData name="Ugo MANTEL" userId="2d5b7065-31bb-4181-a7f8-a73bf0c30211" providerId="ADAL" clId="{F05BB0D5-3454-45DC-8378-DA45B79D9A06}" dt="2020-10-02T13:04:33.259" v="2177" actId="790"/>
          <ac:spMkLst>
            <pc:docMk/>
            <pc:sldMk cId="1752477721" sldId="6767"/>
            <ac:spMk id="108" creationId="{66EC0302-C514-4E92-80CD-8D235AE4BA48}"/>
          </ac:spMkLst>
        </pc:spChg>
        <pc:spChg chg="mod">
          <ac:chgData name="Ugo MANTEL" userId="2d5b7065-31bb-4181-a7f8-a73bf0c30211" providerId="ADAL" clId="{F05BB0D5-3454-45DC-8378-DA45B79D9A06}" dt="2020-10-02T13:04:33.260" v="2178" actId="790"/>
          <ac:spMkLst>
            <pc:docMk/>
            <pc:sldMk cId="1752477721" sldId="6767"/>
            <ac:spMk id="109" creationId="{C1DA8E01-0BA7-4098-96DB-C7697A2E252C}"/>
          </ac:spMkLst>
        </pc:spChg>
        <pc:spChg chg="mod">
          <ac:chgData name="Ugo MANTEL" userId="2d5b7065-31bb-4181-a7f8-a73bf0c30211" providerId="ADAL" clId="{F05BB0D5-3454-45DC-8378-DA45B79D9A06}" dt="2020-10-02T13:04:33.256" v="2175" actId="790"/>
          <ac:spMkLst>
            <pc:docMk/>
            <pc:sldMk cId="1752477721" sldId="6767"/>
            <ac:spMk id="112" creationId="{965226A2-86CD-4E17-A81B-2639936559C7}"/>
          </ac:spMkLst>
        </pc:spChg>
        <pc:spChg chg="mod">
          <ac:chgData name="Ugo MANTEL" userId="2d5b7065-31bb-4181-a7f8-a73bf0c30211" providerId="ADAL" clId="{F05BB0D5-3454-45DC-8378-DA45B79D9A06}" dt="2020-10-02T13:04:33.262" v="2179" actId="790"/>
          <ac:spMkLst>
            <pc:docMk/>
            <pc:sldMk cId="1752477721" sldId="6767"/>
            <ac:spMk id="115" creationId="{45660147-F056-4D93-B822-D5CEF799BE10}"/>
          </ac:spMkLst>
        </pc:spChg>
        <pc:spChg chg="mod">
          <ac:chgData name="Ugo MANTEL" userId="2d5b7065-31bb-4181-a7f8-a73bf0c30211" providerId="ADAL" clId="{F05BB0D5-3454-45DC-8378-DA45B79D9A06}" dt="2020-10-02T13:04:33.263" v="2180" actId="790"/>
          <ac:spMkLst>
            <pc:docMk/>
            <pc:sldMk cId="1752477721" sldId="6767"/>
            <ac:spMk id="116" creationId="{6BD5CCC0-9F50-42F5-96D2-C0842C9600A6}"/>
          </ac:spMkLst>
        </pc:spChg>
        <pc:spChg chg="mod">
          <ac:chgData name="Ugo MANTEL" userId="2d5b7065-31bb-4181-a7f8-a73bf0c30211" providerId="ADAL" clId="{F05BB0D5-3454-45DC-8378-DA45B79D9A06}" dt="2020-10-02T13:04:33.263" v="2181" actId="790"/>
          <ac:spMkLst>
            <pc:docMk/>
            <pc:sldMk cId="1752477721" sldId="6767"/>
            <ac:spMk id="117" creationId="{C96FC47F-6AC7-40B7-8866-33A41FDDDBBD}"/>
          </ac:spMkLst>
        </pc:spChg>
        <pc:spChg chg="mod">
          <ac:chgData name="Ugo MANTEL" userId="2d5b7065-31bb-4181-a7f8-a73bf0c30211" providerId="ADAL" clId="{F05BB0D5-3454-45DC-8378-DA45B79D9A06}" dt="2020-10-02T13:04:33.267" v="2183" actId="790"/>
          <ac:spMkLst>
            <pc:docMk/>
            <pc:sldMk cId="1752477721" sldId="6767"/>
            <ac:spMk id="127" creationId="{23DD4223-AF99-4407-A58F-0A3B2AB20A31}"/>
          </ac:spMkLst>
        </pc:spChg>
        <pc:spChg chg="mod">
          <ac:chgData name="Ugo MANTEL" userId="2d5b7065-31bb-4181-a7f8-a73bf0c30211" providerId="ADAL" clId="{F05BB0D5-3454-45DC-8378-DA45B79D9A06}" dt="2020-10-02T13:04:33.271" v="2184" actId="790"/>
          <ac:spMkLst>
            <pc:docMk/>
            <pc:sldMk cId="1752477721" sldId="6767"/>
            <ac:spMk id="181" creationId="{ADED5951-A287-4D21-9903-0CE6222581E0}"/>
          </ac:spMkLst>
        </pc:spChg>
        <pc:spChg chg="mod">
          <ac:chgData name="Ugo MANTEL" userId="2d5b7065-31bb-4181-a7f8-a73bf0c30211" providerId="ADAL" clId="{F05BB0D5-3454-45DC-8378-DA45B79D9A06}" dt="2020-10-02T13:04:33.244" v="2166" actId="790"/>
          <ac:spMkLst>
            <pc:docMk/>
            <pc:sldMk cId="1752477721" sldId="6767"/>
            <ac:spMk id="188" creationId="{EF2BEC86-2CF9-4547-B78D-9EA921DEACDF}"/>
          </ac:spMkLst>
        </pc:spChg>
        <pc:spChg chg="mod">
          <ac:chgData name="Ugo MANTEL" userId="2d5b7065-31bb-4181-a7f8-a73bf0c30211" providerId="ADAL" clId="{F05BB0D5-3454-45DC-8378-DA45B79D9A06}" dt="2020-10-02T13:04:33.245" v="2168" actId="790"/>
          <ac:spMkLst>
            <pc:docMk/>
            <pc:sldMk cId="1752477721" sldId="6767"/>
            <ac:spMk id="189" creationId="{8367B86C-AE9C-4132-95F7-DE3BB84502A9}"/>
          </ac:spMkLst>
        </pc:spChg>
        <pc:spChg chg="mod">
          <ac:chgData name="Ugo MANTEL" userId="2d5b7065-31bb-4181-a7f8-a73bf0c30211" providerId="ADAL" clId="{F05BB0D5-3454-45DC-8378-DA45B79D9A06}" dt="2020-10-02T13:04:33.272" v="2185" actId="790"/>
          <ac:spMkLst>
            <pc:docMk/>
            <pc:sldMk cId="1752477721" sldId="6767"/>
            <ac:spMk id="231" creationId="{C21005FA-6337-4052-90E5-DEC4233298DA}"/>
          </ac:spMkLst>
        </pc:spChg>
        <pc:spChg chg="mod">
          <ac:chgData name="Ugo MANTEL" userId="2d5b7065-31bb-4181-a7f8-a73bf0c30211" providerId="ADAL" clId="{F05BB0D5-3454-45DC-8378-DA45B79D9A06}" dt="2020-10-02T13:04:33.273" v="2186" actId="790"/>
          <ac:spMkLst>
            <pc:docMk/>
            <pc:sldMk cId="1752477721" sldId="6767"/>
            <ac:spMk id="235" creationId="{AF670C34-8E78-4C9B-8270-70D7BFC14480}"/>
          </ac:spMkLst>
        </pc:spChg>
        <pc:spChg chg="mod">
          <ac:chgData name="Ugo MANTEL" userId="2d5b7065-31bb-4181-a7f8-a73bf0c30211" providerId="ADAL" clId="{F05BB0D5-3454-45DC-8378-DA45B79D9A06}" dt="2020-10-02T13:04:33.277" v="2187" actId="790"/>
          <ac:spMkLst>
            <pc:docMk/>
            <pc:sldMk cId="1752477721" sldId="6767"/>
            <ac:spMk id="239" creationId="{C9F8D769-60A9-4F64-A794-C414929B9BAA}"/>
          </ac:spMkLst>
        </pc:spChg>
        <pc:spChg chg="mod">
          <ac:chgData name="Ugo MANTEL" userId="2d5b7065-31bb-4181-a7f8-a73bf0c30211" providerId="ADAL" clId="{F05BB0D5-3454-45DC-8378-DA45B79D9A06}" dt="2020-10-02T13:04:33.277" v="2188" actId="790"/>
          <ac:spMkLst>
            <pc:docMk/>
            <pc:sldMk cId="1752477721" sldId="6767"/>
            <ac:spMk id="240" creationId="{EDFD8F6D-9F48-40D8-B5B1-BF0D55B6A455}"/>
          </ac:spMkLst>
        </pc:spChg>
        <pc:spChg chg="mod">
          <ac:chgData name="Ugo MANTEL" userId="2d5b7065-31bb-4181-a7f8-a73bf0c30211" providerId="ADAL" clId="{F05BB0D5-3454-45DC-8378-DA45B79D9A06}" dt="2020-10-02T13:04:33.247" v="2170" actId="790"/>
          <ac:spMkLst>
            <pc:docMk/>
            <pc:sldMk cId="1752477721" sldId="6767"/>
            <ac:spMk id="284" creationId="{B9A1E142-AD1D-4521-B441-5E6D0A080A0A}"/>
          </ac:spMkLst>
        </pc:spChg>
        <pc:spChg chg="mod">
          <ac:chgData name="Ugo MANTEL" userId="2d5b7065-31bb-4181-a7f8-a73bf0c30211" providerId="ADAL" clId="{F05BB0D5-3454-45DC-8378-DA45B79D9A06}" dt="2020-10-02T13:04:33.247" v="2171" actId="790"/>
          <ac:spMkLst>
            <pc:docMk/>
            <pc:sldMk cId="1752477721" sldId="6767"/>
            <ac:spMk id="286" creationId="{19F6AC99-CA71-46A3-AEC8-00106C48F85D}"/>
          </ac:spMkLst>
        </pc:spChg>
        <pc:spChg chg="mod">
          <ac:chgData name="Ugo MANTEL" userId="2d5b7065-31bb-4181-a7f8-a73bf0c30211" providerId="ADAL" clId="{F05BB0D5-3454-45DC-8378-DA45B79D9A06}" dt="2020-10-02T13:04:33.248" v="2172" actId="790"/>
          <ac:spMkLst>
            <pc:docMk/>
            <pc:sldMk cId="1752477721" sldId="6767"/>
            <ac:spMk id="287" creationId="{0EE90A82-AC2B-4003-AEEF-21950B012718}"/>
          </ac:spMkLst>
        </pc:spChg>
      </pc:sldChg>
      <pc:sldChg chg="modSp mod">
        <pc:chgData name="Ugo MANTEL" userId="2d5b7065-31bb-4181-a7f8-a73bf0c30211" providerId="ADAL" clId="{F05BB0D5-3454-45DC-8378-DA45B79D9A06}" dt="2020-10-02T13:04:33.347" v="2255" actId="790"/>
        <pc:sldMkLst>
          <pc:docMk/>
          <pc:sldMk cId="683207262" sldId="6768"/>
        </pc:sldMkLst>
        <pc:spChg chg="mod">
          <ac:chgData name="Ugo MANTEL" userId="2d5b7065-31bb-4181-a7f8-a73bf0c30211" providerId="ADAL" clId="{F05BB0D5-3454-45DC-8378-DA45B79D9A06}" dt="2020-10-02T13:04:33.333" v="2237" actId="790"/>
          <ac:spMkLst>
            <pc:docMk/>
            <pc:sldMk cId="683207262" sldId="6768"/>
            <ac:spMk id="2" creationId="{CA84354C-D62B-46DB-8F34-EC5A1332A7C1}"/>
          </ac:spMkLst>
        </pc:spChg>
        <pc:spChg chg="mod">
          <ac:chgData name="Ugo MANTEL" userId="2d5b7065-31bb-4181-a7f8-a73bf0c30211" providerId="ADAL" clId="{F05BB0D5-3454-45DC-8378-DA45B79D9A06}" dt="2020-10-02T13:04:33.301" v="2215" actId="790"/>
          <ac:spMkLst>
            <pc:docMk/>
            <pc:sldMk cId="683207262" sldId="6768"/>
            <ac:spMk id="3" creationId="{6E5579C7-DA5D-49DA-80F1-7376D7B55876}"/>
          </ac:spMkLst>
        </pc:spChg>
        <pc:spChg chg="mod">
          <ac:chgData name="Ugo MANTEL" userId="2d5b7065-31bb-4181-a7f8-a73bf0c30211" providerId="ADAL" clId="{F05BB0D5-3454-45DC-8378-DA45B79D9A06}" dt="2020-10-02T13:04:33.299" v="2213" actId="790"/>
          <ac:spMkLst>
            <pc:docMk/>
            <pc:sldMk cId="683207262" sldId="6768"/>
            <ac:spMk id="5" creationId="{93ADD323-887F-4F55-BF74-62340490DDC0}"/>
          </ac:spMkLst>
        </pc:spChg>
        <pc:spChg chg="mod">
          <ac:chgData name="Ugo MANTEL" userId="2d5b7065-31bb-4181-a7f8-a73bf0c30211" providerId="ADAL" clId="{F05BB0D5-3454-45DC-8378-DA45B79D9A06}" dt="2020-10-02T13:04:33.334" v="2238" actId="790"/>
          <ac:spMkLst>
            <pc:docMk/>
            <pc:sldMk cId="683207262" sldId="6768"/>
            <ac:spMk id="7" creationId="{BD36B176-60EC-4E5E-9052-B3E36A06CD13}"/>
          </ac:spMkLst>
        </pc:spChg>
        <pc:spChg chg="mod">
          <ac:chgData name="Ugo MANTEL" userId="2d5b7065-31bb-4181-a7f8-a73bf0c30211" providerId="ADAL" clId="{F05BB0D5-3454-45DC-8378-DA45B79D9A06}" dt="2020-10-02T13:04:33.296" v="2212" actId="790"/>
          <ac:spMkLst>
            <pc:docMk/>
            <pc:sldMk cId="683207262" sldId="6768"/>
            <ac:spMk id="13" creationId="{FCCB61A9-18E3-4D56-9AF8-2A82AF56EF7F}"/>
          </ac:spMkLst>
        </pc:spChg>
        <pc:spChg chg="mod">
          <ac:chgData name="Ugo MANTEL" userId="2d5b7065-31bb-4181-a7f8-a73bf0c30211" providerId="ADAL" clId="{F05BB0D5-3454-45DC-8378-DA45B79D9A06}" dt="2020-10-02T13:04:33.302" v="2216" actId="790"/>
          <ac:spMkLst>
            <pc:docMk/>
            <pc:sldMk cId="683207262" sldId="6768"/>
            <ac:spMk id="24" creationId="{C070191A-70EB-416C-BB55-C461DEBF7420}"/>
          </ac:spMkLst>
        </pc:spChg>
        <pc:spChg chg="mod">
          <ac:chgData name="Ugo MANTEL" userId="2d5b7065-31bb-4181-a7f8-a73bf0c30211" providerId="ADAL" clId="{F05BB0D5-3454-45DC-8378-DA45B79D9A06}" dt="2020-10-02T13:04:33.300" v="2214" actId="790"/>
          <ac:spMkLst>
            <pc:docMk/>
            <pc:sldMk cId="683207262" sldId="6768"/>
            <ac:spMk id="43" creationId="{BBC1F1BA-453C-43F4-9A5C-6E2D66AA1C08}"/>
          </ac:spMkLst>
        </pc:spChg>
        <pc:spChg chg="mod">
          <ac:chgData name="Ugo MANTEL" userId="2d5b7065-31bb-4181-a7f8-a73bf0c30211" providerId="ADAL" clId="{F05BB0D5-3454-45DC-8378-DA45B79D9A06}" dt="2020-10-02T13:04:33.303" v="2217" actId="790"/>
          <ac:spMkLst>
            <pc:docMk/>
            <pc:sldMk cId="683207262" sldId="6768"/>
            <ac:spMk id="52" creationId="{EA7DC4A7-7043-4EA4-9461-9BEA3233EED7}"/>
          </ac:spMkLst>
        </pc:spChg>
        <pc:spChg chg="mod">
          <ac:chgData name="Ugo MANTEL" userId="2d5b7065-31bb-4181-a7f8-a73bf0c30211" providerId="ADAL" clId="{F05BB0D5-3454-45DC-8378-DA45B79D9A06}" dt="2020-10-02T13:04:33.303" v="2218" actId="790"/>
          <ac:spMkLst>
            <pc:docMk/>
            <pc:sldMk cId="683207262" sldId="6768"/>
            <ac:spMk id="53" creationId="{3FA60457-F43C-4842-A52C-390501628E6B}"/>
          </ac:spMkLst>
        </pc:spChg>
        <pc:spChg chg="mod">
          <ac:chgData name="Ugo MANTEL" userId="2d5b7065-31bb-4181-a7f8-a73bf0c30211" providerId="ADAL" clId="{F05BB0D5-3454-45DC-8378-DA45B79D9A06}" dt="2020-10-02T13:04:33.304" v="2219" actId="790"/>
          <ac:spMkLst>
            <pc:docMk/>
            <pc:sldMk cId="683207262" sldId="6768"/>
            <ac:spMk id="54" creationId="{8D422CF4-69F9-4AAE-A1C6-6CBE7A62614E}"/>
          </ac:spMkLst>
        </pc:spChg>
        <pc:spChg chg="mod">
          <ac:chgData name="Ugo MANTEL" userId="2d5b7065-31bb-4181-a7f8-a73bf0c30211" providerId="ADAL" clId="{F05BB0D5-3454-45DC-8378-DA45B79D9A06}" dt="2020-10-02T13:04:33.306" v="2220" actId="790"/>
          <ac:spMkLst>
            <pc:docMk/>
            <pc:sldMk cId="683207262" sldId="6768"/>
            <ac:spMk id="55" creationId="{D2764DD5-F8CD-4442-859F-0110D6C1FC9C}"/>
          </ac:spMkLst>
        </pc:spChg>
        <pc:spChg chg="mod">
          <ac:chgData name="Ugo MANTEL" userId="2d5b7065-31bb-4181-a7f8-a73bf0c30211" providerId="ADAL" clId="{F05BB0D5-3454-45DC-8378-DA45B79D9A06}" dt="2020-10-02T13:04:33.309" v="2221" actId="790"/>
          <ac:spMkLst>
            <pc:docMk/>
            <pc:sldMk cId="683207262" sldId="6768"/>
            <ac:spMk id="56" creationId="{91CE322E-1AE6-4A7D-82F2-DBD503442932}"/>
          </ac:spMkLst>
        </pc:spChg>
        <pc:spChg chg="mod">
          <ac:chgData name="Ugo MANTEL" userId="2d5b7065-31bb-4181-a7f8-a73bf0c30211" providerId="ADAL" clId="{F05BB0D5-3454-45DC-8378-DA45B79D9A06}" dt="2020-10-02T13:04:33.332" v="2235" actId="790"/>
          <ac:spMkLst>
            <pc:docMk/>
            <pc:sldMk cId="683207262" sldId="6768"/>
            <ac:spMk id="70" creationId="{A50C7E4E-0002-4CB6-9EAD-42C44DAEAA0F}"/>
          </ac:spMkLst>
        </pc:spChg>
        <pc:spChg chg="mod">
          <ac:chgData name="Ugo MANTEL" userId="2d5b7065-31bb-4181-a7f8-a73bf0c30211" providerId="ADAL" clId="{F05BB0D5-3454-45DC-8378-DA45B79D9A06}" dt="2020-10-02T13:04:33.332" v="2236" actId="790"/>
          <ac:spMkLst>
            <pc:docMk/>
            <pc:sldMk cId="683207262" sldId="6768"/>
            <ac:spMk id="71" creationId="{7B5DE71E-8034-41ED-A95D-59FBFF0686F6}"/>
          </ac:spMkLst>
        </pc:spChg>
        <pc:spChg chg="mod">
          <ac:chgData name="Ugo MANTEL" userId="2d5b7065-31bb-4181-a7f8-a73bf0c30211" providerId="ADAL" clId="{F05BB0D5-3454-45DC-8378-DA45B79D9A06}" dt="2020-10-02T13:04:33.329" v="2234" actId="790"/>
          <ac:spMkLst>
            <pc:docMk/>
            <pc:sldMk cId="683207262" sldId="6768"/>
            <ac:spMk id="75" creationId="{49ED4C27-017A-4362-8CC1-D90E0F16B1D5}"/>
          </ac:spMkLst>
        </pc:spChg>
        <pc:spChg chg="mod">
          <ac:chgData name="Ugo MANTEL" userId="2d5b7065-31bb-4181-a7f8-a73bf0c30211" providerId="ADAL" clId="{F05BB0D5-3454-45DC-8378-DA45B79D9A06}" dt="2020-10-02T13:04:33.335" v="2239" actId="790"/>
          <ac:spMkLst>
            <pc:docMk/>
            <pc:sldMk cId="683207262" sldId="6768"/>
            <ac:spMk id="82" creationId="{718DA14B-2CF5-4B45-9493-46314FE2FAE9}"/>
          </ac:spMkLst>
        </pc:spChg>
        <pc:spChg chg="mod">
          <ac:chgData name="Ugo MANTEL" userId="2d5b7065-31bb-4181-a7f8-a73bf0c30211" providerId="ADAL" clId="{F05BB0D5-3454-45DC-8378-DA45B79D9A06}" dt="2020-10-02T13:04:33.338" v="2244" actId="790"/>
          <ac:spMkLst>
            <pc:docMk/>
            <pc:sldMk cId="683207262" sldId="6768"/>
            <ac:spMk id="85" creationId="{6533220B-5EE2-4B19-93E3-E8D7503D0607}"/>
          </ac:spMkLst>
        </pc:spChg>
        <pc:spChg chg="mod">
          <ac:chgData name="Ugo MANTEL" userId="2d5b7065-31bb-4181-a7f8-a73bf0c30211" providerId="ADAL" clId="{F05BB0D5-3454-45DC-8378-DA45B79D9A06}" dt="2020-10-02T13:04:33.335" v="2240" actId="790"/>
          <ac:spMkLst>
            <pc:docMk/>
            <pc:sldMk cId="683207262" sldId="6768"/>
            <ac:spMk id="86" creationId="{41D1630D-9583-4A02-918B-140B5C3BC98B}"/>
          </ac:spMkLst>
        </pc:spChg>
        <pc:spChg chg="mod">
          <ac:chgData name="Ugo MANTEL" userId="2d5b7065-31bb-4181-a7f8-a73bf0c30211" providerId="ADAL" clId="{F05BB0D5-3454-45DC-8378-DA45B79D9A06}" dt="2020-10-02T13:04:33.336" v="2241" actId="790"/>
          <ac:spMkLst>
            <pc:docMk/>
            <pc:sldMk cId="683207262" sldId="6768"/>
            <ac:spMk id="87" creationId="{C4592A71-0E73-4FC5-9464-DAAFD212F220}"/>
          </ac:spMkLst>
        </pc:spChg>
        <pc:spChg chg="mod">
          <ac:chgData name="Ugo MANTEL" userId="2d5b7065-31bb-4181-a7f8-a73bf0c30211" providerId="ADAL" clId="{F05BB0D5-3454-45DC-8378-DA45B79D9A06}" dt="2020-10-02T13:04:33.337" v="2242" actId="790"/>
          <ac:spMkLst>
            <pc:docMk/>
            <pc:sldMk cId="683207262" sldId="6768"/>
            <ac:spMk id="88" creationId="{07BF7828-B1A7-4CF7-9E44-1A0854C0141C}"/>
          </ac:spMkLst>
        </pc:spChg>
        <pc:spChg chg="mod">
          <ac:chgData name="Ugo MANTEL" userId="2d5b7065-31bb-4181-a7f8-a73bf0c30211" providerId="ADAL" clId="{F05BB0D5-3454-45DC-8378-DA45B79D9A06}" dt="2020-10-02T13:04:33.337" v="2243" actId="790"/>
          <ac:spMkLst>
            <pc:docMk/>
            <pc:sldMk cId="683207262" sldId="6768"/>
            <ac:spMk id="89" creationId="{88210875-4319-4F51-A5DE-7AFE91D680BD}"/>
          </ac:spMkLst>
        </pc:spChg>
        <pc:spChg chg="mod">
          <ac:chgData name="Ugo MANTEL" userId="2d5b7065-31bb-4181-a7f8-a73bf0c30211" providerId="ADAL" clId="{F05BB0D5-3454-45DC-8378-DA45B79D9A06}" dt="2020-10-02T13:04:33.339" v="2245" actId="790"/>
          <ac:spMkLst>
            <pc:docMk/>
            <pc:sldMk cId="683207262" sldId="6768"/>
            <ac:spMk id="97" creationId="{C2E2E69B-EA56-45BC-B0CC-BAC9D94D6155}"/>
          </ac:spMkLst>
        </pc:spChg>
        <pc:spChg chg="mod">
          <ac:chgData name="Ugo MANTEL" userId="2d5b7065-31bb-4181-a7f8-a73bf0c30211" providerId="ADAL" clId="{F05BB0D5-3454-45DC-8378-DA45B79D9A06}" dt="2020-10-02T13:04:33.339" v="2246" actId="790"/>
          <ac:spMkLst>
            <pc:docMk/>
            <pc:sldMk cId="683207262" sldId="6768"/>
            <ac:spMk id="98" creationId="{96EDE2E5-A5D5-4E93-BAA8-30307A71226B}"/>
          </ac:spMkLst>
        </pc:spChg>
        <pc:spChg chg="mod">
          <ac:chgData name="Ugo MANTEL" userId="2d5b7065-31bb-4181-a7f8-a73bf0c30211" providerId="ADAL" clId="{F05BB0D5-3454-45DC-8378-DA45B79D9A06}" dt="2020-10-02T13:04:33.340" v="2247" actId="790"/>
          <ac:spMkLst>
            <pc:docMk/>
            <pc:sldMk cId="683207262" sldId="6768"/>
            <ac:spMk id="99" creationId="{71E71912-9217-4A3F-ADD1-7645A7566014}"/>
          </ac:spMkLst>
        </pc:spChg>
        <pc:spChg chg="mod">
          <ac:chgData name="Ugo MANTEL" userId="2d5b7065-31bb-4181-a7f8-a73bf0c30211" providerId="ADAL" clId="{F05BB0D5-3454-45DC-8378-DA45B79D9A06}" dt="2020-10-02T13:04:33.340" v="2248" actId="790"/>
          <ac:spMkLst>
            <pc:docMk/>
            <pc:sldMk cId="683207262" sldId="6768"/>
            <ac:spMk id="100" creationId="{FDCFACC5-F2BB-4F7D-977C-3F256A817D96}"/>
          </ac:spMkLst>
        </pc:spChg>
        <pc:spChg chg="mod">
          <ac:chgData name="Ugo MANTEL" userId="2d5b7065-31bb-4181-a7f8-a73bf0c30211" providerId="ADAL" clId="{F05BB0D5-3454-45DC-8378-DA45B79D9A06}" dt="2020-10-02T13:04:33.341" v="2249" actId="790"/>
          <ac:spMkLst>
            <pc:docMk/>
            <pc:sldMk cId="683207262" sldId="6768"/>
            <ac:spMk id="101" creationId="{79E3F1E3-7EEE-4664-9340-8E78C49F6F88}"/>
          </ac:spMkLst>
        </pc:spChg>
        <pc:spChg chg="mod">
          <ac:chgData name="Ugo MANTEL" userId="2d5b7065-31bb-4181-a7f8-a73bf0c30211" providerId="ADAL" clId="{F05BB0D5-3454-45DC-8378-DA45B79D9A06}" dt="2020-10-02T13:04:33.342" v="2250" actId="790"/>
          <ac:spMkLst>
            <pc:docMk/>
            <pc:sldMk cId="683207262" sldId="6768"/>
            <ac:spMk id="102" creationId="{C2A90B25-DDA0-4806-9963-2992C82A346D}"/>
          </ac:spMkLst>
        </pc:spChg>
        <pc:spChg chg="mod">
          <ac:chgData name="Ugo MANTEL" userId="2d5b7065-31bb-4181-a7f8-a73bf0c30211" providerId="ADAL" clId="{F05BB0D5-3454-45DC-8378-DA45B79D9A06}" dt="2020-10-02T13:04:33.342" v="2251" actId="790"/>
          <ac:spMkLst>
            <pc:docMk/>
            <pc:sldMk cId="683207262" sldId="6768"/>
            <ac:spMk id="103" creationId="{3C28AFE8-74E8-49D9-8B5C-ED00E030A40F}"/>
          </ac:spMkLst>
        </pc:spChg>
        <pc:spChg chg="mod">
          <ac:chgData name="Ugo MANTEL" userId="2d5b7065-31bb-4181-a7f8-a73bf0c30211" providerId="ADAL" clId="{F05BB0D5-3454-45DC-8378-DA45B79D9A06}" dt="2020-10-02T13:04:33.343" v="2252" actId="790"/>
          <ac:spMkLst>
            <pc:docMk/>
            <pc:sldMk cId="683207262" sldId="6768"/>
            <ac:spMk id="104" creationId="{FD58B92D-4C2B-4F40-8CDD-AEBB2E702A1C}"/>
          </ac:spMkLst>
        </pc:spChg>
        <pc:spChg chg="mod">
          <ac:chgData name="Ugo MANTEL" userId="2d5b7065-31bb-4181-a7f8-a73bf0c30211" providerId="ADAL" clId="{F05BB0D5-3454-45DC-8378-DA45B79D9A06}" dt="2020-10-02T13:04:33.343" v="2253" actId="790"/>
          <ac:spMkLst>
            <pc:docMk/>
            <pc:sldMk cId="683207262" sldId="6768"/>
            <ac:spMk id="105" creationId="{FF85018A-5C1F-4103-B627-5997C5DFBF1C}"/>
          </ac:spMkLst>
        </pc:spChg>
        <pc:spChg chg="mod">
          <ac:chgData name="Ugo MANTEL" userId="2d5b7065-31bb-4181-a7f8-a73bf0c30211" providerId="ADAL" clId="{F05BB0D5-3454-45DC-8378-DA45B79D9A06}" dt="2020-10-02T13:04:33.346" v="2254" actId="790"/>
          <ac:spMkLst>
            <pc:docMk/>
            <pc:sldMk cId="683207262" sldId="6768"/>
            <ac:spMk id="107" creationId="{08AF8975-9194-4031-B677-4AB6B101BFC1}"/>
          </ac:spMkLst>
        </pc:spChg>
        <pc:spChg chg="mod">
          <ac:chgData name="Ugo MANTEL" userId="2d5b7065-31bb-4181-a7f8-a73bf0c30211" providerId="ADAL" clId="{F05BB0D5-3454-45DC-8378-DA45B79D9A06}" dt="2020-10-02T13:04:33.347" v="2255" actId="790"/>
          <ac:spMkLst>
            <pc:docMk/>
            <pc:sldMk cId="683207262" sldId="6768"/>
            <ac:spMk id="108" creationId="{0482D386-9179-4F96-BD03-D6F784D91544}"/>
          </ac:spMkLst>
        </pc:spChg>
        <pc:spChg chg="mod">
          <ac:chgData name="Ugo MANTEL" userId="2d5b7065-31bb-4181-a7f8-a73bf0c30211" providerId="ADAL" clId="{F05BB0D5-3454-45DC-8378-DA45B79D9A06}" dt="2020-10-02T13:04:33.311" v="2222" actId="790"/>
          <ac:spMkLst>
            <pc:docMk/>
            <pc:sldMk cId="683207262" sldId="6768"/>
            <ac:spMk id="131" creationId="{30102A56-A35A-4652-A765-CF2E7BF2B633}"/>
          </ac:spMkLst>
        </pc:spChg>
        <pc:spChg chg="mod">
          <ac:chgData name="Ugo MANTEL" userId="2d5b7065-31bb-4181-a7f8-a73bf0c30211" providerId="ADAL" clId="{F05BB0D5-3454-45DC-8378-DA45B79D9A06}" dt="2020-10-02T13:04:33.312" v="2223" actId="790"/>
          <ac:spMkLst>
            <pc:docMk/>
            <pc:sldMk cId="683207262" sldId="6768"/>
            <ac:spMk id="135" creationId="{A996B311-A5C3-46ED-ABD8-916DC7BD014F}"/>
          </ac:spMkLst>
        </pc:spChg>
        <pc:spChg chg="mod">
          <ac:chgData name="Ugo MANTEL" userId="2d5b7065-31bb-4181-a7f8-a73bf0c30211" providerId="ADAL" clId="{F05BB0D5-3454-45DC-8378-DA45B79D9A06}" dt="2020-10-02T13:04:33.313" v="2224" actId="790"/>
          <ac:spMkLst>
            <pc:docMk/>
            <pc:sldMk cId="683207262" sldId="6768"/>
            <ac:spMk id="140" creationId="{EBA6CB78-B760-48BC-B5DC-72ADAFE2F8D1}"/>
          </ac:spMkLst>
        </pc:spChg>
        <pc:spChg chg="mod">
          <ac:chgData name="Ugo MANTEL" userId="2d5b7065-31bb-4181-a7f8-a73bf0c30211" providerId="ADAL" clId="{F05BB0D5-3454-45DC-8378-DA45B79D9A06}" dt="2020-10-02T13:04:33.315" v="2225" actId="790"/>
          <ac:spMkLst>
            <pc:docMk/>
            <pc:sldMk cId="683207262" sldId="6768"/>
            <ac:spMk id="143" creationId="{ECBAA429-A60A-4F42-8CA9-FE676A29DB66}"/>
          </ac:spMkLst>
        </pc:spChg>
        <pc:spChg chg="mod">
          <ac:chgData name="Ugo MANTEL" userId="2d5b7065-31bb-4181-a7f8-a73bf0c30211" providerId="ADAL" clId="{F05BB0D5-3454-45DC-8378-DA45B79D9A06}" dt="2020-10-02T13:04:33.319" v="2226" actId="790"/>
          <ac:spMkLst>
            <pc:docMk/>
            <pc:sldMk cId="683207262" sldId="6768"/>
            <ac:spMk id="187" creationId="{2E15FAE4-02FD-4C51-9435-7EF9A999AC14}"/>
          </ac:spMkLst>
        </pc:spChg>
        <pc:spChg chg="mod">
          <ac:chgData name="Ugo MANTEL" userId="2d5b7065-31bb-4181-a7f8-a73bf0c30211" providerId="ADAL" clId="{F05BB0D5-3454-45DC-8378-DA45B79D9A06}" dt="2020-10-02T13:04:33.320" v="2227" actId="790"/>
          <ac:spMkLst>
            <pc:docMk/>
            <pc:sldMk cId="683207262" sldId="6768"/>
            <ac:spMk id="192" creationId="{03C44E15-4D2F-46B6-9382-48448D190942}"/>
          </ac:spMkLst>
        </pc:spChg>
        <pc:spChg chg="mod">
          <ac:chgData name="Ugo MANTEL" userId="2d5b7065-31bb-4181-a7f8-a73bf0c30211" providerId="ADAL" clId="{F05BB0D5-3454-45DC-8378-DA45B79D9A06}" dt="2020-10-02T13:04:33.322" v="2228" actId="790"/>
          <ac:spMkLst>
            <pc:docMk/>
            <pc:sldMk cId="683207262" sldId="6768"/>
            <ac:spMk id="202" creationId="{0C2A8931-984D-4A2A-9ACD-FA3554B6BA1F}"/>
          </ac:spMkLst>
        </pc:spChg>
        <pc:spChg chg="mod">
          <ac:chgData name="Ugo MANTEL" userId="2d5b7065-31bb-4181-a7f8-a73bf0c30211" providerId="ADAL" clId="{F05BB0D5-3454-45DC-8378-DA45B79D9A06}" dt="2020-10-02T13:04:33.323" v="2229" actId="790"/>
          <ac:spMkLst>
            <pc:docMk/>
            <pc:sldMk cId="683207262" sldId="6768"/>
            <ac:spMk id="204" creationId="{D93E62DF-C52F-42FD-A4C2-1A9512EEE941}"/>
          </ac:spMkLst>
        </pc:spChg>
        <pc:spChg chg="mod">
          <ac:chgData name="Ugo MANTEL" userId="2d5b7065-31bb-4181-a7f8-a73bf0c30211" providerId="ADAL" clId="{F05BB0D5-3454-45DC-8378-DA45B79D9A06}" dt="2020-10-02T13:04:33.323" v="2230" actId="790"/>
          <ac:spMkLst>
            <pc:docMk/>
            <pc:sldMk cId="683207262" sldId="6768"/>
            <ac:spMk id="206" creationId="{CCB1B1BF-1D82-4A3D-8AFE-7636798A816A}"/>
          </ac:spMkLst>
        </pc:spChg>
        <pc:spChg chg="mod">
          <ac:chgData name="Ugo MANTEL" userId="2d5b7065-31bb-4181-a7f8-a73bf0c30211" providerId="ADAL" clId="{F05BB0D5-3454-45DC-8378-DA45B79D9A06}" dt="2020-10-02T13:04:33.324" v="2231" actId="790"/>
          <ac:spMkLst>
            <pc:docMk/>
            <pc:sldMk cId="683207262" sldId="6768"/>
            <ac:spMk id="211" creationId="{152A7E51-0A3C-4AD8-A0AC-9C627EB19A02}"/>
          </ac:spMkLst>
        </pc:spChg>
        <pc:spChg chg="mod">
          <ac:chgData name="Ugo MANTEL" userId="2d5b7065-31bb-4181-a7f8-a73bf0c30211" providerId="ADAL" clId="{F05BB0D5-3454-45DC-8378-DA45B79D9A06}" dt="2020-10-02T13:04:33.328" v="2232" actId="790"/>
          <ac:spMkLst>
            <pc:docMk/>
            <pc:sldMk cId="683207262" sldId="6768"/>
            <ac:spMk id="216" creationId="{8BB8AAF7-B3FC-42DA-A15E-438FEA625819}"/>
          </ac:spMkLst>
        </pc:spChg>
        <pc:spChg chg="mod">
          <ac:chgData name="Ugo MANTEL" userId="2d5b7065-31bb-4181-a7f8-a73bf0c30211" providerId="ADAL" clId="{F05BB0D5-3454-45DC-8378-DA45B79D9A06}" dt="2020-10-02T13:04:33.328" v="2233" actId="790"/>
          <ac:spMkLst>
            <pc:docMk/>
            <pc:sldMk cId="683207262" sldId="6768"/>
            <ac:spMk id="217" creationId="{BF5EB849-71C7-40B3-A92D-77E5CF871DA7}"/>
          </ac:spMkLst>
        </pc:spChg>
      </pc:sldChg>
      <pc:sldChg chg="modSp mod">
        <pc:chgData name="Ugo MANTEL" userId="2d5b7065-31bb-4181-a7f8-a73bf0c30211" providerId="ADAL" clId="{F05BB0D5-3454-45DC-8378-DA45B79D9A06}" dt="2020-10-02T13:04:33.395" v="2304" actId="790"/>
        <pc:sldMkLst>
          <pc:docMk/>
          <pc:sldMk cId="1178858198" sldId="6773"/>
        </pc:sldMkLst>
        <pc:spChg chg="mod">
          <ac:chgData name="Ugo MANTEL" userId="2d5b7065-31bb-4181-a7f8-a73bf0c30211" providerId="ADAL" clId="{F05BB0D5-3454-45DC-8378-DA45B79D9A06}" dt="2020-10-02T13:04:33.355" v="2261" actId="790"/>
          <ac:spMkLst>
            <pc:docMk/>
            <pc:sldMk cId="1178858198" sldId="6773"/>
            <ac:spMk id="3" creationId="{6E5579C7-DA5D-49DA-80F1-7376D7B55876}"/>
          </ac:spMkLst>
        </pc:spChg>
        <pc:spChg chg="mod">
          <ac:chgData name="Ugo MANTEL" userId="2d5b7065-31bb-4181-a7f8-a73bf0c30211" providerId="ADAL" clId="{F05BB0D5-3454-45DC-8378-DA45B79D9A06}" dt="2020-10-02T13:04:33.353" v="2259" actId="790"/>
          <ac:spMkLst>
            <pc:docMk/>
            <pc:sldMk cId="1178858198" sldId="6773"/>
            <ac:spMk id="5" creationId="{93ADD323-887F-4F55-BF74-62340490DDC0}"/>
          </ac:spMkLst>
        </pc:spChg>
        <pc:spChg chg="mod">
          <ac:chgData name="Ugo MANTEL" userId="2d5b7065-31bb-4181-a7f8-a73bf0c30211" providerId="ADAL" clId="{F05BB0D5-3454-45DC-8378-DA45B79D9A06}" dt="2020-10-02T13:04:33.375" v="2280" actId="790"/>
          <ac:spMkLst>
            <pc:docMk/>
            <pc:sldMk cId="1178858198" sldId="6773"/>
            <ac:spMk id="7" creationId="{CC84AFC3-61BD-430F-8F53-F8BC6B654CBF}"/>
          </ac:spMkLst>
        </pc:spChg>
        <pc:spChg chg="mod">
          <ac:chgData name="Ugo MANTEL" userId="2d5b7065-31bb-4181-a7f8-a73bf0c30211" providerId="ADAL" clId="{F05BB0D5-3454-45DC-8378-DA45B79D9A06}" dt="2020-10-02T13:04:33.347" v="2256" actId="790"/>
          <ac:spMkLst>
            <pc:docMk/>
            <pc:sldMk cId="1178858198" sldId="6773"/>
            <ac:spMk id="13" creationId="{FCCB61A9-18E3-4D56-9AF8-2A82AF56EF7F}"/>
          </ac:spMkLst>
        </pc:spChg>
        <pc:spChg chg="mod">
          <ac:chgData name="Ugo MANTEL" userId="2d5b7065-31bb-4181-a7f8-a73bf0c30211" providerId="ADAL" clId="{F05BB0D5-3454-45DC-8378-DA45B79D9A06}" dt="2020-10-02T13:04:33.361" v="2266" actId="790"/>
          <ac:spMkLst>
            <pc:docMk/>
            <pc:sldMk cId="1178858198" sldId="6773"/>
            <ac:spMk id="19" creationId="{4443EDB1-2679-4066-9598-F03B5B13B3B9}"/>
          </ac:spMkLst>
        </pc:spChg>
        <pc:spChg chg="mod">
          <ac:chgData name="Ugo MANTEL" userId="2d5b7065-31bb-4181-a7f8-a73bf0c30211" providerId="ADAL" clId="{F05BB0D5-3454-45DC-8378-DA45B79D9A06}" dt="2020-10-02T13:04:33.361" v="2267" actId="790"/>
          <ac:spMkLst>
            <pc:docMk/>
            <pc:sldMk cId="1178858198" sldId="6773"/>
            <ac:spMk id="20" creationId="{8CA47652-9527-43D3-B634-02607C93DCE2}"/>
          </ac:spMkLst>
        </pc:spChg>
        <pc:spChg chg="mod">
          <ac:chgData name="Ugo MANTEL" userId="2d5b7065-31bb-4181-a7f8-a73bf0c30211" providerId="ADAL" clId="{F05BB0D5-3454-45DC-8378-DA45B79D9A06}" dt="2020-10-02T13:04:33.372" v="2276" actId="790"/>
          <ac:spMkLst>
            <pc:docMk/>
            <pc:sldMk cId="1178858198" sldId="6773"/>
            <ac:spMk id="42" creationId="{8C8F4D1A-1F41-44CC-9C74-19FD8F4D795D}"/>
          </ac:spMkLst>
        </pc:spChg>
        <pc:spChg chg="mod">
          <ac:chgData name="Ugo MANTEL" userId="2d5b7065-31bb-4181-a7f8-a73bf0c30211" providerId="ADAL" clId="{F05BB0D5-3454-45DC-8378-DA45B79D9A06}" dt="2020-10-02T13:04:33.354" v="2260" actId="790"/>
          <ac:spMkLst>
            <pc:docMk/>
            <pc:sldMk cId="1178858198" sldId="6773"/>
            <ac:spMk id="43" creationId="{BBC1F1BA-453C-43F4-9A5C-6E2D66AA1C08}"/>
          </ac:spMkLst>
        </pc:spChg>
        <pc:spChg chg="mod">
          <ac:chgData name="Ugo MANTEL" userId="2d5b7065-31bb-4181-a7f8-a73bf0c30211" providerId="ADAL" clId="{F05BB0D5-3454-45DC-8378-DA45B79D9A06}" dt="2020-10-02T13:04:33.372" v="2277" actId="790"/>
          <ac:spMkLst>
            <pc:docMk/>
            <pc:sldMk cId="1178858198" sldId="6773"/>
            <ac:spMk id="44" creationId="{89617990-DC36-48BE-9B6C-BC790202E434}"/>
          </ac:spMkLst>
        </pc:spChg>
        <pc:spChg chg="mod">
          <ac:chgData name="Ugo MANTEL" userId="2d5b7065-31bb-4181-a7f8-a73bf0c30211" providerId="ADAL" clId="{F05BB0D5-3454-45DC-8378-DA45B79D9A06}" dt="2020-10-02T13:04:33.374" v="2278" actId="790"/>
          <ac:spMkLst>
            <pc:docMk/>
            <pc:sldMk cId="1178858198" sldId="6773"/>
            <ac:spMk id="45" creationId="{3D1EE1DA-FC43-4488-AD01-303BEFBFE74E}"/>
          </ac:spMkLst>
        </pc:spChg>
        <pc:spChg chg="mod">
          <ac:chgData name="Ugo MANTEL" userId="2d5b7065-31bb-4181-a7f8-a73bf0c30211" providerId="ADAL" clId="{F05BB0D5-3454-45DC-8378-DA45B79D9A06}" dt="2020-10-02T13:04:33.374" v="2279" actId="790"/>
          <ac:spMkLst>
            <pc:docMk/>
            <pc:sldMk cId="1178858198" sldId="6773"/>
            <ac:spMk id="46" creationId="{E5FF68FF-032A-46B6-801F-6896E7CF6BA6}"/>
          </ac:spMkLst>
        </pc:spChg>
        <pc:spChg chg="mod">
          <ac:chgData name="Ugo MANTEL" userId="2d5b7065-31bb-4181-a7f8-a73bf0c30211" providerId="ADAL" clId="{F05BB0D5-3454-45DC-8378-DA45B79D9A06}" dt="2020-10-02T13:04:33.362" v="2268" actId="790"/>
          <ac:spMkLst>
            <pc:docMk/>
            <pc:sldMk cId="1178858198" sldId="6773"/>
            <ac:spMk id="48" creationId="{0F4B9828-58F3-4639-99E6-4933655F26FD}"/>
          </ac:spMkLst>
        </pc:spChg>
        <pc:spChg chg="mod">
          <ac:chgData name="Ugo MANTEL" userId="2d5b7065-31bb-4181-a7f8-a73bf0c30211" providerId="ADAL" clId="{F05BB0D5-3454-45DC-8378-DA45B79D9A06}" dt="2020-10-02T13:04:33.356" v="2262" actId="790"/>
          <ac:spMkLst>
            <pc:docMk/>
            <pc:sldMk cId="1178858198" sldId="6773"/>
            <ac:spMk id="52" creationId="{EA7DC4A7-7043-4EA4-9461-9BEA3233EED7}"/>
          </ac:spMkLst>
        </pc:spChg>
        <pc:spChg chg="mod">
          <ac:chgData name="Ugo MANTEL" userId="2d5b7065-31bb-4181-a7f8-a73bf0c30211" providerId="ADAL" clId="{F05BB0D5-3454-45DC-8378-DA45B79D9A06}" dt="2020-10-02T13:04:33.356" v="2263" actId="790"/>
          <ac:spMkLst>
            <pc:docMk/>
            <pc:sldMk cId="1178858198" sldId="6773"/>
            <ac:spMk id="53" creationId="{3FA60457-F43C-4842-A52C-390501628E6B}"/>
          </ac:spMkLst>
        </pc:spChg>
        <pc:spChg chg="mod">
          <ac:chgData name="Ugo MANTEL" userId="2d5b7065-31bb-4181-a7f8-a73bf0c30211" providerId="ADAL" clId="{F05BB0D5-3454-45DC-8378-DA45B79D9A06}" dt="2020-10-02T13:04:33.357" v="2264" actId="790"/>
          <ac:spMkLst>
            <pc:docMk/>
            <pc:sldMk cId="1178858198" sldId="6773"/>
            <ac:spMk id="54" creationId="{8D422CF4-69F9-4AAE-A1C6-6CBE7A62614E}"/>
          </ac:spMkLst>
        </pc:spChg>
        <pc:spChg chg="mod">
          <ac:chgData name="Ugo MANTEL" userId="2d5b7065-31bb-4181-a7f8-a73bf0c30211" providerId="ADAL" clId="{F05BB0D5-3454-45DC-8378-DA45B79D9A06}" dt="2020-10-02T13:04:33.358" v="2265" actId="790"/>
          <ac:spMkLst>
            <pc:docMk/>
            <pc:sldMk cId="1178858198" sldId="6773"/>
            <ac:spMk id="55" creationId="{D2764DD5-F8CD-4442-859F-0110D6C1FC9C}"/>
          </ac:spMkLst>
        </pc:spChg>
        <pc:spChg chg="mod">
          <ac:chgData name="Ugo MANTEL" userId="2d5b7065-31bb-4181-a7f8-a73bf0c30211" providerId="ADAL" clId="{F05BB0D5-3454-45DC-8378-DA45B79D9A06}" dt="2020-10-02T13:04:33.380" v="2287" actId="790"/>
          <ac:spMkLst>
            <pc:docMk/>
            <pc:sldMk cId="1178858198" sldId="6773"/>
            <ac:spMk id="56" creationId="{6E86E7DD-0B76-4CC7-8F0F-0B9F08842249}"/>
          </ac:spMkLst>
        </pc:spChg>
        <pc:spChg chg="mod">
          <ac:chgData name="Ugo MANTEL" userId="2d5b7065-31bb-4181-a7f8-a73bf0c30211" providerId="ADAL" clId="{F05BB0D5-3454-45DC-8378-DA45B79D9A06}" dt="2020-10-02T13:04:33.376" v="2281" actId="790"/>
          <ac:spMkLst>
            <pc:docMk/>
            <pc:sldMk cId="1178858198" sldId="6773"/>
            <ac:spMk id="57" creationId="{707BA953-F3E8-4ADE-A22C-50CAD44FBB73}"/>
          </ac:spMkLst>
        </pc:spChg>
        <pc:spChg chg="mod">
          <ac:chgData name="Ugo MANTEL" userId="2d5b7065-31bb-4181-a7f8-a73bf0c30211" providerId="ADAL" clId="{F05BB0D5-3454-45DC-8378-DA45B79D9A06}" dt="2020-10-02T13:04:33.363" v="2269" actId="790"/>
          <ac:spMkLst>
            <pc:docMk/>
            <pc:sldMk cId="1178858198" sldId="6773"/>
            <ac:spMk id="58" creationId="{7A847901-232D-4AE0-81B7-5C99564DD676}"/>
          </ac:spMkLst>
        </pc:spChg>
        <pc:spChg chg="mod">
          <ac:chgData name="Ugo MANTEL" userId="2d5b7065-31bb-4181-a7f8-a73bf0c30211" providerId="ADAL" clId="{F05BB0D5-3454-45DC-8378-DA45B79D9A06}" dt="2020-10-02T13:04:33.366" v="2270" actId="790"/>
          <ac:spMkLst>
            <pc:docMk/>
            <pc:sldMk cId="1178858198" sldId="6773"/>
            <ac:spMk id="61" creationId="{5F6F6E60-E6A3-4D8D-AE3E-4DF2B5A7AD13}"/>
          </ac:spMkLst>
        </pc:spChg>
        <pc:spChg chg="mod">
          <ac:chgData name="Ugo MANTEL" userId="2d5b7065-31bb-4181-a7f8-a73bf0c30211" providerId="ADAL" clId="{F05BB0D5-3454-45DC-8378-DA45B79D9A06}" dt="2020-10-02T13:04:33.366" v="2271" actId="790"/>
          <ac:spMkLst>
            <pc:docMk/>
            <pc:sldMk cId="1178858198" sldId="6773"/>
            <ac:spMk id="62" creationId="{4E776CAC-79EE-4CAD-8303-CEACED0930E0}"/>
          </ac:spMkLst>
        </pc:spChg>
        <pc:spChg chg="mod">
          <ac:chgData name="Ugo MANTEL" userId="2d5b7065-31bb-4181-a7f8-a73bf0c30211" providerId="ADAL" clId="{F05BB0D5-3454-45DC-8378-DA45B79D9A06}" dt="2020-10-02T13:04:33.367" v="2272" actId="790"/>
          <ac:spMkLst>
            <pc:docMk/>
            <pc:sldMk cId="1178858198" sldId="6773"/>
            <ac:spMk id="63" creationId="{F7F3C4DD-1A7B-46DD-9B5D-3E35ECF210EB}"/>
          </ac:spMkLst>
        </pc:spChg>
        <pc:spChg chg="mod">
          <ac:chgData name="Ugo MANTEL" userId="2d5b7065-31bb-4181-a7f8-a73bf0c30211" providerId="ADAL" clId="{F05BB0D5-3454-45DC-8378-DA45B79D9A06}" dt="2020-10-02T13:04:33.369" v="2273" actId="790"/>
          <ac:spMkLst>
            <pc:docMk/>
            <pc:sldMk cId="1178858198" sldId="6773"/>
            <ac:spMk id="64" creationId="{E42A2199-6386-4A2A-B2ED-04E7BBA803DA}"/>
          </ac:spMkLst>
        </pc:spChg>
        <pc:spChg chg="mod">
          <ac:chgData name="Ugo MANTEL" userId="2d5b7065-31bb-4181-a7f8-a73bf0c30211" providerId="ADAL" clId="{F05BB0D5-3454-45DC-8378-DA45B79D9A06}" dt="2020-10-02T13:04:33.349" v="2257" actId="790"/>
          <ac:spMkLst>
            <pc:docMk/>
            <pc:sldMk cId="1178858198" sldId="6773"/>
            <ac:spMk id="66" creationId="{97CDFD19-3C31-46CB-ADC0-B87CAE83713E}"/>
          </ac:spMkLst>
        </pc:spChg>
        <pc:spChg chg="mod">
          <ac:chgData name="Ugo MANTEL" userId="2d5b7065-31bb-4181-a7f8-a73bf0c30211" providerId="ADAL" clId="{F05BB0D5-3454-45DC-8378-DA45B79D9A06}" dt="2020-10-02T13:04:33.370" v="2274" actId="790"/>
          <ac:spMkLst>
            <pc:docMk/>
            <pc:sldMk cId="1178858198" sldId="6773"/>
            <ac:spMk id="67" creationId="{5D1758EE-AF21-4B1F-B21D-A2BA07013924}"/>
          </ac:spMkLst>
        </pc:spChg>
        <pc:spChg chg="mod">
          <ac:chgData name="Ugo MANTEL" userId="2d5b7065-31bb-4181-a7f8-a73bf0c30211" providerId="ADAL" clId="{F05BB0D5-3454-45DC-8378-DA45B79D9A06}" dt="2020-10-02T13:04:33.379" v="2286" actId="790"/>
          <ac:spMkLst>
            <pc:docMk/>
            <pc:sldMk cId="1178858198" sldId="6773"/>
            <ac:spMk id="69" creationId="{73C146B8-7E53-4356-9347-452B928583EF}"/>
          </ac:spMkLst>
        </pc:spChg>
        <pc:spChg chg="mod">
          <ac:chgData name="Ugo MANTEL" userId="2d5b7065-31bb-4181-a7f8-a73bf0c30211" providerId="ADAL" clId="{F05BB0D5-3454-45DC-8378-DA45B79D9A06}" dt="2020-10-02T13:04:33.376" v="2282" actId="790"/>
          <ac:spMkLst>
            <pc:docMk/>
            <pc:sldMk cId="1178858198" sldId="6773"/>
            <ac:spMk id="70" creationId="{A0892656-F350-48FE-84CF-60C643800797}"/>
          </ac:spMkLst>
        </pc:spChg>
        <pc:spChg chg="mod">
          <ac:chgData name="Ugo MANTEL" userId="2d5b7065-31bb-4181-a7f8-a73bf0c30211" providerId="ADAL" clId="{F05BB0D5-3454-45DC-8378-DA45B79D9A06}" dt="2020-10-02T13:04:33.351" v="2258" actId="790"/>
          <ac:spMkLst>
            <pc:docMk/>
            <pc:sldMk cId="1178858198" sldId="6773"/>
            <ac:spMk id="71" creationId="{676CAA9B-68C9-48E1-A83A-7DDCEDF8A43B}"/>
          </ac:spMkLst>
        </pc:spChg>
        <pc:spChg chg="mod">
          <ac:chgData name="Ugo MANTEL" userId="2d5b7065-31bb-4181-a7f8-a73bf0c30211" providerId="ADAL" clId="{F05BB0D5-3454-45DC-8378-DA45B79D9A06}" dt="2020-10-02T13:04:33.371" v="2275" actId="790"/>
          <ac:spMkLst>
            <pc:docMk/>
            <pc:sldMk cId="1178858198" sldId="6773"/>
            <ac:spMk id="72" creationId="{39FE6D2A-DCCE-4CD1-8732-7C33C98296DD}"/>
          </ac:spMkLst>
        </pc:spChg>
        <pc:spChg chg="mod">
          <ac:chgData name="Ugo MANTEL" userId="2d5b7065-31bb-4181-a7f8-a73bf0c30211" providerId="ADAL" clId="{F05BB0D5-3454-45DC-8378-DA45B79D9A06}" dt="2020-10-02T13:04:33.377" v="2283" actId="790"/>
          <ac:spMkLst>
            <pc:docMk/>
            <pc:sldMk cId="1178858198" sldId="6773"/>
            <ac:spMk id="73" creationId="{665882C5-D0C5-4043-8E2A-3A8552CE702B}"/>
          </ac:spMkLst>
        </pc:spChg>
        <pc:spChg chg="mod">
          <ac:chgData name="Ugo MANTEL" userId="2d5b7065-31bb-4181-a7f8-a73bf0c30211" providerId="ADAL" clId="{F05BB0D5-3454-45DC-8378-DA45B79D9A06}" dt="2020-10-02T13:04:33.378" v="2284" actId="790"/>
          <ac:spMkLst>
            <pc:docMk/>
            <pc:sldMk cId="1178858198" sldId="6773"/>
            <ac:spMk id="74" creationId="{9A0A2016-226F-4D47-9965-3EA56BDB386C}"/>
          </ac:spMkLst>
        </pc:spChg>
        <pc:spChg chg="mod">
          <ac:chgData name="Ugo MANTEL" userId="2d5b7065-31bb-4181-a7f8-a73bf0c30211" providerId="ADAL" clId="{F05BB0D5-3454-45DC-8378-DA45B79D9A06}" dt="2020-10-02T13:04:33.378" v="2285" actId="790"/>
          <ac:spMkLst>
            <pc:docMk/>
            <pc:sldMk cId="1178858198" sldId="6773"/>
            <ac:spMk id="75" creationId="{6D28E464-60EE-42B7-ADF3-247D93E89578}"/>
          </ac:spMkLst>
        </pc:spChg>
        <pc:spChg chg="mod">
          <ac:chgData name="Ugo MANTEL" userId="2d5b7065-31bb-4181-a7f8-a73bf0c30211" providerId="ADAL" clId="{F05BB0D5-3454-45DC-8378-DA45B79D9A06}" dt="2020-10-02T13:04:33.380" v="2288" actId="790"/>
          <ac:spMkLst>
            <pc:docMk/>
            <pc:sldMk cId="1178858198" sldId="6773"/>
            <ac:spMk id="83" creationId="{477B3B29-88DD-470A-B5A4-9BB19E9B83D9}"/>
          </ac:spMkLst>
        </pc:spChg>
        <pc:spChg chg="mod">
          <ac:chgData name="Ugo MANTEL" userId="2d5b7065-31bb-4181-a7f8-a73bf0c30211" providerId="ADAL" clId="{F05BB0D5-3454-45DC-8378-DA45B79D9A06}" dt="2020-10-02T13:04:33.381" v="2289" actId="790"/>
          <ac:spMkLst>
            <pc:docMk/>
            <pc:sldMk cId="1178858198" sldId="6773"/>
            <ac:spMk id="84" creationId="{3F196E23-D905-4555-8359-F6B1887ACBE9}"/>
          </ac:spMkLst>
        </pc:spChg>
        <pc:spChg chg="mod">
          <ac:chgData name="Ugo MANTEL" userId="2d5b7065-31bb-4181-a7f8-a73bf0c30211" providerId="ADAL" clId="{F05BB0D5-3454-45DC-8378-DA45B79D9A06}" dt="2020-10-02T13:04:33.381" v="2290" actId="790"/>
          <ac:spMkLst>
            <pc:docMk/>
            <pc:sldMk cId="1178858198" sldId="6773"/>
            <ac:spMk id="85" creationId="{7136B2DF-29C6-43BC-8183-06DFD51EE1B9}"/>
          </ac:spMkLst>
        </pc:spChg>
        <pc:spChg chg="mod">
          <ac:chgData name="Ugo MANTEL" userId="2d5b7065-31bb-4181-a7f8-a73bf0c30211" providerId="ADAL" clId="{F05BB0D5-3454-45DC-8378-DA45B79D9A06}" dt="2020-10-02T13:04:33.382" v="2291" actId="790"/>
          <ac:spMkLst>
            <pc:docMk/>
            <pc:sldMk cId="1178858198" sldId="6773"/>
            <ac:spMk id="86" creationId="{20D7EB2E-C4DB-4CB4-8537-72FD4730645B}"/>
          </ac:spMkLst>
        </pc:spChg>
        <pc:spChg chg="mod">
          <ac:chgData name="Ugo MANTEL" userId="2d5b7065-31bb-4181-a7f8-a73bf0c30211" providerId="ADAL" clId="{F05BB0D5-3454-45DC-8378-DA45B79D9A06}" dt="2020-10-02T13:04:33.383" v="2292" actId="790"/>
          <ac:spMkLst>
            <pc:docMk/>
            <pc:sldMk cId="1178858198" sldId="6773"/>
            <ac:spMk id="87" creationId="{A21474B6-A05B-499D-8267-68C04BAC058F}"/>
          </ac:spMkLst>
        </pc:spChg>
        <pc:spChg chg="mod">
          <ac:chgData name="Ugo MANTEL" userId="2d5b7065-31bb-4181-a7f8-a73bf0c30211" providerId="ADAL" clId="{F05BB0D5-3454-45DC-8378-DA45B79D9A06}" dt="2020-10-02T13:04:33.383" v="2293" actId="790"/>
          <ac:spMkLst>
            <pc:docMk/>
            <pc:sldMk cId="1178858198" sldId="6773"/>
            <ac:spMk id="88" creationId="{384E75C9-1ED2-4312-825E-BC332E6FFD17}"/>
          </ac:spMkLst>
        </pc:spChg>
        <pc:spChg chg="mod">
          <ac:chgData name="Ugo MANTEL" userId="2d5b7065-31bb-4181-a7f8-a73bf0c30211" providerId="ADAL" clId="{F05BB0D5-3454-45DC-8378-DA45B79D9A06}" dt="2020-10-02T13:04:33.384" v="2294" actId="790"/>
          <ac:spMkLst>
            <pc:docMk/>
            <pc:sldMk cId="1178858198" sldId="6773"/>
            <ac:spMk id="89" creationId="{E9486731-54B6-4D65-B776-13D9A25C84F8}"/>
          </ac:spMkLst>
        </pc:spChg>
        <pc:spChg chg="mod">
          <ac:chgData name="Ugo MANTEL" userId="2d5b7065-31bb-4181-a7f8-a73bf0c30211" providerId="ADAL" clId="{F05BB0D5-3454-45DC-8378-DA45B79D9A06}" dt="2020-10-02T13:04:33.385" v="2295" actId="790"/>
          <ac:spMkLst>
            <pc:docMk/>
            <pc:sldMk cId="1178858198" sldId="6773"/>
            <ac:spMk id="90" creationId="{36BC77C4-972C-4AE8-A426-D760192389BC}"/>
          </ac:spMkLst>
        </pc:spChg>
        <pc:spChg chg="mod">
          <ac:chgData name="Ugo MANTEL" userId="2d5b7065-31bb-4181-a7f8-a73bf0c30211" providerId="ADAL" clId="{F05BB0D5-3454-45DC-8378-DA45B79D9A06}" dt="2020-10-02T13:04:33.386" v="2296" actId="790"/>
          <ac:spMkLst>
            <pc:docMk/>
            <pc:sldMk cId="1178858198" sldId="6773"/>
            <ac:spMk id="91" creationId="{1647C520-535B-4630-9E73-BD11737498AC}"/>
          </ac:spMkLst>
        </pc:spChg>
        <pc:spChg chg="mod">
          <ac:chgData name="Ugo MANTEL" userId="2d5b7065-31bb-4181-a7f8-a73bf0c30211" providerId="ADAL" clId="{F05BB0D5-3454-45DC-8378-DA45B79D9A06}" dt="2020-10-02T13:04:33.386" v="2297" actId="790"/>
          <ac:spMkLst>
            <pc:docMk/>
            <pc:sldMk cId="1178858198" sldId="6773"/>
            <ac:spMk id="93" creationId="{5D38EE70-FC91-4A4F-BCB0-EC8B72C54B6D}"/>
          </ac:spMkLst>
        </pc:spChg>
        <pc:spChg chg="mod">
          <ac:chgData name="Ugo MANTEL" userId="2d5b7065-31bb-4181-a7f8-a73bf0c30211" providerId="ADAL" clId="{F05BB0D5-3454-45DC-8378-DA45B79D9A06}" dt="2020-10-02T13:04:33.388" v="2298" actId="790"/>
          <ac:spMkLst>
            <pc:docMk/>
            <pc:sldMk cId="1178858198" sldId="6773"/>
            <ac:spMk id="94" creationId="{7130BAF0-AD44-48D6-8154-D0C293F20831}"/>
          </ac:spMkLst>
        </pc:spChg>
        <pc:spChg chg="mod">
          <ac:chgData name="Ugo MANTEL" userId="2d5b7065-31bb-4181-a7f8-a73bf0c30211" providerId="ADAL" clId="{F05BB0D5-3454-45DC-8378-DA45B79D9A06}" dt="2020-10-02T13:04:33.390" v="2299" actId="790"/>
          <ac:spMkLst>
            <pc:docMk/>
            <pc:sldMk cId="1178858198" sldId="6773"/>
            <ac:spMk id="96" creationId="{55CBD20D-0B3B-4B7B-8531-B0D05CE5B4AF}"/>
          </ac:spMkLst>
        </pc:spChg>
        <pc:spChg chg="mod">
          <ac:chgData name="Ugo MANTEL" userId="2d5b7065-31bb-4181-a7f8-a73bf0c30211" providerId="ADAL" clId="{F05BB0D5-3454-45DC-8378-DA45B79D9A06}" dt="2020-10-02T13:04:33.391" v="2300" actId="790"/>
          <ac:spMkLst>
            <pc:docMk/>
            <pc:sldMk cId="1178858198" sldId="6773"/>
            <ac:spMk id="97" creationId="{2804C17C-0508-41E3-9975-C89C008AD2A4}"/>
          </ac:spMkLst>
        </pc:spChg>
        <pc:spChg chg="mod">
          <ac:chgData name="Ugo MANTEL" userId="2d5b7065-31bb-4181-a7f8-a73bf0c30211" providerId="ADAL" clId="{F05BB0D5-3454-45DC-8378-DA45B79D9A06}" dt="2020-10-02T13:04:33.393" v="2301" actId="790"/>
          <ac:spMkLst>
            <pc:docMk/>
            <pc:sldMk cId="1178858198" sldId="6773"/>
            <ac:spMk id="98" creationId="{B146898B-6FD6-4461-A414-6A8AFA54E244}"/>
          </ac:spMkLst>
        </pc:spChg>
        <pc:spChg chg="mod">
          <ac:chgData name="Ugo MANTEL" userId="2d5b7065-31bb-4181-a7f8-a73bf0c30211" providerId="ADAL" clId="{F05BB0D5-3454-45DC-8378-DA45B79D9A06}" dt="2020-10-02T13:04:33.394" v="2302" actId="790"/>
          <ac:spMkLst>
            <pc:docMk/>
            <pc:sldMk cId="1178858198" sldId="6773"/>
            <ac:spMk id="99" creationId="{0070E07D-82F3-44C5-8E9B-488F969655FC}"/>
          </ac:spMkLst>
        </pc:spChg>
        <pc:spChg chg="mod">
          <ac:chgData name="Ugo MANTEL" userId="2d5b7065-31bb-4181-a7f8-a73bf0c30211" providerId="ADAL" clId="{F05BB0D5-3454-45DC-8378-DA45B79D9A06}" dt="2020-10-02T13:04:33.394" v="2303" actId="790"/>
          <ac:spMkLst>
            <pc:docMk/>
            <pc:sldMk cId="1178858198" sldId="6773"/>
            <ac:spMk id="100" creationId="{5564B5A7-AC0D-4693-9F5B-E35D012E5C1D}"/>
          </ac:spMkLst>
        </pc:spChg>
        <pc:spChg chg="mod">
          <ac:chgData name="Ugo MANTEL" userId="2d5b7065-31bb-4181-a7f8-a73bf0c30211" providerId="ADAL" clId="{F05BB0D5-3454-45DC-8378-DA45B79D9A06}" dt="2020-10-02T13:04:33.395" v="2304" actId="790"/>
          <ac:spMkLst>
            <pc:docMk/>
            <pc:sldMk cId="1178858198" sldId="6773"/>
            <ac:spMk id="101" creationId="{DA30D549-87B9-4C98-B262-54C6C199463D}"/>
          </ac:spMkLst>
        </pc:spChg>
      </pc:sldChg>
      <pc:sldChg chg="modSp mod">
        <pc:chgData name="Ugo MANTEL" userId="2d5b7065-31bb-4181-a7f8-a73bf0c30211" providerId="ADAL" clId="{F05BB0D5-3454-45DC-8378-DA45B79D9A06}" dt="2020-10-02T13:04:36.201" v="4885" actId="790"/>
        <pc:sldMkLst>
          <pc:docMk/>
          <pc:sldMk cId="2010521228" sldId="6787"/>
        </pc:sldMkLst>
        <pc:spChg chg="mod">
          <ac:chgData name="Ugo MANTEL" userId="2d5b7065-31bb-4181-a7f8-a73bf0c30211" providerId="ADAL" clId="{F05BB0D5-3454-45DC-8378-DA45B79D9A06}" dt="2020-10-02T13:04:36.156" v="4853" actId="790"/>
          <ac:spMkLst>
            <pc:docMk/>
            <pc:sldMk cId="2010521228" sldId="6787"/>
            <ac:spMk id="3" creationId="{25FAC1FE-105D-44ED-BD39-E0C570F467B1}"/>
          </ac:spMkLst>
        </pc:spChg>
        <pc:spChg chg="mod">
          <ac:chgData name="Ugo MANTEL" userId="2d5b7065-31bb-4181-a7f8-a73bf0c30211" providerId="ADAL" clId="{F05BB0D5-3454-45DC-8378-DA45B79D9A06}" dt="2020-10-02T13:04:36.173" v="4870" actId="790"/>
          <ac:spMkLst>
            <pc:docMk/>
            <pc:sldMk cId="2010521228" sldId="6787"/>
            <ac:spMk id="4" creationId="{C972A882-EFB1-4267-A60A-9ADCFDF2A870}"/>
          </ac:spMkLst>
        </pc:spChg>
        <pc:spChg chg="mod">
          <ac:chgData name="Ugo MANTEL" userId="2d5b7065-31bb-4181-a7f8-a73bf0c30211" providerId="ADAL" clId="{F05BB0D5-3454-45DC-8378-DA45B79D9A06}" dt="2020-10-02T13:04:36.199" v="4882" actId="790"/>
          <ac:spMkLst>
            <pc:docMk/>
            <pc:sldMk cId="2010521228" sldId="6787"/>
            <ac:spMk id="7" creationId="{F948CFB7-77ED-4E01-BCDF-90661556509B}"/>
          </ac:spMkLst>
        </pc:spChg>
        <pc:spChg chg="mod">
          <ac:chgData name="Ugo MANTEL" userId="2d5b7065-31bb-4181-a7f8-a73bf0c30211" providerId="ADAL" clId="{F05BB0D5-3454-45DC-8378-DA45B79D9A06}" dt="2020-10-02T13:04:36.198" v="4881" actId="790"/>
          <ac:spMkLst>
            <pc:docMk/>
            <pc:sldMk cId="2010521228" sldId="6787"/>
            <ac:spMk id="18" creationId="{AD517DD4-4B3F-441F-A63C-D7501D212AB8}"/>
          </ac:spMkLst>
        </pc:spChg>
        <pc:spChg chg="mod">
          <ac:chgData name="Ugo MANTEL" userId="2d5b7065-31bb-4181-a7f8-a73bf0c30211" providerId="ADAL" clId="{F05BB0D5-3454-45DC-8378-DA45B79D9A06}" dt="2020-10-02T13:04:36.158" v="4856" actId="790"/>
          <ac:spMkLst>
            <pc:docMk/>
            <pc:sldMk cId="2010521228" sldId="6787"/>
            <ac:spMk id="29" creationId="{3969BBAF-5B8D-45D0-9251-529419E278E6}"/>
          </ac:spMkLst>
        </pc:spChg>
        <pc:spChg chg="mod">
          <ac:chgData name="Ugo MANTEL" userId="2d5b7065-31bb-4181-a7f8-a73bf0c30211" providerId="ADAL" clId="{F05BB0D5-3454-45DC-8378-DA45B79D9A06}" dt="2020-10-02T13:04:36.157" v="4854" actId="790"/>
          <ac:spMkLst>
            <pc:docMk/>
            <pc:sldMk cId="2010521228" sldId="6787"/>
            <ac:spMk id="31" creationId="{BD681E3B-67F9-4FB6-9653-9774CF585D32}"/>
          </ac:spMkLst>
        </pc:spChg>
        <pc:spChg chg="mod">
          <ac:chgData name="Ugo MANTEL" userId="2d5b7065-31bb-4181-a7f8-a73bf0c30211" providerId="ADAL" clId="{F05BB0D5-3454-45DC-8378-DA45B79D9A06}" dt="2020-10-02T13:04:36.158" v="4855" actId="790"/>
          <ac:spMkLst>
            <pc:docMk/>
            <pc:sldMk cId="2010521228" sldId="6787"/>
            <ac:spMk id="35" creationId="{4D37AD63-3908-46F6-A1D3-6ABBFD0BCBC8}"/>
          </ac:spMkLst>
        </pc:spChg>
        <pc:spChg chg="mod">
          <ac:chgData name="Ugo MANTEL" userId="2d5b7065-31bb-4181-a7f8-a73bf0c30211" providerId="ADAL" clId="{F05BB0D5-3454-45DC-8378-DA45B79D9A06}" dt="2020-10-02T13:04:36.160" v="4857" actId="790"/>
          <ac:spMkLst>
            <pc:docMk/>
            <pc:sldMk cId="2010521228" sldId="6787"/>
            <ac:spMk id="36" creationId="{8E59EF33-6DF9-4921-8DA6-83E49BDB1715}"/>
          </ac:spMkLst>
        </pc:spChg>
        <pc:spChg chg="mod">
          <ac:chgData name="Ugo MANTEL" userId="2d5b7065-31bb-4181-a7f8-a73bf0c30211" providerId="ADAL" clId="{F05BB0D5-3454-45DC-8378-DA45B79D9A06}" dt="2020-10-02T13:04:36.193" v="4874" actId="790"/>
          <ac:spMkLst>
            <pc:docMk/>
            <pc:sldMk cId="2010521228" sldId="6787"/>
            <ac:spMk id="41" creationId="{04DBCB6D-BB0C-4F4D-A08D-A4098ED5CD7F}"/>
          </ac:spMkLst>
        </pc:spChg>
        <pc:spChg chg="mod">
          <ac:chgData name="Ugo MANTEL" userId="2d5b7065-31bb-4181-a7f8-a73bf0c30211" providerId="ADAL" clId="{F05BB0D5-3454-45DC-8378-DA45B79D9A06}" dt="2020-10-02T13:04:36.193" v="4875" actId="790"/>
          <ac:spMkLst>
            <pc:docMk/>
            <pc:sldMk cId="2010521228" sldId="6787"/>
            <ac:spMk id="42" creationId="{D17D0FB7-7A7F-4F6F-9E3E-C4A5C5B0F86C}"/>
          </ac:spMkLst>
        </pc:spChg>
        <pc:spChg chg="mod">
          <ac:chgData name="Ugo MANTEL" userId="2d5b7065-31bb-4181-a7f8-a73bf0c30211" providerId="ADAL" clId="{F05BB0D5-3454-45DC-8378-DA45B79D9A06}" dt="2020-10-02T13:04:36.200" v="4883" actId="790"/>
          <ac:spMkLst>
            <pc:docMk/>
            <pc:sldMk cId="2010521228" sldId="6787"/>
            <ac:spMk id="54" creationId="{AFBB1141-244C-4BDE-A215-A180F50E3514}"/>
          </ac:spMkLst>
        </pc:spChg>
        <pc:spChg chg="mod">
          <ac:chgData name="Ugo MANTEL" userId="2d5b7065-31bb-4181-a7f8-a73bf0c30211" providerId="ADAL" clId="{F05BB0D5-3454-45DC-8378-DA45B79D9A06}" dt="2020-10-02T13:04:36.161" v="4858" actId="790"/>
          <ac:spMkLst>
            <pc:docMk/>
            <pc:sldMk cId="2010521228" sldId="6787"/>
            <ac:spMk id="56" creationId="{AD323394-4D9A-4950-A9FC-F3B2DF095AEB}"/>
          </ac:spMkLst>
        </pc:spChg>
        <pc:spChg chg="mod">
          <ac:chgData name="Ugo MANTEL" userId="2d5b7065-31bb-4181-a7f8-a73bf0c30211" providerId="ADAL" clId="{F05BB0D5-3454-45DC-8378-DA45B79D9A06}" dt="2020-10-02T13:04:36.194" v="4876" actId="790"/>
          <ac:spMkLst>
            <pc:docMk/>
            <pc:sldMk cId="2010521228" sldId="6787"/>
            <ac:spMk id="57" creationId="{8A6E5F60-0ED7-49A6-B24C-709A88B0073B}"/>
          </ac:spMkLst>
        </pc:spChg>
        <pc:spChg chg="mod">
          <ac:chgData name="Ugo MANTEL" userId="2d5b7065-31bb-4181-a7f8-a73bf0c30211" providerId="ADAL" clId="{F05BB0D5-3454-45DC-8378-DA45B79D9A06}" dt="2020-10-02T13:04:36.162" v="4859" actId="790"/>
          <ac:spMkLst>
            <pc:docMk/>
            <pc:sldMk cId="2010521228" sldId="6787"/>
            <ac:spMk id="58" creationId="{1EBF2D32-C8E0-4593-AA65-E9E81F71F03B}"/>
          </ac:spMkLst>
        </pc:spChg>
        <pc:spChg chg="mod">
          <ac:chgData name="Ugo MANTEL" userId="2d5b7065-31bb-4181-a7f8-a73bf0c30211" providerId="ADAL" clId="{F05BB0D5-3454-45DC-8378-DA45B79D9A06}" dt="2020-10-02T13:04:36.163" v="4860" actId="790"/>
          <ac:spMkLst>
            <pc:docMk/>
            <pc:sldMk cId="2010521228" sldId="6787"/>
            <ac:spMk id="59" creationId="{F8B715C8-543F-40C3-8FBD-62B981653C48}"/>
          </ac:spMkLst>
        </pc:spChg>
        <pc:spChg chg="mod">
          <ac:chgData name="Ugo MANTEL" userId="2d5b7065-31bb-4181-a7f8-a73bf0c30211" providerId="ADAL" clId="{F05BB0D5-3454-45DC-8378-DA45B79D9A06}" dt="2020-10-02T13:04:36.195" v="4877" actId="790"/>
          <ac:spMkLst>
            <pc:docMk/>
            <pc:sldMk cId="2010521228" sldId="6787"/>
            <ac:spMk id="60" creationId="{CBB46A36-3A9A-49C7-9478-092BFCF15184}"/>
          </ac:spMkLst>
        </pc:spChg>
        <pc:spChg chg="mod">
          <ac:chgData name="Ugo MANTEL" userId="2d5b7065-31bb-4181-a7f8-a73bf0c30211" providerId="ADAL" clId="{F05BB0D5-3454-45DC-8378-DA45B79D9A06}" dt="2020-10-02T13:04:36.195" v="4878" actId="790"/>
          <ac:spMkLst>
            <pc:docMk/>
            <pc:sldMk cId="2010521228" sldId="6787"/>
            <ac:spMk id="61" creationId="{0968D5B8-D409-4D90-973D-2B1657E5C742}"/>
          </ac:spMkLst>
        </pc:spChg>
        <pc:spChg chg="mod">
          <ac:chgData name="Ugo MANTEL" userId="2d5b7065-31bb-4181-a7f8-a73bf0c30211" providerId="ADAL" clId="{F05BB0D5-3454-45DC-8378-DA45B79D9A06}" dt="2020-10-02T13:04:36.164" v="4861" actId="790"/>
          <ac:spMkLst>
            <pc:docMk/>
            <pc:sldMk cId="2010521228" sldId="6787"/>
            <ac:spMk id="62" creationId="{EBDB6BD9-12D3-4DC3-91EB-26A7B42C851E}"/>
          </ac:spMkLst>
        </pc:spChg>
        <pc:spChg chg="mod">
          <ac:chgData name="Ugo MANTEL" userId="2d5b7065-31bb-4181-a7f8-a73bf0c30211" providerId="ADAL" clId="{F05BB0D5-3454-45DC-8378-DA45B79D9A06}" dt="2020-10-02T13:04:36.166" v="4862" actId="790"/>
          <ac:spMkLst>
            <pc:docMk/>
            <pc:sldMk cId="2010521228" sldId="6787"/>
            <ac:spMk id="64" creationId="{8FBB0BF0-280B-422D-B26D-51F8194B0974}"/>
          </ac:spMkLst>
        </pc:spChg>
        <pc:spChg chg="mod">
          <ac:chgData name="Ugo MANTEL" userId="2d5b7065-31bb-4181-a7f8-a73bf0c30211" providerId="ADAL" clId="{F05BB0D5-3454-45DC-8378-DA45B79D9A06}" dt="2020-10-02T13:04:36.167" v="4863" actId="790"/>
          <ac:spMkLst>
            <pc:docMk/>
            <pc:sldMk cId="2010521228" sldId="6787"/>
            <ac:spMk id="65" creationId="{8DE77F5D-5042-42AB-A898-AA76BB6B9A15}"/>
          </ac:spMkLst>
        </pc:spChg>
        <pc:spChg chg="mod">
          <ac:chgData name="Ugo MANTEL" userId="2d5b7065-31bb-4181-a7f8-a73bf0c30211" providerId="ADAL" clId="{F05BB0D5-3454-45DC-8378-DA45B79D9A06}" dt="2020-10-02T13:04:36.168" v="4864" actId="790"/>
          <ac:spMkLst>
            <pc:docMk/>
            <pc:sldMk cId="2010521228" sldId="6787"/>
            <ac:spMk id="66" creationId="{9EA087CE-323A-4971-9D2D-E9C8B3E6028F}"/>
          </ac:spMkLst>
        </pc:spChg>
        <pc:spChg chg="mod">
          <ac:chgData name="Ugo MANTEL" userId="2d5b7065-31bb-4181-a7f8-a73bf0c30211" providerId="ADAL" clId="{F05BB0D5-3454-45DC-8378-DA45B79D9A06}" dt="2020-10-02T13:04:36.169" v="4865" actId="790"/>
          <ac:spMkLst>
            <pc:docMk/>
            <pc:sldMk cId="2010521228" sldId="6787"/>
            <ac:spMk id="67" creationId="{02479348-E34D-4051-9373-85B50E6C2D45}"/>
          </ac:spMkLst>
        </pc:spChg>
        <pc:spChg chg="mod">
          <ac:chgData name="Ugo MANTEL" userId="2d5b7065-31bb-4181-a7f8-a73bf0c30211" providerId="ADAL" clId="{F05BB0D5-3454-45DC-8378-DA45B79D9A06}" dt="2020-10-02T13:04:36.170" v="4866" actId="790"/>
          <ac:spMkLst>
            <pc:docMk/>
            <pc:sldMk cId="2010521228" sldId="6787"/>
            <ac:spMk id="68" creationId="{29A2AEB2-324A-4E56-B44F-F13D79D4B8B6}"/>
          </ac:spMkLst>
        </pc:spChg>
        <pc:spChg chg="mod">
          <ac:chgData name="Ugo MANTEL" userId="2d5b7065-31bb-4181-a7f8-a73bf0c30211" providerId="ADAL" clId="{F05BB0D5-3454-45DC-8378-DA45B79D9A06}" dt="2020-10-02T13:04:36.171" v="4867" actId="790"/>
          <ac:spMkLst>
            <pc:docMk/>
            <pc:sldMk cId="2010521228" sldId="6787"/>
            <ac:spMk id="69" creationId="{891E9C60-8E0C-4B90-A22E-5864D337DE69}"/>
          </ac:spMkLst>
        </pc:spChg>
        <pc:spChg chg="mod">
          <ac:chgData name="Ugo MANTEL" userId="2d5b7065-31bb-4181-a7f8-a73bf0c30211" providerId="ADAL" clId="{F05BB0D5-3454-45DC-8378-DA45B79D9A06}" dt="2020-10-02T13:04:36.171" v="4868" actId="790"/>
          <ac:spMkLst>
            <pc:docMk/>
            <pc:sldMk cId="2010521228" sldId="6787"/>
            <ac:spMk id="71" creationId="{C5D5B4D4-837C-4B3D-871C-3EBF04BA617B}"/>
          </ac:spMkLst>
        </pc:spChg>
        <pc:spChg chg="mod">
          <ac:chgData name="Ugo MANTEL" userId="2d5b7065-31bb-4181-a7f8-a73bf0c30211" providerId="ADAL" clId="{F05BB0D5-3454-45DC-8378-DA45B79D9A06}" dt="2020-10-02T13:04:36.172" v="4869" actId="790"/>
          <ac:spMkLst>
            <pc:docMk/>
            <pc:sldMk cId="2010521228" sldId="6787"/>
            <ac:spMk id="72" creationId="{A95E7921-9C91-4F65-A113-D2A7CF918B51}"/>
          </ac:spMkLst>
        </pc:spChg>
        <pc:spChg chg="mod">
          <ac:chgData name="Ugo MANTEL" userId="2d5b7065-31bb-4181-a7f8-a73bf0c30211" providerId="ADAL" clId="{F05BB0D5-3454-45DC-8378-DA45B79D9A06}" dt="2020-10-02T13:04:36.201" v="4884" actId="790"/>
          <ac:spMkLst>
            <pc:docMk/>
            <pc:sldMk cId="2010521228" sldId="6787"/>
            <ac:spMk id="73" creationId="{1AB544B2-4AD6-4684-B7C0-2871808BB76D}"/>
          </ac:spMkLst>
        </pc:spChg>
        <pc:spChg chg="mod">
          <ac:chgData name="Ugo MANTEL" userId="2d5b7065-31bb-4181-a7f8-a73bf0c30211" providerId="ADAL" clId="{F05BB0D5-3454-45DC-8378-DA45B79D9A06}" dt="2020-10-02T13:04:36.189" v="4871" actId="790"/>
          <ac:spMkLst>
            <pc:docMk/>
            <pc:sldMk cId="2010521228" sldId="6787"/>
            <ac:spMk id="74" creationId="{431A8241-137F-48B9-A302-1A288F4BB765}"/>
          </ac:spMkLst>
        </pc:spChg>
        <pc:spChg chg="mod">
          <ac:chgData name="Ugo MANTEL" userId="2d5b7065-31bb-4181-a7f8-a73bf0c30211" providerId="ADAL" clId="{F05BB0D5-3454-45DC-8378-DA45B79D9A06}" dt="2020-10-02T13:04:36.191" v="4872" actId="790"/>
          <ac:spMkLst>
            <pc:docMk/>
            <pc:sldMk cId="2010521228" sldId="6787"/>
            <ac:spMk id="75" creationId="{18677003-6875-44BC-AFE1-464450D8A415}"/>
          </ac:spMkLst>
        </pc:spChg>
        <pc:spChg chg="mod">
          <ac:chgData name="Ugo MANTEL" userId="2d5b7065-31bb-4181-a7f8-a73bf0c30211" providerId="ADAL" clId="{F05BB0D5-3454-45DC-8378-DA45B79D9A06}" dt="2020-10-02T13:04:36.192" v="4873" actId="790"/>
          <ac:spMkLst>
            <pc:docMk/>
            <pc:sldMk cId="2010521228" sldId="6787"/>
            <ac:spMk id="76" creationId="{3D5E5DD9-DCFF-4DD3-96DC-38C13AFDFCA6}"/>
          </ac:spMkLst>
        </pc:spChg>
        <pc:spChg chg="mod">
          <ac:chgData name="Ugo MANTEL" userId="2d5b7065-31bb-4181-a7f8-a73bf0c30211" providerId="ADAL" clId="{F05BB0D5-3454-45DC-8378-DA45B79D9A06}" dt="2020-10-02T13:04:36.196" v="4879" actId="790"/>
          <ac:spMkLst>
            <pc:docMk/>
            <pc:sldMk cId="2010521228" sldId="6787"/>
            <ac:spMk id="77" creationId="{7F348EC2-A59C-429D-A016-B09D380CC059}"/>
          </ac:spMkLst>
        </pc:spChg>
        <pc:spChg chg="mod">
          <ac:chgData name="Ugo MANTEL" userId="2d5b7065-31bb-4181-a7f8-a73bf0c30211" providerId="ADAL" clId="{F05BB0D5-3454-45DC-8378-DA45B79D9A06}" dt="2020-10-02T13:04:36.197" v="4880" actId="790"/>
          <ac:spMkLst>
            <pc:docMk/>
            <pc:sldMk cId="2010521228" sldId="6787"/>
            <ac:spMk id="85" creationId="{22B92F59-849D-4F1A-A4D6-C13E7D42903A}"/>
          </ac:spMkLst>
        </pc:spChg>
        <pc:spChg chg="mod">
          <ac:chgData name="Ugo MANTEL" userId="2d5b7065-31bb-4181-a7f8-a73bf0c30211" providerId="ADAL" clId="{F05BB0D5-3454-45DC-8378-DA45B79D9A06}" dt="2020-10-02T13:04:36.201" v="4885" actId="790"/>
          <ac:spMkLst>
            <pc:docMk/>
            <pc:sldMk cId="2010521228" sldId="6787"/>
            <ac:spMk id="86" creationId="{05F92716-93EB-4124-A460-7184680FC742}"/>
          </ac:spMkLst>
        </pc:spChg>
      </pc:sldChg>
      <pc:sldChg chg="modSp mod">
        <pc:chgData name="Ugo MANTEL" userId="2d5b7065-31bb-4181-a7f8-a73bf0c30211" providerId="ADAL" clId="{F05BB0D5-3454-45DC-8378-DA45B79D9A06}" dt="2020-10-02T13:04:36.155" v="4852" actId="790"/>
        <pc:sldMkLst>
          <pc:docMk/>
          <pc:sldMk cId="2666686246" sldId="6793"/>
        </pc:sldMkLst>
        <pc:spChg chg="mod">
          <ac:chgData name="Ugo MANTEL" userId="2d5b7065-31bb-4181-a7f8-a73bf0c30211" providerId="ADAL" clId="{F05BB0D5-3454-45DC-8378-DA45B79D9A06}" dt="2020-10-02T13:04:36.113" v="4813" actId="790"/>
          <ac:spMkLst>
            <pc:docMk/>
            <pc:sldMk cId="2666686246" sldId="6793"/>
            <ac:spMk id="3" creationId="{25FAC1FE-105D-44ED-BD39-E0C570F467B1}"/>
          </ac:spMkLst>
        </pc:spChg>
        <pc:spChg chg="mod">
          <ac:chgData name="Ugo MANTEL" userId="2d5b7065-31bb-4181-a7f8-a73bf0c30211" providerId="ADAL" clId="{F05BB0D5-3454-45DC-8378-DA45B79D9A06}" dt="2020-10-02T13:04:36.114" v="4814" actId="790"/>
          <ac:spMkLst>
            <pc:docMk/>
            <pc:sldMk cId="2666686246" sldId="6793"/>
            <ac:spMk id="5" creationId="{BD4D9CEB-9A7B-4F3F-A149-F19118949764}"/>
          </ac:spMkLst>
        </pc:spChg>
        <pc:spChg chg="mod">
          <ac:chgData name="Ugo MANTEL" userId="2d5b7065-31bb-4181-a7f8-a73bf0c30211" providerId="ADAL" clId="{F05BB0D5-3454-45DC-8378-DA45B79D9A06}" dt="2020-10-02T13:04:36.115" v="4815" actId="790"/>
          <ac:spMkLst>
            <pc:docMk/>
            <pc:sldMk cId="2666686246" sldId="6793"/>
            <ac:spMk id="9" creationId="{FEC9CD82-A1E8-44E8-BF26-0737B37710C0}"/>
          </ac:spMkLst>
        </pc:spChg>
        <pc:spChg chg="mod">
          <ac:chgData name="Ugo MANTEL" userId="2d5b7065-31bb-4181-a7f8-a73bf0c30211" providerId="ADAL" clId="{F05BB0D5-3454-45DC-8378-DA45B79D9A06}" dt="2020-10-02T13:04:36.116" v="4816" actId="790"/>
          <ac:spMkLst>
            <pc:docMk/>
            <pc:sldMk cId="2666686246" sldId="6793"/>
            <ac:spMk id="11" creationId="{942C9FB2-CA58-4F97-837D-171709CD7D9F}"/>
          </ac:spMkLst>
        </pc:spChg>
        <pc:spChg chg="mod">
          <ac:chgData name="Ugo MANTEL" userId="2d5b7065-31bb-4181-a7f8-a73bf0c30211" providerId="ADAL" clId="{F05BB0D5-3454-45DC-8378-DA45B79D9A06}" dt="2020-10-02T13:04:36.136" v="4830" actId="790"/>
          <ac:spMkLst>
            <pc:docMk/>
            <pc:sldMk cId="2666686246" sldId="6793"/>
            <ac:spMk id="12" creationId="{3B7319CF-17B0-4391-8CD9-3C5FDEA5AA76}"/>
          </ac:spMkLst>
        </pc:spChg>
        <pc:spChg chg="mod">
          <ac:chgData name="Ugo MANTEL" userId="2d5b7065-31bb-4181-a7f8-a73bf0c30211" providerId="ADAL" clId="{F05BB0D5-3454-45DC-8378-DA45B79D9A06}" dt="2020-10-02T13:04:36.117" v="4817" actId="790"/>
          <ac:spMkLst>
            <pc:docMk/>
            <pc:sldMk cId="2666686246" sldId="6793"/>
            <ac:spMk id="13" creationId="{11A7FBAA-4823-40D6-AD89-D46D0E7CDB42}"/>
          </ac:spMkLst>
        </pc:spChg>
        <pc:spChg chg="mod">
          <ac:chgData name="Ugo MANTEL" userId="2d5b7065-31bb-4181-a7f8-a73bf0c30211" providerId="ADAL" clId="{F05BB0D5-3454-45DC-8378-DA45B79D9A06}" dt="2020-10-02T13:04:36.118" v="4818" actId="790"/>
          <ac:spMkLst>
            <pc:docMk/>
            <pc:sldMk cId="2666686246" sldId="6793"/>
            <ac:spMk id="15" creationId="{906C1BBF-D353-4484-AE76-91D64A3C1E08}"/>
          </ac:spMkLst>
        </pc:spChg>
        <pc:spChg chg="mod">
          <ac:chgData name="Ugo MANTEL" userId="2d5b7065-31bb-4181-a7f8-a73bf0c30211" providerId="ADAL" clId="{F05BB0D5-3454-45DC-8378-DA45B79D9A06}" dt="2020-10-02T13:04:36.137" v="4831" actId="790"/>
          <ac:spMkLst>
            <pc:docMk/>
            <pc:sldMk cId="2666686246" sldId="6793"/>
            <ac:spMk id="16" creationId="{A7427E5D-747E-47A8-BE07-BC14B638989E}"/>
          </ac:spMkLst>
        </pc:spChg>
        <pc:spChg chg="mod">
          <ac:chgData name="Ugo MANTEL" userId="2d5b7065-31bb-4181-a7f8-a73bf0c30211" providerId="ADAL" clId="{F05BB0D5-3454-45DC-8378-DA45B79D9A06}" dt="2020-10-02T13:04:36.119" v="4819" actId="790"/>
          <ac:spMkLst>
            <pc:docMk/>
            <pc:sldMk cId="2666686246" sldId="6793"/>
            <ac:spMk id="17" creationId="{86556B5F-0E08-4E83-B321-6652F2003931}"/>
          </ac:spMkLst>
        </pc:spChg>
        <pc:spChg chg="mod">
          <ac:chgData name="Ugo MANTEL" userId="2d5b7065-31bb-4181-a7f8-a73bf0c30211" providerId="ADAL" clId="{F05BB0D5-3454-45DC-8378-DA45B79D9A06}" dt="2020-10-02T13:04:36.138" v="4833" actId="790"/>
          <ac:spMkLst>
            <pc:docMk/>
            <pc:sldMk cId="2666686246" sldId="6793"/>
            <ac:spMk id="18" creationId="{AD517DD4-4B3F-441F-A63C-D7501D212AB8}"/>
          </ac:spMkLst>
        </pc:spChg>
        <pc:spChg chg="mod">
          <ac:chgData name="Ugo MANTEL" userId="2d5b7065-31bb-4181-a7f8-a73bf0c30211" providerId="ADAL" clId="{F05BB0D5-3454-45DC-8378-DA45B79D9A06}" dt="2020-10-02T13:04:36.120" v="4820" actId="790"/>
          <ac:spMkLst>
            <pc:docMk/>
            <pc:sldMk cId="2666686246" sldId="6793"/>
            <ac:spMk id="19" creationId="{2CDCB718-5E12-493C-95C5-849698C74F40}"/>
          </ac:spMkLst>
        </pc:spChg>
        <pc:spChg chg="mod">
          <ac:chgData name="Ugo MANTEL" userId="2d5b7065-31bb-4181-a7f8-a73bf0c30211" providerId="ADAL" clId="{F05BB0D5-3454-45DC-8378-DA45B79D9A06}" dt="2020-10-02T13:04:36.139" v="4834" actId="790"/>
          <ac:spMkLst>
            <pc:docMk/>
            <pc:sldMk cId="2666686246" sldId="6793"/>
            <ac:spMk id="23" creationId="{FA2EE836-863C-44A9-A66F-C961A59B0D93}"/>
          </ac:spMkLst>
        </pc:spChg>
        <pc:spChg chg="mod">
          <ac:chgData name="Ugo MANTEL" userId="2d5b7065-31bb-4181-a7f8-a73bf0c30211" providerId="ADAL" clId="{F05BB0D5-3454-45DC-8378-DA45B79D9A06}" dt="2020-10-02T13:04:36.131" v="4827" actId="790"/>
          <ac:spMkLst>
            <pc:docMk/>
            <pc:sldMk cId="2666686246" sldId="6793"/>
            <ac:spMk id="24" creationId="{DC86C118-5062-4F87-A7BC-ED683854571A}"/>
          </ac:spMkLst>
        </pc:spChg>
        <pc:spChg chg="mod">
          <ac:chgData name="Ugo MANTEL" userId="2d5b7065-31bb-4181-a7f8-a73bf0c30211" providerId="ADAL" clId="{F05BB0D5-3454-45DC-8378-DA45B79D9A06}" dt="2020-10-02T13:04:36.132" v="4828" actId="790"/>
          <ac:spMkLst>
            <pc:docMk/>
            <pc:sldMk cId="2666686246" sldId="6793"/>
            <ac:spMk id="29" creationId="{3969BBAF-5B8D-45D0-9251-529419E278E6}"/>
          </ac:spMkLst>
        </pc:spChg>
        <pc:spChg chg="mod">
          <ac:chgData name="Ugo MANTEL" userId="2d5b7065-31bb-4181-a7f8-a73bf0c30211" providerId="ADAL" clId="{F05BB0D5-3454-45DC-8378-DA45B79D9A06}" dt="2020-10-02T13:04:36.140" v="4835" actId="790"/>
          <ac:spMkLst>
            <pc:docMk/>
            <pc:sldMk cId="2666686246" sldId="6793"/>
            <ac:spMk id="30" creationId="{A9FF6052-D3D4-45E6-B50C-EA1DD321065E}"/>
          </ac:spMkLst>
        </pc:spChg>
        <pc:spChg chg="mod">
          <ac:chgData name="Ugo MANTEL" userId="2d5b7065-31bb-4181-a7f8-a73bf0c30211" providerId="ADAL" clId="{F05BB0D5-3454-45DC-8378-DA45B79D9A06}" dt="2020-10-02T13:04:36.120" v="4821" actId="790"/>
          <ac:spMkLst>
            <pc:docMk/>
            <pc:sldMk cId="2666686246" sldId="6793"/>
            <ac:spMk id="31" creationId="{BD681E3B-67F9-4FB6-9653-9774CF585D32}"/>
          </ac:spMkLst>
        </pc:spChg>
        <pc:spChg chg="mod">
          <ac:chgData name="Ugo MANTEL" userId="2d5b7065-31bb-4181-a7f8-a73bf0c30211" providerId="ADAL" clId="{F05BB0D5-3454-45DC-8378-DA45B79D9A06}" dt="2020-10-02T13:04:36.121" v="4822" actId="790"/>
          <ac:spMkLst>
            <pc:docMk/>
            <pc:sldMk cId="2666686246" sldId="6793"/>
            <ac:spMk id="35" creationId="{4D37AD63-3908-46F6-A1D3-6ABBFD0BCBC8}"/>
          </ac:spMkLst>
        </pc:spChg>
        <pc:spChg chg="mod">
          <ac:chgData name="Ugo MANTEL" userId="2d5b7065-31bb-4181-a7f8-a73bf0c30211" providerId="ADAL" clId="{F05BB0D5-3454-45DC-8378-DA45B79D9A06}" dt="2020-10-02T13:04:36.135" v="4829" actId="790"/>
          <ac:spMkLst>
            <pc:docMk/>
            <pc:sldMk cId="2666686246" sldId="6793"/>
            <ac:spMk id="36" creationId="{8E59EF33-6DF9-4921-8DA6-83E49BDB1715}"/>
          </ac:spMkLst>
        </pc:spChg>
        <pc:spChg chg="mod">
          <ac:chgData name="Ugo MANTEL" userId="2d5b7065-31bb-4181-a7f8-a73bf0c30211" providerId="ADAL" clId="{F05BB0D5-3454-45DC-8378-DA45B79D9A06}" dt="2020-10-02T13:04:36.137" v="4832" actId="790"/>
          <ac:spMkLst>
            <pc:docMk/>
            <pc:sldMk cId="2666686246" sldId="6793"/>
            <ac:spMk id="37" creationId="{50671509-22A9-4428-BF48-2EAF061D08D9}"/>
          </ac:spMkLst>
        </pc:spChg>
        <pc:spChg chg="mod">
          <ac:chgData name="Ugo MANTEL" userId="2d5b7065-31bb-4181-a7f8-a73bf0c30211" providerId="ADAL" clId="{F05BB0D5-3454-45DC-8378-DA45B79D9A06}" dt="2020-10-02T13:04:36.124" v="4823" actId="790"/>
          <ac:spMkLst>
            <pc:docMk/>
            <pc:sldMk cId="2666686246" sldId="6793"/>
            <ac:spMk id="39" creationId="{90EDF959-1E0C-45B8-BDAA-CC120CC3685E}"/>
          </ac:spMkLst>
        </pc:spChg>
        <pc:spChg chg="mod">
          <ac:chgData name="Ugo MANTEL" userId="2d5b7065-31bb-4181-a7f8-a73bf0c30211" providerId="ADAL" clId="{F05BB0D5-3454-45DC-8378-DA45B79D9A06}" dt="2020-10-02T13:04:36.126" v="4824" actId="790"/>
          <ac:spMkLst>
            <pc:docMk/>
            <pc:sldMk cId="2666686246" sldId="6793"/>
            <ac:spMk id="41" creationId="{10658D78-6860-4DF2-80E0-41E3D236205C}"/>
          </ac:spMkLst>
        </pc:spChg>
        <pc:spChg chg="mod">
          <ac:chgData name="Ugo MANTEL" userId="2d5b7065-31bb-4181-a7f8-a73bf0c30211" providerId="ADAL" clId="{F05BB0D5-3454-45DC-8378-DA45B79D9A06}" dt="2020-10-02T13:04:36.126" v="4825" actId="790"/>
          <ac:spMkLst>
            <pc:docMk/>
            <pc:sldMk cId="2666686246" sldId="6793"/>
            <ac:spMk id="43" creationId="{4EC8AAB4-5E1F-4F3C-BD2C-73662AF47A14}"/>
          </ac:spMkLst>
        </pc:spChg>
        <pc:spChg chg="mod">
          <ac:chgData name="Ugo MANTEL" userId="2d5b7065-31bb-4181-a7f8-a73bf0c30211" providerId="ADAL" clId="{F05BB0D5-3454-45DC-8378-DA45B79D9A06}" dt="2020-10-02T13:04:36.128" v="4826" actId="790"/>
          <ac:spMkLst>
            <pc:docMk/>
            <pc:sldMk cId="2666686246" sldId="6793"/>
            <ac:spMk id="45" creationId="{92A62A43-C145-441E-831F-E734AC9B5717}"/>
          </ac:spMkLst>
        </pc:spChg>
        <pc:spChg chg="mod">
          <ac:chgData name="Ugo MANTEL" userId="2d5b7065-31bb-4181-a7f8-a73bf0c30211" providerId="ADAL" clId="{F05BB0D5-3454-45DC-8378-DA45B79D9A06}" dt="2020-10-02T13:04:36.140" v="4836" actId="790"/>
          <ac:spMkLst>
            <pc:docMk/>
            <pc:sldMk cId="2666686246" sldId="6793"/>
            <ac:spMk id="48" creationId="{41C84F99-D2B2-453B-A94B-19DEF341220C}"/>
          </ac:spMkLst>
        </pc:spChg>
        <pc:spChg chg="mod">
          <ac:chgData name="Ugo MANTEL" userId="2d5b7065-31bb-4181-a7f8-a73bf0c30211" providerId="ADAL" clId="{F05BB0D5-3454-45DC-8378-DA45B79D9A06}" dt="2020-10-02T13:04:36.141" v="4837" actId="790"/>
          <ac:spMkLst>
            <pc:docMk/>
            <pc:sldMk cId="2666686246" sldId="6793"/>
            <ac:spMk id="50" creationId="{13186652-9DAF-4A64-9085-68BFC3BE8D8B}"/>
          </ac:spMkLst>
        </pc:spChg>
        <pc:spChg chg="mod">
          <ac:chgData name="Ugo MANTEL" userId="2d5b7065-31bb-4181-a7f8-a73bf0c30211" providerId="ADAL" clId="{F05BB0D5-3454-45DC-8378-DA45B79D9A06}" dt="2020-10-02T13:04:36.142" v="4838" actId="790"/>
          <ac:spMkLst>
            <pc:docMk/>
            <pc:sldMk cId="2666686246" sldId="6793"/>
            <ac:spMk id="52" creationId="{A990696B-7A82-4127-A89D-A651AE7402AF}"/>
          </ac:spMkLst>
        </pc:spChg>
        <pc:spChg chg="mod">
          <ac:chgData name="Ugo MANTEL" userId="2d5b7065-31bb-4181-a7f8-a73bf0c30211" providerId="ADAL" clId="{F05BB0D5-3454-45DC-8378-DA45B79D9A06}" dt="2020-10-02T13:04:36.142" v="4839" actId="790"/>
          <ac:spMkLst>
            <pc:docMk/>
            <pc:sldMk cId="2666686246" sldId="6793"/>
            <ac:spMk id="53" creationId="{1F807805-9DEE-48DD-8947-D2FA7AA9C818}"/>
          </ac:spMkLst>
        </pc:spChg>
        <pc:spChg chg="mod">
          <ac:chgData name="Ugo MANTEL" userId="2d5b7065-31bb-4181-a7f8-a73bf0c30211" providerId="ADAL" clId="{F05BB0D5-3454-45DC-8378-DA45B79D9A06}" dt="2020-10-02T13:04:36.143" v="4840" actId="790"/>
          <ac:spMkLst>
            <pc:docMk/>
            <pc:sldMk cId="2666686246" sldId="6793"/>
            <ac:spMk id="54" creationId="{0CD27E9F-8F59-4A13-B96E-21D8204A8883}"/>
          </ac:spMkLst>
        </pc:spChg>
        <pc:spChg chg="mod">
          <ac:chgData name="Ugo MANTEL" userId="2d5b7065-31bb-4181-a7f8-a73bf0c30211" providerId="ADAL" clId="{F05BB0D5-3454-45DC-8378-DA45B79D9A06}" dt="2020-10-02T13:04:36.144" v="4841" actId="790"/>
          <ac:spMkLst>
            <pc:docMk/>
            <pc:sldMk cId="2666686246" sldId="6793"/>
            <ac:spMk id="55" creationId="{99FD39B7-F80E-40C1-8CA7-76743D45EB97}"/>
          </ac:spMkLst>
        </pc:spChg>
        <pc:spChg chg="mod">
          <ac:chgData name="Ugo MANTEL" userId="2d5b7065-31bb-4181-a7f8-a73bf0c30211" providerId="ADAL" clId="{F05BB0D5-3454-45DC-8378-DA45B79D9A06}" dt="2020-10-02T13:04:36.145" v="4842" actId="790"/>
          <ac:spMkLst>
            <pc:docMk/>
            <pc:sldMk cId="2666686246" sldId="6793"/>
            <ac:spMk id="56" creationId="{2A28331C-D569-4F28-8E5F-10A3C6DCEF4B}"/>
          </ac:spMkLst>
        </pc:spChg>
        <pc:spChg chg="mod">
          <ac:chgData name="Ugo MANTEL" userId="2d5b7065-31bb-4181-a7f8-a73bf0c30211" providerId="ADAL" clId="{F05BB0D5-3454-45DC-8378-DA45B79D9A06}" dt="2020-10-02T13:04:36.150" v="4845" actId="790"/>
          <ac:spMkLst>
            <pc:docMk/>
            <pc:sldMk cId="2666686246" sldId="6793"/>
            <ac:spMk id="57" creationId="{8AB4A578-C2A9-4648-A0CF-B2027FECA5A7}"/>
          </ac:spMkLst>
        </pc:spChg>
        <pc:spChg chg="mod">
          <ac:chgData name="Ugo MANTEL" userId="2d5b7065-31bb-4181-a7f8-a73bf0c30211" providerId="ADAL" clId="{F05BB0D5-3454-45DC-8378-DA45B79D9A06}" dt="2020-10-02T13:04:36.151" v="4846" actId="790"/>
          <ac:spMkLst>
            <pc:docMk/>
            <pc:sldMk cId="2666686246" sldId="6793"/>
            <ac:spMk id="58" creationId="{4CB1FADE-BAEC-40C2-87D3-38FB21D13F3A}"/>
          </ac:spMkLst>
        </pc:spChg>
        <pc:spChg chg="mod">
          <ac:chgData name="Ugo MANTEL" userId="2d5b7065-31bb-4181-a7f8-a73bf0c30211" providerId="ADAL" clId="{F05BB0D5-3454-45DC-8378-DA45B79D9A06}" dt="2020-10-02T13:04:36.151" v="4847" actId="790"/>
          <ac:spMkLst>
            <pc:docMk/>
            <pc:sldMk cId="2666686246" sldId="6793"/>
            <ac:spMk id="59" creationId="{83106FD8-DFBB-4321-B98F-6CAF66EFDDD3}"/>
          </ac:spMkLst>
        </pc:spChg>
        <pc:spChg chg="mod">
          <ac:chgData name="Ugo MANTEL" userId="2d5b7065-31bb-4181-a7f8-a73bf0c30211" providerId="ADAL" clId="{F05BB0D5-3454-45DC-8378-DA45B79D9A06}" dt="2020-10-02T13:04:36.152" v="4848" actId="790"/>
          <ac:spMkLst>
            <pc:docMk/>
            <pc:sldMk cId="2666686246" sldId="6793"/>
            <ac:spMk id="60" creationId="{F87C5D3D-3A2D-4B60-A152-FB78B94952DA}"/>
          </ac:spMkLst>
        </pc:spChg>
        <pc:spChg chg="mod">
          <ac:chgData name="Ugo MANTEL" userId="2d5b7065-31bb-4181-a7f8-a73bf0c30211" providerId="ADAL" clId="{F05BB0D5-3454-45DC-8378-DA45B79D9A06}" dt="2020-10-02T13:04:36.147" v="4843" actId="790"/>
          <ac:spMkLst>
            <pc:docMk/>
            <pc:sldMk cId="2666686246" sldId="6793"/>
            <ac:spMk id="61" creationId="{DACF5E46-91EE-43C8-9002-EED3A4C88CF6}"/>
          </ac:spMkLst>
        </pc:spChg>
        <pc:spChg chg="mod">
          <ac:chgData name="Ugo MANTEL" userId="2d5b7065-31bb-4181-a7f8-a73bf0c30211" providerId="ADAL" clId="{F05BB0D5-3454-45DC-8378-DA45B79D9A06}" dt="2020-10-02T13:04:36.148" v="4844" actId="790"/>
          <ac:spMkLst>
            <pc:docMk/>
            <pc:sldMk cId="2666686246" sldId="6793"/>
            <ac:spMk id="62" creationId="{31F4C28C-3B5E-4CAF-B677-7D0E199A407F}"/>
          </ac:spMkLst>
        </pc:spChg>
        <pc:spChg chg="mod">
          <ac:chgData name="Ugo MANTEL" userId="2d5b7065-31bb-4181-a7f8-a73bf0c30211" providerId="ADAL" clId="{F05BB0D5-3454-45DC-8378-DA45B79D9A06}" dt="2020-10-02T13:04:36.153" v="4849" actId="790"/>
          <ac:spMkLst>
            <pc:docMk/>
            <pc:sldMk cId="2666686246" sldId="6793"/>
            <ac:spMk id="63" creationId="{9557465E-1BA8-4DA1-BF34-E237B992E61E}"/>
          </ac:spMkLst>
        </pc:spChg>
        <pc:spChg chg="mod">
          <ac:chgData name="Ugo MANTEL" userId="2d5b7065-31bb-4181-a7f8-a73bf0c30211" providerId="ADAL" clId="{F05BB0D5-3454-45DC-8378-DA45B79D9A06}" dt="2020-10-02T13:04:36.154" v="4850" actId="790"/>
          <ac:spMkLst>
            <pc:docMk/>
            <pc:sldMk cId="2666686246" sldId="6793"/>
            <ac:spMk id="71" creationId="{A9A8EBD5-C9E2-416A-8F37-D00E28C96EC9}"/>
          </ac:spMkLst>
        </pc:spChg>
        <pc:spChg chg="mod">
          <ac:chgData name="Ugo MANTEL" userId="2d5b7065-31bb-4181-a7f8-a73bf0c30211" providerId="ADAL" clId="{F05BB0D5-3454-45DC-8378-DA45B79D9A06}" dt="2020-10-02T13:04:36.155" v="4852" actId="790"/>
          <ac:spMkLst>
            <pc:docMk/>
            <pc:sldMk cId="2666686246" sldId="6793"/>
            <ac:spMk id="72" creationId="{E7525C5E-D822-4DED-9B99-8CB3CCBF4F8A}"/>
          </ac:spMkLst>
        </pc:spChg>
        <pc:spChg chg="mod">
          <ac:chgData name="Ugo MANTEL" userId="2d5b7065-31bb-4181-a7f8-a73bf0c30211" providerId="ADAL" clId="{F05BB0D5-3454-45DC-8378-DA45B79D9A06}" dt="2020-10-02T13:04:36.154" v="4851" actId="790"/>
          <ac:spMkLst>
            <pc:docMk/>
            <pc:sldMk cId="2666686246" sldId="6793"/>
            <ac:spMk id="73" creationId="{A08880C2-376B-4709-BD2D-56C2582FD926}"/>
          </ac:spMkLst>
        </pc:spChg>
      </pc:sldChg>
      <pc:sldChg chg="modSp mod">
        <pc:chgData name="Ugo MANTEL" userId="2d5b7065-31bb-4181-a7f8-a73bf0c30211" providerId="ADAL" clId="{F05BB0D5-3454-45DC-8378-DA45B79D9A06}" dt="2020-10-02T13:04:33.193" v="2117" actId="790"/>
        <pc:sldMkLst>
          <pc:docMk/>
          <pc:sldMk cId="3163263851" sldId="6794"/>
        </pc:sldMkLst>
        <pc:spChg chg="mod">
          <ac:chgData name="Ugo MANTEL" userId="2d5b7065-31bb-4181-a7f8-a73bf0c30211" providerId="ADAL" clId="{F05BB0D5-3454-45DC-8378-DA45B79D9A06}" dt="2020-10-02T13:04:33.118" v="2031" actId="790"/>
          <ac:spMkLst>
            <pc:docMk/>
            <pc:sldMk cId="3163263851" sldId="6794"/>
            <ac:spMk id="13" creationId="{FCCB61A9-18E3-4D56-9AF8-2A82AF56EF7F}"/>
          </ac:spMkLst>
        </pc:spChg>
        <pc:spChg chg="mod">
          <ac:chgData name="Ugo MANTEL" userId="2d5b7065-31bb-4181-a7f8-a73bf0c30211" providerId="ADAL" clId="{F05BB0D5-3454-45DC-8378-DA45B79D9A06}" dt="2020-10-02T13:04:33.155" v="2064" actId="790"/>
          <ac:spMkLst>
            <pc:docMk/>
            <pc:sldMk cId="3163263851" sldId="6794"/>
            <ac:spMk id="16" creationId="{6CFD1A95-2E4A-4C0F-9642-9951468ADF0F}"/>
          </ac:spMkLst>
        </pc:spChg>
        <pc:spChg chg="mod">
          <ac:chgData name="Ugo MANTEL" userId="2d5b7065-31bb-4181-a7f8-a73bf0c30211" providerId="ADAL" clId="{F05BB0D5-3454-45DC-8378-DA45B79D9A06}" dt="2020-10-02T13:04:33.174" v="2090" actId="790"/>
          <ac:spMkLst>
            <pc:docMk/>
            <pc:sldMk cId="3163263851" sldId="6794"/>
            <ac:spMk id="21" creationId="{5E68B851-6921-4104-A654-4A33B628591D}"/>
          </ac:spMkLst>
        </pc:spChg>
        <pc:spChg chg="mod">
          <ac:chgData name="Ugo MANTEL" userId="2d5b7065-31bb-4181-a7f8-a73bf0c30211" providerId="ADAL" clId="{F05BB0D5-3454-45DC-8378-DA45B79D9A06}" dt="2020-10-02T13:04:33.182" v="2102" actId="790"/>
          <ac:spMkLst>
            <pc:docMk/>
            <pc:sldMk cId="3163263851" sldId="6794"/>
            <ac:spMk id="22" creationId="{44B99EF0-EF27-45A5-B160-16DC3200743E}"/>
          </ac:spMkLst>
        </pc:spChg>
        <pc:spChg chg="mod">
          <ac:chgData name="Ugo MANTEL" userId="2d5b7065-31bb-4181-a7f8-a73bf0c30211" providerId="ADAL" clId="{F05BB0D5-3454-45DC-8378-DA45B79D9A06}" dt="2020-10-02T13:04:33.182" v="2103" actId="790"/>
          <ac:spMkLst>
            <pc:docMk/>
            <pc:sldMk cId="3163263851" sldId="6794"/>
            <ac:spMk id="23" creationId="{9A3C5A60-13A9-4633-AD63-8A11023CFC1F}"/>
          </ac:spMkLst>
        </pc:spChg>
        <pc:spChg chg="mod">
          <ac:chgData name="Ugo MANTEL" userId="2d5b7065-31bb-4181-a7f8-a73bf0c30211" providerId="ADAL" clId="{F05BB0D5-3454-45DC-8378-DA45B79D9A06}" dt="2020-10-02T13:04:33.183" v="2104" actId="790"/>
          <ac:spMkLst>
            <pc:docMk/>
            <pc:sldMk cId="3163263851" sldId="6794"/>
            <ac:spMk id="24" creationId="{EFEF9CD4-C98A-42EC-AC8C-2CC17B8E552A}"/>
          </ac:spMkLst>
        </pc:spChg>
        <pc:spChg chg="mod">
          <ac:chgData name="Ugo MANTEL" userId="2d5b7065-31bb-4181-a7f8-a73bf0c30211" providerId="ADAL" clId="{F05BB0D5-3454-45DC-8378-DA45B79D9A06}" dt="2020-10-02T13:04:33.184" v="2105" actId="790"/>
          <ac:spMkLst>
            <pc:docMk/>
            <pc:sldMk cId="3163263851" sldId="6794"/>
            <ac:spMk id="25" creationId="{B996EBCB-F8BA-49BB-B550-D83FDE90F6DF}"/>
          </ac:spMkLst>
        </pc:spChg>
        <pc:spChg chg="mod">
          <ac:chgData name="Ugo MANTEL" userId="2d5b7065-31bb-4181-a7f8-a73bf0c30211" providerId="ADAL" clId="{F05BB0D5-3454-45DC-8378-DA45B79D9A06}" dt="2020-10-02T13:04:33.185" v="2106" actId="790"/>
          <ac:spMkLst>
            <pc:docMk/>
            <pc:sldMk cId="3163263851" sldId="6794"/>
            <ac:spMk id="26" creationId="{4D8964C7-8D8B-4950-A642-7D990CC24B6A}"/>
          </ac:spMkLst>
        </pc:spChg>
        <pc:spChg chg="mod">
          <ac:chgData name="Ugo MANTEL" userId="2d5b7065-31bb-4181-a7f8-a73bf0c30211" providerId="ADAL" clId="{F05BB0D5-3454-45DC-8378-DA45B79D9A06}" dt="2020-10-02T13:04:33.145" v="2049" actId="790"/>
          <ac:spMkLst>
            <pc:docMk/>
            <pc:sldMk cId="3163263851" sldId="6794"/>
            <ac:spMk id="72" creationId="{A99BC1F1-AF35-4A16-A48F-CC37CD22DAB8}"/>
          </ac:spMkLst>
        </pc:spChg>
        <pc:spChg chg="mod">
          <ac:chgData name="Ugo MANTEL" userId="2d5b7065-31bb-4181-a7f8-a73bf0c30211" providerId="ADAL" clId="{F05BB0D5-3454-45DC-8378-DA45B79D9A06}" dt="2020-10-02T13:04:33.159" v="2067" actId="790"/>
          <ac:spMkLst>
            <pc:docMk/>
            <pc:sldMk cId="3163263851" sldId="6794"/>
            <ac:spMk id="81" creationId="{2FC1CE5F-52F7-4110-8626-325559035893}"/>
          </ac:spMkLst>
        </pc:spChg>
        <pc:spChg chg="mod">
          <ac:chgData name="Ugo MANTEL" userId="2d5b7065-31bb-4181-a7f8-a73bf0c30211" providerId="ADAL" clId="{F05BB0D5-3454-45DC-8378-DA45B79D9A06}" dt="2020-10-02T13:04:33.128" v="2033" actId="790"/>
          <ac:spMkLst>
            <pc:docMk/>
            <pc:sldMk cId="3163263851" sldId="6794"/>
            <ac:spMk id="82" creationId="{D93C9900-9BE6-4E29-87E9-5D8478F68462}"/>
          </ac:spMkLst>
        </pc:spChg>
        <pc:spChg chg="mod">
          <ac:chgData name="Ugo MANTEL" userId="2d5b7065-31bb-4181-a7f8-a73bf0c30211" providerId="ADAL" clId="{F05BB0D5-3454-45DC-8378-DA45B79D9A06}" dt="2020-10-02T13:04:33.159" v="2068" actId="790"/>
          <ac:spMkLst>
            <pc:docMk/>
            <pc:sldMk cId="3163263851" sldId="6794"/>
            <ac:spMk id="83" creationId="{F4AF28FD-C720-4E89-A767-74B29C12CEE1}"/>
          </ac:spMkLst>
        </pc:spChg>
        <pc:spChg chg="mod">
          <ac:chgData name="Ugo MANTEL" userId="2d5b7065-31bb-4181-a7f8-a73bf0c30211" providerId="ADAL" clId="{F05BB0D5-3454-45DC-8378-DA45B79D9A06}" dt="2020-10-02T13:04:33.129" v="2034" actId="790"/>
          <ac:spMkLst>
            <pc:docMk/>
            <pc:sldMk cId="3163263851" sldId="6794"/>
            <ac:spMk id="84" creationId="{CE9C423A-F283-4424-AAEA-854F5F7D50BA}"/>
          </ac:spMkLst>
        </pc:spChg>
        <pc:spChg chg="mod">
          <ac:chgData name="Ugo MANTEL" userId="2d5b7065-31bb-4181-a7f8-a73bf0c30211" providerId="ADAL" clId="{F05BB0D5-3454-45DC-8378-DA45B79D9A06}" dt="2020-10-02T13:04:33.160" v="2069" actId="790"/>
          <ac:spMkLst>
            <pc:docMk/>
            <pc:sldMk cId="3163263851" sldId="6794"/>
            <ac:spMk id="86" creationId="{DC28150C-5FE8-441E-B296-0A2254DE0B84}"/>
          </ac:spMkLst>
        </pc:spChg>
        <pc:spChg chg="mod">
          <ac:chgData name="Ugo MANTEL" userId="2d5b7065-31bb-4181-a7f8-a73bf0c30211" providerId="ADAL" clId="{F05BB0D5-3454-45DC-8378-DA45B79D9A06}" dt="2020-10-02T13:04:33.129" v="2035" actId="790"/>
          <ac:spMkLst>
            <pc:docMk/>
            <pc:sldMk cId="3163263851" sldId="6794"/>
            <ac:spMk id="88" creationId="{FB77F827-84EE-458E-9113-D38AF5BE9BF6}"/>
          </ac:spMkLst>
        </pc:spChg>
        <pc:spChg chg="mod">
          <ac:chgData name="Ugo MANTEL" userId="2d5b7065-31bb-4181-a7f8-a73bf0c30211" providerId="ADAL" clId="{F05BB0D5-3454-45DC-8378-DA45B79D9A06}" dt="2020-10-02T13:04:33.160" v="2070" actId="790"/>
          <ac:spMkLst>
            <pc:docMk/>
            <pc:sldMk cId="3163263851" sldId="6794"/>
            <ac:spMk id="89" creationId="{D2C1D80F-60DC-4BE3-A7C0-0D88472F370D}"/>
          </ac:spMkLst>
        </pc:spChg>
        <pc:spChg chg="mod">
          <ac:chgData name="Ugo MANTEL" userId="2d5b7065-31bb-4181-a7f8-a73bf0c30211" providerId="ADAL" clId="{F05BB0D5-3454-45DC-8378-DA45B79D9A06}" dt="2020-10-02T13:04:33.130" v="2036" actId="790"/>
          <ac:spMkLst>
            <pc:docMk/>
            <pc:sldMk cId="3163263851" sldId="6794"/>
            <ac:spMk id="91" creationId="{B4506B81-4B13-477E-93E3-E5DD8E4539BB}"/>
          </ac:spMkLst>
        </pc:spChg>
        <pc:spChg chg="mod">
          <ac:chgData name="Ugo MANTEL" userId="2d5b7065-31bb-4181-a7f8-a73bf0c30211" providerId="ADAL" clId="{F05BB0D5-3454-45DC-8378-DA45B79D9A06}" dt="2020-10-02T13:04:33.131" v="2037" actId="790"/>
          <ac:spMkLst>
            <pc:docMk/>
            <pc:sldMk cId="3163263851" sldId="6794"/>
            <ac:spMk id="93" creationId="{0F6A2972-04FF-4D26-B412-E79A79495A6F}"/>
          </ac:spMkLst>
        </pc:spChg>
        <pc:spChg chg="mod">
          <ac:chgData name="Ugo MANTEL" userId="2d5b7065-31bb-4181-a7f8-a73bf0c30211" providerId="ADAL" clId="{F05BB0D5-3454-45DC-8378-DA45B79D9A06}" dt="2020-10-02T13:04:33.157" v="2065" actId="790"/>
          <ac:spMkLst>
            <pc:docMk/>
            <pc:sldMk cId="3163263851" sldId="6794"/>
            <ac:spMk id="94" creationId="{3FDBE8C2-1FF5-4907-912D-EAF338F40993}"/>
          </ac:spMkLst>
        </pc:spChg>
        <pc:spChg chg="mod">
          <ac:chgData name="Ugo MANTEL" userId="2d5b7065-31bb-4181-a7f8-a73bf0c30211" providerId="ADAL" clId="{F05BB0D5-3454-45DC-8378-DA45B79D9A06}" dt="2020-10-02T13:04:33.157" v="2066" actId="790"/>
          <ac:spMkLst>
            <pc:docMk/>
            <pc:sldMk cId="3163263851" sldId="6794"/>
            <ac:spMk id="97" creationId="{002BCE02-F6E7-4AB0-995B-98E7FB373E20}"/>
          </ac:spMkLst>
        </pc:spChg>
        <pc:spChg chg="mod">
          <ac:chgData name="Ugo MANTEL" userId="2d5b7065-31bb-4181-a7f8-a73bf0c30211" providerId="ADAL" clId="{F05BB0D5-3454-45DC-8378-DA45B79D9A06}" dt="2020-10-02T13:04:33.161" v="2071" actId="790"/>
          <ac:spMkLst>
            <pc:docMk/>
            <pc:sldMk cId="3163263851" sldId="6794"/>
            <ac:spMk id="101" creationId="{E4AC5629-90F0-4684-8CF5-C3562DA0686F}"/>
          </ac:spMkLst>
        </pc:spChg>
        <pc:spChg chg="mod">
          <ac:chgData name="Ugo MANTEL" userId="2d5b7065-31bb-4181-a7f8-a73bf0c30211" providerId="ADAL" clId="{F05BB0D5-3454-45DC-8378-DA45B79D9A06}" dt="2020-10-02T13:04:33.134" v="2038" actId="790"/>
          <ac:spMkLst>
            <pc:docMk/>
            <pc:sldMk cId="3163263851" sldId="6794"/>
            <ac:spMk id="103" creationId="{45AF2547-1F16-40A0-B1B6-CDA03FBEB8A0}"/>
          </ac:spMkLst>
        </pc:spChg>
        <pc:spChg chg="mod">
          <ac:chgData name="Ugo MANTEL" userId="2d5b7065-31bb-4181-a7f8-a73bf0c30211" providerId="ADAL" clId="{F05BB0D5-3454-45DC-8378-DA45B79D9A06}" dt="2020-10-02T13:04:33.135" v="2039" actId="790"/>
          <ac:spMkLst>
            <pc:docMk/>
            <pc:sldMk cId="3163263851" sldId="6794"/>
            <ac:spMk id="104" creationId="{2BA35B89-2557-4589-8332-7ACD7829375B}"/>
          </ac:spMkLst>
        </pc:spChg>
        <pc:spChg chg="mod">
          <ac:chgData name="Ugo MANTEL" userId="2d5b7065-31bb-4181-a7f8-a73bf0c30211" providerId="ADAL" clId="{F05BB0D5-3454-45DC-8378-DA45B79D9A06}" dt="2020-10-02T13:04:33.161" v="2072" actId="790"/>
          <ac:spMkLst>
            <pc:docMk/>
            <pc:sldMk cId="3163263851" sldId="6794"/>
            <ac:spMk id="108" creationId="{7E32BB08-617D-432D-ACE6-61851C1107E9}"/>
          </ac:spMkLst>
        </pc:spChg>
        <pc:spChg chg="mod">
          <ac:chgData name="Ugo MANTEL" userId="2d5b7065-31bb-4181-a7f8-a73bf0c30211" providerId="ADAL" clId="{F05BB0D5-3454-45DC-8378-DA45B79D9A06}" dt="2020-10-02T13:04:33.162" v="2073" actId="790"/>
          <ac:spMkLst>
            <pc:docMk/>
            <pc:sldMk cId="3163263851" sldId="6794"/>
            <ac:spMk id="110" creationId="{F2D5850E-CAEE-4554-983D-951449BB8A04}"/>
          </ac:spMkLst>
        </pc:spChg>
        <pc:spChg chg="mod">
          <ac:chgData name="Ugo MANTEL" userId="2d5b7065-31bb-4181-a7f8-a73bf0c30211" providerId="ADAL" clId="{F05BB0D5-3454-45DC-8378-DA45B79D9A06}" dt="2020-10-02T13:04:33.126" v="2032" actId="790"/>
          <ac:spMkLst>
            <pc:docMk/>
            <pc:sldMk cId="3163263851" sldId="6794"/>
            <ac:spMk id="111" creationId="{BC2BBFB2-B38F-4036-992E-F1ACB52FEC45}"/>
          </ac:spMkLst>
        </pc:spChg>
        <pc:spChg chg="mod">
          <ac:chgData name="Ugo MANTEL" userId="2d5b7065-31bb-4181-a7f8-a73bf0c30211" providerId="ADAL" clId="{F05BB0D5-3454-45DC-8378-DA45B79D9A06}" dt="2020-10-02T13:04:33.167" v="2081" actId="790"/>
          <ac:spMkLst>
            <pc:docMk/>
            <pc:sldMk cId="3163263851" sldId="6794"/>
            <ac:spMk id="115" creationId="{6CA9B4A7-4C4E-426D-A90D-58BB8DFB9DBA}"/>
          </ac:spMkLst>
        </pc:spChg>
        <pc:spChg chg="mod">
          <ac:chgData name="Ugo MANTEL" userId="2d5b7065-31bb-4181-a7f8-a73bf0c30211" providerId="ADAL" clId="{F05BB0D5-3454-45DC-8378-DA45B79D9A06}" dt="2020-10-02T13:04:33.168" v="2082" actId="790"/>
          <ac:spMkLst>
            <pc:docMk/>
            <pc:sldMk cId="3163263851" sldId="6794"/>
            <ac:spMk id="116" creationId="{56A6D388-C6A0-473B-8400-2B988FD4FD96}"/>
          </ac:spMkLst>
        </pc:spChg>
        <pc:spChg chg="mod">
          <ac:chgData name="Ugo MANTEL" userId="2d5b7065-31bb-4181-a7f8-a73bf0c30211" providerId="ADAL" clId="{F05BB0D5-3454-45DC-8378-DA45B79D9A06}" dt="2020-10-02T13:04:33.162" v="2074" actId="790"/>
          <ac:spMkLst>
            <pc:docMk/>
            <pc:sldMk cId="3163263851" sldId="6794"/>
            <ac:spMk id="118" creationId="{07486C33-77B1-42F5-BB8D-3C41600BCC19}"/>
          </ac:spMkLst>
        </pc:spChg>
        <pc:spChg chg="mod">
          <ac:chgData name="Ugo MANTEL" userId="2d5b7065-31bb-4181-a7f8-a73bf0c30211" providerId="ADAL" clId="{F05BB0D5-3454-45DC-8378-DA45B79D9A06}" dt="2020-10-02T13:04:33.163" v="2075" actId="790"/>
          <ac:spMkLst>
            <pc:docMk/>
            <pc:sldMk cId="3163263851" sldId="6794"/>
            <ac:spMk id="119" creationId="{64400791-A413-425D-9919-762956742085}"/>
          </ac:spMkLst>
        </pc:spChg>
        <pc:spChg chg="mod">
          <ac:chgData name="Ugo MANTEL" userId="2d5b7065-31bb-4181-a7f8-a73bf0c30211" providerId="ADAL" clId="{F05BB0D5-3454-45DC-8378-DA45B79D9A06}" dt="2020-10-02T13:04:33.163" v="2076" actId="790"/>
          <ac:spMkLst>
            <pc:docMk/>
            <pc:sldMk cId="3163263851" sldId="6794"/>
            <ac:spMk id="121" creationId="{1305C2DB-F854-4BCF-B473-42E81B7586AA}"/>
          </ac:spMkLst>
        </pc:spChg>
        <pc:spChg chg="mod">
          <ac:chgData name="Ugo MANTEL" userId="2d5b7065-31bb-4181-a7f8-a73bf0c30211" providerId="ADAL" clId="{F05BB0D5-3454-45DC-8378-DA45B79D9A06}" dt="2020-10-02T13:04:33.169" v="2083" actId="790"/>
          <ac:spMkLst>
            <pc:docMk/>
            <pc:sldMk cId="3163263851" sldId="6794"/>
            <ac:spMk id="122" creationId="{82236AAD-63F2-416A-94B0-E8E2DEA7546E}"/>
          </ac:spMkLst>
        </pc:spChg>
        <pc:spChg chg="mod">
          <ac:chgData name="Ugo MANTEL" userId="2d5b7065-31bb-4181-a7f8-a73bf0c30211" providerId="ADAL" clId="{F05BB0D5-3454-45DC-8378-DA45B79D9A06}" dt="2020-10-02T13:04:33.164" v="2077" actId="790"/>
          <ac:spMkLst>
            <pc:docMk/>
            <pc:sldMk cId="3163263851" sldId="6794"/>
            <ac:spMk id="123" creationId="{8B034D47-E445-457B-B536-703DA28B5986}"/>
          </ac:spMkLst>
        </pc:spChg>
        <pc:spChg chg="mod">
          <ac:chgData name="Ugo MANTEL" userId="2d5b7065-31bb-4181-a7f8-a73bf0c30211" providerId="ADAL" clId="{F05BB0D5-3454-45DC-8378-DA45B79D9A06}" dt="2020-10-02T13:04:33.169" v="2084" actId="790"/>
          <ac:spMkLst>
            <pc:docMk/>
            <pc:sldMk cId="3163263851" sldId="6794"/>
            <ac:spMk id="124" creationId="{0444DC47-D03C-447A-9D06-1238B5050A08}"/>
          </ac:spMkLst>
        </pc:spChg>
        <pc:spChg chg="mod">
          <ac:chgData name="Ugo MANTEL" userId="2d5b7065-31bb-4181-a7f8-a73bf0c30211" providerId="ADAL" clId="{F05BB0D5-3454-45DC-8378-DA45B79D9A06}" dt="2020-10-02T13:04:33.165" v="2078" actId="790"/>
          <ac:spMkLst>
            <pc:docMk/>
            <pc:sldMk cId="3163263851" sldId="6794"/>
            <ac:spMk id="125" creationId="{F82E2E93-8D81-44BE-BEE8-19E0AA1F6A6D}"/>
          </ac:spMkLst>
        </pc:spChg>
        <pc:spChg chg="mod">
          <ac:chgData name="Ugo MANTEL" userId="2d5b7065-31bb-4181-a7f8-a73bf0c30211" providerId="ADAL" clId="{F05BB0D5-3454-45DC-8378-DA45B79D9A06}" dt="2020-10-02T13:04:33.165" v="2079" actId="790"/>
          <ac:spMkLst>
            <pc:docMk/>
            <pc:sldMk cId="3163263851" sldId="6794"/>
            <ac:spMk id="126" creationId="{6987FA02-A0AC-4DCB-BF43-D1F571073B9F}"/>
          </ac:spMkLst>
        </pc:spChg>
        <pc:spChg chg="mod">
          <ac:chgData name="Ugo MANTEL" userId="2d5b7065-31bb-4181-a7f8-a73bf0c30211" providerId="ADAL" clId="{F05BB0D5-3454-45DC-8378-DA45B79D9A06}" dt="2020-10-02T13:04:33.171" v="2085" actId="790"/>
          <ac:spMkLst>
            <pc:docMk/>
            <pc:sldMk cId="3163263851" sldId="6794"/>
            <ac:spMk id="127" creationId="{9A204EA8-BE28-4B75-8D9E-FC16C388D5C2}"/>
          </ac:spMkLst>
        </pc:spChg>
        <pc:spChg chg="mod">
          <ac:chgData name="Ugo MANTEL" userId="2d5b7065-31bb-4181-a7f8-a73bf0c30211" providerId="ADAL" clId="{F05BB0D5-3454-45DC-8378-DA45B79D9A06}" dt="2020-10-02T13:04:33.136" v="2040" actId="790"/>
          <ac:spMkLst>
            <pc:docMk/>
            <pc:sldMk cId="3163263851" sldId="6794"/>
            <ac:spMk id="129" creationId="{79A121AC-461C-463D-B0C3-A593098D1F45}"/>
          </ac:spMkLst>
        </pc:spChg>
        <pc:spChg chg="mod">
          <ac:chgData name="Ugo MANTEL" userId="2d5b7065-31bb-4181-a7f8-a73bf0c30211" providerId="ADAL" clId="{F05BB0D5-3454-45DC-8378-DA45B79D9A06}" dt="2020-10-02T13:04:33.136" v="2041" actId="790"/>
          <ac:spMkLst>
            <pc:docMk/>
            <pc:sldMk cId="3163263851" sldId="6794"/>
            <ac:spMk id="130" creationId="{3477C078-C791-49E5-88CF-E33A886BAE61}"/>
          </ac:spMkLst>
        </pc:spChg>
        <pc:spChg chg="mod">
          <ac:chgData name="Ugo MANTEL" userId="2d5b7065-31bb-4181-a7f8-a73bf0c30211" providerId="ADAL" clId="{F05BB0D5-3454-45DC-8378-DA45B79D9A06}" dt="2020-10-02T13:04:33.137" v="2042" actId="790"/>
          <ac:spMkLst>
            <pc:docMk/>
            <pc:sldMk cId="3163263851" sldId="6794"/>
            <ac:spMk id="131" creationId="{8A79215D-76E8-48EF-8775-9CEF6A591E74}"/>
          </ac:spMkLst>
        </pc:spChg>
        <pc:spChg chg="mod">
          <ac:chgData name="Ugo MANTEL" userId="2d5b7065-31bb-4181-a7f8-a73bf0c30211" providerId="ADAL" clId="{F05BB0D5-3454-45DC-8378-DA45B79D9A06}" dt="2020-10-02T13:04:33.137" v="2043" actId="790"/>
          <ac:spMkLst>
            <pc:docMk/>
            <pc:sldMk cId="3163263851" sldId="6794"/>
            <ac:spMk id="132" creationId="{57F187F0-D281-4816-972F-839D55C0124F}"/>
          </ac:spMkLst>
        </pc:spChg>
        <pc:spChg chg="mod">
          <ac:chgData name="Ugo MANTEL" userId="2d5b7065-31bb-4181-a7f8-a73bf0c30211" providerId="ADAL" clId="{F05BB0D5-3454-45DC-8378-DA45B79D9A06}" dt="2020-10-02T13:04:33.140" v="2044" actId="790"/>
          <ac:spMkLst>
            <pc:docMk/>
            <pc:sldMk cId="3163263851" sldId="6794"/>
            <ac:spMk id="133" creationId="{E122487B-7655-4EFA-9ECC-28C77CE3210B}"/>
          </ac:spMkLst>
        </pc:spChg>
        <pc:spChg chg="mod">
          <ac:chgData name="Ugo MANTEL" userId="2d5b7065-31bb-4181-a7f8-a73bf0c30211" providerId="ADAL" clId="{F05BB0D5-3454-45DC-8378-DA45B79D9A06}" dt="2020-10-02T13:04:33.188" v="2112" actId="790"/>
          <ac:spMkLst>
            <pc:docMk/>
            <pc:sldMk cId="3163263851" sldId="6794"/>
            <ac:spMk id="135" creationId="{44724728-6920-4C6F-87D5-5B7A864536A2}"/>
          </ac:spMkLst>
        </pc:spChg>
        <pc:spChg chg="mod">
          <ac:chgData name="Ugo MANTEL" userId="2d5b7065-31bb-4181-a7f8-a73bf0c30211" providerId="ADAL" clId="{F05BB0D5-3454-45DC-8378-DA45B79D9A06}" dt="2020-10-02T13:04:33.140" v="2045" actId="790"/>
          <ac:spMkLst>
            <pc:docMk/>
            <pc:sldMk cId="3163263851" sldId="6794"/>
            <ac:spMk id="136" creationId="{04FFC4CC-468D-48DC-AAC9-A15E620A0198}"/>
          </ac:spMkLst>
        </pc:spChg>
        <pc:spChg chg="mod">
          <ac:chgData name="Ugo MANTEL" userId="2d5b7065-31bb-4181-a7f8-a73bf0c30211" providerId="ADAL" clId="{F05BB0D5-3454-45DC-8378-DA45B79D9A06}" dt="2020-10-02T13:04:33.142" v="2046" actId="790"/>
          <ac:spMkLst>
            <pc:docMk/>
            <pc:sldMk cId="3163263851" sldId="6794"/>
            <ac:spMk id="137" creationId="{477054D5-6280-4D1E-99A9-1C29A94CFE48}"/>
          </ac:spMkLst>
        </pc:spChg>
        <pc:spChg chg="mod">
          <ac:chgData name="Ugo MANTEL" userId="2d5b7065-31bb-4181-a7f8-a73bf0c30211" providerId="ADAL" clId="{F05BB0D5-3454-45DC-8378-DA45B79D9A06}" dt="2020-10-02T13:04:33.142" v="2047" actId="790"/>
          <ac:spMkLst>
            <pc:docMk/>
            <pc:sldMk cId="3163263851" sldId="6794"/>
            <ac:spMk id="138" creationId="{8153BA83-0A70-4119-A50D-A1C1E3D93403}"/>
          </ac:spMkLst>
        </pc:spChg>
        <pc:spChg chg="mod">
          <ac:chgData name="Ugo MANTEL" userId="2d5b7065-31bb-4181-a7f8-a73bf0c30211" providerId="ADAL" clId="{F05BB0D5-3454-45DC-8378-DA45B79D9A06}" dt="2020-10-02T13:04:33.166" v="2080" actId="790"/>
          <ac:spMkLst>
            <pc:docMk/>
            <pc:sldMk cId="3163263851" sldId="6794"/>
            <ac:spMk id="139" creationId="{5B45E862-D3DC-4F49-9A69-C89E099B6EE8}"/>
          </ac:spMkLst>
        </pc:spChg>
        <pc:spChg chg="mod">
          <ac:chgData name="Ugo MANTEL" userId="2d5b7065-31bb-4181-a7f8-a73bf0c30211" providerId="ADAL" clId="{F05BB0D5-3454-45DC-8378-DA45B79D9A06}" dt="2020-10-02T13:04:33.171" v="2086" actId="790"/>
          <ac:spMkLst>
            <pc:docMk/>
            <pc:sldMk cId="3163263851" sldId="6794"/>
            <ac:spMk id="140" creationId="{E83FB70B-D279-4E44-BA9D-F3B8075A63C0}"/>
          </ac:spMkLst>
        </pc:spChg>
        <pc:spChg chg="mod">
          <ac:chgData name="Ugo MANTEL" userId="2d5b7065-31bb-4181-a7f8-a73bf0c30211" providerId="ADAL" clId="{F05BB0D5-3454-45DC-8378-DA45B79D9A06}" dt="2020-10-02T13:04:33.172" v="2087" actId="790"/>
          <ac:spMkLst>
            <pc:docMk/>
            <pc:sldMk cId="3163263851" sldId="6794"/>
            <ac:spMk id="141" creationId="{38DF7CAA-976A-4926-A3D8-9BC7760757F0}"/>
          </ac:spMkLst>
        </pc:spChg>
        <pc:spChg chg="mod">
          <ac:chgData name="Ugo MANTEL" userId="2d5b7065-31bb-4181-a7f8-a73bf0c30211" providerId="ADAL" clId="{F05BB0D5-3454-45DC-8378-DA45B79D9A06}" dt="2020-10-02T13:04:33.172" v="2088" actId="790"/>
          <ac:spMkLst>
            <pc:docMk/>
            <pc:sldMk cId="3163263851" sldId="6794"/>
            <ac:spMk id="142" creationId="{AD60C119-EF0A-4433-998C-A5F951943340}"/>
          </ac:spMkLst>
        </pc:spChg>
        <pc:spChg chg="mod">
          <ac:chgData name="Ugo MANTEL" userId="2d5b7065-31bb-4181-a7f8-a73bf0c30211" providerId="ADAL" clId="{F05BB0D5-3454-45DC-8378-DA45B79D9A06}" dt="2020-10-02T13:04:33.173" v="2089" actId="790"/>
          <ac:spMkLst>
            <pc:docMk/>
            <pc:sldMk cId="3163263851" sldId="6794"/>
            <ac:spMk id="143" creationId="{802F6DFD-6B48-4A82-9194-58CC770DBB80}"/>
          </ac:spMkLst>
        </pc:spChg>
        <pc:spChg chg="mod">
          <ac:chgData name="Ugo MANTEL" userId="2d5b7065-31bb-4181-a7f8-a73bf0c30211" providerId="ADAL" clId="{F05BB0D5-3454-45DC-8378-DA45B79D9A06}" dt="2020-10-02T13:04:33.181" v="2101" actId="790"/>
          <ac:spMkLst>
            <pc:docMk/>
            <pc:sldMk cId="3163263851" sldId="6794"/>
            <ac:spMk id="145" creationId="{CA75DBFD-C1AF-41E0-A35E-511B8980AD09}"/>
          </ac:spMkLst>
        </pc:spChg>
        <pc:spChg chg="mod">
          <ac:chgData name="Ugo MANTEL" userId="2d5b7065-31bb-4181-a7f8-a73bf0c30211" providerId="ADAL" clId="{F05BB0D5-3454-45DC-8378-DA45B79D9A06}" dt="2020-10-02T13:04:33.175" v="2091" actId="790"/>
          <ac:spMkLst>
            <pc:docMk/>
            <pc:sldMk cId="3163263851" sldId="6794"/>
            <ac:spMk id="146" creationId="{FBA4B9A1-C8FE-47A3-9A90-A2A4CFF40C6B}"/>
          </ac:spMkLst>
        </pc:spChg>
        <pc:spChg chg="mod">
          <ac:chgData name="Ugo MANTEL" userId="2d5b7065-31bb-4181-a7f8-a73bf0c30211" providerId="ADAL" clId="{F05BB0D5-3454-45DC-8378-DA45B79D9A06}" dt="2020-10-02T13:04:33.186" v="2108" actId="790"/>
          <ac:spMkLst>
            <pc:docMk/>
            <pc:sldMk cId="3163263851" sldId="6794"/>
            <ac:spMk id="147" creationId="{AFC7D888-515B-4436-8F76-22A1DF92BD02}"/>
          </ac:spMkLst>
        </pc:spChg>
        <pc:spChg chg="mod">
          <ac:chgData name="Ugo MANTEL" userId="2d5b7065-31bb-4181-a7f8-a73bf0c30211" providerId="ADAL" clId="{F05BB0D5-3454-45DC-8378-DA45B79D9A06}" dt="2020-10-02T13:04:33.193" v="2117" actId="790"/>
          <ac:spMkLst>
            <pc:docMk/>
            <pc:sldMk cId="3163263851" sldId="6794"/>
            <ac:spMk id="148" creationId="{2CF9A741-260B-4522-8747-ADFB4A26B2FB}"/>
          </ac:spMkLst>
        </pc:spChg>
        <pc:spChg chg="mod">
          <ac:chgData name="Ugo MANTEL" userId="2d5b7065-31bb-4181-a7f8-a73bf0c30211" providerId="ADAL" clId="{F05BB0D5-3454-45DC-8378-DA45B79D9A06}" dt="2020-10-02T13:04:33.186" v="2109" actId="790"/>
          <ac:spMkLst>
            <pc:docMk/>
            <pc:sldMk cId="3163263851" sldId="6794"/>
            <ac:spMk id="149" creationId="{8BAFB600-BCD0-4864-A805-5F736E476B3F}"/>
          </ac:spMkLst>
        </pc:spChg>
        <pc:spChg chg="mod">
          <ac:chgData name="Ugo MANTEL" userId="2d5b7065-31bb-4181-a7f8-a73bf0c30211" providerId="ADAL" clId="{F05BB0D5-3454-45DC-8378-DA45B79D9A06}" dt="2020-10-02T13:04:33.175" v="2092" actId="790"/>
          <ac:spMkLst>
            <pc:docMk/>
            <pc:sldMk cId="3163263851" sldId="6794"/>
            <ac:spMk id="150" creationId="{60CEE16E-7296-4E23-BE62-44A09185CC9C}"/>
          </ac:spMkLst>
        </pc:spChg>
        <pc:spChg chg="mod">
          <ac:chgData name="Ugo MANTEL" userId="2d5b7065-31bb-4181-a7f8-a73bf0c30211" providerId="ADAL" clId="{F05BB0D5-3454-45DC-8378-DA45B79D9A06}" dt="2020-10-02T13:04:33.176" v="2093" actId="790"/>
          <ac:spMkLst>
            <pc:docMk/>
            <pc:sldMk cId="3163263851" sldId="6794"/>
            <ac:spMk id="151" creationId="{7C773B56-07BE-4E19-88F7-E84DEC750587}"/>
          </ac:spMkLst>
        </pc:spChg>
        <pc:spChg chg="mod">
          <ac:chgData name="Ugo MANTEL" userId="2d5b7065-31bb-4181-a7f8-a73bf0c30211" providerId="ADAL" clId="{F05BB0D5-3454-45DC-8378-DA45B79D9A06}" dt="2020-10-02T13:04:33.176" v="2094" actId="790"/>
          <ac:spMkLst>
            <pc:docMk/>
            <pc:sldMk cId="3163263851" sldId="6794"/>
            <ac:spMk id="152" creationId="{3A163951-9040-4B98-B91C-5AF389F338FE}"/>
          </ac:spMkLst>
        </pc:spChg>
        <pc:spChg chg="mod">
          <ac:chgData name="Ugo MANTEL" userId="2d5b7065-31bb-4181-a7f8-a73bf0c30211" providerId="ADAL" clId="{F05BB0D5-3454-45DC-8378-DA45B79D9A06}" dt="2020-10-02T13:04:33.177" v="2095" actId="790"/>
          <ac:spMkLst>
            <pc:docMk/>
            <pc:sldMk cId="3163263851" sldId="6794"/>
            <ac:spMk id="153" creationId="{8A94ACD3-00F7-4E6E-AE52-62393C248729}"/>
          </ac:spMkLst>
        </pc:spChg>
        <pc:spChg chg="mod">
          <ac:chgData name="Ugo MANTEL" userId="2d5b7065-31bb-4181-a7f8-a73bf0c30211" providerId="ADAL" clId="{F05BB0D5-3454-45DC-8378-DA45B79D9A06}" dt="2020-10-02T13:04:33.178" v="2096" actId="790"/>
          <ac:spMkLst>
            <pc:docMk/>
            <pc:sldMk cId="3163263851" sldId="6794"/>
            <ac:spMk id="154" creationId="{276D0208-D5B8-407E-80F8-C6D438AD344A}"/>
          </ac:spMkLst>
        </pc:spChg>
        <pc:spChg chg="mod">
          <ac:chgData name="Ugo MANTEL" userId="2d5b7065-31bb-4181-a7f8-a73bf0c30211" providerId="ADAL" clId="{F05BB0D5-3454-45DC-8378-DA45B79D9A06}" dt="2020-10-02T13:04:33.187" v="2110" actId="790"/>
          <ac:spMkLst>
            <pc:docMk/>
            <pc:sldMk cId="3163263851" sldId="6794"/>
            <ac:spMk id="155" creationId="{E8194588-177C-445D-89FE-B6D1244F2437}"/>
          </ac:spMkLst>
        </pc:spChg>
        <pc:spChg chg="mod">
          <ac:chgData name="Ugo MANTEL" userId="2d5b7065-31bb-4181-a7f8-a73bf0c30211" providerId="ADAL" clId="{F05BB0D5-3454-45DC-8378-DA45B79D9A06}" dt="2020-10-02T13:04:33.178" v="2097" actId="790"/>
          <ac:spMkLst>
            <pc:docMk/>
            <pc:sldMk cId="3163263851" sldId="6794"/>
            <ac:spMk id="156" creationId="{B01A0505-B416-45DA-B71B-89F904E9E778}"/>
          </ac:spMkLst>
        </pc:spChg>
        <pc:spChg chg="mod">
          <ac:chgData name="Ugo MANTEL" userId="2d5b7065-31bb-4181-a7f8-a73bf0c30211" providerId="ADAL" clId="{F05BB0D5-3454-45DC-8378-DA45B79D9A06}" dt="2020-10-02T13:04:33.179" v="2098" actId="790"/>
          <ac:spMkLst>
            <pc:docMk/>
            <pc:sldMk cId="3163263851" sldId="6794"/>
            <ac:spMk id="157" creationId="{67CB16E7-E239-4F82-8C30-C112B3E562E5}"/>
          </ac:spMkLst>
        </pc:spChg>
        <pc:spChg chg="mod">
          <ac:chgData name="Ugo MANTEL" userId="2d5b7065-31bb-4181-a7f8-a73bf0c30211" providerId="ADAL" clId="{F05BB0D5-3454-45DC-8378-DA45B79D9A06}" dt="2020-10-02T13:04:33.180" v="2099" actId="790"/>
          <ac:spMkLst>
            <pc:docMk/>
            <pc:sldMk cId="3163263851" sldId="6794"/>
            <ac:spMk id="158" creationId="{5E7EBB2C-FD51-42BC-ABDC-6E8DA522477A}"/>
          </ac:spMkLst>
        </pc:spChg>
        <pc:spChg chg="mod">
          <ac:chgData name="Ugo MANTEL" userId="2d5b7065-31bb-4181-a7f8-a73bf0c30211" providerId="ADAL" clId="{F05BB0D5-3454-45DC-8378-DA45B79D9A06}" dt="2020-10-02T13:04:33.180" v="2100" actId="790"/>
          <ac:spMkLst>
            <pc:docMk/>
            <pc:sldMk cId="3163263851" sldId="6794"/>
            <ac:spMk id="159" creationId="{26098FD0-E919-44EC-AB19-FC93B3A9F9F7}"/>
          </ac:spMkLst>
        </pc:spChg>
        <pc:spChg chg="mod">
          <ac:chgData name="Ugo MANTEL" userId="2d5b7065-31bb-4181-a7f8-a73bf0c30211" providerId="ADAL" clId="{F05BB0D5-3454-45DC-8378-DA45B79D9A06}" dt="2020-10-02T13:04:33.188" v="2111" actId="790"/>
          <ac:spMkLst>
            <pc:docMk/>
            <pc:sldMk cId="3163263851" sldId="6794"/>
            <ac:spMk id="160" creationId="{D695FC0E-6469-438C-BE45-FC8908DCD732}"/>
          </ac:spMkLst>
        </pc:spChg>
        <pc:spChg chg="mod">
          <ac:chgData name="Ugo MANTEL" userId="2d5b7065-31bb-4181-a7f8-a73bf0c30211" providerId="ADAL" clId="{F05BB0D5-3454-45DC-8378-DA45B79D9A06}" dt="2020-10-02T13:04:33.185" v="2107" actId="790"/>
          <ac:spMkLst>
            <pc:docMk/>
            <pc:sldMk cId="3163263851" sldId="6794"/>
            <ac:spMk id="165" creationId="{74A1558D-F695-4DEE-9C4D-51B156F3CA23}"/>
          </ac:spMkLst>
        </pc:spChg>
        <pc:spChg chg="mod">
          <ac:chgData name="Ugo MANTEL" userId="2d5b7065-31bb-4181-a7f8-a73bf0c30211" providerId="ADAL" clId="{F05BB0D5-3454-45DC-8378-DA45B79D9A06}" dt="2020-10-02T13:04:33.190" v="2113" actId="790"/>
          <ac:spMkLst>
            <pc:docMk/>
            <pc:sldMk cId="3163263851" sldId="6794"/>
            <ac:spMk id="171" creationId="{B6869902-9C2A-4A52-AFFA-AA0B9EFD0169}"/>
          </ac:spMkLst>
        </pc:spChg>
        <pc:spChg chg="mod">
          <ac:chgData name="Ugo MANTEL" userId="2d5b7065-31bb-4181-a7f8-a73bf0c30211" providerId="ADAL" clId="{F05BB0D5-3454-45DC-8378-DA45B79D9A06}" dt="2020-10-02T13:04:33.191" v="2114" actId="790"/>
          <ac:spMkLst>
            <pc:docMk/>
            <pc:sldMk cId="3163263851" sldId="6794"/>
            <ac:spMk id="175" creationId="{94215B28-B591-4F3F-BE33-0A61EEC7CAA1}"/>
          </ac:spMkLst>
        </pc:spChg>
        <pc:spChg chg="mod">
          <ac:chgData name="Ugo MANTEL" userId="2d5b7065-31bb-4181-a7f8-a73bf0c30211" providerId="ADAL" clId="{F05BB0D5-3454-45DC-8378-DA45B79D9A06}" dt="2020-10-02T13:04:33.191" v="2115" actId="790"/>
          <ac:spMkLst>
            <pc:docMk/>
            <pc:sldMk cId="3163263851" sldId="6794"/>
            <ac:spMk id="176" creationId="{9F0A0E7D-7BC6-46C6-9327-B98B4B007A9F}"/>
          </ac:spMkLst>
        </pc:spChg>
        <pc:spChg chg="mod">
          <ac:chgData name="Ugo MANTEL" userId="2d5b7065-31bb-4181-a7f8-a73bf0c30211" providerId="ADAL" clId="{F05BB0D5-3454-45DC-8378-DA45B79D9A06}" dt="2020-10-02T13:04:33.192" v="2116" actId="790"/>
          <ac:spMkLst>
            <pc:docMk/>
            <pc:sldMk cId="3163263851" sldId="6794"/>
            <ac:spMk id="178" creationId="{8D47EC39-72E1-4009-B708-DC439E24A2F1}"/>
          </ac:spMkLst>
        </pc:spChg>
        <pc:spChg chg="mod">
          <ac:chgData name="Ugo MANTEL" userId="2d5b7065-31bb-4181-a7f8-a73bf0c30211" providerId="ADAL" clId="{F05BB0D5-3454-45DC-8378-DA45B79D9A06}" dt="2020-10-02T13:04:33.144" v="2048" actId="790"/>
          <ac:spMkLst>
            <pc:docMk/>
            <pc:sldMk cId="3163263851" sldId="6794"/>
            <ac:spMk id="215" creationId="{2D3C648A-3E61-4DF7-A2F2-90E1C27C1457}"/>
          </ac:spMkLst>
        </pc:spChg>
        <pc:spChg chg="mod">
          <ac:chgData name="Ugo MANTEL" userId="2d5b7065-31bb-4181-a7f8-a73bf0c30211" providerId="ADAL" clId="{F05BB0D5-3454-45DC-8378-DA45B79D9A06}" dt="2020-10-02T13:04:33.146" v="2050" actId="790"/>
          <ac:spMkLst>
            <pc:docMk/>
            <pc:sldMk cId="3163263851" sldId="6794"/>
            <ac:spMk id="229" creationId="{CEA44C4E-0506-4DDA-972C-8BFA5E5E05D2}"/>
          </ac:spMkLst>
        </pc:spChg>
        <pc:spChg chg="mod">
          <ac:chgData name="Ugo MANTEL" userId="2d5b7065-31bb-4181-a7f8-a73bf0c30211" providerId="ADAL" clId="{F05BB0D5-3454-45DC-8378-DA45B79D9A06}" dt="2020-10-02T13:04:33.146" v="2051" actId="790"/>
          <ac:spMkLst>
            <pc:docMk/>
            <pc:sldMk cId="3163263851" sldId="6794"/>
            <ac:spMk id="230" creationId="{8C5B8CBE-2A41-422F-B339-B61DDB138281}"/>
          </ac:spMkLst>
        </pc:spChg>
        <pc:spChg chg="mod">
          <ac:chgData name="Ugo MANTEL" userId="2d5b7065-31bb-4181-a7f8-a73bf0c30211" providerId="ADAL" clId="{F05BB0D5-3454-45DC-8378-DA45B79D9A06}" dt="2020-10-02T13:04:33.147" v="2052" actId="790"/>
          <ac:spMkLst>
            <pc:docMk/>
            <pc:sldMk cId="3163263851" sldId="6794"/>
            <ac:spMk id="235" creationId="{490AF7AF-F200-45B0-B053-E14D7136DFBD}"/>
          </ac:spMkLst>
        </pc:spChg>
        <pc:spChg chg="mod">
          <ac:chgData name="Ugo MANTEL" userId="2d5b7065-31bb-4181-a7f8-a73bf0c30211" providerId="ADAL" clId="{F05BB0D5-3454-45DC-8378-DA45B79D9A06}" dt="2020-10-02T13:04:33.148" v="2053" actId="790"/>
          <ac:spMkLst>
            <pc:docMk/>
            <pc:sldMk cId="3163263851" sldId="6794"/>
            <ac:spMk id="236" creationId="{7036E7F9-9BD0-4D80-83B1-4579C9039F18}"/>
          </ac:spMkLst>
        </pc:spChg>
        <pc:spChg chg="mod">
          <ac:chgData name="Ugo MANTEL" userId="2d5b7065-31bb-4181-a7f8-a73bf0c30211" providerId="ADAL" clId="{F05BB0D5-3454-45DC-8378-DA45B79D9A06}" dt="2020-10-02T13:04:33.149" v="2054" actId="790"/>
          <ac:spMkLst>
            <pc:docMk/>
            <pc:sldMk cId="3163263851" sldId="6794"/>
            <ac:spMk id="237" creationId="{AFE619C4-7B43-4A08-B857-9C70C4460D13}"/>
          </ac:spMkLst>
        </pc:spChg>
        <pc:spChg chg="mod">
          <ac:chgData name="Ugo MANTEL" userId="2d5b7065-31bb-4181-a7f8-a73bf0c30211" providerId="ADAL" clId="{F05BB0D5-3454-45DC-8378-DA45B79D9A06}" dt="2020-10-02T13:04:33.150" v="2055" actId="790"/>
          <ac:spMkLst>
            <pc:docMk/>
            <pc:sldMk cId="3163263851" sldId="6794"/>
            <ac:spMk id="238" creationId="{85FE30EF-59A1-4251-B546-EBD92D317DA8}"/>
          </ac:spMkLst>
        </pc:spChg>
        <pc:spChg chg="mod">
          <ac:chgData name="Ugo MANTEL" userId="2d5b7065-31bb-4181-a7f8-a73bf0c30211" providerId="ADAL" clId="{F05BB0D5-3454-45DC-8378-DA45B79D9A06}" dt="2020-10-02T13:04:33.151" v="2056" actId="790"/>
          <ac:spMkLst>
            <pc:docMk/>
            <pc:sldMk cId="3163263851" sldId="6794"/>
            <ac:spMk id="239" creationId="{A61DC63A-96C5-4786-AC08-36DB7E678FF3}"/>
          </ac:spMkLst>
        </pc:spChg>
        <pc:spChg chg="mod">
          <ac:chgData name="Ugo MANTEL" userId="2d5b7065-31bb-4181-a7f8-a73bf0c30211" providerId="ADAL" clId="{F05BB0D5-3454-45DC-8378-DA45B79D9A06}" dt="2020-10-02T13:04:33.152" v="2057" actId="790"/>
          <ac:spMkLst>
            <pc:docMk/>
            <pc:sldMk cId="3163263851" sldId="6794"/>
            <ac:spMk id="240" creationId="{906BF611-16A5-4A32-87A7-01BA1D4E10B3}"/>
          </ac:spMkLst>
        </pc:spChg>
        <pc:spChg chg="mod">
          <ac:chgData name="Ugo MANTEL" userId="2d5b7065-31bb-4181-a7f8-a73bf0c30211" providerId="ADAL" clId="{F05BB0D5-3454-45DC-8378-DA45B79D9A06}" dt="2020-10-02T13:04:33.152" v="2058" actId="790"/>
          <ac:spMkLst>
            <pc:docMk/>
            <pc:sldMk cId="3163263851" sldId="6794"/>
            <ac:spMk id="252" creationId="{6006DA02-EACE-4162-8242-A87AAEEBB64F}"/>
          </ac:spMkLst>
        </pc:spChg>
        <pc:spChg chg="mod">
          <ac:chgData name="Ugo MANTEL" userId="2d5b7065-31bb-4181-a7f8-a73bf0c30211" providerId="ADAL" clId="{F05BB0D5-3454-45DC-8378-DA45B79D9A06}" dt="2020-10-02T13:04:33.153" v="2059" actId="790"/>
          <ac:spMkLst>
            <pc:docMk/>
            <pc:sldMk cId="3163263851" sldId="6794"/>
            <ac:spMk id="253" creationId="{62A843D8-5C60-4B41-8D5A-2748DF4740D0}"/>
          </ac:spMkLst>
        </pc:spChg>
        <pc:spChg chg="mod">
          <ac:chgData name="Ugo MANTEL" userId="2d5b7065-31bb-4181-a7f8-a73bf0c30211" providerId="ADAL" clId="{F05BB0D5-3454-45DC-8378-DA45B79D9A06}" dt="2020-10-02T13:04:33.153" v="2060" actId="790"/>
          <ac:spMkLst>
            <pc:docMk/>
            <pc:sldMk cId="3163263851" sldId="6794"/>
            <ac:spMk id="254" creationId="{746E1A56-1030-450A-998A-6CAC531C1FE1}"/>
          </ac:spMkLst>
        </pc:spChg>
        <pc:spChg chg="mod">
          <ac:chgData name="Ugo MANTEL" userId="2d5b7065-31bb-4181-a7f8-a73bf0c30211" providerId="ADAL" clId="{F05BB0D5-3454-45DC-8378-DA45B79D9A06}" dt="2020-10-02T13:04:33.154" v="2061" actId="790"/>
          <ac:spMkLst>
            <pc:docMk/>
            <pc:sldMk cId="3163263851" sldId="6794"/>
            <ac:spMk id="255" creationId="{B7B7FCC7-8F54-4AE8-A5C0-21402CC5E05C}"/>
          </ac:spMkLst>
        </pc:spChg>
        <pc:spChg chg="mod">
          <ac:chgData name="Ugo MANTEL" userId="2d5b7065-31bb-4181-a7f8-a73bf0c30211" providerId="ADAL" clId="{F05BB0D5-3454-45DC-8378-DA45B79D9A06}" dt="2020-10-02T13:04:33.154" v="2062" actId="790"/>
          <ac:spMkLst>
            <pc:docMk/>
            <pc:sldMk cId="3163263851" sldId="6794"/>
            <ac:spMk id="256" creationId="{F1B9D9DC-5E12-47B2-B975-A0A6435C06F9}"/>
          </ac:spMkLst>
        </pc:spChg>
        <pc:spChg chg="mod">
          <ac:chgData name="Ugo MANTEL" userId="2d5b7065-31bb-4181-a7f8-a73bf0c30211" providerId="ADAL" clId="{F05BB0D5-3454-45DC-8378-DA45B79D9A06}" dt="2020-10-02T13:04:33.155" v="2063" actId="790"/>
          <ac:spMkLst>
            <pc:docMk/>
            <pc:sldMk cId="3163263851" sldId="6794"/>
            <ac:spMk id="257" creationId="{5F34A9EA-1318-49BC-8C02-57EF1A1A7318}"/>
          </ac:spMkLst>
        </pc:spChg>
      </pc:sldChg>
      <pc:sldChg chg="modSp mod">
        <pc:chgData name="Ugo MANTEL" userId="2d5b7065-31bb-4181-a7f8-a73bf0c30211" providerId="ADAL" clId="{F05BB0D5-3454-45DC-8378-DA45B79D9A06}" dt="2020-10-02T13:04:35.696" v="4520" actId="790"/>
        <pc:sldMkLst>
          <pc:docMk/>
          <pc:sldMk cId="914221013" sldId="6796"/>
        </pc:sldMkLst>
        <pc:spChg chg="mod">
          <ac:chgData name="Ugo MANTEL" userId="2d5b7065-31bb-4181-a7f8-a73bf0c30211" providerId="ADAL" clId="{F05BB0D5-3454-45DC-8378-DA45B79D9A06}" dt="2020-10-02T13:04:35.671" v="4492" actId="790"/>
          <ac:spMkLst>
            <pc:docMk/>
            <pc:sldMk cId="914221013" sldId="6796"/>
            <ac:spMk id="3" creationId="{43473453-BFC5-46F1-B35F-FFD72814F389}"/>
          </ac:spMkLst>
        </pc:spChg>
        <pc:spChg chg="mod">
          <ac:chgData name="Ugo MANTEL" userId="2d5b7065-31bb-4181-a7f8-a73bf0c30211" providerId="ADAL" clId="{F05BB0D5-3454-45DC-8378-DA45B79D9A06}" dt="2020-10-02T13:04:35.674" v="4496" actId="790"/>
          <ac:spMkLst>
            <pc:docMk/>
            <pc:sldMk cId="914221013" sldId="6796"/>
            <ac:spMk id="5" creationId="{E61E1964-8E0A-4C2F-8CFE-027A6DD3E5EC}"/>
          </ac:spMkLst>
        </pc:spChg>
        <pc:spChg chg="mod">
          <ac:chgData name="Ugo MANTEL" userId="2d5b7065-31bb-4181-a7f8-a73bf0c30211" providerId="ADAL" clId="{F05BB0D5-3454-45DC-8378-DA45B79D9A06}" dt="2020-10-02T13:04:35.675" v="4498" actId="790"/>
          <ac:spMkLst>
            <pc:docMk/>
            <pc:sldMk cId="914221013" sldId="6796"/>
            <ac:spMk id="6" creationId="{BFFFB9AA-9177-46B5-8E31-3B471A9A8FEA}"/>
          </ac:spMkLst>
        </pc:spChg>
        <pc:spChg chg="mod">
          <ac:chgData name="Ugo MANTEL" userId="2d5b7065-31bb-4181-a7f8-a73bf0c30211" providerId="ADAL" clId="{F05BB0D5-3454-45DC-8378-DA45B79D9A06}" dt="2020-10-02T13:04:35.672" v="4493" actId="790"/>
          <ac:spMkLst>
            <pc:docMk/>
            <pc:sldMk cId="914221013" sldId="6796"/>
            <ac:spMk id="10" creationId="{39A5BB14-A08B-4421-9CEB-EEF0A33094A6}"/>
          </ac:spMkLst>
        </pc:spChg>
        <pc:spChg chg="mod">
          <ac:chgData name="Ugo MANTEL" userId="2d5b7065-31bb-4181-a7f8-a73bf0c30211" providerId="ADAL" clId="{F05BB0D5-3454-45DC-8378-DA45B79D9A06}" dt="2020-10-02T13:04:35.668" v="4490" actId="790"/>
          <ac:spMkLst>
            <pc:docMk/>
            <pc:sldMk cId="914221013" sldId="6796"/>
            <ac:spMk id="11" creationId="{90015CC8-CE99-4FDE-A790-86EAF4C4CB59}"/>
          </ac:spMkLst>
        </pc:spChg>
        <pc:spChg chg="mod">
          <ac:chgData name="Ugo MANTEL" userId="2d5b7065-31bb-4181-a7f8-a73bf0c30211" providerId="ADAL" clId="{F05BB0D5-3454-45DC-8378-DA45B79D9A06}" dt="2020-10-02T13:04:35.667" v="4489" actId="790"/>
          <ac:spMkLst>
            <pc:docMk/>
            <pc:sldMk cId="914221013" sldId="6796"/>
            <ac:spMk id="13" creationId="{2D4CC542-7931-47B7-A8FA-05158BB84B92}"/>
          </ac:spMkLst>
        </pc:spChg>
        <pc:spChg chg="mod">
          <ac:chgData name="Ugo MANTEL" userId="2d5b7065-31bb-4181-a7f8-a73bf0c30211" providerId="ADAL" clId="{F05BB0D5-3454-45DC-8378-DA45B79D9A06}" dt="2020-10-02T13:04:35.687" v="4511" actId="790"/>
          <ac:spMkLst>
            <pc:docMk/>
            <pc:sldMk cId="914221013" sldId="6796"/>
            <ac:spMk id="14" creationId="{47F8B9AE-21B2-4FA8-A3DE-16AF7F72F8F9}"/>
          </ac:spMkLst>
        </pc:spChg>
        <pc:spChg chg="mod">
          <ac:chgData name="Ugo MANTEL" userId="2d5b7065-31bb-4181-a7f8-a73bf0c30211" providerId="ADAL" clId="{F05BB0D5-3454-45DC-8378-DA45B79D9A06}" dt="2020-10-02T13:04:35.669" v="4491" actId="790"/>
          <ac:spMkLst>
            <pc:docMk/>
            <pc:sldMk cId="914221013" sldId="6796"/>
            <ac:spMk id="22" creationId="{5E3D3F8C-458F-419A-A4E3-A37B87321A31}"/>
          </ac:spMkLst>
        </pc:spChg>
        <pc:spChg chg="mod">
          <ac:chgData name="Ugo MANTEL" userId="2d5b7065-31bb-4181-a7f8-a73bf0c30211" providerId="ADAL" clId="{F05BB0D5-3454-45DC-8378-DA45B79D9A06}" dt="2020-10-02T13:04:35.692" v="4517" actId="790"/>
          <ac:spMkLst>
            <pc:docMk/>
            <pc:sldMk cId="914221013" sldId="6796"/>
            <ac:spMk id="25" creationId="{9ACEC744-08B5-49AF-AC32-22685CC93FBA}"/>
          </ac:spMkLst>
        </pc:spChg>
        <pc:spChg chg="mod">
          <ac:chgData name="Ugo MANTEL" userId="2d5b7065-31bb-4181-a7f8-a73bf0c30211" providerId="ADAL" clId="{F05BB0D5-3454-45DC-8378-DA45B79D9A06}" dt="2020-10-02T13:04:35.673" v="4494" actId="790"/>
          <ac:spMkLst>
            <pc:docMk/>
            <pc:sldMk cId="914221013" sldId="6796"/>
            <ac:spMk id="26" creationId="{A083C2CB-6B66-43AE-8CD4-F15C82A32BAE}"/>
          </ac:spMkLst>
        </pc:spChg>
        <pc:spChg chg="mod">
          <ac:chgData name="Ugo MANTEL" userId="2d5b7065-31bb-4181-a7f8-a73bf0c30211" providerId="ADAL" clId="{F05BB0D5-3454-45DC-8378-DA45B79D9A06}" dt="2020-10-02T13:04:35.677" v="4500" actId="790"/>
          <ac:spMkLst>
            <pc:docMk/>
            <pc:sldMk cId="914221013" sldId="6796"/>
            <ac:spMk id="28" creationId="{73DC6A84-33D6-401C-AE86-49BE97A54EE0}"/>
          </ac:spMkLst>
        </pc:spChg>
        <pc:spChg chg="mod">
          <ac:chgData name="Ugo MANTEL" userId="2d5b7065-31bb-4181-a7f8-a73bf0c30211" providerId="ADAL" clId="{F05BB0D5-3454-45DC-8378-DA45B79D9A06}" dt="2020-10-02T13:04:35.696" v="4520" actId="790"/>
          <ac:spMkLst>
            <pc:docMk/>
            <pc:sldMk cId="914221013" sldId="6796"/>
            <ac:spMk id="31" creationId="{4160ED34-1CDC-466F-86D3-1CF9B160B5E4}"/>
          </ac:spMkLst>
        </pc:spChg>
        <pc:spChg chg="mod">
          <ac:chgData name="Ugo MANTEL" userId="2d5b7065-31bb-4181-a7f8-a73bf0c30211" providerId="ADAL" clId="{F05BB0D5-3454-45DC-8378-DA45B79D9A06}" dt="2020-10-02T13:04:35.676" v="4499" actId="790"/>
          <ac:spMkLst>
            <pc:docMk/>
            <pc:sldMk cId="914221013" sldId="6796"/>
            <ac:spMk id="33" creationId="{EA36A826-37D6-4A88-9C8D-2E4FA5045E29}"/>
          </ac:spMkLst>
        </pc:spChg>
        <pc:spChg chg="mod">
          <ac:chgData name="Ugo MANTEL" userId="2d5b7065-31bb-4181-a7f8-a73bf0c30211" providerId="ADAL" clId="{F05BB0D5-3454-45DC-8378-DA45B79D9A06}" dt="2020-10-02T13:04:35.674" v="4495" actId="790"/>
          <ac:spMkLst>
            <pc:docMk/>
            <pc:sldMk cId="914221013" sldId="6796"/>
            <ac:spMk id="34" creationId="{42749CE1-F976-4E34-BD45-E4C7BAA779DF}"/>
          </ac:spMkLst>
        </pc:spChg>
        <pc:spChg chg="mod">
          <ac:chgData name="Ugo MANTEL" userId="2d5b7065-31bb-4181-a7f8-a73bf0c30211" providerId="ADAL" clId="{F05BB0D5-3454-45DC-8378-DA45B79D9A06}" dt="2020-10-02T13:04:35.675" v="4497" actId="790"/>
          <ac:spMkLst>
            <pc:docMk/>
            <pc:sldMk cId="914221013" sldId="6796"/>
            <ac:spMk id="40" creationId="{AD76D71F-7BFB-487D-9010-B9B9268D511B}"/>
          </ac:spMkLst>
        </pc:spChg>
        <pc:spChg chg="mod">
          <ac:chgData name="Ugo MANTEL" userId="2d5b7065-31bb-4181-a7f8-a73bf0c30211" providerId="ADAL" clId="{F05BB0D5-3454-45DC-8378-DA45B79D9A06}" dt="2020-10-02T13:04:35.677" v="4501" actId="790"/>
          <ac:spMkLst>
            <pc:docMk/>
            <pc:sldMk cId="914221013" sldId="6796"/>
            <ac:spMk id="46" creationId="{7AA171B6-D675-4A57-8F2E-A610989ACE3E}"/>
          </ac:spMkLst>
        </pc:spChg>
        <pc:spChg chg="mod">
          <ac:chgData name="Ugo MANTEL" userId="2d5b7065-31bb-4181-a7f8-a73bf0c30211" providerId="ADAL" clId="{F05BB0D5-3454-45DC-8378-DA45B79D9A06}" dt="2020-10-02T13:04:35.679" v="4504" actId="790"/>
          <ac:spMkLst>
            <pc:docMk/>
            <pc:sldMk cId="914221013" sldId="6796"/>
            <ac:spMk id="48" creationId="{DA39BB39-71E7-4B02-8DA6-400CE4DC2842}"/>
          </ac:spMkLst>
        </pc:spChg>
        <pc:spChg chg="mod">
          <ac:chgData name="Ugo MANTEL" userId="2d5b7065-31bb-4181-a7f8-a73bf0c30211" providerId="ADAL" clId="{F05BB0D5-3454-45DC-8378-DA45B79D9A06}" dt="2020-10-02T13:04:35.678" v="4502" actId="790"/>
          <ac:spMkLst>
            <pc:docMk/>
            <pc:sldMk cId="914221013" sldId="6796"/>
            <ac:spMk id="50" creationId="{0FB08CBD-9AC5-4851-A5BD-5BCC4F8EF6F4}"/>
          </ac:spMkLst>
        </pc:spChg>
        <pc:spChg chg="mod">
          <ac:chgData name="Ugo MANTEL" userId="2d5b7065-31bb-4181-a7f8-a73bf0c30211" providerId="ADAL" clId="{F05BB0D5-3454-45DC-8378-DA45B79D9A06}" dt="2020-10-02T13:04:35.679" v="4503" actId="790"/>
          <ac:spMkLst>
            <pc:docMk/>
            <pc:sldMk cId="914221013" sldId="6796"/>
            <ac:spMk id="51" creationId="{8B73B36D-0053-41C7-8D55-C6A881E58ECC}"/>
          </ac:spMkLst>
        </pc:spChg>
        <pc:spChg chg="mod">
          <ac:chgData name="Ugo MANTEL" userId="2d5b7065-31bb-4181-a7f8-a73bf0c30211" providerId="ADAL" clId="{F05BB0D5-3454-45DC-8378-DA45B79D9A06}" dt="2020-10-02T13:04:35.680" v="4505" actId="790"/>
          <ac:spMkLst>
            <pc:docMk/>
            <pc:sldMk cId="914221013" sldId="6796"/>
            <ac:spMk id="53" creationId="{527B38DD-6F64-4934-ABE7-C2FA8096D557}"/>
          </ac:spMkLst>
        </pc:spChg>
        <pc:spChg chg="mod">
          <ac:chgData name="Ugo MANTEL" userId="2d5b7065-31bb-4181-a7f8-a73bf0c30211" providerId="ADAL" clId="{F05BB0D5-3454-45DC-8378-DA45B79D9A06}" dt="2020-10-02T13:04:35.680" v="4506" actId="790"/>
          <ac:spMkLst>
            <pc:docMk/>
            <pc:sldMk cId="914221013" sldId="6796"/>
            <ac:spMk id="54" creationId="{5DC5F897-DE98-4082-8A11-CBDF6EB9C83E}"/>
          </ac:spMkLst>
        </pc:spChg>
        <pc:spChg chg="mod">
          <ac:chgData name="Ugo MANTEL" userId="2d5b7065-31bb-4181-a7f8-a73bf0c30211" providerId="ADAL" clId="{F05BB0D5-3454-45DC-8378-DA45B79D9A06}" dt="2020-10-02T13:04:35.681" v="4507" actId="790"/>
          <ac:spMkLst>
            <pc:docMk/>
            <pc:sldMk cId="914221013" sldId="6796"/>
            <ac:spMk id="55" creationId="{E043D22F-F003-4FDF-A8BC-A7E7F368CB45}"/>
          </ac:spMkLst>
        </pc:spChg>
        <pc:spChg chg="mod">
          <ac:chgData name="Ugo MANTEL" userId="2d5b7065-31bb-4181-a7f8-a73bf0c30211" providerId="ADAL" clId="{F05BB0D5-3454-45DC-8378-DA45B79D9A06}" dt="2020-10-02T13:04:35.682" v="4508" actId="790"/>
          <ac:spMkLst>
            <pc:docMk/>
            <pc:sldMk cId="914221013" sldId="6796"/>
            <ac:spMk id="56" creationId="{DCA8E462-289F-4A4E-BC94-1A5D5E9EE50A}"/>
          </ac:spMkLst>
        </pc:spChg>
        <pc:spChg chg="mod">
          <ac:chgData name="Ugo MANTEL" userId="2d5b7065-31bb-4181-a7f8-a73bf0c30211" providerId="ADAL" clId="{F05BB0D5-3454-45DC-8378-DA45B79D9A06}" dt="2020-10-02T13:04:35.687" v="4512" actId="790"/>
          <ac:spMkLst>
            <pc:docMk/>
            <pc:sldMk cId="914221013" sldId="6796"/>
            <ac:spMk id="57" creationId="{D84114BE-6388-4778-9E60-8DE843228415}"/>
          </ac:spMkLst>
        </pc:spChg>
        <pc:spChg chg="mod">
          <ac:chgData name="Ugo MANTEL" userId="2d5b7065-31bb-4181-a7f8-a73bf0c30211" providerId="ADAL" clId="{F05BB0D5-3454-45DC-8378-DA45B79D9A06}" dt="2020-10-02T13:04:35.688" v="4513" actId="790"/>
          <ac:spMkLst>
            <pc:docMk/>
            <pc:sldMk cId="914221013" sldId="6796"/>
            <ac:spMk id="58" creationId="{2C19AC48-3984-4CE4-A14D-B0F9D81FB698}"/>
          </ac:spMkLst>
        </pc:spChg>
        <pc:spChg chg="mod">
          <ac:chgData name="Ugo MANTEL" userId="2d5b7065-31bb-4181-a7f8-a73bf0c30211" providerId="ADAL" clId="{F05BB0D5-3454-45DC-8378-DA45B79D9A06}" dt="2020-10-02T13:04:35.689" v="4514" actId="790"/>
          <ac:spMkLst>
            <pc:docMk/>
            <pc:sldMk cId="914221013" sldId="6796"/>
            <ac:spMk id="59" creationId="{9A5E030B-349A-4E48-8B58-B78F7E7921E8}"/>
          </ac:spMkLst>
        </pc:spChg>
        <pc:spChg chg="mod">
          <ac:chgData name="Ugo MANTEL" userId="2d5b7065-31bb-4181-a7f8-a73bf0c30211" providerId="ADAL" clId="{F05BB0D5-3454-45DC-8378-DA45B79D9A06}" dt="2020-10-02T13:04:35.683" v="4509" actId="790"/>
          <ac:spMkLst>
            <pc:docMk/>
            <pc:sldMk cId="914221013" sldId="6796"/>
            <ac:spMk id="60" creationId="{F44C3293-8D06-4BDA-90D9-888D37C6CE49}"/>
          </ac:spMkLst>
        </pc:spChg>
        <pc:spChg chg="mod">
          <ac:chgData name="Ugo MANTEL" userId="2d5b7065-31bb-4181-a7f8-a73bf0c30211" providerId="ADAL" clId="{F05BB0D5-3454-45DC-8378-DA45B79D9A06}" dt="2020-10-02T13:04:35.684" v="4510" actId="790"/>
          <ac:spMkLst>
            <pc:docMk/>
            <pc:sldMk cId="914221013" sldId="6796"/>
            <ac:spMk id="61" creationId="{40EFC281-37EC-4C2E-A2F2-EC168E0B943B}"/>
          </ac:spMkLst>
        </pc:spChg>
        <pc:spChg chg="mod">
          <ac:chgData name="Ugo MANTEL" userId="2d5b7065-31bb-4181-a7f8-a73bf0c30211" providerId="ADAL" clId="{F05BB0D5-3454-45DC-8378-DA45B79D9A06}" dt="2020-10-02T13:04:35.689" v="4515" actId="790"/>
          <ac:spMkLst>
            <pc:docMk/>
            <pc:sldMk cId="914221013" sldId="6796"/>
            <ac:spMk id="62" creationId="{1CE405E6-2306-4111-8285-7B4BD8FFF755}"/>
          </ac:spMkLst>
        </pc:spChg>
        <pc:spChg chg="mod">
          <ac:chgData name="Ugo MANTEL" userId="2d5b7065-31bb-4181-a7f8-a73bf0c30211" providerId="ADAL" clId="{F05BB0D5-3454-45DC-8378-DA45B79D9A06}" dt="2020-10-02T13:04:35.690" v="4516" actId="790"/>
          <ac:spMkLst>
            <pc:docMk/>
            <pc:sldMk cId="914221013" sldId="6796"/>
            <ac:spMk id="70" creationId="{F0E165F4-EEAE-42A9-BAA3-EF25E2C18EDD}"/>
          </ac:spMkLst>
        </pc:spChg>
        <pc:spChg chg="mod">
          <ac:chgData name="Ugo MANTEL" userId="2d5b7065-31bb-4181-a7f8-a73bf0c30211" providerId="ADAL" clId="{F05BB0D5-3454-45DC-8378-DA45B79D9A06}" dt="2020-10-02T13:04:35.692" v="4518" actId="790"/>
          <ac:spMkLst>
            <pc:docMk/>
            <pc:sldMk cId="914221013" sldId="6796"/>
            <ac:spMk id="79" creationId="{745BB4E8-6FE1-4F1A-B94B-DD76502F5ACE}"/>
          </ac:spMkLst>
        </pc:spChg>
        <pc:spChg chg="mod">
          <ac:chgData name="Ugo MANTEL" userId="2d5b7065-31bb-4181-a7f8-a73bf0c30211" providerId="ADAL" clId="{F05BB0D5-3454-45DC-8378-DA45B79D9A06}" dt="2020-10-02T13:04:35.695" v="4519" actId="790"/>
          <ac:spMkLst>
            <pc:docMk/>
            <pc:sldMk cId="914221013" sldId="6796"/>
            <ac:spMk id="80" creationId="{325E8329-4C95-4C5F-88DE-51ACE94EFC7B}"/>
          </ac:spMkLst>
        </pc:spChg>
      </pc:sldChg>
      <pc:sldChg chg="modSp mod">
        <pc:chgData name="Ugo MANTEL" userId="2d5b7065-31bb-4181-a7f8-a73bf0c30211" providerId="ADAL" clId="{F05BB0D5-3454-45DC-8378-DA45B79D9A06}" dt="2020-10-02T13:04:34.612" v="3499" actId="790"/>
        <pc:sldMkLst>
          <pc:docMk/>
          <pc:sldMk cId="1258214133" sldId="6802"/>
        </pc:sldMkLst>
        <pc:spChg chg="mod">
          <ac:chgData name="Ugo MANTEL" userId="2d5b7065-31bb-4181-a7f8-a73bf0c30211" providerId="ADAL" clId="{F05BB0D5-3454-45DC-8378-DA45B79D9A06}" dt="2020-10-02T13:04:34.587" v="3473" actId="790"/>
          <ac:spMkLst>
            <pc:docMk/>
            <pc:sldMk cId="1258214133" sldId="6802"/>
            <ac:spMk id="3" creationId="{65CA96F7-CA10-4481-9DF6-1498853B642D}"/>
          </ac:spMkLst>
        </pc:spChg>
        <pc:spChg chg="mod">
          <ac:chgData name="Ugo MANTEL" userId="2d5b7065-31bb-4181-a7f8-a73bf0c30211" providerId="ADAL" clId="{F05BB0D5-3454-45DC-8378-DA45B79D9A06}" dt="2020-10-02T13:04:34.588" v="3474" actId="790"/>
          <ac:spMkLst>
            <pc:docMk/>
            <pc:sldMk cId="1258214133" sldId="6802"/>
            <ac:spMk id="6" creationId="{A08CB02C-1F13-426C-9A27-761A5B092AA1}"/>
          </ac:spMkLst>
        </pc:spChg>
        <pc:spChg chg="mod">
          <ac:chgData name="Ugo MANTEL" userId="2d5b7065-31bb-4181-a7f8-a73bf0c30211" providerId="ADAL" clId="{F05BB0D5-3454-45DC-8378-DA45B79D9A06}" dt="2020-10-02T13:04:34.603" v="3489" actId="790"/>
          <ac:spMkLst>
            <pc:docMk/>
            <pc:sldMk cId="1258214133" sldId="6802"/>
            <ac:spMk id="7" creationId="{4A9CF4C1-9679-4A12-B55C-F44924AB998E}"/>
          </ac:spMkLst>
        </pc:spChg>
        <pc:spChg chg="mod">
          <ac:chgData name="Ugo MANTEL" userId="2d5b7065-31bb-4181-a7f8-a73bf0c30211" providerId="ADAL" clId="{F05BB0D5-3454-45DC-8378-DA45B79D9A06}" dt="2020-10-02T13:04:34.589" v="3475" actId="790"/>
          <ac:spMkLst>
            <pc:docMk/>
            <pc:sldMk cId="1258214133" sldId="6802"/>
            <ac:spMk id="8" creationId="{C57A8BE1-8A0D-48F7-A236-12639CC929B2}"/>
          </ac:spMkLst>
        </pc:spChg>
        <pc:spChg chg="mod">
          <ac:chgData name="Ugo MANTEL" userId="2d5b7065-31bb-4181-a7f8-a73bf0c30211" providerId="ADAL" clId="{F05BB0D5-3454-45DC-8378-DA45B79D9A06}" dt="2020-10-02T13:04:34.597" v="3483" actId="790"/>
          <ac:spMkLst>
            <pc:docMk/>
            <pc:sldMk cId="1258214133" sldId="6802"/>
            <ac:spMk id="9" creationId="{7BE049E8-0A40-4EDC-8728-3737DE9613BE}"/>
          </ac:spMkLst>
        </pc:spChg>
        <pc:spChg chg="mod">
          <ac:chgData name="Ugo MANTEL" userId="2d5b7065-31bb-4181-a7f8-a73bf0c30211" providerId="ADAL" clId="{F05BB0D5-3454-45DC-8378-DA45B79D9A06}" dt="2020-10-02T13:04:34.589" v="3476" actId="790"/>
          <ac:spMkLst>
            <pc:docMk/>
            <pc:sldMk cId="1258214133" sldId="6802"/>
            <ac:spMk id="10" creationId="{82280E75-A453-4336-99C5-67B9E5B781C7}"/>
          </ac:spMkLst>
        </pc:spChg>
        <pc:spChg chg="mod">
          <ac:chgData name="Ugo MANTEL" userId="2d5b7065-31bb-4181-a7f8-a73bf0c30211" providerId="ADAL" clId="{F05BB0D5-3454-45DC-8378-DA45B79D9A06}" dt="2020-10-02T13:04:34.590" v="3477" actId="790"/>
          <ac:spMkLst>
            <pc:docMk/>
            <pc:sldMk cId="1258214133" sldId="6802"/>
            <ac:spMk id="12" creationId="{1FD3B1A6-41FB-41D7-AAFE-03B600C05D7C}"/>
          </ac:spMkLst>
        </pc:spChg>
        <pc:spChg chg="mod">
          <ac:chgData name="Ugo MANTEL" userId="2d5b7065-31bb-4181-a7f8-a73bf0c30211" providerId="ADAL" clId="{F05BB0D5-3454-45DC-8378-DA45B79D9A06}" dt="2020-10-02T13:04:34.591" v="3478" actId="790"/>
          <ac:spMkLst>
            <pc:docMk/>
            <pc:sldMk cId="1258214133" sldId="6802"/>
            <ac:spMk id="14" creationId="{73B895DB-AC46-4872-9A0D-4CB7F15DBD29}"/>
          </ac:spMkLst>
        </pc:spChg>
        <pc:spChg chg="mod">
          <ac:chgData name="Ugo MANTEL" userId="2d5b7065-31bb-4181-a7f8-a73bf0c30211" providerId="ADAL" clId="{F05BB0D5-3454-45DC-8378-DA45B79D9A06}" dt="2020-10-02T13:04:34.592" v="3479" actId="790"/>
          <ac:spMkLst>
            <pc:docMk/>
            <pc:sldMk cId="1258214133" sldId="6802"/>
            <ac:spMk id="15" creationId="{7D8F9A26-EDD8-435F-872F-97BDEF91133A}"/>
          </ac:spMkLst>
        </pc:spChg>
        <pc:spChg chg="mod">
          <ac:chgData name="Ugo MANTEL" userId="2d5b7065-31bb-4181-a7f8-a73bf0c30211" providerId="ADAL" clId="{F05BB0D5-3454-45DC-8378-DA45B79D9A06}" dt="2020-10-02T13:04:34.593" v="3480" actId="790"/>
          <ac:spMkLst>
            <pc:docMk/>
            <pc:sldMk cId="1258214133" sldId="6802"/>
            <ac:spMk id="16" creationId="{D7F9D24A-267A-4D3A-AD93-E4A81173FBE7}"/>
          </ac:spMkLst>
        </pc:spChg>
        <pc:spChg chg="mod">
          <ac:chgData name="Ugo MANTEL" userId="2d5b7065-31bb-4181-a7f8-a73bf0c30211" providerId="ADAL" clId="{F05BB0D5-3454-45DC-8378-DA45B79D9A06}" dt="2020-10-02T13:04:34.594" v="3481" actId="790"/>
          <ac:spMkLst>
            <pc:docMk/>
            <pc:sldMk cId="1258214133" sldId="6802"/>
            <ac:spMk id="17" creationId="{E7AE1134-0B25-41A9-87E8-21696D9A2FF3}"/>
          </ac:spMkLst>
        </pc:spChg>
        <pc:spChg chg="mod">
          <ac:chgData name="Ugo MANTEL" userId="2d5b7065-31bb-4181-a7f8-a73bf0c30211" providerId="ADAL" clId="{F05BB0D5-3454-45DC-8378-DA45B79D9A06}" dt="2020-10-02T13:04:34.605" v="3492" actId="790"/>
          <ac:spMkLst>
            <pc:docMk/>
            <pc:sldMk cId="1258214133" sldId="6802"/>
            <ac:spMk id="19" creationId="{17709D31-3114-471E-B3B5-BE332B47A997}"/>
          </ac:spMkLst>
        </pc:spChg>
        <pc:spChg chg="mod">
          <ac:chgData name="Ugo MANTEL" userId="2d5b7065-31bb-4181-a7f8-a73bf0c30211" providerId="ADAL" clId="{F05BB0D5-3454-45DC-8378-DA45B79D9A06}" dt="2020-10-02T13:04:34.607" v="3493" actId="790"/>
          <ac:spMkLst>
            <pc:docMk/>
            <pc:sldMk cId="1258214133" sldId="6802"/>
            <ac:spMk id="20" creationId="{9B8FCBAF-A3DC-4AAD-BEFD-03E4652E4961}"/>
          </ac:spMkLst>
        </pc:spChg>
        <pc:spChg chg="mod">
          <ac:chgData name="Ugo MANTEL" userId="2d5b7065-31bb-4181-a7f8-a73bf0c30211" providerId="ADAL" clId="{F05BB0D5-3454-45DC-8378-DA45B79D9A06}" dt="2020-10-02T13:04:34.595" v="3482" actId="790"/>
          <ac:spMkLst>
            <pc:docMk/>
            <pc:sldMk cId="1258214133" sldId="6802"/>
            <ac:spMk id="21" creationId="{975CD06F-B42A-40DD-A47F-DCFA1C69C168}"/>
          </ac:spMkLst>
        </pc:spChg>
        <pc:spChg chg="mod">
          <ac:chgData name="Ugo MANTEL" userId="2d5b7065-31bb-4181-a7f8-a73bf0c30211" providerId="ADAL" clId="{F05BB0D5-3454-45DC-8378-DA45B79D9A06}" dt="2020-10-02T13:04:34.604" v="3490" actId="790"/>
          <ac:spMkLst>
            <pc:docMk/>
            <pc:sldMk cId="1258214133" sldId="6802"/>
            <ac:spMk id="22" creationId="{12E669A0-38F2-47C6-9AD7-E8EB3B050376}"/>
          </ac:spMkLst>
        </pc:spChg>
        <pc:spChg chg="mod">
          <ac:chgData name="Ugo MANTEL" userId="2d5b7065-31bb-4181-a7f8-a73bf0c30211" providerId="ADAL" clId="{F05BB0D5-3454-45DC-8378-DA45B79D9A06}" dt="2020-10-02T13:04:34.605" v="3491" actId="790"/>
          <ac:spMkLst>
            <pc:docMk/>
            <pc:sldMk cId="1258214133" sldId="6802"/>
            <ac:spMk id="23" creationId="{46D4BEA9-88E0-4FAD-92C4-1E036AF02642}"/>
          </ac:spMkLst>
        </pc:spChg>
        <pc:spChg chg="mod">
          <ac:chgData name="Ugo MANTEL" userId="2d5b7065-31bb-4181-a7f8-a73bf0c30211" providerId="ADAL" clId="{F05BB0D5-3454-45DC-8378-DA45B79D9A06}" dt="2020-10-02T13:04:34.583" v="3471" actId="790"/>
          <ac:spMkLst>
            <pc:docMk/>
            <pc:sldMk cId="1258214133" sldId="6802"/>
            <ac:spMk id="24" creationId="{52DBE8B7-9448-4D59-B647-5F671EAC1D30}"/>
          </ac:spMkLst>
        </pc:spChg>
        <pc:spChg chg="mod">
          <ac:chgData name="Ugo MANTEL" userId="2d5b7065-31bb-4181-a7f8-a73bf0c30211" providerId="ADAL" clId="{F05BB0D5-3454-45DC-8378-DA45B79D9A06}" dt="2020-10-02T13:04:34.598" v="3484" actId="790"/>
          <ac:spMkLst>
            <pc:docMk/>
            <pc:sldMk cId="1258214133" sldId="6802"/>
            <ac:spMk id="27" creationId="{111E6808-C8DC-4E32-AFD0-B27629D13FF8}"/>
          </ac:spMkLst>
        </pc:spChg>
        <pc:spChg chg="mod">
          <ac:chgData name="Ugo MANTEL" userId="2d5b7065-31bb-4181-a7f8-a73bf0c30211" providerId="ADAL" clId="{F05BB0D5-3454-45DC-8378-DA45B79D9A06}" dt="2020-10-02T13:04:34.599" v="3485" actId="790"/>
          <ac:spMkLst>
            <pc:docMk/>
            <pc:sldMk cId="1258214133" sldId="6802"/>
            <ac:spMk id="29" creationId="{5578C47B-67E1-40F1-99D3-F9917BBB2948}"/>
          </ac:spMkLst>
        </pc:spChg>
        <pc:spChg chg="mod">
          <ac:chgData name="Ugo MANTEL" userId="2d5b7065-31bb-4181-a7f8-a73bf0c30211" providerId="ADAL" clId="{F05BB0D5-3454-45DC-8378-DA45B79D9A06}" dt="2020-10-02T13:04:34.600" v="3486" actId="790"/>
          <ac:spMkLst>
            <pc:docMk/>
            <pc:sldMk cId="1258214133" sldId="6802"/>
            <ac:spMk id="32" creationId="{F2C9E351-C4B6-4595-A9FD-D4DFE526E1EC}"/>
          </ac:spMkLst>
        </pc:spChg>
        <pc:spChg chg="mod">
          <ac:chgData name="Ugo MANTEL" userId="2d5b7065-31bb-4181-a7f8-a73bf0c30211" providerId="ADAL" clId="{F05BB0D5-3454-45DC-8378-DA45B79D9A06}" dt="2020-10-02T13:04:34.602" v="3488" actId="790"/>
          <ac:spMkLst>
            <pc:docMk/>
            <pc:sldMk cId="1258214133" sldId="6802"/>
            <ac:spMk id="34" creationId="{B77290E0-A5D8-41DA-B0C0-216F93A4EDB1}"/>
          </ac:spMkLst>
        </pc:spChg>
        <pc:spChg chg="mod">
          <ac:chgData name="Ugo MANTEL" userId="2d5b7065-31bb-4181-a7f8-a73bf0c30211" providerId="ADAL" clId="{F05BB0D5-3454-45DC-8378-DA45B79D9A06}" dt="2020-10-02T13:04:34.601" v="3487" actId="790"/>
          <ac:spMkLst>
            <pc:docMk/>
            <pc:sldMk cId="1258214133" sldId="6802"/>
            <ac:spMk id="36" creationId="{3B4DFAB3-E74F-46F1-ADBD-9BBBC66CD2F6}"/>
          </ac:spMkLst>
        </pc:spChg>
        <pc:spChg chg="mod">
          <ac:chgData name="Ugo MANTEL" userId="2d5b7065-31bb-4181-a7f8-a73bf0c30211" providerId="ADAL" clId="{F05BB0D5-3454-45DC-8378-DA45B79D9A06}" dt="2020-10-02T13:04:34.608" v="3494" actId="790"/>
          <ac:spMkLst>
            <pc:docMk/>
            <pc:sldMk cId="1258214133" sldId="6802"/>
            <ac:spMk id="39" creationId="{2F5A4D81-EF9A-454F-99E7-07CCA8FDDADB}"/>
          </ac:spMkLst>
        </pc:spChg>
        <pc:spChg chg="mod">
          <ac:chgData name="Ugo MANTEL" userId="2d5b7065-31bb-4181-a7f8-a73bf0c30211" providerId="ADAL" clId="{F05BB0D5-3454-45DC-8378-DA45B79D9A06}" dt="2020-10-02T13:04:34.608" v="3495" actId="790"/>
          <ac:spMkLst>
            <pc:docMk/>
            <pc:sldMk cId="1258214133" sldId="6802"/>
            <ac:spMk id="40" creationId="{CBC61673-C6FB-48E0-ABB0-33884F3E2B32}"/>
          </ac:spMkLst>
        </pc:spChg>
        <pc:spChg chg="mod">
          <ac:chgData name="Ugo MANTEL" userId="2d5b7065-31bb-4181-a7f8-a73bf0c30211" providerId="ADAL" clId="{F05BB0D5-3454-45DC-8378-DA45B79D9A06}" dt="2020-10-02T13:04:34.609" v="3496" actId="790"/>
          <ac:spMkLst>
            <pc:docMk/>
            <pc:sldMk cId="1258214133" sldId="6802"/>
            <ac:spMk id="41" creationId="{E018D76A-9467-472D-8C4F-7DA183C69595}"/>
          </ac:spMkLst>
        </pc:spChg>
        <pc:spChg chg="mod">
          <ac:chgData name="Ugo MANTEL" userId="2d5b7065-31bb-4181-a7f8-a73bf0c30211" providerId="ADAL" clId="{F05BB0D5-3454-45DC-8378-DA45B79D9A06}" dt="2020-10-02T13:04:34.610" v="3497" actId="790"/>
          <ac:spMkLst>
            <pc:docMk/>
            <pc:sldMk cId="1258214133" sldId="6802"/>
            <ac:spMk id="42" creationId="{CE621E75-F586-413B-B0AD-4FDA07BF2518}"/>
          </ac:spMkLst>
        </pc:spChg>
        <pc:spChg chg="mod">
          <ac:chgData name="Ugo MANTEL" userId="2d5b7065-31bb-4181-a7f8-a73bf0c30211" providerId="ADAL" clId="{F05BB0D5-3454-45DC-8378-DA45B79D9A06}" dt="2020-10-02T13:04:34.612" v="3499" actId="790"/>
          <ac:spMkLst>
            <pc:docMk/>
            <pc:sldMk cId="1258214133" sldId="6802"/>
            <ac:spMk id="47" creationId="{26249FAC-AFA5-4B1A-A3A8-E93F26EE08FB}"/>
          </ac:spMkLst>
        </pc:spChg>
        <pc:spChg chg="mod">
          <ac:chgData name="Ugo MANTEL" userId="2d5b7065-31bb-4181-a7f8-a73bf0c30211" providerId="ADAL" clId="{F05BB0D5-3454-45DC-8378-DA45B79D9A06}" dt="2020-10-02T13:04:34.585" v="3472" actId="790"/>
          <ac:spMkLst>
            <pc:docMk/>
            <pc:sldMk cId="1258214133" sldId="6802"/>
            <ac:spMk id="48" creationId="{AA8D6570-96E9-476A-97D9-B06C69039E61}"/>
          </ac:spMkLst>
        </pc:spChg>
        <pc:spChg chg="mod">
          <ac:chgData name="Ugo MANTEL" userId="2d5b7065-31bb-4181-a7f8-a73bf0c30211" providerId="ADAL" clId="{F05BB0D5-3454-45DC-8378-DA45B79D9A06}" dt="2020-10-02T13:04:34.611" v="3498" actId="790"/>
          <ac:spMkLst>
            <pc:docMk/>
            <pc:sldMk cId="1258214133" sldId="6802"/>
            <ac:spMk id="50" creationId="{A6148DE3-E894-46B6-A185-7A3D0F2B4268}"/>
          </ac:spMkLst>
        </pc:spChg>
      </pc:sldChg>
      <pc:sldChg chg="modSp mod">
        <pc:chgData name="Ugo MANTEL" userId="2d5b7065-31bb-4181-a7f8-a73bf0c30211" providerId="ADAL" clId="{F05BB0D5-3454-45DC-8378-DA45B79D9A06}" dt="2020-10-02T13:04:35.820" v="4633" actId="790"/>
        <pc:sldMkLst>
          <pc:docMk/>
          <pc:sldMk cId="292603242" sldId="6803"/>
        </pc:sldMkLst>
        <pc:spChg chg="mod">
          <ac:chgData name="Ugo MANTEL" userId="2d5b7065-31bb-4181-a7f8-a73bf0c30211" providerId="ADAL" clId="{F05BB0D5-3454-45DC-8378-DA45B79D9A06}" dt="2020-10-02T13:04:35.804" v="4613" actId="790"/>
          <ac:spMkLst>
            <pc:docMk/>
            <pc:sldMk cId="292603242" sldId="6803"/>
            <ac:spMk id="3" creationId="{723315E1-5AE5-48C1-A11B-8649A58B6F87}"/>
          </ac:spMkLst>
        </pc:spChg>
        <pc:spChg chg="mod">
          <ac:chgData name="Ugo MANTEL" userId="2d5b7065-31bb-4181-a7f8-a73bf0c30211" providerId="ADAL" clId="{F05BB0D5-3454-45DC-8378-DA45B79D9A06}" dt="2020-10-02T13:04:35.814" v="4625" actId="790"/>
          <ac:spMkLst>
            <pc:docMk/>
            <pc:sldMk cId="292603242" sldId="6803"/>
            <ac:spMk id="7" creationId="{BA95E53C-27B7-4E74-AEE1-B5550F2E1C25}"/>
          </ac:spMkLst>
        </pc:spChg>
        <pc:spChg chg="mod">
          <ac:chgData name="Ugo MANTEL" userId="2d5b7065-31bb-4181-a7f8-a73bf0c30211" providerId="ADAL" clId="{F05BB0D5-3454-45DC-8378-DA45B79D9A06}" dt="2020-10-02T13:04:35.814" v="4626" actId="790"/>
          <ac:spMkLst>
            <pc:docMk/>
            <pc:sldMk cId="292603242" sldId="6803"/>
            <ac:spMk id="8" creationId="{2A7C7C8E-3CA9-414B-9ED6-2BCDFE172FE4}"/>
          </ac:spMkLst>
        </pc:spChg>
        <pc:spChg chg="mod">
          <ac:chgData name="Ugo MANTEL" userId="2d5b7065-31bb-4181-a7f8-a73bf0c30211" providerId="ADAL" clId="{F05BB0D5-3454-45DC-8378-DA45B79D9A06}" dt="2020-10-02T13:04:35.801" v="4612" actId="790"/>
          <ac:spMkLst>
            <pc:docMk/>
            <pc:sldMk cId="292603242" sldId="6803"/>
            <ac:spMk id="14" creationId="{29740822-2334-4A1F-9668-C865153B7071}"/>
          </ac:spMkLst>
        </pc:spChg>
        <pc:spChg chg="mod">
          <ac:chgData name="Ugo MANTEL" userId="2d5b7065-31bb-4181-a7f8-a73bf0c30211" providerId="ADAL" clId="{F05BB0D5-3454-45DC-8378-DA45B79D9A06}" dt="2020-10-02T13:04:35.813" v="4624" actId="790"/>
          <ac:spMkLst>
            <pc:docMk/>
            <pc:sldMk cId="292603242" sldId="6803"/>
            <ac:spMk id="35" creationId="{70CA4EA1-5902-4787-9E50-2D1A87FE75E3}"/>
          </ac:spMkLst>
        </pc:spChg>
        <pc:spChg chg="mod">
          <ac:chgData name="Ugo MANTEL" userId="2d5b7065-31bb-4181-a7f8-a73bf0c30211" providerId="ADAL" clId="{F05BB0D5-3454-45DC-8378-DA45B79D9A06}" dt="2020-10-02T13:04:35.812" v="4623" actId="790"/>
          <ac:spMkLst>
            <pc:docMk/>
            <pc:sldMk cId="292603242" sldId="6803"/>
            <ac:spMk id="37" creationId="{AC67A62A-C519-4E8A-9475-AA59086A370D}"/>
          </ac:spMkLst>
        </pc:spChg>
        <pc:spChg chg="mod">
          <ac:chgData name="Ugo MANTEL" userId="2d5b7065-31bb-4181-a7f8-a73bf0c30211" providerId="ADAL" clId="{F05BB0D5-3454-45DC-8378-DA45B79D9A06}" dt="2020-10-02T13:04:35.808" v="4618" actId="790"/>
          <ac:spMkLst>
            <pc:docMk/>
            <pc:sldMk cId="292603242" sldId="6803"/>
            <ac:spMk id="38" creationId="{FA04BB3E-857A-4A65-9D81-5022729BFE0D}"/>
          </ac:spMkLst>
        </pc:spChg>
        <pc:spChg chg="mod">
          <ac:chgData name="Ugo MANTEL" userId="2d5b7065-31bb-4181-a7f8-a73bf0c30211" providerId="ADAL" clId="{F05BB0D5-3454-45DC-8378-DA45B79D9A06}" dt="2020-10-02T13:04:35.809" v="4619" actId="790"/>
          <ac:spMkLst>
            <pc:docMk/>
            <pc:sldMk cId="292603242" sldId="6803"/>
            <ac:spMk id="39" creationId="{67858A9A-4E3A-4B15-BAF5-9FE624237CB0}"/>
          </ac:spMkLst>
        </pc:spChg>
        <pc:spChg chg="mod">
          <ac:chgData name="Ugo MANTEL" userId="2d5b7065-31bb-4181-a7f8-a73bf0c30211" providerId="ADAL" clId="{F05BB0D5-3454-45DC-8378-DA45B79D9A06}" dt="2020-10-02T13:04:35.810" v="4620" actId="790"/>
          <ac:spMkLst>
            <pc:docMk/>
            <pc:sldMk cId="292603242" sldId="6803"/>
            <ac:spMk id="41" creationId="{7620B728-18BC-40A1-9FEB-D3B86A3670CE}"/>
          </ac:spMkLst>
        </pc:spChg>
        <pc:spChg chg="mod">
          <ac:chgData name="Ugo MANTEL" userId="2d5b7065-31bb-4181-a7f8-a73bf0c30211" providerId="ADAL" clId="{F05BB0D5-3454-45DC-8378-DA45B79D9A06}" dt="2020-10-02T13:04:35.810" v="4621" actId="790"/>
          <ac:spMkLst>
            <pc:docMk/>
            <pc:sldMk cId="292603242" sldId="6803"/>
            <ac:spMk id="42" creationId="{F32ACA1B-03A2-43D4-A78F-06FA908FB099}"/>
          </ac:spMkLst>
        </pc:spChg>
        <pc:spChg chg="mod">
          <ac:chgData name="Ugo MANTEL" userId="2d5b7065-31bb-4181-a7f8-a73bf0c30211" providerId="ADAL" clId="{F05BB0D5-3454-45DC-8378-DA45B79D9A06}" dt="2020-10-02T13:04:35.806" v="4615" actId="790"/>
          <ac:spMkLst>
            <pc:docMk/>
            <pc:sldMk cId="292603242" sldId="6803"/>
            <ac:spMk id="43" creationId="{64BE7AC9-8330-4CE6-A709-685DE3E1F37A}"/>
          </ac:spMkLst>
        </pc:spChg>
        <pc:spChg chg="mod">
          <ac:chgData name="Ugo MANTEL" userId="2d5b7065-31bb-4181-a7f8-a73bf0c30211" providerId="ADAL" clId="{F05BB0D5-3454-45DC-8378-DA45B79D9A06}" dt="2020-10-02T13:04:35.807" v="4616" actId="790"/>
          <ac:spMkLst>
            <pc:docMk/>
            <pc:sldMk cId="292603242" sldId="6803"/>
            <ac:spMk id="44" creationId="{FE004F25-AEC9-4EAE-BE03-2E19BEDBA7BB}"/>
          </ac:spMkLst>
        </pc:spChg>
        <pc:spChg chg="mod">
          <ac:chgData name="Ugo MANTEL" userId="2d5b7065-31bb-4181-a7f8-a73bf0c30211" providerId="ADAL" clId="{F05BB0D5-3454-45DC-8378-DA45B79D9A06}" dt="2020-10-02T13:04:35.816" v="4627" actId="790"/>
          <ac:spMkLst>
            <pc:docMk/>
            <pc:sldMk cId="292603242" sldId="6803"/>
            <ac:spMk id="45" creationId="{04DEF87C-6063-4038-9A7F-E4B59E5EB3F3}"/>
          </ac:spMkLst>
        </pc:spChg>
        <pc:spChg chg="mod">
          <ac:chgData name="Ugo MANTEL" userId="2d5b7065-31bb-4181-a7f8-a73bf0c30211" providerId="ADAL" clId="{F05BB0D5-3454-45DC-8378-DA45B79D9A06}" dt="2020-10-02T13:04:35.808" v="4617" actId="790"/>
          <ac:spMkLst>
            <pc:docMk/>
            <pc:sldMk cId="292603242" sldId="6803"/>
            <ac:spMk id="46" creationId="{5CE6F3E9-3644-4F5A-8A9D-E886FB62D360}"/>
          </ac:spMkLst>
        </pc:spChg>
        <pc:spChg chg="mod">
          <ac:chgData name="Ugo MANTEL" userId="2d5b7065-31bb-4181-a7f8-a73bf0c30211" providerId="ADAL" clId="{F05BB0D5-3454-45DC-8378-DA45B79D9A06}" dt="2020-10-02T13:04:35.817" v="4628" actId="790"/>
          <ac:spMkLst>
            <pc:docMk/>
            <pc:sldMk cId="292603242" sldId="6803"/>
            <ac:spMk id="48" creationId="{1EBFCDDD-65DC-44D3-BAEB-2E0814BECF50}"/>
          </ac:spMkLst>
        </pc:spChg>
        <pc:spChg chg="mod">
          <ac:chgData name="Ugo MANTEL" userId="2d5b7065-31bb-4181-a7f8-a73bf0c30211" providerId="ADAL" clId="{F05BB0D5-3454-45DC-8378-DA45B79D9A06}" dt="2020-10-02T13:04:35.817" v="4629" actId="790"/>
          <ac:spMkLst>
            <pc:docMk/>
            <pc:sldMk cId="292603242" sldId="6803"/>
            <ac:spMk id="49" creationId="{42E6D15E-BAB1-4986-B61C-95C228E968D5}"/>
          </ac:spMkLst>
        </pc:spChg>
        <pc:spChg chg="mod">
          <ac:chgData name="Ugo MANTEL" userId="2d5b7065-31bb-4181-a7f8-a73bf0c30211" providerId="ADAL" clId="{F05BB0D5-3454-45DC-8378-DA45B79D9A06}" dt="2020-10-02T13:04:35.818" v="4630" actId="790"/>
          <ac:spMkLst>
            <pc:docMk/>
            <pc:sldMk cId="292603242" sldId="6803"/>
            <ac:spMk id="50" creationId="{F222F7DC-FB00-4FE0-AB94-7EDAF143DFF7}"/>
          </ac:spMkLst>
        </pc:spChg>
        <pc:spChg chg="mod">
          <ac:chgData name="Ugo MANTEL" userId="2d5b7065-31bb-4181-a7f8-a73bf0c30211" providerId="ADAL" clId="{F05BB0D5-3454-45DC-8378-DA45B79D9A06}" dt="2020-10-02T13:04:35.819" v="4631" actId="790"/>
          <ac:spMkLst>
            <pc:docMk/>
            <pc:sldMk cId="292603242" sldId="6803"/>
            <ac:spMk id="51" creationId="{4E4651A2-C83A-4045-8852-29F63F5D318A}"/>
          </ac:spMkLst>
        </pc:spChg>
        <pc:spChg chg="mod">
          <ac:chgData name="Ugo MANTEL" userId="2d5b7065-31bb-4181-a7f8-a73bf0c30211" providerId="ADAL" clId="{F05BB0D5-3454-45DC-8378-DA45B79D9A06}" dt="2020-10-02T13:04:35.820" v="4632" actId="790"/>
          <ac:spMkLst>
            <pc:docMk/>
            <pc:sldMk cId="292603242" sldId="6803"/>
            <ac:spMk id="52" creationId="{0C23DE27-FD8B-44E8-9A7A-481303891D42}"/>
          </ac:spMkLst>
        </pc:spChg>
        <pc:spChg chg="mod">
          <ac:chgData name="Ugo MANTEL" userId="2d5b7065-31bb-4181-a7f8-a73bf0c30211" providerId="ADAL" clId="{F05BB0D5-3454-45DC-8378-DA45B79D9A06}" dt="2020-10-02T13:04:35.820" v="4633" actId="790"/>
          <ac:spMkLst>
            <pc:docMk/>
            <pc:sldMk cId="292603242" sldId="6803"/>
            <ac:spMk id="60" creationId="{C1658B74-71F3-4E31-982A-835165331380}"/>
          </ac:spMkLst>
        </pc:spChg>
        <pc:spChg chg="mod">
          <ac:chgData name="Ugo MANTEL" userId="2d5b7065-31bb-4181-a7f8-a73bf0c30211" providerId="ADAL" clId="{F05BB0D5-3454-45DC-8378-DA45B79D9A06}" dt="2020-10-02T13:04:35.811" v="4622" actId="790"/>
          <ac:spMkLst>
            <pc:docMk/>
            <pc:sldMk cId="292603242" sldId="6803"/>
            <ac:spMk id="146" creationId="{057919CB-A81F-4326-B8E9-4ADC2470AE35}"/>
          </ac:spMkLst>
        </pc:spChg>
        <pc:spChg chg="mod">
          <ac:chgData name="Ugo MANTEL" userId="2d5b7065-31bb-4181-a7f8-a73bf0c30211" providerId="ADAL" clId="{F05BB0D5-3454-45DC-8378-DA45B79D9A06}" dt="2020-10-02T13:04:35.805" v="4614" actId="790"/>
          <ac:spMkLst>
            <pc:docMk/>
            <pc:sldMk cId="292603242" sldId="6803"/>
            <ac:spMk id="150" creationId="{4419582F-3374-424F-93D6-8D01FF1BC35E}"/>
          </ac:spMkLst>
        </pc:spChg>
      </pc:sldChg>
      <pc:sldChg chg="modSp mod ord">
        <pc:chgData name="Ugo MANTEL" userId="2d5b7065-31bb-4181-a7f8-a73bf0c30211" providerId="ADAL" clId="{F05BB0D5-3454-45DC-8378-DA45B79D9A06}" dt="2020-10-02T13:04:35.260" v="4254" actId="790"/>
        <pc:sldMkLst>
          <pc:docMk/>
          <pc:sldMk cId="33923800" sldId="6804"/>
        </pc:sldMkLst>
        <pc:spChg chg="mod">
          <ac:chgData name="Ugo MANTEL" userId="2d5b7065-31bb-4181-a7f8-a73bf0c30211" providerId="ADAL" clId="{F05BB0D5-3454-45DC-8378-DA45B79D9A06}" dt="2020-10-02T13:04:35.249" v="4245" actId="790"/>
          <ac:spMkLst>
            <pc:docMk/>
            <pc:sldMk cId="33923800" sldId="6804"/>
            <ac:spMk id="2" creationId="{CA2BB59F-4E04-4200-8B3F-DBDB7F14DE48}"/>
          </ac:spMkLst>
        </pc:spChg>
        <pc:spChg chg="mod">
          <ac:chgData name="Ugo MANTEL" userId="2d5b7065-31bb-4181-a7f8-a73bf0c30211" providerId="ADAL" clId="{F05BB0D5-3454-45DC-8378-DA45B79D9A06}" dt="2020-10-02T13:04:35.247" v="4243" actId="790"/>
          <ac:spMkLst>
            <pc:docMk/>
            <pc:sldMk cId="33923800" sldId="6804"/>
            <ac:spMk id="4" creationId="{39B90EC0-A383-4BBB-BE7C-28BF25BE224A}"/>
          </ac:spMkLst>
        </pc:spChg>
        <pc:spChg chg="mod">
          <ac:chgData name="Ugo MANTEL" userId="2d5b7065-31bb-4181-a7f8-a73bf0c30211" providerId="ADAL" clId="{F05BB0D5-3454-45DC-8378-DA45B79D9A06}" dt="2020-10-02T13:04:35.248" v="4244" actId="790"/>
          <ac:spMkLst>
            <pc:docMk/>
            <pc:sldMk cId="33923800" sldId="6804"/>
            <ac:spMk id="6" creationId="{DCF1CFB1-0F64-4A53-B39E-03E018A31A72}"/>
          </ac:spMkLst>
        </pc:spChg>
        <pc:spChg chg="mod">
          <ac:chgData name="Ugo MANTEL" userId="2d5b7065-31bb-4181-a7f8-a73bf0c30211" providerId="ADAL" clId="{F05BB0D5-3454-45DC-8378-DA45B79D9A06}" dt="2020-10-02T13:04:35.234" v="4234" actId="790"/>
          <ac:spMkLst>
            <pc:docMk/>
            <pc:sldMk cId="33923800" sldId="6804"/>
            <ac:spMk id="14" creationId="{CCC6A747-055F-4B14-8B46-ED7F4FC081AD}"/>
          </ac:spMkLst>
        </pc:spChg>
        <pc:spChg chg="mod">
          <ac:chgData name="Ugo MANTEL" userId="2d5b7065-31bb-4181-a7f8-a73bf0c30211" providerId="ADAL" clId="{F05BB0D5-3454-45DC-8378-DA45B79D9A06}" dt="2020-10-02T13:04:35.238" v="4237" actId="790"/>
          <ac:spMkLst>
            <pc:docMk/>
            <pc:sldMk cId="33923800" sldId="6804"/>
            <ac:spMk id="18" creationId="{00000000-0000-0000-0000-000000000000}"/>
          </ac:spMkLst>
        </pc:spChg>
        <pc:spChg chg="mod">
          <ac:chgData name="Ugo MANTEL" userId="2d5b7065-31bb-4181-a7f8-a73bf0c30211" providerId="ADAL" clId="{F05BB0D5-3454-45DC-8378-DA45B79D9A06}" dt="2020-10-02T13:04:35.228" v="4225" actId="790"/>
          <ac:spMkLst>
            <pc:docMk/>
            <pc:sldMk cId="33923800" sldId="6804"/>
            <ac:spMk id="27" creationId="{00000000-0000-0000-0000-000000000000}"/>
          </ac:spMkLst>
        </pc:spChg>
        <pc:spChg chg="mod">
          <ac:chgData name="Ugo MANTEL" userId="2d5b7065-31bb-4181-a7f8-a73bf0c30211" providerId="ADAL" clId="{F05BB0D5-3454-45DC-8378-DA45B79D9A06}" dt="2020-10-02T13:04:35.243" v="4238" actId="790"/>
          <ac:spMkLst>
            <pc:docMk/>
            <pc:sldMk cId="33923800" sldId="6804"/>
            <ac:spMk id="28" creationId="{00000000-0000-0000-0000-000000000000}"/>
          </ac:spMkLst>
        </pc:spChg>
        <pc:spChg chg="mod">
          <ac:chgData name="Ugo MANTEL" userId="2d5b7065-31bb-4181-a7f8-a73bf0c30211" providerId="ADAL" clId="{F05BB0D5-3454-45DC-8378-DA45B79D9A06}" dt="2020-10-02T13:04:35.230" v="4228" actId="790"/>
          <ac:spMkLst>
            <pc:docMk/>
            <pc:sldMk cId="33923800" sldId="6804"/>
            <ac:spMk id="30" creationId="{AB98553C-E1F1-41C7-A531-119ED6D613A1}"/>
          </ac:spMkLst>
        </pc:spChg>
        <pc:spChg chg="mod">
          <ac:chgData name="Ugo MANTEL" userId="2d5b7065-31bb-4181-a7f8-a73bf0c30211" providerId="ADAL" clId="{F05BB0D5-3454-45DC-8378-DA45B79D9A06}" dt="2020-10-02T13:04:35.228" v="4226" actId="790"/>
          <ac:spMkLst>
            <pc:docMk/>
            <pc:sldMk cId="33923800" sldId="6804"/>
            <ac:spMk id="31" creationId="{00000000-0000-0000-0000-000000000000}"/>
          </ac:spMkLst>
        </pc:spChg>
        <pc:spChg chg="mod">
          <ac:chgData name="Ugo MANTEL" userId="2d5b7065-31bb-4181-a7f8-a73bf0c30211" providerId="ADAL" clId="{F05BB0D5-3454-45DC-8378-DA45B79D9A06}" dt="2020-10-02T13:04:35.250" v="4246" actId="790"/>
          <ac:spMkLst>
            <pc:docMk/>
            <pc:sldMk cId="33923800" sldId="6804"/>
            <ac:spMk id="35" creationId="{889C8651-EFD3-4CD0-98E6-81A6445CCCC2}"/>
          </ac:spMkLst>
        </pc:spChg>
        <pc:spChg chg="mod">
          <ac:chgData name="Ugo MANTEL" userId="2d5b7065-31bb-4181-a7f8-a73bf0c30211" providerId="ADAL" clId="{F05BB0D5-3454-45DC-8378-DA45B79D9A06}" dt="2020-10-02T13:04:35.251" v="4247" actId="790"/>
          <ac:spMkLst>
            <pc:docMk/>
            <pc:sldMk cId="33923800" sldId="6804"/>
            <ac:spMk id="45" creationId="{E5148C1C-263F-46D4-8FF8-628F14DC88BA}"/>
          </ac:spMkLst>
        </pc:spChg>
        <pc:spChg chg="mod">
          <ac:chgData name="Ugo MANTEL" userId="2d5b7065-31bb-4181-a7f8-a73bf0c30211" providerId="ADAL" clId="{F05BB0D5-3454-45DC-8378-DA45B79D9A06}" dt="2020-10-02T13:04:35.229" v="4227" actId="790"/>
          <ac:spMkLst>
            <pc:docMk/>
            <pc:sldMk cId="33923800" sldId="6804"/>
            <ac:spMk id="47" creationId="{B40DE67A-2BED-4B3F-A826-66D1D656A0B6}"/>
          </ac:spMkLst>
        </pc:spChg>
        <pc:spChg chg="mod">
          <ac:chgData name="Ugo MANTEL" userId="2d5b7065-31bb-4181-a7f8-a73bf0c30211" providerId="ADAL" clId="{F05BB0D5-3454-45DC-8378-DA45B79D9A06}" dt="2020-10-02T13:04:35.245" v="4240" actId="790"/>
          <ac:spMkLst>
            <pc:docMk/>
            <pc:sldMk cId="33923800" sldId="6804"/>
            <ac:spMk id="52" creationId="{FC5E987C-8836-40C4-8EE3-839993E6D91B}"/>
          </ac:spMkLst>
        </pc:spChg>
        <pc:spChg chg="mod">
          <ac:chgData name="Ugo MANTEL" userId="2d5b7065-31bb-4181-a7f8-a73bf0c30211" providerId="ADAL" clId="{F05BB0D5-3454-45DC-8378-DA45B79D9A06}" dt="2020-10-02T13:04:35.245" v="4241" actId="790"/>
          <ac:spMkLst>
            <pc:docMk/>
            <pc:sldMk cId="33923800" sldId="6804"/>
            <ac:spMk id="53" creationId="{58A3AFCF-848A-4253-9920-71B15E016D4B}"/>
          </ac:spMkLst>
        </pc:spChg>
        <pc:spChg chg="mod">
          <ac:chgData name="Ugo MANTEL" userId="2d5b7065-31bb-4181-a7f8-a73bf0c30211" providerId="ADAL" clId="{F05BB0D5-3454-45DC-8378-DA45B79D9A06}" dt="2020-10-02T13:04:35.246" v="4242" actId="790"/>
          <ac:spMkLst>
            <pc:docMk/>
            <pc:sldMk cId="33923800" sldId="6804"/>
            <ac:spMk id="54" creationId="{15EE320F-4848-4AB1-B006-C9C88D583C91}"/>
          </ac:spMkLst>
        </pc:spChg>
        <pc:spChg chg="mod">
          <ac:chgData name="Ugo MANTEL" userId="2d5b7065-31bb-4181-a7f8-a73bf0c30211" providerId="ADAL" clId="{F05BB0D5-3454-45DC-8378-DA45B79D9A06}" dt="2020-10-02T13:04:35.244" v="4239" actId="790"/>
          <ac:spMkLst>
            <pc:docMk/>
            <pc:sldMk cId="33923800" sldId="6804"/>
            <ac:spMk id="58" creationId="{55A4685E-E8BA-4E91-A20B-7A3A53BBD80C}"/>
          </ac:spMkLst>
        </pc:spChg>
        <pc:spChg chg="mod">
          <ac:chgData name="Ugo MANTEL" userId="2d5b7065-31bb-4181-a7f8-a73bf0c30211" providerId="ADAL" clId="{F05BB0D5-3454-45DC-8378-DA45B79D9A06}" dt="2020-10-02T13:04:35.236" v="4236" actId="790"/>
          <ac:spMkLst>
            <pc:docMk/>
            <pc:sldMk cId="33923800" sldId="6804"/>
            <ac:spMk id="59" creationId="{08A39C34-831C-4C72-BD60-1D82C4BB5792}"/>
          </ac:spMkLst>
        </pc:spChg>
        <pc:spChg chg="mod">
          <ac:chgData name="Ugo MANTEL" userId="2d5b7065-31bb-4181-a7f8-a73bf0c30211" providerId="ADAL" clId="{F05BB0D5-3454-45DC-8378-DA45B79D9A06}" dt="2020-10-02T13:04:35.231" v="4229" actId="790"/>
          <ac:spMkLst>
            <pc:docMk/>
            <pc:sldMk cId="33923800" sldId="6804"/>
            <ac:spMk id="74" creationId="{7D9B6838-17EF-4B72-94EF-4E412F402F76}"/>
          </ac:spMkLst>
        </pc:spChg>
        <pc:spChg chg="mod">
          <ac:chgData name="Ugo MANTEL" userId="2d5b7065-31bb-4181-a7f8-a73bf0c30211" providerId="ADAL" clId="{F05BB0D5-3454-45DC-8378-DA45B79D9A06}" dt="2020-10-02T13:04:35.231" v="4230" actId="790"/>
          <ac:spMkLst>
            <pc:docMk/>
            <pc:sldMk cId="33923800" sldId="6804"/>
            <ac:spMk id="75" creationId="{3A034E55-A38F-45F5-A56F-619AA7220458}"/>
          </ac:spMkLst>
        </pc:spChg>
        <pc:spChg chg="mod">
          <ac:chgData name="Ugo MANTEL" userId="2d5b7065-31bb-4181-a7f8-a73bf0c30211" providerId="ADAL" clId="{F05BB0D5-3454-45DC-8378-DA45B79D9A06}" dt="2020-10-02T13:04:35.232" v="4231" actId="790"/>
          <ac:spMkLst>
            <pc:docMk/>
            <pc:sldMk cId="33923800" sldId="6804"/>
            <ac:spMk id="76" creationId="{C1788870-4C4F-42C9-83E0-E57ECBC800FD}"/>
          </ac:spMkLst>
        </pc:spChg>
        <pc:spChg chg="mod">
          <ac:chgData name="Ugo MANTEL" userId="2d5b7065-31bb-4181-a7f8-a73bf0c30211" providerId="ADAL" clId="{F05BB0D5-3454-45DC-8378-DA45B79D9A06}" dt="2020-10-02T13:04:35.256" v="4250" actId="790"/>
          <ac:spMkLst>
            <pc:docMk/>
            <pc:sldMk cId="33923800" sldId="6804"/>
            <ac:spMk id="87" creationId="{C91FFAEF-D61B-454C-8524-49F069FAD0F7}"/>
          </ac:spMkLst>
        </pc:spChg>
        <pc:spChg chg="mod">
          <ac:chgData name="Ugo MANTEL" userId="2d5b7065-31bb-4181-a7f8-a73bf0c30211" providerId="ADAL" clId="{F05BB0D5-3454-45DC-8378-DA45B79D9A06}" dt="2020-10-02T13:04:35.257" v="4251" actId="790"/>
          <ac:spMkLst>
            <pc:docMk/>
            <pc:sldMk cId="33923800" sldId="6804"/>
            <ac:spMk id="88" creationId="{88D4EA9B-120D-4D2F-A6AD-481B071E1E37}"/>
          </ac:spMkLst>
        </pc:spChg>
        <pc:spChg chg="mod">
          <ac:chgData name="Ugo MANTEL" userId="2d5b7065-31bb-4181-a7f8-a73bf0c30211" providerId="ADAL" clId="{F05BB0D5-3454-45DC-8378-DA45B79D9A06}" dt="2020-10-02T13:04:35.258" v="4252" actId="790"/>
          <ac:spMkLst>
            <pc:docMk/>
            <pc:sldMk cId="33923800" sldId="6804"/>
            <ac:spMk id="89" creationId="{586D6ED0-CA16-4860-A40E-5912CE231ACD}"/>
          </ac:spMkLst>
        </pc:spChg>
        <pc:spChg chg="mod">
          <ac:chgData name="Ugo MANTEL" userId="2d5b7065-31bb-4181-a7f8-a73bf0c30211" providerId="ADAL" clId="{F05BB0D5-3454-45DC-8378-DA45B79D9A06}" dt="2020-10-02T13:04:35.259" v="4253" actId="790"/>
          <ac:spMkLst>
            <pc:docMk/>
            <pc:sldMk cId="33923800" sldId="6804"/>
            <ac:spMk id="90" creationId="{2E1553DE-F670-4C83-8A4E-3D05BA7A92DD}"/>
          </ac:spMkLst>
        </pc:spChg>
        <pc:spChg chg="mod">
          <ac:chgData name="Ugo MANTEL" userId="2d5b7065-31bb-4181-a7f8-a73bf0c30211" providerId="ADAL" clId="{F05BB0D5-3454-45DC-8378-DA45B79D9A06}" dt="2020-10-02T13:04:35.233" v="4232" actId="790"/>
          <ac:spMkLst>
            <pc:docMk/>
            <pc:sldMk cId="33923800" sldId="6804"/>
            <ac:spMk id="91" creationId="{07CFBB94-A5E2-4305-A685-1318FAB64BA4}"/>
          </ac:spMkLst>
        </pc:spChg>
        <pc:spChg chg="mod">
          <ac:chgData name="Ugo MANTEL" userId="2d5b7065-31bb-4181-a7f8-a73bf0c30211" providerId="ADAL" clId="{F05BB0D5-3454-45DC-8378-DA45B79D9A06}" dt="2020-10-02T13:04:35.234" v="4233" actId="790"/>
          <ac:spMkLst>
            <pc:docMk/>
            <pc:sldMk cId="33923800" sldId="6804"/>
            <ac:spMk id="92" creationId="{37F1DE7A-2EE2-4DEB-9C2A-AE1BF2F1C04E}"/>
          </ac:spMkLst>
        </pc:spChg>
        <pc:spChg chg="mod">
          <ac:chgData name="Ugo MANTEL" userId="2d5b7065-31bb-4181-a7f8-a73bf0c30211" providerId="ADAL" clId="{F05BB0D5-3454-45DC-8378-DA45B79D9A06}" dt="2020-10-02T13:04:35.235" v="4235" actId="790"/>
          <ac:spMkLst>
            <pc:docMk/>
            <pc:sldMk cId="33923800" sldId="6804"/>
            <ac:spMk id="93" creationId="{A03A96D0-7C12-4A4F-83CC-07CF14AD023E}"/>
          </ac:spMkLst>
        </pc:spChg>
        <pc:spChg chg="mod">
          <ac:chgData name="Ugo MANTEL" userId="2d5b7065-31bb-4181-a7f8-a73bf0c30211" providerId="ADAL" clId="{F05BB0D5-3454-45DC-8378-DA45B79D9A06}" dt="2020-10-02T13:04:35.260" v="4254" actId="790"/>
          <ac:spMkLst>
            <pc:docMk/>
            <pc:sldMk cId="33923800" sldId="6804"/>
            <ac:spMk id="101" creationId="{6C080EA2-C612-4FFC-84D5-8F8B4FC4728D}"/>
          </ac:spMkLst>
        </pc:spChg>
        <pc:spChg chg="mod">
          <ac:chgData name="Ugo MANTEL" userId="2d5b7065-31bb-4181-a7f8-a73bf0c30211" providerId="ADAL" clId="{F05BB0D5-3454-45DC-8378-DA45B79D9A06}" dt="2020-10-02T13:04:35.252" v="4248" actId="790"/>
          <ac:spMkLst>
            <pc:docMk/>
            <pc:sldMk cId="33923800" sldId="6804"/>
            <ac:spMk id="129" creationId="{837A178A-58DE-412E-AED3-8A2590F16DD6}"/>
          </ac:spMkLst>
        </pc:spChg>
        <pc:spChg chg="mod">
          <ac:chgData name="Ugo MANTEL" userId="2d5b7065-31bb-4181-a7f8-a73bf0c30211" providerId="ADAL" clId="{F05BB0D5-3454-45DC-8378-DA45B79D9A06}" dt="2020-10-02T13:04:35.254" v="4249" actId="790"/>
          <ac:spMkLst>
            <pc:docMk/>
            <pc:sldMk cId="33923800" sldId="6804"/>
            <ac:spMk id="53249" creationId="{DA3848B2-E478-4EA4-87DB-CE87034C475D}"/>
          </ac:spMkLst>
        </pc:spChg>
      </pc:sldChg>
      <pc:sldChg chg="modSp mod">
        <pc:chgData name="Ugo MANTEL" userId="2d5b7065-31bb-4181-a7f8-a73bf0c30211" providerId="ADAL" clId="{F05BB0D5-3454-45DC-8378-DA45B79D9A06}" dt="2020-10-02T13:04:35.928" v="4741" actId="790"/>
        <pc:sldMkLst>
          <pc:docMk/>
          <pc:sldMk cId="4135816563" sldId="6807"/>
        </pc:sldMkLst>
        <pc:spChg chg="mod">
          <ac:chgData name="Ugo MANTEL" userId="2d5b7065-31bb-4181-a7f8-a73bf0c30211" providerId="ADAL" clId="{F05BB0D5-3454-45DC-8378-DA45B79D9A06}" dt="2020-10-02T13:04:35.834" v="4638" actId="790"/>
          <ac:spMkLst>
            <pc:docMk/>
            <pc:sldMk cId="4135816563" sldId="6807"/>
            <ac:spMk id="3" creationId="{DE4214D1-7771-4E07-BC5D-F7799787D2A0}"/>
          </ac:spMkLst>
        </pc:spChg>
        <pc:spChg chg="mod">
          <ac:chgData name="Ugo MANTEL" userId="2d5b7065-31bb-4181-a7f8-a73bf0c30211" providerId="ADAL" clId="{F05BB0D5-3454-45DC-8378-DA45B79D9A06}" dt="2020-10-02T13:04:35.881" v="4676" actId="790"/>
          <ac:spMkLst>
            <pc:docMk/>
            <pc:sldMk cId="4135816563" sldId="6807"/>
            <ac:spMk id="6" creationId="{7412C1B7-0580-4F47-B11A-13E77C8C86AE}"/>
          </ac:spMkLst>
        </pc:spChg>
        <pc:spChg chg="mod">
          <ac:chgData name="Ugo MANTEL" userId="2d5b7065-31bb-4181-a7f8-a73bf0c30211" providerId="ADAL" clId="{F05BB0D5-3454-45DC-8378-DA45B79D9A06}" dt="2020-10-02T13:04:35.884" v="4678" actId="790"/>
          <ac:spMkLst>
            <pc:docMk/>
            <pc:sldMk cId="4135816563" sldId="6807"/>
            <ac:spMk id="13" creationId="{7A5DA037-A089-4823-9AD6-5C686579B915}"/>
          </ac:spMkLst>
        </pc:spChg>
        <pc:spChg chg="mod">
          <ac:chgData name="Ugo MANTEL" userId="2d5b7065-31bb-4181-a7f8-a73bf0c30211" providerId="ADAL" clId="{F05BB0D5-3454-45DC-8378-DA45B79D9A06}" dt="2020-10-02T13:04:35.838" v="4641" actId="790"/>
          <ac:spMkLst>
            <pc:docMk/>
            <pc:sldMk cId="4135816563" sldId="6807"/>
            <ac:spMk id="17" creationId="{11BCC358-44A3-47CD-B5C9-F22FF68DE752}"/>
          </ac:spMkLst>
        </pc:spChg>
        <pc:spChg chg="mod">
          <ac:chgData name="Ugo MANTEL" userId="2d5b7065-31bb-4181-a7f8-a73bf0c30211" providerId="ADAL" clId="{F05BB0D5-3454-45DC-8378-DA45B79D9A06}" dt="2020-10-02T13:04:35.839" v="4642" actId="790"/>
          <ac:spMkLst>
            <pc:docMk/>
            <pc:sldMk cId="4135816563" sldId="6807"/>
            <ac:spMk id="27" creationId="{159864DC-EA0B-4068-86F3-B47547FE393F}"/>
          </ac:spMkLst>
        </pc:spChg>
        <pc:spChg chg="mod">
          <ac:chgData name="Ugo MANTEL" userId="2d5b7065-31bb-4181-a7f8-a73bf0c30211" providerId="ADAL" clId="{F05BB0D5-3454-45DC-8378-DA45B79D9A06}" dt="2020-10-02T13:04:35.840" v="4643" actId="790"/>
          <ac:spMkLst>
            <pc:docMk/>
            <pc:sldMk cId="4135816563" sldId="6807"/>
            <ac:spMk id="29" creationId="{8498E60A-EAC8-4991-9952-617BA0E7C5D0}"/>
          </ac:spMkLst>
        </pc:spChg>
        <pc:spChg chg="mod">
          <ac:chgData name="Ugo MANTEL" userId="2d5b7065-31bb-4181-a7f8-a73bf0c30211" providerId="ADAL" clId="{F05BB0D5-3454-45DC-8378-DA45B79D9A06}" dt="2020-10-02T13:04:35.840" v="4644" actId="790"/>
          <ac:spMkLst>
            <pc:docMk/>
            <pc:sldMk cId="4135816563" sldId="6807"/>
            <ac:spMk id="36" creationId="{4FA262C4-955D-4BB9-87C5-B822B8AD7468}"/>
          </ac:spMkLst>
        </pc:spChg>
        <pc:spChg chg="mod">
          <ac:chgData name="Ugo MANTEL" userId="2d5b7065-31bb-4181-a7f8-a73bf0c30211" providerId="ADAL" clId="{F05BB0D5-3454-45DC-8378-DA45B79D9A06}" dt="2020-10-02T13:04:35.841" v="4645" actId="790"/>
          <ac:spMkLst>
            <pc:docMk/>
            <pc:sldMk cId="4135816563" sldId="6807"/>
            <ac:spMk id="37" creationId="{F32F97E2-630A-4A39-8336-ABDBD511CB05}"/>
          </ac:spMkLst>
        </pc:spChg>
        <pc:spChg chg="mod">
          <ac:chgData name="Ugo MANTEL" userId="2d5b7065-31bb-4181-a7f8-a73bf0c30211" providerId="ADAL" clId="{F05BB0D5-3454-45DC-8378-DA45B79D9A06}" dt="2020-10-02T13:04:35.882" v="4677" actId="790"/>
          <ac:spMkLst>
            <pc:docMk/>
            <pc:sldMk cId="4135816563" sldId="6807"/>
            <ac:spMk id="40" creationId="{5C39529E-BD96-439E-A347-B1ADD2F77294}"/>
          </ac:spMkLst>
        </pc:spChg>
        <pc:spChg chg="mod">
          <ac:chgData name="Ugo MANTEL" userId="2d5b7065-31bb-4181-a7f8-a73bf0c30211" providerId="ADAL" clId="{F05BB0D5-3454-45DC-8378-DA45B79D9A06}" dt="2020-10-02T13:04:35.837" v="4640" actId="790"/>
          <ac:spMkLst>
            <pc:docMk/>
            <pc:sldMk cId="4135816563" sldId="6807"/>
            <ac:spMk id="54" creationId="{DB99D8C6-041B-45E4-957B-E14F254E1B7B}"/>
          </ac:spMkLst>
        </pc:spChg>
        <pc:spChg chg="mod">
          <ac:chgData name="Ugo MANTEL" userId="2d5b7065-31bb-4181-a7f8-a73bf0c30211" providerId="ADAL" clId="{F05BB0D5-3454-45DC-8378-DA45B79D9A06}" dt="2020-10-02T13:04:35.846" v="4646" actId="790"/>
          <ac:spMkLst>
            <pc:docMk/>
            <pc:sldMk cId="4135816563" sldId="6807"/>
            <ac:spMk id="60" creationId="{4D60C521-BF19-476B-8345-6F39D13972FD}"/>
          </ac:spMkLst>
        </pc:spChg>
        <pc:spChg chg="mod">
          <ac:chgData name="Ugo MANTEL" userId="2d5b7065-31bb-4181-a7f8-a73bf0c30211" providerId="ADAL" clId="{F05BB0D5-3454-45DC-8378-DA45B79D9A06}" dt="2020-10-02T13:04:35.847" v="4647" actId="790"/>
          <ac:spMkLst>
            <pc:docMk/>
            <pc:sldMk cId="4135816563" sldId="6807"/>
            <ac:spMk id="61" creationId="{ECCE6F0A-B3BC-449A-BF39-8245DC454AED}"/>
          </ac:spMkLst>
        </pc:spChg>
        <pc:spChg chg="mod">
          <ac:chgData name="Ugo MANTEL" userId="2d5b7065-31bb-4181-a7f8-a73bf0c30211" providerId="ADAL" clId="{F05BB0D5-3454-45DC-8378-DA45B79D9A06}" dt="2020-10-02T13:04:35.848" v="4648" actId="790"/>
          <ac:spMkLst>
            <pc:docMk/>
            <pc:sldMk cId="4135816563" sldId="6807"/>
            <ac:spMk id="62" creationId="{96A1092C-4F9C-483E-AB0F-D098493D9D68}"/>
          </ac:spMkLst>
        </pc:spChg>
        <pc:spChg chg="mod">
          <ac:chgData name="Ugo MANTEL" userId="2d5b7065-31bb-4181-a7f8-a73bf0c30211" providerId="ADAL" clId="{F05BB0D5-3454-45DC-8378-DA45B79D9A06}" dt="2020-10-02T13:04:35.836" v="4639" actId="790"/>
          <ac:spMkLst>
            <pc:docMk/>
            <pc:sldMk cId="4135816563" sldId="6807"/>
            <ac:spMk id="68" creationId="{1770A98C-779B-4DA7-A16E-099ABB896E95}"/>
          </ac:spMkLst>
        </pc:spChg>
        <pc:spChg chg="mod">
          <ac:chgData name="Ugo MANTEL" userId="2d5b7065-31bb-4181-a7f8-a73bf0c30211" providerId="ADAL" clId="{F05BB0D5-3454-45DC-8378-DA45B79D9A06}" dt="2020-10-02T13:04:35.850" v="4649" actId="790"/>
          <ac:spMkLst>
            <pc:docMk/>
            <pc:sldMk cId="4135816563" sldId="6807"/>
            <ac:spMk id="70" creationId="{AF2F52C0-3579-4060-BB08-F2EA8D5991F8}"/>
          </ac:spMkLst>
        </pc:spChg>
        <pc:spChg chg="mod">
          <ac:chgData name="Ugo MANTEL" userId="2d5b7065-31bb-4181-a7f8-a73bf0c30211" providerId="ADAL" clId="{F05BB0D5-3454-45DC-8378-DA45B79D9A06}" dt="2020-10-02T13:04:35.851" v="4650" actId="790"/>
          <ac:spMkLst>
            <pc:docMk/>
            <pc:sldMk cId="4135816563" sldId="6807"/>
            <ac:spMk id="94" creationId="{C3927848-C102-4E73-9613-3A8B07EA7FCF}"/>
          </ac:spMkLst>
        </pc:spChg>
        <pc:spChg chg="mod">
          <ac:chgData name="Ugo MANTEL" userId="2d5b7065-31bb-4181-a7f8-a73bf0c30211" providerId="ADAL" clId="{F05BB0D5-3454-45DC-8378-DA45B79D9A06}" dt="2020-10-02T13:04:35.852" v="4651" actId="790"/>
          <ac:spMkLst>
            <pc:docMk/>
            <pc:sldMk cId="4135816563" sldId="6807"/>
            <ac:spMk id="96" creationId="{D06DF8DB-4D1A-48B9-91E2-8EF6E090FF25}"/>
          </ac:spMkLst>
        </pc:spChg>
        <pc:spChg chg="mod">
          <ac:chgData name="Ugo MANTEL" userId="2d5b7065-31bb-4181-a7f8-a73bf0c30211" providerId="ADAL" clId="{F05BB0D5-3454-45DC-8378-DA45B79D9A06}" dt="2020-10-02T13:04:35.885" v="4679" actId="790"/>
          <ac:spMkLst>
            <pc:docMk/>
            <pc:sldMk cId="4135816563" sldId="6807"/>
            <ac:spMk id="103" creationId="{0F7BE15B-8307-4576-BDC6-0E26042C98AA}"/>
          </ac:spMkLst>
        </pc:spChg>
        <pc:spChg chg="mod">
          <ac:chgData name="Ugo MANTEL" userId="2d5b7065-31bb-4181-a7f8-a73bf0c30211" providerId="ADAL" clId="{F05BB0D5-3454-45DC-8378-DA45B79D9A06}" dt="2020-10-02T13:04:35.852" v="4652" actId="790"/>
          <ac:spMkLst>
            <pc:docMk/>
            <pc:sldMk cId="4135816563" sldId="6807"/>
            <ac:spMk id="105" creationId="{8728A2CB-73FC-4BBC-8B7C-6D931CA150C2}"/>
          </ac:spMkLst>
        </pc:spChg>
        <pc:spChg chg="mod">
          <ac:chgData name="Ugo MANTEL" userId="2d5b7065-31bb-4181-a7f8-a73bf0c30211" providerId="ADAL" clId="{F05BB0D5-3454-45DC-8378-DA45B79D9A06}" dt="2020-10-02T13:04:35.854" v="4653" actId="790"/>
          <ac:spMkLst>
            <pc:docMk/>
            <pc:sldMk cId="4135816563" sldId="6807"/>
            <ac:spMk id="106" creationId="{BB695926-BC3D-4D95-B217-C6830B16E018}"/>
          </ac:spMkLst>
        </pc:spChg>
        <pc:spChg chg="mod">
          <ac:chgData name="Ugo MANTEL" userId="2d5b7065-31bb-4181-a7f8-a73bf0c30211" providerId="ADAL" clId="{F05BB0D5-3454-45DC-8378-DA45B79D9A06}" dt="2020-10-02T13:04:35.854" v="4654" actId="790"/>
          <ac:spMkLst>
            <pc:docMk/>
            <pc:sldMk cId="4135816563" sldId="6807"/>
            <ac:spMk id="108" creationId="{1A024317-E5CB-4A6C-B5AA-788A0030A231}"/>
          </ac:spMkLst>
        </pc:spChg>
        <pc:spChg chg="mod">
          <ac:chgData name="Ugo MANTEL" userId="2d5b7065-31bb-4181-a7f8-a73bf0c30211" providerId="ADAL" clId="{F05BB0D5-3454-45DC-8378-DA45B79D9A06}" dt="2020-10-02T13:04:35.855" v="4655" actId="790"/>
          <ac:spMkLst>
            <pc:docMk/>
            <pc:sldMk cId="4135816563" sldId="6807"/>
            <ac:spMk id="109" creationId="{0ADE005E-7DA3-4B62-BD77-B4857A2695B6}"/>
          </ac:spMkLst>
        </pc:spChg>
        <pc:spChg chg="mod">
          <ac:chgData name="Ugo MANTEL" userId="2d5b7065-31bb-4181-a7f8-a73bf0c30211" providerId="ADAL" clId="{F05BB0D5-3454-45DC-8378-DA45B79D9A06}" dt="2020-10-02T13:04:35.856" v="4656" actId="790"/>
          <ac:spMkLst>
            <pc:docMk/>
            <pc:sldMk cId="4135816563" sldId="6807"/>
            <ac:spMk id="116" creationId="{2957C457-E5FD-4666-836C-2C4D084BD7EE}"/>
          </ac:spMkLst>
        </pc:spChg>
        <pc:spChg chg="mod">
          <ac:chgData name="Ugo MANTEL" userId="2d5b7065-31bb-4181-a7f8-a73bf0c30211" providerId="ADAL" clId="{F05BB0D5-3454-45DC-8378-DA45B79D9A06}" dt="2020-10-02T13:04:35.857" v="4657" actId="790"/>
          <ac:spMkLst>
            <pc:docMk/>
            <pc:sldMk cId="4135816563" sldId="6807"/>
            <ac:spMk id="118" creationId="{BE5112EF-9C80-4795-B1CA-6B2198E29942}"/>
          </ac:spMkLst>
        </pc:spChg>
        <pc:spChg chg="mod">
          <ac:chgData name="Ugo MANTEL" userId="2d5b7065-31bb-4181-a7f8-a73bf0c30211" providerId="ADAL" clId="{F05BB0D5-3454-45DC-8378-DA45B79D9A06}" dt="2020-10-02T13:04:35.858" v="4658" actId="790"/>
          <ac:spMkLst>
            <pc:docMk/>
            <pc:sldMk cId="4135816563" sldId="6807"/>
            <ac:spMk id="119" creationId="{61B78ADB-3FB7-4B1B-AB00-8BC2206CBA75}"/>
          </ac:spMkLst>
        </pc:spChg>
        <pc:spChg chg="mod">
          <ac:chgData name="Ugo MANTEL" userId="2d5b7065-31bb-4181-a7f8-a73bf0c30211" providerId="ADAL" clId="{F05BB0D5-3454-45DC-8378-DA45B79D9A06}" dt="2020-10-02T13:04:35.861" v="4659" actId="790"/>
          <ac:spMkLst>
            <pc:docMk/>
            <pc:sldMk cId="4135816563" sldId="6807"/>
            <ac:spMk id="130" creationId="{E4C3F168-14E4-4051-A814-436B1C949552}"/>
          </ac:spMkLst>
        </pc:spChg>
        <pc:spChg chg="mod">
          <ac:chgData name="Ugo MANTEL" userId="2d5b7065-31bb-4181-a7f8-a73bf0c30211" providerId="ADAL" clId="{F05BB0D5-3454-45DC-8378-DA45B79D9A06}" dt="2020-10-02T13:04:35.862" v="4660" actId="790"/>
          <ac:spMkLst>
            <pc:docMk/>
            <pc:sldMk cId="4135816563" sldId="6807"/>
            <ac:spMk id="131" creationId="{0BB71EAB-42B6-4237-AA89-7B0865EAA3D1}"/>
          </ac:spMkLst>
        </pc:spChg>
        <pc:spChg chg="mod">
          <ac:chgData name="Ugo MANTEL" userId="2d5b7065-31bb-4181-a7f8-a73bf0c30211" providerId="ADAL" clId="{F05BB0D5-3454-45DC-8378-DA45B79D9A06}" dt="2020-10-02T13:04:35.885" v="4680" actId="790"/>
          <ac:spMkLst>
            <pc:docMk/>
            <pc:sldMk cId="4135816563" sldId="6807"/>
            <ac:spMk id="133" creationId="{49A3CCB2-4414-4471-BD6C-B5905C4480C4}"/>
          </ac:spMkLst>
        </pc:spChg>
        <pc:spChg chg="mod">
          <ac:chgData name="Ugo MANTEL" userId="2d5b7065-31bb-4181-a7f8-a73bf0c30211" providerId="ADAL" clId="{F05BB0D5-3454-45DC-8378-DA45B79D9A06}" dt="2020-10-02T13:04:35.863" v="4661" actId="790"/>
          <ac:spMkLst>
            <pc:docMk/>
            <pc:sldMk cId="4135816563" sldId="6807"/>
            <ac:spMk id="134" creationId="{0DFD5874-3A3C-49D8-993F-89298D6CAE18}"/>
          </ac:spMkLst>
        </pc:spChg>
        <pc:spChg chg="mod">
          <ac:chgData name="Ugo MANTEL" userId="2d5b7065-31bb-4181-a7f8-a73bf0c30211" providerId="ADAL" clId="{F05BB0D5-3454-45DC-8378-DA45B79D9A06}" dt="2020-10-02T13:04:35.886" v="4681" actId="790"/>
          <ac:spMkLst>
            <pc:docMk/>
            <pc:sldMk cId="4135816563" sldId="6807"/>
            <ac:spMk id="135" creationId="{832079E8-C93F-459A-99A1-FA7581F292EC}"/>
          </ac:spMkLst>
        </pc:spChg>
        <pc:spChg chg="mod">
          <ac:chgData name="Ugo MANTEL" userId="2d5b7065-31bb-4181-a7f8-a73bf0c30211" providerId="ADAL" clId="{F05BB0D5-3454-45DC-8378-DA45B79D9A06}" dt="2020-10-02T13:04:35.887" v="4682" actId="790"/>
          <ac:spMkLst>
            <pc:docMk/>
            <pc:sldMk cId="4135816563" sldId="6807"/>
            <ac:spMk id="139" creationId="{DE74DEAF-9149-41F1-A82C-B918B89EC3ED}"/>
          </ac:spMkLst>
        </pc:spChg>
        <pc:spChg chg="mod">
          <ac:chgData name="Ugo MANTEL" userId="2d5b7065-31bb-4181-a7f8-a73bf0c30211" providerId="ADAL" clId="{F05BB0D5-3454-45DC-8378-DA45B79D9A06}" dt="2020-10-02T13:04:35.888" v="4683" actId="790"/>
          <ac:spMkLst>
            <pc:docMk/>
            <pc:sldMk cId="4135816563" sldId="6807"/>
            <ac:spMk id="141" creationId="{5C079020-ED97-4CF2-8D2F-250C67A6C040}"/>
          </ac:spMkLst>
        </pc:spChg>
        <pc:spChg chg="mod">
          <ac:chgData name="Ugo MANTEL" userId="2d5b7065-31bb-4181-a7f8-a73bf0c30211" providerId="ADAL" clId="{F05BB0D5-3454-45DC-8378-DA45B79D9A06}" dt="2020-10-02T13:04:35.888" v="4684" actId="790"/>
          <ac:spMkLst>
            <pc:docMk/>
            <pc:sldMk cId="4135816563" sldId="6807"/>
            <ac:spMk id="143" creationId="{0B434DC1-C63D-4ABF-AF5B-EF1AF4792D86}"/>
          </ac:spMkLst>
        </pc:spChg>
        <pc:spChg chg="mod">
          <ac:chgData name="Ugo MANTEL" userId="2d5b7065-31bb-4181-a7f8-a73bf0c30211" providerId="ADAL" clId="{F05BB0D5-3454-45DC-8378-DA45B79D9A06}" dt="2020-10-02T13:04:35.865" v="4662" actId="790"/>
          <ac:spMkLst>
            <pc:docMk/>
            <pc:sldMk cId="4135816563" sldId="6807"/>
            <ac:spMk id="144" creationId="{063A763C-A22F-4791-9CEE-DF455F14D20C}"/>
          </ac:spMkLst>
        </pc:spChg>
        <pc:spChg chg="mod">
          <ac:chgData name="Ugo MANTEL" userId="2d5b7065-31bb-4181-a7f8-a73bf0c30211" providerId="ADAL" clId="{F05BB0D5-3454-45DC-8378-DA45B79D9A06}" dt="2020-10-02T13:04:35.866" v="4663" actId="790"/>
          <ac:spMkLst>
            <pc:docMk/>
            <pc:sldMk cId="4135816563" sldId="6807"/>
            <ac:spMk id="147" creationId="{3625998B-987A-4189-B483-E3892FE3D70D}"/>
          </ac:spMkLst>
        </pc:spChg>
        <pc:spChg chg="mod">
          <ac:chgData name="Ugo MANTEL" userId="2d5b7065-31bb-4181-a7f8-a73bf0c30211" providerId="ADAL" clId="{F05BB0D5-3454-45DC-8378-DA45B79D9A06}" dt="2020-10-02T13:04:35.889" v="4685" actId="790"/>
          <ac:spMkLst>
            <pc:docMk/>
            <pc:sldMk cId="4135816563" sldId="6807"/>
            <ac:spMk id="148" creationId="{0780B5D1-5D31-4131-99C1-3E2D69AF6C48}"/>
          </ac:spMkLst>
        </pc:spChg>
        <pc:spChg chg="mod">
          <ac:chgData name="Ugo MANTEL" userId="2d5b7065-31bb-4181-a7f8-a73bf0c30211" providerId="ADAL" clId="{F05BB0D5-3454-45DC-8378-DA45B79D9A06}" dt="2020-10-02T13:04:35.867" v="4664" actId="790"/>
          <ac:spMkLst>
            <pc:docMk/>
            <pc:sldMk cId="4135816563" sldId="6807"/>
            <ac:spMk id="149" creationId="{2DB4DB07-64D9-48B5-B11A-548686B37AA4}"/>
          </ac:spMkLst>
        </pc:spChg>
        <pc:spChg chg="mod">
          <ac:chgData name="Ugo MANTEL" userId="2d5b7065-31bb-4181-a7f8-a73bf0c30211" providerId="ADAL" clId="{F05BB0D5-3454-45DC-8378-DA45B79D9A06}" dt="2020-10-02T13:04:35.889" v="4686" actId="790"/>
          <ac:spMkLst>
            <pc:docMk/>
            <pc:sldMk cId="4135816563" sldId="6807"/>
            <ac:spMk id="150" creationId="{79AC0A72-7CB8-4552-8F60-EB5033FA6150}"/>
          </ac:spMkLst>
        </pc:spChg>
        <pc:spChg chg="mod">
          <ac:chgData name="Ugo MANTEL" userId="2d5b7065-31bb-4181-a7f8-a73bf0c30211" providerId="ADAL" clId="{F05BB0D5-3454-45DC-8378-DA45B79D9A06}" dt="2020-10-02T13:04:35.924" v="4736" actId="790"/>
          <ac:spMkLst>
            <pc:docMk/>
            <pc:sldMk cId="4135816563" sldId="6807"/>
            <ac:spMk id="151" creationId="{50636617-63EE-43C9-88A0-EB97352AF1E8}"/>
          </ac:spMkLst>
        </pc:spChg>
        <pc:spChg chg="mod">
          <ac:chgData name="Ugo MANTEL" userId="2d5b7065-31bb-4181-a7f8-a73bf0c30211" providerId="ADAL" clId="{F05BB0D5-3454-45DC-8378-DA45B79D9A06}" dt="2020-10-02T13:04:35.890" v="4687" actId="790"/>
          <ac:spMkLst>
            <pc:docMk/>
            <pc:sldMk cId="4135816563" sldId="6807"/>
            <ac:spMk id="152" creationId="{063A43A4-A3A7-4F0A-BA3F-DB49B409C989}"/>
          </ac:spMkLst>
        </pc:spChg>
        <pc:spChg chg="mod">
          <ac:chgData name="Ugo MANTEL" userId="2d5b7065-31bb-4181-a7f8-a73bf0c30211" providerId="ADAL" clId="{F05BB0D5-3454-45DC-8378-DA45B79D9A06}" dt="2020-10-02T13:04:35.891" v="4688" actId="790"/>
          <ac:spMkLst>
            <pc:docMk/>
            <pc:sldMk cId="4135816563" sldId="6807"/>
            <ac:spMk id="155" creationId="{973836ED-90F0-4A91-956E-3DE5F7862D20}"/>
          </ac:spMkLst>
        </pc:spChg>
        <pc:spChg chg="mod">
          <ac:chgData name="Ugo MANTEL" userId="2d5b7065-31bb-4181-a7f8-a73bf0c30211" providerId="ADAL" clId="{F05BB0D5-3454-45DC-8378-DA45B79D9A06}" dt="2020-10-02T13:04:35.891" v="4689" actId="790"/>
          <ac:spMkLst>
            <pc:docMk/>
            <pc:sldMk cId="4135816563" sldId="6807"/>
            <ac:spMk id="156" creationId="{0D55639A-352F-47B7-A7CF-909AD0679791}"/>
          </ac:spMkLst>
        </pc:spChg>
        <pc:spChg chg="mod">
          <ac:chgData name="Ugo MANTEL" userId="2d5b7065-31bb-4181-a7f8-a73bf0c30211" providerId="ADAL" clId="{F05BB0D5-3454-45DC-8378-DA45B79D9A06}" dt="2020-10-02T13:04:35.892" v="4690" actId="790"/>
          <ac:spMkLst>
            <pc:docMk/>
            <pc:sldMk cId="4135816563" sldId="6807"/>
            <ac:spMk id="157" creationId="{8CB172EC-DCD0-4099-9E91-02BCB429D12F}"/>
          </ac:spMkLst>
        </pc:spChg>
        <pc:spChg chg="mod">
          <ac:chgData name="Ugo MANTEL" userId="2d5b7065-31bb-4181-a7f8-a73bf0c30211" providerId="ADAL" clId="{F05BB0D5-3454-45DC-8378-DA45B79D9A06}" dt="2020-10-02T13:04:35.872" v="4667" actId="790"/>
          <ac:spMkLst>
            <pc:docMk/>
            <pc:sldMk cId="4135816563" sldId="6807"/>
            <ac:spMk id="158" creationId="{2038E0A1-6462-4761-A752-52389C04277C}"/>
          </ac:spMkLst>
        </pc:spChg>
        <pc:spChg chg="mod">
          <ac:chgData name="Ugo MANTEL" userId="2d5b7065-31bb-4181-a7f8-a73bf0c30211" providerId="ADAL" clId="{F05BB0D5-3454-45DC-8378-DA45B79D9A06}" dt="2020-10-02T13:04:35.892" v="4691" actId="790"/>
          <ac:spMkLst>
            <pc:docMk/>
            <pc:sldMk cId="4135816563" sldId="6807"/>
            <ac:spMk id="159" creationId="{C9D78318-209B-446A-A667-9C1D165C7A00}"/>
          </ac:spMkLst>
        </pc:spChg>
        <pc:spChg chg="mod">
          <ac:chgData name="Ugo MANTEL" userId="2d5b7065-31bb-4181-a7f8-a73bf0c30211" providerId="ADAL" clId="{F05BB0D5-3454-45DC-8378-DA45B79D9A06}" dt="2020-10-02T13:04:35.925" v="4737" actId="790"/>
          <ac:spMkLst>
            <pc:docMk/>
            <pc:sldMk cId="4135816563" sldId="6807"/>
            <ac:spMk id="161" creationId="{B8826D74-AC5C-4127-A964-43D19F90F471}"/>
          </ac:spMkLst>
        </pc:spChg>
        <pc:spChg chg="mod">
          <ac:chgData name="Ugo MANTEL" userId="2d5b7065-31bb-4181-a7f8-a73bf0c30211" providerId="ADAL" clId="{F05BB0D5-3454-45DC-8378-DA45B79D9A06}" dt="2020-10-02T13:04:35.868" v="4665" actId="790"/>
          <ac:spMkLst>
            <pc:docMk/>
            <pc:sldMk cId="4135816563" sldId="6807"/>
            <ac:spMk id="162" creationId="{384CF509-9117-4C41-988C-8D5CE02B7006}"/>
          </ac:spMkLst>
        </pc:spChg>
        <pc:spChg chg="mod">
          <ac:chgData name="Ugo MANTEL" userId="2d5b7065-31bb-4181-a7f8-a73bf0c30211" providerId="ADAL" clId="{F05BB0D5-3454-45DC-8378-DA45B79D9A06}" dt="2020-10-02T13:04:35.871" v="4666" actId="790"/>
          <ac:spMkLst>
            <pc:docMk/>
            <pc:sldMk cId="4135816563" sldId="6807"/>
            <ac:spMk id="163" creationId="{D00E5A24-FB5E-4D29-8AE6-F4405252F070}"/>
          </ac:spMkLst>
        </pc:spChg>
        <pc:spChg chg="mod">
          <ac:chgData name="Ugo MANTEL" userId="2d5b7065-31bb-4181-a7f8-a73bf0c30211" providerId="ADAL" clId="{F05BB0D5-3454-45DC-8378-DA45B79D9A06}" dt="2020-10-02T13:04:35.926" v="4738" actId="790"/>
          <ac:spMkLst>
            <pc:docMk/>
            <pc:sldMk cId="4135816563" sldId="6807"/>
            <ac:spMk id="164" creationId="{59401DC1-E292-4BB6-B933-97F17EB3B27D}"/>
          </ac:spMkLst>
        </pc:spChg>
        <pc:spChg chg="mod">
          <ac:chgData name="Ugo MANTEL" userId="2d5b7065-31bb-4181-a7f8-a73bf0c30211" providerId="ADAL" clId="{F05BB0D5-3454-45DC-8378-DA45B79D9A06}" dt="2020-10-02T13:04:35.926" v="4739" actId="790"/>
          <ac:spMkLst>
            <pc:docMk/>
            <pc:sldMk cId="4135816563" sldId="6807"/>
            <ac:spMk id="165" creationId="{FEF52EFA-B594-4D39-885A-079D90BBB39D}"/>
          </ac:spMkLst>
        </pc:spChg>
        <pc:spChg chg="mod">
          <ac:chgData name="Ugo MANTEL" userId="2d5b7065-31bb-4181-a7f8-a73bf0c30211" providerId="ADAL" clId="{F05BB0D5-3454-45DC-8378-DA45B79D9A06}" dt="2020-10-02T13:04:35.872" v="4668" actId="790"/>
          <ac:spMkLst>
            <pc:docMk/>
            <pc:sldMk cId="4135816563" sldId="6807"/>
            <ac:spMk id="166" creationId="{AA11BD11-3D19-43C4-81A6-527012E2767B}"/>
          </ac:spMkLst>
        </pc:spChg>
        <pc:spChg chg="mod">
          <ac:chgData name="Ugo MANTEL" userId="2d5b7065-31bb-4181-a7f8-a73bf0c30211" providerId="ADAL" clId="{F05BB0D5-3454-45DC-8378-DA45B79D9A06}" dt="2020-10-02T13:04:35.874" v="4669" actId="790"/>
          <ac:spMkLst>
            <pc:docMk/>
            <pc:sldMk cId="4135816563" sldId="6807"/>
            <ac:spMk id="167" creationId="{60BAFCF4-6A2E-4F06-B654-028F361B4F48}"/>
          </ac:spMkLst>
        </pc:spChg>
        <pc:spChg chg="mod">
          <ac:chgData name="Ugo MANTEL" userId="2d5b7065-31bb-4181-a7f8-a73bf0c30211" providerId="ADAL" clId="{F05BB0D5-3454-45DC-8378-DA45B79D9A06}" dt="2020-10-02T13:04:35.927" v="4740" actId="790"/>
          <ac:spMkLst>
            <pc:docMk/>
            <pc:sldMk cId="4135816563" sldId="6807"/>
            <ac:spMk id="168" creationId="{BB67F143-5B3E-4547-8DB5-53D0F45E1036}"/>
          </ac:spMkLst>
        </pc:spChg>
        <pc:spChg chg="mod">
          <ac:chgData name="Ugo MANTEL" userId="2d5b7065-31bb-4181-a7f8-a73bf0c30211" providerId="ADAL" clId="{F05BB0D5-3454-45DC-8378-DA45B79D9A06}" dt="2020-10-02T13:04:35.875" v="4670" actId="790"/>
          <ac:spMkLst>
            <pc:docMk/>
            <pc:sldMk cId="4135816563" sldId="6807"/>
            <ac:spMk id="171" creationId="{077582C5-FFC2-461F-AF7E-43238EE7202A}"/>
          </ac:spMkLst>
        </pc:spChg>
        <pc:spChg chg="mod">
          <ac:chgData name="Ugo MANTEL" userId="2d5b7065-31bb-4181-a7f8-a73bf0c30211" providerId="ADAL" clId="{F05BB0D5-3454-45DC-8378-DA45B79D9A06}" dt="2020-10-02T13:04:35.876" v="4671" actId="790"/>
          <ac:spMkLst>
            <pc:docMk/>
            <pc:sldMk cId="4135816563" sldId="6807"/>
            <ac:spMk id="172" creationId="{527E59E7-DEB4-4C34-8E80-7ADE5C34C712}"/>
          </ac:spMkLst>
        </pc:spChg>
        <pc:spChg chg="mod">
          <ac:chgData name="Ugo MANTEL" userId="2d5b7065-31bb-4181-a7f8-a73bf0c30211" providerId="ADAL" clId="{F05BB0D5-3454-45DC-8378-DA45B79D9A06}" dt="2020-10-02T13:04:35.877" v="4672" actId="790"/>
          <ac:spMkLst>
            <pc:docMk/>
            <pc:sldMk cId="4135816563" sldId="6807"/>
            <ac:spMk id="175" creationId="{55B5E42C-D7A3-4942-8ECE-F2B76ED8565C}"/>
          </ac:spMkLst>
        </pc:spChg>
        <pc:spChg chg="mod">
          <ac:chgData name="Ugo MANTEL" userId="2d5b7065-31bb-4181-a7f8-a73bf0c30211" providerId="ADAL" clId="{F05BB0D5-3454-45DC-8378-DA45B79D9A06}" dt="2020-10-02T13:04:35.878" v="4673" actId="790"/>
          <ac:spMkLst>
            <pc:docMk/>
            <pc:sldMk cId="4135816563" sldId="6807"/>
            <ac:spMk id="176" creationId="{68D19AF5-4D7A-4401-8C86-56F8674948CB}"/>
          </ac:spMkLst>
        </pc:spChg>
        <pc:spChg chg="mod">
          <ac:chgData name="Ugo MANTEL" userId="2d5b7065-31bb-4181-a7f8-a73bf0c30211" providerId="ADAL" clId="{F05BB0D5-3454-45DC-8378-DA45B79D9A06}" dt="2020-10-02T13:04:35.928" v="4741" actId="790"/>
          <ac:spMkLst>
            <pc:docMk/>
            <pc:sldMk cId="4135816563" sldId="6807"/>
            <ac:spMk id="180" creationId="{50E75FF8-055E-48AD-983E-0A33C4151ED6}"/>
          </ac:spMkLst>
        </pc:spChg>
        <pc:spChg chg="mod">
          <ac:chgData name="Ugo MANTEL" userId="2d5b7065-31bb-4181-a7f8-a73bf0c30211" providerId="ADAL" clId="{F05BB0D5-3454-45DC-8378-DA45B79D9A06}" dt="2020-10-02T13:04:35.879" v="4674" actId="790"/>
          <ac:spMkLst>
            <pc:docMk/>
            <pc:sldMk cId="4135816563" sldId="6807"/>
            <ac:spMk id="190" creationId="{A591974C-B5DD-4FC3-B44C-AA9ADCC0AE3F}"/>
          </ac:spMkLst>
        </pc:spChg>
        <pc:spChg chg="mod">
          <ac:chgData name="Ugo MANTEL" userId="2d5b7065-31bb-4181-a7f8-a73bf0c30211" providerId="ADAL" clId="{F05BB0D5-3454-45DC-8378-DA45B79D9A06}" dt="2020-10-02T13:04:35.879" v="4675" actId="790"/>
          <ac:spMkLst>
            <pc:docMk/>
            <pc:sldMk cId="4135816563" sldId="6807"/>
            <ac:spMk id="191" creationId="{77B68D21-48B3-4693-8E90-368BBBFFCDD5}"/>
          </ac:spMkLst>
        </pc:spChg>
        <pc:spChg chg="mod">
          <ac:chgData name="Ugo MANTEL" userId="2d5b7065-31bb-4181-a7f8-a73bf0c30211" providerId="ADAL" clId="{F05BB0D5-3454-45DC-8378-DA45B79D9A06}" dt="2020-10-02T13:04:35.894" v="4694" actId="790"/>
          <ac:spMkLst>
            <pc:docMk/>
            <pc:sldMk cId="4135816563" sldId="6807"/>
            <ac:spMk id="192" creationId="{CB7FF3B4-60A9-4901-AA3A-2E513CB9827B}"/>
          </ac:spMkLst>
        </pc:spChg>
        <pc:spChg chg="mod">
          <ac:chgData name="Ugo MANTEL" userId="2d5b7065-31bb-4181-a7f8-a73bf0c30211" providerId="ADAL" clId="{F05BB0D5-3454-45DC-8378-DA45B79D9A06}" dt="2020-10-02T13:04:35.895" v="4695" actId="790"/>
          <ac:spMkLst>
            <pc:docMk/>
            <pc:sldMk cId="4135816563" sldId="6807"/>
            <ac:spMk id="193" creationId="{0220C210-5844-4466-85EC-6879FDCD65DC}"/>
          </ac:spMkLst>
        </pc:spChg>
        <pc:spChg chg="mod">
          <ac:chgData name="Ugo MANTEL" userId="2d5b7065-31bb-4181-a7f8-a73bf0c30211" providerId="ADAL" clId="{F05BB0D5-3454-45DC-8378-DA45B79D9A06}" dt="2020-10-02T13:04:35.893" v="4692" actId="790"/>
          <ac:spMkLst>
            <pc:docMk/>
            <pc:sldMk cId="4135816563" sldId="6807"/>
            <ac:spMk id="194" creationId="{A72008A3-170F-48D4-9AA4-E5F82BAED219}"/>
          </ac:spMkLst>
        </pc:spChg>
        <pc:spChg chg="mod">
          <ac:chgData name="Ugo MANTEL" userId="2d5b7065-31bb-4181-a7f8-a73bf0c30211" providerId="ADAL" clId="{F05BB0D5-3454-45DC-8378-DA45B79D9A06}" dt="2020-10-02T13:04:35.894" v="4693" actId="790"/>
          <ac:spMkLst>
            <pc:docMk/>
            <pc:sldMk cId="4135816563" sldId="6807"/>
            <ac:spMk id="195" creationId="{A9172091-73F7-4DD2-B4E5-9F160BD1A64B}"/>
          </ac:spMkLst>
        </pc:spChg>
        <pc:spChg chg="mod">
          <ac:chgData name="Ugo MANTEL" userId="2d5b7065-31bb-4181-a7f8-a73bf0c30211" providerId="ADAL" clId="{F05BB0D5-3454-45DC-8378-DA45B79D9A06}" dt="2020-10-02T13:04:35.897" v="4698" actId="790"/>
          <ac:spMkLst>
            <pc:docMk/>
            <pc:sldMk cId="4135816563" sldId="6807"/>
            <ac:spMk id="198" creationId="{82066B8B-044A-480B-BCD1-54F5070C3BD5}"/>
          </ac:spMkLst>
        </pc:spChg>
        <pc:spChg chg="mod">
          <ac:chgData name="Ugo MANTEL" userId="2d5b7065-31bb-4181-a7f8-a73bf0c30211" providerId="ADAL" clId="{F05BB0D5-3454-45DC-8378-DA45B79D9A06}" dt="2020-10-02T13:04:35.897" v="4699" actId="790"/>
          <ac:spMkLst>
            <pc:docMk/>
            <pc:sldMk cId="4135816563" sldId="6807"/>
            <ac:spMk id="199" creationId="{4F6331F9-EA84-4286-921C-3F30FB054D22}"/>
          </ac:spMkLst>
        </pc:spChg>
        <pc:spChg chg="mod">
          <ac:chgData name="Ugo MANTEL" userId="2d5b7065-31bb-4181-a7f8-a73bf0c30211" providerId="ADAL" clId="{F05BB0D5-3454-45DC-8378-DA45B79D9A06}" dt="2020-10-02T13:04:35.895" v="4696" actId="790"/>
          <ac:spMkLst>
            <pc:docMk/>
            <pc:sldMk cId="4135816563" sldId="6807"/>
            <ac:spMk id="200" creationId="{3AEF6046-529A-4F90-969E-5FEEEA6DCD34}"/>
          </ac:spMkLst>
        </pc:spChg>
        <pc:spChg chg="mod">
          <ac:chgData name="Ugo MANTEL" userId="2d5b7065-31bb-4181-a7f8-a73bf0c30211" providerId="ADAL" clId="{F05BB0D5-3454-45DC-8378-DA45B79D9A06}" dt="2020-10-02T13:04:35.896" v="4697" actId="790"/>
          <ac:spMkLst>
            <pc:docMk/>
            <pc:sldMk cId="4135816563" sldId="6807"/>
            <ac:spMk id="201" creationId="{EA2C586D-1445-42DB-B072-8D6FCBC67B74}"/>
          </ac:spMkLst>
        </pc:spChg>
        <pc:spChg chg="mod">
          <ac:chgData name="Ugo MANTEL" userId="2d5b7065-31bb-4181-a7f8-a73bf0c30211" providerId="ADAL" clId="{F05BB0D5-3454-45DC-8378-DA45B79D9A06}" dt="2020-10-02T13:04:35.900" v="4702" actId="790"/>
          <ac:spMkLst>
            <pc:docMk/>
            <pc:sldMk cId="4135816563" sldId="6807"/>
            <ac:spMk id="204" creationId="{E6AE9D58-57C4-44A3-997A-0D12C34FE367}"/>
          </ac:spMkLst>
        </pc:spChg>
        <pc:spChg chg="mod">
          <ac:chgData name="Ugo MANTEL" userId="2d5b7065-31bb-4181-a7f8-a73bf0c30211" providerId="ADAL" clId="{F05BB0D5-3454-45DC-8378-DA45B79D9A06}" dt="2020-10-02T13:04:35.901" v="4703" actId="790"/>
          <ac:spMkLst>
            <pc:docMk/>
            <pc:sldMk cId="4135816563" sldId="6807"/>
            <ac:spMk id="205" creationId="{F0B87B15-2873-445E-8E27-2345A37642ED}"/>
          </ac:spMkLst>
        </pc:spChg>
        <pc:spChg chg="mod">
          <ac:chgData name="Ugo MANTEL" userId="2d5b7065-31bb-4181-a7f8-a73bf0c30211" providerId="ADAL" clId="{F05BB0D5-3454-45DC-8378-DA45B79D9A06}" dt="2020-10-02T13:04:35.898" v="4700" actId="790"/>
          <ac:spMkLst>
            <pc:docMk/>
            <pc:sldMk cId="4135816563" sldId="6807"/>
            <ac:spMk id="206" creationId="{6D018AD1-E6BB-4C96-9788-08CF8A6E1B3D}"/>
          </ac:spMkLst>
        </pc:spChg>
        <pc:spChg chg="mod">
          <ac:chgData name="Ugo MANTEL" userId="2d5b7065-31bb-4181-a7f8-a73bf0c30211" providerId="ADAL" clId="{F05BB0D5-3454-45DC-8378-DA45B79D9A06}" dt="2020-10-02T13:04:35.899" v="4701" actId="790"/>
          <ac:spMkLst>
            <pc:docMk/>
            <pc:sldMk cId="4135816563" sldId="6807"/>
            <ac:spMk id="207" creationId="{4A24CAFC-C17B-4FD1-8008-4FC648D875E4}"/>
          </ac:spMkLst>
        </pc:spChg>
        <pc:spChg chg="mod">
          <ac:chgData name="Ugo MANTEL" userId="2d5b7065-31bb-4181-a7f8-a73bf0c30211" providerId="ADAL" clId="{F05BB0D5-3454-45DC-8378-DA45B79D9A06}" dt="2020-10-02T13:04:35.903" v="4706" actId="790"/>
          <ac:spMkLst>
            <pc:docMk/>
            <pc:sldMk cId="4135816563" sldId="6807"/>
            <ac:spMk id="210" creationId="{757631BD-A419-422F-8D6D-EBD867D4E566}"/>
          </ac:spMkLst>
        </pc:spChg>
        <pc:spChg chg="mod">
          <ac:chgData name="Ugo MANTEL" userId="2d5b7065-31bb-4181-a7f8-a73bf0c30211" providerId="ADAL" clId="{F05BB0D5-3454-45DC-8378-DA45B79D9A06}" dt="2020-10-02T13:04:35.903" v="4707" actId="790"/>
          <ac:spMkLst>
            <pc:docMk/>
            <pc:sldMk cId="4135816563" sldId="6807"/>
            <ac:spMk id="211" creationId="{3568CAF2-0A89-4329-8CA5-26434CE7B0A6}"/>
          </ac:spMkLst>
        </pc:spChg>
        <pc:spChg chg="mod">
          <ac:chgData name="Ugo MANTEL" userId="2d5b7065-31bb-4181-a7f8-a73bf0c30211" providerId="ADAL" clId="{F05BB0D5-3454-45DC-8378-DA45B79D9A06}" dt="2020-10-02T13:04:35.902" v="4704" actId="790"/>
          <ac:spMkLst>
            <pc:docMk/>
            <pc:sldMk cId="4135816563" sldId="6807"/>
            <ac:spMk id="212" creationId="{B6993D88-1715-45A6-AAAC-B7F5A95EDE1C}"/>
          </ac:spMkLst>
        </pc:spChg>
        <pc:spChg chg="mod">
          <ac:chgData name="Ugo MANTEL" userId="2d5b7065-31bb-4181-a7f8-a73bf0c30211" providerId="ADAL" clId="{F05BB0D5-3454-45DC-8378-DA45B79D9A06}" dt="2020-10-02T13:04:35.902" v="4705" actId="790"/>
          <ac:spMkLst>
            <pc:docMk/>
            <pc:sldMk cId="4135816563" sldId="6807"/>
            <ac:spMk id="213" creationId="{6C2C824A-B919-4713-A057-43BA8714D184}"/>
          </ac:spMkLst>
        </pc:spChg>
        <pc:spChg chg="mod">
          <ac:chgData name="Ugo MANTEL" userId="2d5b7065-31bb-4181-a7f8-a73bf0c30211" providerId="ADAL" clId="{F05BB0D5-3454-45DC-8378-DA45B79D9A06}" dt="2020-10-02T13:04:35.905" v="4710" actId="790"/>
          <ac:spMkLst>
            <pc:docMk/>
            <pc:sldMk cId="4135816563" sldId="6807"/>
            <ac:spMk id="216" creationId="{E0100FC4-093F-4A73-8CF0-AB1E8750C053}"/>
          </ac:spMkLst>
        </pc:spChg>
        <pc:spChg chg="mod">
          <ac:chgData name="Ugo MANTEL" userId="2d5b7065-31bb-4181-a7f8-a73bf0c30211" providerId="ADAL" clId="{F05BB0D5-3454-45DC-8378-DA45B79D9A06}" dt="2020-10-02T13:04:35.906" v="4711" actId="790"/>
          <ac:spMkLst>
            <pc:docMk/>
            <pc:sldMk cId="4135816563" sldId="6807"/>
            <ac:spMk id="217" creationId="{1C88502A-9A77-4638-B494-D92EE1ECBC47}"/>
          </ac:spMkLst>
        </pc:spChg>
        <pc:spChg chg="mod">
          <ac:chgData name="Ugo MANTEL" userId="2d5b7065-31bb-4181-a7f8-a73bf0c30211" providerId="ADAL" clId="{F05BB0D5-3454-45DC-8378-DA45B79D9A06}" dt="2020-10-02T13:04:35.904" v="4708" actId="790"/>
          <ac:spMkLst>
            <pc:docMk/>
            <pc:sldMk cId="4135816563" sldId="6807"/>
            <ac:spMk id="218" creationId="{D35CDA86-568C-4A16-BB3B-A8E6305FB1AB}"/>
          </ac:spMkLst>
        </pc:spChg>
        <pc:spChg chg="mod">
          <ac:chgData name="Ugo MANTEL" userId="2d5b7065-31bb-4181-a7f8-a73bf0c30211" providerId="ADAL" clId="{F05BB0D5-3454-45DC-8378-DA45B79D9A06}" dt="2020-10-02T13:04:35.905" v="4709" actId="790"/>
          <ac:spMkLst>
            <pc:docMk/>
            <pc:sldMk cId="4135816563" sldId="6807"/>
            <ac:spMk id="219" creationId="{0CF22BFC-0A05-4FB0-A540-40595B4C3CFC}"/>
          </ac:spMkLst>
        </pc:spChg>
        <pc:spChg chg="mod">
          <ac:chgData name="Ugo MANTEL" userId="2d5b7065-31bb-4181-a7f8-a73bf0c30211" providerId="ADAL" clId="{F05BB0D5-3454-45DC-8378-DA45B79D9A06}" dt="2020-10-02T13:04:35.908" v="4714" actId="790"/>
          <ac:spMkLst>
            <pc:docMk/>
            <pc:sldMk cId="4135816563" sldId="6807"/>
            <ac:spMk id="222" creationId="{A631F7ED-2998-49FE-BDEF-B75086267AD4}"/>
          </ac:spMkLst>
        </pc:spChg>
        <pc:spChg chg="mod">
          <ac:chgData name="Ugo MANTEL" userId="2d5b7065-31bb-4181-a7f8-a73bf0c30211" providerId="ADAL" clId="{F05BB0D5-3454-45DC-8378-DA45B79D9A06}" dt="2020-10-02T13:04:35.909" v="4715" actId="790"/>
          <ac:spMkLst>
            <pc:docMk/>
            <pc:sldMk cId="4135816563" sldId="6807"/>
            <ac:spMk id="223" creationId="{210B3EBB-27B9-4E67-9A56-42564A8236EF}"/>
          </ac:spMkLst>
        </pc:spChg>
        <pc:spChg chg="mod">
          <ac:chgData name="Ugo MANTEL" userId="2d5b7065-31bb-4181-a7f8-a73bf0c30211" providerId="ADAL" clId="{F05BB0D5-3454-45DC-8378-DA45B79D9A06}" dt="2020-10-02T13:04:35.907" v="4712" actId="790"/>
          <ac:spMkLst>
            <pc:docMk/>
            <pc:sldMk cId="4135816563" sldId="6807"/>
            <ac:spMk id="224" creationId="{07180F53-F90F-4627-AE41-69FE3218C25F}"/>
          </ac:spMkLst>
        </pc:spChg>
        <pc:spChg chg="mod">
          <ac:chgData name="Ugo MANTEL" userId="2d5b7065-31bb-4181-a7f8-a73bf0c30211" providerId="ADAL" clId="{F05BB0D5-3454-45DC-8378-DA45B79D9A06}" dt="2020-10-02T13:04:35.907" v="4713" actId="790"/>
          <ac:spMkLst>
            <pc:docMk/>
            <pc:sldMk cId="4135816563" sldId="6807"/>
            <ac:spMk id="225" creationId="{03D7E657-8A77-468E-8F69-FCDE65F5CE4B}"/>
          </ac:spMkLst>
        </pc:spChg>
        <pc:spChg chg="mod">
          <ac:chgData name="Ugo MANTEL" userId="2d5b7065-31bb-4181-a7f8-a73bf0c30211" providerId="ADAL" clId="{F05BB0D5-3454-45DC-8378-DA45B79D9A06}" dt="2020-10-02T13:04:35.911" v="4718" actId="790"/>
          <ac:spMkLst>
            <pc:docMk/>
            <pc:sldMk cId="4135816563" sldId="6807"/>
            <ac:spMk id="228" creationId="{33C3EC00-EE18-4830-BEBD-14DEF45FD99B}"/>
          </ac:spMkLst>
        </pc:spChg>
        <pc:spChg chg="mod">
          <ac:chgData name="Ugo MANTEL" userId="2d5b7065-31bb-4181-a7f8-a73bf0c30211" providerId="ADAL" clId="{F05BB0D5-3454-45DC-8378-DA45B79D9A06}" dt="2020-10-02T13:04:35.911" v="4719" actId="790"/>
          <ac:spMkLst>
            <pc:docMk/>
            <pc:sldMk cId="4135816563" sldId="6807"/>
            <ac:spMk id="229" creationId="{7F82A762-DD53-481E-995D-9D60E356E40B}"/>
          </ac:spMkLst>
        </pc:spChg>
        <pc:spChg chg="mod">
          <ac:chgData name="Ugo MANTEL" userId="2d5b7065-31bb-4181-a7f8-a73bf0c30211" providerId="ADAL" clId="{F05BB0D5-3454-45DC-8378-DA45B79D9A06}" dt="2020-10-02T13:04:35.909" v="4716" actId="790"/>
          <ac:spMkLst>
            <pc:docMk/>
            <pc:sldMk cId="4135816563" sldId="6807"/>
            <ac:spMk id="230" creationId="{67CE61C5-0E5E-4924-BBE6-4266774F4E86}"/>
          </ac:spMkLst>
        </pc:spChg>
        <pc:spChg chg="mod">
          <ac:chgData name="Ugo MANTEL" userId="2d5b7065-31bb-4181-a7f8-a73bf0c30211" providerId="ADAL" clId="{F05BB0D5-3454-45DC-8378-DA45B79D9A06}" dt="2020-10-02T13:04:35.910" v="4717" actId="790"/>
          <ac:spMkLst>
            <pc:docMk/>
            <pc:sldMk cId="4135816563" sldId="6807"/>
            <ac:spMk id="231" creationId="{D716C239-C6CE-4888-B386-9C5CF24907A3}"/>
          </ac:spMkLst>
        </pc:spChg>
        <pc:spChg chg="mod">
          <ac:chgData name="Ugo MANTEL" userId="2d5b7065-31bb-4181-a7f8-a73bf0c30211" providerId="ADAL" clId="{F05BB0D5-3454-45DC-8378-DA45B79D9A06}" dt="2020-10-02T13:04:35.912" v="4720" actId="790"/>
          <ac:spMkLst>
            <pc:docMk/>
            <pc:sldMk cId="4135816563" sldId="6807"/>
            <ac:spMk id="233" creationId="{C7E646AB-6357-464C-9F54-E973C4F33B9D}"/>
          </ac:spMkLst>
        </pc:spChg>
        <pc:spChg chg="mod">
          <ac:chgData name="Ugo MANTEL" userId="2d5b7065-31bb-4181-a7f8-a73bf0c30211" providerId="ADAL" clId="{F05BB0D5-3454-45DC-8378-DA45B79D9A06}" dt="2020-10-02T13:04:35.913" v="4721" actId="790"/>
          <ac:spMkLst>
            <pc:docMk/>
            <pc:sldMk cId="4135816563" sldId="6807"/>
            <ac:spMk id="234" creationId="{73CC463F-435C-4D34-895B-0295DF48AE24}"/>
          </ac:spMkLst>
        </pc:spChg>
        <pc:spChg chg="mod">
          <ac:chgData name="Ugo MANTEL" userId="2d5b7065-31bb-4181-a7f8-a73bf0c30211" providerId="ADAL" clId="{F05BB0D5-3454-45DC-8378-DA45B79D9A06}" dt="2020-10-02T13:04:35.913" v="4722" actId="790"/>
          <ac:spMkLst>
            <pc:docMk/>
            <pc:sldMk cId="4135816563" sldId="6807"/>
            <ac:spMk id="235" creationId="{2B284751-67C6-4E88-B4F2-95A49674D789}"/>
          </ac:spMkLst>
        </pc:spChg>
        <pc:spChg chg="mod">
          <ac:chgData name="Ugo MANTEL" userId="2d5b7065-31bb-4181-a7f8-a73bf0c30211" providerId="ADAL" clId="{F05BB0D5-3454-45DC-8378-DA45B79D9A06}" dt="2020-10-02T13:04:35.914" v="4723" actId="790"/>
          <ac:spMkLst>
            <pc:docMk/>
            <pc:sldMk cId="4135816563" sldId="6807"/>
            <ac:spMk id="236" creationId="{094FAA05-2123-45B7-83EF-68C5EC0F806F}"/>
          </ac:spMkLst>
        </pc:spChg>
        <pc:spChg chg="mod">
          <ac:chgData name="Ugo MANTEL" userId="2d5b7065-31bb-4181-a7f8-a73bf0c30211" providerId="ADAL" clId="{F05BB0D5-3454-45DC-8378-DA45B79D9A06}" dt="2020-10-02T13:04:35.917" v="4726" actId="790"/>
          <ac:spMkLst>
            <pc:docMk/>
            <pc:sldMk cId="4135816563" sldId="6807"/>
            <ac:spMk id="239" creationId="{52F55D73-FEE6-44A4-8F5E-70C3F7C58E20}"/>
          </ac:spMkLst>
        </pc:spChg>
        <pc:spChg chg="mod">
          <ac:chgData name="Ugo MANTEL" userId="2d5b7065-31bb-4181-a7f8-a73bf0c30211" providerId="ADAL" clId="{F05BB0D5-3454-45DC-8378-DA45B79D9A06}" dt="2020-10-02T13:04:35.918" v="4727" actId="790"/>
          <ac:spMkLst>
            <pc:docMk/>
            <pc:sldMk cId="4135816563" sldId="6807"/>
            <ac:spMk id="240" creationId="{B292F2FD-8DEF-4AFB-A9B1-4CCDA7E8A0DD}"/>
          </ac:spMkLst>
        </pc:spChg>
        <pc:spChg chg="mod">
          <ac:chgData name="Ugo MANTEL" userId="2d5b7065-31bb-4181-a7f8-a73bf0c30211" providerId="ADAL" clId="{F05BB0D5-3454-45DC-8378-DA45B79D9A06}" dt="2020-10-02T13:04:35.915" v="4724" actId="790"/>
          <ac:spMkLst>
            <pc:docMk/>
            <pc:sldMk cId="4135816563" sldId="6807"/>
            <ac:spMk id="241" creationId="{C69C7835-3E91-4674-BE69-B7759927B0FA}"/>
          </ac:spMkLst>
        </pc:spChg>
        <pc:spChg chg="mod">
          <ac:chgData name="Ugo MANTEL" userId="2d5b7065-31bb-4181-a7f8-a73bf0c30211" providerId="ADAL" clId="{F05BB0D5-3454-45DC-8378-DA45B79D9A06}" dt="2020-10-02T13:04:35.916" v="4725" actId="790"/>
          <ac:spMkLst>
            <pc:docMk/>
            <pc:sldMk cId="4135816563" sldId="6807"/>
            <ac:spMk id="242" creationId="{2E721903-A310-4576-9CB0-572E1A618E42}"/>
          </ac:spMkLst>
        </pc:spChg>
        <pc:spChg chg="mod">
          <ac:chgData name="Ugo MANTEL" userId="2d5b7065-31bb-4181-a7f8-a73bf0c30211" providerId="ADAL" clId="{F05BB0D5-3454-45DC-8378-DA45B79D9A06}" dt="2020-10-02T13:04:35.920" v="4730" actId="790"/>
          <ac:spMkLst>
            <pc:docMk/>
            <pc:sldMk cId="4135816563" sldId="6807"/>
            <ac:spMk id="245" creationId="{54BF5B55-A3EB-4BE0-B09E-19C7F6CBF024}"/>
          </ac:spMkLst>
        </pc:spChg>
        <pc:spChg chg="mod">
          <ac:chgData name="Ugo MANTEL" userId="2d5b7065-31bb-4181-a7f8-a73bf0c30211" providerId="ADAL" clId="{F05BB0D5-3454-45DC-8378-DA45B79D9A06}" dt="2020-10-02T13:04:35.921" v="4731" actId="790"/>
          <ac:spMkLst>
            <pc:docMk/>
            <pc:sldMk cId="4135816563" sldId="6807"/>
            <ac:spMk id="246" creationId="{EFE85D7C-2FDE-455F-89E4-C2D1D738510A}"/>
          </ac:spMkLst>
        </pc:spChg>
        <pc:spChg chg="mod">
          <ac:chgData name="Ugo MANTEL" userId="2d5b7065-31bb-4181-a7f8-a73bf0c30211" providerId="ADAL" clId="{F05BB0D5-3454-45DC-8378-DA45B79D9A06}" dt="2020-10-02T13:04:35.919" v="4728" actId="790"/>
          <ac:spMkLst>
            <pc:docMk/>
            <pc:sldMk cId="4135816563" sldId="6807"/>
            <ac:spMk id="247" creationId="{88202DEB-C669-4BD7-8304-CD332C99E8A2}"/>
          </ac:spMkLst>
        </pc:spChg>
        <pc:spChg chg="mod">
          <ac:chgData name="Ugo MANTEL" userId="2d5b7065-31bb-4181-a7f8-a73bf0c30211" providerId="ADAL" clId="{F05BB0D5-3454-45DC-8378-DA45B79D9A06}" dt="2020-10-02T13:04:35.919" v="4729" actId="790"/>
          <ac:spMkLst>
            <pc:docMk/>
            <pc:sldMk cId="4135816563" sldId="6807"/>
            <ac:spMk id="248" creationId="{2E7A169C-DF7F-4AA3-8499-51A2CAABF3F3}"/>
          </ac:spMkLst>
        </pc:spChg>
        <pc:spChg chg="mod">
          <ac:chgData name="Ugo MANTEL" userId="2d5b7065-31bb-4181-a7f8-a73bf0c30211" providerId="ADAL" clId="{F05BB0D5-3454-45DC-8378-DA45B79D9A06}" dt="2020-10-02T13:04:35.923" v="4734" actId="790"/>
          <ac:spMkLst>
            <pc:docMk/>
            <pc:sldMk cId="4135816563" sldId="6807"/>
            <ac:spMk id="251" creationId="{0B9377B6-63FE-405E-9998-B147F17DB251}"/>
          </ac:spMkLst>
        </pc:spChg>
        <pc:spChg chg="mod">
          <ac:chgData name="Ugo MANTEL" userId="2d5b7065-31bb-4181-a7f8-a73bf0c30211" providerId="ADAL" clId="{F05BB0D5-3454-45DC-8378-DA45B79D9A06}" dt="2020-10-02T13:04:35.924" v="4735" actId="790"/>
          <ac:spMkLst>
            <pc:docMk/>
            <pc:sldMk cId="4135816563" sldId="6807"/>
            <ac:spMk id="252" creationId="{E284E687-738C-4F69-A2A0-4894A0FC9FF6}"/>
          </ac:spMkLst>
        </pc:spChg>
        <pc:spChg chg="mod">
          <ac:chgData name="Ugo MANTEL" userId="2d5b7065-31bb-4181-a7f8-a73bf0c30211" providerId="ADAL" clId="{F05BB0D5-3454-45DC-8378-DA45B79D9A06}" dt="2020-10-02T13:04:35.922" v="4732" actId="790"/>
          <ac:spMkLst>
            <pc:docMk/>
            <pc:sldMk cId="4135816563" sldId="6807"/>
            <ac:spMk id="253" creationId="{E60E0925-827E-4079-9F82-C57E18F45078}"/>
          </ac:spMkLst>
        </pc:spChg>
        <pc:spChg chg="mod">
          <ac:chgData name="Ugo MANTEL" userId="2d5b7065-31bb-4181-a7f8-a73bf0c30211" providerId="ADAL" clId="{F05BB0D5-3454-45DC-8378-DA45B79D9A06}" dt="2020-10-02T13:04:35.922" v="4733" actId="790"/>
          <ac:spMkLst>
            <pc:docMk/>
            <pc:sldMk cId="4135816563" sldId="6807"/>
            <ac:spMk id="254" creationId="{6634733F-3059-4D8B-8309-D9D5C11C58F8}"/>
          </ac:spMkLst>
        </pc:spChg>
      </pc:sldChg>
      <pc:sldChg chg="modSp mod">
        <pc:chgData name="Ugo MANTEL" userId="2d5b7065-31bb-4181-a7f8-a73bf0c30211" providerId="ADAL" clId="{F05BB0D5-3454-45DC-8378-DA45B79D9A06}" dt="2020-10-02T13:04:34.297" v="3197" actId="790"/>
        <pc:sldMkLst>
          <pc:docMk/>
          <pc:sldMk cId="1079866240" sldId="6809"/>
        </pc:sldMkLst>
        <pc:spChg chg="mod">
          <ac:chgData name="Ugo MANTEL" userId="2d5b7065-31bb-4181-a7f8-a73bf0c30211" providerId="ADAL" clId="{F05BB0D5-3454-45DC-8378-DA45B79D9A06}" dt="2020-10-02T13:04:34.254" v="3150" actId="790"/>
          <ac:spMkLst>
            <pc:docMk/>
            <pc:sldMk cId="1079866240" sldId="6809"/>
            <ac:spMk id="2" creationId="{3EED7867-D88E-480E-BDFF-2CB02D29B807}"/>
          </ac:spMkLst>
        </pc:spChg>
        <pc:spChg chg="mod">
          <ac:chgData name="Ugo MANTEL" userId="2d5b7065-31bb-4181-a7f8-a73bf0c30211" providerId="ADAL" clId="{F05BB0D5-3454-45DC-8378-DA45B79D9A06}" dt="2020-10-02T13:04:34.258" v="3152" actId="790"/>
          <ac:spMkLst>
            <pc:docMk/>
            <pc:sldMk cId="1079866240" sldId="6809"/>
            <ac:spMk id="84" creationId="{6C88BDF4-C4B0-4DC9-A0A2-8F05D5494C77}"/>
          </ac:spMkLst>
        </pc:spChg>
        <pc:spChg chg="mod">
          <ac:chgData name="Ugo MANTEL" userId="2d5b7065-31bb-4181-a7f8-a73bf0c30211" providerId="ADAL" clId="{F05BB0D5-3454-45DC-8378-DA45B79D9A06}" dt="2020-10-02T13:04:34.264" v="3158" actId="790"/>
          <ac:spMkLst>
            <pc:docMk/>
            <pc:sldMk cId="1079866240" sldId="6809"/>
            <ac:spMk id="98" creationId="{165DCA80-2233-4F2E-84B0-2174B0BC36BD}"/>
          </ac:spMkLst>
        </pc:spChg>
        <pc:spChg chg="mod">
          <ac:chgData name="Ugo MANTEL" userId="2d5b7065-31bb-4181-a7f8-a73bf0c30211" providerId="ADAL" clId="{F05BB0D5-3454-45DC-8378-DA45B79D9A06}" dt="2020-10-02T13:04:34.265" v="3159" actId="790"/>
          <ac:spMkLst>
            <pc:docMk/>
            <pc:sldMk cId="1079866240" sldId="6809"/>
            <ac:spMk id="99" creationId="{5C8C06F5-72C7-4B72-BBBA-AD70C738D574}"/>
          </ac:spMkLst>
        </pc:spChg>
        <pc:spChg chg="mod">
          <ac:chgData name="Ugo MANTEL" userId="2d5b7065-31bb-4181-a7f8-a73bf0c30211" providerId="ADAL" clId="{F05BB0D5-3454-45DC-8378-DA45B79D9A06}" dt="2020-10-02T13:04:34.266" v="3160" actId="790"/>
          <ac:spMkLst>
            <pc:docMk/>
            <pc:sldMk cId="1079866240" sldId="6809"/>
            <ac:spMk id="100" creationId="{621E144C-63E9-452F-BA0C-CDEF37CBE3C8}"/>
          </ac:spMkLst>
        </pc:spChg>
        <pc:spChg chg="mod">
          <ac:chgData name="Ugo MANTEL" userId="2d5b7065-31bb-4181-a7f8-a73bf0c30211" providerId="ADAL" clId="{F05BB0D5-3454-45DC-8378-DA45B79D9A06}" dt="2020-10-02T13:04:34.268" v="3161" actId="790"/>
          <ac:spMkLst>
            <pc:docMk/>
            <pc:sldMk cId="1079866240" sldId="6809"/>
            <ac:spMk id="101" creationId="{87AD77C8-21D0-4F49-B688-B4B3828F4155}"/>
          </ac:spMkLst>
        </pc:spChg>
        <pc:spChg chg="mod">
          <ac:chgData name="Ugo MANTEL" userId="2d5b7065-31bb-4181-a7f8-a73bf0c30211" providerId="ADAL" clId="{F05BB0D5-3454-45DC-8378-DA45B79D9A06}" dt="2020-10-02T13:04:34.269" v="3162" actId="790"/>
          <ac:spMkLst>
            <pc:docMk/>
            <pc:sldMk cId="1079866240" sldId="6809"/>
            <ac:spMk id="108" creationId="{B21769D1-FEC3-4B06-A5B3-4507ED8FBCB5}"/>
          </ac:spMkLst>
        </pc:spChg>
        <pc:spChg chg="mod">
          <ac:chgData name="Ugo MANTEL" userId="2d5b7065-31bb-4181-a7f8-a73bf0c30211" providerId="ADAL" clId="{F05BB0D5-3454-45DC-8378-DA45B79D9A06}" dt="2020-10-02T13:04:34.270" v="3163" actId="790"/>
          <ac:spMkLst>
            <pc:docMk/>
            <pc:sldMk cId="1079866240" sldId="6809"/>
            <ac:spMk id="109" creationId="{A0A562DA-A4BE-429E-8D0F-C6AAB4D8711C}"/>
          </ac:spMkLst>
        </pc:spChg>
        <pc:spChg chg="mod">
          <ac:chgData name="Ugo MANTEL" userId="2d5b7065-31bb-4181-a7f8-a73bf0c30211" providerId="ADAL" clId="{F05BB0D5-3454-45DC-8378-DA45B79D9A06}" dt="2020-10-02T13:04:34.270" v="3164" actId="790"/>
          <ac:spMkLst>
            <pc:docMk/>
            <pc:sldMk cId="1079866240" sldId="6809"/>
            <ac:spMk id="110" creationId="{18F37AC0-131F-4C51-B220-63F0CD710603}"/>
          </ac:spMkLst>
        </pc:spChg>
        <pc:spChg chg="mod">
          <ac:chgData name="Ugo MANTEL" userId="2d5b7065-31bb-4181-a7f8-a73bf0c30211" providerId="ADAL" clId="{F05BB0D5-3454-45DC-8378-DA45B79D9A06}" dt="2020-10-02T13:04:34.271" v="3165" actId="790"/>
          <ac:spMkLst>
            <pc:docMk/>
            <pc:sldMk cId="1079866240" sldId="6809"/>
            <ac:spMk id="111" creationId="{F56B19CA-C85A-4317-8DE5-79A94D56B8BF}"/>
          </ac:spMkLst>
        </pc:spChg>
        <pc:spChg chg="mod">
          <ac:chgData name="Ugo MANTEL" userId="2d5b7065-31bb-4181-a7f8-a73bf0c30211" providerId="ADAL" clId="{F05BB0D5-3454-45DC-8378-DA45B79D9A06}" dt="2020-10-02T13:04:34.272" v="3166" actId="790"/>
          <ac:spMkLst>
            <pc:docMk/>
            <pc:sldMk cId="1079866240" sldId="6809"/>
            <ac:spMk id="113" creationId="{A9285460-9B1B-441D-AA2B-94867C1249EA}"/>
          </ac:spMkLst>
        </pc:spChg>
        <pc:spChg chg="mod">
          <ac:chgData name="Ugo MANTEL" userId="2d5b7065-31bb-4181-a7f8-a73bf0c30211" providerId="ADAL" clId="{F05BB0D5-3454-45DC-8378-DA45B79D9A06}" dt="2020-10-02T13:04:34.273" v="3167" actId="790"/>
          <ac:spMkLst>
            <pc:docMk/>
            <pc:sldMk cId="1079866240" sldId="6809"/>
            <ac:spMk id="114" creationId="{D1FE7E7E-1948-4E17-BE88-4E79F1836345}"/>
          </ac:spMkLst>
        </pc:spChg>
        <pc:spChg chg="mod">
          <ac:chgData name="Ugo MANTEL" userId="2d5b7065-31bb-4181-a7f8-a73bf0c30211" providerId="ADAL" clId="{F05BB0D5-3454-45DC-8378-DA45B79D9A06}" dt="2020-10-02T13:04:34.274" v="3168" actId="790"/>
          <ac:spMkLst>
            <pc:docMk/>
            <pc:sldMk cId="1079866240" sldId="6809"/>
            <ac:spMk id="115" creationId="{74F907D2-857A-4563-81F7-107E8D89052F}"/>
          </ac:spMkLst>
        </pc:spChg>
        <pc:spChg chg="mod">
          <ac:chgData name="Ugo MANTEL" userId="2d5b7065-31bb-4181-a7f8-a73bf0c30211" providerId="ADAL" clId="{F05BB0D5-3454-45DC-8378-DA45B79D9A06}" dt="2020-10-02T13:04:34.275" v="3169" actId="790"/>
          <ac:spMkLst>
            <pc:docMk/>
            <pc:sldMk cId="1079866240" sldId="6809"/>
            <ac:spMk id="116" creationId="{371195D7-AA1A-4806-8051-7F0E2274CC64}"/>
          </ac:spMkLst>
        </pc:spChg>
        <pc:spChg chg="mod">
          <ac:chgData name="Ugo MANTEL" userId="2d5b7065-31bb-4181-a7f8-a73bf0c30211" providerId="ADAL" clId="{F05BB0D5-3454-45DC-8378-DA45B79D9A06}" dt="2020-10-02T13:04:34.276" v="3170" actId="790"/>
          <ac:spMkLst>
            <pc:docMk/>
            <pc:sldMk cId="1079866240" sldId="6809"/>
            <ac:spMk id="118" creationId="{05913019-FC7E-4F94-B4C0-5D234C26C192}"/>
          </ac:spMkLst>
        </pc:spChg>
        <pc:spChg chg="mod">
          <ac:chgData name="Ugo MANTEL" userId="2d5b7065-31bb-4181-a7f8-a73bf0c30211" providerId="ADAL" clId="{F05BB0D5-3454-45DC-8378-DA45B79D9A06}" dt="2020-10-02T13:04:34.277" v="3171" actId="790"/>
          <ac:spMkLst>
            <pc:docMk/>
            <pc:sldMk cId="1079866240" sldId="6809"/>
            <ac:spMk id="119" creationId="{E92C7339-56C9-47DC-BC09-6CC9D7843AD3}"/>
          </ac:spMkLst>
        </pc:spChg>
        <pc:spChg chg="mod">
          <ac:chgData name="Ugo MANTEL" userId="2d5b7065-31bb-4181-a7f8-a73bf0c30211" providerId="ADAL" clId="{F05BB0D5-3454-45DC-8378-DA45B79D9A06}" dt="2020-10-02T13:04:34.278" v="3172" actId="790"/>
          <ac:spMkLst>
            <pc:docMk/>
            <pc:sldMk cId="1079866240" sldId="6809"/>
            <ac:spMk id="120" creationId="{A1311CAC-DC83-410F-993D-C7FBF6E6503C}"/>
          </ac:spMkLst>
        </pc:spChg>
        <pc:spChg chg="mod">
          <ac:chgData name="Ugo MANTEL" userId="2d5b7065-31bb-4181-a7f8-a73bf0c30211" providerId="ADAL" clId="{F05BB0D5-3454-45DC-8378-DA45B79D9A06}" dt="2020-10-02T13:04:34.278" v="3173" actId="790"/>
          <ac:spMkLst>
            <pc:docMk/>
            <pc:sldMk cId="1079866240" sldId="6809"/>
            <ac:spMk id="121" creationId="{C47405E4-878F-4B4A-B959-DE2362599266}"/>
          </ac:spMkLst>
        </pc:spChg>
        <pc:spChg chg="mod">
          <ac:chgData name="Ugo MANTEL" userId="2d5b7065-31bb-4181-a7f8-a73bf0c30211" providerId="ADAL" clId="{F05BB0D5-3454-45DC-8378-DA45B79D9A06}" dt="2020-10-02T13:04:34.279" v="3174" actId="790"/>
          <ac:spMkLst>
            <pc:docMk/>
            <pc:sldMk cId="1079866240" sldId="6809"/>
            <ac:spMk id="122" creationId="{6EB6DB15-70FA-4991-AA51-EFD93AF7F82A}"/>
          </ac:spMkLst>
        </pc:spChg>
        <pc:spChg chg="mod">
          <ac:chgData name="Ugo MANTEL" userId="2d5b7065-31bb-4181-a7f8-a73bf0c30211" providerId="ADAL" clId="{F05BB0D5-3454-45DC-8378-DA45B79D9A06}" dt="2020-10-02T13:04:34.279" v="3175" actId="790"/>
          <ac:spMkLst>
            <pc:docMk/>
            <pc:sldMk cId="1079866240" sldId="6809"/>
            <ac:spMk id="123" creationId="{6C13654B-E996-4A21-B471-3541E238C1D6}"/>
          </ac:spMkLst>
        </pc:spChg>
        <pc:spChg chg="mod">
          <ac:chgData name="Ugo MANTEL" userId="2d5b7065-31bb-4181-a7f8-a73bf0c30211" providerId="ADAL" clId="{F05BB0D5-3454-45DC-8378-DA45B79D9A06}" dt="2020-10-02T13:04:34.280" v="3176" actId="790"/>
          <ac:spMkLst>
            <pc:docMk/>
            <pc:sldMk cId="1079866240" sldId="6809"/>
            <ac:spMk id="124" creationId="{B2DEC8DB-BF99-46D4-9EAD-DE4D129D1F3B}"/>
          </ac:spMkLst>
        </pc:spChg>
        <pc:spChg chg="mod">
          <ac:chgData name="Ugo MANTEL" userId="2d5b7065-31bb-4181-a7f8-a73bf0c30211" providerId="ADAL" clId="{F05BB0D5-3454-45DC-8378-DA45B79D9A06}" dt="2020-10-02T13:04:34.281" v="3177" actId="790"/>
          <ac:spMkLst>
            <pc:docMk/>
            <pc:sldMk cId="1079866240" sldId="6809"/>
            <ac:spMk id="130" creationId="{AFBF36AF-8D67-47EF-BFE7-27F7C034E917}"/>
          </ac:spMkLst>
        </pc:spChg>
        <pc:spChg chg="mod">
          <ac:chgData name="Ugo MANTEL" userId="2d5b7065-31bb-4181-a7f8-a73bf0c30211" providerId="ADAL" clId="{F05BB0D5-3454-45DC-8378-DA45B79D9A06}" dt="2020-10-02T13:04:34.293" v="3192" actId="790"/>
          <ac:spMkLst>
            <pc:docMk/>
            <pc:sldMk cId="1079866240" sldId="6809"/>
            <ac:spMk id="135" creationId="{AECF1CB0-DCE8-430B-8613-109F926F5229}"/>
          </ac:spMkLst>
        </pc:spChg>
        <pc:spChg chg="mod">
          <ac:chgData name="Ugo MANTEL" userId="2d5b7065-31bb-4181-a7f8-a73bf0c30211" providerId="ADAL" clId="{F05BB0D5-3454-45DC-8378-DA45B79D9A06}" dt="2020-10-02T13:04:34.297" v="3197" actId="790"/>
          <ac:spMkLst>
            <pc:docMk/>
            <pc:sldMk cId="1079866240" sldId="6809"/>
            <ac:spMk id="138" creationId="{BC0A3FD8-96BB-40AF-80AC-E37924D0298C}"/>
          </ac:spMkLst>
        </pc:spChg>
        <pc:spChg chg="mod">
          <ac:chgData name="Ugo MANTEL" userId="2d5b7065-31bb-4181-a7f8-a73bf0c30211" providerId="ADAL" clId="{F05BB0D5-3454-45DC-8378-DA45B79D9A06}" dt="2020-10-02T13:04:34.294" v="3193" actId="790"/>
          <ac:spMkLst>
            <pc:docMk/>
            <pc:sldMk cId="1079866240" sldId="6809"/>
            <ac:spMk id="139" creationId="{D5950053-D83B-4592-9D93-DC7AD1D155BE}"/>
          </ac:spMkLst>
        </pc:spChg>
        <pc:spChg chg="mod">
          <ac:chgData name="Ugo MANTEL" userId="2d5b7065-31bb-4181-a7f8-a73bf0c30211" providerId="ADAL" clId="{F05BB0D5-3454-45DC-8378-DA45B79D9A06}" dt="2020-10-02T13:04:34.281" v="3178" actId="790"/>
          <ac:spMkLst>
            <pc:docMk/>
            <pc:sldMk cId="1079866240" sldId="6809"/>
            <ac:spMk id="140" creationId="{487F1CB9-A59D-441B-AC46-D74B3695FE10}"/>
          </ac:spMkLst>
        </pc:spChg>
        <pc:spChg chg="mod">
          <ac:chgData name="Ugo MANTEL" userId="2d5b7065-31bb-4181-a7f8-a73bf0c30211" providerId="ADAL" clId="{F05BB0D5-3454-45DC-8378-DA45B79D9A06}" dt="2020-10-02T13:04:34.282" v="3179" actId="790"/>
          <ac:spMkLst>
            <pc:docMk/>
            <pc:sldMk cId="1079866240" sldId="6809"/>
            <ac:spMk id="141" creationId="{8248936C-30E1-403A-8E51-7BC84ED0ED46}"/>
          </ac:spMkLst>
        </pc:spChg>
        <pc:spChg chg="mod">
          <ac:chgData name="Ugo MANTEL" userId="2d5b7065-31bb-4181-a7f8-a73bf0c30211" providerId="ADAL" clId="{F05BB0D5-3454-45DC-8378-DA45B79D9A06}" dt="2020-10-02T13:04:34.283" v="3180" actId="790"/>
          <ac:spMkLst>
            <pc:docMk/>
            <pc:sldMk cId="1079866240" sldId="6809"/>
            <ac:spMk id="142" creationId="{6669686F-8EF3-43BA-95A0-328F8F511F29}"/>
          </ac:spMkLst>
        </pc:spChg>
        <pc:spChg chg="mod">
          <ac:chgData name="Ugo MANTEL" userId="2d5b7065-31bb-4181-a7f8-a73bf0c30211" providerId="ADAL" clId="{F05BB0D5-3454-45DC-8378-DA45B79D9A06}" dt="2020-10-02T13:04:34.284" v="3181" actId="790"/>
          <ac:spMkLst>
            <pc:docMk/>
            <pc:sldMk cId="1079866240" sldId="6809"/>
            <ac:spMk id="143" creationId="{3628CE27-BC01-4F5E-BFC9-7FF1F2E972D3}"/>
          </ac:spMkLst>
        </pc:spChg>
        <pc:spChg chg="mod">
          <ac:chgData name="Ugo MANTEL" userId="2d5b7065-31bb-4181-a7f8-a73bf0c30211" providerId="ADAL" clId="{F05BB0D5-3454-45DC-8378-DA45B79D9A06}" dt="2020-10-02T13:04:34.285" v="3182" actId="790"/>
          <ac:spMkLst>
            <pc:docMk/>
            <pc:sldMk cId="1079866240" sldId="6809"/>
            <ac:spMk id="144" creationId="{06F8DB41-3925-4966-A2C4-1C6AABBC64AA}"/>
          </ac:spMkLst>
        </pc:spChg>
        <pc:spChg chg="mod">
          <ac:chgData name="Ugo MANTEL" userId="2d5b7065-31bb-4181-a7f8-a73bf0c30211" providerId="ADAL" clId="{F05BB0D5-3454-45DC-8378-DA45B79D9A06}" dt="2020-10-02T13:04:34.295" v="3194" actId="790"/>
          <ac:spMkLst>
            <pc:docMk/>
            <pc:sldMk cId="1079866240" sldId="6809"/>
            <ac:spMk id="162" creationId="{C12D429A-4838-40C7-BF1A-404FD569E66F}"/>
          </ac:spMkLst>
        </pc:spChg>
        <pc:spChg chg="mod">
          <ac:chgData name="Ugo MANTEL" userId="2d5b7065-31bb-4181-a7f8-a73bf0c30211" providerId="ADAL" clId="{F05BB0D5-3454-45DC-8378-DA45B79D9A06}" dt="2020-10-02T13:04:34.255" v="3151" actId="790"/>
          <ac:spMkLst>
            <pc:docMk/>
            <pc:sldMk cId="1079866240" sldId="6809"/>
            <ac:spMk id="163" creationId="{F73C942E-EE28-41E1-9A85-73F3D7D14850}"/>
          </ac:spMkLst>
        </pc:spChg>
        <pc:spChg chg="mod">
          <ac:chgData name="Ugo MANTEL" userId="2d5b7065-31bb-4181-a7f8-a73bf0c30211" providerId="ADAL" clId="{F05BB0D5-3454-45DC-8378-DA45B79D9A06}" dt="2020-10-02T13:04:34.286" v="3183" actId="790"/>
          <ac:spMkLst>
            <pc:docMk/>
            <pc:sldMk cId="1079866240" sldId="6809"/>
            <ac:spMk id="166" creationId="{EBED7CCA-A40F-4CE3-9859-F98A4D4515A3}"/>
          </ac:spMkLst>
        </pc:spChg>
        <pc:spChg chg="mod">
          <ac:chgData name="Ugo MANTEL" userId="2d5b7065-31bb-4181-a7f8-a73bf0c30211" providerId="ADAL" clId="{F05BB0D5-3454-45DC-8378-DA45B79D9A06}" dt="2020-10-02T13:04:34.295" v="3195" actId="790"/>
          <ac:spMkLst>
            <pc:docMk/>
            <pc:sldMk cId="1079866240" sldId="6809"/>
            <ac:spMk id="167" creationId="{1BA6ABB7-0946-4F92-92E4-5271DF9373F3}"/>
          </ac:spMkLst>
        </pc:spChg>
        <pc:spChg chg="mod">
          <ac:chgData name="Ugo MANTEL" userId="2d5b7065-31bb-4181-a7f8-a73bf0c30211" providerId="ADAL" clId="{F05BB0D5-3454-45DC-8378-DA45B79D9A06}" dt="2020-10-02T13:04:34.296" v="3196" actId="790"/>
          <ac:spMkLst>
            <pc:docMk/>
            <pc:sldMk cId="1079866240" sldId="6809"/>
            <ac:spMk id="168" creationId="{6429B8ED-EBC6-49B0-B8CA-A5BB5C85BE5C}"/>
          </ac:spMkLst>
        </pc:spChg>
        <pc:spChg chg="mod">
          <ac:chgData name="Ugo MANTEL" userId="2d5b7065-31bb-4181-a7f8-a73bf0c30211" providerId="ADAL" clId="{F05BB0D5-3454-45DC-8378-DA45B79D9A06}" dt="2020-10-02T13:04:34.286" v="3184" actId="790"/>
          <ac:spMkLst>
            <pc:docMk/>
            <pc:sldMk cId="1079866240" sldId="6809"/>
            <ac:spMk id="170" creationId="{62E65521-6D3C-406A-B1B6-DCF2DE6E94BE}"/>
          </ac:spMkLst>
        </pc:spChg>
        <pc:spChg chg="mod">
          <ac:chgData name="Ugo MANTEL" userId="2d5b7065-31bb-4181-a7f8-a73bf0c30211" providerId="ADAL" clId="{F05BB0D5-3454-45DC-8378-DA45B79D9A06}" dt="2020-10-02T13:04:34.287" v="3185" actId="790"/>
          <ac:spMkLst>
            <pc:docMk/>
            <pc:sldMk cId="1079866240" sldId="6809"/>
            <ac:spMk id="175" creationId="{ED6DB31B-F115-4B05-AA66-981026743D07}"/>
          </ac:spMkLst>
        </pc:spChg>
        <pc:spChg chg="mod">
          <ac:chgData name="Ugo MANTEL" userId="2d5b7065-31bb-4181-a7f8-a73bf0c30211" providerId="ADAL" clId="{F05BB0D5-3454-45DC-8378-DA45B79D9A06}" dt="2020-10-02T13:04:34.258" v="3153" actId="790"/>
          <ac:spMkLst>
            <pc:docMk/>
            <pc:sldMk cId="1079866240" sldId="6809"/>
            <ac:spMk id="182" creationId="{1464F6C8-5FBB-464E-B425-E3938C2D03FB}"/>
          </ac:spMkLst>
        </pc:spChg>
        <pc:spChg chg="mod">
          <ac:chgData name="Ugo MANTEL" userId="2d5b7065-31bb-4181-a7f8-a73bf0c30211" providerId="ADAL" clId="{F05BB0D5-3454-45DC-8378-DA45B79D9A06}" dt="2020-10-02T13:04:34.259" v="3154" actId="790"/>
          <ac:spMkLst>
            <pc:docMk/>
            <pc:sldMk cId="1079866240" sldId="6809"/>
            <ac:spMk id="183" creationId="{6DEFB767-83D5-4E01-99F9-2C3C972F483D}"/>
          </ac:spMkLst>
        </pc:spChg>
        <pc:spChg chg="mod">
          <ac:chgData name="Ugo MANTEL" userId="2d5b7065-31bb-4181-a7f8-a73bf0c30211" providerId="ADAL" clId="{F05BB0D5-3454-45DC-8378-DA45B79D9A06}" dt="2020-10-02T13:04:34.260" v="3155" actId="790"/>
          <ac:spMkLst>
            <pc:docMk/>
            <pc:sldMk cId="1079866240" sldId="6809"/>
            <ac:spMk id="184" creationId="{1071D81A-C4B8-43C9-8E81-22FF11B937F8}"/>
          </ac:spMkLst>
        </pc:spChg>
        <pc:spChg chg="mod">
          <ac:chgData name="Ugo MANTEL" userId="2d5b7065-31bb-4181-a7f8-a73bf0c30211" providerId="ADAL" clId="{F05BB0D5-3454-45DC-8378-DA45B79D9A06}" dt="2020-10-02T13:04:34.261" v="3156" actId="790"/>
          <ac:spMkLst>
            <pc:docMk/>
            <pc:sldMk cId="1079866240" sldId="6809"/>
            <ac:spMk id="185" creationId="{56D58476-4A7F-427D-A345-E5A1EDB3C3E4}"/>
          </ac:spMkLst>
        </pc:spChg>
        <pc:spChg chg="mod">
          <ac:chgData name="Ugo MANTEL" userId="2d5b7065-31bb-4181-a7f8-a73bf0c30211" providerId="ADAL" clId="{F05BB0D5-3454-45DC-8378-DA45B79D9A06}" dt="2020-10-02T13:04:34.263" v="3157" actId="790"/>
          <ac:spMkLst>
            <pc:docMk/>
            <pc:sldMk cId="1079866240" sldId="6809"/>
            <ac:spMk id="191" creationId="{06BD907B-CDAE-4FA6-AF08-ECB58BCD0B70}"/>
          </ac:spMkLst>
        </pc:spChg>
        <pc:spChg chg="mod">
          <ac:chgData name="Ugo MANTEL" userId="2d5b7065-31bb-4181-a7f8-a73bf0c30211" providerId="ADAL" clId="{F05BB0D5-3454-45DC-8378-DA45B79D9A06}" dt="2020-10-02T13:04:34.293" v="3191" actId="790"/>
          <ac:spMkLst>
            <pc:docMk/>
            <pc:sldMk cId="1079866240" sldId="6809"/>
            <ac:spMk id="226" creationId="{E449BC5E-AAC6-4BF3-B78E-6349F6E40568}"/>
          </ac:spMkLst>
        </pc:spChg>
        <pc:spChg chg="mod">
          <ac:chgData name="Ugo MANTEL" userId="2d5b7065-31bb-4181-a7f8-a73bf0c30211" providerId="ADAL" clId="{F05BB0D5-3454-45DC-8378-DA45B79D9A06}" dt="2020-10-02T13:04:34.288" v="3186" actId="790"/>
          <ac:spMkLst>
            <pc:docMk/>
            <pc:sldMk cId="1079866240" sldId="6809"/>
            <ac:spMk id="237" creationId="{BC18603D-1A94-4AAA-BF60-65D063A8B860}"/>
          </ac:spMkLst>
        </pc:spChg>
        <pc:spChg chg="mod">
          <ac:chgData name="Ugo MANTEL" userId="2d5b7065-31bb-4181-a7f8-a73bf0c30211" providerId="ADAL" clId="{F05BB0D5-3454-45DC-8378-DA45B79D9A06}" dt="2020-10-02T13:04:34.289" v="3187" actId="790"/>
          <ac:spMkLst>
            <pc:docMk/>
            <pc:sldMk cId="1079866240" sldId="6809"/>
            <ac:spMk id="238" creationId="{1A35BEC1-571C-4481-A657-8D599ECE9785}"/>
          </ac:spMkLst>
        </pc:spChg>
        <pc:spChg chg="mod">
          <ac:chgData name="Ugo MANTEL" userId="2d5b7065-31bb-4181-a7f8-a73bf0c30211" providerId="ADAL" clId="{F05BB0D5-3454-45DC-8378-DA45B79D9A06}" dt="2020-10-02T13:04:34.290" v="3188" actId="790"/>
          <ac:spMkLst>
            <pc:docMk/>
            <pc:sldMk cId="1079866240" sldId="6809"/>
            <ac:spMk id="250" creationId="{49518C6D-B45B-4316-B9A0-A51F4AF95221}"/>
          </ac:spMkLst>
        </pc:spChg>
        <pc:spChg chg="mod">
          <ac:chgData name="Ugo MANTEL" userId="2d5b7065-31bb-4181-a7f8-a73bf0c30211" providerId="ADAL" clId="{F05BB0D5-3454-45DC-8378-DA45B79D9A06}" dt="2020-10-02T13:04:34.290" v="3189" actId="790"/>
          <ac:spMkLst>
            <pc:docMk/>
            <pc:sldMk cId="1079866240" sldId="6809"/>
            <ac:spMk id="252" creationId="{DB898132-AB0E-4DE7-BF54-8E88B91C2E1F}"/>
          </ac:spMkLst>
        </pc:spChg>
        <pc:spChg chg="mod">
          <ac:chgData name="Ugo MANTEL" userId="2d5b7065-31bb-4181-a7f8-a73bf0c30211" providerId="ADAL" clId="{F05BB0D5-3454-45DC-8378-DA45B79D9A06}" dt="2020-10-02T13:04:34.292" v="3190" actId="790"/>
          <ac:spMkLst>
            <pc:docMk/>
            <pc:sldMk cId="1079866240" sldId="6809"/>
            <ac:spMk id="255" creationId="{5A7ECA80-CA6F-4763-AFFB-FB3252D6DB74}"/>
          </ac:spMkLst>
        </pc:spChg>
      </pc:sldChg>
      <pc:sldChg chg="modSp mod">
        <pc:chgData name="Ugo MANTEL" userId="2d5b7065-31bb-4181-a7f8-a73bf0c30211" providerId="ADAL" clId="{F05BB0D5-3454-45DC-8378-DA45B79D9A06}" dt="2020-10-02T13:04:33.010" v="1928" actId="790"/>
        <pc:sldMkLst>
          <pc:docMk/>
          <pc:sldMk cId="1563937854" sldId="6818"/>
        </pc:sldMkLst>
        <pc:spChg chg="mod">
          <ac:chgData name="Ugo MANTEL" userId="2d5b7065-31bb-4181-a7f8-a73bf0c30211" providerId="ADAL" clId="{F05BB0D5-3454-45DC-8378-DA45B79D9A06}" dt="2020-10-02T13:04:32.989" v="1903" actId="790"/>
          <ac:spMkLst>
            <pc:docMk/>
            <pc:sldMk cId="1563937854" sldId="6818"/>
            <ac:spMk id="3" creationId="{FC3FFB2A-2D99-4AE1-82BC-E4233BE593A4}"/>
          </ac:spMkLst>
        </pc:spChg>
        <pc:spChg chg="mod">
          <ac:chgData name="Ugo MANTEL" userId="2d5b7065-31bb-4181-a7f8-a73bf0c30211" providerId="ADAL" clId="{F05BB0D5-3454-45DC-8378-DA45B79D9A06}" dt="2020-10-02T13:04:32.989" v="1904" actId="790"/>
          <ac:spMkLst>
            <pc:docMk/>
            <pc:sldMk cId="1563937854" sldId="6818"/>
            <ac:spMk id="5" creationId="{947F5FA7-A6F2-46E6-8FD1-C102113CA511}"/>
          </ac:spMkLst>
        </pc:spChg>
        <pc:spChg chg="mod">
          <ac:chgData name="Ugo MANTEL" userId="2d5b7065-31bb-4181-a7f8-a73bf0c30211" providerId="ADAL" clId="{F05BB0D5-3454-45DC-8378-DA45B79D9A06}" dt="2020-10-02T13:04:32.990" v="1905" actId="790"/>
          <ac:spMkLst>
            <pc:docMk/>
            <pc:sldMk cId="1563937854" sldId="6818"/>
            <ac:spMk id="6" creationId="{A45757C7-4717-437C-BF48-46D7BCBA79D7}"/>
          </ac:spMkLst>
        </pc:spChg>
        <pc:spChg chg="mod">
          <ac:chgData name="Ugo MANTEL" userId="2d5b7065-31bb-4181-a7f8-a73bf0c30211" providerId="ADAL" clId="{F05BB0D5-3454-45DC-8378-DA45B79D9A06}" dt="2020-10-02T13:04:32.991" v="1906" actId="790"/>
          <ac:spMkLst>
            <pc:docMk/>
            <pc:sldMk cId="1563937854" sldId="6818"/>
            <ac:spMk id="7" creationId="{C241AF90-8339-42CB-9CBE-A2E9C4E9D756}"/>
          </ac:spMkLst>
        </pc:spChg>
        <pc:spChg chg="mod">
          <ac:chgData name="Ugo MANTEL" userId="2d5b7065-31bb-4181-a7f8-a73bf0c30211" providerId="ADAL" clId="{F05BB0D5-3454-45DC-8378-DA45B79D9A06}" dt="2020-10-02T13:04:32.982" v="1899" actId="790"/>
          <ac:spMkLst>
            <pc:docMk/>
            <pc:sldMk cId="1563937854" sldId="6818"/>
            <ac:spMk id="10" creationId="{DBA1D637-ABE7-4F6F-8D69-1D79527DCEF9}"/>
          </ac:spMkLst>
        </pc:spChg>
        <pc:spChg chg="mod">
          <ac:chgData name="Ugo MANTEL" userId="2d5b7065-31bb-4181-a7f8-a73bf0c30211" providerId="ADAL" clId="{F05BB0D5-3454-45DC-8378-DA45B79D9A06}" dt="2020-10-02T13:04:33.007" v="1923" actId="790"/>
          <ac:spMkLst>
            <pc:docMk/>
            <pc:sldMk cId="1563937854" sldId="6818"/>
            <ac:spMk id="14" creationId="{0B3FA95E-2808-4E1E-BCE4-92FECBB1FD12}"/>
          </ac:spMkLst>
        </pc:spChg>
        <pc:spChg chg="mod">
          <ac:chgData name="Ugo MANTEL" userId="2d5b7065-31bb-4181-a7f8-a73bf0c30211" providerId="ADAL" clId="{F05BB0D5-3454-45DC-8378-DA45B79D9A06}" dt="2020-10-02T13:04:32.982" v="1898" actId="790"/>
          <ac:spMkLst>
            <pc:docMk/>
            <pc:sldMk cId="1563937854" sldId="6818"/>
            <ac:spMk id="15" creationId="{F6942657-9EF3-4A10-A88D-2215428669B4}"/>
          </ac:spMkLst>
        </pc:spChg>
        <pc:spChg chg="mod">
          <ac:chgData name="Ugo MANTEL" userId="2d5b7065-31bb-4181-a7f8-a73bf0c30211" providerId="ADAL" clId="{F05BB0D5-3454-45DC-8378-DA45B79D9A06}" dt="2020-10-02T13:04:33.002" v="1921" actId="790"/>
          <ac:spMkLst>
            <pc:docMk/>
            <pc:sldMk cId="1563937854" sldId="6818"/>
            <ac:spMk id="16" creationId="{100819F2-19AC-403C-B699-F0704CB12284}"/>
          </ac:spMkLst>
        </pc:spChg>
        <pc:spChg chg="mod">
          <ac:chgData name="Ugo MANTEL" userId="2d5b7065-31bb-4181-a7f8-a73bf0c30211" providerId="ADAL" clId="{F05BB0D5-3454-45DC-8378-DA45B79D9A06}" dt="2020-10-02T13:04:32.984" v="1900" actId="790"/>
          <ac:spMkLst>
            <pc:docMk/>
            <pc:sldMk cId="1563937854" sldId="6818"/>
            <ac:spMk id="22" creationId="{8F3E0745-2FDC-4253-8144-AD7D2FE9AE02}"/>
          </ac:spMkLst>
        </pc:spChg>
        <pc:spChg chg="mod">
          <ac:chgData name="Ugo MANTEL" userId="2d5b7065-31bb-4181-a7f8-a73bf0c30211" providerId="ADAL" clId="{F05BB0D5-3454-45DC-8378-DA45B79D9A06}" dt="2020-10-02T13:04:32.986" v="1902" actId="790"/>
          <ac:spMkLst>
            <pc:docMk/>
            <pc:sldMk cId="1563937854" sldId="6818"/>
            <ac:spMk id="24" creationId="{75DD7B33-4261-4A24-990E-F8333D3C9F89}"/>
          </ac:spMkLst>
        </pc:spChg>
        <pc:spChg chg="mod">
          <ac:chgData name="Ugo MANTEL" userId="2d5b7065-31bb-4181-a7f8-a73bf0c30211" providerId="ADAL" clId="{F05BB0D5-3454-45DC-8378-DA45B79D9A06}" dt="2020-10-02T13:04:32.992" v="1907" actId="790"/>
          <ac:spMkLst>
            <pc:docMk/>
            <pc:sldMk cId="1563937854" sldId="6818"/>
            <ac:spMk id="36" creationId="{274C71F4-0249-4945-A4DE-1E050D8B8013}"/>
          </ac:spMkLst>
        </pc:spChg>
        <pc:spChg chg="mod">
          <ac:chgData name="Ugo MANTEL" userId="2d5b7065-31bb-4181-a7f8-a73bf0c30211" providerId="ADAL" clId="{F05BB0D5-3454-45DC-8378-DA45B79D9A06}" dt="2020-10-02T13:04:32.992" v="1908" actId="790"/>
          <ac:spMkLst>
            <pc:docMk/>
            <pc:sldMk cId="1563937854" sldId="6818"/>
            <ac:spMk id="37" creationId="{D91A5664-5699-49E1-B97E-C158CF1AF604}"/>
          </ac:spMkLst>
        </pc:spChg>
        <pc:spChg chg="mod">
          <ac:chgData name="Ugo MANTEL" userId="2d5b7065-31bb-4181-a7f8-a73bf0c30211" providerId="ADAL" clId="{F05BB0D5-3454-45DC-8378-DA45B79D9A06}" dt="2020-10-02T13:04:32.993" v="1909" actId="790"/>
          <ac:spMkLst>
            <pc:docMk/>
            <pc:sldMk cId="1563937854" sldId="6818"/>
            <ac:spMk id="38" creationId="{A320628B-EA44-449C-BDE4-E284BFABE36A}"/>
          </ac:spMkLst>
        </pc:spChg>
        <pc:spChg chg="mod">
          <ac:chgData name="Ugo MANTEL" userId="2d5b7065-31bb-4181-a7f8-a73bf0c30211" providerId="ADAL" clId="{F05BB0D5-3454-45DC-8378-DA45B79D9A06}" dt="2020-10-02T13:04:32.993" v="1910" actId="790"/>
          <ac:spMkLst>
            <pc:docMk/>
            <pc:sldMk cId="1563937854" sldId="6818"/>
            <ac:spMk id="40" creationId="{5A3587B2-B574-47AF-A307-B3D81D10F29E}"/>
          </ac:spMkLst>
        </pc:spChg>
        <pc:spChg chg="mod">
          <ac:chgData name="Ugo MANTEL" userId="2d5b7065-31bb-4181-a7f8-a73bf0c30211" providerId="ADAL" clId="{F05BB0D5-3454-45DC-8378-DA45B79D9A06}" dt="2020-10-02T13:04:32.994" v="1911" actId="790"/>
          <ac:spMkLst>
            <pc:docMk/>
            <pc:sldMk cId="1563937854" sldId="6818"/>
            <ac:spMk id="42" creationId="{76CCDC28-712B-42BC-B5D7-C63FA1F8BF85}"/>
          </ac:spMkLst>
        </pc:spChg>
        <pc:spChg chg="mod">
          <ac:chgData name="Ugo MANTEL" userId="2d5b7065-31bb-4181-a7f8-a73bf0c30211" providerId="ADAL" clId="{F05BB0D5-3454-45DC-8378-DA45B79D9A06}" dt="2020-10-02T13:04:32.994" v="1912" actId="790"/>
          <ac:spMkLst>
            <pc:docMk/>
            <pc:sldMk cId="1563937854" sldId="6818"/>
            <ac:spMk id="45" creationId="{7351DA03-0634-4443-8361-2553FFE849CC}"/>
          </ac:spMkLst>
        </pc:spChg>
        <pc:spChg chg="mod">
          <ac:chgData name="Ugo MANTEL" userId="2d5b7065-31bb-4181-a7f8-a73bf0c30211" providerId="ADAL" clId="{F05BB0D5-3454-45DC-8378-DA45B79D9A06}" dt="2020-10-02T13:04:32.995" v="1913" actId="790"/>
          <ac:spMkLst>
            <pc:docMk/>
            <pc:sldMk cId="1563937854" sldId="6818"/>
            <ac:spMk id="46" creationId="{B6B145A8-B4DD-4179-B3BE-9E416B8A24D7}"/>
          </ac:spMkLst>
        </pc:spChg>
        <pc:spChg chg="mod">
          <ac:chgData name="Ugo MANTEL" userId="2d5b7065-31bb-4181-a7f8-a73bf0c30211" providerId="ADAL" clId="{F05BB0D5-3454-45DC-8378-DA45B79D9A06}" dt="2020-10-02T13:04:32.995" v="1914" actId="790"/>
          <ac:spMkLst>
            <pc:docMk/>
            <pc:sldMk cId="1563937854" sldId="6818"/>
            <ac:spMk id="50" creationId="{0E1798DD-0516-4051-A016-6576CFE492B1}"/>
          </ac:spMkLst>
        </pc:spChg>
        <pc:spChg chg="mod">
          <ac:chgData name="Ugo MANTEL" userId="2d5b7065-31bb-4181-a7f8-a73bf0c30211" providerId="ADAL" clId="{F05BB0D5-3454-45DC-8378-DA45B79D9A06}" dt="2020-10-02T13:04:32.998" v="1918" actId="790"/>
          <ac:spMkLst>
            <pc:docMk/>
            <pc:sldMk cId="1563937854" sldId="6818"/>
            <ac:spMk id="67" creationId="{DED17E1F-5C97-4386-8C58-5DD92B3F4049}"/>
          </ac:spMkLst>
        </pc:spChg>
        <pc:spChg chg="mod">
          <ac:chgData name="Ugo MANTEL" userId="2d5b7065-31bb-4181-a7f8-a73bf0c30211" providerId="ADAL" clId="{F05BB0D5-3454-45DC-8378-DA45B79D9A06}" dt="2020-10-02T13:04:32.999" v="1919" actId="790"/>
          <ac:spMkLst>
            <pc:docMk/>
            <pc:sldMk cId="1563937854" sldId="6818"/>
            <ac:spMk id="69" creationId="{24ECA76F-7ACC-4C43-B1B1-307E30AB455E}"/>
          </ac:spMkLst>
        </pc:spChg>
        <pc:spChg chg="mod">
          <ac:chgData name="Ugo MANTEL" userId="2d5b7065-31bb-4181-a7f8-a73bf0c30211" providerId="ADAL" clId="{F05BB0D5-3454-45DC-8378-DA45B79D9A06}" dt="2020-10-02T13:04:32.999" v="1920" actId="790"/>
          <ac:spMkLst>
            <pc:docMk/>
            <pc:sldMk cId="1563937854" sldId="6818"/>
            <ac:spMk id="76" creationId="{23E59640-8057-4C02-B694-1CD3F6F186C0}"/>
          </ac:spMkLst>
        </pc:spChg>
        <pc:spChg chg="mod">
          <ac:chgData name="Ugo MANTEL" userId="2d5b7065-31bb-4181-a7f8-a73bf0c30211" providerId="ADAL" clId="{F05BB0D5-3454-45DC-8378-DA45B79D9A06}" dt="2020-10-02T13:04:32.996" v="1915" actId="790"/>
          <ac:spMkLst>
            <pc:docMk/>
            <pc:sldMk cId="1563937854" sldId="6818"/>
            <ac:spMk id="79" creationId="{043F82B8-5839-4D1B-932C-0F57C5FC7756}"/>
          </ac:spMkLst>
        </pc:spChg>
        <pc:spChg chg="mod">
          <ac:chgData name="Ugo MANTEL" userId="2d5b7065-31bb-4181-a7f8-a73bf0c30211" providerId="ADAL" clId="{F05BB0D5-3454-45DC-8378-DA45B79D9A06}" dt="2020-10-02T13:04:32.997" v="1916" actId="790"/>
          <ac:spMkLst>
            <pc:docMk/>
            <pc:sldMk cId="1563937854" sldId="6818"/>
            <ac:spMk id="82" creationId="{ECE0C8EC-1C96-4B93-BF65-A799D4F356D4}"/>
          </ac:spMkLst>
        </pc:spChg>
        <pc:spChg chg="mod">
          <ac:chgData name="Ugo MANTEL" userId="2d5b7065-31bb-4181-a7f8-a73bf0c30211" providerId="ADAL" clId="{F05BB0D5-3454-45DC-8378-DA45B79D9A06}" dt="2020-10-02T13:04:33.003" v="1922" actId="790"/>
          <ac:spMkLst>
            <pc:docMk/>
            <pc:sldMk cId="1563937854" sldId="6818"/>
            <ac:spMk id="83" creationId="{DB927B60-1BB0-43F2-8711-D9EDB04568FC}"/>
          </ac:spMkLst>
        </pc:spChg>
        <pc:spChg chg="mod">
          <ac:chgData name="Ugo MANTEL" userId="2d5b7065-31bb-4181-a7f8-a73bf0c30211" providerId="ADAL" clId="{F05BB0D5-3454-45DC-8378-DA45B79D9A06}" dt="2020-10-02T13:04:32.985" v="1901" actId="790"/>
          <ac:spMkLst>
            <pc:docMk/>
            <pc:sldMk cId="1563937854" sldId="6818"/>
            <ac:spMk id="85" creationId="{EA26E014-DCAD-4100-877A-2164D7BAA865}"/>
          </ac:spMkLst>
        </pc:spChg>
        <pc:spChg chg="mod">
          <ac:chgData name="Ugo MANTEL" userId="2d5b7065-31bb-4181-a7f8-a73bf0c30211" providerId="ADAL" clId="{F05BB0D5-3454-45DC-8378-DA45B79D9A06}" dt="2020-10-02T13:04:32.998" v="1917" actId="790"/>
          <ac:spMkLst>
            <pc:docMk/>
            <pc:sldMk cId="1563937854" sldId="6818"/>
            <ac:spMk id="90" creationId="{F5BA0B5F-3714-423A-B908-96BF3141EC07}"/>
          </ac:spMkLst>
        </pc:spChg>
        <pc:spChg chg="mod">
          <ac:chgData name="Ugo MANTEL" userId="2d5b7065-31bb-4181-a7f8-a73bf0c30211" providerId="ADAL" clId="{F05BB0D5-3454-45DC-8378-DA45B79D9A06}" dt="2020-10-02T13:04:33.010" v="1928" actId="790"/>
          <ac:spMkLst>
            <pc:docMk/>
            <pc:sldMk cId="1563937854" sldId="6818"/>
            <ac:spMk id="102" creationId="{ACA07594-374F-4BF6-8C23-39E01558EA74}"/>
          </ac:spMkLst>
        </pc:spChg>
        <pc:spChg chg="mod">
          <ac:chgData name="Ugo MANTEL" userId="2d5b7065-31bb-4181-a7f8-a73bf0c30211" providerId="ADAL" clId="{F05BB0D5-3454-45DC-8378-DA45B79D9A06}" dt="2020-10-02T13:04:33.007" v="1924" actId="790"/>
          <ac:spMkLst>
            <pc:docMk/>
            <pc:sldMk cId="1563937854" sldId="6818"/>
            <ac:spMk id="103" creationId="{E2392566-96E8-49D2-8B0C-64F5CE3015D1}"/>
          </ac:spMkLst>
        </pc:spChg>
        <pc:spChg chg="mod">
          <ac:chgData name="Ugo MANTEL" userId="2d5b7065-31bb-4181-a7f8-a73bf0c30211" providerId="ADAL" clId="{F05BB0D5-3454-45DC-8378-DA45B79D9A06}" dt="2020-10-02T13:04:33.008" v="1925" actId="790"/>
          <ac:spMkLst>
            <pc:docMk/>
            <pc:sldMk cId="1563937854" sldId="6818"/>
            <ac:spMk id="104" creationId="{5E6607FF-128E-4732-9712-C9F75E5F5E89}"/>
          </ac:spMkLst>
        </pc:spChg>
        <pc:spChg chg="mod">
          <ac:chgData name="Ugo MANTEL" userId="2d5b7065-31bb-4181-a7f8-a73bf0c30211" providerId="ADAL" clId="{F05BB0D5-3454-45DC-8378-DA45B79D9A06}" dt="2020-10-02T13:04:33.009" v="1926" actId="790"/>
          <ac:spMkLst>
            <pc:docMk/>
            <pc:sldMk cId="1563937854" sldId="6818"/>
            <ac:spMk id="105" creationId="{DBF0527C-ABE2-4A68-BD9B-8389CF44DB1C}"/>
          </ac:spMkLst>
        </pc:spChg>
        <pc:spChg chg="mod">
          <ac:chgData name="Ugo MANTEL" userId="2d5b7065-31bb-4181-a7f8-a73bf0c30211" providerId="ADAL" clId="{F05BB0D5-3454-45DC-8378-DA45B79D9A06}" dt="2020-10-02T13:04:33.009" v="1927" actId="790"/>
          <ac:spMkLst>
            <pc:docMk/>
            <pc:sldMk cId="1563937854" sldId="6818"/>
            <ac:spMk id="106" creationId="{41950A35-9E77-45D3-B894-6A42F5DA412A}"/>
          </ac:spMkLst>
        </pc:spChg>
      </pc:sldChg>
      <pc:sldChg chg="modSp mod">
        <pc:chgData name="Ugo MANTEL" userId="2d5b7065-31bb-4181-a7f8-a73bf0c30211" providerId="ADAL" clId="{F05BB0D5-3454-45DC-8378-DA45B79D9A06}" dt="2020-10-02T13:04:32.705" v="1611" actId="790"/>
        <pc:sldMkLst>
          <pc:docMk/>
          <pc:sldMk cId="3853263897" sldId="6820"/>
        </pc:sldMkLst>
        <pc:spChg chg="mod">
          <ac:chgData name="Ugo MANTEL" userId="2d5b7065-31bb-4181-a7f8-a73bf0c30211" providerId="ADAL" clId="{F05BB0D5-3454-45DC-8378-DA45B79D9A06}" dt="2020-10-02T13:04:32.675" v="1580" actId="790"/>
          <ac:spMkLst>
            <pc:docMk/>
            <pc:sldMk cId="3853263897" sldId="6820"/>
            <ac:spMk id="3" creationId="{415BA172-C3CA-4025-B3E1-665B245AB959}"/>
          </ac:spMkLst>
        </pc:spChg>
        <pc:spChg chg="mod">
          <ac:chgData name="Ugo MANTEL" userId="2d5b7065-31bb-4181-a7f8-a73bf0c30211" providerId="ADAL" clId="{F05BB0D5-3454-45DC-8378-DA45B79D9A06}" dt="2020-10-02T13:04:32.690" v="1590" actId="790"/>
          <ac:spMkLst>
            <pc:docMk/>
            <pc:sldMk cId="3853263897" sldId="6820"/>
            <ac:spMk id="4" creationId="{4749A4D0-7849-4BAC-96B9-C542EBD00FE9}"/>
          </ac:spMkLst>
        </pc:spChg>
        <pc:spChg chg="mod">
          <ac:chgData name="Ugo MANTEL" userId="2d5b7065-31bb-4181-a7f8-a73bf0c30211" providerId="ADAL" clId="{F05BB0D5-3454-45DC-8378-DA45B79D9A06}" dt="2020-10-02T13:04:32.692" v="1592" actId="790"/>
          <ac:spMkLst>
            <pc:docMk/>
            <pc:sldMk cId="3853263897" sldId="6820"/>
            <ac:spMk id="6" creationId="{CFADDF6A-CBEB-4809-9D00-2E1BE32FCE75}"/>
          </ac:spMkLst>
        </pc:spChg>
        <pc:spChg chg="mod">
          <ac:chgData name="Ugo MANTEL" userId="2d5b7065-31bb-4181-a7f8-a73bf0c30211" providerId="ADAL" clId="{F05BB0D5-3454-45DC-8378-DA45B79D9A06}" dt="2020-10-02T13:04:32.691" v="1591" actId="790"/>
          <ac:spMkLst>
            <pc:docMk/>
            <pc:sldMk cId="3853263897" sldId="6820"/>
            <ac:spMk id="7" creationId="{63017A58-6F0C-42EA-BB68-F3692820FB23}"/>
          </ac:spMkLst>
        </pc:spChg>
        <pc:spChg chg="mod">
          <ac:chgData name="Ugo MANTEL" userId="2d5b7065-31bb-4181-a7f8-a73bf0c30211" providerId="ADAL" clId="{F05BB0D5-3454-45DC-8378-DA45B79D9A06}" dt="2020-10-02T13:04:32.673" v="1579" actId="790"/>
          <ac:spMkLst>
            <pc:docMk/>
            <pc:sldMk cId="3853263897" sldId="6820"/>
            <ac:spMk id="9" creationId="{01A32528-318F-4533-B3BC-C5E24262EB0D}"/>
          </ac:spMkLst>
        </pc:spChg>
        <pc:spChg chg="mod">
          <ac:chgData name="Ugo MANTEL" userId="2d5b7065-31bb-4181-a7f8-a73bf0c30211" providerId="ADAL" clId="{F05BB0D5-3454-45DC-8378-DA45B79D9A06}" dt="2020-10-02T13:04:32.685" v="1584" actId="790"/>
          <ac:spMkLst>
            <pc:docMk/>
            <pc:sldMk cId="3853263897" sldId="6820"/>
            <ac:spMk id="11" creationId="{E85B7186-B917-4878-A411-7919193DA51A}"/>
          </ac:spMkLst>
        </pc:spChg>
        <pc:spChg chg="mod">
          <ac:chgData name="Ugo MANTEL" userId="2d5b7065-31bb-4181-a7f8-a73bf0c30211" providerId="ADAL" clId="{F05BB0D5-3454-45DC-8378-DA45B79D9A06}" dt="2020-10-02T13:04:32.687" v="1586" actId="790"/>
          <ac:spMkLst>
            <pc:docMk/>
            <pc:sldMk cId="3853263897" sldId="6820"/>
            <ac:spMk id="12" creationId="{856EF48B-5062-40B8-ADF9-B59A1BD580CB}"/>
          </ac:spMkLst>
        </pc:spChg>
        <pc:spChg chg="mod">
          <ac:chgData name="Ugo MANTEL" userId="2d5b7065-31bb-4181-a7f8-a73bf0c30211" providerId="ADAL" clId="{F05BB0D5-3454-45DC-8378-DA45B79D9A06}" dt="2020-10-02T13:04:32.688" v="1588" actId="790"/>
          <ac:spMkLst>
            <pc:docMk/>
            <pc:sldMk cId="3853263897" sldId="6820"/>
            <ac:spMk id="13" creationId="{5441E133-85D8-4F53-81A8-C98B1DDA206B}"/>
          </ac:spMkLst>
        </pc:spChg>
        <pc:spChg chg="mod">
          <ac:chgData name="Ugo MANTEL" userId="2d5b7065-31bb-4181-a7f8-a73bf0c30211" providerId="ADAL" clId="{F05BB0D5-3454-45DC-8378-DA45B79D9A06}" dt="2020-10-02T13:04:32.694" v="1596" actId="790"/>
          <ac:spMkLst>
            <pc:docMk/>
            <pc:sldMk cId="3853263897" sldId="6820"/>
            <ac:spMk id="18" creationId="{62AAAEA7-F38E-4131-9B1B-7CF960B17016}"/>
          </ac:spMkLst>
        </pc:spChg>
        <pc:spChg chg="mod">
          <ac:chgData name="Ugo MANTEL" userId="2d5b7065-31bb-4181-a7f8-a73bf0c30211" providerId="ADAL" clId="{F05BB0D5-3454-45DC-8378-DA45B79D9A06}" dt="2020-10-02T13:04:32.698" v="1602" actId="790"/>
          <ac:spMkLst>
            <pc:docMk/>
            <pc:sldMk cId="3853263897" sldId="6820"/>
            <ac:spMk id="23" creationId="{027666EB-7312-4B26-BFB7-121BB8D73C5C}"/>
          </ac:spMkLst>
        </pc:spChg>
        <pc:spChg chg="mod">
          <ac:chgData name="Ugo MANTEL" userId="2d5b7065-31bb-4181-a7f8-a73bf0c30211" providerId="ADAL" clId="{F05BB0D5-3454-45DC-8378-DA45B79D9A06}" dt="2020-10-02T13:04:32.686" v="1585" actId="790"/>
          <ac:spMkLst>
            <pc:docMk/>
            <pc:sldMk cId="3853263897" sldId="6820"/>
            <ac:spMk id="37" creationId="{1AB7DAC8-51D2-4D97-8E4D-896EE694BBF3}"/>
          </ac:spMkLst>
        </pc:spChg>
        <pc:spChg chg="mod">
          <ac:chgData name="Ugo MANTEL" userId="2d5b7065-31bb-4181-a7f8-a73bf0c30211" providerId="ADAL" clId="{F05BB0D5-3454-45DC-8378-DA45B79D9A06}" dt="2020-10-02T13:04:32.687" v="1587" actId="790"/>
          <ac:spMkLst>
            <pc:docMk/>
            <pc:sldMk cId="3853263897" sldId="6820"/>
            <ac:spMk id="38" creationId="{70017144-DCBD-4D2D-BCDD-4D8EE8A89969}"/>
          </ac:spMkLst>
        </pc:spChg>
        <pc:spChg chg="mod">
          <ac:chgData name="Ugo MANTEL" userId="2d5b7065-31bb-4181-a7f8-a73bf0c30211" providerId="ADAL" clId="{F05BB0D5-3454-45DC-8378-DA45B79D9A06}" dt="2020-10-02T13:04:32.689" v="1589" actId="790"/>
          <ac:spMkLst>
            <pc:docMk/>
            <pc:sldMk cId="3853263897" sldId="6820"/>
            <ac:spMk id="39" creationId="{919414F7-BA93-47C8-8395-2C619903C914}"/>
          </ac:spMkLst>
        </pc:spChg>
        <pc:spChg chg="mod">
          <ac:chgData name="Ugo MANTEL" userId="2d5b7065-31bb-4181-a7f8-a73bf0c30211" providerId="ADAL" clId="{F05BB0D5-3454-45DC-8378-DA45B79D9A06}" dt="2020-10-02T13:04:32.692" v="1593" actId="790"/>
          <ac:spMkLst>
            <pc:docMk/>
            <pc:sldMk cId="3853263897" sldId="6820"/>
            <ac:spMk id="58" creationId="{424BCF52-3B5F-4664-97A8-C81C1A3A71AC}"/>
          </ac:spMkLst>
        </pc:spChg>
        <pc:spChg chg="mod">
          <ac:chgData name="Ugo MANTEL" userId="2d5b7065-31bb-4181-a7f8-a73bf0c30211" providerId="ADAL" clId="{F05BB0D5-3454-45DC-8378-DA45B79D9A06}" dt="2020-10-02T13:04:32.693" v="1594" actId="790"/>
          <ac:spMkLst>
            <pc:docMk/>
            <pc:sldMk cId="3853263897" sldId="6820"/>
            <ac:spMk id="60" creationId="{BDC643C6-96B8-4EEA-BF2B-3CE6A0D8993B}"/>
          </ac:spMkLst>
        </pc:spChg>
        <pc:spChg chg="mod">
          <ac:chgData name="Ugo MANTEL" userId="2d5b7065-31bb-4181-a7f8-a73bf0c30211" providerId="ADAL" clId="{F05BB0D5-3454-45DC-8378-DA45B79D9A06}" dt="2020-10-02T13:04:32.694" v="1595" actId="790"/>
          <ac:spMkLst>
            <pc:docMk/>
            <pc:sldMk cId="3853263897" sldId="6820"/>
            <ac:spMk id="62" creationId="{F5BD93ED-31EF-41DF-9FFF-EA07076DD59D}"/>
          </ac:spMkLst>
        </pc:spChg>
        <pc:spChg chg="mod">
          <ac:chgData name="Ugo MANTEL" userId="2d5b7065-31bb-4181-a7f8-a73bf0c30211" providerId="ADAL" clId="{F05BB0D5-3454-45DC-8378-DA45B79D9A06}" dt="2020-10-02T13:04:32.701" v="1607" actId="790"/>
          <ac:spMkLst>
            <pc:docMk/>
            <pc:sldMk cId="3853263897" sldId="6820"/>
            <ac:spMk id="67" creationId="{F82D1AF1-6143-44B7-B74A-593DC84330AD}"/>
          </ac:spMkLst>
        </pc:spChg>
        <pc:spChg chg="mod">
          <ac:chgData name="Ugo MANTEL" userId="2d5b7065-31bb-4181-a7f8-a73bf0c30211" providerId="ADAL" clId="{F05BB0D5-3454-45DC-8378-DA45B79D9A06}" dt="2020-10-02T13:04:32.698" v="1603" actId="790"/>
          <ac:spMkLst>
            <pc:docMk/>
            <pc:sldMk cId="3853263897" sldId="6820"/>
            <ac:spMk id="71" creationId="{129FC4E8-AF0B-494C-B5B0-A48A9C08598A}"/>
          </ac:spMkLst>
        </pc:spChg>
        <pc:spChg chg="mod">
          <ac:chgData name="Ugo MANTEL" userId="2d5b7065-31bb-4181-a7f8-a73bf0c30211" providerId="ADAL" clId="{F05BB0D5-3454-45DC-8378-DA45B79D9A06}" dt="2020-10-02T13:04:32.699" v="1604" actId="790"/>
          <ac:spMkLst>
            <pc:docMk/>
            <pc:sldMk cId="3853263897" sldId="6820"/>
            <ac:spMk id="72" creationId="{C412968B-C71E-4105-A58A-4B6333B3076F}"/>
          </ac:spMkLst>
        </pc:spChg>
        <pc:spChg chg="mod">
          <ac:chgData name="Ugo MANTEL" userId="2d5b7065-31bb-4181-a7f8-a73bf0c30211" providerId="ADAL" clId="{F05BB0D5-3454-45DC-8378-DA45B79D9A06}" dt="2020-10-02T13:04:32.697" v="1601" actId="790"/>
          <ac:spMkLst>
            <pc:docMk/>
            <pc:sldMk cId="3853263897" sldId="6820"/>
            <ac:spMk id="73" creationId="{ADD2CBF3-41B4-418D-85DC-081CEC3AC761}"/>
          </ac:spMkLst>
        </pc:spChg>
        <pc:spChg chg="mod">
          <ac:chgData name="Ugo MANTEL" userId="2d5b7065-31bb-4181-a7f8-a73bf0c30211" providerId="ADAL" clId="{F05BB0D5-3454-45DC-8378-DA45B79D9A06}" dt="2020-10-02T13:04:32.678" v="1581" actId="790"/>
          <ac:spMkLst>
            <pc:docMk/>
            <pc:sldMk cId="3853263897" sldId="6820"/>
            <ac:spMk id="74" creationId="{1DD44A8F-02F8-4C60-9C87-FFAA9A8002CE}"/>
          </ac:spMkLst>
        </pc:spChg>
        <pc:spChg chg="mod">
          <ac:chgData name="Ugo MANTEL" userId="2d5b7065-31bb-4181-a7f8-a73bf0c30211" providerId="ADAL" clId="{F05BB0D5-3454-45DC-8378-DA45B79D9A06}" dt="2020-10-02T13:04:32.679" v="1582" actId="790"/>
          <ac:spMkLst>
            <pc:docMk/>
            <pc:sldMk cId="3853263897" sldId="6820"/>
            <ac:spMk id="76" creationId="{36478E92-EDE6-44B0-BB75-7BE37089EC27}"/>
          </ac:spMkLst>
        </pc:spChg>
        <pc:spChg chg="mod">
          <ac:chgData name="Ugo MANTEL" userId="2d5b7065-31bb-4181-a7f8-a73bf0c30211" providerId="ADAL" clId="{F05BB0D5-3454-45DC-8378-DA45B79D9A06}" dt="2020-10-02T13:04:32.699" v="1605" actId="790"/>
          <ac:spMkLst>
            <pc:docMk/>
            <pc:sldMk cId="3853263897" sldId="6820"/>
            <ac:spMk id="85" creationId="{806923F2-1341-499B-A6D2-1D992A9937B7}"/>
          </ac:spMkLst>
        </pc:spChg>
        <pc:spChg chg="mod">
          <ac:chgData name="Ugo MANTEL" userId="2d5b7065-31bb-4181-a7f8-a73bf0c30211" providerId="ADAL" clId="{F05BB0D5-3454-45DC-8378-DA45B79D9A06}" dt="2020-10-02T13:04:32.683" v="1583" actId="790"/>
          <ac:spMkLst>
            <pc:docMk/>
            <pc:sldMk cId="3853263897" sldId="6820"/>
            <ac:spMk id="86" creationId="{67CB0E55-3C2A-4261-8FE5-C95C12E5E748}"/>
          </ac:spMkLst>
        </pc:spChg>
        <pc:spChg chg="mod">
          <ac:chgData name="Ugo MANTEL" userId="2d5b7065-31bb-4181-a7f8-a73bf0c30211" providerId="ADAL" clId="{F05BB0D5-3454-45DC-8378-DA45B79D9A06}" dt="2020-10-02T13:04:32.695" v="1597" actId="790"/>
          <ac:spMkLst>
            <pc:docMk/>
            <pc:sldMk cId="3853263897" sldId="6820"/>
            <ac:spMk id="94" creationId="{10A2FF67-81A8-4E8D-BC5E-C5DB6809306B}"/>
          </ac:spMkLst>
        </pc:spChg>
        <pc:spChg chg="mod">
          <ac:chgData name="Ugo MANTEL" userId="2d5b7065-31bb-4181-a7f8-a73bf0c30211" providerId="ADAL" clId="{F05BB0D5-3454-45DC-8378-DA45B79D9A06}" dt="2020-10-02T13:04:32.695" v="1598" actId="790"/>
          <ac:spMkLst>
            <pc:docMk/>
            <pc:sldMk cId="3853263897" sldId="6820"/>
            <ac:spMk id="96" creationId="{84804481-269D-446B-872B-EF15BCE7E2D6}"/>
          </ac:spMkLst>
        </pc:spChg>
        <pc:spChg chg="mod">
          <ac:chgData name="Ugo MANTEL" userId="2d5b7065-31bb-4181-a7f8-a73bf0c30211" providerId="ADAL" clId="{F05BB0D5-3454-45DC-8378-DA45B79D9A06}" dt="2020-10-02T13:04:32.696" v="1599" actId="790"/>
          <ac:spMkLst>
            <pc:docMk/>
            <pc:sldMk cId="3853263897" sldId="6820"/>
            <ac:spMk id="97" creationId="{BC16FC12-CEAA-4E6B-A393-0A9C0970CD95}"/>
          </ac:spMkLst>
        </pc:spChg>
        <pc:spChg chg="mod">
          <ac:chgData name="Ugo MANTEL" userId="2d5b7065-31bb-4181-a7f8-a73bf0c30211" providerId="ADAL" clId="{F05BB0D5-3454-45DC-8378-DA45B79D9A06}" dt="2020-10-02T13:04:32.696" v="1600" actId="790"/>
          <ac:spMkLst>
            <pc:docMk/>
            <pc:sldMk cId="3853263897" sldId="6820"/>
            <ac:spMk id="98" creationId="{089053F9-F63E-49A8-BB67-7FAB579ECF69}"/>
          </ac:spMkLst>
        </pc:spChg>
        <pc:spChg chg="mod">
          <ac:chgData name="Ugo MANTEL" userId="2d5b7065-31bb-4181-a7f8-a73bf0c30211" providerId="ADAL" clId="{F05BB0D5-3454-45DC-8378-DA45B79D9A06}" dt="2020-10-02T13:04:32.700" v="1606" actId="790"/>
          <ac:spMkLst>
            <pc:docMk/>
            <pc:sldMk cId="3853263897" sldId="6820"/>
            <ac:spMk id="99" creationId="{AED4975E-FF84-49C8-96B2-A5DFD5F1EBD5}"/>
          </ac:spMkLst>
        </pc:spChg>
        <pc:spChg chg="mod">
          <ac:chgData name="Ugo MANTEL" userId="2d5b7065-31bb-4181-a7f8-a73bf0c30211" providerId="ADAL" clId="{F05BB0D5-3454-45DC-8378-DA45B79D9A06}" dt="2020-10-02T13:04:32.702" v="1608" actId="790"/>
          <ac:spMkLst>
            <pc:docMk/>
            <pc:sldMk cId="3853263897" sldId="6820"/>
            <ac:spMk id="111" creationId="{3905B84F-CC72-4B77-861A-6119368937EF}"/>
          </ac:spMkLst>
        </pc:spChg>
        <pc:spChg chg="mod">
          <ac:chgData name="Ugo MANTEL" userId="2d5b7065-31bb-4181-a7f8-a73bf0c30211" providerId="ADAL" clId="{F05BB0D5-3454-45DC-8378-DA45B79D9A06}" dt="2020-10-02T13:04:32.703" v="1609" actId="790"/>
          <ac:spMkLst>
            <pc:docMk/>
            <pc:sldMk cId="3853263897" sldId="6820"/>
            <ac:spMk id="112" creationId="{F238010B-B7E1-491D-951C-0C83F14482EF}"/>
          </ac:spMkLst>
        </pc:spChg>
        <pc:spChg chg="mod">
          <ac:chgData name="Ugo MANTEL" userId="2d5b7065-31bb-4181-a7f8-a73bf0c30211" providerId="ADAL" clId="{F05BB0D5-3454-45DC-8378-DA45B79D9A06}" dt="2020-10-02T13:04:32.704" v="1610" actId="790"/>
          <ac:spMkLst>
            <pc:docMk/>
            <pc:sldMk cId="3853263897" sldId="6820"/>
            <ac:spMk id="113" creationId="{B8DE80A4-7079-4C41-A80B-FCB4E6BCBA84}"/>
          </ac:spMkLst>
        </pc:spChg>
        <pc:spChg chg="mod">
          <ac:chgData name="Ugo MANTEL" userId="2d5b7065-31bb-4181-a7f8-a73bf0c30211" providerId="ADAL" clId="{F05BB0D5-3454-45DC-8378-DA45B79D9A06}" dt="2020-10-02T13:04:32.705" v="1611" actId="790"/>
          <ac:spMkLst>
            <pc:docMk/>
            <pc:sldMk cId="3853263897" sldId="6820"/>
            <ac:spMk id="114" creationId="{4CCFC37D-EE4D-49B1-9CEB-C7E5E59F6A62}"/>
          </ac:spMkLst>
        </pc:spChg>
      </pc:sldChg>
      <pc:sldChg chg="modSp mod">
        <pc:chgData name="Ugo MANTEL" userId="2d5b7065-31bb-4181-a7f8-a73bf0c30211" providerId="ADAL" clId="{F05BB0D5-3454-45DC-8378-DA45B79D9A06}" dt="2020-10-02T13:04:34.680" v="3577" actId="790"/>
        <pc:sldMkLst>
          <pc:docMk/>
          <pc:sldMk cId="1453778405" sldId="6821"/>
        </pc:sldMkLst>
        <pc:spChg chg="mod">
          <ac:chgData name="Ugo MANTEL" userId="2d5b7065-31bb-4181-a7f8-a73bf0c30211" providerId="ADAL" clId="{F05BB0D5-3454-45DC-8378-DA45B79D9A06}" dt="2020-10-02T13:04:34.620" v="3503" actId="790"/>
          <ac:spMkLst>
            <pc:docMk/>
            <pc:sldMk cId="1453778405" sldId="6821"/>
            <ac:spMk id="3" creationId="{A737E770-6D8A-42E2-A63A-1E72D6E9A283}"/>
          </ac:spMkLst>
        </pc:spChg>
        <pc:spChg chg="mod">
          <ac:chgData name="Ugo MANTEL" userId="2d5b7065-31bb-4181-a7f8-a73bf0c30211" providerId="ADAL" clId="{F05BB0D5-3454-45DC-8378-DA45B79D9A06}" dt="2020-10-02T13:04:34.634" v="3518" actId="790"/>
          <ac:spMkLst>
            <pc:docMk/>
            <pc:sldMk cId="1453778405" sldId="6821"/>
            <ac:spMk id="5" creationId="{B420E8E3-07C1-4F6D-8C92-AB3559D02A34}"/>
          </ac:spMkLst>
        </pc:spChg>
        <pc:spChg chg="mod">
          <ac:chgData name="Ugo MANTEL" userId="2d5b7065-31bb-4181-a7f8-a73bf0c30211" providerId="ADAL" clId="{F05BB0D5-3454-45DC-8378-DA45B79D9A06}" dt="2020-10-02T13:04:34.635" v="3519" actId="790"/>
          <ac:spMkLst>
            <pc:docMk/>
            <pc:sldMk cId="1453778405" sldId="6821"/>
            <ac:spMk id="6" creationId="{2C9BD8AC-BE5A-433B-B1A7-739AAB73DDB2}"/>
          </ac:spMkLst>
        </pc:spChg>
        <pc:spChg chg="mod">
          <ac:chgData name="Ugo MANTEL" userId="2d5b7065-31bb-4181-a7f8-a73bf0c30211" providerId="ADAL" clId="{F05BB0D5-3454-45DC-8378-DA45B79D9A06}" dt="2020-10-02T13:04:34.635" v="3520" actId="790"/>
          <ac:spMkLst>
            <pc:docMk/>
            <pc:sldMk cId="1453778405" sldId="6821"/>
            <ac:spMk id="7" creationId="{3D55E644-8777-492C-8F71-FC1A09606531}"/>
          </ac:spMkLst>
        </pc:spChg>
        <pc:spChg chg="mod">
          <ac:chgData name="Ugo MANTEL" userId="2d5b7065-31bb-4181-a7f8-a73bf0c30211" providerId="ADAL" clId="{F05BB0D5-3454-45DC-8378-DA45B79D9A06}" dt="2020-10-02T13:04:34.636" v="3521" actId="790"/>
          <ac:spMkLst>
            <pc:docMk/>
            <pc:sldMk cId="1453778405" sldId="6821"/>
            <ac:spMk id="8" creationId="{9F9CD855-0D1F-4500-9917-CA235E4A687F}"/>
          </ac:spMkLst>
        </pc:spChg>
        <pc:spChg chg="mod">
          <ac:chgData name="Ugo MANTEL" userId="2d5b7065-31bb-4181-a7f8-a73bf0c30211" providerId="ADAL" clId="{F05BB0D5-3454-45DC-8378-DA45B79D9A06}" dt="2020-10-02T13:04:34.637" v="3522" actId="790"/>
          <ac:spMkLst>
            <pc:docMk/>
            <pc:sldMk cId="1453778405" sldId="6821"/>
            <ac:spMk id="9" creationId="{01C3C477-F09A-4489-BB98-FD4F0D490721}"/>
          </ac:spMkLst>
        </pc:spChg>
        <pc:spChg chg="mod">
          <ac:chgData name="Ugo MANTEL" userId="2d5b7065-31bb-4181-a7f8-a73bf0c30211" providerId="ADAL" clId="{F05BB0D5-3454-45DC-8378-DA45B79D9A06}" dt="2020-10-02T13:04:34.637" v="3523" actId="790"/>
          <ac:spMkLst>
            <pc:docMk/>
            <pc:sldMk cId="1453778405" sldId="6821"/>
            <ac:spMk id="10" creationId="{E2AD4BBE-89D3-4591-A62E-EBBAB5D15B8F}"/>
          </ac:spMkLst>
        </pc:spChg>
        <pc:spChg chg="mod">
          <ac:chgData name="Ugo MANTEL" userId="2d5b7065-31bb-4181-a7f8-a73bf0c30211" providerId="ADAL" clId="{F05BB0D5-3454-45DC-8378-DA45B79D9A06}" dt="2020-10-02T13:04:34.638" v="3524" actId="790"/>
          <ac:spMkLst>
            <pc:docMk/>
            <pc:sldMk cId="1453778405" sldId="6821"/>
            <ac:spMk id="11" creationId="{5F1E2151-7952-48DD-BD14-577705DA8BD0}"/>
          </ac:spMkLst>
        </pc:spChg>
        <pc:spChg chg="mod">
          <ac:chgData name="Ugo MANTEL" userId="2d5b7065-31bb-4181-a7f8-a73bf0c30211" providerId="ADAL" clId="{F05BB0D5-3454-45DC-8378-DA45B79D9A06}" dt="2020-10-02T13:04:34.666" v="3558" actId="790"/>
          <ac:spMkLst>
            <pc:docMk/>
            <pc:sldMk cId="1453778405" sldId="6821"/>
            <ac:spMk id="13" creationId="{054E797D-477F-4C48-9409-0B7A9750B1F0}"/>
          </ac:spMkLst>
        </pc:spChg>
        <pc:spChg chg="mod">
          <ac:chgData name="Ugo MANTEL" userId="2d5b7065-31bb-4181-a7f8-a73bf0c30211" providerId="ADAL" clId="{F05BB0D5-3454-45DC-8378-DA45B79D9A06}" dt="2020-10-02T13:04:34.667" v="3559" actId="790"/>
          <ac:spMkLst>
            <pc:docMk/>
            <pc:sldMk cId="1453778405" sldId="6821"/>
            <ac:spMk id="14" creationId="{54008F14-083E-4B8B-8EC6-3904CE61C66F}"/>
          </ac:spMkLst>
        </pc:spChg>
        <pc:spChg chg="mod">
          <ac:chgData name="Ugo MANTEL" userId="2d5b7065-31bb-4181-a7f8-a73bf0c30211" providerId="ADAL" clId="{F05BB0D5-3454-45DC-8378-DA45B79D9A06}" dt="2020-10-02T13:04:34.668" v="3560" actId="790"/>
          <ac:spMkLst>
            <pc:docMk/>
            <pc:sldMk cId="1453778405" sldId="6821"/>
            <ac:spMk id="15" creationId="{7575CE09-6AD7-4CB0-B7DF-715BCCC518FC}"/>
          </ac:spMkLst>
        </pc:spChg>
        <pc:spChg chg="mod">
          <ac:chgData name="Ugo MANTEL" userId="2d5b7065-31bb-4181-a7f8-a73bf0c30211" providerId="ADAL" clId="{F05BB0D5-3454-45DC-8378-DA45B79D9A06}" dt="2020-10-02T13:04:34.668" v="3561" actId="790"/>
          <ac:spMkLst>
            <pc:docMk/>
            <pc:sldMk cId="1453778405" sldId="6821"/>
            <ac:spMk id="16" creationId="{7FB0CC16-ABA1-4CE5-AFB8-984D285D8740}"/>
          </ac:spMkLst>
        </pc:spChg>
        <pc:spChg chg="mod">
          <ac:chgData name="Ugo MANTEL" userId="2d5b7065-31bb-4181-a7f8-a73bf0c30211" providerId="ADAL" clId="{F05BB0D5-3454-45DC-8378-DA45B79D9A06}" dt="2020-10-02T13:04:34.669" v="3562" actId="790"/>
          <ac:spMkLst>
            <pc:docMk/>
            <pc:sldMk cId="1453778405" sldId="6821"/>
            <ac:spMk id="17" creationId="{40C5E340-9151-4E3B-B55B-6CD490E3EDA6}"/>
          </ac:spMkLst>
        </pc:spChg>
        <pc:spChg chg="mod">
          <ac:chgData name="Ugo MANTEL" userId="2d5b7065-31bb-4181-a7f8-a73bf0c30211" providerId="ADAL" clId="{F05BB0D5-3454-45DC-8378-DA45B79D9A06}" dt="2020-10-02T13:04:34.669" v="3563" actId="790"/>
          <ac:spMkLst>
            <pc:docMk/>
            <pc:sldMk cId="1453778405" sldId="6821"/>
            <ac:spMk id="18" creationId="{4ACC9A8B-F478-4985-8D51-CB698083CC61}"/>
          </ac:spMkLst>
        </pc:spChg>
        <pc:spChg chg="mod">
          <ac:chgData name="Ugo MANTEL" userId="2d5b7065-31bb-4181-a7f8-a73bf0c30211" providerId="ADAL" clId="{F05BB0D5-3454-45DC-8378-DA45B79D9A06}" dt="2020-10-02T13:04:34.628" v="3511" actId="790"/>
          <ac:spMkLst>
            <pc:docMk/>
            <pc:sldMk cId="1453778405" sldId="6821"/>
            <ac:spMk id="20" creationId="{8AF111D6-A046-4753-9FFA-FB843CC1B04D}"/>
          </ac:spMkLst>
        </pc:spChg>
        <pc:spChg chg="mod">
          <ac:chgData name="Ugo MANTEL" userId="2d5b7065-31bb-4181-a7f8-a73bf0c30211" providerId="ADAL" clId="{F05BB0D5-3454-45DC-8378-DA45B79D9A06}" dt="2020-10-02T13:04:34.628" v="3512" actId="790"/>
          <ac:spMkLst>
            <pc:docMk/>
            <pc:sldMk cId="1453778405" sldId="6821"/>
            <ac:spMk id="21" creationId="{20FE20CB-C5C5-464F-9AE9-35DFAE1C1E0A}"/>
          </ac:spMkLst>
        </pc:spChg>
        <pc:spChg chg="mod">
          <ac:chgData name="Ugo MANTEL" userId="2d5b7065-31bb-4181-a7f8-a73bf0c30211" providerId="ADAL" clId="{F05BB0D5-3454-45DC-8378-DA45B79D9A06}" dt="2020-10-02T13:04:34.629" v="3513" actId="790"/>
          <ac:spMkLst>
            <pc:docMk/>
            <pc:sldMk cId="1453778405" sldId="6821"/>
            <ac:spMk id="22" creationId="{5C8713DD-9C0E-4A44-9F5C-68C7A595F983}"/>
          </ac:spMkLst>
        </pc:spChg>
        <pc:spChg chg="mod">
          <ac:chgData name="Ugo MANTEL" userId="2d5b7065-31bb-4181-a7f8-a73bf0c30211" providerId="ADAL" clId="{F05BB0D5-3454-45DC-8378-DA45B79D9A06}" dt="2020-10-02T13:04:34.627" v="3510" actId="790"/>
          <ac:spMkLst>
            <pc:docMk/>
            <pc:sldMk cId="1453778405" sldId="6821"/>
            <ac:spMk id="23" creationId="{0FC36761-7B1F-4EF1-9BC5-73A004D45AEE}"/>
          </ac:spMkLst>
        </pc:spChg>
        <pc:spChg chg="mod">
          <ac:chgData name="Ugo MANTEL" userId="2d5b7065-31bb-4181-a7f8-a73bf0c30211" providerId="ADAL" clId="{F05BB0D5-3454-45DC-8378-DA45B79D9A06}" dt="2020-10-02T13:04:34.629" v="3514" actId="790"/>
          <ac:spMkLst>
            <pc:docMk/>
            <pc:sldMk cId="1453778405" sldId="6821"/>
            <ac:spMk id="29" creationId="{844BE04E-DBF3-4087-81C2-8A1A7A35F11E}"/>
          </ac:spMkLst>
        </pc:spChg>
        <pc:spChg chg="mod">
          <ac:chgData name="Ugo MANTEL" userId="2d5b7065-31bb-4181-a7f8-a73bf0c30211" providerId="ADAL" clId="{F05BB0D5-3454-45DC-8378-DA45B79D9A06}" dt="2020-10-02T13:04:34.673" v="3567" actId="790"/>
          <ac:spMkLst>
            <pc:docMk/>
            <pc:sldMk cId="1453778405" sldId="6821"/>
            <ac:spMk id="30" creationId="{B49594A6-EA0C-40EE-A741-D01FB63A8A33}"/>
          </ac:spMkLst>
        </pc:spChg>
        <pc:spChg chg="mod">
          <ac:chgData name="Ugo MANTEL" userId="2d5b7065-31bb-4181-a7f8-a73bf0c30211" providerId="ADAL" clId="{F05BB0D5-3454-45DC-8378-DA45B79D9A06}" dt="2020-10-02T13:04:34.639" v="3525" actId="790"/>
          <ac:spMkLst>
            <pc:docMk/>
            <pc:sldMk cId="1453778405" sldId="6821"/>
            <ac:spMk id="31" creationId="{6E7966E7-D464-4BF4-B6E0-525DC082E2AD}"/>
          </ac:spMkLst>
        </pc:spChg>
        <pc:spChg chg="mod">
          <ac:chgData name="Ugo MANTEL" userId="2d5b7065-31bb-4181-a7f8-a73bf0c30211" providerId="ADAL" clId="{F05BB0D5-3454-45DC-8378-DA45B79D9A06}" dt="2020-10-02T13:04:34.650" v="3532" actId="790"/>
          <ac:spMkLst>
            <pc:docMk/>
            <pc:sldMk cId="1453778405" sldId="6821"/>
            <ac:spMk id="32" creationId="{F074AEEF-9E2B-438F-8548-FE75D8882910}"/>
          </ac:spMkLst>
        </pc:spChg>
        <pc:spChg chg="mod">
          <ac:chgData name="Ugo MANTEL" userId="2d5b7065-31bb-4181-a7f8-a73bf0c30211" providerId="ADAL" clId="{F05BB0D5-3454-45DC-8378-DA45B79D9A06}" dt="2020-10-02T13:04:34.621" v="3504" actId="790"/>
          <ac:spMkLst>
            <pc:docMk/>
            <pc:sldMk cId="1453778405" sldId="6821"/>
            <ac:spMk id="33" creationId="{68A8BECD-AEFD-4770-9E36-DE55B2E1BF60}"/>
          </ac:spMkLst>
        </pc:spChg>
        <pc:spChg chg="mod">
          <ac:chgData name="Ugo MANTEL" userId="2d5b7065-31bb-4181-a7f8-a73bf0c30211" providerId="ADAL" clId="{F05BB0D5-3454-45DC-8378-DA45B79D9A06}" dt="2020-10-02T13:04:34.621" v="3505" actId="790"/>
          <ac:spMkLst>
            <pc:docMk/>
            <pc:sldMk cId="1453778405" sldId="6821"/>
            <ac:spMk id="34" creationId="{C38BD074-C567-4F12-AFF9-A3461EE04010}"/>
          </ac:spMkLst>
        </pc:spChg>
        <pc:spChg chg="mod">
          <ac:chgData name="Ugo MANTEL" userId="2d5b7065-31bb-4181-a7f8-a73bf0c30211" providerId="ADAL" clId="{F05BB0D5-3454-45DC-8378-DA45B79D9A06}" dt="2020-10-02T13:04:34.623" v="3506" actId="790"/>
          <ac:spMkLst>
            <pc:docMk/>
            <pc:sldMk cId="1453778405" sldId="6821"/>
            <ac:spMk id="35" creationId="{F81DFB34-AE52-4ED2-B0AE-7279176EA293}"/>
          </ac:spMkLst>
        </pc:spChg>
        <pc:spChg chg="mod">
          <ac:chgData name="Ugo MANTEL" userId="2d5b7065-31bb-4181-a7f8-a73bf0c30211" providerId="ADAL" clId="{F05BB0D5-3454-45DC-8378-DA45B79D9A06}" dt="2020-10-02T13:04:34.631" v="3515" actId="790"/>
          <ac:spMkLst>
            <pc:docMk/>
            <pc:sldMk cId="1453778405" sldId="6821"/>
            <ac:spMk id="36" creationId="{587B958D-FA5A-4603-BD6E-B765C9562124}"/>
          </ac:spMkLst>
        </pc:spChg>
        <pc:spChg chg="mod">
          <ac:chgData name="Ugo MANTEL" userId="2d5b7065-31bb-4181-a7f8-a73bf0c30211" providerId="ADAL" clId="{F05BB0D5-3454-45DC-8378-DA45B79D9A06}" dt="2020-10-02T13:04:34.641" v="3526" actId="790"/>
          <ac:spMkLst>
            <pc:docMk/>
            <pc:sldMk cId="1453778405" sldId="6821"/>
            <ac:spMk id="37" creationId="{B037FA60-EF30-4160-990C-2DFEB94B789D}"/>
          </ac:spMkLst>
        </pc:spChg>
        <pc:spChg chg="mod">
          <ac:chgData name="Ugo MANTEL" userId="2d5b7065-31bb-4181-a7f8-a73bf0c30211" providerId="ADAL" clId="{F05BB0D5-3454-45DC-8378-DA45B79D9A06}" dt="2020-10-02T13:04:34.675" v="3568" actId="790"/>
          <ac:spMkLst>
            <pc:docMk/>
            <pc:sldMk cId="1453778405" sldId="6821"/>
            <ac:spMk id="39" creationId="{FEE1E872-4F63-42C4-8BF2-B5DB05E6BE7F}"/>
          </ac:spMkLst>
        </pc:spChg>
        <pc:spChg chg="mod">
          <ac:chgData name="Ugo MANTEL" userId="2d5b7065-31bb-4181-a7f8-a73bf0c30211" providerId="ADAL" clId="{F05BB0D5-3454-45DC-8378-DA45B79D9A06}" dt="2020-10-02T13:04:34.645" v="3529" actId="790"/>
          <ac:spMkLst>
            <pc:docMk/>
            <pc:sldMk cId="1453778405" sldId="6821"/>
            <ac:spMk id="41" creationId="{ADED8ADB-AD37-45B8-9F34-7D3231768462}"/>
          </ac:spMkLst>
        </pc:spChg>
        <pc:spChg chg="mod">
          <ac:chgData name="Ugo MANTEL" userId="2d5b7065-31bb-4181-a7f8-a73bf0c30211" providerId="ADAL" clId="{F05BB0D5-3454-45DC-8378-DA45B79D9A06}" dt="2020-10-02T13:04:34.651" v="3533" actId="790"/>
          <ac:spMkLst>
            <pc:docMk/>
            <pc:sldMk cId="1453778405" sldId="6821"/>
            <ac:spMk id="44" creationId="{CC72F239-7224-42D2-8D1B-D4E557BB41FC}"/>
          </ac:spMkLst>
        </pc:spChg>
        <pc:spChg chg="mod">
          <ac:chgData name="Ugo MANTEL" userId="2d5b7065-31bb-4181-a7f8-a73bf0c30211" providerId="ADAL" clId="{F05BB0D5-3454-45DC-8378-DA45B79D9A06}" dt="2020-10-02T13:04:34.651" v="3534" actId="790"/>
          <ac:spMkLst>
            <pc:docMk/>
            <pc:sldMk cId="1453778405" sldId="6821"/>
            <ac:spMk id="45" creationId="{D64487CC-7E55-4D3B-B121-302634DDFCA7}"/>
          </ac:spMkLst>
        </pc:spChg>
        <pc:spChg chg="mod">
          <ac:chgData name="Ugo MANTEL" userId="2d5b7065-31bb-4181-a7f8-a73bf0c30211" providerId="ADAL" clId="{F05BB0D5-3454-45DC-8378-DA45B79D9A06}" dt="2020-10-02T13:04:34.652" v="3535" actId="790"/>
          <ac:spMkLst>
            <pc:docMk/>
            <pc:sldMk cId="1453778405" sldId="6821"/>
            <ac:spMk id="46" creationId="{28C59F4B-D3D7-4A8C-9590-D99A35B8DD51}"/>
          </ac:spMkLst>
        </pc:spChg>
        <pc:spChg chg="mod">
          <ac:chgData name="Ugo MANTEL" userId="2d5b7065-31bb-4181-a7f8-a73bf0c30211" providerId="ADAL" clId="{F05BB0D5-3454-45DC-8378-DA45B79D9A06}" dt="2020-10-02T13:04:34.653" v="3536" actId="790"/>
          <ac:spMkLst>
            <pc:docMk/>
            <pc:sldMk cId="1453778405" sldId="6821"/>
            <ac:spMk id="47" creationId="{E1322D61-DC85-4A24-A113-4B11402F21EB}"/>
          </ac:spMkLst>
        </pc:spChg>
        <pc:spChg chg="mod">
          <ac:chgData name="Ugo MANTEL" userId="2d5b7065-31bb-4181-a7f8-a73bf0c30211" providerId="ADAL" clId="{F05BB0D5-3454-45DC-8378-DA45B79D9A06}" dt="2020-10-02T13:04:34.624" v="3507" actId="790"/>
          <ac:spMkLst>
            <pc:docMk/>
            <pc:sldMk cId="1453778405" sldId="6821"/>
            <ac:spMk id="49" creationId="{0D81EBFF-46FC-4DE8-ACEE-B2D5C879B862}"/>
          </ac:spMkLst>
        </pc:spChg>
        <pc:spChg chg="mod">
          <ac:chgData name="Ugo MANTEL" userId="2d5b7065-31bb-4181-a7f8-a73bf0c30211" providerId="ADAL" clId="{F05BB0D5-3454-45DC-8378-DA45B79D9A06}" dt="2020-10-02T13:04:34.653" v="3537" actId="790"/>
          <ac:spMkLst>
            <pc:docMk/>
            <pc:sldMk cId="1453778405" sldId="6821"/>
            <ac:spMk id="50" creationId="{45F7CE10-1C3A-492F-BDCF-D5C042A5CF73}"/>
          </ac:spMkLst>
        </pc:spChg>
        <pc:spChg chg="mod">
          <ac:chgData name="Ugo MANTEL" userId="2d5b7065-31bb-4181-a7f8-a73bf0c30211" providerId="ADAL" clId="{F05BB0D5-3454-45DC-8378-DA45B79D9A06}" dt="2020-10-02T13:04:34.654" v="3538" actId="790"/>
          <ac:spMkLst>
            <pc:docMk/>
            <pc:sldMk cId="1453778405" sldId="6821"/>
            <ac:spMk id="51" creationId="{BD981CBC-E7D4-4839-A7F7-5922BDFD29D7}"/>
          </ac:spMkLst>
        </pc:spChg>
        <pc:spChg chg="mod">
          <ac:chgData name="Ugo MANTEL" userId="2d5b7065-31bb-4181-a7f8-a73bf0c30211" providerId="ADAL" clId="{F05BB0D5-3454-45DC-8378-DA45B79D9A06}" dt="2020-10-02T13:04:34.655" v="3539" actId="790"/>
          <ac:spMkLst>
            <pc:docMk/>
            <pc:sldMk cId="1453778405" sldId="6821"/>
            <ac:spMk id="52" creationId="{C9381564-5397-4DE2-BFA4-EAF34FC87E22}"/>
          </ac:spMkLst>
        </pc:spChg>
        <pc:spChg chg="mod">
          <ac:chgData name="Ugo MANTEL" userId="2d5b7065-31bb-4181-a7f8-a73bf0c30211" providerId="ADAL" clId="{F05BB0D5-3454-45DC-8378-DA45B79D9A06}" dt="2020-10-02T13:04:34.655" v="3540" actId="790"/>
          <ac:spMkLst>
            <pc:docMk/>
            <pc:sldMk cId="1453778405" sldId="6821"/>
            <ac:spMk id="53" creationId="{BE4C6CD3-92E6-465C-8E84-E4AE7644CE61}"/>
          </ac:spMkLst>
        </pc:spChg>
        <pc:spChg chg="mod">
          <ac:chgData name="Ugo MANTEL" userId="2d5b7065-31bb-4181-a7f8-a73bf0c30211" providerId="ADAL" clId="{F05BB0D5-3454-45DC-8378-DA45B79D9A06}" dt="2020-10-02T13:04:34.656" v="3541" actId="790"/>
          <ac:spMkLst>
            <pc:docMk/>
            <pc:sldMk cId="1453778405" sldId="6821"/>
            <ac:spMk id="54" creationId="{44EB0AFE-A949-4B3E-8FA9-3B81565380C4}"/>
          </ac:spMkLst>
        </pc:spChg>
        <pc:spChg chg="mod">
          <ac:chgData name="Ugo MANTEL" userId="2d5b7065-31bb-4181-a7f8-a73bf0c30211" providerId="ADAL" clId="{F05BB0D5-3454-45DC-8378-DA45B79D9A06}" dt="2020-10-02T13:04:34.657" v="3542" actId="790"/>
          <ac:spMkLst>
            <pc:docMk/>
            <pc:sldMk cId="1453778405" sldId="6821"/>
            <ac:spMk id="55" creationId="{A1CBABF6-F8CB-4975-A71D-EC0A7BD7AA5F}"/>
          </ac:spMkLst>
        </pc:spChg>
        <pc:spChg chg="mod">
          <ac:chgData name="Ugo MANTEL" userId="2d5b7065-31bb-4181-a7f8-a73bf0c30211" providerId="ADAL" clId="{F05BB0D5-3454-45DC-8378-DA45B79D9A06}" dt="2020-10-02T13:04:34.657" v="3543" actId="790"/>
          <ac:spMkLst>
            <pc:docMk/>
            <pc:sldMk cId="1453778405" sldId="6821"/>
            <ac:spMk id="56" creationId="{4E55F83E-4ABE-482A-89EF-4CDBFE903188}"/>
          </ac:spMkLst>
        </pc:spChg>
        <pc:spChg chg="mod">
          <ac:chgData name="Ugo MANTEL" userId="2d5b7065-31bb-4181-a7f8-a73bf0c30211" providerId="ADAL" clId="{F05BB0D5-3454-45DC-8378-DA45B79D9A06}" dt="2020-10-02T13:04:34.658" v="3544" actId="790"/>
          <ac:spMkLst>
            <pc:docMk/>
            <pc:sldMk cId="1453778405" sldId="6821"/>
            <ac:spMk id="57" creationId="{F06F4A0B-ADA3-4C0E-8E9E-911C2283FB8A}"/>
          </ac:spMkLst>
        </pc:spChg>
        <pc:spChg chg="mod">
          <ac:chgData name="Ugo MANTEL" userId="2d5b7065-31bb-4181-a7f8-a73bf0c30211" providerId="ADAL" clId="{F05BB0D5-3454-45DC-8378-DA45B79D9A06}" dt="2020-10-02T13:04:34.658" v="3545" actId="790"/>
          <ac:spMkLst>
            <pc:docMk/>
            <pc:sldMk cId="1453778405" sldId="6821"/>
            <ac:spMk id="58" creationId="{A7BF7D15-486A-4311-82E4-D3CFAED46C41}"/>
          </ac:spMkLst>
        </pc:spChg>
        <pc:spChg chg="mod">
          <ac:chgData name="Ugo MANTEL" userId="2d5b7065-31bb-4181-a7f8-a73bf0c30211" providerId="ADAL" clId="{F05BB0D5-3454-45DC-8378-DA45B79D9A06}" dt="2020-10-02T13:04:34.633" v="3517" actId="790"/>
          <ac:spMkLst>
            <pc:docMk/>
            <pc:sldMk cId="1453778405" sldId="6821"/>
            <ac:spMk id="61" creationId="{7EEC8E8F-387F-4944-BDAE-E82F6BEE926B}"/>
          </ac:spMkLst>
        </pc:spChg>
        <pc:spChg chg="mod">
          <ac:chgData name="Ugo MANTEL" userId="2d5b7065-31bb-4181-a7f8-a73bf0c30211" providerId="ADAL" clId="{F05BB0D5-3454-45DC-8378-DA45B79D9A06}" dt="2020-10-02T13:04:34.643" v="3528" actId="790"/>
          <ac:spMkLst>
            <pc:docMk/>
            <pc:sldMk cId="1453778405" sldId="6821"/>
            <ac:spMk id="62" creationId="{F5E27736-17FA-4086-8766-75DC9B3704B3}"/>
          </ac:spMkLst>
        </pc:spChg>
        <pc:spChg chg="mod">
          <ac:chgData name="Ugo MANTEL" userId="2d5b7065-31bb-4181-a7f8-a73bf0c30211" providerId="ADAL" clId="{F05BB0D5-3454-45DC-8378-DA45B79D9A06}" dt="2020-10-02T13:04:34.625" v="3508" actId="790"/>
          <ac:spMkLst>
            <pc:docMk/>
            <pc:sldMk cId="1453778405" sldId="6821"/>
            <ac:spMk id="64" creationId="{598025C0-9120-4417-9294-A9EBA3965242}"/>
          </ac:spMkLst>
        </pc:spChg>
        <pc:spChg chg="mod">
          <ac:chgData name="Ugo MANTEL" userId="2d5b7065-31bb-4181-a7f8-a73bf0c30211" providerId="ADAL" clId="{F05BB0D5-3454-45DC-8378-DA45B79D9A06}" dt="2020-10-02T13:04:34.647" v="3531" actId="790"/>
          <ac:spMkLst>
            <pc:docMk/>
            <pc:sldMk cId="1453778405" sldId="6821"/>
            <ac:spMk id="68" creationId="{8D4314D4-E0A3-4440-80A9-95CAF3772F16}"/>
          </ac:spMkLst>
        </pc:spChg>
        <pc:spChg chg="mod">
          <ac:chgData name="Ugo MANTEL" userId="2d5b7065-31bb-4181-a7f8-a73bf0c30211" providerId="ADAL" clId="{F05BB0D5-3454-45DC-8378-DA45B79D9A06}" dt="2020-10-02T13:04:34.626" v="3509" actId="790"/>
          <ac:spMkLst>
            <pc:docMk/>
            <pc:sldMk cId="1453778405" sldId="6821"/>
            <ac:spMk id="71" creationId="{4053D79E-C32B-402A-9180-35A01D12C14D}"/>
          </ac:spMkLst>
        </pc:spChg>
        <pc:spChg chg="mod">
          <ac:chgData name="Ugo MANTEL" userId="2d5b7065-31bb-4181-a7f8-a73bf0c30211" providerId="ADAL" clId="{F05BB0D5-3454-45DC-8378-DA45B79D9A06}" dt="2020-10-02T13:04:34.617" v="3502" actId="790"/>
          <ac:spMkLst>
            <pc:docMk/>
            <pc:sldMk cId="1453778405" sldId="6821"/>
            <ac:spMk id="75" creationId="{565DBE8F-8609-47F9-933B-FAE6CA4D70B9}"/>
          </ac:spMkLst>
        </pc:spChg>
        <pc:spChg chg="mod">
          <ac:chgData name="Ugo MANTEL" userId="2d5b7065-31bb-4181-a7f8-a73bf0c30211" providerId="ADAL" clId="{F05BB0D5-3454-45DC-8378-DA45B79D9A06}" dt="2020-10-02T13:04:34.659" v="3546" actId="790"/>
          <ac:spMkLst>
            <pc:docMk/>
            <pc:sldMk cId="1453778405" sldId="6821"/>
            <ac:spMk id="78" creationId="{8AA5EC11-1F1A-495D-A3AC-FA87C3AF1EF5}"/>
          </ac:spMkLst>
        </pc:spChg>
        <pc:spChg chg="mod">
          <ac:chgData name="Ugo MANTEL" userId="2d5b7065-31bb-4181-a7f8-a73bf0c30211" providerId="ADAL" clId="{F05BB0D5-3454-45DC-8378-DA45B79D9A06}" dt="2020-10-02T13:04:34.660" v="3547" actId="790"/>
          <ac:spMkLst>
            <pc:docMk/>
            <pc:sldMk cId="1453778405" sldId="6821"/>
            <ac:spMk id="79" creationId="{61CCEC9E-3E53-4DC6-AB6C-E699013AC14B}"/>
          </ac:spMkLst>
        </pc:spChg>
        <pc:spChg chg="mod">
          <ac:chgData name="Ugo MANTEL" userId="2d5b7065-31bb-4181-a7f8-a73bf0c30211" providerId="ADAL" clId="{F05BB0D5-3454-45DC-8378-DA45B79D9A06}" dt="2020-10-02T13:04:34.660" v="3548" actId="790"/>
          <ac:spMkLst>
            <pc:docMk/>
            <pc:sldMk cId="1453778405" sldId="6821"/>
            <ac:spMk id="80" creationId="{06D0FA32-2DD6-41BC-A042-5FA9E567F7A5}"/>
          </ac:spMkLst>
        </pc:spChg>
        <pc:spChg chg="mod">
          <ac:chgData name="Ugo MANTEL" userId="2d5b7065-31bb-4181-a7f8-a73bf0c30211" providerId="ADAL" clId="{F05BB0D5-3454-45DC-8378-DA45B79D9A06}" dt="2020-10-02T13:04:34.632" v="3516" actId="790"/>
          <ac:spMkLst>
            <pc:docMk/>
            <pc:sldMk cId="1453778405" sldId="6821"/>
            <ac:spMk id="81" creationId="{22A94203-B73F-4DB7-8476-F59F64792949}"/>
          </ac:spMkLst>
        </pc:spChg>
        <pc:spChg chg="mod">
          <ac:chgData name="Ugo MANTEL" userId="2d5b7065-31bb-4181-a7f8-a73bf0c30211" providerId="ADAL" clId="{F05BB0D5-3454-45DC-8378-DA45B79D9A06}" dt="2020-10-02T13:04:34.642" v="3527" actId="790"/>
          <ac:spMkLst>
            <pc:docMk/>
            <pc:sldMk cId="1453778405" sldId="6821"/>
            <ac:spMk id="82" creationId="{9FB858DC-A8BF-4FB1-A2F0-EE345B2033E3}"/>
          </ac:spMkLst>
        </pc:spChg>
        <pc:spChg chg="mod">
          <ac:chgData name="Ugo MANTEL" userId="2d5b7065-31bb-4181-a7f8-a73bf0c30211" providerId="ADAL" clId="{F05BB0D5-3454-45DC-8378-DA45B79D9A06}" dt="2020-10-02T13:04:34.646" v="3530" actId="790"/>
          <ac:spMkLst>
            <pc:docMk/>
            <pc:sldMk cId="1453778405" sldId="6821"/>
            <ac:spMk id="83" creationId="{34B675DF-7584-4C80-BA54-6AE5B2468653}"/>
          </ac:spMkLst>
        </pc:spChg>
        <pc:spChg chg="mod">
          <ac:chgData name="Ugo MANTEL" userId="2d5b7065-31bb-4181-a7f8-a73bf0c30211" providerId="ADAL" clId="{F05BB0D5-3454-45DC-8378-DA45B79D9A06}" dt="2020-10-02T13:04:34.661" v="3549" actId="790"/>
          <ac:spMkLst>
            <pc:docMk/>
            <pc:sldMk cId="1453778405" sldId="6821"/>
            <ac:spMk id="84" creationId="{CA035355-4DC9-47E9-A5F9-9D8A2903DBF2}"/>
          </ac:spMkLst>
        </pc:spChg>
        <pc:spChg chg="mod">
          <ac:chgData name="Ugo MANTEL" userId="2d5b7065-31bb-4181-a7f8-a73bf0c30211" providerId="ADAL" clId="{F05BB0D5-3454-45DC-8378-DA45B79D9A06}" dt="2020-10-02T13:04:34.661" v="3550" actId="790"/>
          <ac:spMkLst>
            <pc:docMk/>
            <pc:sldMk cId="1453778405" sldId="6821"/>
            <ac:spMk id="85" creationId="{F8FE4030-4A91-4AA1-85EE-F84A2060B470}"/>
          </ac:spMkLst>
        </pc:spChg>
        <pc:spChg chg="mod">
          <ac:chgData name="Ugo MANTEL" userId="2d5b7065-31bb-4181-a7f8-a73bf0c30211" providerId="ADAL" clId="{F05BB0D5-3454-45DC-8378-DA45B79D9A06}" dt="2020-10-02T13:04:34.662" v="3551" actId="790"/>
          <ac:spMkLst>
            <pc:docMk/>
            <pc:sldMk cId="1453778405" sldId="6821"/>
            <ac:spMk id="86" creationId="{733E8826-24B0-4C34-A286-33BC543CD56C}"/>
          </ac:spMkLst>
        </pc:spChg>
        <pc:spChg chg="mod">
          <ac:chgData name="Ugo MANTEL" userId="2d5b7065-31bb-4181-a7f8-a73bf0c30211" providerId="ADAL" clId="{F05BB0D5-3454-45DC-8378-DA45B79D9A06}" dt="2020-10-02T13:04:34.663" v="3552" actId="790"/>
          <ac:spMkLst>
            <pc:docMk/>
            <pc:sldMk cId="1453778405" sldId="6821"/>
            <ac:spMk id="87" creationId="{B20D59C7-F8B6-4D89-B5C1-2AA1ABF85D29}"/>
          </ac:spMkLst>
        </pc:spChg>
        <pc:spChg chg="mod">
          <ac:chgData name="Ugo MANTEL" userId="2d5b7065-31bb-4181-a7f8-a73bf0c30211" providerId="ADAL" clId="{F05BB0D5-3454-45DC-8378-DA45B79D9A06}" dt="2020-10-02T13:04:34.663" v="3553" actId="790"/>
          <ac:spMkLst>
            <pc:docMk/>
            <pc:sldMk cId="1453778405" sldId="6821"/>
            <ac:spMk id="88" creationId="{F77BA98C-CDD7-4C2E-B7ED-22C9FD46294B}"/>
          </ac:spMkLst>
        </pc:spChg>
        <pc:spChg chg="mod">
          <ac:chgData name="Ugo MANTEL" userId="2d5b7065-31bb-4181-a7f8-a73bf0c30211" providerId="ADAL" clId="{F05BB0D5-3454-45DC-8378-DA45B79D9A06}" dt="2020-10-02T13:04:34.664" v="3554" actId="790"/>
          <ac:spMkLst>
            <pc:docMk/>
            <pc:sldMk cId="1453778405" sldId="6821"/>
            <ac:spMk id="89" creationId="{13241FF7-C8C9-41EF-AFB7-4771B5B4E3AE}"/>
          </ac:spMkLst>
        </pc:spChg>
        <pc:spChg chg="mod">
          <ac:chgData name="Ugo MANTEL" userId="2d5b7065-31bb-4181-a7f8-a73bf0c30211" providerId="ADAL" clId="{F05BB0D5-3454-45DC-8378-DA45B79D9A06}" dt="2020-10-02T13:04:34.664" v="3555" actId="790"/>
          <ac:spMkLst>
            <pc:docMk/>
            <pc:sldMk cId="1453778405" sldId="6821"/>
            <ac:spMk id="90" creationId="{0F11D149-8470-4B19-80B3-8CF5C99116A3}"/>
          </ac:spMkLst>
        </pc:spChg>
        <pc:spChg chg="mod">
          <ac:chgData name="Ugo MANTEL" userId="2d5b7065-31bb-4181-a7f8-a73bf0c30211" providerId="ADAL" clId="{F05BB0D5-3454-45DC-8378-DA45B79D9A06}" dt="2020-10-02T13:04:34.665" v="3556" actId="790"/>
          <ac:spMkLst>
            <pc:docMk/>
            <pc:sldMk cId="1453778405" sldId="6821"/>
            <ac:spMk id="91" creationId="{2AC3A19A-EE1A-48CE-BEAC-F0FB8AD190A0}"/>
          </ac:spMkLst>
        </pc:spChg>
        <pc:spChg chg="mod">
          <ac:chgData name="Ugo MANTEL" userId="2d5b7065-31bb-4181-a7f8-a73bf0c30211" providerId="ADAL" clId="{F05BB0D5-3454-45DC-8378-DA45B79D9A06}" dt="2020-10-02T13:04:34.665" v="3557" actId="790"/>
          <ac:spMkLst>
            <pc:docMk/>
            <pc:sldMk cId="1453778405" sldId="6821"/>
            <ac:spMk id="92" creationId="{B3808E69-51BE-47A0-92C9-08FB3AC077E1}"/>
          </ac:spMkLst>
        </pc:spChg>
        <pc:spChg chg="mod">
          <ac:chgData name="Ugo MANTEL" userId="2d5b7065-31bb-4181-a7f8-a73bf0c30211" providerId="ADAL" clId="{F05BB0D5-3454-45DC-8378-DA45B79D9A06}" dt="2020-10-02T13:04:34.670" v="3564" actId="790"/>
          <ac:spMkLst>
            <pc:docMk/>
            <pc:sldMk cId="1453778405" sldId="6821"/>
            <ac:spMk id="97" creationId="{7895D138-14E0-47EE-81A9-376E91DE0426}"/>
          </ac:spMkLst>
        </pc:spChg>
        <pc:spChg chg="mod">
          <ac:chgData name="Ugo MANTEL" userId="2d5b7065-31bb-4181-a7f8-a73bf0c30211" providerId="ADAL" clId="{F05BB0D5-3454-45DC-8378-DA45B79D9A06}" dt="2020-10-02T13:04:34.675" v="3569" actId="790"/>
          <ac:spMkLst>
            <pc:docMk/>
            <pc:sldMk cId="1453778405" sldId="6821"/>
            <ac:spMk id="98" creationId="{74AD8687-0560-46DE-9B46-CFF6EC738164}"/>
          </ac:spMkLst>
        </pc:spChg>
        <pc:spChg chg="mod">
          <ac:chgData name="Ugo MANTEL" userId="2d5b7065-31bb-4181-a7f8-a73bf0c30211" providerId="ADAL" clId="{F05BB0D5-3454-45DC-8378-DA45B79D9A06}" dt="2020-10-02T13:04:34.676" v="3570" actId="790"/>
          <ac:spMkLst>
            <pc:docMk/>
            <pc:sldMk cId="1453778405" sldId="6821"/>
            <ac:spMk id="99" creationId="{D579F8EC-51D7-456E-9F8E-95D879BF4486}"/>
          </ac:spMkLst>
        </pc:spChg>
        <pc:spChg chg="mod">
          <ac:chgData name="Ugo MANTEL" userId="2d5b7065-31bb-4181-a7f8-a73bf0c30211" providerId="ADAL" clId="{F05BB0D5-3454-45DC-8378-DA45B79D9A06}" dt="2020-10-02T13:04:34.676" v="3571" actId="790"/>
          <ac:spMkLst>
            <pc:docMk/>
            <pc:sldMk cId="1453778405" sldId="6821"/>
            <ac:spMk id="100" creationId="{C09B20EF-6050-4534-B922-E5A1E2A64A90}"/>
          </ac:spMkLst>
        </pc:spChg>
        <pc:spChg chg="mod">
          <ac:chgData name="Ugo MANTEL" userId="2d5b7065-31bb-4181-a7f8-a73bf0c30211" providerId="ADAL" clId="{F05BB0D5-3454-45DC-8378-DA45B79D9A06}" dt="2020-10-02T13:04:34.672" v="3565" actId="790"/>
          <ac:spMkLst>
            <pc:docMk/>
            <pc:sldMk cId="1453778405" sldId="6821"/>
            <ac:spMk id="101" creationId="{BA60B035-6F7A-4AD4-8056-A5356CA87AFC}"/>
          </ac:spMkLst>
        </pc:spChg>
        <pc:spChg chg="mod">
          <ac:chgData name="Ugo MANTEL" userId="2d5b7065-31bb-4181-a7f8-a73bf0c30211" providerId="ADAL" clId="{F05BB0D5-3454-45DC-8378-DA45B79D9A06}" dt="2020-10-02T13:04:34.677" v="3572" actId="790"/>
          <ac:spMkLst>
            <pc:docMk/>
            <pc:sldMk cId="1453778405" sldId="6821"/>
            <ac:spMk id="102" creationId="{062969CD-86CB-4849-8A23-7C91BB0CB812}"/>
          </ac:spMkLst>
        </pc:spChg>
        <pc:spChg chg="mod">
          <ac:chgData name="Ugo MANTEL" userId="2d5b7065-31bb-4181-a7f8-a73bf0c30211" providerId="ADAL" clId="{F05BB0D5-3454-45DC-8378-DA45B79D9A06}" dt="2020-10-02T13:04:34.673" v="3566" actId="790"/>
          <ac:spMkLst>
            <pc:docMk/>
            <pc:sldMk cId="1453778405" sldId="6821"/>
            <ac:spMk id="104" creationId="{9BD8FCA8-3521-4E93-9ADF-EE2A0D3F3F7C}"/>
          </ac:spMkLst>
        </pc:spChg>
        <pc:spChg chg="mod">
          <ac:chgData name="Ugo MANTEL" userId="2d5b7065-31bb-4181-a7f8-a73bf0c30211" providerId="ADAL" clId="{F05BB0D5-3454-45DC-8378-DA45B79D9A06}" dt="2020-10-02T13:04:34.613" v="3500" actId="790"/>
          <ac:spMkLst>
            <pc:docMk/>
            <pc:sldMk cId="1453778405" sldId="6821"/>
            <ac:spMk id="111" creationId="{5C8FE040-532D-49A1-9866-788491945336}"/>
          </ac:spMkLst>
        </pc:spChg>
        <pc:spChg chg="mod">
          <ac:chgData name="Ugo MANTEL" userId="2d5b7065-31bb-4181-a7f8-a73bf0c30211" providerId="ADAL" clId="{F05BB0D5-3454-45DC-8378-DA45B79D9A06}" dt="2020-10-02T13:04:34.678" v="3573" actId="790"/>
          <ac:spMkLst>
            <pc:docMk/>
            <pc:sldMk cId="1453778405" sldId="6821"/>
            <ac:spMk id="116" creationId="{8377E0EB-4C3B-4410-B361-12C3DE1BC3DB}"/>
          </ac:spMkLst>
        </pc:spChg>
        <pc:spChg chg="mod">
          <ac:chgData name="Ugo MANTEL" userId="2d5b7065-31bb-4181-a7f8-a73bf0c30211" providerId="ADAL" clId="{F05BB0D5-3454-45DC-8378-DA45B79D9A06}" dt="2020-10-02T13:04:34.616" v="3501" actId="790"/>
          <ac:spMkLst>
            <pc:docMk/>
            <pc:sldMk cId="1453778405" sldId="6821"/>
            <ac:spMk id="117" creationId="{2C0C9B01-668F-4E19-AC82-59F047775920}"/>
          </ac:spMkLst>
        </pc:spChg>
        <pc:spChg chg="mod">
          <ac:chgData name="Ugo MANTEL" userId="2d5b7065-31bb-4181-a7f8-a73bf0c30211" providerId="ADAL" clId="{F05BB0D5-3454-45DC-8378-DA45B79D9A06}" dt="2020-10-02T13:04:34.679" v="3574" actId="790"/>
          <ac:spMkLst>
            <pc:docMk/>
            <pc:sldMk cId="1453778405" sldId="6821"/>
            <ac:spMk id="121" creationId="{0FEC65B0-0F31-49D5-BA05-9F8EB944B470}"/>
          </ac:spMkLst>
        </pc:spChg>
        <pc:spChg chg="mod">
          <ac:chgData name="Ugo MANTEL" userId="2d5b7065-31bb-4181-a7f8-a73bf0c30211" providerId="ADAL" clId="{F05BB0D5-3454-45DC-8378-DA45B79D9A06}" dt="2020-10-02T13:04:34.679" v="3575" actId="790"/>
          <ac:spMkLst>
            <pc:docMk/>
            <pc:sldMk cId="1453778405" sldId="6821"/>
            <ac:spMk id="122" creationId="{5E5859B1-B34F-46D1-8A23-C2C6F100ADF9}"/>
          </ac:spMkLst>
        </pc:spChg>
        <pc:spChg chg="mod">
          <ac:chgData name="Ugo MANTEL" userId="2d5b7065-31bb-4181-a7f8-a73bf0c30211" providerId="ADAL" clId="{F05BB0D5-3454-45DC-8378-DA45B79D9A06}" dt="2020-10-02T13:04:34.680" v="3576" actId="790"/>
          <ac:spMkLst>
            <pc:docMk/>
            <pc:sldMk cId="1453778405" sldId="6821"/>
            <ac:spMk id="123" creationId="{E633E4A4-D269-4C62-BB1A-BA72708A8EE7}"/>
          </ac:spMkLst>
        </pc:spChg>
        <pc:spChg chg="mod">
          <ac:chgData name="Ugo MANTEL" userId="2d5b7065-31bb-4181-a7f8-a73bf0c30211" providerId="ADAL" clId="{F05BB0D5-3454-45DC-8378-DA45B79D9A06}" dt="2020-10-02T13:04:34.680" v="3577" actId="790"/>
          <ac:spMkLst>
            <pc:docMk/>
            <pc:sldMk cId="1453778405" sldId="6821"/>
            <ac:spMk id="124" creationId="{4B668C22-2020-4A59-8C82-5C88D02A30CE}"/>
          </ac:spMkLst>
        </pc:spChg>
      </pc:sldChg>
      <pc:sldChg chg="modSp mod">
        <pc:chgData name="Ugo MANTEL" userId="2d5b7065-31bb-4181-a7f8-a73bf0c30211" providerId="ADAL" clId="{F05BB0D5-3454-45DC-8378-DA45B79D9A06}" dt="2020-10-02T13:04:33.239" v="2163" actId="790"/>
        <pc:sldMkLst>
          <pc:docMk/>
          <pc:sldMk cId="879390884" sldId="6827"/>
        </pc:sldMkLst>
        <pc:spChg chg="mod">
          <ac:chgData name="Ugo MANTEL" userId="2d5b7065-31bb-4181-a7f8-a73bf0c30211" providerId="ADAL" clId="{F05BB0D5-3454-45DC-8378-DA45B79D9A06}" dt="2020-10-02T13:04:33.228" v="2148" actId="790"/>
          <ac:spMkLst>
            <pc:docMk/>
            <pc:sldMk cId="879390884" sldId="6827"/>
            <ac:spMk id="2" creationId="{69E79F8A-DE59-427B-AFC0-4710EC22E146}"/>
          </ac:spMkLst>
        </pc:spChg>
        <pc:spChg chg="mod">
          <ac:chgData name="Ugo MANTEL" userId="2d5b7065-31bb-4181-a7f8-a73bf0c30211" providerId="ADAL" clId="{F05BB0D5-3454-45DC-8378-DA45B79D9A06}" dt="2020-10-02T13:04:33.196" v="2120" actId="790"/>
          <ac:spMkLst>
            <pc:docMk/>
            <pc:sldMk cId="879390884" sldId="6827"/>
            <ac:spMk id="5" creationId="{93ADD323-887F-4F55-BF74-62340490DDC0}"/>
          </ac:spMkLst>
        </pc:spChg>
        <pc:spChg chg="mod">
          <ac:chgData name="Ugo MANTEL" userId="2d5b7065-31bb-4181-a7f8-a73bf0c30211" providerId="ADAL" clId="{F05BB0D5-3454-45DC-8378-DA45B79D9A06}" dt="2020-10-02T13:04:33.193" v="2118" actId="790"/>
          <ac:spMkLst>
            <pc:docMk/>
            <pc:sldMk cId="879390884" sldId="6827"/>
            <ac:spMk id="10" creationId="{B281D5E6-D027-4CBC-9B48-6F2B953BFC13}"/>
          </ac:spMkLst>
        </pc:spChg>
        <pc:spChg chg="mod">
          <ac:chgData name="Ugo MANTEL" userId="2d5b7065-31bb-4181-a7f8-a73bf0c30211" providerId="ADAL" clId="{F05BB0D5-3454-45DC-8378-DA45B79D9A06}" dt="2020-10-02T13:04:33.197" v="2121" actId="790"/>
          <ac:spMkLst>
            <pc:docMk/>
            <pc:sldMk cId="879390884" sldId="6827"/>
            <ac:spMk id="11" creationId="{819814FF-BEE0-4499-88F2-F7C9EAAA344B}"/>
          </ac:spMkLst>
        </pc:spChg>
        <pc:spChg chg="mod">
          <ac:chgData name="Ugo MANTEL" userId="2d5b7065-31bb-4181-a7f8-a73bf0c30211" providerId="ADAL" clId="{F05BB0D5-3454-45DC-8378-DA45B79D9A06}" dt="2020-10-02T13:04:33.194" v="2119" actId="790"/>
          <ac:spMkLst>
            <pc:docMk/>
            <pc:sldMk cId="879390884" sldId="6827"/>
            <ac:spMk id="13" creationId="{FCCB61A9-18E3-4D56-9AF8-2A82AF56EF7F}"/>
          </ac:spMkLst>
        </pc:spChg>
        <pc:spChg chg="mod">
          <ac:chgData name="Ugo MANTEL" userId="2d5b7065-31bb-4181-a7f8-a73bf0c30211" providerId="ADAL" clId="{F05BB0D5-3454-45DC-8378-DA45B79D9A06}" dt="2020-10-02T13:04:33.215" v="2138" actId="790"/>
          <ac:spMkLst>
            <pc:docMk/>
            <pc:sldMk cId="879390884" sldId="6827"/>
            <ac:spMk id="15" creationId="{52D0ADFD-3CE2-45CC-A79F-AD4DC7371102}"/>
          </ac:spMkLst>
        </pc:spChg>
        <pc:spChg chg="mod">
          <ac:chgData name="Ugo MANTEL" userId="2d5b7065-31bb-4181-a7f8-a73bf0c30211" providerId="ADAL" clId="{F05BB0D5-3454-45DC-8378-DA45B79D9A06}" dt="2020-10-02T13:04:33.198" v="2122" actId="790"/>
          <ac:spMkLst>
            <pc:docMk/>
            <pc:sldMk cId="879390884" sldId="6827"/>
            <ac:spMk id="20" creationId="{8B1760C2-D8FC-48D6-B702-B88D350EA968}"/>
          </ac:spMkLst>
        </pc:spChg>
        <pc:spChg chg="mod">
          <ac:chgData name="Ugo MANTEL" userId="2d5b7065-31bb-4181-a7f8-a73bf0c30211" providerId="ADAL" clId="{F05BB0D5-3454-45DC-8378-DA45B79D9A06}" dt="2020-10-02T13:04:33.210" v="2130" actId="790"/>
          <ac:spMkLst>
            <pc:docMk/>
            <pc:sldMk cId="879390884" sldId="6827"/>
            <ac:spMk id="44" creationId="{6C8CA44F-8D60-4C2F-8B2E-8F02C7EE8B48}"/>
          </ac:spMkLst>
        </pc:spChg>
        <pc:spChg chg="mod">
          <ac:chgData name="Ugo MANTEL" userId="2d5b7065-31bb-4181-a7f8-a73bf0c30211" providerId="ADAL" clId="{F05BB0D5-3454-45DC-8378-DA45B79D9A06}" dt="2020-10-02T13:04:33.206" v="2126" actId="790"/>
          <ac:spMkLst>
            <pc:docMk/>
            <pc:sldMk cId="879390884" sldId="6827"/>
            <ac:spMk id="53" creationId="{31F189FE-8C1D-4E28-8B08-FDE37C721A8C}"/>
          </ac:spMkLst>
        </pc:spChg>
        <pc:spChg chg="mod">
          <ac:chgData name="Ugo MANTEL" userId="2d5b7065-31bb-4181-a7f8-a73bf0c30211" providerId="ADAL" clId="{F05BB0D5-3454-45DC-8378-DA45B79D9A06}" dt="2020-10-02T13:04:33.206" v="2127" actId="790"/>
          <ac:spMkLst>
            <pc:docMk/>
            <pc:sldMk cId="879390884" sldId="6827"/>
            <ac:spMk id="54" creationId="{3BB02AD8-BD54-4886-B24F-DE526087DD0C}"/>
          </ac:spMkLst>
        </pc:spChg>
        <pc:spChg chg="mod">
          <ac:chgData name="Ugo MANTEL" userId="2d5b7065-31bb-4181-a7f8-a73bf0c30211" providerId="ADAL" clId="{F05BB0D5-3454-45DC-8378-DA45B79D9A06}" dt="2020-10-02T13:04:33.209" v="2128" actId="790"/>
          <ac:spMkLst>
            <pc:docMk/>
            <pc:sldMk cId="879390884" sldId="6827"/>
            <ac:spMk id="58" creationId="{1ACA89DB-1BBE-4115-A750-B1774D330D74}"/>
          </ac:spMkLst>
        </pc:spChg>
        <pc:spChg chg="mod">
          <ac:chgData name="Ugo MANTEL" userId="2d5b7065-31bb-4181-a7f8-a73bf0c30211" providerId="ADAL" clId="{F05BB0D5-3454-45DC-8378-DA45B79D9A06}" dt="2020-10-02T13:04:33.210" v="2129" actId="790"/>
          <ac:spMkLst>
            <pc:docMk/>
            <pc:sldMk cId="879390884" sldId="6827"/>
            <ac:spMk id="59" creationId="{E70D0D0E-9518-4059-BC6A-EFE00A6DD6C9}"/>
          </ac:spMkLst>
        </pc:spChg>
        <pc:spChg chg="mod">
          <ac:chgData name="Ugo MANTEL" userId="2d5b7065-31bb-4181-a7f8-a73bf0c30211" providerId="ADAL" clId="{F05BB0D5-3454-45DC-8378-DA45B79D9A06}" dt="2020-10-02T13:04:33.212" v="2133" actId="790"/>
          <ac:spMkLst>
            <pc:docMk/>
            <pc:sldMk cId="879390884" sldId="6827"/>
            <ac:spMk id="63" creationId="{29C2344C-8B2D-4783-9C51-6279B1DE7038}"/>
          </ac:spMkLst>
        </pc:spChg>
        <pc:spChg chg="mod">
          <ac:chgData name="Ugo MANTEL" userId="2d5b7065-31bb-4181-a7f8-a73bf0c30211" providerId="ADAL" clId="{F05BB0D5-3454-45DC-8378-DA45B79D9A06}" dt="2020-10-02T13:04:33.203" v="2124" actId="790"/>
          <ac:spMkLst>
            <pc:docMk/>
            <pc:sldMk cId="879390884" sldId="6827"/>
            <ac:spMk id="64" creationId="{5D64B579-1196-45DA-B2F5-71D407D910B5}"/>
          </ac:spMkLst>
        </pc:spChg>
        <pc:spChg chg="mod">
          <ac:chgData name="Ugo MANTEL" userId="2d5b7065-31bb-4181-a7f8-a73bf0c30211" providerId="ADAL" clId="{F05BB0D5-3454-45DC-8378-DA45B79D9A06}" dt="2020-10-02T13:04:33.213" v="2134" actId="790"/>
          <ac:spMkLst>
            <pc:docMk/>
            <pc:sldMk cId="879390884" sldId="6827"/>
            <ac:spMk id="65" creationId="{E784DF17-B14A-4815-922B-094F2BA7DFA0}"/>
          </ac:spMkLst>
        </pc:spChg>
        <pc:spChg chg="mod">
          <ac:chgData name="Ugo MANTEL" userId="2d5b7065-31bb-4181-a7f8-a73bf0c30211" providerId="ADAL" clId="{F05BB0D5-3454-45DC-8378-DA45B79D9A06}" dt="2020-10-02T13:04:33.214" v="2135" actId="790"/>
          <ac:spMkLst>
            <pc:docMk/>
            <pc:sldMk cId="879390884" sldId="6827"/>
            <ac:spMk id="67" creationId="{FD86D2DE-B9FF-4D00-B753-D02CA232E8E7}"/>
          </ac:spMkLst>
        </pc:spChg>
        <pc:spChg chg="mod">
          <ac:chgData name="Ugo MANTEL" userId="2d5b7065-31bb-4181-a7f8-a73bf0c30211" providerId="ADAL" clId="{F05BB0D5-3454-45DC-8378-DA45B79D9A06}" dt="2020-10-02T13:04:33.214" v="2136" actId="790"/>
          <ac:spMkLst>
            <pc:docMk/>
            <pc:sldMk cId="879390884" sldId="6827"/>
            <ac:spMk id="68" creationId="{C3B31DFF-15D4-4DA1-9D84-3240AC7DAA6D}"/>
          </ac:spMkLst>
        </pc:spChg>
        <pc:spChg chg="mod">
          <ac:chgData name="Ugo MANTEL" userId="2d5b7065-31bb-4181-a7f8-a73bf0c30211" providerId="ADAL" clId="{F05BB0D5-3454-45DC-8378-DA45B79D9A06}" dt="2020-10-02T13:04:33.232" v="2154" actId="790"/>
          <ac:spMkLst>
            <pc:docMk/>
            <pc:sldMk cId="879390884" sldId="6827"/>
            <ac:spMk id="69" creationId="{1A0C2182-C259-4676-8D7F-BF0AD81E8C7A}"/>
          </ac:spMkLst>
        </pc:spChg>
        <pc:spChg chg="mod">
          <ac:chgData name="Ugo MANTEL" userId="2d5b7065-31bb-4181-a7f8-a73bf0c30211" providerId="ADAL" clId="{F05BB0D5-3454-45DC-8378-DA45B79D9A06}" dt="2020-10-02T13:04:33.218" v="2142" actId="790"/>
          <ac:spMkLst>
            <pc:docMk/>
            <pc:sldMk cId="879390884" sldId="6827"/>
            <ac:spMk id="71" creationId="{EC1A2BCF-40DC-446D-9D67-0F3A00B0192E}"/>
          </ac:spMkLst>
        </pc:spChg>
        <pc:spChg chg="mod">
          <ac:chgData name="Ugo MANTEL" userId="2d5b7065-31bb-4181-a7f8-a73bf0c30211" providerId="ADAL" clId="{F05BB0D5-3454-45DC-8378-DA45B79D9A06}" dt="2020-10-02T13:04:33.219" v="2143" actId="790"/>
          <ac:spMkLst>
            <pc:docMk/>
            <pc:sldMk cId="879390884" sldId="6827"/>
            <ac:spMk id="73" creationId="{D88711E3-D57A-4198-A090-CF0F3E8703F2}"/>
          </ac:spMkLst>
        </pc:spChg>
        <pc:spChg chg="mod">
          <ac:chgData name="Ugo MANTEL" userId="2d5b7065-31bb-4181-a7f8-a73bf0c30211" providerId="ADAL" clId="{F05BB0D5-3454-45DC-8378-DA45B79D9A06}" dt="2020-10-02T13:04:33.223" v="2144" actId="790"/>
          <ac:spMkLst>
            <pc:docMk/>
            <pc:sldMk cId="879390884" sldId="6827"/>
            <ac:spMk id="75" creationId="{4E21D7B3-2E52-4B33-A465-48AB814F7219}"/>
          </ac:spMkLst>
        </pc:spChg>
        <pc:spChg chg="mod">
          <ac:chgData name="Ugo MANTEL" userId="2d5b7065-31bb-4181-a7f8-a73bf0c30211" providerId="ADAL" clId="{F05BB0D5-3454-45DC-8378-DA45B79D9A06}" dt="2020-10-02T13:04:33.225" v="2145" actId="790"/>
          <ac:spMkLst>
            <pc:docMk/>
            <pc:sldMk cId="879390884" sldId="6827"/>
            <ac:spMk id="76" creationId="{B67E772B-58FC-4795-88B9-798C5FB0E9BE}"/>
          </ac:spMkLst>
        </pc:spChg>
        <pc:spChg chg="mod">
          <ac:chgData name="Ugo MANTEL" userId="2d5b7065-31bb-4181-a7f8-a73bf0c30211" providerId="ADAL" clId="{F05BB0D5-3454-45DC-8378-DA45B79D9A06}" dt="2020-10-02T13:04:33.226" v="2146" actId="790"/>
          <ac:spMkLst>
            <pc:docMk/>
            <pc:sldMk cId="879390884" sldId="6827"/>
            <ac:spMk id="77" creationId="{C02B49D0-2433-421C-810F-98897DFE3E65}"/>
          </ac:spMkLst>
        </pc:spChg>
        <pc:spChg chg="mod">
          <ac:chgData name="Ugo MANTEL" userId="2d5b7065-31bb-4181-a7f8-a73bf0c30211" providerId="ADAL" clId="{F05BB0D5-3454-45DC-8378-DA45B79D9A06}" dt="2020-10-02T13:04:33.226" v="2147" actId="790"/>
          <ac:spMkLst>
            <pc:docMk/>
            <pc:sldMk cId="879390884" sldId="6827"/>
            <ac:spMk id="78" creationId="{A390E121-A78A-4DBD-AB41-5F43E9DA34CF}"/>
          </ac:spMkLst>
        </pc:spChg>
        <pc:spChg chg="mod">
          <ac:chgData name="Ugo MANTEL" userId="2d5b7065-31bb-4181-a7f8-a73bf0c30211" providerId="ADAL" clId="{F05BB0D5-3454-45DC-8378-DA45B79D9A06}" dt="2020-10-02T13:04:33.231" v="2153" actId="790"/>
          <ac:spMkLst>
            <pc:docMk/>
            <pc:sldMk cId="879390884" sldId="6827"/>
            <ac:spMk id="79" creationId="{E8A34149-CB57-4F30-86DD-E8379579FFDA}"/>
          </ac:spMkLst>
        </pc:spChg>
        <pc:spChg chg="mod">
          <ac:chgData name="Ugo MANTEL" userId="2d5b7065-31bb-4181-a7f8-a73bf0c30211" providerId="ADAL" clId="{F05BB0D5-3454-45DC-8378-DA45B79D9A06}" dt="2020-10-02T13:04:33.229" v="2149" actId="790"/>
          <ac:spMkLst>
            <pc:docMk/>
            <pc:sldMk cId="879390884" sldId="6827"/>
            <ac:spMk id="80" creationId="{10BAED97-DF07-4038-97F8-094E69690C13}"/>
          </ac:spMkLst>
        </pc:spChg>
        <pc:spChg chg="mod">
          <ac:chgData name="Ugo MANTEL" userId="2d5b7065-31bb-4181-a7f8-a73bf0c30211" providerId="ADAL" clId="{F05BB0D5-3454-45DC-8378-DA45B79D9A06}" dt="2020-10-02T13:04:33.229" v="2150" actId="790"/>
          <ac:spMkLst>
            <pc:docMk/>
            <pc:sldMk cId="879390884" sldId="6827"/>
            <ac:spMk id="81" creationId="{B868B943-D7F3-4C8E-AA1D-5C05A917E169}"/>
          </ac:spMkLst>
        </pc:spChg>
        <pc:spChg chg="mod">
          <ac:chgData name="Ugo MANTEL" userId="2d5b7065-31bb-4181-a7f8-a73bf0c30211" providerId="ADAL" clId="{F05BB0D5-3454-45DC-8378-DA45B79D9A06}" dt="2020-10-02T13:04:33.230" v="2151" actId="790"/>
          <ac:spMkLst>
            <pc:docMk/>
            <pc:sldMk cId="879390884" sldId="6827"/>
            <ac:spMk id="82" creationId="{6B8E917B-5B28-41C9-A802-0BDF62A9DFB4}"/>
          </ac:spMkLst>
        </pc:spChg>
        <pc:spChg chg="mod">
          <ac:chgData name="Ugo MANTEL" userId="2d5b7065-31bb-4181-a7f8-a73bf0c30211" providerId="ADAL" clId="{F05BB0D5-3454-45DC-8378-DA45B79D9A06}" dt="2020-10-02T13:04:33.230" v="2152" actId="790"/>
          <ac:spMkLst>
            <pc:docMk/>
            <pc:sldMk cId="879390884" sldId="6827"/>
            <ac:spMk id="83" creationId="{650A0E87-7BE1-4326-A3A3-143FDA5B3E2E}"/>
          </ac:spMkLst>
        </pc:spChg>
        <pc:spChg chg="mod">
          <ac:chgData name="Ugo MANTEL" userId="2d5b7065-31bb-4181-a7f8-a73bf0c30211" providerId="ADAL" clId="{F05BB0D5-3454-45DC-8378-DA45B79D9A06}" dt="2020-10-02T13:04:33.233" v="2155" actId="790"/>
          <ac:spMkLst>
            <pc:docMk/>
            <pc:sldMk cId="879390884" sldId="6827"/>
            <ac:spMk id="91" creationId="{B87B86E4-A5B9-4489-9BDE-1014874DB43B}"/>
          </ac:spMkLst>
        </pc:spChg>
        <pc:spChg chg="mod">
          <ac:chgData name="Ugo MANTEL" userId="2d5b7065-31bb-4181-a7f8-a73bf0c30211" providerId="ADAL" clId="{F05BB0D5-3454-45DC-8378-DA45B79D9A06}" dt="2020-10-02T13:04:33.233" v="2156" actId="790"/>
          <ac:spMkLst>
            <pc:docMk/>
            <pc:sldMk cId="879390884" sldId="6827"/>
            <ac:spMk id="92" creationId="{B90FA86F-12E3-4980-8A8A-6516A998C73D}"/>
          </ac:spMkLst>
        </pc:spChg>
        <pc:spChg chg="mod">
          <ac:chgData name="Ugo MANTEL" userId="2d5b7065-31bb-4181-a7f8-a73bf0c30211" providerId="ADAL" clId="{F05BB0D5-3454-45DC-8378-DA45B79D9A06}" dt="2020-10-02T13:04:33.234" v="2157" actId="790"/>
          <ac:spMkLst>
            <pc:docMk/>
            <pc:sldMk cId="879390884" sldId="6827"/>
            <ac:spMk id="93" creationId="{CF46433A-C709-4C25-BE52-412228F0C79C}"/>
          </ac:spMkLst>
        </pc:spChg>
        <pc:spChg chg="mod">
          <ac:chgData name="Ugo MANTEL" userId="2d5b7065-31bb-4181-a7f8-a73bf0c30211" providerId="ADAL" clId="{F05BB0D5-3454-45DC-8378-DA45B79D9A06}" dt="2020-10-02T13:04:33.235" v="2158" actId="790"/>
          <ac:spMkLst>
            <pc:docMk/>
            <pc:sldMk cId="879390884" sldId="6827"/>
            <ac:spMk id="94" creationId="{1DCA63F5-B307-4F36-9F13-F9D30E1E3001}"/>
          </ac:spMkLst>
        </pc:spChg>
        <pc:spChg chg="mod">
          <ac:chgData name="Ugo MANTEL" userId="2d5b7065-31bb-4181-a7f8-a73bf0c30211" providerId="ADAL" clId="{F05BB0D5-3454-45DC-8378-DA45B79D9A06}" dt="2020-10-02T13:04:33.236" v="2159" actId="790"/>
          <ac:spMkLst>
            <pc:docMk/>
            <pc:sldMk cId="879390884" sldId="6827"/>
            <ac:spMk id="95" creationId="{C7E594B4-64EE-4544-9EE4-554BDD5C921C}"/>
          </ac:spMkLst>
        </pc:spChg>
        <pc:spChg chg="mod">
          <ac:chgData name="Ugo MANTEL" userId="2d5b7065-31bb-4181-a7f8-a73bf0c30211" providerId="ADAL" clId="{F05BB0D5-3454-45DC-8378-DA45B79D9A06}" dt="2020-10-02T13:04:33.237" v="2160" actId="790"/>
          <ac:spMkLst>
            <pc:docMk/>
            <pc:sldMk cId="879390884" sldId="6827"/>
            <ac:spMk id="96" creationId="{A0F8043F-55D5-4F82-845A-2F73FFE24F7A}"/>
          </ac:spMkLst>
        </pc:spChg>
        <pc:spChg chg="mod">
          <ac:chgData name="Ugo MANTEL" userId="2d5b7065-31bb-4181-a7f8-a73bf0c30211" providerId="ADAL" clId="{F05BB0D5-3454-45DC-8378-DA45B79D9A06}" dt="2020-10-02T13:04:33.204" v="2125" actId="790"/>
          <ac:spMkLst>
            <pc:docMk/>
            <pc:sldMk cId="879390884" sldId="6827"/>
            <ac:spMk id="98" creationId="{3AE0A174-8538-40F7-9917-A4C158A618A8}"/>
          </ac:spMkLst>
        </pc:spChg>
        <pc:spChg chg="mod">
          <ac:chgData name="Ugo MANTEL" userId="2d5b7065-31bb-4181-a7f8-a73bf0c30211" providerId="ADAL" clId="{F05BB0D5-3454-45DC-8378-DA45B79D9A06}" dt="2020-10-02T13:04:33.237" v="2161" actId="790"/>
          <ac:spMkLst>
            <pc:docMk/>
            <pc:sldMk cId="879390884" sldId="6827"/>
            <ac:spMk id="99" creationId="{C767B0B7-193D-4757-A7C3-3D552C2CB614}"/>
          </ac:spMkLst>
        </pc:spChg>
        <pc:spChg chg="mod">
          <ac:chgData name="Ugo MANTEL" userId="2d5b7065-31bb-4181-a7f8-a73bf0c30211" providerId="ADAL" clId="{F05BB0D5-3454-45DC-8378-DA45B79D9A06}" dt="2020-10-02T13:04:33.238" v="2162" actId="790"/>
          <ac:spMkLst>
            <pc:docMk/>
            <pc:sldMk cId="879390884" sldId="6827"/>
            <ac:spMk id="100" creationId="{492E1D8A-05FC-442D-A55B-01ADF82B54CF}"/>
          </ac:spMkLst>
        </pc:spChg>
        <pc:spChg chg="mod">
          <ac:chgData name="Ugo MANTEL" userId="2d5b7065-31bb-4181-a7f8-a73bf0c30211" providerId="ADAL" clId="{F05BB0D5-3454-45DC-8378-DA45B79D9A06}" dt="2020-10-02T13:04:33.211" v="2131" actId="790"/>
          <ac:spMkLst>
            <pc:docMk/>
            <pc:sldMk cId="879390884" sldId="6827"/>
            <ac:spMk id="101" creationId="{7A0F62B3-9FC1-4EF5-AF8E-DDE73EFD24C5}"/>
          </ac:spMkLst>
        </pc:spChg>
        <pc:spChg chg="mod">
          <ac:chgData name="Ugo MANTEL" userId="2d5b7065-31bb-4181-a7f8-a73bf0c30211" providerId="ADAL" clId="{F05BB0D5-3454-45DC-8378-DA45B79D9A06}" dt="2020-10-02T13:04:33.211" v="2132" actId="790"/>
          <ac:spMkLst>
            <pc:docMk/>
            <pc:sldMk cId="879390884" sldId="6827"/>
            <ac:spMk id="102" creationId="{697E658C-2B26-4F61-B05D-E80BAF3903D9}"/>
          </ac:spMkLst>
        </pc:spChg>
        <pc:spChg chg="mod">
          <ac:chgData name="Ugo MANTEL" userId="2d5b7065-31bb-4181-a7f8-a73bf0c30211" providerId="ADAL" clId="{F05BB0D5-3454-45DC-8378-DA45B79D9A06}" dt="2020-10-02T13:04:33.239" v="2163" actId="790"/>
          <ac:spMkLst>
            <pc:docMk/>
            <pc:sldMk cId="879390884" sldId="6827"/>
            <ac:spMk id="103" creationId="{F17E74D3-35DC-47C1-BE43-099B14AEEF17}"/>
          </ac:spMkLst>
        </pc:spChg>
        <pc:spChg chg="mod">
          <ac:chgData name="Ugo MANTEL" userId="2d5b7065-31bb-4181-a7f8-a73bf0c30211" providerId="ADAL" clId="{F05BB0D5-3454-45DC-8378-DA45B79D9A06}" dt="2020-10-02T13:04:33.215" v="2137" actId="790"/>
          <ac:spMkLst>
            <pc:docMk/>
            <pc:sldMk cId="879390884" sldId="6827"/>
            <ac:spMk id="225" creationId="{6B3C08CE-9240-49AE-AB79-1E77ADFD02DF}"/>
          </ac:spMkLst>
        </pc:spChg>
        <pc:spChg chg="mod">
          <ac:chgData name="Ugo MANTEL" userId="2d5b7065-31bb-4181-a7f8-a73bf0c30211" providerId="ADAL" clId="{F05BB0D5-3454-45DC-8378-DA45B79D9A06}" dt="2020-10-02T13:04:33.201" v="2123" actId="790"/>
          <ac:spMkLst>
            <pc:docMk/>
            <pc:sldMk cId="879390884" sldId="6827"/>
            <ac:spMk id="226" creationId="{0A2A3D9D-1DE1-4BC8-8298-C68D7D643816}"/>
          </ac:spMkLst>
        </pc:spChg>
        <pc:spChg chg="mod">
          <ac:chgData name="Ugo MANTEL" userId="2d5b7065-31bb-4181-a7f8-a73bf0c30211" providerId="ADAL" clId="{F05BB0D5-3454-45DC-8378-DA45B79D9A06}" dt="2020-10-02T13:04:33.216" v="2139" actId="790"/>
          <ac:spMkLst>
            <pc:docMk/>
            <pc:sldMk cId="879390884" sldId="6827"/>
            <ac:spMk id="235" creationId="{E51FBDC5-D1C8-4FAE-A980-57BF34E11854}"/>
          </ac:spMkLst>
        </pc:spChg>
        <pc:spChg chg="mod">
          <ac:chgData name="Ugo MANTEL" userId="2d5b7065-31bb-4181-a7f8-a73bf0c30211" providerId="ADAL" clId="{F05BB0D5-3454-45DC-8378-DA45B79D9A06}" dt="2020-10-02T13:04:33.217" v="2140" actId="790"/>
          <ac:spMkLst>
            <pc:docMk/>
            <pc:sldMk cId="879390884" sldId="6827"/>
            <ac:spMk id="236" creationId="{21E61ED8-647B-4DB4-AD62-B137DA63F519}"/>
          </ac:spMkLst>
        </pc:spChg>
        <pc:spChg chg="mod">
          <ac:chgData name="Ugo MANTEL" userId="2d5b7065-31bb-4181-a7f8-a73bf0c30211" providerId="ADAL" clId="{F05BB0D5-3454-45DC-8378-DA45B79D9A06}" dt="2020-10-02T13:04:33.217" v="2141" actId="790"/>
          <ac:spMkLst>
            <pc:docMk/>
            <pc:sldMk cId="879390884" sldId="6827"/>
            <ac:spMk id="243" creationId="{D430EBE3-1C72-4DFE-9157-5C441600C890}"/>
          </ac:spMkLst>
        </pc:spChg>
      </pc:sldChg>
      <pc:sldChg chg="modSp mod">
        <pc:chgData name="Ugo MANTEL" userId="2d5b7065-31bb-4181-a7f8-a73bf0c30211" providerId="ADAL" clId="{F05BB0D5-3454-45DC-8378-DA45B79D9A06}" dt="2020-10-02T13:04:32.115" v="1014" actId="790"/>
        <pc:sldMkLst>
          <pc:docMk/>
          <pc:sldMk cId="1784659859" sldId="6832"/>
        </pc:sldMkLst>
        <pc:spChg chg="mod">
          <ac:chgData name="Ugo MANTEL" userId="2d5b7065-31bb-4181-a7f8-a73bf0c30211" providerId="ADAL" clId="{F05BB0D5-3454-45DC-8378-DA45B79D9A06}" dt="2020-10-02T13:04:32.080" v="973" actId="790"/>
          <ac:spMkLst>
            <pc:docMk/>
            <pc:sldMk cId="1784659859" sldId="6832"/>
            <ac:spMk id="2" creationId="{A70C1519-DBAE-4766-A4DA-9E19EF0E0A94}"/>
          </ac:spMkLst>
        </pc:spChg>
        <pc:spChg chg="mod">
          <ac:chgData name="Ugo MANTEL" userId="2d5b7065-31bb-4181-a7f8-a73bf0c30211" providerId="ADAL" clId="{F05BB0D5-3454-45DC-8378-DA45B79D9A06}" dt="2020-10-02T13:04:32.112" v="1009" actId="790"/>
          <ac:spMkLst>
            <pc:docMk/>
            <pc:sldMk cId="1784659859" sldId="6832"/>
            <ac:spMk id="3" creationId="{E741D83E-E3F2-48C6-9377-ACA3B69E9467}"/>
          </ac:spMkLst>
        </pc:spChg>
        <pc:spChg chg="mod">
          <ac:chgData name="Ugo MANTEL" userId="2d5b7065-31bb-4181-a7f8-a73bf0c30211" providerId="ADAL" clId="{F05BB0D5-3454-45DC-8378-DA45B79D9A06}" dt="2020-10-02T13:04:32.073" v="967" actId="790"/>
          <ac:spMkLst>
            <pc:docMk/>
            <pc:sldMk cId="1784659859" sldId="6832"/>
            <ac:spMk id="5" creationId="{E94AA131-FA5F-4874-B3F5-D569D0AF09AB}"/>
          </ac:spMkLst>
        </pc:spChg>
        <pc:spChg chg="mod">
          <ac:chgData name="Ugo MANTEL" userId="2d5b7065-31bb-4181-a7f8-a73bf0c30211" providerId="ADAL" clId="{F05BB0D5-3454-45DC-8378-DA45B79D9A06}" dt="2020-10-02T13:04:32.112" v="1010" actId="790"/>
          <ac:spMkLst>
            <pc:docMk/>
            <pc:sldMk cId="1784659859" sldId="6832"/>
            <ac:spMk id="6" creationId="{5D19D1C6-338C-4002-A7C4-FFD4ACF81266}"/>
          </ac:spMkLst>
        </pc:spChg>
        <pc:spChg chg="mod">
          <ac:chgData name="Ugo MANTEL" userId="2d5b7065-31bb-4181-a7f8-a73bf0c30211" providerId="ADAL" clId="{F05BB0D5-3454-45DC-8378-DA45B79D9A06}" dt="2020-10-02T13:04:32.113" v="1011" actId="790"/>
          <ac:spMkLst>
            <pc:docMk/>
            <pc:sldMk cId="1784659859" sldId="6832"/>
            <ac:spMk id="7" creationId="{DAB05FDA-F0AF-4906-B745-F973F6A2DCD4}"/>
          </ac:spMkLst>
        </pc:spChg>
        <pc:spChg chg="mod">
          <ac:chgData name="Ugo MANTEL" userId="2d5b7065-31bb-4181-a7f8-a73bf0c30211" providerId="ADAL" clId="{F05BB0D5-3454-45DC-8378-DA45B79D9A06}" dt="2020-10-02T13:04:32.114" v="1012" actId="790"/>
          <ac:spMkLst>
            <pc:docMk/>
            <pc:sldMk cId="1784659859" sldId="6832"/>
            <ac:spMk id="8" creationId="{A83A6D04-E319-49EF-BAD1-3AFD5891151F}"/>
          </ac:spMkLst>
        </pc:spChg>
        <pc:spChg chg="mod">
          <ac:chgData name="Ugo MANTEL" userId="2d5b7065-31bb-4181-a7f8-a73bf0c30211" providerId="ADAL" clId="{F05BB0D5-3454-45DC-8378-DA45B79D9A06}" dt="2020-10-02T13:04:32.075" v="968" actId="790"/>
          <ac:spMkLst>
            <pc:docMk/>
            <pc:sldMk cId="1784659859" sldId="6832"/>
            <ac:spMk id="12" creationId="{171ACDF8-EE1E-47AD-8A9B-342E663FCEDF}"/>
          </ac:spMkLst>
        </pc:spChg>
        <pc:spChg chg="mod">
          <ac:chgData name="Ugo MANTEL" userId="2d5b7065-31bb-4181-a7f8-a73bf0c30211" providerId="ADAL" clId="{F05BB0D5-3454-45DC-8378-DA45B79D9A06}" dt="2020-10-02T13:04:32.087" v="979" actId="790"/>
          <ac:spMkLst>
            <pc:docMk/>
            <pc:sldMk cId="1784659859" sldId="6832"/>
            <ac:spMk id="14" creationId="{F4C77B4E-C013-4233-8AF7-3B4290E04932}"/>
          </ac:spMkLst>
        </pc:spChg>
        <pc:spChg chg="mod">
          <ac:chgData name="Ugo MANTEL" userId="2d5b7065-31bb-4181-a7f8-a73bf0c30211" providerId="ADAL" clId="{F05BB0D5-3454-45DC-8378-DA45B79D9A06}" dt="2020-10-02T13:04:32.102" v="999" actId="790"/>
          <ac:spMkLst>
            <pc:docMk/>
            <pc:sldMk cId="1784659859" sldId="6832"/>
            <ac:spMk id="17" creationId="{A835DE48-DDC4-4554-BBE8-C1F29FCFB14D}"/>
          </ac:spMkLst>
        </pc:spChg>
        <pc:spChg chg="mod">
          <ac:chgData name="Ugo MANTEL" userId="2d5b7065-31bb-4181-a7f8-a73bf0c30211" providerId="ADAL" clId="{F05BB0D5-3454-45DC-8378-DA45B79D9A06}" dt="2020-10-02T13:04:32.088" v="980" actId="790"/>
          <ac:spMkLst>
            <pc:docMk/>
            <pc:sldMk cId="1784659859" sldId="6832"/>
            <ac:spMk id="18" creationId="{BF6E4CDA-5EF5-4B9B-8C24-C3F80E14E3BA}"/>
          </ac:spMkLst>
        </pc:spChg>
        <pc:spChg chg="mod">
          <ac:chgData name="Ugo MANTEL" userId="2d5b7065-31bb-4181-a7f8-a73bf0c30211" providerId="ADAL" clId="{F05BB0D5-3454-45DC-8378-DA45B79D9A06}" dt="2020-10-02T13:04:32.083" v="975" actId="790"/>
          <ac:spMkLst>
            <pc:docMk/>
            <pc:sldMk cId="1784659859" sldId="6832"/>
            <ac:spMk id="20" creationId="{1F3BC778-06F9-4F21-8A91-35A03CD2D5F6}"/>
          </ac:spMkLst>
        </pc:spChg>
        <pc:spChg chg="mod">
          <ac:chgData name="Ugo MANTEL" userId="2d5b7065-31bb-4181-a7f8-a73bf0c30211" providerId="ADAL" clId="{F05BB0D5-3454-45DC-8378-DA45B79D9A06}" dt="2020-10-02T13:04:32.069" v="966" actId="790"/>
          <ac:spMkLst>
            <pc:docMk/>
            <pc:sldMk cId="1784659859" sldId="6832"/>
            <ac:spMk id="23" creationId="{EEACA642-3543-4E9F-9143-E2AE5F782C8D}"/>
          </ac:spMkLst>
        </pc:spChg>
        <pc:spChg chg="mod">
          <ac:chgData name="Ugo MANTEL" userId="2d5b7065-31bb-4181-a7f8-a73bf0c30211" providerId="ADAL" clId="{F05BB0D5-3454-45DC-8378-DA45B79D9A06}" dt="2020-10-02T13:04:32.084" v="976" actId="790"/>
          <ac:spMkLst>
            <pc:docMk/>
            <pc:sldMk cId="1784659859" sldId="6832"/>
            <ac:spMk id="24" creationId="{A8F63C90-20B3-4106-B780-799761E1DAC5}"/>
          </ac:spMkLst>
        </pc:spChg>
        <pc:spChg chg="mod">
          <ac:chgData name="Ugo MANTEL" userId="2d5b7065-31bb-4181-a7f8-a73bf0c30211" providerId="ADAL" clId="{F05BB0D5-3454-45DC-8378-DA45B79D9A06}" dt="2020-10-02T13:04:32.089" v="981" actId="790"/>
          <ac:spMkLst>
            <pc:docMk/>
            <pc:sldMk cId="1784659859" sldId="6832"/>
            <ac:spMk id="26" creationId="{9114945C-C4DA-4F8E-9E43-3D256141DE5B}"/>
          </ac:spMkLst>
        </pc:spChg>
        <pc:spChg chg="mod">
          <ac:chgData name="Ugo MANTEL" userId="2d5b7065-31bb-4181-a7f8-a73bf0c30211" providerId="ADAL" clId="{F05BB0D5-3454-45DC-8378-DA45B79D9A06}" dt="2020-10-02T13:04:32.104" v="1003" actId="790"/>
          <ac:spMkLst>
            <pc:docMk/>
            <pc:sldMk cId="1784659859" sldId="6832"/>
            <ac:spMk id="29" creationId="{F9DB3B94-35B2-4CE2-AAE3-415F6263A427}"/>
          </ac:spMkLst>
        </pc:spChg>
        <pc:spChg chg="mod">
          <ac:chgData name="Ugo MANTEL" userId="2d5b7065-31bb-4181-a7f8-a73bf0c30211" providerId="ADAL" clId="{F05BB0D5-3454-45DC-8378-DA45B79D9A06}" dt="2020-10-02T13:04:32.090" v="982" actId="790"/>
          <ac:spMkLst>
            <pc:docMk/>
            <pc:sldMk cId="1784659859" sldId="6832"/>
            <ac:spMk id="30" creationId="{FE03F10F-19C5-40C1-8929-DED41CB6B709}"/>
          </ac:spMkLst>
        </pc:spChg>
        <pc:spChg chg="mod">
          <ac:chgData name="Ugo MANTEL" userId="2d5b7065-31bb-4181-a7f8-a73bf0c30211" providerId="ADAL" clId="{F05BB0D5-3454-45DC-8378-DA45B79D9A06}" dt="2020-10-02T13:04:32.090" v="983" actId="790"/>
          <ac:spMkLst>
            <pc:docMk/>
            <pc:sldMk cId="1784659859" sldId="6832"/>
            <ac:spMk id="32" creationId="{19F804CA-B144-4418-B881-641896D36FED}"/>
          </ac:spMkLst>
        </pc:spChg>
        <pc:spChg chg="mod">
          <ac:chgData name="Ugo MANTEL" userId="2d5b7065-31bb-4181-a7f8-a73bf0c30211" providerId="ADAL" clId="{F05BB0D5-3454-45DC-8378-DA45B79D9A06}" dt="2020-10-02T13:04:32.104" v="1004" actId="790"/>
          <ac:spMkLst>
            <pc:docMk/>
            <pc:sldMk cId="1784659859" sldId="6832"/>
            <ac:spMk id="33" creationId="{AC2FDC00-E591-4631-B03A-B3C7C8D48056}"/>
          </ac:spMkLst>
        </pc:spChg>
        <pc:spChg chg="mod">
          <ac:chgData name="Ugo MANTEL" userId="2d5b7065-31bb-4181-a7f8-a73bf0c30211" providerId="ADAL" clId="{F05BB0D5-3454-45DC-8378-DA45B79D9A06}" dt="2020-10-02T13:04:32.100" v="997" actId="790"/>
          <ac:spMkLst>
            <pc:docMk/>
            <pc:sldMk cId="1784659859" sldId="6832"/>
            <ac:spMk id="37" creationId="{81754BBD-8999-4089-8EAE-C35F87794C71}"/>
          </ac:spMkLst>
        </pc:spChg>
        <pc:spChg chg="mod">
          <ac:chgData name="Ugo MANTEL" userId="2d5b7065-31bb-4181-a7f8-a73bf0c30211" providerId="ADAL" clId="{F05BB0D5-3454-45DC-8378-DA45B79D9A06}" dt="2020-10-02T13:04:32.105" v="1005" actId="790"/>
          <ac:spMkLst>
            <pc:docMk/>
            <pc:sldMk cId="1784659859" sldId="6832"/>
            <ac:spMk id="39" creationId="{83F06308-6E65-4E2B-8976-ED4A9E4F625F}"/>
          </ac:spMkLst>
        </pc:spChg>
        <pc:spChg chg="mod">
          <ac:chgData name="Ugo MANTEL" userId="2d5b7065-31bb-4181-a7f8-a73bf0c30211" providerId="ADAL" clId="{F05BB0D5-3454-45DC-8378-DA45B79D9A06}" dt="2020-10-02T13:04:32.084" v="977" actId="790"/>
          <ac:spMkLst>
            <pc:docMk/>
            <pc:sldMk cId="1784659859" sldId="6832"/>
            <ac:spMk id="44" creationId="{2C7BC25D-BCF9-44AD-9C20-CFED101136B1}"/>
          </ac:spMkLst>
        </pc:spChg>
        <pc:spChg chg="mod">
          <ac:chgData name="Ugo MANTEL" userId="2d5b7065-31bb-4181-a7f8-a73bf0c30211" providerId="ADAL" clId="{F05BB0D5-3454-45DC-8378-DA45B79D9A06}" dt="2020-10-02T13:04:32.091" v="984" actId="790"/>
          <ac:spMkLst>
            <pc:docMk/>
            <pc:sldMk cId="1784659859" sldId="6832"/>
            <ac:spMk id="48" creationId="{52D7DD6B-2A23-4437-907C-7C220122734B}"/>
          </ac:spMkLst>
        </pc:spChg>
        <pc:spChg chg="mod">
          <ac:chgData name="Ugo MANTEL" userId="2d5b7065-31bb-4181-a7f8-a73bf0c30211" providerId="ADAL" clId="{F05BB0D5-3454-45DC-8378-DA45B79D9A06}" dt="2020-10-02T13:04:32.092" v="985" actId="790"/>
          <ac:spMkLst>
            <pc:docMk/>
            <pc:sldMk cId="1784659859" sldId="6832"/>
            <ac:spMk id="52" creationId="{CC115F78-F92C-4AE1-AEFE-583913FE4E5D}"/>
          </ac:spMkLst>
        </pc:spChg>
        <pc:spChg chg="mod">
          <ac:chgData name="Ugo MANTEL" userId="2d5b7065-31bb-4181-a7f8-a73bf0c30211" providerId="ADAL" clId="{F05BB0D5-3454-45DC-8378-DA45B79D9A06}" dt="2020-10-02T13:04:32.092" v="986" actId="790"/>
          <ac:spMkLst>
            <pc:docMk/>
            <pc:sldMk cId="1784659859" sldId="6832"/>
            <ac:spMk id="54" creationId="{EEF7AC83-0252-46E1-A55E-005BA817019C}"/>
          </ac:spMkLst>
        </pc:spChg>
        <pc:spChg chg="mod">
          <ac:chgData name="Ugo MANTEL" userId="2d5b7065-31bb-4181-a7f8-a73bf0c30211" providerId="ADAL" clId="{F05BB0D5-3454-45DC-8378-DA45B79D9A06}" dt="2020-10-02T13:04:32.093" v="987" actId="790"/>
          <ac:spMkLst>
            <pc:docMk/>
            <pc:sldMk cId="1784659859" sldId="6832"/>
            <ac:spMk id="56" creationId="{1C04DF61-8FE2-463F-98D5-ACF9FC1A7453}"/>
          </ac:spMkLst>
        </pc:spChg>
        <pc:spChg chg="mod">
          <ac:chgData name="Ugo MANTEL" userId="2d5b7065-31bb-4181-a7f8-a73bf0c30211" providerId="ADAL" clId="{F05BB0D5-3454-45DC-8378-DA45B79D9A06}" dt="2020-10-02T13:04:32.093" v="988" actId="790"/>
          <ac:spMkLst>
            <pc:docMk/>
            <pc:sldMk cId="1784659859" sldId="6832"/>
            <ac:spMk id="62" creationId="{E4B1E067-2FF4-4E01-9628-9FA628DDA4B8}"/>
          </ac:spMkLst>
        </pc:spChg>
        <pc:spChg chg="mod">
          <ac:chgData name="Ugo MANTEL" userId="2d5b7065-31bb-4181-a7f8-a73bf0c30211" providerId="ADAL" clId="{F05BB0D5-3454-45DC-8378-DA45B79D9A06}" dt="2020-10-02T13:04:32.094" v="989" actId="790"/>
          <ac:spMkLst>
            <pc:docMk/>
            <pc:sldMk cId="1784659859" sldId="6832"/>
            <ac:spMk id="64" creationId="{D8F2DC72-DA78-434F-BB8B-BD3788AB90C1}"/>
          </ac:spMkLst>
        </pc:spChg>
        <pc:spChg chg="mod">
          <ac:chgData name="Ugo MANTEL" userId="2d5b7065-31bb-4181-a7f8-a73bf0c30211" providerId="ADAL" clId="{F05BB0D5-3454-45DC-8378-DA45B79D9A06}" dt="2020-10-02T13:04:32.095" v="990" actId="790"/>
          <ac:spMkLst>
            <pc:docMk/>
            <pc:sldMk cId="1784659859" sldId="6832"/>
            <ac:spMk id="66" creationId="{55A1A28B-DE60-4968-B784-CF428432A647}"/>
          </ac:spMkLst>
        </pc:spChg>
        <pc:spChg chg="mod">
          <ac:chgData name="Ugo MANTEL" userId="2d5b7065-31bb-4181-a7f8-a73bf0c30211" providerId="ADAL" clId="{F05BB0D5-3454-45DC-8378-DA45B79D9A06}" dt="2020-10-02T13:04:32.115" v="1013" actId="790"/>
          <ac:spMkLst>
            <pc:docMk/>
            <pc:sldMk cId="1784659859" sldId="6832"/>
            <ac:spMk id="76" creationId="{8F96CD7F-B6E1-4550-9360-52AA471E11CC}"/>
          </ac:spMkLst>
        </pc:spChg>
        <pc:spChg chg="mod">
          <ac:chgData name="Ugo MANTEL" userId="2d5b7065-31bb-4181-a7f8-a73bf0c30211" providerId="ADAL" clId="{F05BB0D5-3454-45DC-8378-DA45B79D9A06}" dt="2020-10-02T13:04:32.115" v="1014" actId="790"/>
          <ac:spMkLst>
            <pc:docMk/>
            <pc:sldMk cId="1784659859" sldId="6832"/>
            <ac:spMk id="77" creationId="{4DF80D76-02AE-4947-ACCE-82930C46FEEF}"/>
          </ac:spMkLst>
        </pc:spChg>
        <pc:spChg chg="mod">
          <ac:chgData name="Ugo MANTEL" userId="2d5b7065-31bb-4181-a7f8-a73bf0c30211" providerId="ADAL" clId="{F05BB0D5-3454-45DC-8378-DA45B79D9A06}" dt="2020-10-02T13:04:32.076" v="969" actId="790"/>
          <ac:spMkLst>
            <pc:docMk/>
            <pc:sldMk cId="1784659859" sldId="6832"/>
            <ac:spMk id="84" creationId="{A0F78EA6-C9B5-4271-94B2-DA21C95FFA12}"/>
          </ac:spMkLst>
        </pc:spChg>
        <pc:spChg chg="mod">
          <ac:chgData name="Ugo MANTEL" userId="2d5b7065-31bb-4181-a7f8-a73bf0c30211" providerId="ADAL" clId="{F05BB0D5-3454-45DC-8378-DA45B79D9A06}" dt="2020-10-02T13:04:32.077" v="970" actId="790"/>
          <ac:spMkLst>
            <pc:docMk/>
            <pc:sldMk cId="1784659859" sldId="6832"/>
            <ac:spMk id="86" creationId="{3E21D219-E26F-4FF1-A988-465FE52EC9DE}"/>
          </ac:spMkLst>
        </pc:spChg>
        <pc:spChg chg="mod">
          <ac:chgData name="Ugo MANTEL" userId="2d5b7065-31bb-4181-a7f8-a73bf0c30211" providerId="ADAL" clId="{F05BB0D5-3454-45DC-8378-DA45B79D9A06}" dt="2020-10-02T13:04:32.079" v="971" actId="790"/>
          <ac:spMkLst>
            <pc:docMk/>
            <pc:sldMk cId="1784659859" sldId="6832"/>
            <ac:spMk id="88" creationId="{832F5ABD-8252-4E59-B97F-D06E6BE8E7C0}"/>
          </ac:spMkLst>
        </pc:spChg>
        <pc:spChg chg="mod">
          <ac:chgData name="Ugo MANTEL" userId="2d5b7065-31bb-4181-a7f8-a73bf0c30211" providerId="ADAL" clId="{F05BB0D5-3454-45DC-8378-DA45B79D9A06}" dt="2020-10-02T13:04:32.095" v="991" actId="790"/>
          <ac:spMkLst>
            <pc:docMk/>
            <pc:sldMk cId="1784659859" sldId="6832"/>
            <ac:spMk id="90" creationId="{AFAFE15B-B0F1-4074-B164-16D657E1E6C7}"/>
          </ac:spMkLst>
        </pc:spChg>
        <pc:spChg chg="mod">
          <ac:chgData name="Ugo MANTEL" userId="2d5b7065-31bb-4181-a7f8-a73bf0c30211" providerId="ADAL" clId="{F05BB0D5-3454-45DC-8378-DA45B79D9A06}" dt="2020-10-02T13:04:32.085" v="978" actId="790"/>
          <ac:spMkLst>
            <pc:docMk/>
            <pc:sldMk cId="1784659859" sldId="6832"/>
            <ac:spMk id="92" creationId="{5D296F6B-E756-47F5-BCE1-43077E2F9BAD}"/>
          </ac:spMkLst>
        </pc:spChg>
        <pc:spChg chg="mod">
          <ac:chgData name="Ugo MANTEL" userId="2d5b7065-31bb-4181-a7f8-a73bf0c30211" providerId="ADAL" clId="{F05BB0D5-3454-45DC-8378-DA45B79D9A06}" dt="2020-10-02T13:04:32.096" v="992" actId="790"/>
          <ac:spMkLst>
            <pc:docMk/>
            <pc:sldMk cId="1784659859" sldId="6832"/>
            <ac:spMk id="94" creationId="{DC4EAED0-8FC5-43BA-9E9C-3E62F0E10000}"/>
          </ac:spMkLst>
        </pc:spChg>
        <pc:spChg chg="mod">
          <ac:chgData name="Ugo MANTEL" userId="2d5b7065-31bb-4181-a7f8-a73bf0c30211" providerId="ADAL" clId="{F05BB0D5-3454-45DC-8378-DA45B79D9A06}" dt="2020-10-02T13:04:32.080" v="972" actId="790"/>
          <ac:spMkLst>
            <pc:docMk/>
            <pc:sldMk cId="1784659859" sldId="6832"/>
            <ac:spMk id="98" creationId="{1EC5E53B-D898-4E00-86D6-4BD6C9874CB4}"/>
          </ac:spMkLst>
        </pc:spChg>
        <pc:spChg chg="mod">
          <ac:chgData name="Ugo MANTEL" userId="2d5b7065-31bb-4181-a7f8-a73bf0c30211" providerId="ADAL" clId="{F05BB0D5-3454-45DC-8378-DA45B79D9A06}" dt="2020-10-02T13:04:32.099" v="996" actId="790"/>
          <ac:spMkLst>
            <pc:docMk/>
            <pc:sldMk cId="1784659859" sldId="6832"/>
            <ac:spMk id="102" creationId="{0D9BF2CF-7F33-4D54-B5BD-47EE5F77E107}"/>
          </ac:spMkLst>
        </pc:spChg>
        <pc:spChg chg="mod">
          <ac:chgData name="Ugo MANTEL" userId="2d5b7065-31bb-4181-a7f8-a73bf0c30211" providerId="ADAL" clId="{F05BB0D5-3454-45DC-8378-DA45B79D9A06}" dt="2020-10-02T13:04:32.100" v="998" actId="790"/>
          <ac:spMkLst>
            <pc:docMk/>
            <pc:sldMk cId="1784659859" sldId="6832"/>
            <ac:spMk id="114" creationId="{A42F797D-3A6E-487C-A93A-DC4B72B06316}"/>
          </ac:spMkLst>
        </pc:spChg>
        <pc:spChg chg="mod">
          <ac:chgData name="Ugo MANTEL" userId="2d5b7065-31bb-4181-a7f8-a73bf0c30211" providerId="ADAL" clId="{F05BB0D5-3454-45DC-8378-DA45B79D9A06}" dt="2020-10-02T13:04:32.102" v="1000" actId="790"/>
          <ac:spMkLst>
            <pc:docMk/>
            <pc:sldMk cId="1784659859" sldId="6832"/>
            <ac:spMk id="116" creationId="{F3F023CD-76CF-4746-BB86-4E5987504A3A}"/>
          </ac:spMkLst>
        </pc:spChg>
        <pc:spChg chg="mod">
          <ac:chgData name="Ugo MANTEL" userId="2d5b7065-31bb-4181-a7f8-a73bf0c30211" providerId="ADAL" clId="{F05BB0D5-3454-45DC-8378-DA45B79D9A06}" dt="2020-10-02T13:04:32.103" v="1002" actId="790"/>
          <ac:spMkLst>
            <pc:docMk/>
            <pc:sldMk cId="1784659859" sldId="6832"/>
            <ac:spMk id="119" creationId="{10E33265-B7D0-40CF-A23C-B4349B41D66F}"/>
          </ac:spMkLst>
        </pc:spChg>
        <pc:spChg chg="mod">
          <ac:chgData name="Ugo MANTEL" userId="2d5b7065-31bb-4181-a7f8-a73bf0c30211" providerId="ADAL" clId="{F05BB0D5-3454-45DC-8378-DA45B79D9A06}" dt="2020-10-02T13:04:32.081" v="974" actId="790"/>
          <ac:spMkLst>
            <pc:docMk/>
            <pc:sldMk cId="1784659859" sldId="6832"/>
            <ac:spMk id="121" creationId="{A2EC2276-48A1-4F77-BFF0-4B98F6787A19}"/>
          </ac:spMkLst>
        </pc:spChg>
        <pc:spChg chg="mod">
          <ac:chgData name="Ugo MANTEL" userId="2d5b7065-31bb-4181-a7f8-a73bf0c30211" providerId="ADAL" clId="{F05BB0D5-3454-45DC-8378-DA45B79D9A06}" dt="2020-10-02T13:04:32.096" v="993" actId="790"/>
          <ac:spMkLst>
            <pc:docMk/>
            <pc:sldMk cId="1784659859" sldId="6832"/>
            <ac:spMk id="122" creationId="{611980C5-B8E8-4A06-A0DD-C1DC437F7452}"/>
          </ac:spMkLst>
        </pc:spChg>
        <pc:spChg chg="mod">
          <ac:chgData name="Ugo MANTEL" userId="2d5b7065-31bb-4181-a7f8-a73bf0c30211" providerId="ADAL" clId="{F05BB0D5-3454-45DC-8378-DA45B79D9A06}" dt="2020-10-02T13:04:32.097" v="994" actId="790"/>
          <ac:spMkLst>
            <pc:docMk/>
            <pc:sldMk cId="1784659859" sldId="6832"/>
            <ac:spMk id="123" creationId="{3D129C01-246C-4963-A54B-DAA619F4FE7F}"/>
          </ac:spMkLst>
        </pc:spChg>
        <pc:spChg chg="mod">
          <ac:chgData name="Ugo MANTEL" userId="2d5b7065-31bb-4181-a7f8-a73bf0c30211" providerId="ADAL" clId="{F05BB0D5-3454-45DC-8378-DA45B79D9A06}" dt="2020-10-02T13:04:32.098" v="995" actId="790"/>
          <ac:spMkLst>
            <pc:docMk/>
            <pc:sldMk cId="1784659859" sldId="6832"/>
            <ac:spMk id="124" creationId="{0BFDC203-8C9F-4D05-8B9B-FE62A1DB7B83}"/>
          </ac:spMkLst>
        </pc:spChg>
        <pc:spChg chg="mod">
          <ac:chgData name="Ugo MANTEL" userId="2d5b7065-31bb-4181-a7f8-a73bf0c30211" providerId="ADAL" clId="{F05BB0D5-3454-45DC-8378-DA45B79D9A06}" dt="2020-10-02T13:04:32.105" v="1006" actId="790"/>
          <ac:spMkLst>
            <pc:docMk/>
            <pc:sldMk cId="1784659859" sldId="6832"/>
            <ac:spMk id="143" creationId="{55E3BD56-E911-4B1D-BFDE-CEB8EA11ABCA}"/>
          </ac:spMkLst>
        </pc:spChg>
        <pc:spChg chg="mod">
          <ac:chgData name="Ugo MANTEL" userId="2d5b7065-31bb-4181-a7f8-a73bf0c30211" providerId="ADAL" clId="{F05BB0D5-3454-45DC-8378-DA45B79D9A06}" dt="2020-10-02T13:04:32.106" v="1007" actId="790"/>
          <ac:spMkLst>
            <pc:docMk/>
            <pc:sldMk cId="1784659859" sldId="6832"/>
            <ac:spMk id="161" creationId="{FDBC4641-F633-4FD6-99CA-ADE45677CBCB}"/>
          </ac:spMkLst>
        </pc:spChg>
        <pc:spChg chg="mod">
          <ac:chgData name="Ugo MANTEL" userId="2d5b7065-31bb-4181-a7f8-a73bf0c30211" providerId="ADAL" clId="{F05BB0D5-3454-45DC-8378-DA45B79D9A06}" dt="2020-10-02T13:04:32.103" v="1001" actId="790"/>
          <ac:spMkLst>
            <pc:docMk/>
            <pc:sldMk cId="1784659859" sldId="6832"/>
            <ac:spMk id="163" creationId="{3A04B92C-8433-4148-949E-155AFD5C5320}"/>
          </ac:spMkLst>
        </pc:spChg>
        <pc:spChg chg="mod">
          <ac:chgData name="Ugo MANTEL" userId="2d5b7065-31bb-4181-a7f8-a73bf0c30211" providerId="ADAL" clId="{F05BB0D5-3454-45DC-8378-DA45B79D9A06}" dt="2020-10-02T13:04:32.111" v="1008" actId="790"/>
          <ac:spMkLst>
            <pc:docMk/>
            <pc:sldMk cId="1784659859" sldId="6832"/>
            <ac:spMk id="164" creationId="{D2F956C2-9110-4B95-BB8C-8804FD0451A9}"/>
          </ac:spMkLst>
        </pc:spChg>
      </pc:sldChg>
      <pc:sldChg chg="modSp mod">
        <pc:chgData name="Ugo MANTEL" userId="2d5b7065-31bb-4181-a7f8-a73bf0c30211" providerId="ADAL" clId="{F05BB0D5-3454-45DC-8378-DA45B79D9A06}" dt="2020-10-02T13:04:32.162" v="1068" actId="790"/>
        <pc:sldMkLst>
          <pc:docMk/>
          <pc:sldMk cId="2763404743" sldId="6833"/>
        </pc:sldMkLst>
        <pc:spChg chg="mod">
          <ac:chgData name="Ugo MANTEL" userId="2d5b7065-31bb-4181-a7f8-a73bf0c30211" providerId="ADAL" clId="{F05BB0D5-3454-45DC-8378-DA45B79D9A06}" dt="2020-10-02T13:04:32.119" v="1017" actId="790"/>
          <ac:spMkLst>
            <pc:docMk/>
            <pc:sldMk cId="2763404743" sldId="6833"/>
            <ac:spMk id="3" creationId="{EE562520-AE05-45DC-86C8-4773408518C0}"/>
          </ac:spMkLst>
        </pc:spChg>
        <pc:spChg chg="mod">
          <ac:chgData name="Ugo MANTEL" userId="2d5b7065-31bb-4181-a7f8-a73bf0c30211" providerId="ADAL" clId="{F05BB0D5-3454-45DC-8378-DA45B79D9A06}" dt="2020-10-02T13:04:32.136" v="1042" actId="790"/>
          <ac:spMkLst>
            <pc:docMk/>
            <pc:sldMk cId="2763404743" sldId="6833"/>
            <ac:spMk id="4" creationId="{1769F871-8B2E-445A-BD09-BAFAFE505D49}"/>
          </ac:spMkLst>
        </pc:spChg>
        <pc:spChg chg="mod">
          <ac:chgData name="Ugo MANTEL" userId="2d5b7065-31bb-4181-a7f8-a73bf0c30211" providerId="ADAL" clId="{F05BB0D5-3454-45DC-8378-DA45B79D9A06}" dt="2020-10-02T13:04:32.136" v="1043" actId="790"/>
          <ac:spMkLst>
            <pc:docMk/>
            <pc:sldMk cId="2763404743" sldId="6833"/>
            <ac:spMk id="5" creationId="{1EA5CD55-EE2E-4832-AC40-CEDFD622217D}"/>
          </ac:spMkLst>
        </pc:spChg>
        <pc:spChg chg="mod">
          <ac:chgData name="Ugo MANTEL" userId="2d5b7065-31bb-4181-a7f8-a73bf0c30211" providerId="ADAL" clId="{F05BB0D5-3454-45DC-8378-DA45B79D9A06}" dt="2020-10-02T13:04:32.137" v="1044" actId="790"/>
          <ac:spMkLst>
            <pc:docMk/>
            <pc:sldMk cId="2763404743" sldId="6833"/>
            <ac:spMk id="6" creationId="{3F29675B-5805-49FA-BA92-1A11B633D877}"/>
          </ac:spMkLst>
        </pc:spChg>
        <pc:spChg chg="mod">
          <ac:chgData name="Ugo MANTEL" userId="2d5b7065-31bb-4181-a7f8-a73bf0c30211" providerId="ADAL" clId="{F05BB0D5-3454-45DC-8378-DA45B79D9A06}" dt="2020-10-02T13:04:32.129" v="1033" actId="790"/>
          <ac:spMkLst>
            <pc:docMk/>
            <pc:sldMk cId="2763404743" sldId="6833"/>
            <ac:spMk id="8" creationId="{E0384457-C418-477F-BB45-C66BE5AC97AA}"/>
          </ac:spMkLst>
        </pc:spChg>
        <pc:spChg chg="mod">
          <ac:chgData name="Ugo MANTEL" userId="2d5b7065-31bb-4181-a7f8-a73bf0c30211" providerId="ADAL" clId="{F05BB0D5-3454-45DC-8378-DA45B79D9A06}" dt="2020-10-02T13:04:32.137" v="1045" actId="790"/>
          <ac:spMkLst>
            <pc:docMk/>
            <pc:sldMk cId="2763404743" sldId="6833"/>
            <ac:spMk id="10" creationId="{18947DD1-81A4-4A04-A5E8-870882608D9B}"/>
          </ac:spMkLst>
        </pc:spChg>
        <pc:spChg chg="mod">
          <ac:chgData name="Ugo MANTEL" userId="2d5b7065-31bb-4181-a7f8-a73bf0c30211" providerId="ADAL" clId="{F05BB0D5-3454-45DC-8378-DA45B79D9A06}" dt="2020-10-02T13:04:32.117" v="1016" actId="790"/>
          <ac:spMkLst>
            <pc:docMk/>
            <pc:sldMk cId="2763404743" sldId="6833"/>
            <ac:spMk id="20" creationId="{46712B7F-A271-4474-A882-8DB2E78992D1}"/>
          </ac:spMkLst>
        </pc:spChg>
        <pc:spChg chg="mod">
          <ac:chgData name="Ugo MANTEL" userId="2d5b7065-31bb-4181-a7f8-a73bf0c30211" providerId="ADAL" clId="{F05BB0D5-3454-45DC-8378-DA45B79D9A06}" dt="2020-10-02T13:04:32.134" v="1040" actId="790"/>
          <ac:spMkLst>
            <pc:docMk/>
            <pc:sldMk cId="2763404743" sldId="6833"/>
            <ac:spMk id="26" creationId="{0E92E948-7C54-4125-A61C-DE37D0920822}"/>
          </ac:spMkLst>
        </pc:spChg>
        <pc:spChg chg="mod">
          <ac:chgData name="Ugo MANTEL" userId="2d5b7065-31bb-4181-a7f8-a73bf0c30211" providerId="ADAL" clId="{F05BB0D5-3454-45DC-8378-DA45B79D9A06}" dt="2020-10-02T13:04:32.123" v="1022" actId="790"/>
          <ac:spMkLst>
            <pc:docMk/>
            <pc:sldMk cId="2763404743" sldId="6833"/>
            <ac:spMk id="53" creationId="{7B1B944E-EA5B-4AE1-9528-949A1A0C5920}"/>
          </ac:spMkLst>
        </pc:spChg>
        <pc:spChg chg="mod">
          <ac:chgData name="Ugo MANTEL" userId="2d5b7065-31bb-4181-a7f8-a73bf0c30211" providerId="ADAL" clId="{F05BB0D5-3454-45DC-8378-DA45B79D9A06}" dt="2020-10-02T13:04:32.130" v="1034" actId="790"/>
          <ac:spMkLst>
            <pc:docMk/>
            <pc:sldMk cId="2763404743" sldId="6833"/>
            <ac:spMk id="61" creationId="{C9B059BF-D299-4C61-AB4C-16AC34780315}"/>
          </ac:spMkLst>
        </pc:spChg>
        <pc:spChg chg="mod">
          <ac:chgData name="Ugo MANTEL" userId="2d5b7065-31bb-4181-a7f8-a73bf0c30211" providerId="ADAL" clId="{F05BB0D5-3454-45DC-8378-DA45B79D9A06}" dt="2020-10-02T13:04:32.133" v="1038" actId="790"/>
          <ac:spMkLst>
            <pc:docMk/>
            <pc:sldMk cId="2763404743" sldId="6833"/>
            <ac:spMk id="63" creationId="{9BA37649-E45D-4D10-AFEA-95D895A5583F}"/>
          </ac:spMkLst>
        </pc:spChg>
        <pc:spChg chg="mod">
          <ac:chgData name="Ugo MANTEL" userId="2d5b7065-31bb-4181-a7f8-a73bf0c30211" providerId="ADAL" clId="{F05BB0D5-3454-45DC-8378-DA45B79D9A06}" dt="2020-10-02T13:04:32.120" v="1018" actId="790"/>
          <ac:spMkLst>
            <pc:docMk/>
            <pc:sldMk cId="2763404743" sldId="6833"/>
            <ac:spMk id="69" creationId="{7DEC9FAE-77A5-44C7-8F96-8BF6BDBBFA8E}"/>
          </ac:spMkLst>
        </pc:spChg>
        <pc:spChg chg="mod">
          <ac:chgData name="Ugo MANTEL" userId="2d5b7065-31bb-4181-a7f8-a73bf0c30211" providerId="ADAL" clId="{F05BB0D5-3454-45DC-8378-DA45B79D9A06}" dt="2020-10-02T13:04:32.138" v="1046" actId="790"/>
          <ac:spMkLst>
            <pc:docMk/>
            <pc:sldMk cId="2763404743" sldId="6833"/>
            <ac:spMk id="72" creationId="{7ED8CEDC-8765-41B6-A34E-5E7F88FFC7ED}"/>
          </ac:spMkLst>
        </pc:spChg>
        <pc:spChg chg="mod">
          <ac:chgData name="Ugo MANTEL" userId="2d5b7065-31bb-4181-a7f8-a73bf0c30211" providerId="ADAL" clId="{F05BB0D5-3454-45DC-8378-DA45B79D9A06}" dt="2020-10-02T13:04:32.135" v="1041" actId="790"/>
          <ac:spMkLst>
            <pc:docMk/>
            <pc:sldMk cId="2763404743" sldId="6833"/>
            <ac:spMk id="81" creationId="{4F1E6CCC-F5B5-4C99-8640-CC6FDDEE1E91}"/>
          </ac:spMkLst>
        </pc:spChg>
        <pc:spChg chg="mod">
          <ac:chgData name="Ugo MANTEL" userId="2d5b7065-31bb-4181-a7f8-a73bf0c30211" providerId="ADAL" clId="{F05BB0D5-3454-45DC-8378-DA45B79D9A06}" dt="2020-10-02T13:04:32.127" v="1029" actId="790"/>
          <ac:spMkLst>
            <pc:docMk/>
            <pc:sldMk cId="2763404743" sldId="6833"/>
            <ac:spMk id="82" creationId="{E57E42BD-359D-49BC-9898-5C3A143B4275}"/>
          </ac:spMkLst>
        </pc:spChg>
        <pc:spChg chg="mod">
          <ac:chgData name="Ugo MANTEL" userId="2d5b7065-31bb-4181-a7f8-a73bf0c30211" providerId="ADAL" clId="{F05BB0D5-3454-45DC-8378-DA45B79D9A06}" dt="2020-10-02T13:04:32.127" v="1030" actId="790"/>
          <ac:spMkLst>
            <pc:docMk/>
            <pc:sldMk cId="2763404743" sldId="6833"/>
            <ac:spMk id="83" creationId="{5328B39B-B86B-48B9-8D71-F09533A0A716}"/>
          </ac:spMkLst>
        </pc:spChg>
        <pc:spChg chg="mod">
          <ac:chgData name="Ugo MANTEL" userId="2d5b7065-31bb-4181-a7f8-a73bf0c30211" providerId="ADAL" clId="{F05BB0D5-3454-45DC-8378-DA45B79D9A06}" dt="2020-10-02T13:04:32.144" v="1054" actId="790"/>
          <ac:spMkLst>
            <pc:docMk/>
            <pc:sldMk cId="2763404743" sldId="6833"/>
            <ac:spMk id="85" creationId="{8C277912-D391-45B9-9B4A-B7082FB05D18}"/>
          </ac:spMkLst>
        </pc:spChg>
        <pc:spChg chg="mod">
          <ac:chgData name="Ugo MANTEL" userId="2d5b7065-31bb-4181-a7f8-a73bf0c30211" providerId="ADAL" clId="{F05BB0D5-3454-45DC-8378-DA45B79D9A06}" dt="2020-10-02T13:04:32.128" v="1031" actId="790"/>
          <ac:spMkLst>
            <pc:docMk/>
            <pc:sldMk cId="2763404743" sldId="6833"/>
            <ac:spMk id="86" creationId="{910115C7-B73F-4203-89E7-E8F8B7716185}"/>
          </ac:spMkLst>
        </pc:spChg>
        <pc:spChg chg="mod">
          <ac:chgData name="Ugo MANTEL" userId="2d5b7065-31bb-4181-a7f8-a73bf0c30211" providerId="ADAL" clId="{F05BB0D5-3454-45DC-8378-DA45B79D9A06}" dt="2020-10-02T13:04:32.129" v="1032" actId="790"/>
          <ac:spMkLst>
            <pc:docMk/>
            <pc:sldMk cId="2763404743" sldId="6833"/>
            <ac:spMk id="87" creationId="{62CD7304-05FB-4564-A2F8-0235E9E61490}"/>
          </ac:spMkLst>
        </pc:spChg>
        <pc:spChg chg="mod">
          <ac:chgData name="Ugo MANTEL" userId="2d5b7065-31bb-4181-a7f8-a73bf0c30211" providerId="ADAL" clId="{F05BB0D5-3454-45DC-8378-DA45B79D9A06}" dt="2020-10-02T13:04:32.144" v="1055" actId="790"/>
          <ac:spMkLst>
            <pc:docMk/>
            <pc:sldMk cId="2763404743" sldId="6833"/>
            <ac:spMk id="88" creationId="{E6DDC46B-7748-4935-B180-4705B6A872B3}"/>
          </ac:spMkLst>
        </pc:spChg>
        <pc:spChg chg="mod">
          <ac:chgData name="Ugo MANTEL" userId="2d5b7065-31bb-4181-a7f8-a73bf0c30211" providerId="ADAL" clId="{F05BB0D5-3454-45DC-8378-DA45B79D9A06}" dt="2020-10-02T13:04:32.160" v="1065" actId="790"/>
          <ac:spMkLst>
            <pc:docMk/>
            <pc:sldMk cId="2763404743" sldId="6833"/>
            <ac:spMk id="89" creationId="{88307EE7-5D2D-49EF-AE46-80E1324263C0}"/>
          </ac:spMkLst>
        </pc:spChg>
        <pc:spChg chg="mod">
          <ac:chgData name="Ugo MANTEL" userId="2d5b7065-31bb-4181-a7f8-a73bf0c30211" providerId="ADAL" clId="{F05BB0D5-3454-45DC-8378-DA45B79D9A06}" dt="2020-10-02T13:04:32.145" v="1056" actId="790"/>
          <ac:spMkLst>
            <pc:docMk/>
            <pc:sldMk cId="2763404743" sldId="6833"/>
            <ac:spMk id="90" creationId="{76CDCAC3-E573-4933-A873-C953696FB512}"/>
          </ac:spMkLst>
        </pc:spChg>
        <pc:spChg chg="mod">
          <ac:chgData name="Ugo MANTEL" userId="2d5b7065-31bb-4181-a7f8-a73bf0c30211" providerId="ADAL" clId="{F05BB0D5-3454-45DC-8378-DA45B79D9A06}" dt="2020-10-02T13:04:32.146" v="1058" actId="790"/>
          <ac:spMkLst>
            <pc:docMk/>
            <pc:sldMk cId="2763404743" sldId="6833"/>
            <ac:spMk id="99" creationId="{BCA999ED-2436-4742-A01C-D40E68AF087B}"/>
          </ac:spMkLst>
        </pc:spChg>
        <pc:spChg chg="mod">
          <ac:chgData name="Ugo MANTEL" userId="2d5b7065-31bb-4181-a7f8-a73bf0c30211" providerId="ADAL" clId="{F05BB0D5-3454-45DC-8378-DA45B79D9A06}" dt="2020-10-02T13:04:32.161" v="1066" actId="790"/>
          <ac:spMkLst>
            <pc:docMk/>
            <pc:sldMk cId="2763404743" sldId="6833"/>
            <ac:spMk id="100" creationId="{F343EEEA-DA3B-4276-B135-A47F1DB66145}"/>
          </ac:spMkLst>
        </pc:spChg>
        <pc:spChg chg="mod">
          <ac:chgData name="Ugo MANTEL" userId="2d5b7065-31bb-4181-a7f8-a73bf0c30211" providerId="ADAL" clId="{F05BB0D5-3454-45DC-8378-DA45B79D9A06}" dt="2020-10-02T13:04:32.147" v="1059" actId="790"/>
          <ac:spMkLst>
            <pc:docMk/>
            <pc:sldMk cId="2763404743" sldId="6833"/>
            <ac:spMk id="101" creationId="{768566B8-AA16-4B80-81C9-9961BC246A70}"/>
          </ac:spMkLst>
        </pc:spChg>
        <pc:spChg chg="mod">
          <ac:chgData name="Ugo MANTEL" userId="2d5b7065-31bb-4181-a7f8-a73bf0c30211" providerId="ADAL" clId="{F05BB0D5-3454-45DC-8378-DA45B79D9A06}" dt="2020-10-02T13:04:32.149" v="1060" actId="790"/>
          <ac:spMkLst>
            <pc:docMk/>
            <pc:sldMk cId="2763404743" sldId="6833"/>
            <ac:spMk id="102" creationId="{AD0F52B8-C6D8-49CF-A1B7-E2780DD4C6C1}"/>
          </ac:spMkLst>
        </pc:spChg>
        <pc:spChg chg="mod">
          <ac:chgData name="Ugo MANTEL" userId="2d5b7065-31bb-4181-a7f8-a73bf0c30211" providerId="ADAL" clId="{F05BB0D5-3454-45DC-8378-DA45B79D9A06}" dt="2020-10-02T13:04:32.153" v="1061" actId="790"/>
          <ac:spMkLst>
            <pc:docMk/>
            <pc:sldMk cId="2763404743" sldId="6833"/>
            <ac:spMk id="103" creationId="{C8A52D54-9E96-4855-BF97-88907E41C19C}"/>
          </ac:spMkLst>
        </pc:spChg>
        <pc:spChg chg="mod">
          <ac:chgData name="Ugo MANTEL" userId="2d5b7065-31bb-4181-a7f8-a73bf0c30211" providerId="ADAL" clId="{F05BB0D5-3454-45DC-8378-DA45B79D9A06}" dt="2020-10-02T13:04:32.154" v="1062" actId="790"/>
          <ac:spMkLst>
            <pc:docMk/>
            <pc:sldMk cId="2763404743" sldId="6833"/>
            <ac:spMk id="105" creationId="{4A998605-7ECD-4304-B9D2-9AEA65D2298F}"/>
          </ac:spMkLst>
        </pc:spChg>
        <pc:spChg chg="mod">
          <ac:chgData name="Ugo MANTEL" userId="2d5b7065-31bb-4181-a7f8-a73bf0c30211" providerId="ADAL" clId="{F05BB0D5-3454-45DC-8378-DA45B79D9A06}" dt="2020-10-02T13:04:32.131" v="1036" actId="790"/>
          <ac:spMkLst>
            <pc:docMk/>
            <pc:sldMk cId="2763404743" sldId="6833"/>
            <ac:spMk id="107" creationId="{BD458A23-9E88-4881-956E-29AFB82B1C38}"/>
          </ac:spMkLst>
        </pc:spChg>
        <pc:spChg chg="mod">
          <ac:chgData name="Ugo MANTEL" userId="2d5b7065-31bb-4181-a7f8-a73bf0c30211" providerId="ADAL" clId="{F05BB0D5-3454-45DC-8378-DA45B79D9A06}" dt="2020-10-02T13:04:32.154" v="1063" actId="790"/>
          <ac:spMkLst>
            <pc:docMk/>
            <pc:sldMk cId="2763404743" sldId="6833"/>
            <ac:spMk id="108" creationId="{FFAC3459-DE3C-4EB5-BBCB-E6078F310C00}"/>
          </ac:spMkLst>
        </pc:spChg>
        <pc:spChg chg="mod">
          <ac:chgData name="Ugo MANTEL" userId="2d5b7065-31bb-4181-a7f8-a73bf0c30211" providerId="ADAL" clId="{F05BB0D5-3454-45DC-8378-DA45B79D9A06}" dt="2020-10-02T13:04:32.121" v="1019" actId="790"/>
          <ac:spMkLst>
            <pc:docMk/>
            <pc:sldMk cId="2763404743" sldId="6833"/>
            <ac:spMk id="109" creationId="{E130BA1D-EB13-46D8-9E88-8EF15AA3C022}"/>
          </ac:spMkLst>
        </pc:spChg>
        <pc:spChg chg="mod">
          <ac:chgData name="Ugo MANTEL" userId="2d5b7065-31bb-4181-a7f8-a73bf0c30211" providerId="ADAL" clId="{F05BB0D5-3454-45DC-8378-DA45B79D9A06}" dt="2020-10-02T13:04:32.155" v="1064" actId="790"/>
          <ac:spMkLst>
            <pc:docMk/>
            <pc:sldMk cId="2763404743" sldId="6833"/>
            <ac:spMk id="112" creationId="{FA3C3630-2358-4A47-B775-D001EFC95E1E}"/>
          </ac:spMkLst>
        </pc:spChg>
        <pc:spChg chg="mod">
          <ac:chgData name="Ugo MANTEL" userId="2d5b7065-31bb-4181-a7f8-a73bf0c30211" providerId="ADAL" clId="{F05BB0D5-3454-45DC-8378-DA45B79D9A06}" dt="2020-10-02T13:04:32.116" v="1015" actId="790"/>
          <ac:spMkLst>
            <pc:docMk/>
            <pc:sldMk cId="2763404743" sldId="6833"/>
            <ac:spMk id="113" creationId="{65F9577C-E65E-4DF1-BBD9-D0503617D710}"/>
          </ac:spMkLst>
        </pc:spChg>
        <pc:spChg chg="mod">
          <ac:chgData name="Ugo MANTEL" userId="2d5b7065-31bb-4181-a7f8-a73bf0c30211" providerId="ADAL" clId="{F05BB0D5-3454-45DC-8378-DA45B79D9A06}" dt="2020-10-02T13:04:32.162" v="1067" actId="790"/>
          <ac:spMkLst>
            <pc:docMk/>
            <pc:sldMk cId="2763404743" sldId="6833"/>
            <ac:spMk id="116" creationId="{4ACE5FC1-CB48-4769-93E8-294A8D02849A}"/>
          </ac:spMkLst>
        </pc:spChg>
        <pc:spChg chg="mod">
          <ac:chgData name="Ugo MANTEL" userId="2d5b7065-31bb-4181-a7f8-a73bf0c30211" providerId="ADAL" clId="{F05BB0D5-3454-45DC-8378-DA45B79D9A06}" dt="2020-10-02T13:04:32.162" v="1068" actId="790"/>
          <ac:spMkLst>
            <pc:docMk/>
            <pc:sldMk cId="2763404743" sldId="6833"/>
            <ac:spMk id="119" creationId="{A7B0B63C-5E8E-4EC3-9E99-CE723D6BE6F1}"/>
          </ac:spMkLst>
        </pc:spChg>
        <pc:spChg chg="mod">
          <ac:chgData name="Ugo MANTEL" userId="2d5b7065-31bb-4181-a7f8-a73bf0c30211" providerId="ADAL" clId="{F05BB0D5-3454-45DC-8378-DA45B79D9A06}" dt="2020-10-02T13:04:32.122" v="1021" actId="790"/>
          <ac:spMkLst>
            <pc:docMk/>
            <pc:sldMk cId="2763404743" sldId="6833"/>
            <ac:spMk id="134" creationId="{AA8614A0-AD84-44E0-BE53-E53DBA7B98F2}"/>
          </ac:spMkLst>
        </pc:spChg>
        <pc:spChg chg="mod">
          <ac:chgData name="Ugo MANTEL" userId="2d5b7065-31bb-4181-a7f8-a73bf0c30211" providerId="ADAL" clId="{F05BB0D5-3454-45DC-8378-DA45B79D9A06}" dt="2020-10-02T13:04:32.140" v="1047" actId="790"/>
          <ac:spMkLst>
            <pc:docMk/>
            <pc:sldMk cId="2763404743" sldId="6833"/>
            <ac:spMk id="137" creationId="{3A4BBA4A-35A4-446D-9CBE-B5F06DD9BADB}"/>
          </ac:spMkLst>
        </pc:spChg>
        <pc:spChg chg="mod">
          <ac:chgData name="Ugo MANTEL" userId="2d5b7065-31bb-4181-a7f8-a73bf0c30211" providerId="ADAL" clId="{F05BB0D5-3454-45DC-8378-DA45B79D9A06}" dt="2020-10-02T13:04:32.140" v="1048" actId="790"/>
          <ac:spMkLst>
            <pc:docMk/>
            <pc:sldMk cId="2763404743" sldId="6833"/>
            <ac:spMk id="138" creationId="{D302F3A9-6B6D-44E0-BD73-70E350E2A15D}"/>
          </ac:spMkLst>
        </pc:spChg>
        <pc:spChg chg="mod">
          <ac:chgData name="Ugo MANTEL" userId="2d5b7065-31bb-4181-a7f8-a73bf0c30211" providerId="ADAL" clId="{F05BB0D5-3454-45DC-8378-DA45B79D9A06}" dt="2020-10-02T13:04:32.141" v="1049" actId="790"/>
          <ac:spMkLst>
            <pc:docMk/>
            <pc:sldMk cId="2763404743" sldId="6833"/>
            <ac:spMk id="139" creationId="{70C44E9C-ECBD-43F4-AD6C-4C938FAA7E88}"/>
          </ac:spMkLst>
        </pc:spChg>
        <pc:spChg chg="mod">
          <ac:chgData name="Ugo MANTEL" userId="2d5b7065-31bb-4181-a7f8-a73bf0c30211" providerId="ADAL" clId="{F05BB0D5-3454-45DC-8378-DA45B79D9A06}" dt="2020-10-02T13:04:32.142" v="1050" actId="790"/>
          <ac:spMkLst>
            <pc:docMk/>
            <pc:sldMk cId="2763404743" sldId="6833"/>
            <ac:spMk id="140" creationId="{A9DC10D4-B8ED-453D-B70F-45DE09F5D91C}"/>
          </ac:spMkLst>
        </pc:spChg>
        <pc:spChg chg="mod">
          <ac:chgData name="Ugo MANTEL" userId="2d5b7065-31bb-4181-a7f8-a73bf0c30211" providerId="ADAL" clId="{F05BB0D5-3454-45DC-8378-DA45B79D9A06}" dt="2020-10-02T13:04:32.142" v="1051" actId="790"/>
          <ac:spMkLst>
            <pc:docMk/>
            <pc:sldMk cId="2763404743" sldId="6833"/>
            <ac:spMk id="141" creationId="{3E7E335B-005C-407C-BAD7-D396E6F3FAAB}"/>
          </ac:spMkLst>
        </pc:spChg>
        <pc:spChg chg="mod">
          <ac:chgData name="Ugo MANTEL" userId="2d5b7065-31bb-4181-a7f8-a73bf0c30211" providerId="ADAL" clId="{F05BB0D5-3454-45DC-8378-DA45B79D9A06}" dt="2020-10-02T13:04:32.143" v="1052" actId="790"/>
          <ac:spMkLst>
            <pc:docMk/>
            <pc:sldMk cId="2763404743" sldId="6833"/>
            <ac:spMk id="144" creationId="{ECEE62FD-5541-4B53-B3BC-C37BB925B102}"/>
          </ac:spMkLst>
        </pc:spChg>
        <pc:spChg chg="mod">
          <ac:chgData name="Ugo MANTEL" userId="2d5b7065-31bb-4181-a7f8-a73bf0c30211" providerId="ADAL" clId="{F05BB0D5-3454-45DC-8378-DA45B79D9A06}" dt="2020-10-02T13:04:32.143" v="1053" actId="790"/>
          <ac:spMkLst>
            <pc:docMk/>
            <pc:sldMk cId="2763404743" sldId="6833"/>
            <ac:spMk id="145" creationId="{FF36A1D0-0768-4618-B6D5-1BC61A898E42}"/>
          </ac:spMkLst>
        </pc:spChg>
        <pc:spChg chg="mod">
          <ac:chgData name="Ugo MANTEL" userId="2d5b7065-31bb-4181-a7f8-a73bf0c30211" providerId="ADAL" clId="{F05BB0D5-3454-45DC-8378-DA45B79D9A06}" dt="2020-10-02T13:04:32.146" v="1057" actId="790"/>
          <ac:spMkLst>
            <pc:docMk/>
            <pc:sldMk cId="2763404743" sldId="6833"/>
            <ac:spMk id="146" creationId="{4491C46B-90F0-40A3-8169-DEDD6E65C300}"/>
          </ac:spMkLst>
        </pc:spChg>
        <pc:spChg chg="mod">
          <ac:chgData name="Ugo MANTEL" userId="2d5b7065-31bb-4181-a7f8-a73bf0c30211" providerId="ADAL" clId="{F05BB0D5-3454-45DC-8378-DA45B79D9A06}" dt="2020-10-02T13:04:32.131" v="1035" actId="790"/>
          <ac:spMkLst>
            <pc:docMk/>
            <pc:sldMk cId="2763404743" sldId="6833"/>
            <ac:spMk id="150" creationId="{B5009B96-6A4D-4884-90E4-52ED2EB0E4B4}"/>
          </ac:spMkLst>
        </pc:spChg>
        <pc:spChg chg="mod">
          <ac:chgData name="Ugo MANTEL" userId="2d5b7065-31bb-4181-a7f8-a73bf0c30211" providerId="ADAL" clId="{F05BB0D5-3454-45DC-8378-DA45B79D9A06}" dt="2020-10-02T13:04:32.132" v="1037" actId="790"/>
          <ac:spMkLst>
            <pc:docMk/>
            <pc:sldMk cId="2763404743" sldId="6833"/>
            <ac:spMk id="151" creationId="{C5FB69E2-C78D-42AB-843F-297843A83A1E}"/>
          </ac:spMkLst>
        </pc:spChg>
        <pc:spChg chg="mod">
          <ac:chgData name="Ugo MANTEL" userId="2d5b7065-31bb-4181-a7f8-a73bf0c30211" providerId="ADAL" clId="{F05BB0D5-3454-45DC-8378-DA45B79D9A06}" dt="2020-10-02T13:04:32.121" v="1020" actId="790"/>
          <ac:spMkLst>
            <pc:docMk/>
            <pc:sldMk cId="2763404743" sldId="6833"/>
            <ac:spMk id="155" creationId="{C25FAC6F-DC9C-4F09-ADD2-707E924CC830}"/>
          </ac:spMkLst>
        </pc:spChg>
        <pc:spChg chg="mod">
          <ac:chgData name="Ugo MANTEL" userId="2d5b7065-31bb-4181-a7f8-a73bf0c30211" providerId="ADAL" clId="{F05BB0D5-3454-45DC-8378-DA45B79D9A06}" dt="2020-10-02T13:04:32.133" v="1039" actId="790"/>
          <ac:spMkLst>
            <pc:docMk/>
            <pc:sldMk cId="2763404743" sldId="6833"/>
            <ac:spMk id="156" creationId="{E8B4B5F8-ED28-4DBA-A8BA-C0FA94F1E630}"/>
          </ac:spMkLst>
        </pc:spChg>
        <pc:spChg chg="mod">
          <ac:chgData name="Ugo MANTEL" userId="2d5b7065-31bb-4181-a7f8-a73bf0c30211" providerId="ADAL" clId="{F05BB0D5-3454-45DC-8378-DA45B79D9A06}" dt="2020-10-02T13:04:32.123" v="1023" actId="790"/>
          <ac:spMkLst>
            <pc:docMk/>
            <pc:sldMk cId="2763404743" sldId="6833"/>
            <ac:spMk id="168" creationId="{DBB4545E-927B-4F29-970E-6645EB167347}"/>
          </ac:spMkLst>
        </pc:spChg>
        <pc:spChg chg="mod">
          <ac:chgData name="Ugo MANTEL" userId="2d5b7065-31bb-4181-a7f8-a73bf0c30211" providerId="ADAL" clId="{F05BB0D5-3454-45DC-8378-DA45B79D9A06}" dt="2020-10-02T13:04:32.124" v="1024" actId="790"/>
          <ac:spMkLst>
            <pc:docMk/>
            <pc:sldMk cId="2763404743" sldId="6833"/>
            <ac:spMk id="174" creationId="{8B76AD98-FB6B-40A6-B97F-5731DBDDCCAB}"/>
          </ac:spMkLst>
        </pc:spChg>
        <pc:spChg chg="mod">
          <ac:chgData name="Ugo MANTEL" userId="2d5b7065-31bb-4181-a7f8-a73bf0c30211" providerId="ADAL" clId="{F05BB0D5-3454-45DC-8378-DA45B79D9A06}" dt="2020-10-02T13:04:32.124" v="1025" actId="790"/>
          <ac:spMkLst>
            <pc:docMk/>
            <pc:sldMk cId="2763404743" sldId="6833"/>
            <ac:spMk id="178" creationId="{3A303B09-561C-4BC8-8BF2-0390E64A499C}"/>
          </ac:spMkLst>
        </pc:spChg>
        <pc:spChg chg="mod">
          <ac:chgData name="Ugo MANTEL" userId="2d5b7065-31bb-4181-a7f8-a73bf0c30211" providerId="ADAL" clId="{F05BB0D5-3454-45DC-8378-DA45B79D9A06}" dt="2020-10-02T13:04:32.124" v="1026" actId="790"/>
          <ac:spMkLst>
            <pc:docMk/>
            <pc:sldMk cId="2763404743" sldId="6833"/>
            <ac:spMk id="182" creationId="{AED717AD-68D5-4CAD-883D-EBB76A531546}"/>
          </ac:spMkLst>
        </pc:spChg>
        <pc:spChg chg="mod">
          <ac:chgData name="Ugo MANTEL" userId="2d5b7065-31bb-4181-a7f8-a73bf0c30211" providerId="ADAL" clId="{F05BB0D5-3454-45DC-8378-DA45B79D9A06}" dt="2020-10-02T13:04:32.125" v="1027" actId="790"/>
          <ac:spMkLst>
            <pc:docMk/>
            <pc:sldMk cId="2763404743" sldId="6833"/>
            <ac:spMk id="190" creationId="{F2AAA5DC-E287-49B0-8082-93972B70424F}"/>
          </ac:spMkLst>
        </pc:spChg>
        <pc:spChg chg="mod">
          <ac:chgData name="Ugo MANTEL" userId="2d5b7065-31bb-4181-a7f8-a73bf0c30211" providerId="ADAL" clId="{F05BB0D5-3454-45DC-8378-DA45B79D9A06}" dt="2020-10-02T13:04:32.126" v="1028" actId="790"/>
          <ac:spMkLst>
            <pc:docMk/>
            <pc:sldMk cId="2763404743" sldId="6833"/>
            <ac:spMk id="191" creationId="{3AF10328-ED58-4997-9DCD-35E7E3022CDB}"/>
          </ac:spMkLst>
        </pc:spChg>
      </pc:sldChg>
      <pc:sldChg chg="modSp mod">
        <pc:chgData name="Ugo MANTEL" userId="2d5b7065-31bb-4181-a7f8-a73bf0c30211" providerId="ADAL" clId="{F05BB0D5-3454-45DC-8378-DA45B79D9A06}" dt="2020-10-05T12:41:12.047" v="9670" actId="3064"/>
        <pc:sldMkLst>
          <pc:docMk/>
          <pc:sldMk cId="244205625" sldId="6834"/>
        </pc:sldMkLst>
        <pc:spChg chg="mod">
          <ac:chgData name="Ugo MANTEL" userId="2d5b7065-31bb-4181-a7f8-a73bf0c30211" providerId="ADAL" clId="{F05BB0D5-3454-45DC-8378-DA45B79D9A06}" dt="2020-10-02T13:04:32.257" v="1150" actId="790"/>
          <ac:spMkLst>
            <pc:docMk/>
            <pc:sldMk cId="244205625" sldId="6834"/>
            <ac:spMk id="3" creationId="{0E7E639B-E180-46D2-8552-671F76C36EAA}"/>
          </ac:spMkLst>
        </pc:spChg>
        <pc:spChg chg="mod">
          <ac:chgData name="Ugo MANTEL" userId="2d5b7065-31bb-4181-a7f8-a73bf0c30211" providerId="ADAL" clId="{F05BB0D5-3454-45DC-8378-DA45B79D9A06}" dt="2020-10-02T13:04:32.255" v="1149" actId="790"/>
          <ac:spMkLst>
            <pc:docMk/>
            <pc:sldMk cId="244205625" sldId="6834"/>
            <ac:spMk id="7" creationId="{79009321-FBE3-482C-9BDD-6A358F09992B}"/>
          </ac:spMkLst>
        </pc:spChg>
        <pc:spChg chg="mod">
          <ac:chgData name="Ugo MANTEL" userId="2d5b7065-31bb-4181-a7f8-a73bf0c30211" providerId="ADAL" clId="{F05BB0D5-3454-45DC-8378-DA45B79D9A06}" dt="2020-10-02T13:04:32.275" v="1171" actId="790"/>
          <ac:spMkLst>
            <pc:docMk/>
            <pc:sldMk cId="244205625" sldId="6834"/>
            <ac:spMk id="10" creationId="{D6FD555F-DC62-4966-822A-52A5E7ABE1D6}"/>
          </ac:spMkLst>
        </pc:spChg>
        <pc:spChg chg="mod">
          <ac:chgData name="Ugo MANTEL" userId="2d5b7065-31bb-4181-a7f8-a73bf0c30211" providerId="ADAL" clId="{F05BB0D5-3454-45DC-8378-DA45B79D9A06}" dt="2020-10-02T13:04:32.324" v="1225" actId="790"/>
          <ac:spMkLst>
            <pc:docMk/>
            <pc:sldMk cId="244205625" sldId="6834"/>
            <ac:spMk id="12" creationId="{DF4135CE-2C04-424F-A1B7-3A139E928CAC}"/>
          </ac:spMkLst>
        </pc:spChg>
        <pc:spChg chg="mod">
          <ac:chgData name="Ugo MANTEL" userId="2d5b7065-31bb-4181-a7f8-a73bf0c30211" providerId="ADAL" clId="{F05BB0D5-3454-45DC-8378-DA45B79D9A06}" dt="2020-10-02T13:04:32.258" v="1151" actId="790"/>
          <ac:spMkLst>
            <pc:docMk/>
            <pc:sldMk cId="244205625" sldId="6834"/>
            <ac:spMk id="24" creationId="{A0FAB058-12DE-4118-91FF-4B92AED06C71}"/>
          </ac:spMkLst>
        </pc:spChg>
        <pc:spChg chg="mod">
          <ac:chgData name="Ugo MANTEL" userId="2d5b7065-31bb-4181-a7f8-a73bf0c30211" providerId="ADAL" clId="{F05BB0D5-3454-45DC-8378-DA45B79D9A06}" dt="2020-10-02T13:04:32.259" v="1152" actId="790"/>
          <ac:spMkLst>
            <pc:docMk/>
            <pc:sldMk cId="244205625" sldId="6834"/>
            <ac:spMk id="26" creationId="{DCB1806E-A4D5-470E-85D9-A10B27933A32}"/>
          </ac:spMkLst>
        </pc:spChg>
        <pc:spChg chg="mod">
          <ac:chgData name="Ugo MANTEL" userId="2d5b7065-31bb-4181-a7f8-a73bf0c30211" providerId="ADAL" clId="{F05BB0D5-3454-45DC-8378-DA45B79D9A06}" dt="2020-10-02T13:04:32.324" v="1224" actId="790"/>
          <ac:spMkLst>
            <pc:docMk/>
            <pc:sldMk cId="244205625" sldId="6834"/>
            <ac:spMk id="47" creationId="{664EB7AB-0731-43A1-845B-0C749DFF7F53}"/>
          </ac:spMkLst>
        </pc:spChg>
        <pc:spChg chg="mod">
          <ac:chgData name="Ugo MANTEL" userId="2d5b7065-31bb-4181-a7f8-a73bf0c30211" providerId="ADAL" clId="{F05BB0D5-3454-45DC-8378-DA45B79D9A06}" dt="2020-10-02T13:04:32.260" v="1153" actId="790"/>
          <ac:spMkLst>
            <pc:docMk/>
            <pc:sldMk cId="244205625" sldId="6834"/>
            <ac:spMk id="53" creationId="{5A30EB42-9286-402F-89F5-A8322318FBE9}"/>
          </ac:spMkLst>
        </pc:spChg>
        <pc:spChg chg="mod">
          <ac:chgData name="Ugo MANTEL" userId="2d5b7065-31bb-4181-a7f8-a73bf0c30211" providerId="ADAL" clId="{F05BB0D5-3454-45DC-8378-DA45B79D9A06}" dt="2020-10-02T13:04:32.316" v="1215" actId="790"/>
          <ac:spMkLst>
            <pc:docMk/>
            <pc:sldMk cId="244205625" sldId="6834"/>
            <ac:spMk id="109" creationId="{A2E4A619-CF89-412A-A6CA-06A99676F49C}"/>
          </ac:spMkLst>
        </pc:spChg>
        <pc:spChg chg="mod">
          <ac:chgData name="Ugo MANTEL" userId="2d5b7065-31bb-4181-a7f8-a73bf0c30211" providerId="ADAL" clId="{F05BB0D5-3454-45DC-8378-DA45B79D9A06}" dt="2020-10-02T13:04:32.319" v="1218" actId="790"/>
          <ac:spMkLst>
            <pc:docMk/>
            <pc:sldMk cId="244205625" sldId="6834"/>
            <ac:spMk id="110" creationId="{20C93CB4-9963-4352-8BD7-6B810FD334D1}"/>
          </ac:spMkLst>
        </pc:spChg>
        <pc:spChg chg="mod">
          <ac:chgData name="Ugo MANTEL" userId="2d5b7065-31bb-4181-a7f8-a73bf0c30211" providerId="ADAL" clId="{F05BB0D5-3454-45DC-8378-DA45B79D9A06}" dt="2020-10-02T13:04:32.321" v="1220" actId="790"/>
          <ac:spMkLst>
            <pc:docMk/>
            <pc:sldMk cId="244205625" sldId="6834"/>
            <ac:spMk id="111" creationId="{34F23F45-BF8A-42CD-AC18-3673BC4B29F3}"/>
          </ac:spMkLst>
        </pc:spChg>
        <pc:spChg chg="mod">
          <ac:chgData name="Ugo MANTEL" userId="2d5b7065-31bb-4181-a7f8-a73bf0c30211" providerId="ADAL" clId="{F05BB0D5-3454-45DC-8378-DA45B79D9A06}" dt="2020-10-02T13:04:32.261" v="1154" actId="790"/>
          <ac:spMkLst>
            <pc:docMk/>
            <pc:sldMk cId="244205625" sldId="6834"/>
            <ac:spMk id="113" creationId="{9B45092B-2336-423F-9E3D-9F247E2504CA}"/>
          </ac:spMkLst>
        </pc:spChg>
        <pc:spChg chg="mod">
          <ac:chgData name="Ugo MANTEL" userId="2d5b7065-31bb-4181-a7f8-a73bf0c30211" providerId="ADAL" clId="{F05BB0D5-3454-45DC-8378-DA45B79D9A06}" dt="2020-10-02T13:04:32.261" v="1155" actId="790"/>
          <ac:spMkLst>
            <pc:docMk/>
            <pc:sldMk cId="244205625" sldId="6834"/>
            <ac:spMk id="117" creationId="{75485324-9662-4121-92F1-959604AABB27}"/>
          </ac:spMkLst>
        </pc:spChg>
        <pc:spChg chg="mod">
          <ac:chgData name="Ugo MANTEL" userId="2d5b7065-31bb-4181-a7f8-a73bf0c30211" providerId="ADAL" clId="{F05BB0D5-3454-45DC-8378-DA45B79D9A06}" dt="2020-10-02T13:04:32.262" v="1156" actId="790"/>
          <ac:spMkLst>
            <pc:docMk/>
            <pc:sldMk cId="244205625" sldId="6834"/>
            <ac:spMk id="118" creationId="{2A296AEA-A875-497C-92D0-4515738423F6}"/>
          </ac:spMkLst>
        </pc:spChg>
        <pc:spChg chg="mod">
          <ac:chgData name="Ugo MANTEL" userId="2d5b7065-31bb-4181-a7f8-a73bf0c30211" providerId="ADAL" clId="{F05BB0D5-3454-45DC-8378-DA45B79D9A06}" dt="2020-10-02T13:04:32.263" v="1157" actId="790"/>
          <ac:spMkLst>
            <pc:docMk/>
            <pc:sldMk cId="244205625" sldId="6834"/>
            <ac:spMk id="119" creationId="{B035B64D-8F84-492A-8956-171F53D34CE9}"/>
          </ac:spMkLst>
        </pc:spChg>
        <pc:spChg chg="mod">
          <ac:chgData name="Ugo MANTEL" userId="2d5b7065-31bb-4181-a7f8-a73bf0c30211" providerId="ADAL" clId="{F05BB0D5-3454-45DC-8378-DA45B79D9A06}" dt="2020-10-02T13:04:32.264" v="1158" actId="790"/>
          <ac:spMkLst>
            <pc:docMk/>
            <pc:sldMk cId="244205625" sldId="6834"/>
            <ac:spMk id="120" creationId="{9F18F933-782A-4D05-A281-92BC3F04E954}"/>
          </ac:spMkLst>
        </pc:spChg>
        <pc:spChg chg="mod">
          <ac:chgData name="Ugo MANTEL" userId="2d5b7065-31bb-4181-a7f8-a73bf0c30211" providerId="ADAL" clId="{F05BB0D5-3454-45DC-8378-DA45B79D9A06}" dt="2020-10-02T13:04:32.265" v="1159" actId="790"/>
          <ac:spMkLst>
            <pc:docMk/>
            <pc:sldMk cId="244205625" sldId="6834"/>
            <ac:spMk id="121" creationId="{73821A4B-7B9B-48CF-927A-6CCF31739937}"/>
          </ac:spMkLst>
        </pc:spChg>
        <pc:spChg chg="mod">
          <ac:chgData name="Ugo MANTEL" userId="2d5b7065-31bb-4181-a7f8-a73bf0c30211" providerId="ADAL" clId="{F05BB0D5-3454-45DC-8378-DA45B79D9A06}" dt="2020-10-02T13:04:32.298" v="1189" actId="790"/>
          <ac:spMkLst>
            <pc:docMk/>
            <pc:sldMk cId="244205625" sldId="6834"/>
            <ac:spMk id="125" creationId="{78BBAB91-88B5-4631-AA32-7CB12E013A8A}"/>
          </ac:spMkLst>
        </pc:spChg>
        <pc:spChg chg="mod">
          <ac:chgData name="Ugo MANTEL" userId="2d5b7065-31bb-4181-a7f8-a73bf0c30211" providerId="ADAL" clId="{F05BB0D5-3454-45DC-8378-DA45B79D9A06}" dt="2020-10-02T13:04:32.299" v="1190" actId="790"/>
          <ac:spMkLst>
            <pc:docMk/>
            <pc:sldMk cId="244205625" sldId="6834"/>
            <ac:spMk id="126" creationId="{450A356D-29B6-453B-819D-AD0ADC90CDA9}"/>
          </ac:spMkLst>
        </pc:spChg>
        <pc:spChg chg="mod">
          <ac:chgData name="Ugo MANTEL" userId="2d5b7065-31bb-4181-a7f8-a73bf0c30211" providerId="ADAL" clId="{F05BB0D5-3454-45DC-8378-DA45B79D9A06}" dt="2020-10-02T13:04:32.299" v="1191" actId="790"/>
          <ac:spMkLst>
            <pc:docMk/>
            <pc:sldMk cId="244205625" sldId="6834"/>
            <ac:spMk id="127" creationId="{1FEFA3C6-A22F-4A98-874A-8EABA6806097}"/>
          </ac:spMkLst>
        </pc:spChg>
        <pc:spChg chg="mod">
          <ac:chgData name="Ugo MANTEL" userId="2d5b7065-31bb-4181-a7f8-a73bf0c30211" providerId="ADAL" clId="{F05BB0D5-3454-45DC-8378-DA45B79D9A06}" dt="2020-10-02T13:04:32.300" v="1192" actId="790"/>
          <ac:spMkLst>
            <pc:docMk/>
            <pc:sldMk cId="244205625" sldId="6834"/>
            <ac:spMk id="128" creationId="{61CEAB22-35C2-43D1-954B-D0B6CDDF0BB8}"/>
          </ac:spMkLst>
        </pc:spChg>
        <pc:spChg chg="mod">
          <ac:chgData name="Ugo MANTEL" userId="2d5b7065-31bb-4181-a7f8-a73bf0c30211" providerId="ADAL" clId="{F05BB0D5-3454-45DC-8378-DA45B79D9A06}" dt="2020-10-02T13:04:32.322" v="1222" actId="790"/>
          <ac:spMkLst>
            <pc:docMk/>
            <pc:sldMk cId="244205625" sldId="6834"/>
            <ac:spMk id="129" creationId="{409DDF72-8D1B-40B1-B100-4E3D10120253}"/>
          </ac:spMkLst>
        </pc:spChg>
        <pc:spChg chg="mod">
          <ac:chgData name="Ugo MANTEL" userId="2d5b7065-31bb-4181-a7f8-a73bf0c30211" providerId="ADAL" clId="{F05BB0D5-3454-45DC-8378-DA45B79D9A06}" dt="2020-10-02T13:04:32.265" v="1160" actId="790"/>
          <ac:spMkLst>
            <pc:docMk/>
            <pc:sldMk cId="244205625" sldId="6834"/>
            <ac:spMk id="134" creationId="{1E4422B7-2430-4137-A708-8DA3C02B74BF}"/>
          </ac:spMkLst>
        </pc:spChg>
        <pc:spChg chg="mod">
          <ac:chgData name="Ugo MANTEL" userId="2d5b7065-31bb-4181-a7f8-a73bf0c30211" providerId="ADAL" clId="{F05BB0D5-3454-45DC-8378-DA45B79D9A06}" dt="2020-10-02T13:04:32.266" v="1161" actId="790"/>
          <ac:spMkLst>
            <pc:docMk/>
            <pc:sldMk cId="244205625" sldId="6834"/>
            <ac:spMk id="143" creationId="{B0F7FF3F-2C8B-46E8-BC48-CB915F697983}"/>
          </ac:spMkLst>
        </pc:spChg>
        <pc:spChg chg="mod">
          <ac:chgData name="Ugo MANTEL" userId="2d5b7065-31bb-4181-a7f8-a73bf0c30211" providerId="ADAL" clId="{F05BB0D5-3454-45DC-8378-DA45B79D9A06}" dt="2020-10-02T13:04:32.267" v="1162" actId="790"/>
          <ac:spMkLst>
            <pc:docMk/>
            <pc:sldMk cId="244205625" sldId="6834"/>
            <ac:spMk id="144" creationId="{C3C320CF-A1BD-49AC-A695-C4766BEC38B5}"/>
          </ac:spMkLst>
        </pc:spChg>
        <pc:spChg chg="mod">
          <ac:chgData name="Ugo MANTEL" userId="2d5b7065-31bb-4181-a7f8-a73bf0c30211" providerId="ADAL" clId="{F05BB0D5-3454-45DC-8378-DA45B79D9A06}" dt="2020-10-02T13:04:32.268" v="1163" actId="790"/>
          <ac:spMkLst>
            <pc:docMk/>
            <pc:sldMk cId="244205625" sldId="6834"/>
            <ac:spMk id="145" creationId="{AA7AAA13-CF10-4A0C-ADB0-9421D49A4BAE}"/>
          </ac:spMkLst>
        </pc:spChg>
        <pc:spChg chg="mod">
          <ac:chgData name="Ugo MANTEL" userId="2d5b7065-31bb-4181-a7f8-a73bf0c30211" providerId="ADAL" clId="{F05BB0D5-3454-45DC-8378-DA45B79D9A06}" dt="2020-10-05T12:41:12.047" v="9670" actId="3064"/>
          <ac:spMkLst>
            <pc:docMk/>
            <pc:sldMk cId="244205625" sldId="6834"/>
            <ac:spMk id="146" creationId="{E502959E-D7E1-466F-AB2C-924AF488E9D6}"/>
          </ac:spMkLst>
        </pc:spChg>
        <pc:spChg chg="mod">
          <ac:chgData name="Ugo MANTEL" userId="2d5b7065-31bb-4181-a7f8-a73bf0c30211" providerId="ADAL" clId="{F05BB0D5-3454-45DC-8378-DA45B79D9A06}" dt="2020-10-02T13:04:32.270" v="1165" actId="790"/>
          <ac:spMkLst>
            <pc:docMk/>
            <pc:sldMk cId="244205625" sldId="6834"/>
            <ac:spMk id="147" creationId="{26FE57EB-CEAA-417D-B751-B68F9F0C89E5}"/>
          </ac:spMkLst>
        </pc:spChg>
        <pc:spChg chg="mod">
          <ac:chgData name="Ugo MANTEL" userId="2d5b7065-31bb-4181-a7f8-a73bf0c30211" providerId="ADAL" clId="{F05BB0D5-3454-45DC-8378-DA45B79D9A06}" dt="2020-10-02T13:04:32.272" v="1166" actId="790"/>
          <ac:spMkLst>
            <pc:docMk/>
            <pc:sldMk cId="244205625" sldId="6834"/>
            <ac:spMk id="148" creationId="{498CD73A-1B38-4869-B835-0A72A3B64222}"/>
          </ac:spMkLst>
        </pc:spChg>
        <pc:spChg chg="mod">
          <ac:chgData name="Ugo MANTEL" userId="2d5b7065-31bb-4181-a7f8-a73bf0c30211" providerId="ADAL" clId="{F05BB0D5-3454-45DC-8378-DA45B79D9A06}" dt="2020-10-02T13:04:32.272" v="1167" actId="790"/>
          <ac:spMkLst>
            <pc:docMk/>
            <pc:sldMk cId="244205625" sldId="6834"/>
            <ac:spMk id="151" creationId="{C21D2283-CE83-43E0-A14D-60CB652679C1}"/>
          </ac:spMkLst>
        </pc:spChg>
        <pc:spChg chg="mod">
          <ac:chgData name="Ugo MANTEL" userId="2d5b7065-31bb-4181-a7f8-a73bf0c30211" providerId="ADAL" clId="{F05BB0D5-3454-45DC-8378-DA45B79D9A06}" dt="2020-10-02T13:04:32.273" v="1168" actId="790"/>
          <ac:spMkLst>
            <pc:docMk/>
            <pc:sldMk cId="244205625" sldId="6834"/>
            <ac:spMk id="152" creationId="{EFCD84EE-B496-499B-B154-A7D7AAEADA5D}"/>
          </ac:spMkLst>
        </pc:spChg>
        <pc:spChg chg="mod">
          <ac:chgData name="Ugo MANTEL" userId="2d5b7065-31bb-4181-a7f8-a73bf0c30211" providerId="ADAL" clId="{F05BB0D5-3454-45DC-8378-DA45B79D9A06}" dt="2020-10-02T13:04:32.273" v="1169" actId="790"/>
          <ac:spMkLst>
            <pc:docMk/>
            <pc:sldMk cId="244205625" sldId="6834"/>
            <ac:spMk id="153" creationId="{A06BCC61-C41D-4F9C-B27A-A7E55D6001EA}"/>
          </ac:spMkLst>
        </pc:spChg>
        <pc:spChg chg="mod">
          <ac:chgData name="Ugo MANTEL" userId="2d5b7065-31bb-4181-a7f8-a73bf0c30211" providerId="ADAL" clId="{F05BB0D5-3454-45DC-8378-DA45B79D9A06}" dt="2020-10-02T13:04:32.274" v="1170" actId="790"/>
          <ac:spMkLst>
            <pc:docMk/>
            <pc:sldMk cId="244205625" sldId="6834"/>
            <ac:spMk id="154" creationId="{15EB860A-C6C9-4F10-9B00-6684B9325E4A}"/>
          </ac:spMkLst>
        </pc:spChg>
        <pc:spChg chg="mod">
          <ac:chgData name="Ugo MANTEL" userId="2d5b7065-31bb-4181-a7f8-a73bf0c30211" providerId="ADAL" clId="{F05BB0D5-3454-45DC-8378-DA45B79D9A06}" dt="2020-10-02T13:04:32.302" v="1194" actId="790"/>
          <ac:spMkLst>
            <pc:docMk/>
            <pc:sldMk cId="244205625" sldId="6834"/>
            <ac:spMk id="156" creationId="{B6BBDB1B-C64D-40EB-AE5A-12D50F33CFA7}"/>
          </ac:spMkLst>
        </pc:spChg>
        <pc:spChg chg="mod">
          <ac:chgData name="Ugo MANTEL" userId="2d5b7065-31bb-4181-a7f8-a73bf0c30211" providerId="ADAL" clId="{F05BB0D5-3454-45DC-8378-DA45B79D9A06}" dt="2020-10-02T13:04:32.289" v="1175" actId="790"/>
          <ac:spMkLst>
            <pc:docMk/>
            <pc:sldMk cId="244205625" sldId="6834"/>
            <ac:spMk id="160" creationId="{AC3E107D-C4DE-4856-B201-73032A5F1163}"/>
          </ac:spMkLst>
        </pc:spChg>
        <pc:spChg chg="mod">
          <ac:chgData name="Ugo MANTEL" userId="2d5b7065-31bb-4181-a7f8-a73bf0c30211" providerId="ADAL" clId="{F05BB0D5-3454-45DC-8378-DA45B79D9A06}" dt="2020-10-02T13:04:32.290" v="1176" actId="790"/>
          <ac:spMkLst>
            <pc:docMk/>
            <pc:sldMk cId="244205625" sldId="6834"/>
            <ac:spMk id="164" creationId="{50365DB7-FF9F-4209-A4A5-68C7DDDD7D06}"/>
          </ac:spMkLst>
        </pc:spChg>
        <pc:spChg chg="mod">
          <ac:chgData name="Ugo MANTEL" userId="2d5b7065-31bb-4181-a7f8-a73bf0c30211" providerId="ADAL" clId="{F05BB0D5-3454-45DC-8378-DA45B79D9A06}" dt="2020-10-02T13:04:32.291" v="1177" actId="790"/>
          <ac:spMkLst>
            <pc:docMk/>
            <pc:sldMk cId="244205625" sldId="6834"/>
            <ac:spMk id="165" creationId="{152478D7-F0C7-40B5-9C58-08A491D3E77B}"/>
          </ac:spMkLst>
        </pc:spChg>
        <pc:spChg chg="mod">
          <ac:chgData name="Ugo MANTEL" userId="2d5b7065-31bb-4181-a7f8-a73bf0c30211" providerId="ADAL" clId="{F05BB0D5-3454-45DC-8378-DA45B79D9A06}" dt="2020-10-02T13:04:32.292" v="1178" actId="790"/>
          <ac:spMkLst>
            <pc:docMk/>
            <pc:sldMk cId="244205625" sldId="6834"/>
            <ac:spMk id="166" creationId="{B9377A29-B54E-4A64-B698-CE7E5D40AADD}"/>
          </ac:spMkLst>
        </pc:spChg>
        <pc:spChg chg="mod">
          <ac:chgData name="Ugo MANTEL" userId="2d5b7065-31bb-4181-a7f8-a73bf0c30211" providerId="ADAL" clId="{F05BB0D5-3454-45DC-8378-DA45B79D9A06}" dt="2020-10-02T13:04:32.301" v="1193" actId="790"/>
          <ac:spMkLst>
            <pc:docMk/>
            <pc:sldMk cId="244205625" sldId="6834"/>
            <ac:spMk id="167" creationId="{E7B0A340-687C-4A19-8614-B07F8B861CE1}"/>
          </ac:spMkLst>
        </pc:spChg>
        <pc:spChg chg="mod">
          <ac:chgData name="Ugo MANTEL" userId="2d5b7065-31bb-4181-a7f8-a73bf0c30211" providerId="ADAL" clId="{F05BB0D5-3454-45DC-8378-DA45B79D9A06}" dt="2020-10-02T13:04:32.325" v="1226" actId="790"/>
          <ac:spMkLst>
            <pc:docMk/>
            <pc:sldMk cId="244205625" sldId="6834"/>
            <ac:spMk id="168" creationId="{3A48CEE5-6750-471D-A31E-3407EE9FAA6E}"/>
          </ac:spMkLst>
        </pc:spChg>
        <pc:spChg chg="mod">
          <ac:chgData name="Ugo MANTEL" userId="2d5b7065-31bb-4181-a7f8-a73bf0c30211" providerId="ADAL" clId="{F05BB0D5-3454-45DC-8378-DA45B79D9A06}" dt="2020-10-02T13:04:32.323" v="1223" actId="790"/>
          <ac:spMkLst>
            <pc:docMk/>
            <pc:sldMk cId="244205625" sldId="6834"/>
            <ac:spMk id="169" creationId="{9400BBFB-8667-4421-9EB5-4E3ECC56C898}"/>
          </ac:spMkLst>
        </pc:spChg>
        <pc:spChg chg="mod">
          <ac:chgData name="Ugo MANTEL" userId="2d5b7065-31bb-4181-a7f8-a73bf0c30211" providerId="ADAL" clId="{F05BB0D5-3454-45DC-8378-DA45B79D9A06}" dt="2020-10-02T13:04:32.326" v="1227" actId="790"/>
          <ac:spMkLst>
            <pc:docMk/>
            <pc:sldMk cId="244205625" sldId="6834"/>
            <ac:spMk id="170" creationId="{05A3A3D9-82FE-40D1-B4AD-1198C93E12C6}"/>
          </ac:spMkLst>
        </pc:spChg>
        <pc:spChg chg="mod">
          <ac:chgData name="Ugo MANTEL" userId="2d5b7065-31bb-4181-a7f8-a73bf0c30211" providerId="ADAL" clId="{F05BB0D5-3454-45DC-8378-DA45B79D9A06}" dt="2020-10-02T13:04:32.326" v="1228" actId="790"/>
          <ac:spMkLst>
            <pc:docMk/>
            <pc:sldMk cId="244205625" sldId="6834"/>
            <ac:spMk id="172" creationId="{555E6D87-4FD6-4043-9D07-A5E5D980080D}"/>
          </ac:spMkLst>
        </pc:spChg>
        <pc:spChg chg="mod">
          <ac:chgData name="Ugo MANTEL" userId="2d5b7065-31bb-4181-a7f8-a73bf0c30211" providerId="ADAL" clId="{F05BB0D5-3454-45DC-8378-DA45B79D9A06}" dt="2020-10-02T13:04:32.253" v="1148" actId="790"/>
          <ac:spMkLst>
            <pc:docMk/>
            <pc:sldMk cId="244205625" sldId="6834"/>
            <ac:spMk id="174" creationId="{80A0A4CD-BD07-4148-BB78-4601BC315E2E}"/>
          </ac:spMkLst>
        </pc:spChg>
        <pc:spChg chg="mod">
          <ac:chgData name="Ugo MANTEL" userId="2d5b7065-31bb-4181-a7f8-a73bf0c30211" providerId="ADAL" clId="{F05BB0D5-3454-45DC-8378-DA45B79D9A06}" dt="2020-10-02T13:04:32.279" v="1172" actId="790"/>
          <ac:spMkLst>
            <pc:docMk/>
            <pc:sldMk cId="244205625" sldId="6834"/>
            <ac:spMk id="188" creationId="{9CFCF654-AC70-452A-9A40-1A03CA433DE0}"/>
          </ac:spMkLst>
        </pc:spChg>
        <pc:spChg chg="mod">
          <ac:chgData name="Ugo MANTEL" userId="2d5b7065-31bb-4181-a7f8-a73bf0c30211" providerId="ADAL" clId="{F05BB0D5-3454-45DC-8378-DA45B79D9A06}" dt="2020-10-02T13:04:32.280" v="1173" actId="790"/>
          <ac:spMkLst>
            <pc:docMk/>
            <pc:sldMk cId="244205625" sldId="6834"/>
            <ac:spMk id="189" creationId="{D314A6BA-230D-4252-80B3-B3365FC9DD73}"/>
          </ac:spMkLst>
        </pc:spChg>
        <pc:spChg chg="mod">
          <ac:chgData name="Ugo MANTEL" userId="2d5b7065-31bb-4181-a7f8-a73bf0c30211" providerId="ADAL" clId="{F05BB0D5-3454-45DC-8378-DA45B79D9A06}" dt="2020-10-02T13:04:32.280" v="1174" actId="790"/>
          <ac:spMkLst>
            <pc:docMk/>
            <pc:sldMk cId="244205625" sldId="6834"/>
            <ac:spMk id="192" creationId="{28DD411E-BF3B-4889-8D11-FBF2074C569B}"/>
          </ac:spMkLst>
        </pc:spChg>
        <pc:spChg chg="mod">
          <ac:chgData name="Ugo MANTEL" userId="2d5b7065-31bb-4181-a7f8-a73bf0c30211" providerId="ADAL" clId="{F05BB0D5-3454-45DC-8378-DA45B79D9A06}" dt="2020-10-02T13:04:32.292" v="1179" actId="790"/>
          <ac:spMkLst>
            <pc:docMk/>
            <pc:sldMk cId="244205625" sldId="6834"/>
            <ac:spMk id="443" creationId="{A58BF45F-4182-4A7B-AC23-0D7D1E916610}"/>
          </ac:spMkLst>
        </pc:spChg>
        <pc:spChg chg="mod">
          <ac:chgData name="Ugo MANTEL" userId="2d5b7065-31bb-4181-a7f8-a73bf0c30211" providerId="ADAL" clId="{F05BB0D5-3454-45DC-8378-DA45B79D9A06}" dt="2020-10-02T13:04:32.293" v="1180" actId="790"/>
          <ac:spMkLst>
            <pc:docMk/>
            <pc:sldMk cId="244205625" sldId="6834"/>
            <ac:spMk id="444" creationId="{B9B5FE13-A2C9-49E1-957F-AF354F3D5EA5}"/>
          </ac:spMkLst>
        </pc:spChg>
        <pc:spChg chg="mod">
          <ac:chgData name="Ugo MANTEL" userId="2d5b7065-31bb-4181-a7f8-a73bf0c30211" providerId="ADAL" clId="{F05BB0D5-3454-45DC-8378-DA45B79D9A06}" dt="2020-10-02T13:04:32.294" v="1181" actId="790"/>
          <ac:spMkLst>
            <pc:docMk/>
            <pc:sldMk cId="244205625" sldId="6834"/>
            <ac:spMk id="446" creationId="{C9390BD2-930E-456B-A1B9-44AC344D6BA3}"/>
          </ac:spMkLst>
        </pc:spChg>
        <pc:spChg chg="mod">
          <ac:chgData name="Ugo MANTEL" userId="2d5b7065-31bb-4181-a7f8-a73bf0c30211" providerId="ADAL" clId="{F05BB0D5-3454-45DC-8378-DA45B79D9A06}" dt="2020-10-02T13:04:32.294" v="1182" actId="790"/>
          <ac:spMkLst>
            <pc:docMk/>
            <pc:sldMk cId="244205625" sldId="6834"/>
            <ac:spMk id="447" creationId="{A9A760CE-7197-4ED5-A643-4C9953297246}"/>
          </ac:spMkLst>
        </pc:spChg>
        <pc:spChg chg="mod">
          <ac:chgData name="Ugo MANTEL" userId="2d5b7065-31bb-4181-a7f8-a73bf0c30211" providerId="ADAL" clId="{F05BB0D5-3454-45DC-8378-DA45B79D9A06}" dt="2020-10-02T13:04:32.295" v="1183" actId="790"/>
          <ac:spMkLst>
            <pc:docMk/>
            <pc:sldMk cId="244205625" sldId="6834"/>
            <ac:spMk id="449" creationId="{9636A487-562F-4A8A-962F-0E863C193095}"/>
          </ac:spMkLst>
        </pc:spChg>
        <pc:spChg chg="mod">
          <ac:chgData name="Ugo MANTEL" userId="2d5b7065-31bb-4181-a7f8-a73bf0c30211" providerId="ADAL" clId="{F05BB0D5-3454-45DC-8378-DA45B79D9A06}" dt="2020-10-02T13:04:32.295" v="1184" actId="790"/>
          <ac:spMkLst>
            <pc:docMk/>
            <pc:sldMk cId="244205625" sldId="6834"/>
            <ac:spMk id="450" creationId="{97A3BE59-6B30-4519-ABE6-BBD357E8DC09}"/>
          </ac:spMkLst>
        </pc:spChg>
        <pc:spChg chg="mod">
          <ac:chgData name="Ugo MANTEL" userId="2d5b7065-31bb-4181-a7f8-a73bf0c30211" providerId="ADAL" clId="{F05BB0D5-3454-45DC-8378-DA45B79D9A06}" dt="2020-10-02T13:04:32.296" v="1185" actId="790"/>
          <ac:spMkLst>
            <pc:docMk/>
            <pc:sldMk cId="244205625" sldId="6834"/>
            <ac:spMk id="452" creationId="{FD51F47D-D27E-4C53-86C0-CC2FD8FB6A36}"/>
          </ac:spMkLst>
        </pc:spChg>
        <pc:spChg chg="mod">
          <ac:chgData name="Ugo MANTEL" userId="2d5b7065-31bb-4181-a7f8-a73bf0c30211" providerId="ADAL" clId="{F05BB0D5-3454-45DC-8378-DA45B79D9A06}" dt="2020-10-02T13:04:32.296" v="1186" actId="790"/>
          <ac:spMkLst>
            <pc:docMk/>
            <pc:sldMk cId="244205625" sldId="6834"/>
            <ac:spMk id="453" creationId="{17070B7E-6B74-4703-A7DE-4BC0800C21CF}"/>
          </ac:spMkLst>
        </pc:spChg>
        <pc:spChg chg="mod">
          <ac:chgData name="Ugo MANTEL" userId="2d5b7065-31bb-4181-a7f8-a73bf0c30211" providerId="ADAL" clId="{F05BB0D5-3454-45DC-8378-DA45B79D9A06}" dt="2020-10-02T13:04:32.297" v="1187" actId="790"/>
          <ac:spMkLst>
            <pc:docMk/>
            <pc:sldMk cId="244205625" sldId="6834"/>
            <ac:spMk id="455" creationId="{AE04C259-FABB-456D-840F-595C3D410083}"/>
          </ac:spMkLst>
        </pc:spChg>
        <pc:spChg chg="mod">
          <ac:chgData name="Ugo MANTEL" userId="2d5b7065-31bb-4181-a7f8-a73bf0c30211" providerId="ADAL" clId="{F05BB0D5-3454-45DC-8378-DA45B79D9A06}" dt="2020-10-02T13:04:32.297" v="1188" actId="790"/>
          <ac:spMkLst>
            <pc:docMk/>
            <pc:sldMk cId="244205625" sldId="6834"/>
            <ac:spMk id="456" creationId="{B952E7C2-9501-4F2E-8215-1FFB738A0596}"/>
          </ac:spMkLst>
        </pc:spChg>
        <pc:spChg chg="mod">
          <ac:chgData name="Ugo MANTEL" userId="2d5b7065-31bb-4181-a7f8-a73bf0c30211" providerId="ADAL" clId="{F05BB0D5-3454-45DC-8378-DA45B79D9A06}" dt="2020-10-02T13:04:32.303" v="1195" actId="790"/>
          <ac:spMkLst>
            <pc:docMk/>
            <pc:sldMk cId="244205625" sldId="6834"/>
            <ac:spMk id="515" creationId="{5D6DEE91-53C0-412C-99AF-E45F78155B57}"/>
          </ac:spMkLst>
        </pc:spChg>
        <pc:spChg chg="mod">
          <ac:chgData name="Ugo MANTEL" userId="2d5b7065-31bb-4181-a7f8-a73bf0c30211" providerId="ADAL" clId="{F05BB0D5-3454-45DC-8378-DA45B79D9A06}" dt="2020-10-02T13:04:32.303" v="1196" actId="790"/>
          <ac:spMkLst>
            <pc:docMk/>
            <pc:sldMk cId="244205625" sldId="6834"/>
            <ac:spMk id="517" creationId="{51334C4F-8EEF-4A88-968A-93DE75BD0821}"/>
          </ac:spMkLst>
        </pc:spChg>
        <pc:spChg chg="mod">
          <ac:chgData name="Ugo MANTEL" userId="2d5b7065-31bb-4181-a7f8-a73bf0c30211" providerId="ADAL" clId="{F05BB0D5-3454-45DC-8378-DA45B79D9A06}" dt="2020-10-02T13:04:32.304" v="1197" actId="790"/>
          <ac:spMkLst>
            <pc:docMk/>
            <pc:sldMk cId="244205625" sldId="6834"/>
            <ac:spMk id="518" creationId="{AF34166E-8930-4719-B4D4-45F2A0327516}"/>
          </ac:spMkLst>
        </pc:spChg>
        <pc:spChg chg="mod">
          <ac:chgData name="Ugo MANTEL" userId="2d5b7065-31bb-4181-a7f8-a73bf0c30211" providerId="ADAL" clId="{F05BB0D5-3454-45DC-8378-DA45B79D9A06}" dt="2020-10-02T13:04:32.305" v="1198" actId="790"/>
          <ac:spMkLst>
            <pc:docMk/>
            <pc:sldMk cId="244205625" sldId="6834"/>
            <ac:spMk id="520" creationId="{AFF16742-5AC9-4850-9F08-BEDCAD26CC5E}"/>
          </ac:spMkLst>
        </pc:spChg>
        <pc:spChg chg="mod">
          <ac:chgData name="Ugo MANTEL" userId="2d5b7065-31bb-4181-a7f8-a73bf0c30211" providerId="ADAL" clId="{F05BB0D5-3454-45DC-8378-DA45B79D9A06}" dt="2020-10-02T13:04:32.306" v="1199" actId="790"/>
          <ac:spMkLst>
            <pc:docMk/>
            <pc:sldMk cId="244205625" sldId="6834"/>
            <ac:spMk id="521" creationId="{857C8A38-F83E-4782-973F-3C3C189C0E08}"/>
          </ac:spMkLst>
        </pc:spChg>
        <pc:spChg chg="mod">
          <ac:chgData name="Ugo MANTEL" userId="2d5b7065-31bb-4181-a7f8-a73bf0c30211" providerId="ADAL" clId="{F05BB0D5-3454-45DC-8378-DA45B79D9A06}" dt="2020-10-02T13:04:32.306" v="1200" actId="790"/>
          <ac:spMkLst>
            <pc:docMk/>
            <pc:sldMk cId="244205625" sldId="6834"/>
            <ac:spMk id="522" creationId="{57F77BCC-318C-4824-AEC0-72630B1CF5E0}"/>
          </ac:spMkLst>
        </pc:spChg>
        <pc:spChg chg="mod">
          <ac:chgData name="Ugo MANTEL" userId="2d5b7065-31bb-4181-a7f8-a73bf0c30211" providerId="ADAL" clId="{F05BB0D5-3454-45DC-8378-DA45B79D9A06}" dt="2020-10-02T13:04:32.307" v="1201" actId="790"/>
          <ac:spMkLst>
            <pc:docMk/>
            <pc:sldMk cId="244205625" sldId="6834"/>
            <ac:spMk id="523" creationId="{7A0F00FC-F074-4E31-96BA-0619B96AA933}"/>
          </ac:spMkLst>
        </pc:spChg>
        <pc:spChg chg="mod">
          <ac:chgData name="Ugo MANTEL" userId="2d5b7065-31bb-4181-a7f8-a73bf0c30211" providerId="ADAL" clId="{F05BB0D5-3454-45DC-8378-DA45B79D9A06}" dt="2020-10-02T13:04:32.307" v="1202" actId="790"/>
          <ac:spMkLst>
            <pc:docMk/>
            <pc:sldMk cId="244205625" sldId="6834"/>
            <ac:spMk id="524" creationId="{B57A773E-35D4-47A4-8EED-348A371088DE}"/>
          </ac:spMkLst>
        </pc:spChg>
        <pc:spChg chg="mod">
          <ac:chgData name="Ugo MANTEL" userId="2d5b7065-31bb-4181-a7f8-a73bf0c30211" providerId="ADAL" clId="{F05BB0D5-3454-45DC-8378-DA45B79D9A06}" dt="2020-10-02T13:04:32.308" v="1203" actId="790"/>
          <ac:spMkLst>
            <pc:docMk/>
            <pc:sldMk cId="244205625" sldId="6834"/>
            <ac:spMk id="525" creationId="{70756480-CBE5-4BF6-96E1-5495222B9037}"/>
          </ac:spMkLst>
        </pc:spChg>
        <pc:spChg chg="mod">
          <ac:chgData name="Ugo MANTEL" userId="2d5b7065-31bb-4181-a7f8-a73bf0c30211" providerId="ADAL" clId="{F05BB0D5-3454-45DC-8378-DA45B79D9A06}" dt="2020-10-02T13:04:32.309" v="1204" actId="790"/>
          <ac:spMkLst>
            <pc:docMk/>
            <pc:sldMk cId="244205625" sldId="6834"/>
            <ac:spMk id="526" creationId="{7DB55BB7-4CFD-4E60-8ACC-AAEF3F02C1BD}"/>
          </ac:spMkLst>
        </pc:spChg>
        <pc:spChg chg="mod">
          <ac:chgData name="Ugo MANTEL" userId="2d5b7065-31bb-4181-a7f8-a73bf0c30211" providerId="ADAL" clId="{F05BB0D5-3454-45DC-8378-DA45B79D9A06}" dt="2020-10-02T13:04:32.310" v="1205" actId="790"/>
          <ac:spMkLst>
            <pc:docMk/>
            <pc:sldMk cId="244205625" sldId="6834"/>
            <ac:spMk id="527" creationId="{48A146A6-F945-4E3B-A0CE-B730EFF7C39C}"/>
          </ac:spMkLst>
        </pc:spChg>
        <pc:spChg chg="mod">
          <ac:chgData name="Ugo MANTEL" userId="2d5b7065-31bb-4181-a7f8-a73bf0c30211" providerId="ADAL" clId="{F05BB0D5-3454-45DC-8378-DA45B79D9A06}" dt="2020-10-02T13:04:32.310" v="1206" actId="790"/>
          <ac:spMkLst>
            <pc:docMk/>
            <pc:sldMk cId="244205625" sldId="6834"/>
            <ac:spMk id="528" creationId="{AA5F1D05-1D9F-412E-9A5D-812B6D90BDEE}"/>
          </ac:spMkLst>
        </pc:spChg>
        <pc:spChg chg="mod">
          <ac:chgData name="Ugo MANTEL" userId="2d5b7065-31bb-4181-a7f8-a73bf0c30211" providerId="ADAL" clId="{F05BB0D5-3454-45DC-8378-DA45B79D9A06}" dt="2020-10-02T13:04:32.311" v="1207" actId="790"/>
          <ac:spMkLst>
            <pc:docMk/>
            <pc:sldMk cId="244205625" sldId="6834"/>
            <ac:spMk id="529" creationId="{35CD4C6B-E868-4295-85A2-5A54FC6DC5FE}"/>
          </ac:spMkLst>
        </pc:spChg>
        <pc:spChg chg="mod">
          <ac:chgData name="Ugo MANTEL" userId="2d5b7065-31bb-4181-a7f8-a73bf0c30211" providerId="ADAL" clId="{F05BB0D5-3454-45DC-8378-DA45B79D9A06}" dt="2020-10-02T13:04:32.312" v="1208" actId="790"/>
          <ac:spMkLst>
            <pc:docMk/>
            <pc:sldMk cId="244205625" sldId="6834"/>
            <ac:spMk id="531" creationId="{B3A25C05-CFA8-492C-9371-AFD2F0AC6AEB}"/>
          </ac:spMkLst>
        </pc:spChg>
        <pc:spChg chg="mod">
          <ac:chgData name="Ugo MANTEL" userId="2d5b7065-31bb-4181-a7f8-a73bf0c30211" providerId="ADAL" clId="{F05BB0D5-3454-45DC-8378-DA45B79D9A06}" dt="2020-10-02T13:04:32.312" v="1209" actId="790"/>
          <ac:spMkLst>
            <pc:docMk/>
            <pc:sldMk cId="244205625" sldId="6834"/>
            <ac:spMk id="532" creationId="{02AC6D82-2A2E-4B6D-AA93-BE0956DE18F0}"/>
          </ac:spMkLst>
        </pc:spChg>
        <pc:spChg chg="mod">
          <ac:chgData name="Ugo MANTEL" userId="2d5b7065-31bb-4181-a7f8-a73bf0c30211" providerId="ADAL" clId="{F05BB0D5-3454-45DC-8378-DA45B79D9A06}" dt="2020-10-02T13:04:32.313" v="1210" actId="790"/>
          <ac:spMkLst>
            <pc:docMk/>
            <pc:sldMk cId="244205625" sldId="6834"/>
            <ac:spMk id="533" creationId="{2F693C0C-A797-4704-B668-E5D7FDA625FA}"/>
          </ac:spMkLst>
        </pc:spChg>
        <pc:spChg chg="mod">
          <ac:chgData name="Ugo MANTEL" userId="2d5b7065-31bb-4181-a7f8-a73bf0c30211" providerId="ADAL" clId="{F05BB0D5-3454-45DC-8378-DA45B79D9A06}" dt="2020-10-02T13:04:32.314" v="1211" actId="790"/>
          <ac:spMkLst>
            <pc:docMk/>
            <pc:sldMk cId="244205625" sldId="6834"/>
            <ac:spMk id="534" creationId="{96AC1431-4511-4742-A218-FC35455D8FB9}"/>
          </ac:spMkLst>
        </pc:spChg>
        <pc:spChg chg="mod">
          <ac:chgData name="Ugo MANTEL" userId="2d5b7065-31bb-4181-a7f8-a73bf0c30211" providerId="ADAL" clId="{F05BB0D5-3454-45DC-8378-DA45B79D9A06}" dt="2020-10-02T13:04:32.314" v="1212" actId="790"/>
          <ac:spMkLst>
            <pc:docMk/>
            <pc:sldMk cId="244205625" sldId="6834"/>
            <ac:spMk id="535" creationId="{30770603-8216-4387-9E86-441104E7C2EB}"/>
          </ac:spMkLst>
        </pc:spChg>
        <pc:spChg chg="mod">
          <ac:chgData name="Ugo MANTEL" userId="2d5b7065-31bb-4181-a7f8-a73bf0c30211" providerId="ADAL" clId="{F05BB0D5-3454-45DC-8378-DA45B79D9A06}" dt="2020-10-02T13:04:32.321" v="1221" actId="790"/>
          <ac:spMkLst>
            <pc:docMk/>
            <pc:sldMk cId="244205625" sldId="6834"/>
            <ac:spMk id="536" creationId="{A7435C38-7BDF-47DF-A767-C73107BD3041}"/>
          </ac:spMkLst>
        </pc:spChg>
        <pc:spChg chg="mod">
          <ac:chgData name="Ugo MANTEL" userId="2d5b7065-31bb-4181-a7f8-a73bf0c30211" providerId="ADAL" clId="{F05BB0D5-3454-45DC-8378-DA45B79D9A06}" dt="2020-10-02T13:04:32.320" v="1219" actId="790"/>
          <ac:spMkLst>
            <pc:docMk/>
            <pc:sldMk cId="244205625" sldId="6834"/>
            <ac:spMk id="537" creationId="{CF1E42B2-C773-4B98-AB45-863622B66C59}"/>
          </ac:spMkLst>
        </pc:spChg>
        <pc:spChg chg="mod">
          <ac:chgData name="Ugo MANTEL" userId="2d5b7065-31bb-4181-a7f8-a73bf0c30211" providerId="ADAL" clId="{F05BB0D5-3454-45DC-8378-DA45B79D9A06}" dt="2020-10-02T13:04:32.317" v="1216" actId="790"/>
          <ac:spMkLst>
            <pc:docMk/>
            <pc:sldMk cId="244205625" sldId="6834"/>
            <ac:spMk id="538" creationId="{572A48D9-4E6F-42B3-A789-B324A695C32F}"/>
          </ac:spMkLst>
        </pc:spChg>
        <pc:spChg chg="mod">
          <ac:chgData name="Ugo MANTEL" userId="2d5b7065-31bb-4181-a7f8-a73bf0c30211" providerId="ADAL" clId="{F05BB0D5-3454-45DC-8378-DA45B79D9A06}" dt="2020-10-02T13:04:32.315" v="1213" actId="790"/>
          <ac:spMkLst>
            <pc:docMk/>
            <pc:sldMk cId="244205625" sldId="6834"/>
            <ac:spMk id="540" creationId="{A28B2736-5882-4732-961A-3077D0027556}"/>
          </ac:spMkLst>
        </pc:spChg>
        <pc:spChg chg="mod">
          <ac:chgData name="Ugo MANTEL" userId="2d5b7065-31bb-4181-a7f8-a73bf0c30211" providerId="ADAL" clId="{F05BB0D5-3454-45DC-8378-DA45B79D9A06}" dt="2020-10-02T13:04:32.315" v="1214" actId="790"/>
          <ac:spMkLst>
            <pc:docMk/>
            <pc:sldMk cId="244205625" sldId="6834"/>
            <ac:spMk id="541" creationId="{06E6B880-5F02-4E47-99D6-1D09E38C465C}"/>
          </ac:spMkLst>
        </pc:spChg>
        <pc:spChg chg="mod">
          <ac:chgData name="Ugo MANTEL" userId="2d5b7065-31bb-4181-a7f8-a73bf0c30211" providerId="ADAL" clId="{F05BB0D5-3454-45DC-8378-DA45B79D9A06}" dt="2020-10-02T13:04:32.318" v="1217" actId="790"/>
          <ac:spMkLst>
            <pc:docMk/>
            <pc:sldMk cId="244205625" sldId="6834"/>
            <ac:spMk id="543" creationId="{639C4700-70FE-406B-9A72-026C238B031C}"/>
          </ac:spMkLst>
        </pc:spChg>
      </pc:sldChg>
      <pc:sldChg chg="modSp mod">
        <pc:chgData name="Ugo MANTEL" userId="2d5b7065-31bb-4181-a7f8-a73bf0c30211" providerId="ADAL" clId="{F05BB0D5-3454-45DC-8378-DA45B79D9A06}" dt="2020-10-02T13:04:32.386" v="1294" actId="790"/>
        <pc:sldMkLst>
          <pc:docMk/>
          <pc:sldMk cId="2927211765" sldId="6835"/>
        </pc:sldMkLst>
        <pc:spChg chg="mod">
          <ac:chgData name="Ugo MANTEL" userId="2d5b7065-31bb-4181-a7f8-a73bf0c30211" providerId="ADAL" clId="{F05BB0D5-3454-45DC-8378-DA45B79D9A06}" dt="2020-10-02T13:04:32.329" v="1230" actId="790"/>
          <ac:spMkLst>
            <pc:docMk/>
            <pc:sldMk cId="2927211765" sldId="6835"/>
            <ac:spMk id="3" creationId="{866DBF03-B075-4B01-B424-699A08F5F2EC}"/>
          </ac:spMkLst>
        </pc:spChg>
        <pc:spChg chg="mod">
          <ac:chgData name="Ugo MANTEL" userId="2d5b7065-31bb-4181-a7f8-a73bf0c30211" providerId="ADAL" clId="{F05BB0D5-3454-45DC-8378-DA45B79D9A06}" dt="2020-10-02T13:04:32.386" v="1294" actId="790"/>
          <ac:spMkLst>
            <pc:docMk/>
            <pc:sldMk cId="2927211765" sldId="6835"/>
            <ac:spMk id="5" creationId="{6D12C115-87E5-441F-A55E-2829608B8374}"/>
          </ac:spMkLst>
        </pc:spChg>
        <pc:spChg chg="mod">
          <ac:chgData name="Ugo MANTEL" userId="2d5b7065-31bb-4181-a7f8-a73bf0c30211" providerId="ADAL" clId="{F05BB0D5-3454-45DC-8378-DA45B79D9A06}" dt="2020-10-02T13:04:32.331" v="1233" actId="790"/>
          <ac:spMkLst>
            <pc:docMk/>
            <pc:sldMk cId="2927211765" sldId="6835"/>
            <ac:spMk id="20" creationId="{8B54963F-8448-47BB-BB94-122C070BCCBE}"/>
          </ac:spMkLst>
        </pc:spChg>
        <pc:spChg chg="mod">
          <ac:chgData name="Ugo MANTEL" userId="2d5b7065-31bb-4181-a7f8-a73bf0c30211" providerId="ADAL" clId="{F05BB0D5-3454-45DC-8378-DA45B79D9A06}" dt="2020-10-02T13:04:32.334" v="1234" actId="790"/>
          <ac:spMkLst>
            <pc:docMk/>
            <pc:sldMk cId="2927211765" sldId="6835"/>
            <ac:spMk id="22" creationId="{16E308DC-852B-4EF9-96F1-0C854AE20F0E}"/>
          </ac:spMkLst>
        </pc:spChg>
        <pc:spChg chg="mod">
          <ac:chgData name="Ugo MANTEL" userId="2d5b7065-31bb-4181-a7f8-a73bf0c30211" providerId="ADAL" clId="{F05BB0D5-3454-45DC-8378-DA45B79D9A06}" dt="2020-10-02T13:04:32.330" v="1231" actId="790"/>
          <ac:spMkLst>
            <pc:docMk/>
            <pc:sldMk cId="2927211765" sldId="6835"/>
            <ac:spMk id="25" creationId="{22E09435-F3C6-40E1-B7DF-204A08FBFDF8}"/>
          </ac:spMkLst>
        </pc:spChg>
        <pc:spChg chg="mod">
          <ac:chgData name="Ugo MANTEL" userId="2d5b7065-31bb-4181-a7f8-a73bf0c30211" providerId="ADAL" clId="{F05BB0D5-3454-45DC-8378-DA45B79D9A06}" dt="2020-10-02T13:04:32.331" v="1232" actId="790"/>
          <ac:spMkLst>
            <pc:docMk/>
            <pc:sldMk cId="2927211765" sldId="6835"/>
            <ac:spMk id="27" creationId="{847339C7-9513-4526-A29B-EDFB1D15928E}"/>
          </ac:spMkLst>
        </pc:spChg>
        <pc:spChg chg="mod">
          <ac:chgData name="Ugo MANTEL" userId="2d5b7065-31bb-4181-a7f8-a73bf0c30211" providerId="ADAL" clId="{F05BB0D5-3454-45DC-8378-DA45B79D9A06}" dt="2020-10-02T13:04:32.327" v="1229" actId="790"/>
          <ac:spMkLst>
            <pc:docMk/>
            <pc:sldMk cId="2927211765" sldId="6835"/>
            <ac:spMk id="52" creationId="{919D0193-389E-4BC7-99D5-A13F90E20ACD}"/>
          </ac:spMkLst>
        </pc:spChg>
        <pc:spChg chg="mod">
          <ac:chgData name="Ugo MANTEL" userId="2d5b7065-31bb-4181-a7f8-a73bf0c30211" providerId="ADAL" clId="{F05BB0D5-3454-45DC-8378-DA45B79D9A06}" dt="2020-10-02T13:04:32.336" v="1235" actId="790"/>
          <ac:spMkLst>
            <pc:docMk/>
            <pc:sldMk cId="2927211765" sldId="6835"/>
            <ac:spMk id="70" creationId="{ABB6A9DA-929F-4B7E-9690-0407D152DF34}"/>
          </ac:spMkLst>
        </pc:spChg>
        <pc:spChg chg="mod">
          <ac:chgData name="Ugo MANTEL" userId="2d5b7065-31bb-4181-a7f8-a73bf0c30211" providerId="ADAL" clId="{F05BB0D5-3454-45DC-8378-DA45B79D9A06}" dt="2020-10-02T13:04:32.337" v="1236" actId="790"/>
          <ac:spMkLst>
            <pc:docMk/>
            <pc:sldMk cId="2927211765" sldId="6835"/>
            <ac:spMk id="71" creationId="{A798CAC1-BA0A-463B-8B1D-764F46649B31}"/>
          </ac:spMkLst>
        </pc:spChg>
        <pc:spChg chg="mod">
          <ac:chgData name="Ugo MANTEL" userId="2d5b7065-31bb-4181-a7f8-a73bf0c30211" providerId="ADAL" clId="{F05BB0D5-3454-45DC-8378-DA45B79D9A06}" dt="2020-10-02T13:04:32.338" v="1237" actId="790"/>
          <ac:spMkLst>
            <pc:docMk/>
            <pc:sldMk cId="2927211765" sldId="6835"/>
            <ac:spMk id="91" creationId="{ADB3EC91-C857-4BAF-B6DA-5CB7EF5ED4B0}"/>
          </ac:spMkLst>
        </pc:spChg>
        <pc:spChg chg="mod">
          <ac:chgData name="Ugo MANTEL" userId="2d5b7065-31bb-4181-a7f8-a73bf0c30211" providerId="ADAL" clId="{F05BB0D5-3454-45DC-8378-DA45B79D9A06}" dt="2020-10-02T13:04:32.362" v="1263" actId="790"/>
          <ac:spMkLst>
            <pc:docMk/>
            <pc:sldMk cId="2927211765" sldId="6835"/>
            <ac:spMk id="113" creationId="{1367C531-2BA6-4DCC-9292-912EE00A1CB0}"/>
          </ac:spMkLst>
        </pc:spChg>
        <pc:spChg chg="mod">
          <ac:chgData name="Ugo MANTEL" userId="2d5b7065-31bb-4181-a7f8-a73bf0c30211" providerId="ADAL" clId="{F05BB0D5-3454-45DC-8378-DA45B79D9A06}" dt="2020-10-02T13:04:32.358" v="1259" actId="790"/>
          <ac:spMkLst>
            <pc:docMk/>
            <pc:sldMk cId="2927211765" sldId="6835"/>
            <ac:spMk id="119" creationId="{F5A70408-8C51-4394-A6A8-ACDED6379D01}"/>
          </ac:spMkLst>
        </pc:spChg>
        <pc:spChg chg="mod">
          <ac:chgData name="Ugo MANTEL" userId="2d5b7065-31bb-4181-a7f8-a73bf0c30211" providerId="ADAL" clId="{F05BB0D5-3454-45DC-8378-DA45B79D9A06}" dt="2020-10-02T13:04:32.370" v="1272" actId="790"/>
          <ac:spMkLst>
            <pc:docMk/>
            <pc:sldMk cId="2927211765" sldId="6835"/>
            <ac:spMk id="125" creationId="{E7DA3F3A-79CD-45E8-ACD4-FF7B574927B4}"/>
          </ac:spMkLst>
        </pc:spChg>
        <pc:spChg chg="mod">
          <ac:chgData name="Ugo MANTEL" userId="2d5b7065-31bb-4181-a7f8-a73bf0c30211" providerId="ADAL" clId="{F05BB0D5-3454-45DC-8378-DA45B79D9A06}" dt="2020-10-02T13:04:32.380" v="1287" actId="790"/>
          <ac:spMkLst>
            <pc:docMk/>
            <pc:sldMk cId="2927211765" sldId="6835"/>
            <ac:spMk id="127" creationId="{F82239B7-9FD0-4006-BB9D-356FFB36F24F}"/>
          </ac:spMkLst>
        </pc:spChg>
        <pc:spChg chg="mod">
          <ac:chgData name="Ugo MANTEL" userId="2d5b7065-31bb-4181-a7f8-a73bf0c30211" providerId="ADAL" clId="{F05BB0D5-3454-45DC-8378-DA45B79D9A06}" dt="2020-10-02T13:04:32.359" v="1260" actId="790"/>
          <ac:spMkLst>
            <pc:docMk/>
            <pc:sldMk cId="2927211765" sldId="6835"/>
            <ac:spMk id="128" creationId="{AFA39AF3-E4B0-4F43-A668-6F722242D91C}"/>
          </ac:spMkLst>
        </pc:spChg>
        <pc:spChg chg="mod">
          <ac:chgData name="Ugo MANTEL" userId="2d5b7065-31bb-4181-a7f8-a73bf0c30211" providerId="ADAL" clId="{F05BB0D5-3454-45DC-8378-DA45B79D9A06}" dt="2020-10-02T13:04:32.359" v="1261" actId="790"/>
          <ac:spMkLst>
            <pc:docMk/>
            <pc:sldMk cId="2927211765" sldId="6835"/>
            <ac:spMk id="129" creationId="{F5C3A440-2360-4F95-9CEA-346FE9E114BA}"/>
          </ac:spMkLst>
        </pc:spChg>
        <pc:spChg chg="mod">
          <ac:chgData name="Ugo MANTEL" userId="2d5b7065-31bb-4181-a7f8-a73bf0c30211" providerId="ADAL" clId="{F05BB0D5-3454-45DC-8378-DA45B79D9A06}" dt="2020-10-02T13:04:32.360" v="1262" actId="790"/>
          <ac:spMkLst>
            <pc:docMk/>
            <pc:sldMk cId="2927211765" sldId="6835"/>
            <ac:spMk id="130" creationId="{93E6F954-0C02-4F9A-92B5-5DB430D68935}"/>
          </ac:spMkLst>
        </pc:spChg>
        <pc:spChg chg="mod">
          <ac:chgData name="Ugo MANTEL" userId="2d5b7065-31bb-4181-a7f8-a73bf0c30211" providerId="ADAL" clId="{F05BB0D5-3454-45DC-8378-DA45B79D9A06}" dt="2020-10-02T13:04:32.364" v="1264" actId="790"/>
          <ac:spMkLst>
            <pc:docMk/>
            <pc:sldMk cId="2927211765" sldId="6835"/>
            <ac:spMk id="134" creationId="{EEE30818-3992-4EF3-BBF0-1051556B0550}"/>
          </ac:spMkLst>
        </pc:spChg>
        <pc:spChg chg="mod">
          <ac:chgData name="Ugo MANTEL" userId="2d5b7065-31bb-4181-a7f8-a73bf0c30211" providerId="ADAL" clId="{F05BB0D5-3454-45DC-8378-DA45B79D9A06}" dt="2020-10-02T13:04:32.365" v="1265" actId="790"/>
          <ac:spMkLst>
            <pc:docMk/>
            <pc:sldMk cId="2927211765" sldId="6835"/>
            <ac:spMk id="136" creationId="{63119A2F-E29C-4CE1-9737-44E13E860F78}"/>
          </ac:spMkLst>
        </pc:spChg>
        <pc:spChg chg="mod">
          <ac:chgData name="Ugo MANTEL" userId="2d5b7065-31bb-4181-a7f8-a73bf0c30211" providerId="ADAL" clId="{F05BB0D5-3454-45DC-8378-DA45B79D9A06}" dt="2020-10-02T13:04:32.365" v="1266" actId="790"/>
          <ac:spMkLst>
            <pc:docMk/>
            <pc:sldMk cId="2927211765" sldId="6835"/>
            <ac:spMk id="137" creationId="{A900B935-CF4F-48ED-A396-5D7F88712C85}"/>
          </ac:spMkLst>
        </pc:spChg>
        <pc:spChg chg="mod">
          <ac:chgData name="Ugo MANTEL" userId="2d5b7065-31bb-4181-a7f8-a73bf0c30211" providerId="ADAL" clId="{F05BB0D5-3454-45DC-8378-DA45B79D9A06}" dt="2020-10-02T13:04:32.380" v="1288" actId="790"/>
          <ac:spMkLst>
            <pc:docMk/>
            <pc:sldMk cId="2927211765" sldId="6835"/>
            <ac:spMk id="142" creationId="{ABE396B4-5E74-4815-B77F-D092D1E1B35E}"/>
          </ac:spMkLst>
        </pc:spChg>
        <pc:spChg chg="mod">
          <ac:chgData name="Ugo MANTEL" userId="2d5b7065-31bb-4181-a7f8-a73bf0c30211" providerId="ADAL" clId="{F05BB0D5-3454-45DC-8378-DA45B79D9A06}" dt="2020-10-02T13:04:32.381" v="1289" actId="790"/>
          <ac:spMkLst>
            <pc:docMk/>
            <pc:sldMk cId="2927211765" sldId="6835"/>
            <ac:spMk id="144" creationId="{A62B63EE-5C90-4743-BC53-932C7C62CB32}"/>
          </ac:spMkLst>
        </pc:spChg>
        <pc:spChg chg="mod">
          <ac:chgData name="Ugo MANTEL" userId="2d5b7065-31bb-4181-a7f8-a73bf0c30211" providerId="ADAL" clId="{F05BB0D5-3454-45DC-8378-DA45B79D9A06}" dt="2020-10-02T13:04:32.382" v="1290" actId="790"/>
          <ac:spMkLst>
            <pc:docMk/>
            <pc:sldMk cId="2927211765" sldId="6835"/>
            <ac:spMk id="147" creationId="{B2694F75-C548-4C90-885D-63F3F32B0E54}"/>
          </ac:spMkLst>
        </pc:spChg>
        <pc:spChg chg="mod">
          <ac:chgData name="Ugo MANTEL" userId="2d5b7065-31bb-4181-a7f8-a73bf0c30211" providerId="ADAL" clId="{F05BB0D5-3454-45DC-8378-DA45B79D9A06}" dt="2020-10-02T13:04:32.382" v="1291" actId="790"/>
          <ac:spMkLst>
            <pc:docMk/>
            <pc:sldMk cId="2927211765" sldId="6835"/>
            <ac:spMk id="149" creationId="{1FA4CD0B-8F17-44FC-8D15-5484EB24368B}"/>
          </ac:spMkLst>
        </pc:spChg>
        <pc:spChg chg="mod">
          <ac:chgData name="Ugo MANTEL" userId="2d5b7065-31bb-4181-a7f8-a73bf0c30211" providerId="ADAL" clId="{F05BB0D5-3454-45DC-8378-DA45B79D9A06}" dt="2020-10-02T13:04:32.383" v="1292" actId="790"/>
          <ac:spMkLst>
            <pc:docMk/>
            <pc:sldMk cId="2927211765" sldId="6835"/>
            <ac:spMk id="151" creationId="{2180B601-699E-4FA4-82E6-C0E16BCAC257}"/>
          </ac:spMkLst>
        </pc:spChg>
        <pc:spChg chg="mod">
          <ac:chgData name="Ugo MANTEL" userId="2d5b7065-31bb-4181-a7f8-a73bf0c30211" providerId="ADAL" clId="{F05BB0D5-3454-45DC-8378-DA45B79D9A06}" dt="2020-10-02T13:04:32.384" v="1293" actId="790"/>
          <ac:spMkLst>
            <pc:docMk/>
            <pc:sldMk cId="2927211765" sldId="6835"/>
            <ac:spMk id="153" creationId="{F9253080-89DD-4BA5-82F7-A6266308C943}"/>
          </ac:spMkLst>
        </pc:spChg>
        <pc:spChg chg="mod">
          <ac:chgData name="Ugo MANTEL" userId="2d5b7065-31bb-4181-a7f8-a73bf0c30211" providerId="ADAL" clId="{F05BB0D5-3454-45DC-8378-DA45B79D9A06}" dt="2020-10-02T13:04:32.366" v="1267" actId="790"/>
          <ac:spMkLst>
            <pc:docMk/>
            <pc:sldMk cId="2927211765" sldId="6835"/>
            <ac:spMk id="157" creationId="{A95F6AAF-979E-4F62-AEA9-9D63B6118C9C}"/>
          </ac:spMkLst>
        </pc:spChg>
        <pc:spChg chg="mod">
          <ac:chgData name="Ugo MANTEL" userId="2d5b7065-31bb-4181-a7f8-a73bf0c30211" providerId="ADAL" clId="{F05BB0D5-3454-45DC-8378-DA45B79D9A06}" dt="2020-10-02T13:04:32.367" v="1268" actId="790"/>
          <ac:spMkLst>
            <pc:docMk/>
            <pc:sldMk cId="2927211765" sldId="6835"/>
            <ac:spMk id="158" creationId="{91064C1D-1504-408F-8B85-60A5508AD67F}"/>
          </ac:spMkLst>
        </pc:spChg>
        <pc:spChg chg="mod">
          <ac:chgData name="Ugo MANTEL" userId="2d5b7065-31bb-4181-a7f8-a73bf0c30211" providerId="ADAL" clId="{F05BB0D5-3454-45DC-8378-DA45B79D9A06}" dt="2020-10-02T13:04:32.368" v="1269" actId="790"/>
          <ac:spMkLst>
            <pc:docMk/>
            <pc:sldMk cId="2927211765" sldId="6835"/>
            <ac:spMk id="159" creationId="{1F4D3462-FE59-4B98-AB1F-7986A15AB970}"/>
          </ac:spMkLst>
        </pc:spChg>
        <pc:spChg chg="mod">
          <ac:chgData name="Ugo MANTEL" userId="2d5b7065-31bb-4181-a7f8-a73bf0c30211" providerId="ADAL" clId="{F05BB0D5-3454-45DC-8378-DA45B79D9A06}" dt="2020-10-02T13:04:32.369" v="1270" actId="790"/>
          <ac:spMkLst>
            <pc:docMk/>
            <pc:sldMk cId="2927211765" sldId="6835"/>
            <ac:spMk id="164" creationId="{2FC5A24F-E481-4B95-85B6-AD23C0B1B6BD}"/>
          </ac:spMkLst>
        </pc:spChg>
        <pc:spChg chg="mod">
          <ac:chgData name="Ugo MANTEL" userId="2d5b7065-31bb-4181-a7f8-a73bf0c30211" providerId="ADAL" clId="{F05BB0D5-3454-45DC-8378-DA45B79D9A06}" dt="2020-10-02T13:04:32.339" v="1238" actId="790"/>
          <ac:spMkLst>
            <pc:docMk/>
            <pc:sldMk cId="2927211765" sldId="6835"/>
            <ac:spMk id="168" creationId="{0D6E560B-F3A8-4FEF-91EC-AB77183C265C}"/>
          </ac:spMkLst>
        </pc:spChg>
        <pc:spChg chg="mod">
          <ac:chgData name="Ugo MANTEL" userId="2d5b7065-31bb-4181-a7f8-a73bf0c30211" providerId="ADAL" clId="{F05BB0D5-3454-45DC-8378-DA45B79D9A06}" dt="2020-10-02T13:04:32.369" v="1271" actId="790"/>
          <ac:spMkLst>
            <pc:docMk/>
            <pc:sldMk cId="2927211765" sldId="6835"/>
            <ac:spMk id="169" creationId="{9EA80FC3-2B2C-4271-BE29-D3C6CB6331D8}"/>
          </ac:spMkLst>
        </pc:spChg>
        <pc:spChg chg="mod">
          <ac:chgData name="Ugo MANTEL" userId="2d5b7065-31bb-4181-a7f8-a73bf0c30211" providerId="ADAL" clId="{F05BB0D5-3454-45DC-8378-DA45B79D9A06}" dt="2020-10-02T13:04:32.371" v="1273" actId="790"/>
          <ac:spMkLst>
            <pc:docMk/>
            <pc:sldMk cId="2927211765" sldId="6835"/>
            <ac:spMk id="173" creationId="{A65DC496-79DD-4D3F-B059-FFB6DA472D83}"/>
          </ac:spMkLst>
        </pc:spChg>
        <pc:spChg chg="mod">
          <ac:chgData name="Ugo MANTEL" userId="2d5b7065-31bb-4181-a7f8-a73bf0c30211" providerId="ADAL" clId="{F05BB0D5-3454-45DC-8378-DA45B79D9A06}" dt="2020-10-02T13:04:32.372" v="1274" actId="790"/>
          <ac:spMkLst>
            <pc:docMk/>
            <pc:sldMk cId="2927211765" sldId="6835"/>
            <ac:spMk id="174" creationId="{E3EB5A70-9A62-455A-817B-51129A56F9ED}"/>
          </ac:spMkLst>
        </pc:spChg>
        <pc:spChg chg="mod">
          <ac:chgData name="Ugo MANTEL" userId="2d5b7065-31bb-4181-a7f8-a73bf0c30211" providerId="ADAL" clId="{F05BB0D5-3454-45DC-8378-DA45B79D9A06}" dt="2020-10-02T13:04:32.372" v="1275" actId="790"/>
          <ac:spMkLst>
            <pc:docMk/>
            <pc:sldMk cId="2927211765" sldId="6835"/>
            <ac:spMk id="175" creationId="{BCC25C8E-AFD9-40BF-8D07-8C13CA41213E}"/>
          </ac:spMkLst>
        </pc:spChg>
        <pc:spChg chg="mod">
          <ac:chgData name="Ugo MANTEL" userId="2d5b7065-31bb-4181-a7f8-a73bf0c30211" providerId="ADAL" clId="{F05BB0D5-3454-45DC-8378-DA45B79D9A06}" dt="2020-10-02T13:04:32.373" v="1276" actId="790"/>
          <ac:spMkLst>
            <pc:docMk/>
            <pc:sldMk cId="2927211765" sldId="6835"/>
            <ac:spMk id="176" creationId="{7FAB1255-3AAB-4A39-A567-E864F98F76D5}"/>
          </ac:spMkLst>
        </pc:spChg>
        <pc:spChg chg="mod">
          <ac:chgData name="Ugo MANTEL" userId="2d5b7065-31bb-4181-a7f8-a73bf0c30211" providerId="ADAL" clId="{F05BB0D5-3454-45DC-8378-DA45B79D9A06}" dt="2020-10-02T13:04:32.373" v="1277" actId="790"/>
          <ac:spMkLst>
            <pc:docMk/>
            <pc:sldMk cId="2927211765" sldId="6835"/>
            <ac:spMk id="178" creationId="{982C5B18-C1A7-4CEB-8ABD-8DED0231AFE2}"/>
          </ac:spMkLst>
        </pc:spChg>
        <pc:spChg chg="mod">
          <ac:chgData name="Ugo MANTEL" userId="2d5b7065-31bb-4181-a7f8-a73bf0c30211" providerId="ADAL" clId="{F05BB0D5-3454-45DC-8378-DA45B79D9A06}" dt="2020-10-02T13:04:32.374" v="1278" actId="790"/>
          <ac:spMkLst>
            <pc:docMk/>
            <pc:sldMk cId="2927211765" sldId="6835"/>
            <ac:spMk id="179" creationId="{6D3122FD-0680-4772-AA7A-40546551C056}"/>
          </ac:spMkLst>
        </pc:spChg>
        <pc:spChg chg="mod">
          <ac:chgData name="Ugo MANTEL" userId="2d5b7065-31bb-4181-a7f8-a73bf0c30211" providerId="ADAL" clId="{F05BB0D5-3454-45DC-8378-DA45B79D9A06}" dt="2020-10-02T13:04:32.374" v="1279" actId="790"/>
          <ac:spMkLst>
            <pc:docMk/>
            <pc:sldMk cId="2927211765" sldId="6835"/>
            <ac:spMk id="182" creationId="{9A91FAAE-E2F1-4560-B068-B563E8A8C478}"/>
          </ac:spMkLst>
        </pc:spChg>
        <pc:spChg chg="mod">
          <ac:chgData name="Ugo MANTEL" userId="2d5b7065-31bb-4181-a7f8-a73bf0c30211" providerId="ADAL" clId="{F05BB0D5-3454-45DC-8378-DA45B79D9A06}" dt="2020-10-02T13:04:32.375" v="1280" actId="790"/>
          <ac:spMkLst>
            <pc:docMk/>
            <pc:sldMk cId="2927211765" sldId="6835"/>
            <ac:spMk id="183" creationId="{B88EE7C1-3D9D-4F61-A4B5-FE8D6AE09837}"/>
          </ac:spMkLst>
        </pc:spChg>
        <pc:spChg chg="mod">
          <ac:chgData name="Ugo MANTEL" userId="2d5b7065-31bb-4181-a7f8-a73bf0c30211" providerId="ADAL" clId="{F05BB0D5-3454-45DC-8378-DA45B79D9A06}" dt="2020-10-02T13:04:32.376" v="1281" actId="790"/>
          <ac:spMkLst>
            <pc:docMk/>
            <pc:sldMk cId="2927211765" sldId="6835"/>
            <ac:spMk id="185" creationId="{2F863518-E999-4A8D-AAA8-CC6D74ABB047}"/>
          </ac:spMkLst>
        </pc:spChg>
        <pc:spChg chg="mod">
          <ac:chgData name="Ugo MANTEL" userId="2d5b7065-31bb-4181-a7f8-a73bf0c30211" providerId="ADAL" clId="{F05BB0D5-3454-45DC-8378-DA45B79D9A06}" dt="2020-10-02T13:04:32.376" v="1282" actId="790"/>
          <ac:spMkLst>
            <pc:docMk/>
            <pc:sldMk cId="2927211765" sldId="6835"/>
            <ac:spMk id="186" creationId="{E43008FF-4A64-4E27-99B8-29A51BE2F0F8}"/>
          </ac:spMkLst>
        </pc:spChg>
        <pc:spChg chg="mod">
          <ac:chgData name="Ugo MANTEL" userId="2d5b7065-31bb-4181-a7f8-a73bf0c30211" providerId="ADAL" clId="{F05BB0D5-3454-45DC-8378-DA45B79D9A06}" dt="2020-10-02T13:04:32.377" v="1283" actId="790"/>
          <ac:spMkLst>
            <pc:docMk/>
            <pc:sldMk cId="2927211765" sldId="6835"/>
            <ac:spMk id="187" creationId="{DF8302AC-FC88-48EB-81B6-D157BB4F6FC3}"/>
          </ac:spMkLst>
        </pc:spChg>
        <pc:spChg chg="mod">
          <ac:chgData name="Ugo MANTEL" userId="2d5b7065-31bb-4181-a7f8-a73bf0c30211" providerId="ADAL" clId="{F05BB0D5-3454-45DC-8378-DA45B79D9A06}" dt="2020-10-02T13:04:32.378" v="1284" actId="790"/>
          <ac:spMkLst>
            <pc:docMk/>
            <pc:sldMk cId="2927211765" sldId="6835"/>
            <ac:spMk id="188" creationId="{FC25A81B-84FA-4A62-B4ED-39CB9137C516}"/>
          </ac:spMkLst>
        </pc:spChg>
        <pc:spChg chg="mod">
          <ac:chgData name="Ugo MANTEL" userId="2d5b7065-31bb-4181-a7f8-a73bf0c30211" providerId="ADAL" clId="{F05BB0D5-3454-45DC-8378-DA45B79D9A06}" dt="2020-10-02T13:04:32.378" v="1285" actId="790"/>
          <ac:spMkLst>
            <pc:docMk/>
            <pc:sldMk cId="2927211765" sldId="6835"/>
            <ac:spMk id="189" creationId="{045B3843-30A3-40EC-BE14-FF463B77BE13}"/>
          </ac:spMkLst>
        </pc:spChg>
        <pc:spChg chg="mod">
          <ac:chgData name="Ugo MANTEL" userId="2d5b7065-31bb-4181-a7f8-a73bf0c30211" providerId="ADAL" clId="{F05BB0D5-3454-45DC-8378-DA45B79D9A06}" dt="2020-10-02T13:04:32.379" v="1286" actId="790"/>
          <ac:spMkLst>
            <pc:docMk/>
            <pc:sldMk cId="2927211765" sldId="6835"/>
            <ac:spMk id="190" creationId="{9EF2D595-C836-4CC0-9E82-8BDDD8A27163}"/>
          </ac:spMkLst>
        </pc:spChg>
        <pc:spChg chg="mod">
          <ac:chgData name="Ugo MANTEL" userId="2d5b7065-31bb-4181-a7f8-a73bf0c30211" providerId="ADAL" clId="{F05BB0D5-3454-45DC-8378-DA45B79D9A06}" dt="2020-10-02T13:04:32.349" v="1247" actId="790"/>
          <ac:spMkLst>
            <pc:docMk/>
            <pc:sldMk cId="2927211765" sldId="6835"/>
            <ac:spMk id="223" creationId="{B647039F-31AC-4D7B-9617-CD1759DA0825}"/>
          </ac:spMkLst>
        </pc:spChg>
        <pc:spChg chg="mod">
          <ac:chgData name="Ugo MANTEL" userId="2d5b7065-31bb-4181-a7f8-a73bf0c30211" providerId="ADAL" clId="{F05BB0D5-3454-45DC-8378-DA45B79D9A06}" dt="2020-10-02T13:04:32.350" v="1248" actId="790"/>
          <ac:spMkLst>
            <pc:docMk/>
            <pc:sldMk cId="2927211765" sldId="6835"/>
            <ac:spMk id="224" creationId="{599B4266-6415-47D4-B68E-AEF8DB1B5988}"/>
          </ac:spMkLst>
        </pc:spChg>
        <pc:spChg chg="mod">
          <ac:chgData name="Ugo MANTEL" userId="2d5b7065-31bb-4181-a7f8-a73bf0c30211" providerId="ADAL" clId="{F05BB0D5-3454-45DC-8378-DA45B79D9A06}" dt="2020-10-02T13:04:32.350" v="1249" actId="790"/>
          <ac:spMkLst>
            <pc:docMk/>
            <pc:sldMk cId="2927211765" sldId="6835"/>
            <ac:spMk id="225" creationId="{4CA5D0D9-750A-44A8-A02E-13A1E9DEA31F}"/>
          </ac:spMkLst>
        </pc:spChg>
        <pc:spChg chg="mod">
          <ac:chgData name="Ugo MANTEL" userId="2d5b7065-31bb-4181-a7f8-a73bf0c30211" providerId="ADAL" clId="{F05BB0D5-3454-45DC-8378-DA45B79D9A06}" dt="2020-10-02T13:04:32.351" v="1250" actId="790"/>
          <ac:spMkLst>
            <pc:docMk/>
            <pc:sldMk cId="2927211765" sldId="6835"/>
            <ac:spMk id="227" creationId="{8581ACF1-3446-47C2-B9CE-7FFADC65EC59}"/>
          </ac:spMkLst>
        </pc:spChg>
        <pc:spChg chg="mod">
          <ac:chgData name="Ugo MANTEL" userId="2d5b7065-31bb-4181-a7f8-a73bf0c30211" providerId="ADAL" clId="{F05BB0D5-3454-45DC-8378-DA45B79D9A06}" dt="2020-10-02T13:04:32.352" v="1251" actId="790"/>
          <ac:spMkLst>
            <pc:docMk/>
            <pc:sldMk cId="2927211765" sldId="6835"/>
            <ac:spMk id="229" creationId="{0F0E7D5F-FC22-4ECE-8438-BE231A815C0F}"/>
          </ac:spMkLst>
        </pc:spChg>
        <pc:spChg chg="mod">
          <ac:chgData name="Ugo MANTEL" userId="2d5b7065-31bb-4181-a7f8-a73bf0c30211" providerId="ADAL" clId="{F05BB0D5-3454-45DC-8378-DA45B79D9A06}" dt="2020-10-02T13:04:32.356" v="1257" actId="790"/>
          <ac:spMkLst>
            <pc:docMk/>
            <pc:sldMk cId="2927211765" sldId="6835"/>
            <ac:spMk id="232" creationId="{A8314D43-926A-4941-B57A-59AE321A99DE}"/>
          </ac:spMkLst>
        </pc:spChg>
        <pc:spChg chg="mod">
          <ac:chgData name="Ugo MANTEL" userId="2d5b7065-31bb-4181-a7f8-a73bf0c30211" providerId="ADAL" clId="{F05BB0D5-3454-45DC-8378-DA45B79D9A06}" dt="2020-10-02T13:04:32.357" v="1258" actId="790"/>
          <ac:spMkLst>
            <pc:docMk/>
            <pc:sldMk cId="2927211765" sldId="6835"/>
            <ac:spMk id="234" creationId="{67EE934C-8973-4840-B1DB-C0A1B9BB5EE3}"/>
          </ac:spMkLst>
        </pc:spChg>
        <pc:spChg chg="mod">
          <ac:chgData name="Ugo MANTEL" userId="2d5b7065-31bb-4181-a7f8-a73bf0c30211" providerId="ADAL" clId="{F05BB0D5-3454-45DC-8378-DA45B79D9A06}" dt="2020-10-02T13:04:32.353" v="1252" actId="790"/>
          <ac:spMkLst>
            <pc:docMk/>
            <pc:sldMk cId="2927211765" sldId="6835"/>
            <ac:spMk id="237" creationId="{A855E23F-0231-42A6-B8F3-CF543432D0B5}"/>
          </ac:spMkLst>
        </pc:spChg>
        <pc:spChg chg="mod">
          <ac:chgData name="Ugo MANTEL" userId="2d5b7065-31bb-4181-a7f8-a73bf0c30211" providerId="ADAL" clId="{F05BB0D5-3454-45DC-8378-DA45B79D9A06}" dt="2020-10-02T13:04:32.354" v="1253" actId="790"/>
          <ac:spMkLst>
            <pc:docMk/>
            <pc:sldMk cId="2927211765" sldId="6835"/>
            <ac:spMk id="240" creationId="{47E99B7E-CAF0-4089-8DA1-DDCD634DA6C9}"/>
          </ac:spMkLst>
        </pc:spChg>
        <pc:spChg chg="mod">
          <ac:chgData name="Ugo MANTEL" userId="2d5b7065-31bb-4181-a7f8-a73bf0c30211" providerId="ADAL" clId="{F05BB0D5-3454-45DC-8378-DA45B79D9A06}" dt="2020-10-02T13:04:32.354" v="1254" actId="790"/>
          <ac:spMkLst>
            <pc:docMk/>
            <pc:sldMk cId="2927211765" sldId="6835"/>
            <ac:spMk id="242" creationId="{D6175021-0DDD-49E5-8A1C-1537E250095A}"/>
          </ac:spMkLst>
        </pc:spChg>
        <pc:spChg chg="mod">
          <ac:chgData name="Ugo MANTEL" userId="2d5b7065-31bb-4181-a7f8-a73bf0c30211" providerId="ADAL" clId="{F05BB0D5-3454-45DC-8378-DA45B79D9A06}" dt="2020-10-02T13:04:32.355" v="1255" actId="790"/>
          <ac:spMkLst>
            <pc:docMk/>
            <pc:sldMk cId="2927211765" sldId="6835"/>
            <ac:spMk id="246" creationId="{567F3135-D06F-4B1E-9CAD-65383C39E14D}"/>
          </ac:spMkLst>
        </pc:spChg>
        <pc:spChg chg="mod">
          <ac:chgData name="Ugo MANTEL" userId="2d5b7065-31bb-4181-a7f8-a73bf0c30211" providerId="ADAL" clId="{F05BB0D5-3454-45DC-8378-DA45B79D9A06}" dt="2020-10-02T13:04:32.344" v="1239" actId="790"/>
          <ac:spMkLst>
            <pc:docMk/>
            <pc:sldMk cId="2927211765" sldId="6835"/>
            <ac:spMk id="248" creationId="{4F9E61F9-311D-46D5-A160-1F7948CA264D}"/>
          </ac:spMkLst>
        </pc:spChg>
        <pc:spChg chg="mod">
          <ac:chgData name="Ugo MANTEL" userId="2d5b7065-31bb-4181-a7f8-a73bf0c30211" providerId="ADAL" clId="{F05BB0D5-3454-45DC-8378-DA45B79D9A06}" dt="2020-10-02T13:04:32.345" v="1240" actId="790"/>
          <ac:spMkLst>
            <pc:docMk/>
            <pc:sldMk cId="2927211765" sldId="6835"/>
            <ac:spMk id="252" creationId="{C70C4FEF-D574-4927-B44E-9FD29F879320}"/>
          </ac:spMkLst>
        </pc:spChg>
        <pc:spChg chg="mod">
          <ac:chgData name="Ugo MANTEL" userId="2d5b7065-31bb-4181-a7f8-a73bf0c30211" providerId="ADAL" clId="{F05BB0D5-3454-45DC-8378-DA45B79D9A06}" dt="2020-10-02T13:04:32.345" v="1241" actId="790"/>
          <ac:spMkLst>
            <pc:docMk/>
            <pc:sldMk cId="2927211765" sldId="6835"/>
            <ac:spMk id="254" creationId="{6E7DB5F7-5997-4EF9-8AB1-43FDE90DA213}"/>
          </ac:spMkLst>
        </pc:spChg>
        <pc:spChg chg="mod">
          <ac:chgData name="Ugo MANTEL" userId="2d5b7065-31bb-4181-a7f8-a73bf0c30211" providerId="ADAL" clId="{F05BB0D5-3454-45DC-8378-DA45B79D9A06}" dt="2020-10-02T13:04:32.356" v="1256" actId="790"/>
          <ac:spMkLst>
            <pc:docMk/>
            <pc:sldMk cId="2927211765" sldId="6835"/>
            <ac:spMk id="280" creationId="{DB6F4D24-B879-4077-8B38-003B291E0E59}"/>
          </ac:spMkLst>
        </pc:spChg>
        <pc:spChg chg="mod">
          <ac:chgData name="Ugo MANTEL" userId="2d5b7065-31bb-4181-a7f8-a73bf0c30211" providerId="ADAL" clId="{F05BB0D5-3454-45DC-8378-DA45B79D9A06}" dt="2020-10-02T13:04:32.346" v="1242" actId="790"/>
          <ac:spMkLst>
            <pc:docMk/>
            <pc:sldMk cId="2927211765" sldId="6835"/>
            <ac:spMk id="292" creationId="{C568D294-CB60-46DB-9617-13372F53DCEE}"/>
          </ac:spMkLst>
        </pc:spChg>
        <pc:spChg chg="mod">
          <ac:chgData name="Ugo MANTEL" userId="2d5b7065-31bb-4181-a7f8-a73bf0c30211" providerId="ADAL" clId="{F05BB0D5-3454-45DC-8378-DA45B79D9A06}" dt="2020-10-02T13:04:32.347" v="1243" actId="790"/>
          <ac:spMkLst>
            <pc:docMk/>
            <pc:sldMk cId="2927211765" sldId="6835"/>
            <ac:spMk id="293" creationId="{002D3C69-5969-4ADF-B939-82521DC7E279}"/>
          </ac:spMkLst>
        </pc:spChg>
        <pc:spChg chg="mod">
          <ac:chgData name="Ugo MANTEL" userId="2d5b7065-31bb-4181-a7f8-a73bf0c30211" providerId="ADAL" clId="{F05BB0D5-3454-45DC-8378-DA45B79D9A06}" dt="2020-10-02T13:04:32.347" v="1244" actId="790"/>
          <ac:spMkLst>
            <pc:docMk/>
            <pc:sldMk cId="2927211765" sldId="6835"/>
            <ac:spMk id="294" creationId="{0C35DF2E-788D-4B21-B7CE-1D345013BF86}"/>
          </ac:spMkLst>
        </pc:spChg>
        <pc:spChg chg="mod">
          <ac:chgData name="Ugo MANTEL" userId="2d5b7065-31bb-4181-a7f8-a73bf0c30211" providerId="ADAL" clId="{F05BB0D5-3454-45DC-8378-DA45B79D9A06}" dt="2020-10-02T13:04:32.348" v="1245" actId="790"/>
          <ac:spMkLst>
            <pc:docMk/>
            <pc:sldMk cId="2927211765" sldId="6835"/>
            <ac:spMk id="295" creationId="{7B475750-2ABA-4109-BF91-F1B659972F36}"/>
          </ac:spMkLst>
        </pc:spChg>
        <pc:spChg chg="mod">
          <ac:chgData name="Ugo MANTEL" userId="2d5b7065-31bb-4181-a7f8-a73bf0c30211" providerId="ADAL" clId="{F05BB0D5-3454-45DC-8378-DA45B79D9A06}" dt="2020-10-02T13:04:32.349" v="1246" actId="790"/>
          <ac:spMkLst>
            <pc:docMk/>
            <pc:sldMk cId="2927211765" sldId="6835"/>
            <ac:spMk id="306" creationId="{96533D77-A89D-44D0-BC73-00F1ED52F1E7}"/>
          </ac:spMkLst>
        </pc:spChg>
      </pc:sldChg>
      <pc:sldChg chg="modSp mod">
        <pc:chgData name="Ugo MANTEL" userId="2d5b7065-31bb-4181-a7f8-a73bf0c30211" providerId="ADAL" clId="{F05BB0D5-3454-45DC-8378-DA45B79D9A06}" dt="2020-10-02T13:04:32.435" v="1350" actId="790"/>
        <pc:sldMkLst>
          <pc:docMk/>
          <pc:sldMk cId="2737421190" sldId="6836"/>
        </pc:sldMkLst>
        <pc:spChg chg="mod">
          <ac:chgData name="Ugo MANTEL" userId="2d5b7065-31bb-4181-a7f8-a73bf0c30211" providerId="ADAL" clId="{F05BB0D5-3454-45DC-8378-DA45B79D9A06}" dt="2020-10-02T13:04:32.393" v="1298" actId="790"/>
          <ac:spMkLst>
            <pc:docMk/>
            <pc:sldMk cId="2737421190" sldId="6836"/>
            <ac:spMk id="6" creationId="{1EA54DC4-147B-4B7F-938B-0B3F1BD1CCD0}"/>
          </ac:spMkLst>
        </pc:spChg>
        <pc:spChg chg="mod">
          <ac:chgData name="Ugo MANTEL" userId="2d5b7065-31bb-4181-a7f8-a73bf0c30211" providerId="ADAL" clId="{F05BB0D5-3454-45DC-8378-DA45B79D9A06}" dt="2020-10-02T13:04:32.426" v="1337" actId="790"/>
          <ac:spMkLst>
            <pc:docMk/>
            <pc:sldMk cId="2737421190" sldId="6836"/>
            <ac:spMk id="9" creationId="{94619076-507E-4BBC-9394-3683FA09AB73}"/>
          </ac:spMkLst>
        </pc:spChg>
        <pc:spChg chg="mod">
          <ac:chgData name="Ugo MANTEL" userId="2d5b7065-31bb-4181-a7f8-a73bf0c30211" providerId="ADAL" clId="{F05BB0D5-3454-45DC-8378-DA45B79D9A06}" dt="2020-10-02T13:04:32.423" v="1332" actId="790"/>
          <ac:spMkLst>
            <pc:docMk/>
            <pc:sldMk cId="2737421190" sldId="6836"/>
            <ac:spMk id="10" creationId="{AA214CEA-4596-4C70-A3B9-2C3612A14BB1}"/>
          </ac:spMkLst>
        </pc:spChg>
        <pc:spChg chg="mod">
          <ac:chgData name="Ugo MANTEL" userId="2d5b7065-31bb-4181-a7f8-a73bf0c30211" providerId="ADAL" clId="{F05BB0D5-3454-45DC-8378-DA45B79D9A06}" dt="2020-10-02T13:04:32.427" v="1338" actId="790"/>
          <ac:spMkLst>
            <pc:docMk/>
            <pc:sldMk cId="2737421190" sldId="6836"/>
            <ac:spMk id="11" creationId="{46B07244-45F0-4543-91C0-6A0C3AEF9EA7}"/>
          </ac:spMkLst>
        </pc:spChg>
        <pc:spChg chg="mod">
          <ac:chgData name="Ugo MANTEL" userId="2d5b7065-31bb-4181-a7f8-a73bf0c30211" providerId="ADAL" clId="{F05BB0D5-3454-45DC-8378-DA45B79D9A06}" dt="2020-10-02T13:04:32.394" v="1299" actId="790"/>
          <ac:spMkLst>
            <pc:docMk/>
            <pc:sldMk cId="2737421190" sldId="6836"/>
            <ac:spMk id="14" creationId="{44FB9787-3E28-41ED-A475-DBC2383B2C18}"/>
          </ac:spMkLst>
        </pc:spChg>
        <pc:spChg chg="mod">
          <ac:chgData name="Ugo MANTEL" userId="2d5b7065-31bb-4181-a7f8-a73bf0c30211" providerId="ADAL" clId="{F05BB0D5-3454-45DC-8378-DA45B79D9A06}" dt="2020-10-02T13:04:32.394" v="1300" actId="790"/>
          <ac:spMkLst>
            <pc:docMk/>
            <pc:sldMk cId="2737421190" sldId="6836"/>
            <ac:spMk id="16" creationId="{5AE8460A-ED69-4BA7-A899-C6250D686549}"/>
          </ac:spMkLst>
        </pc:spChg>
        <pc:spChg chg="mod">
          <ac:chgData name="Ugo MANTEL" userId="2d5b7065-31bb-4181-a7f8-a73bf0c30211" providerId="ADAL" clId="{F05BB0D5-3454-45DC-8378-DA45B79D9A06}" dt="2020-10-02T13:04:32.409" v="1315" actId="790"/>
          <ac:spMkLst>
            <pc:docMk/>
            <pc:sldMk cId="2737421190" sldId="6836"/>
            <ac:spMk id="17" creationId="{7C98EFD6-DC82-495E-BCC6-8355A6F2C765}"/>
          </ac:spMkLst>
        </pc:spChg>
        <pc:spChg chg="mod">
          <ac:chgData name="Ugo MANTEL" userId="2d5b7065-31bb-4181-a7f8-a73bf0c30211" providerId="ADAL" clId="{F05BB0D5-3454-45DC-8378-DA45B79D9A06}" dt="2020-10-02T13:04:32.387" v="1295" actId="790"/>
          <ac:spMkLst>
            <pc:docMk/>
            <pc:sldMk cId="2737421190" sldId="6836"/>
            <ac:spMk id="41" creationId="{CD70BF0C-466B-4172-8244-CA8BE9C0B020}"/>
          </ac:spMkLst>
        </pc:spChg>
        <pc:spChg chg="mod">
          <ac:chgData name="Ugo MANTEL" userId="2d5b7065-31bb-4181-a7f8-a73bf0c30211" providerId="ADAL" clId="{F05BB0D5-3454-45DC-8378-DA45B79D9A06}" dt="2020-10-02T13:04:32.392" v="1297" actId="790"/>
          <ac:spMkLst>
            <pc:docMk/>
            <pc:sldMk cId="2737421190" sldId="6836"/>
            <ac:spMk id="64" creationId="{B5E190BF-AD57-4F4C-BA48-D1AD7F122BD6}"/>
          </ac:spMkLst>
        </pc:spChg>
        <pc:spChg chg="mod">
          <ac:chgData name="Ugo MANTEL" userId="2d5b7065-31bb-4181-a7f8-a73bf0c30211" providerId="ADAL" clId="{F05BB0D5-3454-45DC-8378-DA45B79D9A06}" dt="2020-10-02T13:04:32.408" v="1313" actId="790"/>
          <ac:spMkLst>
            <pc:docMk/>
            <pc:sldMk cId="2737421190" sldId="6836"/>
            <ac:spMk id="87" creationId="{43C8CC99-08A8-462F-8ED2-69D617FDCCEF}"/>
          </ac:spMkLst>
        </pc:spChg>
        <pc:spChg chg="mod">
          <ac:chgData name="Ugo MANTEL" userId="2d5b7065-31bb-4181-a7f8-a73bf0c30211" providerId="ADAL" clId="{F05BB0D5-3454-45DC-8378-DA45B79D9A06}" dt="2020-10-02T13:04:32.423" v="1333" actId="790"/>
          <ac:spMkLst>
            <pc:docMk/>
            <pc:sldMk cId="2737421190" sldId="6836"/>
            <ac:spMk id="88" creationId="{5B12BEB8-4B78-445A-976D-8CC641C8F3D4}"/>
          </ac:spMkLst>
        </pc:spChg>
        <pc:spChg chg="mod">
          <ac:chgData name="Ugo MANTEL" userId="2d5b7065-31bb-4181-a7f8-a73bf0c30211" providerId="ADAL" clId="{F05BB0D5-3454-45DC-8378-DA45B79D9A06}" dt="2020-10-02T13:04:32.420" v="1328" actId="790"/>
          <ac:spMkLst>
            <pc:docMk/>
            <pc:sldMk cId="2737421190" sldId="6836"/>
            <ac:spMk id="89" creationId="{A973BE9A-E01F-45CE-AECA-6C9AA0D3E195}"/>
          </ac:spMkLst>
        </pc:spChg>
        <pc:spChg chg="mod">
          <ac:chgData name="Ugo MANTEL" userId="2d5b7065-31bb-4181-a7f8-a73bf0c30211" providerId="ADAL" clId="{F05BB0D5-3454-45DC-8378-DA45B79D9A06}" dt="2020-10-02T13:04:32.417" v="1325" actId="790"/>
          <ac:spMkLst>
            <pc:docMk/>
            <pc:sldMk cId="2737421190" sldId="6836"/>
            <ac:spMk id="90" creationId="{0FB3D06D-4368-46CF-98FF-CA94E8F8D634}"/>
          </ac:spMkLst>
        </pc:spChg>
        <pc:spChg chg="mod">
          <ac:chgData name="Ugo MANTEL" userId="2d5b7065-31bb-4181-a7f8-a73bf0c30211" providerId="ADAL" clId="{F05BB0D5-3454-45DC-8378-DA45B79D9A06}" dt="2020-10-02T13:04:32.407" v="1312" actId="790"/>
          <ac:spMkLst>
            <pc:docMk/>
            <pc:sldMk cId="2737421190" sldId="6836"/>
            <ac:spMk id="91" creationId="{D9E4824A-040E-451B-A9C6-3E20121B25F4}"/>
          </ac:spMkLst>
        </pc:spChg>
        <pc:spChg chg="mod">
          <ac:chgData name="Ugo MANTEL" userId="2d5b7065-31bb-4181-a7f8-a73bf0c30211" providerId="ADAL" clId="{F05BB0D5-3454-45DC-8378-DA45B79D9A06}" dt="2020-10-02T13:04:32.420" v="1329" actId="790"/>
          <ac:spMkLst>
            <pc:docMk/>
            <pc:sldMk cId="2737421190" sldId="6836"/>
            <ac:spMk id="92" creationId="{2B39AA6C-1069-4163-8271-79DE3A3D8E20}"/>
          </ac:spMkLst>
        </pc:spChg>
        <pc:spChg chg="mod">
          <ac:chgData name="Ugo MANTEL" userId="2d5b7065-31bb-4181-a7f8-a73bf0c30211" providerId="ADAL" clId="{F05BB0D5-3454-45DC-8378-DA45B79D9A06}" dt="2020-10-02T13:04:32.421" v="1330" actId="790"/>
          <ac:spMkLst>
            <pc:docMk/>
            <pc:sldMk cId="2737421190" sldId="6836"/>
            <ac:spMk id="93" creationId="{DF06CF54-CA82-4979-B8B0-C70D890EF10B}"/>
          </ac:spMkLst>
        </pc:spChg>
        <pc:spChg chg="mod">
          <ac:chgData name="Ugo MANTEL" userId="2d5b7065-31bb-4181-a7f8-a73bf0c30211" providerId="ADAL" clId="{F05BB0D5-3454-45DC-8378-DA45B79D9A06}" dt="2020-10-02T13:04:32.422" v="1331" actId="790"/>
          <ac:spMkLst>
            <pc:docMk/>
            <pc:sldMk cId="2737421190" sldId="6836"/>
            <ac:spMk id="94" creationId="{A9F20762-EAA1-441D-8136-6C5DFDA84C20}"/>
          </ac:spMkLst>
        </pc:spChg>
        <pc:spChg chg="mod">
          <ac:chgData name="Ugo MANTEL" userId="2d5b7065-31bb-4181-a7f8-a73bf0c30211" providerId="ADAL" clId="{F05BB0D5-3454-45DC-8378-DA45B79D9A06}" dt="2020-10-02T13:04:32.418" v="1326" actId="790"/>
          <ac:spMkLst>
            <pc:docMk/>
            <pc:sldMk cId="2737421190" sldId="6836"/>
            <ac:spMk id="95" creationId="{8AA90301-9CFF-40D5-9DBA-1DB0B366CC2C}"/>
          </ac:spMkLst>
        </pc:spChg>
        <pc:spChg chg="mod">
          <ac:chgData name="Ugo MANTEL" userId="2d5b7065-31bb-4181-a7f8-a73bf0c30211" providerId="ADAL" clId="{F05BB0D5-3454-45DC-8378-DA45B79D9A06}" dt="2020-10-02T13:04:32.406" v="1310" actId="790"/>
          <ac:spMkLst>
            <pc:docMk/>
            <pc:sldMk cId="2737421190" sldId="6836"/>
            <ac:spMk id="96" creationId="{C6FC74A9-11FB-4A5F-BAF5-251E8AF98C08}"/>
          </ac:spMkLst>
        </pc:spChg>
        <pc:spChg chg="mod">
          <ac:chgData name="Ugo MANTEL" userId="2d5b7065-31bb-4181-a7f8-a73bf0c30211" providerId="ADAL" clId="{F05BB0D5-3454-45DC-8378-DA45B79D9A06}" dt="2020-10-02T13:04:32.419" v="1327" actId="790"/>
          <ac:spMkLst>
            <pc:docMk/>
            <pc:sldMk cId="2737421190" sldId="6836"/>
            <ac:spMk id="97" creationId="{C02771E9-7E16-4B8C-BBB7-C6C8966AD4C9}"/>
          </ac:spMkLst>
        </pc:spChg>
        <pc:spChg chg="mod">
          <ac:chgData name="Ugo MANTEL" userId="2d5b7065-31bb-4181-a7f8-a73bf0c30211" providerId="ADAL" clId="{F05BB0D5-3454-45DC-8378-DA45B79D9A06}" dt="2020-10-02T13:04:32.424" v="1334" actId="790"/>
          <ac:spMkLst>
            <pc:docMk/>
            <pc:sldMk cId="2737421190" sldId="6836"/>
            <ac:spMk id="104" creationId="{B8806A2C-4890-4245-9921-00DCA32737E9}"/>
          </ac:spMkLst>
        </pc:spChg>
        <pc:spChg chg="mod">
          <ac:chgData name="Ugo MANTEL" userId="2d5b7065-31bb-4181-a7f8-a73bf0c30211" providerId="ADAL" clId="{F05BB0D5-3454-45DC-8378-DA45B79D9A06}" dt="2020-10-02T13:04:32.425" v="1335" actId="790"/>
          <ac:spMkLst>
            <pc:docMk/>
            <pc:sldMk cId="2737421190" sldId="6836"/>
            <ac:spMk id="105" creationId="{F92AD843-3E68-4C45-8604-12A9F1BE7A27}"/>
          </ac:spMkLst>
        </pc:spChg>
        <pc:spChg chg="mod">
          <ac:chgData name="Ugo MANTEL" userId="2d5b7065-31bb-4181-a7f8-a73bf0c30211" providerId="ADAL" clId="{F05BB0D5-3454-45DC-8378-DA45B79D9A06}" dt="2020-10-02T13:04:32.425" v="1336" actId="790"/>
          <ac:spMkLst>
            <pc:docMk/>
            <pc:sldMk cId="2737421190" sldId="6836"/>
            <ac:spMk id="106" creationId="{7BB589D6-8719-4EC6-AC16-440173C11EA1}"/>
          </ac:spMkLst>
        </pc:spChg>
        <pc:spChg chg="mod">
          <ac:chgData name="Ugo MANTEL" userId="2d5b7065-31bb-4181-a7f8-a73bf0c30211" providerId="ADAL" clId="{F05BB0D5-3454-45DC-8378-DA45B79D9A06}" dt="2020-10-02T13:04:32.396" v="1301" actId="790"/>
          <ac:spMkLst>
            <pc:docMk/>
            <pc:sldMk cId="2737421190" sldId="6836"/>
            <ac:spMk id="112" creationId="{01FD697C-AFC0-441F-B1C6-EE2F371F4906}"/>
          </ac:spMkLst>
        </pc:spChg>
        <pc:spChg chg="mod">
          <ac:chgData name="Ugo MANTEL" userId="2d5b7065-31bb-4181-a7f8-a73bf0c30211" providerId="ADAL" clId="{F05BB0D5-3454-45DC-8378-DA45B79D9A06}" dt="2020-10-02T13:04:32.396" v="1302" actId="790"/>
          <ac:spMkLst>
            <pc:docMk/>
            <pc:sldMk cId="2737421190" sldId="6836"/>
            <ac:spMk id="113" creationId="{8C96269F-50D3-40AE-9C86-6F7E243F29ED}"/>
          </ac:spMkLst>
        </pc:spChg>
        <pc:spChg chg="mod">
          <ac:chgData name="Ugo MANTEL" userId="2d5b7065-31bb-4181-a7f8-a73bf0c30211" providerId="ADAL" clId="{F05BB0D5-3454-45DC-8378-DA45B79D9A06}" dt="2020-10-02T13:04:32.398" v="1303" actId="790"/>
          <ac:spMkLst>
            <pc:docMk/>
            <pc:sldMk cId="2737421190" sldId="6836"/>
            <ac:spMk id="114" creationId="{9A621606-4CC2-45A4-9B9A-8E922AA46F41}"/>
          </ac:spMkLst>
        </pc:spChg>
        <pc:spChg chg="mod">
          <ac:chgData name="Ugo MANTEL" userId="2d5b7065-31bb-4181-a7f8-a73bf0c30211" providerId="ADAL" clId="{F05BB0D5-3454-45DC-8378-DA45B79D9A06}" dt="2020-10-02T13:04:32.399" v="1304" actId="790"/>
          <ac:spMkLst>
            <pc:docMk/>
            <pc:sldMk cId="2737421190" sldId="6836"/>
            <ac:spMk id="115" creationId="{F319AFE6-1D70-42B1-98C5-2B9E2D59FE70}"/>
          </ac:spMkLst>
        </pc:spChg>
        <pc:spChg chg="mod">
          <ac:chgData name="Ugo MANTEL" userId="2d5b7065-31bb-4181-a7f8-a73bf0c30211" providerId="ADAL" clId="{F05BB0D5-3454-45DC-8378-DA45B79D9A06}" dt="2020-10-02T13:04:32.400" v="1305" actId="790"/>
          <ac:spMkLst>
            <pc:docMk/>
            <pc:sldMk cId="2737421190" sldId="6836"/>
            <ac:spMk id="116" creationId="{7B693E39-C107-4F66-8E42-F696402F1F7A}"/>
          </ac:spMkLst>
        </pc:spChg>
        <pc:spChg chg="mod">
          <ac:chgData name="Ugo MANTEL" userId="2d5b7065-31bb-4181-a7f8-a73bf0c30211" providerId="ADAL" clId="{F05BB0D5-3454-45DC-8378-DA45B79D9A06}" dt="2020-10-02T13:04:32.400" v="1306" actId="790"/>
          <ac:spMkLst>
            <pc:docMk/>
            <pc:sldMk cId="2737421190" sldId="6836"/>
            <ac:spMk id="117" creationId="{043C8EB5-F1FD-4BB6-8793-A55D8659061E}"/>
          </ac:spMkLst>
        </pc:spChg>
        <pc:spChg chg="mod">
          <ac:chgData name="Ugo MANTEL" userId="2d5b7065-31bb-4181-a7f8-a73bf0c30211" providerId="ADAL" clId="{F05BB0D5-3454-45DC-8378-DA45B79D9A06}" dt="2020-10-02T13:04:32.401" v="1307" actId="790"/>
          <ac:spMkLst>
            <pc:docMk/>
            <pc:sldMk cId="2737421190" sldId="6836"/>
            <ac:spMk id="118" creationId="{C13BF61D-702D-451A-92F2-240F90156D03}"/>
          </ac:spMkLst>
        </pc:spChg>
        <pc:spChg chg="mod">
          <ac:chgData name="Ugo MANTEL" userId="2d5b7065-31bb-4181-a7f8-a73bf0c30211" providerId="ADAL" clId="{F05BB0D5-3454-45DC-8378-DA45B79D9A06}" dt="2020-10-02T13:04:32.402" v="1308" actId="790"/>
          <ac:spMkLst>
            <pc:docMk/>
            <pc:sldMk cId="2737421190" sldId="6836"/>
            <ac:spMk id="121" creationId="{29E8C345-4C8C-4342-B2DD-EF12342F82FB}"/>
          </ac:spMkLst>
        </pc:spChg>
        <pc:spChg chg="mod">
          <ac:chgData name="Ugo MANTEL" userId="2d5b7065-31bb-4181-a7f8-a73bf0c30211" providerId="ADAL" clId="{F05BB0D5-3454-45DC-8378-DA45B79D9A06}" dt="2020-10-02T13:04:32.410" v="1317" actId="790"/>
          <ac:spMkLst>
            <pc:docMk/>
            <pc:sldMk cId="2737421190" sldId="6836"/>
            <ac:spMk id="123" creationId="{2A9B461F-8A97-49CA-85B7-77B4080060B9}"/>
          </ac:spMkLst>
        </pc:spChg>
        <pc:spChg chg="mod">
          <ac:chgData name="Ugo MANTEL" userId="2d5b7065-31bb-4181-a7f8-a73bf0c30211" providerId="ADAL" clId="{F05BB0D5-3454-45DC-8378-DA45B79D9A06}" dt="2020-10-02T13:04:32.412" v="1320" actId="790"/>
          <ac:spMkLst>
            <pc:docMk/>
            <pc:sldMk cId="2737421190" sldId="6836"/>
            <ac:spMk id="124" creationId="{0D3A1367-BDEB-41AD-950B-BD37B5215F7C}"/>
          </ac:spMkLst>
        </pc:spChg>
        <pc:spChg chg="mod">
          <ac:chgData name="Ugo MANTEL" userId="2d5b7065-31bb-4181-a7f8-a73bf0c30211" providerId="ADAL" clId="{F05BB0D5-3454-45DC-8378-DA45B79D9A06}" dt="2020-10-02T13:04:32.411" v="1318" actId="790"/>
          <ac:spMkLst>
            <pc:docMk/>
            <pc:sldMk cId="2737421190" sldId="6836"/>
            <ac:spMk id="127" creationId="{0B648282-26D2-4C3C-BF36-14E572B1AF82}"/>
          </ac:spMkLst>
        </pc:spChg>
        <pc:spChg chg="mod">
          <ac:chgData name="Ugo MANTEL" userId="2d5b7065-31bb-4181-a7f8-a73bf0c30211" providerId="ADAL" clId="{F05BB0D5-3454-45DC-8378-DA45B79D9A06}" dt="2020-10-02T13:04:32.413" v="1321" actId="790"/>
          <ac:spMkLst>
            <pc:docMk/>
            <pc:sldMk cId="2737421190" sldId="6836"/>
            <ac:spMk id="128" creationId="{A41C9AD9-5812-481F-A309-1F7D79F79DA1}"/>
          </ac:spMkLst>
        </pc:spChg>
        <pc:spChg chg="mod">
          <ac:chgData name="Ugo MANTEL" userId="2d5b7065-31bb-4181-a7f8-a73bf0c30211" providerId="ADAL" clId="{F05BB0D5-3454-45DC-8378-DA45B79D9A06}" dt="2020-10-02T13:04:32.427" v="1339" actId="790"/>
          <ac:spMkLst>
            <pc:docMk/>
            <pc:sldMk cId="2737421190" sldId="6836"/>
            <ac:spMk id="133" creationId="{6A336E35-1326-4CFE-9C2E-9C3078D1D378}"/>
          </ac:spMkLst>
        </pc:spChg>
        <pc:spChg chg="mod">
          <ac:chgData name="Ugo MANTEL" userId="2d5b7065-31bb-4181-a7f8-a73bf0c30211" providerId="ADAL" clId="{F05BB0D5-3454-45DC-8378-DA45B79D9A06}" dt="2020-10-02T13:04:32.411" v="1319" actId="790"/>
          <ac:spMkLst>
            <pc:docMk/>
            <pc:sldMk cId="2737421190" sldId="6836"/>
            <ac:spMk id="135" creationId="{2ECAAD0B-14DB-4D7D-BF3A-0768322098AB}"/>
          </ac:spMkLst>
        </pc:spChg>
        <pc:spChg chg="mod">
          <ac:chgData name="Ugo MANTEL" userId="2d5b7065-31bb-4181-a7f8-a73bf0c30211" providerId="ADAL" clId="{F05BB0D5-3454-45DC-8378-DA45B79D9A06}" dt="2020-10-02T13:04:32.413" v="1322" actId="790"/>
          <ac:spMkLst>
            <pc:docMk/>
            <pc:sldMk cId="2737421190" sldId="6836"/>
            <ac:spMk id="136" creationId="{B394A33D-0006-4D07-8224-9C77B018A978}"/>
          </ac:spMkLst>
        </pc:spChg>
        <pc:spChg chg="mod">
          <ac:chgData name="Ugo MANTEL" userId="2d5b7065-31bb-4181-a7f8-a73bf0c30211" providerId="ADAL" clId="{F05BB0D5-3454-45DC-8378-DA45B79D9A06}" dt="2020-10-02T13:04:32.435" v="1350" actId="790"/>
          <ac:spMkLst>
            <pc:docMk/>
            <pc:sldMk cId="2737421190" sldId="6836"/>
            <ac:spMk id="141" creationId="{9801455A-B649-4D11-8AB3-28E4D250358B}"/>
          </ac:spMkLst>
        </pc:spChg>
        <pc:spChg chg="mod">
          <ac:chgData name="Ugo MANTEL" userId="2d5b7065-31bb-4181-a7f8-a73bf0c30211" providerId="ADAL" clId="{F05BB0D5-3454-45DC-8378-DA45B79D9A06}" dt="2020-10-02T13:04:32.405" v="1309" actId="790"/>
          <ac:spMkLst>
            <pc:docMk/>
            <pc:sldMk cId="2737421190" sldId="6836"/>
            <ac:spMk id="145" creationId="{B50B2CF1-F99C-4911-B175-D59632AF89E9}"/>
          </ac:spMkLst>
        </pc:spChg>
        <pc:spChg chg="mod">
          <ac:chgData name="Ugo MANTEL" userId="2d5b7065-31bb-4181-a7f8-a73bf0c30211" providerId="ADAL" clId="{F05BB0D5-3454-45DC-8378-DA45B79D9A06}" dt="2020-10-02T13:04:32.406" v="1311" actId="790"/>
          <ac:spMkLst>
            <pc:docMk/>
            <pc:sldMk cId="2737421190" sldId="6836"/>
            <ac:spMk id="147" creationId="{E2DDA0D8-158D-4302-AA87-E11CC00993D1}"/>
          </ac:spMkLst>
        </pc:spChg>
        <pc:spChg chg="mod">
          <ac:chgData name="Ugo MANTEL" userId="2d5b7065-31bb-4181-a7f8-a73bf0c30211" providerId="ADAL" clId="{F05BB0D5-3454-45DC-8378-DA45B79D9A06}" dt="2020-10-02T13:04:32.428" v="1340" actId="790"/>
          <ac:spMkLst>
            <pc:docMk/>
            <pc:sldMk cId="2737421190" sldId="6836"/>
            <ac:spMk id="148" creationId="{5011469F-E603-48D4-95CD-C40BC5D5174B}"/>
          </ac:spMkLst>
        </pc:spChg>
        <pc:spChg chg="mod">
          <ac:chgData name="Ugo MANTEL" userId="2d5b7065-31bb-4181-a7f8-a73bf0c30211" providerId="ADAL" clId="{F05BB0D5-3454-45DC-8378-DA45B79D9A06}" dt="2020-10-02T13:04:32.410" v="1316" actId="790"/>
          <ac:spMkLst>
            <pc:docMk/>
            <pc:sldMk cId="2737421190" sldId="6836"/>
            <ac:spMk id="150" creationId="{FCFF3CE0-32B7-4E86-B5A2-214BAA56A562}"/>
          </ac:spMkLst>
        </pc:spChg>
        <pc:spChg chg="mod">
          <ac:chgData name="Ugo MANTEL" userId="2d5b7065-31bb-4181-a7f8-a73bf0c30211" providerId="ADAL" clId="{F05BB0D5-3454-45DC-8378-DA45B79D9A06}" dt="2020-10-02T13:04:32.408" v="1314" actId="790"/>
          <ac:spMkLst>
            <pc:docMk/>
            <pc:sldMk cId="2737421190" sldId="6836"/>
            <ac:spMk id="151" creationId="{A9A6BBC3-04CE-4E01-ABD9-0E181C1EB696}"/>
          </ac:spMkLst>
        </pc:spChg>
        <pc:spChg chg="mod">
          <ac:chgData name="Ugo MANTEL" userId="2d5b7065-31bb-4181-a7f8-a73bf0c30211" providerId="ADAL" clId="{F05BB0D5-3454-45DC-8378-DA45B79D9A06}" dt="2020-10-02T13:04:32.429" v="1341" actId="790"/>
          <ac:spMkLst>
            <pc:docMk/>
            <pc:sldMk cId="2737421190" sldId="6836"/>
            <ac:spMk id="175" creationId="{4ECA739E-C5EC-4F8F-AFDB-5D003E186FA1}"/>
          </ac:spMkLst>
        </pc:spChg>
        <pc:spChg chg="mod">
          <ac:chgData name="Ugo MANTEL" userId="2d5b7065-31bb-4181-a7f8-a73bf0c30211" providerId="ADAL" clId="{F05BB0D5-3454-45DC-8378-DA45B79D9A06}" dt="2020-10-02T13:04:32.415" v="1323" actId="790"/>
          <ac:spMkLst>
            <pc:docMk/>
            <pc:sldMk cId="2737421190" sldId="6836"/>
            <ac:spMk id="180" creationId="{3F42A485-8023-46B4-8315-53732FA819B4}"/>
          </ac:spMkLst>
        </pc:spChg>
        <pc:spChg chg="mod">
          <ac:chgData name="Ugo MANTEL" userId="2d5b7065-31bb-4181-a7f8-a73bf0c30211" providerId="ADAL" clId="{F05BB0D5-3454-45DC-8378-DA45B79D9A06}" dt="2020-10-02T13:04:32.416" v="1324" actId="790"/>
          <ac:spMkLst>
            <pc:docMk/>
            <pc:sldMk cId="2737421190" sldId="6836"/>
            <ac:spMk id="181" creationId="{D2322467-5B4D-417F-9A94-043005212697}"/>
          </ac:spMkLst>
        </pc:spChg>
        <pc:spChg chg="mod">
          <ac:chgData name="Ugo MANTEL" userId="2d5b7065-31bb-4181-a7f8-a73bf0c30211" providerId="ADAL" clId="{F05BB0D5-3454-45DC-8378-DA45B79D9A06}" dt="2020-10-02T13:04:32.388" v="1296" actId="790"/>
          <ac:spMkLst>
            <pc:docMk/>
            <pc:sldMk cId="2737421190" sldId="6836"/>
            <ac:spMk id="182" creationId="{E2919D47-00B5-4B12-932C-3A8AEE04C073}"/>
          </ac:spMkLst>
        </pc:spChg>
        <pc:spChg chg="mod">
          <ac:chgData name="Ugo MANTEL" userId="2d5b7065-31bb-4181-a7f8-a73bf0c30211" providerId="ADAL" clId="{F05BB0D5-3454-45DC-8378-DA45B79D9A06}" dt="2020-10-02T13:04:32.432" v="1345" actId="790"/>
          <ac:spMkLst>
            <pc:docMk/>
            <pc:sldMk cId="2737421190" sldId="6836"/>
            <ac:spMk id="184" creationId="{9CD1FEAE-D0BB-4DE0-B410-386EB2A3175F}"/>
          </ac:spMkLst>
        </pc:spChg>
        <pc:spChg chg="mod">
          <ac:chgData name="Ugo MANTEL" userId="2d5b7065-31bb-4181-a7f8-a73bf0c30211" providerId="ADAL" clId="{F05BB0D5-3454-45DC-8378-DA45B79D9A06}" dt="2020-10-02T13:04:32.430" v="1342" actId="790"/>
          <ac:spMkLst>
            <pc:docMk/>
            <pc:sldMk cId="2737421190" sldId="6836"/>
            <ac:spMk id="185" creationId="{BAF4ADB5-A785-4B80-AA5B-13CBEC439088}"/>
          </ac:spMkLst>
        </pc:spChg>
        <pc:spChg chg="mod">
          <ac:chgData name="Ugo MANTEL" userId="2d5b7065-31bb-4181-a7f8-a73bf0c30211" providerId="ADAL" clId="{F05BB0D5-3454-45DC-8378-DA45B79D9A06}" dt="2020-10-02T13:04:32.430" v="1343" actId="790"/>
          <ac:spMkLst>
            <pc:docMk/>
            <pc:sldMk cId="2737421190" sldId="6836"/>
            <ac:spMk id="186" creationId="{27118767-6A91-43DF-A49D-6B1D6195A78A}"/>
          </ac:spMkLst>
        </pc:spChg>
        <pc:spChg chg="mod">
          <ac:chgData name="Ugo MANTEL" userId="2d5b7065-31bb-4181-a7f8-a73bf0c30211" providerId="ADAL" clId="{F05BB0D5-3454-45DC-8378-DA45B79D9A06}" dt="2020-10-02T13:04:32.431" v="1344" actId="790"/>
          <ac:spMkLst>
            <pc:docMk/>
            <pc:sldMk cId="2737421190" sldId="6836"/>
            <ac:spMk id="189" creationId="{2FF413F8-E046-4753-9A86-3993F2413676}"/>
          </ac:spMkLst>
        </pc:spChg>
        <pc:spChg chg="mod">
          <ac:chgData name="Ugo MANTEL" userId="2d5b7065-31bb-4181-a7f8-a73bf0c30211" providerId="ADAL" clId="{F05BB0D5-3454-45DC-8378-DA45B79D9A06}" dt="2020-10-02T13:04:32.432" v="1346" actId="790"/>
          <ac:spMkLst>
            <pc:docMk/>
            <pc:sldMk cId="2737421190" sldId="6836"/>
            <ac:spMk id="190" creationId="{86B54037-BD5A-472B-BA75-17A10493575E}"/>
          </ac:spMkLst>
        </pc:spChg>
        <pc:spChg chg="mod">
          <ac:chgData name="Ugo MANTEL" userId="2d5b7065-31bb-4181-a7f8-a73bf0c30211" providerId="ADAL" clId="{F05BB0D5-3454-45DC-8378-DA45B79D9A06}" dt="2020-10-02T13:04:32.433" v="1347" actId="790"/>
          <ac:spMkLst>
            <pc:docMk/>
            <pc:sldMk cId="2737421190" sldId="6836"/>
            <ac:spMk id="191" creationId="{90F040FD-E0C0-4680-85F3-808659D8AD55}"/>
          </ac:spMkLst>
        </pc:spChg>
        <pc:spChg chg="mod">
          <ac:chgData name="Ugo MANTEL" userId="2d5b7065-31bb-4181-a7f8-a73bf0c30211" providerId="ADAL" clId="{F05BB0D5-3454-45DC-8378-DA45B79D9A06}" dt="2020-10-02T13:04:32.433" v="1348" actId="790"/>
          <ac:spMkLst>
            <pc:docMk/>
            <pc:sldMk cId="2737421190" sldId="6836"/>
            <ac:spMk id="192" creationId="{D9FAC6A3-1A53-4563-B5D8-8274E2A41AF9}"/>
          </ac:spMkLst>
        </pc:spChg>
        <pc:spChg chg="mod">
          <ac:chgData name="Ugo MANTEL" userId="2d5b7065-31bb-4181-a7f8-a73bf0c30211" providerId="ADAL" clId="{F05BB0D5-3454-45DC-8378-DA45B79D9A06}" dt="2020-10-02T13:04:32.434" v="1349" actId="790"/>
          <ac:spMkLst>
            <pc:docMk/>
            <pc:sldMk cId="2737421190" sldId="6836"/>
            <ac:spMk id="200" creationId="{5AA11C3C-2AC7-40A8-BA3C-2DAD19415FBE}"/>
          </ac:spMkLst>
        </pc:spChg>
      </pc:sldChg>
      <pc:sldChg chg="modSp del mod modTransition modShow">
        <pc:chgData name="Ugo MANTEL" userId="2d5b7065-31bb-4181-a7f8-a73bf0c30211" providerId="ADAL" clId="{F05BB0D5-3454-45DC-8378-DA45B79D9A06}" dt="2020-10-02T14:19:59.560" v="6885" actId="47"/>
        <pc:sldMkLst>
          <pc:docMk/>
          <pc:sldMk cId="3276717246" sldId="6849"/>
        </pc:sldMkLst>
        <pc:spChg chg="mod">
          <ac:chgData name="Ugo MANTEL" userId="2d5b7065-31bb-4181-a7f8-a73bf0c30211" providerId="ADAL" clId="{F05BB0D5-3454-45DC-8378-DA45B79D9A06}" dt="2020-10-02T07:37:47.976" v="67" actId="20577"/>
          <ac:spMkLst>
            <pc:docMk/>
            <pc:sldMk cId="3276717246" sldId="6849"/>
            <ac:spMk id="2" creationId="{7EFDEDFD-03EA-47F3-B974-1CACBD8FA6E2}"/>
          </ac:spMkLst>
        </pc:spChg>
        <pc:spChg chg="mod">
          <ac:chgData name="Ugo MANTEL" userId="2d5b7065-31bb-4181-a7f8-a73bf0c30211" providerId="ADAL" clId="{F05BB0D5-3454-45DC-8378-DA45B79D9A06}" dt="2020-10-02T13:04:35.308" v="4277" actId="790"/>
          <ac:spMkLst>
            <pc:docMk/>
            <pc:sldMk cId="3276717246" sldId="6849"/>
            <ac:spMk id="3" creationId="{4FF62979-614C-474A-8BAB-7BBEB6F4CE52}"/>
          </ac:spMkLst>
        </pc:spChg>
        <pc:spChg chg="mod">
          <ac:chgData name="Ugo MANTEL" userId="2d5b7065-31bb-4181-a7f8-a73bf0c30211" providerId="ADAL" clId="{F05BB0D5-3454-45DC-8378-DA45B79D9A06}" dt="2020-10-02T13:04:35.300" v="4274" actId="790"/>
          <ac:spMkLst>
            <pc:docMk/>
            <pc:sldMk cId="3276717246" sldId="6849"/>
            <ac:spMk id="4" creationId="{F854DCEF-5D09-4A27-9C10-DE41FAB26FCF}"/>
          </ac:spMkLst>
        </pc:spChg>
        <pc:spChg chg="mod">
          <ac:chgData name="Ugo MANTEL" userId="2d5b7065-31bb-4181-a7f8-a73bf0c30211" providerId="ADAL" clId="{F05BB0D5-3454-45DC-8378-DA45B79D9A06}" dt="2020-10-02T13:04:35.301" v="4275" actId="790"/>
          <ac:spMkLst>
            <pc:docMk/>
            <pc:sldMk cId="3276717246" sldId="6849"/>
            <ac:spMk id="5" creationId="{EAC0CC13-A429-4B1D-9536-6F719397E27C}"/>
          </ac:spMkLst>
        </pc:spChg>
        <pc:spChg chg="mod">
          <ac:chgData name="Ugo MANTEL" userId="2d5b7065-31bb-4181-a7f8-a73bf0c30211" providerId="ADAL" clId="{F05BB0D5-3454-45DC-8378-DA45B79D9A06}" dt="2020-10-02T13:04:35.310" v="4279" actId="790"/>
          <ac:spMkLst>
            <pc:docMk/>
            <pc:sldMk cId="3276717246" sldId="6849"/>
            <ac:spMk id="15" creationId="{0E55E92B-7D51-4A3A-BE3F-7DD2EE928B4D}"/>
          </ac:spMkLst>
        </pc:spChg>
        <pc:spChg chg="mod">
          <ac:chgData name="Ugo MANTEL" userId="2d5b7065-31bb-4181-a7f8-a73bf0c30211" providerId="ADAL" clId="{F05BB0D5-3454-45DC-8378-DA45B79D9A06}" dt="2020-10-02T13:04:35.310" v="4280" actId="790"/>
          <ac:spMkLst>
            <pc:docMk/>
            <pc:sldMk cId="3276717246" sldId="6849"/>
            <ac:spMk id="23" creationId="{F0CE2356-C5C6-4A20-9653-6B558BBA700F}"/>
          </ac:spMkLst>
        </pc:spChg>
        <pc:spChg chg="mod">
          <ac:chgData name="Ugo MANTEL" userId="2d5b7065-31bb-4181-a7f8-a73bf0c30211" providerId="ADAL" clId="{F05BB0D5-3454-45DC-8378-DA45B79D9A06}" dt="2020-10-02T13:04:35.311" v="4281" actId="790"/>
          <ac:spMkLst>
            <pc:docMk/>
            <pc:sldMk cId="3276717246" sldId="6849"/>
            <ac:spMk id="25" creationId="{0827E8EC-1FA3-49AB-83D1-166A31CA4B12}"/>
          </ac:spMkLst>
        </pc:spChg>
        <pc:spChg chg="mod">
          <ac:chgData name="Ugo MANTEL" userId="2d5b7065-31bb-4181-a7f8-a73bf0c30211" providerId="ADAL" clId="{F05BB0D5-3454-45DC-8378-DA45B79D9A06}" dt="2020-10-02T13:04:35.312" v="4282" actId="790"/>
          <ac:spMkLst>
            <pc:docMk/>
            <pc:sldMk cId="3276717246" sldId="6849"/>
            <ac:spMk id="27" creationId="{4046502C-733D-4492-9536-6251E4829624}"/>
          </ac:spMkLst>
        </pc:spChg>
        <pc:spChg chg="mod">
          <ac:chgData name="Ugo MANTEL" userId="2d5b7065-31bb-4181-a7f8-a73bf0c30211" providerId="ADAL" clId="{F05BB0D5-3454-45DC-8378-DA45B79D9A06}" dt="2020-10-02T13:04:35.313" v="4283" actId="790"/>
          <ac:spMkLst>
            <pc:docMk/>
            <pc:sldMk cId="3276717246" sldId="6849"/>
            <ac:spMk id="31" creationId="{7D46D9B6-B8A3-4AF7-A23E-1841E9E28D8D}"/>
          </ac:spMkLst>
        </pc:spChg>
        <pc:spChg chg="mod">
          <ac:chgData name="Ugo MANTEL" userId="2d5b7065-31bb-4181-a7f8-a73bf0c30211" providerId="ADAL" clId="{F05BB0D5-3454-45DC-8378-DA45B79D9A06}" dt="2020-10-02T13:04:35.314" v="4284" actId="790"/>
          <ac:spMkLst>
            <pc:docMk/>
            <pc:sldMk cId="3276717246" sldId="6849"/>
            <ac:spMk id="39" creationId="{CD2561CB-BFF6-4800-8BA8-924B176687A1}"/>
          </ac:spMkLst>
        </pc:spChg>
        <pc:spChg chg="mod">
          <ac:chgData name="Ugo MANTEL" userId="2d5b7065-31bb-4181-a7f8-a73bf0c30211" providerId="ADAL" clId="{F05BB0D5-3454-45DC-8378-DA45B79D9A06}" dt="2020-10-02T13:04:35.319" v="4288" actId="790"/>
          <ac:spMkLst>
            <pc:docMk/>
            <pc:sldMk cId="3276717246" sldId="6849"/>
            <ac:spMk id="41" creationId="{C656333A-12AB-4C8A-A78D-11F6ECDA5AA5}"/>
          </ac:spMkLst>
        </pc:spChg>
        <pc:spChg chg="mod">
          <ac:chgData name="Ugo MANTEL" userId="2d5b7065-31bb-4181-a7f8-a73bf0c30211" providerId="ADAL" clId="{F05BB0D5-3454-45DC-8378-DA45B79D9A06}" dt="2020-10-02T13:04:35.309" v="4278" actId="790"/>
          <ac:spMkLst>
            <pc:docMk/>
            <pc:sldMk cId="3276717246" sldId="6849"/>
            <ac:spMk id="46" creationId="{D68C3AE6-51A5-4DF8-A2CF-7E7EDC1C56DE}"/>
          </ac:spMkLst>
        </pc:spChg>
        <pc:spChg chg="mod">
          <ac:chgData name="Ugo MANTEL" userId="2d5b7065-31bb-4181-a7f8-a73bf0c30211" providerId="ADAL" clId="{F05BB0D5-3454-45DC-8378-DA45B79D9A06}" dt="2020-10-02T13:04:35.315" v="4285" actId="790"/>
          <ac:spMkLst>
            <pc:docMk/>
            <pc:sldMk cId="3276717246" sldId="6849"/>
            <ac:spMk id="59" creationId="{10D9F9C1-E9C5-45C8-A49A-314E0F24DF18}"/>
          </ac:spMkLst>
        </pc:spChg>
        <pc:spChg chg="mod">
          <ac:chgData name="Ugo MANTEL" userId="2d5b7065-31bb-4181-a7f8-a73bf0c30211" providerId="ADAL" clId="{F05BB0D5-3454-45DC-8378-DA45B79D9A06}" dt="2020-10-02T13:04:35.316" v="4286" actId="790"/>
          <ac:spMkLst>
            <pc:docMk/>
            <pc:sldMk cId="3276717246" sldId="6849"/>
            <ac:spMk id="63" creationId="{9D8F770D-F6E7-44B0-889F-175908BB5270}"/>
          </ac:spMkLst>
        </pc:spChg>
        <pc:spChg chg="mod">
          <ac:chgData name="Ugo MANTEL" userId="2d5b7065-31bb-4181-a7f8-a73bf0c30211" providerId="ADAL" clId="{F05BB0D5-3454-45DC-8378-DA45B79D9A06}" dt="2020-10-02T13:04:35.317" v="4287" actId="790"/>
          <ac:spMkLst>
            <pc:docMk/>
            <pc:sldMk cId="3276717246" sldId="6849"/>
            <ac:spMk id="65" creationId="{FB2E2AB6-6549-4EE3-85DD-6A07ED6FB51F}"/>
          </ac:spMkLst>
        </pc:spChg>
        <pc:spChg chg="mod">
          <ac:chgData name="Ugo MANTEL" userId="2d5b7065-31bb-4181-a7f8-a73bf0c30211" providerId="ADAL" clId="{F05BB0D5-3454-45DC-8378-DA45B79D9A06}" dt="2020-10-02T13:04:35.305" v="4276" actId="790"/>
          <ac:spMkLst>
            <pc:docMk/>
            <pc:sldMk cId="3276717246" sldId="6849"/>
            <ac:spMk id="66" creationId="{DDE8E6A5-D9C2-4569-8B2E-FFD8F8BC53C1}"/>
          </ac:spMkLst>
        </pc:spChg>
        <pc:spChg chg="mod">
          <ac:chgData name="Ugo MANTEL" userId="2d5b7065-31bb-4181-a7f8-a73bf0c30211" providerId="ADAL" clId="{F05BB0D5-3454-45DC-8378-DA45B79D9A06}" dt="2020-10-02T13:04:35.321" v="4289" actId="790"/>
          <ac:spMkLst>
            <pc:docMk/>
            <pc:sldMk cId="3276717246" sldId="6849"/>
            <ac:spMk id="72" creationId="{7E4C8252-40E9-45C5-94ED-D3B11CF14D4C}"/>
          </ac:spMkLst>
        </pc:spChg>
        <pc:spChg chg="mod">
          <ac:chgData name="Ugo MANTEL" userId="2d5b7065-31bb-4181-a7f8-a73bf0c30211" providerId="ADAL" clId="{F05BB0D5-3454-45DC-8378-DA45B79D9A06}" dt="2020-10-02T13:04:35.322" v="4290" actId="790"/>
          <ac:spMkLst>
            <pc:docMk/>
            <pc:sldMk cId="3276717246" sldId="6849"/>
            <ac:spMk id="73" creationId="{C1BAA6AB-1E51-486E-881C-7A78A725FC84}"/>
          </ac:spMkLst>
        </pc:spChg>
        <pc:spChg chg="mod">
          <ac:chgData name="Ugo MANTEL" userId="2d5b7065-31bb-4181-a7f8-a73bf0c30211" providerId="ADAL" clId="{F05BB0D5-3454-45DC-8378-DA45B79D9A06}" dt="2020-10-02T13:04:35.322" v="4291" actId="790"/>
          <ac:spMkLst>
            <pc:docMk/>
            <pc:sldMk cId="3276717246" sldId="6849"/>
            <ac:spMk id="74" creationId="{53ECC8DA-3D52-4589-81FC-7766EBAA3581}"/>
          </ac:spMkLst>
        </pc:spChg>
        <pc:spChg chg="mod">
          <ac:chgData name="Ugo MANTEL" userId="2d5b7065-31bb-4181-a7f8-a73bf0c30211" providerId="ADAL" clId="{F05BB0D5-3454-45DC-8378-DA45B79D9A06}" dt="2020-10-02T13:04:35.323" v="4292" actId="790"/>
          <ac:spMkLst>
            <pc:docMk/>
            <pc:sldMk cId="3276717246" sldId="6849"/>
            <ac:spMk id="75" creationId="{44A0FF8D-04F2-48DC-AA0B-8F064DEBE56C}"/>
          </ac:spMkLst>
        </pc:spChg>
        <pc:spChg chg="mod">
          <ac:chgData name="Ugo MANTEL" userId="2d5b7065-31bb-4181-a7f8-a73bf0c30211" providerId="ADAL" clId="{F05BB0D5-3454-45DC-8378-DA45B79D9A06}" dt="2020-10-02T13:04:35.324" v="4293" actId="790"/>
          <ac:spMkLst>
            <pc:docMk/>
            <pc:sldMk cId="3276717246" sldId="6849"/>
            <ac:spMk id="80" creationId="{3EAF1267-16C4-49CB-8BBE-01A8E9B87D07}"/>
          </ac:spMkLst>
        </pc:spChg>
        <pc:graphicFrameChg chg="mod">
          <ac:chgData name="Ugo MANTEL" userId="2d5b7065-31bb-4181-a7f8-a73bf0c30211" providerId="ADAL" clId="{F05BB0D5-3454-45DC-8378-DA45B79D9A06}" dt="2020-10-02T07:37:48.485" v="69"/>
          <ac:graphicFrameMkLst>
            <pc:docMk/>
            <pc:sldMk cId="3276717246" sldId="6849"/>
            <ac:graphicFrameMk id="6" creationId="{AD8A8315-ACB0-4AFA-BDAB-ACE3EE7940F9}"/>
          </ac:graphicFrameMkLst>
        </pc:graphicFrameChg>
      </pc:sldChg>
      <pc:sldChg chg="modSp mod">
        <pc:chgData name="Ugo MANTEL" userId="2d5b7065-31bb-4181-a7f8-a73bf0c30211" providerId="ADAL" clId="{F05BB0D5-3454-45DC-8378-DA45B79D9A06}" dt="2020-10-02T13:04:35.744" v="4559" actId="790"/>
        <pc:sldMkLst>
          <pc:docMk/>
          <pc:sldMk cId="1314010191" sldId="6852"/>
        </pc:sldMkLst>
        <pc:spChg chg="mod">
          <ac:chgData name="Ugo MANTEL" userId="2d5b7065-31bb-4181-a7f8-a73bf0c30211" providerId="ADAL" clId="{F05BB0D5-3454-45DC-8378-DA45B79D9A06}" dt="2020-10-02T13:04:35.742" v="4557" actId="790"/>
          <ac:spMkLst>
            <pc:docMk/>
            <pc:sldMk cId="1314010191" sldId="6852"/>
            <ac:spMk id="3" creationId="{0C59084E-AECD-48A7-9201-72A8A1DAC993}"/>
          </ac:spMkLst>
        </pc:spChg>
        <pc:spChg chg="mod">
          <ac:chgData name="Ugo MANTEL" userId="2d5b7065-31bb-4181-a7f8-a73bf0c30211" providerId="ADAL" clId="{F05BB0D5-3454-45DC-8378-DA45B79D9A06}" dt="2020-10-02T13:04:35.697" v="4521" actId="790"/>
          <ac:spMkLst>
            <pc:docMk/>
            <pc:sldMk cId="1314010191" sldId="6852"/>
            <ac:spMk id="5" creationId="{30AC2C10-6E38-4ABF-A055-EB88298D7E6E}"/>
          </ac:spMkLst>
        </pc:spChg>
        <pc:spChg chg="mod">
          <ac:chgData name="Ugo MANTEL" userId="2d5b7065-31bb-4181-a7f8-a73bf0c30211" providerId="ADAL" clId="{F05BB0D5-3454-45DC-8378-DA45B79D9A06}" dt="2020-10-02T13:04:35.698" v="4522" actId="790"/>
          <ac:spMkLst>
            <pc:docMk/>
            <pc:sldMk cId="1314010191" sldId="6852"/>
            <ac:spMk id="6" creationId="{B62F1761-B847-4ADC-8D36-83AA993FB1C3}"/>
          </ac:spMkLst>
        </pc:spChg>
        <pc:spChg chg="mod">
          <ac:chgData name="Ugo MANTEL" userId="2d5b7065-31bb-4181-a7f8-a73bf0c30211" providerId="ADAL" clId="{F05BB0D5-3454-45DC-8378-DA45B79D9A06}" dt="2020-10-02T13:04:35.718" v="4529" actId="790"/>
          <ac:spMkLst>
            <pc:docMk/>
            <pc:sldMk cId="1314010191" sldId="6852"/>
            <ac:spMk id="7" creationId="{622BE60D-36C6-470D-A0CD-EBC16813B032}"/>
          </ac:spMkLst>
        </pc:spChg>
        <pc:spChg chg="mod">
          <ac:chgData name="Ugo MANTEL" userId="2d5b7065-31bb-4181-a7f8-a73bf0c30211" providerId="ADAL" clId="{F05BB0D5-3454-45DC-8378-DA45B79D9A06}" dt="2020-10-02T13:04:35.723" v="4536" actId="790"/>
          <ac:spMkLst>
            <pc:docMk/>
            <pc:sldMk cId="1314010191" sldId="6852"/>
            <ac:spMk id="8" creationId="{C3940C02-2558-4390-8EF3-2B588F010A5A}"/>
          </ac:spMkLst>
        </pc:spChg>
        <pc:spChg chg="mod">
          <ac:chgData name="Ugo MANTEL" userId="2d5b7065-31bb-4181-a7f8-a73bf0c30211" providerId="ADAL" clId="{F05BB0D5-3454-45DC-8378-DA45B79D9A06}" dt="2020-10-02T13:04:35.701" v="4523" actId="790"/>
          <ac:spMkLst>
            <pc:docMk/>
            <pc:sldMk cId="1314010191" sldId="6852"/>
            <ac:spMk id="9" creationId="{F4847B33-B507-479C-B707-25267319E6B5}"/>
          </ac:spMkLst>
        </pc:spChg>
        <pc:spChg chg="mod">
          <ac:chgData name="Ugo MANTEL" userId="2d5b7065-31bb-4181-a7f8-a73bf0c30211" providerId="ADAL" clId="{F05BB0D5-3454-45DC-8378-DA45B79D9A06}" dt="2020-10-02T13:04:35.702" v="4524" actId="790"/>
          <ac:spMkLst>
            <pc:docMk/>
            <pc:sldMk cId="1314010191" sldId="6852"/>
            <ac:spMk id="10" creationId="{A919A357-4A18-40AC-B332-6A2C8DC39A30}"/>
          </ac:spMkLst>
        </pc:spChg>
        <pc:spChg chg="mod">
          <ac:chgData name="Ugo MANTEL" userId="2d5b7065-31bb-4181-a7f8-a73bf0c30211" providerId="ADAL" clId="{F05BB0D5-3454-45DC-8378-DA45B79D9A06}" dt="2020-10-02T13:04:35.724" v="4537" actId="790"/>
          <ac:spMkLst>
            <pc:docMk/>
            <pc:sldMk cId="1314010191" sldId="6852"/>
            <ac:spMk id="11" creationId="{1F9A4ADA-58BF-4D9D-9C4E-E81C8D6508FF}"/>
          </ac:spMkLst>
        </pc:spChg>
        <pc:spChg chg="mod">
          <ac:chgData name="Ugo MANTEL" userId="2d5b7065-31bb-4181-a7f8-a73bf0c30211" providerId="ADAL" clId="{F05BB0D5-3454-45DC-8378-DA45B79D9A06}" dt="2020-10-02T13:04:35.725" v="4538" actId="790"/>
          <ac:spMkLst>
            <pc:docMk/>
            <pc:sldMk cId="1314010191" sldId="6852"/>
            <ac:spMk id="12" creationId="{7C8A1DA7-7561-4003-B0D8-565BBEE20BC6}"/>
          </ac:spMkLst>
        </pc:spChg>
        <pc:spChg chg="mod">
          <ac:chgData name="Ugo MANTEL" userId="2d5b7065-31bb-4181-a7f8-a73bf0c30211" providerId="ADAL" clId="{F05BB0D5-3454-45DC-8378-DA45B79D9A06}" dt="2020-10-02T13:04:35.730" v="4543" actId="790"/>
          <ac:spMkLst>
            <pc:docMk/>
            <pc:sldMk cId="1314010191" sldId="6852"/>
            <ac:spMk id="13" creationId="{DA3DD324-AB24-4EAB-AE06-DFADA34AA393}"/>
          </ac:spMkLst>
        </pc:spChg>
        <pc:spChg chg="mod">
          <ac:chgData name="Ugo MANTEL" userId="2d5b7065-31bb-4181-a7f8-a73bf0c30211" providerId="ADAL" clId="{F05BB0D5-3454-45DC-8378-DA45B79D9A06}" dt="2020-10-02T13:04:35.706" v="4525" actId="790"/>
          <ac:spMkLst>
            <pc:docMk/>
            <pc:sldMk cId="1314010191" sldId="6852"/>
            <ac:spMk id="14" creationId="{FD5E9477-2947-4ED1-A8E6-682C7C039F4D}"/>
          </ac:spMkLst>
        </pc:spChg>
        <pc:spChg chg="mod">
          <ac:chgData name="Ugo MANTEL" userId="2d5b7065-31bb-4181-a7f8-a73bf0c30211" providerId="ADAL" clId="{F05BB0D5-3454-45DC-8378-DA45B79D9A06}" dt="2020-10-02T13:04:35.714" v="4526" actId="790"/>
          <ac:spMkLst>
            <pc:docMk/>
            <pc:sldMk cId="1314010191" sldId="6852"/>
            <ac:spMk id="16" creationId="{8FB163A9-02E6-438A-8835-52F9CC9CEBEB}"/>
          </ac:spMkLst>
        </pc:spChg>
        <pc:spChg chg="mod">
          <ac:chgData name="Ugo MANTEL" userId="2d5b7065-31bb-4181-a7f8-a73bf0c30211" providerId="ADAL" clId="{F05BB0D5-3454-45DC-8378-DA45B79D9A06}" dt="2020-10-02T13:04:35.716" v="4527" actId="790"/>
          <ac:spMkLst>
            <pc:docMk/>
            <pc:sldMk cId="1314010191" sldId="6852"/>
            <ac:spMk id="17" creationId="{9E58CD14-367E-4002-9597-954A286B1676}"/>
          </ac:spMkLst>
        </pc:spChg>
        <pc:spChg chg="mod">
          <ac:chgData name="Ugo MANTEL" userId="2d5b7065-31bb-4181-a7f8-a73bf0c30211" providerId="ADAL" clId="{F05BB0D5-3454-45DC-8378-DA45B79D9A06}" dt="2020-10-02T13:04:35.717" v="4528" actId="790"/>
          <ac:spMkLst>
            <pc:docMk/>
            <pc:sldMk cId="1314010191" sldId="6852"/>
            <ac:spMk id="18" creationId="{4241C0D8-156A-48A4-80B1-298C419A4374}"/>
          </ac:spMkLst>
        </pc:spChg>
        <pc:spChg chg="mod">
          <ac:chgData name="Ugo MANTEL" userId="2d5b7065-31bb-4181-a7f8-a73bf0c30211" providerId="ADAL" clId="{F05BB0D5-3454-45DC-8378-DA45B79D9A06}" dt="2020-10-02T13:04:35.737" v="4551" actId="790"/>
          <ac:spMkLst>
            <pc:docMk/>
            <pc:sldMk cId="1314010191" sldId="6852"/>
            <ac:spMk id="20" creationId="{E7DD6920-A425-47CA-BFF6-7F6CDDA3C83D}"/>
          </ac:spMkLst>
        </pc:spChg>
        <pc:spChg chg="mod">
          <ac:chgData name="Ugo MANTEL" userId="2d5b7065-31bb-4181-a7f8-a73bf0c30211" providerId="ADAL" clId="{F05BB0D5-3454-45DC-8378-DA45B79D9A06}" dt="2020-10-02T13:04:35.737" v="4552" actId="790"/>
          <ac:spMkLst>
            <pc:docMk/>
            <pc:sldMk cId="1314010191" sldId="6852"/>
            <ac:spMk id="21" creationId="{048F0AFB-0954-4E18-B3F8-041BE6DC7111}"/>
          </ac:spMkLst>
        </pc:spChg>
        <pc:spChg chg="mod">
          <ac:chgData name="Ugo MANTEL" userId="2d5b7065-31bb-4181-a7f8-a73bf0c30211" providerId="ADAL" clId="{F05BB0D5-3454-45DC-8378-DA45B79D9A06}" dt="2020-10-02T13:04:35.739" v="4554" actId="790"/>
          <ac:spMkLst>
            <pc:docMk/>
            <pc:sldMk cId="1314010191" sldId="6852"/>
            <ac:spMk id="22" creationId="{A8A0981B-ADCD-43AC-9477-F75945FAEE9D}"/>
          </ac:spMkLst>
        </pc:spChg>
        <pc:spChg chg="mod">
          <ac:chgData name="Ugo MANTEL" userId="2d5b7065-31bb-4181-a7f8-a73bf0c30211" providerId="ADAL" clId="{F05BB0D5-3454-45DC-8378-DA45B79D9A06}" dt="2020-10-02T13:04:35.722" v="4535" actId="790"/>
          <ac:spMkLst>
            <pc:docMk/>
            <pc:sldMk cId="1314010191" sldId="6852"/>
            <ac:spMk id="25" creationId="{DDA3464C-C5E5-4BA3-9E58-243F91EB1AA1}"/>
          </ac:spMkLst>
        </pc:spChg>
        <pc:spChg chg="mod">
          <ac:chgData name="Ugo MANTEL" userId="2d5b7065-31bb-4181-a7f8-a73bf0c30211" providerId="ADAL" clId="{F05BB0D5-3454-45DC-8378-DA45B79D9A06}" dt="2020-10-02T13:04:35.731" v="4544" actId="790"/>
          <ac:spMkLst>
            <pc:docMk/>
            <pc:sldMk cId="1314010191" sldId="6852"/>
            <ac:spMk id="37" creationId="{7E84C90F-D726-4E11-AE0A-5506B4CAA191}"/>
          </ac:spMkLst>
        </pc:spChg>
        <pc:spChg chg="mod">
          <ac:chgData name="Ugo MANTEL" userId="2d5b7065-31bb-4181-a7f8-a73bf0c30211" providerId="ADAL" clId="{F05BB0D5-3454-45DC-8378-DA45B79D9A06}" dt="2020-10-02T13:04:35.732" v="4545" actId="790"/>
          <ac:spMkLst>
            <pc:docMk/>
            <pc:sldMk cId="1314010191" sldId="6852"/>
            <ac:spMk id="38" creationId="{B4D2EA02-6130-4BC8-BE7E-1CB3AB6107C5}"/>
          </ac:spMkLst>
        </pc:spChg>
        <pc:spChg chg="mod">
          <ac:chgData name="Ugo MANTEL" userId="2d5b7065-31bb-4181-a7f8-a73bf0c30211" providerId="ADAL" clId="{F05BB0D5-3454-45DC-8378-DA45B79D9A06}" dt="2020-10-02T13:04:35.727" v="4539" actId="790"/>
          <ac:spMkLst>
            <pc:docMk/>
            <pc:sldMk cId="1314010191" sldId="6852"/>
            <ac:spMk id="39" creationId="{3BF89C4F-B632-44E1-AEB0-11FBF95A23A2}"/>
          </ac:spMkLst>
        </pc:spChg>
        <pc:spChg chg="mod">
          <ac:chgData name="Ugo MANTEL" userId="2d5b7065-31bb-4181-a7f8-a73bf0c30211" providerId="ADAL" clId="{F05BB0D5-3454-45DC-8378-DA45B79D9A06}" dt="2020-10-02T13:04:35.728" v="4540" actId="790"/>
          <ac:spMkLst>
            <pc:docMk/>
            <pc:sldMk cId="1314010191" sldId="6852"/>
            <ac:spMk id="41" creationId="{507D4F9F-C629-4C59-B0E5-0CEF0391A6A3}"/>
          </ac:spMkLst>
        </pc:spChg>
        <pc:spChg chg="mod">
          <ac:chgData name="Ugo MANTEL" userId="2d5b7065-31bb-4181-a7f8-a73bf0c30211" providerId="ADAL" clId="{F05BB0D5-3454-45DC-8378-DA45B79D9A06}" dt="2020-10-02T13:04:35.719" v="4530" actId="790"/>
          <ac:spMkLst>
            <pc:docMk/>
            <pc:sldMk cId="1314010191" sldId="6852"/>
            <ac:spMk id="47" creationId="{4514BBE6-6556-46C8-A0B1-BF63D6C9FDFE}"/>
          </ac:spMkLst>
        </pc:spChg>
        <pc:spChg chg="mod">
          <ac:chgData name="Ugo MANTEL" userId="2d5b7065-31bb-4181-a7f8-a73bf0c30211" providerId="ADAL" clId="{F05BB0D5-3454-45DC-8378-DA45B79D9A06}" dt="2020-10-02T13:04:35.720" v="4531" actId="790"/>
          <ac:spMkLst>
            <pc:docMk/>
            <pc:sldMk cId="1314010191" sldId="6852"/>
            <ac:spMk id="48" creationId="{0F258E2B-3BD5-48AA-A4A5-9DA1DE22C76B}"/>
          </ac:spMkLst>
        </pc:spChg>
        <pc:spChg chg="mod">
          <ac:chgData name="Ugo MANTEL" userId="2d5b7065-31bb-4181-a7f8-a73bf0c30211" providerId="ADAL" clId="{F05BB0D5-3454-45DC-8378-DA45B79D9A06}" dt="2020-10-02T13:04:35.721" v="4532" actId="790"/>
          <ac:spMkLst>
            <pc:docMk/>
            <pc:sldMk cId="1314010191" sldId="6852"/>
            <ac:spMk id="49" creationId="{A0F23B7E-A7B6-4CCE-BB97-BCF957158E6D}"/>
          </ac:spMkLst>
        </pc:spChg>
        <pc:spChg chg="mod">
          <ac:chgData name="Ugo MANTEL" userId="2d5b7065-31bb-4181-a7f8-a73bf0c30211" providerId="ADAL" clId="{F05BB0D5-3454-45DC-8378-DA45B79D9A06}" dt="2020-10-02T13:04:35.721" v="4533" actId="790"/>
          <ac:spMkLst>
            <pc:docMk/>
            <pc:sldMk cId="1314010191" sldId="6852"/>
            <ac:spMk id="50" creationId="{F0C69F1C-03FC-47F2-93E4-0750B94D28B6}"/>
          </ac:spMkLst>
        </pc:spChg>
        <pc:spChg chg="mod">
          <ac:chgData name="Ugo MANTEL" userId="2d5b7065-31bb-4181-a7f8-a73bf0c30211" providerId="ADAL" clId="{F05BB0D5-3454-45DC-8378-DA45B79D9A06}" dt="2020-10-02T13:04:35.722" v="4534" actId="790"/>
          <ac:spMkLst>
            <pc:docMk/>
            <pc:sldMk cId="1314010191" sldId="6852"/>
            <ac:spMk id="51" creationId="{76A9C32D-69B4-434B-94AD-C9B3E06CCB9C}"/>
          </ac:spMkLst>
        </pc:spChg>
        <pc:spChg chg="mod">
          <ac:chgData name="Ugo MANTEL" userId="2d5b7065-31bb-4181-a7f8-a73bf0c30211" providerId="ADAL" clId="{F05BB0D5-3454-45DC-8378-DA45B79D9A06}" dt="2020-10-02T13:04:35.729" v="4541" actId="790"/>
          <ac:spMkLst>
            <pc:docMk/>
            <pc:sldMk cId="1314010191" sldId="6852"/>
            <ac:spMk id="52" creationId="{36F45AEF-DD81-4C2E-AF9E-CB93D17F0D6F}"/>
          </ac:spMkLst>
        </pc:spChg>
        <pc:spChg chg="mod">
          <ac:chgData name="Ugo MANTEL" userId="2d5b7065-31bb-4181-a7f8-a73bf0c30211" providerId="ADAL" clId="{F05BB0D5-3454-45DC-8378-DA45B79D9A06}" dt="2020-10-02T13:04:35.730" v="4542" actId="790"/>
          <ac:spMkLst>
            <pc:docMk/>
            <pc:sldMk cId="1314010191" sldId="6852"/>
            <ac:spMk id="53" creationId="{08B305E9-872E-40F7-97A4-9BC17F08526A}"/>
          </ac:spMkLst>
        </pc:spChg>
        <pc:spChg chg="mod">
          <ac:chgData name="Ugo MANTEL" userId="2d5b7065-31bb-4181-a7f8-a73bf0c30211" providerId="ADAL" clId="{F05BB0D5-3454-45DC-8378-DA45B79D9A06}" dt="2020-10-02T13:04:35.733" v="4546" actId="790"/>
          <ac:spMkLst>
            <pc:docMk/>
            <pc:sldMk cId="1314010191" sldId="6852"/>
            <ac:spMk id="54" creationId="{B66DBB9B-E195-4246-861A-A94C985DAB58}"/>
          </ac:spMkLst>
        </pc:spChg>
        <pc:spChg chg="mod">
          <ac:chgData name="Ugo MANTEL" userId="2d5b7065-31bb-4181-a7f8-a73bf0c30211" providerId="ADAL" clId="{F05BB0D5-3454-45DC-8378-DA45B79D9A06}" dt="2020-10-02T13:04:35.734" v="4547" actId="790"/>
          <ac:spMkLst>
            <pc:docMk/>
            <pc:sldMk cId="1314010191" sldId="6852"/>
            <ac:spMk id="55" creationId="{6779AD1E-EED4-4E55-A7C1-C20910CA4FDE}"/>
          </ac:spMkLst>
        </pc:spChg>
        <pc:spChg chg="mod">
          <ac:chgData name="Ugo MANTEL" userId="2d5b7065-31bb-4181-a7f8-a73bf0c30211" providerId="ADAL" clId="{F05BB0D5-3454-45DC-8378-DA45B79D9A06}" dt="2020-10-02T13:04:35.734" v="4548" actId="790"/>
          <ac:spMkLst>
            <pc:docMk/>
            <pc:sldMk cId="1314010191" sldId="6852"/>
            <ac:spMk id="56" creationId="{BA6963A2-7BF4-43FD-AF55-7A664F7C4CE2}"/>
          </ac:spMkLst>
        </pc:spChg>
        <pc:spChg chg="mod">
          <ac:chgData name="Ugo MANTEL" userId="2d5b7065-31bb-4181-a7f8-a73bf0c30211" providerId="ADAL" clId="{F05BB0D5-3454-45DC-8378-DA45B79D9A06}" dt="2020-10-02T13:04:35.735" v="4549" actId="790"/>
          <ac:spMkLst>
            <pc:docMk/>
            <pc:sldMk cId="1314010191" sldId="6852"/>
            <ac:spMk id="57" creationId="{DC14BDAE-7788-4FAE-BA31-8EEE7C1D206B}"/>
          </ac:spMkLst>
        </pc:spChg>
        <pc:spChg chg="mod">
          <ac:chgData name="Ugo MANTEL" userId="2d5b7065-31bb-4181-a7f8-a73bf0c30211" providerId="ADAL" clId="{F05BB0D5-3454-45DC-8378-DA45B79D9A06}" dt="2020-10-02T13:04:35.736" v="4550" actId="790"/>
          <ac:spMkLst>
            <pc:docMk/>
            <pc:sldMk cId="1314010191" sldId="6852"/>
            <ac:spMk id="65" creationId="{524AAFA5-1BC4-4787-A59B-EC3859455C5D}"/>
          </ac:spMkLst>
        </pc:spChg>
        <pc:spChg chg="mod">
          <ac:chgData name="Ugo MANTEL" userId="2d5b7065-31bb-4181-a7f8-a73bf0c30211" providerId="ADAL" clId="{F05BB0D5-3454-45DC-8378-DA45B79D9A06}" dt="2020-10-02T13:04:35.740" v="4555" actId="790"/>
          <ac:spMkLst>
            <pc:docMk/>
            <pc:sldMk cId="1314010191" sldId="6852"/>
            <ac:spMk id="66" creationId="{63274088-9449-47AE-9E04-4007E3754246}"/>
          </ac:spMkLst>
        </pc:spChg>
        <pc:spChg chg="mod">
          <ac:chgData name="Ugo MANTEL" userId="2d5b7065-31bb-4181-a7f8-a73bf0c30211" providerId="ADAL" clId="{F05BB0D5-3454-45DC-8378-DA45B79D9A06}" dt="2020-10-02T13:04:35.738" v="4553" actId="790"/>
          <ac:spMkLst>
            <pc:docMk/>
            <pc:sldMk cId="1314010191" sldId="6852"/>
            <ac:spMk id="67" creationId="{E737B98D-97AE-4ACA-A404-E3B356627350}"/>
          </ac:spMkLst>
        </pc:spChg>
        <pc:spChg chg="mod">
          <ac:chgData name="Ugo MANTEL" userId="2d5b7065-31bb-4181-a7f8-a73bf0c30211" providerId="ADAL" clId="{F05BB0D5-3454-45DC-8378-DA45B79D9A06}" dt="2020-10-02T13:04:35.740" v="4556" actId="790"/>
          <ac:spMkLst>
            <pc:docMk/>
            <pc:sldMk cId="1314010191" sldId="6852"/>
            <ac:spMk id="68" creationId="{625849B2-13D4-4F9D-9673-AAE8B03B0B1C}"/>
          </ac:spMkLst>
        </pc:spChg>
        <pc:spChg chg="mod">
          <ac:chgData name="Ugo MANTEL" userId="2d5b7065-31bb-4181-a7f8-a73bf0c30211" providerId="ADAL" clId="{F05BB0D5-3454-45DC-8378-DA45B79D9A06}" dt="2020-10-02T13:04:35.743" v="4558" actId="790"/>
          <ac:spMkLst>
            <pc:docMk/>
            <pc:sldMk cId="1314010191" sldId="6852"/>
            <ac:spMk id="69" creationId="{D5B179F7-A3B1-40CE-98A2-CC2D5603EE7E}"/>
          </ac:spMkLst>
        </pc:spChg>
        <pc:spChg chg="mod">
          <ac:chgData name="Ugo MANTEL" userId="2d5b7065-31bb-4181-a7f8-a73bf0c30211" providerId="ADAL" clId="{F05BB0D5-3454-45DC-8378-DA45B79D9A06}" dt="2020-10-02T13:04:35.744" v="4559" actId="790"/>
          <ac:spMkLst>
            <pc:docMk/>
            <pc:sldMk cId="1314010191" sldId="6852"/>
            <ac:spMk id="70" creationId="{047324D0-DAA9-49CA-AD75-850BF7E84C70}"/>
          </ac:spMkLst>
        </pc:spChg>
      </pc:sldChg>
      <pc:sldChg chg="delSp modSp mod">
        <pc:chgData name="Ugo MANTEL" userId="2d5b7065-31bb-4181-a7f8-a73bf0c30211" providerId="ADAL" clId="{F05BB0D5-3454-45DC-8378-DA45B79D9A06}" dt="2020-10-02T15:28:57.556" v="7417" actId="27918"/>
        <pc:sldMkLst>
          <pc:docMk/>
          <pc:sldMk cId="3310560167" sldId="6853"/>
        </pc:sldMkLst>
        <pc:spChg chg="mod">
          <ac:chgData name="Ugo MANTEL" userId="2d5b7065-31bb-4181-a7f8-a73bf0c30211" providerId="ADAL" clId="{F05BB0D5-3454-45DC-8378-DA45B79D9A06}" dt="2020-10-02T13:04:35.782" v="4598" actId="790"/>
          <ac:spMkLst>
            <pc:docMk/>
            <pc:sldMk cId="3310560167" sldId="6853"/>
            <ac:spMk id="3" creationId="{A30565E7-8A00-4B9F-A24C-C75F4311A265}"/>
          </ac:spMkLst>
        </pc:spChg>
        <pc:spChg chg="mod">
          <ac:chgData name="Ugo MANTEL" userId="2d5b7065-31bb-4181-a7f8-a73bf0c30211" providerId="ADAL" clId="{F05BB0D5-3454-45DC-8378-DA45B79D9A06}" dt="2020-10-02T13:04:35.784" v="4599" actId="790"/>
          <ac:spMkLst>
            <pc:docMk/>
            <pc:sldMk cId="3310560167" sldId="6853"/>
            <ac:spMk id="5" creationId="{B0438645-0459-4ECD-B7E0-DF9EBC7395BB}"/>
          </ac:spMkLst>
        </pc:spChg>
        <pc:spChg chg="mod">
          <ac:chgData name="Ugo MANTEL" userId="2d5b7065-31bb-4181-a7f8-a73bf0c30211" providerId="ADAL" clId="{F05BB0D5-3454-45DC-8378-DA45B79D9A06}" dt="2020-10-02T13:04:35.779" v="4597" actId="790"/>
          <ac:spMkLst>
            <pc:docMk/>
            <pc:sldMk cId="3310560167" sldId="6853"/>
            <ac:spMk id="6" creationId="{C86D0C45-F863-4564-B81E-5E87DA640F22}"/>
          </ac:spMkLst>
        </pc:spChg>
        <pc:spChg chg="del">
          <ac:chgData name="Ugo MANTEL" userId="2d5b7065-31bb-4181-a7f8-a73bf0c30211" providerId="ADAL" clId="{F05BB0D5-3454-45DC-8378-DA45B79D9A06}" dt="2020-10-02T12:33:13.759" v="713" actId="478"/>
          <ac:spMkLst>
            <pc:docMk/>
            <pc:sldMk cId="3310560167" sldId="6853"/>
            <ac:spMk id="8" creationId="{2D931E8D-8E82-479E-A3AF-2CA2491C851B}"/>
          </ac:spMkLst>
        </pc:spChg>
        <pc:spChg chg="mod">
          <ac:chgData name="Ugo MANTEL" userId="2d5b7065-31bb-4181-a7f8-a73bf0c30211" providerId="ADAL" clId="{F05BB0D5-3454-45DC-8378-DA45B79D9A06}" dt="2020-10-02T13:04:35.785" v="4600" actId="790"/>
          <ac:spMkLst>
            <pc:docMk/>
            <pc:sldMk cId="3310560167" sldId="6853"/>
            <ac:spMk id="12" creationId="{0BE17A32-DCC0-46A3-B94F-A99E8551A4DD}"/>
          </ac:spMkLst>
        </pc:spChg>
        <pc:spChg chg="mod">
          <ac:chgData name="Ugo MANTEL" userId="2d5b7065-31bb-4181-a7f8-a73bf0c30211" providerId="ADAL" clId="{F05BB0D5-3454-45DC-8378-DA45B79D9A06}" dt="2020-10-02T13:04:35.785" v="4601" actId="790"/>
          <ac:spMkLst>
            <pc:docMk/>
            <pc:sldMk cId="3310560167" sldId="6853"/>
            <ac:spMk id="13" creationId="{A6142095-256A-4286-92BB-6D3696A23E27}"/>
          </ac:spMkLst>
        </pc:spChg>
        <pc:spChg chg="mod">
          <ac:chgData name="Ugo MANTEL" userId="2d5b7065-31bb-4181-a7f8-a73bf0c30211" providerId="ADAL" clId="{F05BB0D5-3454-45DC-8378-DA45B79D9A06}" dt="2020-10-02T13:04:35.790" v="4602" actId="790"/>
          <ac:spMkLst>
            <pc:docMk/>
            <pc:sldMk cId="3310560167" sldId="6853"/>
            <ac:spMk id="16" creationId="{C9AD994F-37E1-40C0-AABC-8E79E97B3A25}"/>
          </ac:spMkLst>
        </pc:spChg>
        <pc:spChg chg="mod">
          <ac:chgData name="Ugo MANTEL" userId="2d5b7065-31bb-4181-a7f8-a73bf0c30211" providerId="ADAL" clId="{F05BB0D5-3454-45DC-8378-DA45B79D9A06}" dt="2020-10-02T13:04:35.793" v="4603" actId="790"/>
          <ac:spMkLst>
            <pc:docMk/>
            <pc:sldMk cId="3310560167" sldId="6853"/>
            <ac:spMk id="20" creationId="{ABF82138-59A4-4409-BE06-F13E939FC40E}"/>
          </ac:spMkLst>
        </pc:spChg>
        <pc:spChg chg="mod">
          <ac:chgData name="Ugo MANTEL" userId="2d5b7065-31bb-4181-a7f8-a73bf0c30211" providerId="ADAL" clId="{F05BB0D5-3454-45DC-8378-DA45B79D9A06}" dt="2020-10-02T13:04:35.794" v="4604" actId="790"/>
          <ac:spMkLst>
            <pc:docMk/>
            <pc:sldMk cId="3310560167" sldId="6853"/>
            <ac:spMk id="22" creationId="{734CC09B-33E0-426B-ABDD-A149E0104DCC}"/>
          </ac:spMkLst>
        </pc:spChg>
        <pc:spChg chg="mod">
          <ac:chgData name="Ugo MANTEL" userId="2d5b7065-31bb-4181-a7f8-a73bf0c30211" providerId="ADAL" clId="{F05BB0D5-3454-45DC-8378-DA45B79D9A06}" dt="2020-10-02T13:04:35.795" v="4605" actId="790"/>
          <ac:spMkLst>
            <pc:docMk/>
            <pc:sldMk cId="3310560167" sldId="6853"/>
            <ac:spMk id="23" creationId="{5A4AB492-2DDB-4919-AED4-F744A0629B47}"/>
          </ac:spMkLst>
        </pc:spChg>
        <pc:spChg chg="mod">
          <ac:chgData name="Ugo MANTEL" userId="2d5b7065-31bb-4181-a7f8-a73bf0c30211" providerId="ADAL" clId="{F05BB0D5-3454-45DC-8378-DA45B79D9A06}" dt="2020-10-02T13:04:35.796" v="4606" actId="790"/>
          <ac:spMkLst>
            <pc:docMk/>
            <pc:sldMk cId="3310560167" sldId="6853"/>
            <ac:spMk id="26" creationId="{42731F53-8AFE-4A0C-BE5E-7E54D03B3B02}"/>
          </ac:spMkLst>
        </pc:spChg>
        <pc:spChg chg="mod">
          <ac:chgData name="Ugo MANTEL" userId="2d5b7065-31bb-4181-a7f8-a73bf0c30211" providerId="ADAL" clId="{F05BB0D5-3454-45DC-8378-DA45B79D9A06}" dt="2020-10-02T13:04:35.797" v="4607" actId="790"/>
          <ac:spMkLst>
            <pc:docMk/>
            <pc:sldMk cId="3310560167" sldId="6853"/>
            <ac:spMk id="27" creationId="{1327F9BC-2F06-4886-BD0C-DBCA76F3B06C}"/>
          </ac:spMkLst>
        </pc:spChg>
        <pc:spChg chg="mod">
          <ac:chgData name="Ugo MANTEL" userId="2d5b7065-31bb-4181-a7f8-a73bf0c30211" providerId="ADAL" clId="{F05BB0D5-3454-45DC-8378-DA45B79D9A06}" dt="2020-10-02T13:04:35.797" v="4608" actId="790"/>
          <ac:spMkLst>
            <pc:docMk/>
            <pc:sldMk cId="3310560167" sldId="6853"/>
            <ac:spMk id="28" creationId="{8CB67FDC-C627-40DE-9A86-78B71DDB68B1}"/>
          </ac:spMkLst>
        </pc:spChg>
        <pc:spChg chg="mod">
          <ac:chgData name="Ugo MANTEL" userId="2d5b7065-31bb-4181-a7f8-a73bf0c30211" providerId="ADAL" clId="{F05BB0D5-3454-45DC-8378-DA45B79D9A06}" dt="2020-10-02T13:04:35.798" v="4609" actId="790"/>
          <ac:spMkLst>
            <pc:docMk/>
            <pc:sldMk cId="3310560167" sldId="6853"/>
            <ac:spMk id="29" creationId="{4D29975B-E616-48DB-AD9D-46FD4E9567C6}"/>
          </ac:spMkLst>
        </pc:spChg>
        <pc:spChg chg="mod">
          <ac:chgData name="Ugo MANTEL" userId="2d5b7065-31bb-4181-a7f8-a73bf0c30211" providerId="ADAL" clId="{F05BB0D5-3454-45DC-8378-DA45B79D9A06}" dt="2020-10-02T13:04:35.799" v="4610" actId="790"/>
          <ac:spMkLst>
            <pc:docMk/>
            <pc:sldMk cId="3310560167" sldId="6853"/>
            <ac:spMk id="37" creationId="{1E91BBB2-87FF-4FB9-A62E-560F49A8F3EE}"/>
          </ac:spMkLst>
        </pc:spChg>
        <pc:spChg chg="mod">
          <ac:chgData name="Ugo MANTEL" userId="2d5b7065-31bb-4181-a7f8-a73bf0c30211" providerId="ADAL" clId="{F05BB0D5-3454-45DC-8378-DA45B79D9A06}" dt="2020-10-02T13:04:35.800" v="4611" actId="790"/>
          <ac:spMkLst>
            <pc:docMk/>
            <pc:sldMk cId="3310560167" sldId="6853"/>
            <ac:spMk id="45" creationId="{B9E71345-06FC-400C-B353-9E3647CF9667}"/>
          </ac:spMkLst>
        </pc:spChg>
        <pc:graphicFrameChg chg="mod">
          <ac:chgData name="Ugo MANTEL" userId="2d5b7065-31bb-4181-a7f8-a73bf0c30211" providerId="ADAL" clId="{F05BB0D5-3454-45DC-8378-DA45B79D9A06}" dt="2020-10-02T12:14:47.008" v="515" actId="2084"/>
          <ac:graphicFrameMkLst>
            <pc:docMk/>
            <pc:sldMk cId="3310560167" sldId="6853"/>
            <ac:graphicFrameMk id="10" creationId="{ADC48F5C-F61A-4A48-9F14-63F8FFC398DF}"/>
          </ac:graphicFrameMkLst>
        </pc:graphicFrameChg>
        <pc:graphicFrameChg chg="mod">
          <ac:chgData name="Ugo MANTEL" userId="2d5b7065-31bb-4181-a7f8-a73bf0c30211" providerId="ADAL" clId="{F05BB0D5-3454-45DC-8378-DA45B79D9A06}" dt="2020-10-02T15:07:38.014" v="6960" actId="2084"/>
          <ac:graphicFrameMkLst>
            <pc:docMk/>
            <pc:sldMk cId="3310560167" sldId="6853"/>
            <ac:graphicFrameMk id="14" creationId="{464F0FA0-7131-473E-9919-D7BD92E5DF72}"/>
          </ac:graphicFrameMkLst>
        </pc:graphicFrameChg>
      </pc:sldChg>
      <pc:sldChg chg="modSp mod">
        <pc:chgData name="Ugo MANTEL" userId="2d5b7065-31bb-4181-a7f8-a73bf0c30211" providerId="ADAL" clId="{F05BB0D5-3454-45DC-8378-DA45B79D9A06}" dt="2020-10-02T13:04:34.369" v="3269" actId="790"/>
        <pc:sldMkLst>
          <pc:docMk/>
          <pc:sldMk cId="76837937" sldId="6855"/>
        </pc:sldMkLst>
        <pc:spChg chg="mod">
          <ac:chgData name="Ugo MANTEL" userId="2d5b7065-31bb-4181-a7f8-a73bf0c30211" providerId="ADAL" clId="{F05BB0D5-3454-45DC-8378-DA45B79D9A06}" dt="2020-10-02T13:04:34.345" v="3245" actId="790"/>
          <ac:spMkLst>
            <pc:docMk/>
            <pc:sldMk cId="76837937" sldId="6855"/>
            <ac:spMk id="3" creationId="{7D73B612-83D0-4797-9341-963BC626A21C}"/>
          </ac:spMkLst>
        </pc:spChg>
        <pc:spChg chg="mod">
          <ac:chgData name="Ugo MANTEL" userId="2d5b7065-31bb-4181-a7f8-a73bf0c30211" providerId="ADAL" clId="{F05BB0D5-3454-45DC-8378-DA45B79D9A06}" dt="2020-10-02T13:04:34.342" v="3243" actId="790"/>
          <ac:spMkLst>
            <pc:docMk/>
            <pc:sldMk cId="76837937" sldId="6855"/>
            <ac:spMk id="5" creationId="{40FFA6C4-FB36-4810-8985-357F47AC8D3F}"/>
          </ac:spMkLst>
        </pc:spChg>
        <pc:spChg chg="mod">
          <ac:chgData name="Ugo MANTEL" userId="2d5b7065-31bb-4181-a7f8-a73bf0c30211" providerId="ADAL" clId="{F05BB0D5-3454-45DC-8378-DA45B79D9A06}" dt="2020-10-02T13:04:34.355" v="3254" actId="790"/>
          <ac:spMkLst>
            <pc:docMk/>
            <pc:sldMk cId="76837937" sldId="6855"/>
            <ac:spMk id="13" creationId="{B4CB1A7F-CD34-4E52-B2D9-19BA065A9711}"/>
          </ac:spMkLst>
        </pc:spChg>
        <pc:spChg chg="mod">
          <ac:chgData name="Ugo MANTEL" userId="2d5b7065-31bb-4181-a7f8-a73bf0c30211" providerId="ADAL" clId="{F05BB0D5-3454-45DC-8378-DA45B79D9A06}" dt="2020-10-02T13:04:34.362" v="3258" actId="790"/>
          <ac:spMkLst>
            <pc:docMk/>
            <pc:sldMk cId="76837937" sldId="6855"/>
            <ac:spMk id="15" creationId="{BF51A5FD-83D7-4EAB-9121-E3DD28C61779}"/>
          </ac:spMkLst>
        </pc:spChg>
        <pc:spChg chg="mod">
          <ac:chgData name="Ugo MANTEL" userId="2d5b7065-31bb-4181-a7f8-a73bf0c30211" providerId="ADAL" clId="{F05BB0D5-3454-45DC-8378-DA45B79D9A06}" dt="2020-10-02T13:04:34.345" v="3246" actId="790"/>
          <ac:spMkLst>
            <pc:docMk/>
            <pc:sldMk cId="76837937" sldId="6855"/>
            <ac:spMk id="32" creationId="{1A2AE403-F44D-4CF2-9ED1-5D62CEA6FBD0}"/>
          </ac:spMkLst>
        </pc:spChg>
        <pc:spChg chg="mod">
          <ac:chgData name="Ugo MANTEL" userId="2d5b7065-31bb-4181-a7f8-a73bf0c30211" providerId="ADAL" clId="{F05BB0D5-3454-45DC-8378-DA45B79D9A06}" dt="2020-10-02T13:04:34.354" v="3252" actId="790"/>
          <ac:spMkLst>
            <pc:docMk/>
            <pc:sldMk cId="76837937" sldId="6855"/>
            <ac:spMk id="37" creationId="{F8B742EB-0B9F-40B5-8B33-4E83BAF25CB8}"/>
          </ac:spMkLst>
        </pc:spChg>
        <pc:spChg chg="mod">
          <ac:chgData name="Ugo MANTEL" userId="2d5b7065-31bb-4181-a7f8-a73bf0c30211" providerId="ADAL" clId="{F05BB0D5-3454-45DC-8378-DA45B79D9A06}" dt="2020-10-02T13:04:34.355" v="3253" actId="790"/>
          <ac:spMkLst>
            <pc:docMk/>
            <pc:sldMk cId="76837937" sldId="6855"/>
            <ac:spMk id="40" creationId="{076D3A2F-F15E-4E25-83CA-3DAC853C4DAF}"/>
          </ac:spMkLst>
        </pc:spChg>
        <pc:spChg chg="mod">
          <ac:chgData name="Ugo MANTEL" userId="2d5b7065-31bb-4181-a7f8-a73bf0c30211" providerId="ADAL" clId="{F05BB0D5-3454-45DC-8378-DA45B79D9A06}" dt="2020-10-02T13:04:34.347" v="3247" actId="790"/>
          <ac:spMkLst>
            <pc:docMk/>
            <pc:sldMk cId="76837937" sldId="6855"/>
            <ac:spMk id="45" creationId="{F1221B6E-F5E0-47C9-BD67-5B54B13DACEF}"/>
          </ac:spMkLst>
        </pc:spChg>
        <pc:spChg chg="mod">
          <ac:chgData name="Ugo MANTEL" userId="2d5b7065-31bb-4181-a7f8-a73bf0c30211" providerId="ADAL" clId="{F05BB0D5-3454-45DC-8378-DA45B79D9A06}" dt="2020-10-02T13:04:34.365" v="3263" actId="790"/>
          <ac:spMkLst>
            <pc:docMk/>
            <pc:sldMk cId="76837937" sldId="6855"/>
            <ac:spMk id="48" creationId="{1531A3BF-040D-4366-BA19-CB6431E45D11}"/>
          </ac:spMkLst>
        </pc:spChg>
        <pc:spChg chg="mod">
          <ac:chgData name="Ugo MANTEL" userId="2d5b7065-31bb-4181-a7f8-a73bf0c30211" providerId="ADAL" clId="{F05BB0D5-3454-45DC-8378-DA45B79D9A06}" dt="2020-10-02T13:04:34.343" v="3244" actId="790"/>
          <ac:spMkLst>
            <pc:docMk/>
            <pc:sldMk cId="76837937" sldId="6855"/>
            <ac:spMk id="49" creationId="{E0225A4B-B6B2-412D-9094-8CAF2F61B597}"/>
          </ac:spMkLst>
        </pc:spChg>
        <pc:spChg chg="mod">
          <ac:chgData name="Ugo MANTEL" userId="2d5b7065-31bb-4181-a7f8-a73bf0c30211" providerId="ADAL" clId="{F05BB0D5-3454-45DC-8378-DA45B79D9A06}" dt="2020-10-02T13:04:34.363" v="3259" actId="790"/>
          <ac:spMkLst>
            <pc:docMk/>
            <pc:sldMk cId="76837937" sldId="6855"/>
            <ac:spMk id="50" creationId="{5546B204-521F-40C5-AFBD-423E38C7C98C}"/>
          </ac:spMkLst>
        </pc:spChg>
        <pc:spChg chg="mod">
          <ac:chgData name="Ugo MANTEL" userId="2d5b7065-31bb-4181-a7f8-a73bf0c30211" providerId="ADAL" clId="{F05BB0D5-3454-45DC-8378-DA45B79D9A06}" dt="2020-10-02T13:04:34.363" v="3260" actId="790"/>
          <ac:spMkLst>
            <pc:docMk/>
            <pc:sldMk cId="76837937" sldId="6855"/>
            <ac:spMk id="53" creationId="{07854AF9-C9FB-49E0-8E3C-F7EFC5346564}"/>
          </ac:spMkLst>
        </pc:spChg>
        <pc:spChg chg="mod">
          <ac:chgData name="Ugo MANTEL" userId="2d5b7065-31bb-4181-a7f8-a73bf0c30211" providerId="ADAL" clId="{F05BB0D5-3454-45DC-8378-DA45B79D9A06}" dt="2020-10-02T13:04:34.363" v="3261" actId="790"/>
          <ac:spMkLst>
            <pc:docMk/>
            <pc:sldMk cId="76837937" sldId="6855"/>
            <ac:spMk id="54" creationId="{3A403A75-FBC5-4BB3-A6C7-CE80E1C1F764}"/>
          </ac:spMkLst>
        </pc:spChg>
        <pc:spChg chg="mod">
          <ac:chgData name="Ugo MANTEL" userId="2d5b7065-31bb-4181-a7f8-a73bf0c30211" providerId="ADAL" clId="{F05BB0D5-3454-45DC-8378-DA45B79D9A06}" dt="2020-10-02T13:04:34.364" v="3262" actId="790"/>
          <ac:spMkLst>
            <pc:docMk/>
            <pc:sldMk cId="76837937" sldId="6855"/>
            <ac:spMk id="57" creationId="{FE49860B-A8BF-4DD4-B121-9F4EE986CE28}"/>
          </ac:spMkLst>
        </pc:spChg>
        <pc:spChg chg="mod">
          <ac:chgData name="Ugo MANTEL" userId="2d5b7065-31bb-4181-a7f8-a73bf0c30211" providerId="ADAL" clId="{F05BB0D5-3454-45DC-8378-DA45B79D9A06}" dt="2020-10-02T13:04:34.369" v="3269" actId="790"/>
          <ac:spMkLst>
            <pc:docMk/>
            <pc:sldMk cId="76837937" sldId="6855"/>
            <ac:spMk id="60" creationId="{28351A65-40E9-4C1C-A9E8-9A5050AB3F45}"/>
          </ac:spMkLst>
        </pc:spChg>
        <pc:spChg chg="mod">
          <ac:chgData name="Ugo MANTEL" userId="2d5b7065-31bb-4181-a7f8-a73bf0c30211" providerId="ADAL" clId="{F05BB0D5-3454-45DC-8378-DA45B79D9A06}" dt="2020-10-02T13:04:34.356" v="3255" actId="790"/>
          <ac:spMkLst>
            <pc:docMk/>
            <pc:sldMk cId="76837937" sldId="6855"/>
            <ac:spMk id="61" creationId="{57FBF830-48CE-45B6-A62D-DE20E4C0654F}"/>
          </ac:spMkLst>
        </pc:spChg>
        <pc:spChg chg="mod">
          <ac:chgData name="Ugo MANTEL" userId="2d5b7065-31bb-4181-a7f8-a73bf0c30211" providerId="ADAL" clId="{F05BB0D5-3454-45DC-8378-DA45B79D9A06}" dt="2020-10-02T13:04:34.357" v="3256" actId="790"/>
          <ac:spMkLst>
            <pc:docMk/>
            <pc:sldMk cId="76837937" sldId="6855"/>
            <ac:spMk id="63" creationId="{A4A080E9-1118-4844-9462-8CBB4181EE10}"/>
          </ac:spMkLst>
        </pc:spChg>
        <pc:spChg chg="mod">
          <ac:chgData name="Ugo MANTEL" userId="2d5b7065-31bb-4181-a7f8-a73bf0c30211" providerId="ADAL" clId="{F05BB0D5-3454-45DC-8378-DA45B79D9A06}" dt="2020-10-02T13:04:34.358" v="3257" actId="790"/>
          <ac:spMkLst>
            <pc:docMk/>
            <pc:sldMk cId="76837937" sldId="6855"/>
            <ac:spMk id="64" creationId="{79A16371-FC9C-4DE3-998B-6E665E5924DF}"/>
          </ac:spMkLst>
        </pc:spChg>
        <pc:spChg chg="mod">
          <ac:chgData name="Ugo MANTEL" userId="2d5b7065-31bb-4181-a7f8-a73bf0c30211" providerId="ADAL" clId="{F05BB0D5-3454-45DC-8378-DA45B79D9A06}" dt="2020-10-02T13:04:34.353" v="3250" actId="790"/>
          <ac:spMkLst>
            <pc:docMk/>
            <pc:sldMk cId="76837937" sldId="6855"/>
            <ac:spMk id="70" creationId="{9B377CD1-2797-433B-A193-0F7519A1D5DE}"/>
          </ac:spMkLst>
        </pc:spChg>
        <pc:spChg chg="mod">
          <ac:chgData name="Ugo MANTEL" userId="2d5b7065-31bb-4181-a7f8-a73bf0c30211" providerId="ADAL" clId="{F05BB0D5-3454-45DC-8378-DA45B79D9A06}" dt="2020-10-02T13:04:34.353" v="3251" actId="790"/>
          <ac:spMkLst>
            <pc:docMk/>
            <pc:sldMk cId="76837937" sldId="6855"/>
            <ac:spMk id="71" creationId="{CBCB1E53-3C7E-46E1-8158-DDB09795B929}"/>
          </ac:spMkLst>
        </pc:spChg>
        <pc:spChg chg="mod">
          <ac:chgData name="Ugo MANTEL" userId="2d5b7065-31bb-4181-a7f8-a73bf0c30211" providerId="ADAL" clId="{F05BB0D5-3454-45DC-8378-DA45B79D9A06}" dt="2020-10-02T13:04:34.365" v="3264" actId="790"/>
          <ac:spMkLst>
            <pc:docMk/>
            <pc:sldMk cId="76837937" sldId="6855"/>
            <ac:spMk id="76" creationId="{495DC4FD-35D2-4302-A5C5-AFA05B1E7D27}"/>
          </ac:spMkLst>
        </pc:spChg>
        <pc:spChg chg="mod">
          <ac:chgData name="Ugo MANTEL" userId="2d5b7065-31bb-4181-a7f8-a73bf0c30211" providerId="ADAL" clId="{F05BB0D5-3454-45DC-8378-DA45B79D9A06}" dt="2020-10-02T13:04:34.366" v="3265" actId="790"/>
          <ac:spMkLst>
            <pc:docMk/>
            <pc:sldMk cId="76837937" sldId="6855"/>
            <ac:spMk id="77" creationId="{23EFEDB8-A1AC-4487-8566-DBFCCA5ECBE8}"/>
          </ac:spMkLst>
        </pc:spChg>
        <pc:spChg chg="mod">
          <ac:chgData name="Ugo MANTEL" userId="2d5b7065-31bb-4181-a7f8-a73bf0c30211" providerId="ADAL" clId="{F05BB0D5-3454-45DC-8378-DA45B79D9A06}" dt="2020-10-02T13:04:34.367" v="3266" actId="790"/>
          <ac:spMkLst>
            <pc:docMk/>
            <pc:sldMk cId="76837937" sldId="6855"/>
            <ac:spMk id="80" creationId="{2748958B-0CB7-47CF-9BD0-DDD1F348AB06}"/>
          </ac:spMkLst>
        </pc:spChg>
        <pc:spChg chg="mod">
          <ac:chgData name="Ugo MANTEL" userId="2d5b7065-31bb-4181-a7f8-a73bf0c30211" providerId="ADAL" clId="{F05BB0D5-3454-45DC-8378-DA45B79D9A06}" dt="2020-10-02T13:04:34.368" v="3267" actId="790"/>
          <ac:spMkLst>
            <pc:docMk/>
            <pc:sldMk cId="76837937" sldId="6855"/>
            <ac:spMk id="82" creationId="{4DF4DFCD-D791-48D3-98A5-97965DDAE20F}"/>
          </ac:spMkLst>
        </pc:spChg>
        <pc:spChg chg="mod">
          <ac:chgData name="Ugo MANTEL" userId="2d5b7065-31bb-4181-a7f8-a73bf0c30211" providerId="ADAL" clId="{F05BB0D5-3454-45DC-8378-DA45B79D9A06}" dt="2020-10-02T13:04:34.369" v="3268" actId="790"/>
          <ac:spMkLst>
            <pc:docMk/>
            <pc:sldMk cId="76837937" sldId="6855"/>
            <ac:spMk id="84" creationId="{B6311BDA-8992-4159-8864-5C38621478C3}"/>
          </ac:spMkLst>
        </pc:spChg>
        <pc:spChg chg="mod">
          <ac:chgData name="Ugo MANTEL" userId="2d5b7065-31bb-4181-a7f8-a73bf0c30211" providerId="ADAL" clId="{F05BB0D5-3454-45DC-8378-DA45B79D9A06}" dt="2020-10-02T13:04:34.350" v="3248" actId="790"/>
          <ac:spMkLst>
            <pc:docMk/>
            <pc:sldMk cId="76837937" sldId="6855"/>
            <ac:spMk id="106" creationId="{58266FBD-2E8F-4FE3-8AC2-09AD83524CD9}"/>
          </ac:spMkLst>
        </pc:spChg>
        <pc:spChg chg="mod">
          <ac:chgData name="Ugo MANTEL" userId="2d5b7065-31bb-4181-a7f8-a73bf0c30211" providerId="ADAL" clId="{F05BB0D5-3454-45DC-8378-DA45B79D9A06}" dt="2020-10-02T13:04:34.351" v="3249" actId="790"/>
          <ac:spMkLst>
            <pc:docMk/>
            <pc:sldMk cId="76837937" sldId="6855"/>
            <ac:spMk id="107" creationId="{9EB823E0-6591-45C8-8256-695C74AA436C}"/>
          </ac:spMkLst>
        </pc:spChg>
      </pc:sldChg>
      <pc:sldChg chg="delSp modSp mod">
        <pc:chgData name="Ugo MANTEL" userId="2d5b7065-31bb-4181-a7f8-a73bf0c30211" providerId="ADAL" clId="{F05BB0D5-3454-45DC-8378-DA45B79D9A06}" dt="2020-10-02T14:19:33.493" v="6884" actId="27918"/>
        <pc:sldMkLst>
          <pc:docMk/>
          <pc:sldMk cId="106942386" sldId="6857"/>
        </pc:sldMkLst>
        <pc:spChg chg="mod">
          <ac:chgData name="Ugo MANTEL" userId="2d5b7065-31bb-4181-a7f8-a73bf0c30211" providerId="ADAL" clId="{F05BB0D5-3454-45DC-8378-DA45B79D9A06}" dt="2020-10-02T13:04:35.326" v="4295" actId="790"/>
          <ac:spMkLst>
            <pc:docMk/>
            <pc:sldMk cId="106942386" sldId="6857"/>
            <ac:spMk id="2" creationId="{BD1A72BA-BC92-4F75-A18A-DA60D91E117B}"/>
          </ac:spMkLst>
        </pc:spChg>
        <pc:spChg chg="del mod">
          <ac:chgData name="Ugo MANTEL" userId="2d5b7065-31bb-4181-a7f8-a73bf0c30211" providerId="ADAL" clId="{F05BB0D5-3454-45DC-8378-DA45B79D9A06}" dt="2020-10-02T07:41:20.206" v="90" actId="478"/>
          <ac:spMkLst>
            <pc:docMk/>
            <pc:sldMk cId="106942386" sldId="6857"/>
            <ac:spMk id="4" creationId="{08400ACF-D748-4273-96A6-73DE66954BAA}"/>
          </ac:spMkLst>
        </pc:spChg>
        <pc:spChg chg="mod">
          <ac:chgData name="Ugo MANTEL" userId="2d5b7065-31bb-4181-a7f8-a73bf0c30211" providerId="ADAL" clId="{F05BB0D5-3454-45DC-8378-DA45B79D9A06}" dt="2020-10-02T13:04:35.325" v="4294" actId="790"/>
          <ac:spMkLst>
            <pc:docMk/>
            <pc:sldMk cId="106942386" sldId="6857"/>
            <ac:spMk id="5" creationId="{DFE4007A-4322-494F-8570-08F1E1CEBE28}"/>
          </ac:spMkLst>
        </pc:spChg>
        <pc:spChg chg="mod">
          <ac:chgData name="Ugo MANTEL" userId="2d5b7065-31bb-4181-a7f8-a73bf0c30211" providerId="ADAL" clId="{F05BB0D5-3454-45DC-8378-DA45B79D9A06}" dt="2020-10-02T13:04:35.332" v="4300" actId="790"/>
          <ac:spMkLst>
            <pc:docMk/>
            <pc:sldMk cId="106942386" sldId="6857"/>
            <ac:spMk id="16" creationId="{8FCB6FA7-DD5D-461D-B50E-49DE41EE896D}"/>
          </ac:spMkLst>
        </pc:spChg>
        <pc:spChg chg="mod">
          <ac:chgData name="Ugo MANTEL" userId="2d5b7065-31bb-4181-a7f8-a73bf0c30211" providerId="ADAL" clId="{F05BB0D5-3454-45DC-8378-DA45B79D9A06}" dt="2020-10-02T13:04:35.329" v="4298" actId="790"/>
          <ac:spMkLst>
            <pc:docMk/>
            <pc:sldMk cId="106942386" sldId="6857"/>
            <ac:spMk id="18" creationId="{5306F885-8467-4812-83BF-91BF6ED5110E}"/>
          </ac:spMkLst>
        </pc:spChg>
        <pc:spChg chg="mod">
          <ac:chgData name="Ugo MANTEL" userId="2d5b7065-31bb-4181-a7f8-a73bf0c30211" providerId="ADAL" clId="{F05BB0D5-3454-45DC-8378-DA45B79D9A06}" dt="2020-10-02T13:04:35.336" v="4301" actId="790"/>
          <ac:spMkLst>
            <pc:docMk/>
            <pc:sldMk cId="106942386" sldId="6857"/>
            <ac:spMk id="19" creationId="{E4F66408-3154-4332-A0D9-EE50DAAB0FA9}"/>
          </ac:spMkLst>
        </pc:spChg>
        <pc:spChg chg="mod">
          <ac:chgData name="Ugo MANTEL" userId="2d5b7065-31bb-4181-a7f8-a73bf0c30211" providerId="ADAL" clId="{F05BB0D5-3454-45DC-8378-DA45B79D9A06}" dt="2020-10-02T13:04:35.327" v="4297" actId="790"/>
          <ac:spMkLst>
            <pc:docMk/>
            <pc:sldMk cId="106942386" sldId="6857"/>
            <ac:spMk id="26" creationId="{D83D40EB-3A78-4813-9686-1A8B94D2CF13}"/>
          </ac:spMkLst>
        </pc:spChg>
        <pc:spChg chg="mod">
          <ac:chgData name="Ugo MANTEL" userId="2d5b7065-31bb-4181-a7f8-a73bf0c30211" providerId="ADAL" clId="{F05BB0D5-3454-45DC-8378-DA45B79D9A06}" dt="2020-10-02T13:04:35.343" v="4307" actId="790"/>
          <ac:spMkLst>
            <pc:docMk/>
            <pc:sldMk cId="106942386" sldId="6857"/>
            <ac:spMk id="33" creationId="{2F1ED0FD-CDEC-450F-B543-1CE32E396CAA}"/>
          </ac:spMkLst>
        </pc:spChg>
        <pc:spChg chg="mod">
          <ac:chgData name="Ugo MANTEL" userId="2d5b7065-31bb-4181-a7f8-a73bf0c30211" providerId="ADAL" clId="{F05BB0D5-3454-45DC-8378-DA45B79D9A06}" dt="2020-10-02T13:04:35.339" v="4302" actId="790"/>
          <ac:spMkLst>
            <pc:docMk/>
            <pc:sldMk cId="106942386" sldId="6857"/>
            <ac:spMk id="37" creationId="{658FC7B2-A462-4290-BE15-03F99711CFE2}"/>
          </ac:spMkLst>
        </pc:spChg>
        <pc:spChg chg="mod">
          <ac:chgData name="Ugo MANTEL" userId="2d5b7065-31bb-4181-a7f8-a73bf0c30211" providerId="ADAL" clId="{F05BB0D5-3454-45DC-8378-DA45B79D9A06}" dt="2020-10-02T13:04:35.339" v="4303" actId="790"/>
          <ac:spMkLst>
            <pc:docMk/>
            <pc:sldMk cId="106942386" sldId="6857"/>
            <ac:spMk id="38" creationId="{F34DDC50-2D00-496D-9C66-7A8974C5337C}"/>
          </ac:spMkLst>
        </pc:spChg>
        <pc:spChg chg="mod">
          <ac:chgData name="Ugo MANTEL" userId="2d5b7065-31bb-4181-a7f8-a73bf0c30211" providerId="ADAL" clId="{F05BB0D5-3454-45DC-8378-DA45B79D9A06}" dt="2020-10-02T13:04:35.340" v="4304" actId="790"/>
          <ac:spMkLst>
            <pc:docMk/>
            <pc:sldMk cId="106942386" sldId="6857"/>
            <ac:spMk id="39" creationId="{07407110-1618-44FE-ADF6-2642A088127F}"/>
          </ac:spMkLst>
        </pc:spChg>
        <pc:spChg chg="mod">
          <ac:chgData name="Ugo MANTEL" userId="2d5b7065-31bb-4181-a7f8-a73bf0c30211" providerId="ADAL" clId="{F05BB0D5-3454-45DC-8378-DA45B79D9A06}" dt="2020-10-02T13:04:35.330" v="4299" actId="790"/>
          <ac:spMkLst>
            <pc:docMk/>
            <pc:sldMk cId="106942386" sldId="6857"/>
            <ac:spMk id="40" creationId="{1D4D4ECA-F7DD-43F8-8C86-BBB9912BA7B8}"/>
          </ac:spMkLst>
        </pc:spChg>
        <pc:spChg chg="mod">
          <ac:chgData name="Ugo MANTEL" userId="2d5b7065-31bb-4181-a7f8-a73bf0c30211" providerId="ADAL" clId="{F05BB0D5-3454-45DC-8378-DA45B79D9A06}" dt="2020-10-02T13:04:35.341" v="4305" actId="790"/>
          <ac:spMkLst>
            <pc:docMk/>
            <pc:sldMk cId="106942386" sldId="6857"/>
            <ac:spMk id="41" creationId="{32DB9C16-58BC-4597-9BB5-C0E4C55BCBCA}"/>
          </ac:spMkLst>
        </pc:spChg>
        <pc:spChg chg="mod">
          <ac:chgData name="Ugo MANTEL" userId="2d5b7065-31bb-4181-a7f8-a73bf0c30211" providerId="ADAL" clId="{F05BB0D5-3454-45DC-8378-DA45B79D9A06}" dt="2020-10-02T13:04:35.342" v="4306" actId="790"/>
          <ac:spMkLst>
            <pc:docMk/>
            <pc:sldMk cId="106942386" sldId="6857"/>
            <ac:spMk id="46" creationId="{06743791-C819-409A-B67E-775EB881BBCC}"/>
          </ac:spMkLst>
        </pc:spChg>
        <pc:spChg chg="mod">
          <ac:chgData name="Ugo MANTEL" userId="2d5b7065-31bb-4181-a7f8-a73bf0c30211" providerId="ADAL" clId="{F05BB0D5-3454-45DC-8378-DA45B79D9A06}" dt="2020-10-02T13:04:35.326" v="4296" actId="790"/>
          <ac:spMkLst>
            <pc:docMk/>
            <pc:sldMk cId="106942386" sldId="6857"/>
            <ac:spMk id="50" creationId="{BDB37B39-FBB6-4E35-9EB1-5883957472DA}"/>
          </ac:spMkLst>
        </pc:spChg>
        <pc:graphicFrameChg chg="mod">
          <ac:chgData name="Ugo MANTEL" userId="2d5b7065-31bb-4181-a7f8-a73bf0c30211" providerId="ADAL" clId="{F05BB0D5-3454-45DC-8378-DA45B79D9A06}" dt="2020-10-02T13:05:04.720" v="6171" actId="207"/>
          <ac:graphicFrameMkLst>
            <pc:docMk/>
            <pc:sldMk cId="106942386" sldId="6857"/>
            <ac:graphicFrameMk id="8" creationId="{256AEEA1-5D55-4724-A980-03F17A2BB8E7}"/>
          </ac:graphicFrameMkLst>
        </pc:graphicFrameChg>
        <pc:graphicFrameChg chg="mod">
          <ac:chgData name="Ugo MANTEL" userId="2d5b7065-31bb-4181-a7f8-a73bf0c30211" providerId="ADAL" clId="{F05BB0D5-3454-45DC-8378-DA45B79D9A06}" dt="2020-10-02T13:05:02.224" v="6170" actId="207"/>
          <ac:graphicFrameMkLst>
            <pc:docMk/>
            <pc:sldMk cId="106942386" sldId="6857"/>
            <ac:graphicFrameMk id="25" creationId="{AF78BBC2-D582-413C-B8BD-D350092B8080}"/>
          </ac:graphicFrameMkLst>
        </pc:graphicFrameChg>
      </pc:sldChg>
      <pc:sldChg chg="modSp mod">
        <pc:chgData name="Ugo MANTEL" userId="2d5b7065-31bb-4181-a7f8-a73bf0c30211" providerId="ADAL" clId="{F05BB0D5-3454-45DC-8378-DA45B79D9A06}" dt="2020-10-02T13:04:36.243" v="4939" actId="790"/>
        <pc:sldMkLst>
          <pc:docMk/>
          <pc:sldMk cId="2858913777" sldId="6859"/>
        </pc:sldMkLst>
        <pc:spChg chg="mod">
          <ac:chgData name="Ugo MANTEL" userId="2d5b7065-31bb-4181-a7f8-a73bf0c30211" providerId="ADAL" clId="{F05BB0D5-3454-45DC-8378-DA45B79D9A06}" dt="2020-10-02T13:04:36.206" v="4890" actId="790"/>
          <ac:spMkLst>
            <pc:docMk/>
            <pc:sldMk cId="2858913777" sldId="6859"/>
            <ac:spMk id="6" creationId="{25861423-B7E5-4BBB-801E-D6A817B228E3}"/>
          </ac:spMkLst>
        </pc:spChg>
        <pc:spChg chg="mod">
          <ac:chgData name="Ugo MANTEL" userId="2d5b7065-31bb-4181-a7f8-a73bf0c30211" providerId="ADAL" clId="{F05BB0D5-3454-45DC-8378-DA45B79D9A06}" dt="2020-10-02T13:04:36.204" v="4887" actId="790"/>
          <ac:spMkLst>
            <pc:docMk/>
            <pc:sldMk cId="2858913777" sldId="6859"/>
            <ac:spMk id="8" creationId="{FD4BC3F8-F041-410F-8855-117A275E19E4}"/>
          </ac:spMkLst>
        </pc:spChg>
        <pc:spChg chg="mod">
          <ac:chgData name="Ugo MANTEL" userId="2d5b7065-31bb-4181-a7f8-a73bf0c30211" providerId="ADAL" clId="{F05BB0D5-3454-45DC-8378-DA45B79D9A06}" dt="2020-10-02T13:04:36.202" v="4886" actId="790"/>
          <ac:spMkLst>
            <pc:docMk/>
            <pc:sldMk cId="2858913777" sldId="6859"/>
            <ac:spMk id="9" creationId="{BD5389A5-05ED-4501-9DF1-8E169C03EF84}"/>
          </ac:spMkLst>
        </pc:spChg>
        <pc:spChg chg="mod">
          <ac:chgData name="Ugo MANTEL" userId="2d5b7065-31bb-4181-a7f8-a73bf0c30211" providerId="ADAL" clId="{F05BB0D5-3454-45DC-8378-DA45B79D9A06}" dt="2020-10-02T13:04:36.209" v="4894" actId="790"/>
          <ac:spMkLst>
            <pc:docMk/>
            <pc:sldMk cId="2858913777" sldId="6859"/>
            <ac:spMk id="18" creationId="{8457B5A9-A89C-4927-BA8E-107673E4DB83}"/>
          </ac:spMkLst>
        </pc:spChg>
        <pc:spChg chg="mod">
          <ac:chgData name="Ugo MANTEL" userId="2d5b7065-31bb-4181-a7f8-a73bf0c30211" providerId="ADAL" clId="{F05BB0D5-3454-45DC-8378-DA45B79D9A06}" dt="2020-10-02T13:04:36.226" v="4915" actId="790"/>
          <ac:spMkLst>
            <pc:docMk/>
            <pc:sldMk cId="2858913777" sldId="6859"/>
            <ac:spMk id="22" creationId="{2CF18A89-74C0-4E83-9AA1-37C60881EBBD}"/>
          </ac:spMkLst>
        </pc:spChg>
        <pc:spChg chg="mod">
          <ac:chgData name="Ugo MANTEL" userId="2d5b7065-31bb-4181-a7f8-a73bf0c30211" providerId="ADAL" clId="{F05BB0D5-3454-45DC-8378-DA45B79D9A06}" dt="2020-10-02T13:04:36.205" v="4888" actId="790"/>
          <ac:spMkLst>
            <pc:docMk/>
            <pc:sldMk cId="2858913777" sldId="6859"/>
            <ac:spMk id="31" creationId="{C746EEE6-FBAA-4D9F-BF1B-28F0E463483F}"/>
          </ac:spMkLst>
        </pc:spChg>
        <pc:spChg chg="mod">
          <ac:chgData name="Ugo MANTEL" userId="2d5b7065-31bb-4181-a7f8-a73bf0c30211" providerId="ADAL" clId="{F05BB0D5-3454-45DC-8378-DA45B79D9A06}" dt="2020-10-02T13:04:36.206" v="4889" actId="790"/>
          <ac:spMkLst>
            <pc:docMk/>
            <pc:sldMk cId="2858913777" sldId="6859"/>
            <ac:spMk id="47" creationId="{5AF0734E-1750-4234-9279-3D55257BE897}"/>
          </ac:spMkLst>
        </pc:spChg>
        <pc:spChg chg="mod">
          <ac:chgData name="Ugo MANTEL" userId="2d5b7065-31bb-4181-a7f8-a73bf0c30211" providerId="ADAL" clId="{F05BB0D5-3454-45DC-8378-DA45B79D9A06}" dt="2020-10-02T13:04:36.207" v="4891" actId="790"/>
          <ac:spMkLst>
            <pc:docMk/>
            <pc:sldMk cId="2858913777" sldId="6859"/>
            <ac:spMk id="60" creationId="{38F0297C-B0F1-4D42-BF61-5201F1CDDACA}"/>
          </ac:spMkLst>
        </pc:spChg>
        <pc:spChg chg="mod">
          <ac:chgData name="Ugo MANTEL" userId="2d5b7065-31bb-4181-a7f8-a73bf0c30211" providerId="ADAL" clId="{F05BB0D5-3454-45DC-8378-DA45B79D9A06}" dt="2020-10-02T13:04:36.208" v="4892" actId="790"/>
          <ac:spMkLst>
            <pc:docMk/>
            <pc:sldMk cId="2858913777" sldId="6859"/>
            <ac:spMk id="61" creationId="{39C65FE5-1AF6-4B2B-84FE-BFB32955BB20}"/>
          </ac:spMkLst>
        </pc:spChg>
        <pc:spChg chg="mod">
          <ac:chgData name="Ugo MANTEL" userId="2d5b7065-31bb-4181-a7f8-a73bf0c30211" providerId="ADAL" clId="{F05BB0D5-3454-45DC-8378-DA45B79D9A06}" dt="2020-10-02T13:04:36.208" v="4893" actId="790"/>
          <ac:spMkLst>
            <pc:docMk/>
            <pc:sldMk cId="2858913777" sldId="6859"/>
            <ac:spMk id="62" creationId="{628F4416-8230-4867-A189-BDFA62AABA39}"/>
          </ac:spMkLst>
        </pc:spChg>
        <pc:spChg chg="mod">
          <ac:chgData name="Ugo MANTEL" userId="2d5b7065-31bb-4181-a7f8-a73bf0c30211" providerId="ADAL" clId="{F05BB0D5-3454-45DC-8378-DA45B79D9A06}" dt="2020-10-02T13:04:36.210" v="4895" actId="790"/>
          <ac:spMkLst>
            <pc:docMk/>
            <pc:sldMk cId="2858913777" sldId="6859"/>
            <ac:spMk id="63" creationId="{8F2DE3CD-8E0F-4CBF-A81D-34449E4099DD}"/>
          </ac:spMkLst>
        </pc:spChg>
        <pc:spChg chg="mod">
          <ac:chgData name="Ugo MANTEL" userId="2d5b7065-31bb-4181-a7f8-a73bf0c30211" providerId="ADAL" clId="{F05BB0D5-3454-45DC-8378-DA45B79D9A06}" dt="2020-10-02T13:04:36.211" v="4896" actId="790"/>
          <ac:spMkLst>
            <pc:docMk/>
            <pc:sldMk cId="2858913777" sldId="6859"/>
            <ac:spMk id="64" creationId="{2CBCEB97-D7D4-431A-B3AA-96B3493288DC}"/>
          </ac:spMkLst>
        </pc:spChg>
        <pc:spChg chg="mod">
          <ac:chgData name="Ugo MANTEL" userId="2d5b7065-31bb-4181-a7f8-a73bf0c30211" providerId="ADAL" clId="{F05BB0D5-3454-45DC-8378-DA45B79D9A06}" dt="2020-10-02T13:04:36.211" v="4897" actId="790"/>
          <ac:spMkLst>
            <pc:docMk/>
            <pc:sldMk cId="2858913777" sldId="6859"/>
            <ac:spMk id="65" creationId="{48899C6C-EE59-42A6-9CC5-60F624F15B8C}"/>
          </ac:spMkLst>
        </pc:spChg>
        <pc:spChg chg="mod">
          <ac:chgData name="Ugo MANTEL" userId="2d5b7065-31bb-4181-a7f8-a73bf0c30211" providerId="ADAL" clId="{F05BB0D5-3454-45DC-8378-DA45B79D9A06}" dt="2020-10-02T13:04:36.212" v="4898" actId="790"/>
          <ac:spMkLst>
            <pc:docMk/>
            <pc:sldMk cId="2858913777" sldId="6859"/>
            <ac:spMk id="66" creationId="{8F0E67CD-E6E3-4523-B1FF-EEF8E6EE5F7E}"/>
          </ac:spMkLst>
        </pc:spChg>
        <pc:spChg chg="mod">
          <ac:chgData name="Ugo MANTEL" userId="2d5b7065-31bb-4181-a7f8-a73bf0c30211" providerId="ADAL" clId="{F05BB0D5-3454-45DC-8378-DA45B79D9A06}" dt="2020-10-02T13:04:36.213" v="4899" actId="790"/>
          <ac:spMkLst>
            <pc:docMk/>
            <pc:sldMk cId="2858913777" sldId="6859"/>
            <ac:spMk id="69" creationId="{406D2AB1-0BA3-44C8-BA67-B84847CF64C2}"/>
          </ac:spMkLst>
        </pc:spChg>
        <pc:spChg chg="mod">
          <ac:chgData name="Ugo MANTEL" userId="2d5b7065-31bb-4181-a7f8-a73bf0c30211" providerId="ADAL" clId="{F05BB0D5-3454-45DC-8378-DA45B79D9A06}" dt="2020-10-02T13:04:36.213" v="4900" actId="790"/>
          <ac:spMkLst>
            <pc:docMk/>
            <pc:sldMk cId="2858913777" sldId="6859"/>
            <ac:spMk id="78" creationId="{741FF14F-7273-43C5-97A1-EE9838162B7F}"/>
          </ac:spMkLst>
        </pc:spChg>
        <pc:spChg chg="mod">
          <ac:chgData name="Ugo MANTEL" userId="2d5b7065-31bb-4181-a7f8-a73bf0c30211" providerId="ADAL" clId="{F05BB0D5-3454-45DC-8378-DA45B79D9A06}" dt="2020-10-02T13:04:36.214" v="4901" actId="790"/>
          <ac:spMkLst>
            <pc:docMk/>
            <pc:sldMk cId="2858913777" sldId="6859"/>
            <ac:spMk id="79" creationId="{5308A074-16BB-4D11-8308-CC04E3A29292}"/>
          </ac:spMkLst>
        </pc:spChg>
        <pc:spChg chg="mod">
          <ac:chgData name="Ugo MANTEL" userId="2d5b7065-31bb-4181-a7f8-a73bf0c30211" providerId="ADAL" clId="{F05BB0D5-3454-45DC-8378-DA45B79D9A06}" dt="2020-10-02T13:04:36.215" v="4902" actId="790"/>
          <ac:spMkLst>
            <pc:docMk/>
            <pc:sldMk cId="2858913777" sldId="6859"/>
            <ac:spMk id="80" creationId="{DAA29508-8672-4312-BB53-7550FAA0C72B}"/>
          </ac:spMkLst>
        </pc:spChg>
        <pc:spChg chg="mod">
          <ac:chgData name="Ugo MANTEL" userId="2d5b7065-31bb-4181-a7f8-a73bf0c30211" providerId="ADAL" clId="{F05BB0D5-3454-45DC-8378-DA45B79D9A06}" dt="2020-10-02T13:04:36.216" v="4903" actId="790"/>
          <ac:spMkLst>
            <pc:docMk/>
            <pc:sldMk cId="2858913777" sldId="6859"/>
            <ac:spMk id="81" creationId="{0E944945-9372-41A2-9FC6-F15AA1AE9659}"/>
          </ac:spMkLst>
        </pc:spChg>
        <pc:spChg chg="mod">
          <ac:chgData name="Ugo MANTEL" userId="2d5b7065-31bb-4181-a7f8-a73bf0c30211" providerId="ADAL" clId="{F05BB0D5-3454-45DC-8378-DA45B79D9A06}" dt="2020-10-02T13:04:36.216" v="4904" actId="790"/>
          <ac:spMkLst>
            <pc:docMk/>
            <pc:sldMk cId="2858913777" sldId="6859"/>
            <ac:spMk id="82" creationId="{DC7280B3-BDEB-4C70-B7A5-49E4F8BC533A}"/>
          </ac:spMkLst>
        </pc:spChg>
        <pc:spChg chg="mod">
          <ac:chgData name="Ugo MANTEL" userId="2d5b7065-31bb-4181-a7f8-a73bf0c30211" providerId="ADAL" clId="{F05BB0D5-3454-45DC-8378-DA45B79D9A06}" dt="2020-10-02T13:04:36.217" v="4905" actId="790"/>
          <ac:spMkLst>
            <pc:docMk/>
            <pc:sldMk cId="2858913777" sldId="6859"/>
            <ac:spMk id="83" creationId="{937CE95F-105C-41FF-8FDE-D7A3184F5698}"/>
          </ac:spMkLst>
        </pc:spChg>
        <pc:spChg chg="mod">
          <ac:chgData name="Ugo MANTEL" userId="2d5b7065-31bb-4181-a7f8-a73bf0c30211" providerId="ADAL" clId="{F05BB0D5-3454-45DC-8378-DA45B79D9A06}" dt="2020-10-02T13:04:36.218" v="4906" actId="790"/>
          <ac:spMkLst>
            <pc:docMk/>
            <pc:sldMk cId="2858913777" sldId="6859"/>
            <ac:spMk id="84" creationId="{A26C4657-9D89-4B5F-B0F1-8EE608A29150}"/>
          </ac:spMkLst>
        </pc:spChg>
        <pc:spChg chg="mod">
          <ac:chgData name="Ugo MANTEL" userId="2d5b7065-31bb-4181-a7f8-a73bf0c30211" providerId="ADAL" clId="{F05BB0D5-3454-45DC-8378-DA45B79D9A06}" dt="2020-10-02T13:04:36.218" v="4907" actId="790"/>
          <ac:spMkLst>
            <pc:docMk/>
            <pc:sldMk cId="2858913777" sldId="6859"/>
            <ac:spMk id="86" creationId="{EA53399A-151C-48BD-99F3-01FA86317032}"/>
          </ac:spMkLst>
        </pc:spChg>
        <pc:spChg chg="mod">
          <ac:chgData name="Ugo MANTEL" userId="2d5b7065-31bb-4181-a7f8-a73bf0c30211" providerId="ADAL" clId="{F05BB0D5-3454-45DC-8378-DA45B79D9A06}" dt="2020-10-02T13:04:36.220" v="4908" actId="790"/>
          <ac:spMkLst>
            <pc:docMk/>
            <pc:sldMk cId="2858913777" sldId="6859"/>
            <ac:spMk id="87" creationId="{01D106B2-4F6A-46E2-ABD9-460F58888DFF}"/>
          </ac:spMkLst>
        </pc:spChg>
        <pc:spChg chg="mod">
          <ac:chgData name="Ugo MANTEL" userId="2d5b7065-31bb-4181-a7f8-a73bf0c30211" providerId="ADAL" clId="{F05BB0D5-3454-45DC-8378-DA45B79D9A06}" dt="2020-10-02T13:04:36.239" v="4933" actId="790"/>
          <ac:spMkLst>
            <pc:docMk/>
            <pc:sldMk cId="2858913777" sldId="6859"/>
            <ac:spMk id="88" creationId="{EC48B18B-8A39-45B2-9FE2-B38B8E9D5248}"/>
          </ac:spMkLst>
        </pc:spChg>
        <pc:spChg chg="mod">
          <ac:chgData name="Ugo MANTEL" userId="2d5b7065-31bb-4181-a7f8-a73bf0c30211" providerId="ADAL" clId="{F05BB0D5-3454-45DC-8378-DA45B79D9A06}" dt="2020-10-02T13:04:36.243" v="4939" actId="790"/>
          <ac:spMkLst>
            <pc:docMk/>
            <pc:sldMk cId="2858913777" sldId="6859"/>
            <ac:spMk id="89" creationId="{B891510A-F60C-4207-8B99-14CA4349A654}"/>
          </ac:spMkLst>
        </pc:spChg>
        <pc:spChg chg="mod">
          <ac:chgData name="Ugo MANTEL" userId="2d5b7065-31bb-4181-a7f8-a73bf0c30211" providerId="ADAL" clId="{F05BB0D5-3454-45DC-8378-DA45B79D9A06}" dt="2020-10-02T13:04:36.222" v="4909" actId="790"/>
          <ac:spMkLst>
            <pc:docMk/>
            <pc:sldMk cId="2858913777" sldId="6859"/>
            <ac:spMk id="93" creationId="{8BFCFB7D-BFA5-4F2F-8403-61E19FDC8FDF}"/>
          </ac:spMkLst>
        </pc:spChg>
        <pc:spChg chg="mod">
          <ac:chgData name="Ugo MANTEL" userId="2d5b7065-31bb-4181-a7f8-a73bf0c30211" providerId="ADAL" clId="{F05BB0D5-3454-45DC-8378-DA45B79D9A06}" dt="2020-10-02T13:04:36.222" v="4910" actId="790"/>
          <ac:spMkLst>
            <pc:docMk/>
            <pc:sldMk cId="2858913777" sldId="6859"/>
            <ac:spMk id="94" creationId="{C6E6D031-386F-4F4F-9516-B1FB7AB8F0CA}"/>
          </ac:spMkLst>
        </pc:spChg>
        <pc:spChg chg="mod">
          <ac:chgData name="Ugo MANTEL" userId="2d5b7065-31bb-4181-a7f8-a73bf0c30211" providerId="ADAL" clId="{F05BB0D5-3454-45DC-8378-DA45B79D9A06}" dt="2020-10-02T13:04:36.223" v="4911" actId="790"/>
          <ac:spMkLst>
            <pc:docMk/>
            <pc:sldMk cId="2858913777" sldId="6859"/>
            <ac:spMk id="95" creationId="{4EE04017-06B5-4368-89F1-AB063CBF72C0}"/>
          </ac:spMkLst>
        </pc:spChg>
        <pc:spChg chg="mod">
          <ac:chgData name="Ugo MANTEL" userId="2d5b7065-31bb-4181-a7f8-a73bf0c30211" providerId="ADAL" clId="{F05BB0D5-3454-45DC-8378-DA45B79D9A06}" dt="2020-10-02T13:04:36.224" v="4912" actId="790"/>
          <ac:spMkLst>
            <pc:docMk/>
            <pc:sldMk cId="2858913777" sldId="6859"/>
            <ac:spMk id="96" creationId="{A41F0A7F-DF11-4474-A1F2-E630C43837CA}"/>
          </ac:spMkLst>
        </pc:spChg>
        <pc:spChg chg="mod">
          <ac:chgData name="Ugo MANTEL" userId="2d5b7065-31bb-4181-a7f8-a73bf0c30211" providerId="ADAL" clId="{F05BB0D5-3454-45DC-8378-DA45B79D9A06}" dt="2020-10-02T13:04:36.224" v="4913" actId="790"/>
          <ac:spMkLst>
            <pc:docMk/>
            <pc:sldMk cId="2858913777" sldId="6859"/>
            <ac:spMk id="97" creationId="{BC031AB2-5C3D-4DE0-A683-4C551B80C2DD}"/>
          </ac:spMkLst>
        </pc:spChg>
        <pc:spChg chg="mod">
          <ac:chgData name="Ugo MANTEL" userId="2d5b7065-31bb-4181-a7f8-a73bf0c30211" providerId="ADAL" clId="{F05BB0D5-3454-45DC-8378-DA45B79D9A06}" dt="2020-10-02T13:04:36.225" v="4914" actId="790"/>
          <ac:spMkLst>
            <pc:docMk/>
            <pc:sldMk cId="2858913777" sldId="6859"/>
            <ac:spMk id="98" creationId="{4C783BAA-2F16-4963-922A-FCF51E183B33}"/>
          </ac:spMkLst>
        </pc:spChg>
        <pc:spChg chg="mod">
          <ac:chgData name="Ugo MANTEL" userId="2d5b7065-31bb-4181-a7f8-a73bf0c30211" providerId="ADAL" clId="{F05BB0D5-3454-45DC-8378-DA45B79D9A06}" dt="2020-10-02T13:04:36.240" v="4934" actId="790"/>
          <ac:spMkLst>
            <pc:docMk/>
            <pc:sldMk cId="2858913777" sldId="6859"/>
            <ac:spMk id="106" creationId="{02CD6E62-7AB3-4C63-B1B9-65A9DB0621A7}"/>
          </ac:spMkLst>
        </pc:spChg>
        <pc:spChg chg="mod">
          <ac:chgData name="Ugo MANTEL" userId="2d5b7065-31bb-4181-a7f8-a73bf0c30211" providerId="ADAL" clId="{F05BB0D5-3454-45DC-8378-DA45B79D9A06}" dt="2020-10-02T13:04:36.240" v="4935" actId="790"/>
          <ac:spMkLst>
            <pc:docMk/>
            <pc:sldMk cId="2858913777" sldId="6859"/>
            <ac:spMk id="107" creationId="{79047633-7EC8-4B3B-8EF6-5EED4B27A16D}"/>
          </ac:spMkLst>
        </pc:spChg>
        <pc:spChg chg="mod">
          <ac:chgData name="Ugo MANTEL" userId="2d5b7065-31bb-4181-a7f8-a73bf0c30211" providerId="ADAL" clId="{F05BB0D5-3454-45DC-8378-DA45B79D9A06}" dt="2020-10-02T13:04:36.241" v="4936" actId="790"/>
          <ac:spMkLst>
            <pc:docMk/>
            <pc:sldMk cId="2858913777" sldId="6859"/>
            <ac:spMk id="108" creationId="{B13664D0-5A87-4CB1-8D07-FC8D124AB4D2}"/>
          </ac:spMkLst>
        </pc:spChg>
        <pc:spChg chg="mod">
          <ac:chgData name="Ugo MANTEL" userId="2d5b7065-31bb-4181-a7f8-a73bf0c30211" providerId="ADAL" clId="{F05BB0D5-3454-45DC-8378-DA45B79D9A06}" dt="2020-10-02T13:04:36.241" v="4937" actId="790"/>
          <ac:spMkLst>
            <pc:docMk/>
            <pc:sldMk cId="2858913777" sldId="6859"/>
            <ac:spMk id="109" creationId="{9A639CDA-C951-4E45-960A-80CE80C7E837}"/>
          </ac:spMkLst>
        </pc:spChg>
        <pc:spChg chg="mod">
          <ac:chgData name="Ugo MANTEL" userId="2d5b7065-31bb-4181-a7f8-a73bf0c30211" providerId="ADAL" clId="{F05BB0D5-3454-45DC-8378-DA45B79D9A06}" dt="2020-10-02T13:04:36.228" v="4918" actId="790"/>
          <ac:spMkLst>
            <pc:docMk/>
            <pc:sldMk cId="2858913777" sldId="6859"/>
            <ac:spMk id="113" creationId="{F655ED7B-C0F6-40EC-850E-FFA8C6026600}"/>
          </ac:spMkLst>
        </pc:spChg>
        <pc:spChg chg="mod">
          <ac:chgData name="Ugo MANTEL" userId="2d5b7065-31bb-4181-a7f8-a73bf0c30211" providerId="ADAL" clId="{F05BB0D5-3454-45DC-8378-DA45B79D9A06}" dt="2020-10-02T13:04:36.227" v="4916" actId="790"/>
          <ac:spMkLst>
            <pc:docMk/>
            <pc:sldMk cId="2858913777" sldId="6859"/>
            <ac:spMk id="116" creationId="{35563276-B3B0-4F44-9743-A0152C86D39D}"/>
          </ac:spMkLst>
        </pc:spChg>
        <pc:spChg chg="mod">
          <ac:chgData name="Ugo MANTEL" userId="2d5b7065-31bb-4181-a7f8-a73bf0c30211" providerId="ADAL" clId="{F05BB0D5-3454-45DC-8378-DA45B79D9A06}" dt="2020-10-02T13:04:36.242" v="4938" actId="790"/>
          <ac:spMkLst>
            <pc:docMk/>
            <pc:sldMk cId="2858913777" sldId="6859"/>
            <ac:spMk id="119" creationId="{2A9AF37D-BC56-415C-88E1-4A39E2ABC8F8}"/>
          </ac:spMkLst>
        </pc:spChg>
        <pc:spChg chg="mod">
          <ac:chgData name="Ugo MANTEL" userId="2d5b7065-31bb-4181-a7f8-a73bf0c30211" providerId="ADAL" clId="{F05BB0D5-3454-45DC-8378-DA45B79D9A06}" dt="2020-10-02T13:04:36.229" v="4919" actId="790"/>
          <ac:spMkLst>
            <pc:docMk/>
            <pc:sldMk cId="2858913777" sldId="6859"/>
            <ac:spMk id="120" creationId="{C8D0DC4A-696E-4257-84F8-5DD392D5C698}"/>
          </ac:spMkLst>
        </pc:spChg>
        <pc:spChg chg="mod">
          <ac:chgData name="Ugo MANTEL" userId="2d5b7065-31bb-4181-a7f8-a73bf0c30211" providerId="ADAL" clId="{F05BB0D5-3454-45DC-8378-DA45B79D9A06}" dt="2020-10-02T13:04:36.229" v="4920" actId="790"/>
          <ac:spMkLst>
            <pc:docMk/>
            <pc:sldMk cId="2858913777" sldId="6859"/>
            <ac:spMk id="121" creationId="{292E7724-30F8-4A73-B55F-CE16541AEE82}"/>
          </ac:spMkLst>
        </pc:spChg>
        <pc:spChg chg="mod">
          <ac:chgData name="Ugo MANTEL" userId="2d5b7065-31bb-4181-a7f8-a73bf0c30211" providerId="ADAL" clId="{F05BB0D5-3454-45DC-8378-DA45B79D9A06}" dt="2020-10-02T13:04:36.230" v="4921" actId="790"/>
          <ac:spMkLst>
            <pc:docMk/>
            <pc:sldMk cId="2858913777" sldId="6859"/>
            <ac:spMk id="124" creationId="{58748656-15CD-4B06-B567-5042C6CC00D2}"/>
          </ac:spMkLst>
        </pc:spChg>
        <pc:spChg chg="mod">
          <ac:chgData name="Ugo MANTEL" userId="2d5b7065-31bb-4181-a7f8-a73bf0c30211" providerId="ADAL" clId="{F05BB0D5-3454-45DC-8378-DA45B79D9A06}" dt="2020-10-02T13:04:36.231" v="4922" actId="790"/>
          <ac:spMkLst>
            <pc:docMk/>
            <pc:sldMk cId="2858913777" sldId="6859"/>
            <ac:spMk id="125" creationId="{5DE580C4-DA8B-4F2C-8B83-DDBAC8565214}"/>
          </ac:spMkLst>
        </pc:spChg>
        <pc:spChg chg="mod">
          <ac:chgData name="Ugo MANTEL" userId="2d5b7065-31bb-4181-a7f8-a73bf0c30211" providerId="ADAL" clId="{F05BB0D5-3454-45DC-8378-DA45B79D9A06}" dt="2020-10-02T13:04:36.231" v="4923" actId="790"/>
          <ac:spMkLst>
            <pc:docMk/>
            <pc:sldMk cId="2858913777" sldId="6859"/>
            <ac:spMk id="126" creationId="{0BAD14DD-49BB-4335-8A01-A83EE20E2482}"/>
          </ac:spMkLst>
        </pc:spChg>
        <pc:spChg chg="mod">
          <ac:chgData name="Ugo MANTEL" userId="2d5b7065-31bb-4181-a7f8-a73bf0c30211" providerId="ADAL" clId="{F05BB0D5-3454-45DC-8378-DA45B79D9A06}" dt="2020-10-02T13:04:36.233" v="4924" actId="790"/>
          <ac:spMkLst>
            <pc:docMk/>
            <pc:sldMk cId="2858913777" sldId="6859"/>
            <ac:spMk id="127" creationId="{1ABDD21B-644D-4890-9E3C-557D98C0CAF0}"/>
          </ac:spMkLst>
        </pc:spChg>
        <pc:spChg chg="mod">
          <ac:chgData name="Ugo MANTEL" userId="2d5b7065-31bb-4181-a7f8-a73bf0c30211" providerId="ADAL" clId="{F05BB0D5-3454-45DC-8378-DA45B79D9A06}" dt="2020-10-02T13:04:36.233" v="4925" actId="790"/>
          <ac:spMkLst>
            <pc:docMk/>
            <pc:sldMk cId="2858913777" sldId="6859"/>
            <ac:spMk id="128" creationId="{693C5788-4771-4823-9A8D-A419E6E593A1}"/>
          </ac:spMkLst>
        </pc:spChg>
        <pc:spChg chg="mod">
          <ac:chgData name="Ugo MANTEL" userId="2d5b7065-31bb-4181-a7f8-a73bf0c30211" providerId="ADAL" clId="{F05BB0D5-3454-45DC-8378-DA45B79D9A06}" dt="2020-10-02T13:04:36.234" v="4926" actId="790"/>
          <ac:spMkLst>
            <pc:docMk/>
            <pc:sldMk cId="2858913777" sldId="6859"/>
            <ac:spMk id="129" creationId="{00B164D5-08CB-46A4-88D1-02974D73F51B}"/>
          </ac:spMkLst>
        </pc:spChg>
        <pc:spChg chg="mod">
          <ac:chgData name="Ugo MANTEL" userId="2d5b7065-31bb-4181-a7f8-a73bf0c30211" providerId="ADAL" clId="{F05BB0D5-3454-45DC-8378-DA45B79D9A06}" dt="2020-10-02T13:04:36.235" v="4927" actId="790"/>
          <ac:spMkLst>
            <pc:docMk/>
            <pc:sldMk cId="2858913777" sldId="6859"/>
            <ac:spMk id="130" creationId="{5CFBDF14-B8DC-49D0-8B9C-6760D81F6B7A}"/>
          </ac:spMkLst>
        </pc:spChg>
        <pc:spChg chg="mod">
          <ac:chgData name="Ugo MANTEL" userId="2d5b7065-31bb-4181-a7f8-a73bf0c30211" providerId="ADAL" clId="{F05BB0D5-3454-45DC-8378-DA45B79D9A06}" dt="2020-10-02T13:04:36.235" v="4928" actId="790"/>
          <ac:spMkLst>
            <pc:docMk/>
            <pc:sldMk cId="2858913777" sldId="6859"/>
            <ac:spMk id="131" creationId="{E61982D1-2984-49C5-84F5-AEC79EF1F3EB}"/>
          </ac:spMkLst>
        </pc:spChg>
        <pc:spChg chg="mod">
          <ac:chgData name="Ugo MANTEL" userId="2d5b7065-31bb-4181-a7f8-a73bf0c30211" providerId="ADAL" clId="{F05BB0D5-3454-45DC-8378-DA45B79D9A06}" dt="2020-10-02T13:04:36.236" v="4929" actId="790"/>
          <ac:spMkLst>
            <pc:docMk/>
            <pc:sldMk cId="2858913777" sldId="6859"/>
            <ac:spMk id="136" creationId="{1CE689E2-50F4-46A3-9268-EABC8E7F6192}"/>
          </ac:spMkLst>
        </pc:spChg>
        <pc:spChg chg="mod">
          <ac:chgData name="Ugo MANTEL" userId="2d5b7065-31bb-4181-a7f8-a73bf0c30211" providerId="ADAL" clId="{F05BB0D5-3454-45DC-8378-DA45B79D9A06}" dt="2020-10-02T13:04:36.237" v="4930" actId="790"/>
          <ac:spMkLst>
            <pc:docMk/>
            <pc:sldMk cId="2858913777" sldId="6859"/>
            <ac:spMk id="139" creationId="{1EFDEA6A-2D9A-4054-9E8C-AF6B8B8FC710}"/>
          </ac:spMkLst>
        </pc:spChg>
        <pc:spChg chg="mod">
          <ac:chgData name="Ugo MANTEL" userId="2d5b7065-31bb-4181-a7f8-a73bf0c30211" providerId="ADAL" clId="{F05BB0D5-3454-45DC-8378-DA45B79D9A06}" dt="2020-10-02T13:04:36.238" v="4931" actId="790"/>
          <ac:spMkLst>
            <pc:docMk/>
            <pc:sldMk cId="2858913777" sldId="6859"/>
            <ac:spMk id="140" creationId="{E298535D-2E44-46AF-856B-1ADFE2149868}"/>
          </ac:spMkLst>
        </pc:spChg>
        <pc:spChg chg="mod">
          <ac:chgData name="Ugo MANTEL" userId="2d5b7065-31bb-4181-a7f8-a73bf0c30211" providerId="ADAL" clId="{F05BB0D5-3454-45DC-8378-DA45B79D9A06}" dt="2020-10-02T13:04:36.238" v="4932" actId="790"/>
          <ac:spMkLst>
            <pc:docMk/>
            <pc:sldMk cId="2858913777" sldId="6859"/>
            <ac:spMk id="166" creationId="{4DE2F87D-3049-4749-8174-A83BCFF4FC7C}"/>
          </ac:spMkLst>
        </pc:spChg>
        <pc:spChg chg="mod">
          <ac:chgData name="Ugo MANTEL" userId="2d5b7065-31bb-4181-a7f8-a73bf0c30211" providerId="ADAL" clId="{F05BB0D5-3454-45DC-8378-DA45B79D9A06}" dt="2020-10-02T13:04:36.227" v="4917" actId="790"/>
          <ac:spMkLst>
            <pc:docMk/>
            <pc:sldMk cId="2858913777" sldId="6859"/>
            <ac:spMk id="207" creationId="{D7490A65-7B9F-4B9C-9F1A-BD6E9D5F45F7}"/>
          </ac:spMkLst>
        </pc:spChg>
      </pc:sldChg>
      <pc:sldChg chg="modSp mod">
        <pc:chgData name="Ugo MANTEL" userId="2d5b7065-31bb-4181-a7f8-a73bf0c30211" providerId="ADAL" clId="{F05BB0D5-3454-45DC-8378-DA45B79D9A06}" dt="2020-10-02T13:04:34.093" v="2996" actId="790"/>
        <pc:sldMkLst>
          <pc:docMk/>
          <pc:sldMk cId="457903863" sldId="6861"/>
        </pc:sldMkLst>
        <pc:spChg chg="mod">
          <ac:chgData name="Ugo MANTEL" userId="2d5b7065-31bb-4181-a7f8-a73bf0c30211" providerId="ADAL" clId="{F05BB0D5-3454-45DC-8378-DA45B79D9A06}" dt="2020-10-02T13:04:34.062" v="2964" actId="790"/>
          <ac:spMkLst>
            <pc:docMk/>
            <pc:sldMk cId="457903863" sldId="6861"/>
            <ac:spMk id="4" creationId="{DB1B808F-5B96-4AFA-897C-F3F8D1D712C2}"/>
          </ac:spMkLst>
        </pc:spChg>
        <pc:spChg chg="mod">
          <ac:chgData name="Ugo MANTEL" userId="2d5b7065-31bb-4181-a7f8-a73bf0c30211" providerId="ADAL" clId="{F05BB0D5-3454-45DC-8378-DA45B79D9A06}" dt="2020-10-02T13:04:34.059" v="2962" actId="790"/>
          <ac:spMkLst>
            <pc:docMk/>
            <pc:sldMk cId="457903863" sldId="6861"/>
            <ac:spMk id="5" creationId="{C6A17A76-10D5-4971-9386-9AB4BB330263}"/>
          </ac:spMkLst>
        </pc:spChg>
        <pc:spChg chg="mod">
          <ac:chgData name="Ugo MANTEL" userId="2d5b7065-31bb-4181-a7f8-a73bf0c30211" providerId="ADAL" clId="{F05BB0D5-3454-45DC-8378-DA45B79D9A06}" dt="2020-10-02T13:04:34.082" v="2981" actId="790"/>
          <ac:spMkLst>
            <pc:docMk/>
            <pc:sldMk cId="457903863" sldId="6861"/>
            <ac:spMk id="14" creationId="{D724AA50-D1C3-4048-A8A3-A06884F65A33}"/>
          </ac:spMkLst>
        </pc:spChg>
        <pc:spChg chg="mod">
          <ac:chgData name="Ugo MANTEL" userId="2d5b7065-31bb-4181-a7f8-a73bf0c30211" providerId="ADAL" clId="{F05BB0D5-3454-45DC-8378-DA45B79D9A06}" dt="2020-10-02T13:04:34.074" v="2977" actId="790"/>
          <ac:spMkLst>
            <pc:docMk/>
            <pc:sldMk cId="457903863" sldId="6861"/>
            <ac:spMk id="82" creationId="{425B7DAC-A373-43EC-8612-A10A6258920A}"/>
          </ac:spMkLst>
        </pc:spChg>
        <pc:spChg chg="mod">
          <ac:chgData name="Ugo MANTEL" userId="2d5b7065-31bb-4181-a7f8-a73bf0c30211" providerId="ADAL" clId="{F05BB0D5-3454-45DC-8378-DA45B79D9A06}" dt="2020-10-02T13:04:34.078" v="2978" actId="790"/>
          <ac:spMkLst>
            <pc:docMk/>
            <pc:sldMk cId="457903863" sldId="6861"/>
            <ac:spMk id="83" creationId="{D19AC206-3E19-480C-88A8-D3C65C71C0FC}"/>
          </ac:spMkLst>
        </pc:spChg>
        <pc:spChg chg="mod">
          <ac:chgData name="Ugo MANTEL" userId="2d5b7065-31bb-4181-a7f8-a73bf0c30211" providerId="ADAL" clId="{F05BB0D5-3454-45DC-8378-DA45B79D9A06}" dt="2020-10-02T13:04:34.078" v="2979" actId="790"/>
          <ac:spMkLst>
            <pc:docMk/>
            <pc:sldMk cId="457903863" sldId="6861"/>
            <ac:spMk id="84" creationId="{478A84ED-EA2F-485B-96AB-5772480CF09A}"/>
          </ac:spMkLst>
        </pc:spChg>
        <pc:spChg chg="mod">
          <ac:chgData name="Ugo MANTEL" userId="2d5b7065-31bb-4181-a7f8-a73bf0c30211" providerId="ADAL" clId="{F05BB0D5-3454-45DC-8378-DA45B79D9A06}" dt="2020-10-02T13:04:34.081" v="2980" actId="790"/>
          <ac:spMkLst>
            <pc:docMk/>
            <pc:sldMk cId="457903863" sldId="6861"/>
            <ac:spMk id="85" creationId="{DFC5F28B-DCD3-47DF-99BA-363600A631AB}"/>
          </ac:spMkLst>
        </pc:spChg>
        <pc:spChg chg="mod">
          <ac:chgData name="Ugo MANTEL" userId="2d5b7065-31bb-4181-a7f8-a73bf0c30211" providerId="ADAL" clId="{F05BB0D5-3454-45DC-8378-DA45B79D9A06}" dt="2020-10-02T13:04:34.089" v="2990" actId="790"/>
          <ac:spMkLst>
            <pc:docMk/>
            <pc:sldMk cId="457903863" sldId="6861"/>
            <ac:spMk id="87" creationId="{1622EF8C-F385-4C64-AE00-006FB3B37711}"/>
          </ac:spMkLst>
        </pc:spChg>
        <pc:spChg chg="mod">
          <ac:chgData name="Ugo MANTEL" userId="2d5b7065-31bb-4181-a7f8-a73bf0c30211" providerId="ADAL" clId="{F05BB0D5-3454-45DC-8378-DA45B79D9A06}" dt="2020-10-02T13:04:34.090" v="2991" actId="790"/>
          <ac:spMkLst>
            <pc:docMk/>
            <pc:sldMk cId="457903863" sldId="6861"/>
            <ac:spMk id="88" creationId="{A37CE802-457F-4939-8279-50B9312D1530}"/>
          </ac:spMkLst>
        </pc:spChg>
        <pc:spChg chg="mod">
          <ac:chgData name="Ugo MANTEL" userId="2d5b7065-31bb-4181-a7f8-a73bf0c30211" providerId="ADAL" clId="{F05BB0D5-3454-45DC-8378-DA45B79D9A06}" dt="2020-10-02T13:04:34.090" v="2992" actId="790"/>
          <ac:spMkLst>
            <pc:docMk/>
            <pc:sldMk cId="457903863" sldId="6861"/>
            <ac:spMk id="89" creationId="{AD1E81D3-E950-48B4-8FFC-C361FE193B65}"/>
          </ac:spMkLst>
        </pc:spChg>
        <pc:spChg chg="mod">
          <ac:chgData name="Ugo MANTEL" userId="2d5b7065-31bb-4181-a7f8-a73bf0c30211" providerId="ADAL" clId="{F05BB0D5-3454-45DC-8378-DA45B79D9A06}" dt="2020-10-02T13:04:34.087" v="2986" actId="790"/>
          <ac:spMkLst>
            <pc:docMk/>
            <pc:sldMk cId="457903863" sldId="6861"/>
            <ac:spMk id="95" creationId="{CDDE5368-7BF9-405F-8E99-55EFEA745700}"/>
          </ac:spMkLst>
        </pc:spChg>
        <pc:spChg chg="mod">
          <ac:chgData name="Ugo MANTEL" userId="2d5b7065-31bb-4181-a7f8-a73bf0c30211" providerId="ADAL" clId="{F05BB0D5-3454-45DC-8378-DA45B79D9A06}" dt="2020-10-02T13:04:34.087" v="2987" actId="790"/>
          <ac:spMkLst>
            <pc:docMk/>
            <pc:sldMk cId="457903863" sldId="6861"/>
            <ac:spMk id="96" creationId="{926A702E-22A6-42C1-BCBC-BB32B86B03DB}"/>
          </ac:spMkLst>
        </pc:spChg>
        <pc:spChg chg="mod">
          <ac:chgData name="Ugo MANTEL" userId="2d5b7065-31bb-4181-a7f8-a73bf0c30211" providerId="ADAL" clId="{F05BB0D5-3454-45DC-8378-DA45B79D9A06}" dt="2020-10-02T13:04:34.088" v="2988" actId="790"/>
          <ac:spMkLst>
            <pc:docMk/>
            <pc:sldMk cId="457903863" sldId="6861"/>
            <ac:spMk id="97" creationId="{2EEC0B1E-2439-40C7-8738-7A6B5BAA792A}"/>
          </ac:spMkLst>
        </pc:spChg>
        <pc:spChg chg="mod">
          <ac:chgData name="Ugo MANTEL" userId="2d5b7065-31bb-4181-a7f8-a73bf0c30211" providerId="ADAL" clId="{F05BB0D5-3454-45DC-8378-DA45B79D9A06}" dt="2020-10-02T13:04:34.088" v="2989" actId="790"/>
          <ac:spMkLst>
            <pc:docMk/>
            <pc:sldMk cId="457903863" sldId="6861"/>
            <ac:spMk id="98" creationId="{33234629-1531-435F-8FE5-B51275382099}"/>
          </ac:spMkLst>
        </pc:spChg>
        <pc:spChg chg="mod">
          <ac:chgData name="Ugo MANTEL" userId="2d5b7065-31bb-4181-a7f8-a73bf0c30211" providerId="ADAL" clId="{F05BB0D5-3454-45DC-8378-DA45B79D9A06}" dt="2020-10-02T13:04:34.083" v="2982" actId="790"/>
          <ac:spMkLst>
            <pc:docMk/>
            <pc:sldMk cId="457903863" sldId="6861"/>
            <ac:spMk id="106" creationId="{36097310-3865-4033-92E4-06E3B71A402B}"/>
          </ac:spMkLst>
        </pc:spChg>
        <pc:spChg chg="mod">
          <ac:chgData name="Ugo MANTEL" userId="2d5b7065-31bb-4181-a7f8-a73bf0c30211" providerId="ADAL" clId="{F05BB0D5-3454-45DC-8378-DA45B79D9A06}" dt="2020-10-02T13:04:34.084" v="2983" actId="790"/>
          <ac:spMkLst>
            <pc:docMk/>
            <pc:sldMk cId="457903863" sldId="6861"/>
            <ac:spMk id="107" creationId="{50BC95A5-CD85-420E-AFB2-E672507AA74B}"/>
          </ac:spMkLst>
        </pc:spChg>
        <pc:spChg chg="mod">
          <ac:chgData name="Ugo MANTEL" userId="2d5b7065-31bb-4181-a7f8-a73bf0c30211" providerId="ADAL" clId="{F05BB0D5-3454-45DC-8378-DA45B79D9A06}" dt="2020-10-02T13:04:34.085" v="2984" actId="790"/>
          <ac:spMkLst>
            <pc:docMk/>
            <pc:sldMk cId="457903863" sldId="6861"/>
            <ac:spMk id="108" creationId="{53B0899B-19FD-40A3-9B03-4D81E52468C4}"/>
          </ac:spMkLst>
        </pc:spChg>
        <pc:spChg chg="mod">
          <ac:chgData name="Ugo MANTEL" userId="2d5b7065-31bb-4181-a7f8-a73bf0c30211" providerId="ADAL" clId="{F05BB0D5-3454-45DC-8378-DA45B79D9A06}" dt="2020-10-02T13:04:34.086" v="2985" actId="790"/>
          <ac:spMkLst>
            <pc:docMk/>
            <pc:sldMk cId="457903863" sldId="6861"/>
            <ac:spMk id="109" creationId="{4425B0F8-F0B8-4ABA-92C0-072831E8A92B}"/>
          </ac:spMkLst>
        </pc:spChg>
        <pc:spChg chg="mod">
          <ac:chgData name="Ugo MANTEL" userId="2d5b7065-31bb-4181-a7f8-a73bf0c30211" providerId="ADAL" clId="{F05BB0D5-3454-45DC-8378-DA45B79D9A06}" dt="2020-10-02T13:04:34.091" v="2993" actId="790"/>
          <ac:spMkLst>
            <pc:docMk/>
            <pc:sldMk cId="457903863" sldId="6861"/>
            <ac:spMk id="112" creationId="{217A4E0A-6FAC-4E2A-B5AF-50F61FDC4234}"/>
          </ac:spMkLst>
        </pc:spChg>
        <pc:spChg chg="mod">
          <ac:chgData name="Ugo MANTEL" userId="2d5b7065-31bb-4181-a7f8-a73bf0c30211" providerId="ADAL" clId="{F05BB0D5-3454-45DC-8378-DA45B79D9A06}" dt="2020-10-02T13:04:34.092" v="2994" actId="790"/>
          <ac:spMkLst>
            <pc:docMk/>
            <pc:sldMk cId="457903863" sldId="6861"/>
            <ac:spMk id="113" creationId="{6FAB5215-9DC4-49A1-A463-D3A4924B3ED3}"/>
          </ac:spMkLst>
        </pc:spChg>
        <pc:spChg chg="mod">
          <ac:chgData name="Ugo MANTEL" userId="2d5b7065-31bb-4181-a7f8-a73bf0c30211" providerId="ADAL" clId="{F05BB0D5-3454-45DC-8378-DA45B79D9A06}" dt="2020-10-02T13:04:34.093" v="2995" actId="790"/>
          <ac:spMkLst>
            <pc:docMk/>
            <pc:sldMk cId="457903863" sldId="6861"/>
            <ac:spMk id="126" creationId="{36CB25A8-EAB4-4162-A6F1-50ED97A56C0C}"/>
          </ac:spMkLst>
        </pc:spChg>
        <pc:spChg chg="mod">
          <ac:chgData name="Ugo MANTEL" userId="2d5b7065-31bb-4181-a7f8-a73bf0c30211" providerId="ADAL" clId="{F05BB0D5-3454-45DC-8378-DA45B79D9A06}" dt="2020-10-02T13:04:34.093" v="2996" actId="790"/>
          <ac:spMkLst>
            <pc:docMk/>
            <pc:sldMk cId="457903863" sldId="6861"/>
            <ac:spMk id="133" creationId="{A18FC345-DB8A-46B0-98DF-B0DB8824B053}"/>
          </ac:spMkLst>
        </pc:spChg>
        <pc:spChg chg="mod">
          <ac:chgData name="Ugo MANTEL" userId="2d5b7065-31bb-4181-a7f8-a73bf0c30211" providerId="ADAL" clId="{F05BB0D5-3454-45DC-8378-DA45B79D9A06}" dt="2020-10-02T13:04:34.060" v="2963" actId="790"/>
          <ac:spMkLst>
            <pc:docMk/>
            <pc:sldMk cId="457903863" sldId="6861"/>
            <ac:spMk id="140" creationId="{7D3B76CA-F2AB-4537-BE8A-653875D79789}"/>
          </ac:spMkLst>
        </pc:spChg>
        <pc:spChg chg="mod">
          <ac:chgData name="Ugo MANTEL" userId="2d5b7065-31bb-4181-a7f8-a73bf0c30211" providerId="ADAL" clId="{F05BB0D5-3454-45DC-8378-DA45B79D9A06}" dt="2020-10-02T13:04:34.063" v="2965" actId="790"/>
          <ac:spMkLst>
            <pc:docMk/>
            <pc:sldMk cId="457903863" sldId="6861"/>
            <ac:spMk id="396" creationId="{3590BD9E-974D-4073-A3D7-48AAB5AC34AB}"/>
          </ac:spMkLst>
        </pc:spChg>
        <pc:spChg chg="mod">
          <ac:chgData name="Ugo MANTEL" userId="2d5b7065-31bb-4181-a7f8-a73bf0c30211" providerId="ADAL" clId="{F05BB0D5-3454-45DC-8378-DA45B79D9A06}" dt="2020-10-02T13:04:34.073" v="2976" actId="790"/>
          <ac:spMkLst>
            <pc:docMk/>
            <pc:sldMk cId="457903863" sldId="6861"/>
            <ac:spMk id="399" creationId="{FA3D11D3-D194-4382-B875-0DC317B4F7F7}"/>
          </ac:spMkLst>
        </pc:spChg>
        <pc:spChg chg="mod">
          <ac:chgData name="Ugo MANTEL" userId="2d5b7065-31bb-4181-a7f8-a73bf0c30211" providerId="ADAL" clId="{F05BB0D5-3454-45DC-8378-DA45B79D9A06}" dt="2020-10-02T13:04:34.064" v="2966" actId="790"/>
          <ac:spMkLst>
            <pc:docMk/>
            <pc:sldMk cId="457903863" sldId="6861"/>
            <ac:spMk id="408" creationId="{BACB501A-3A8C-4478-B87E-2518342F4B2B}"/>
          </ac:spMkLst>
        </pc:spChg>
        <pc:spChg chg="mod">
          <ac:chgData name="Ugo MANTEL" userId="2d5b7065-31bb-4181-a7f8-a73bf0c30211" providerId="ADAL" clId="{F05BB0D5-3454-45DC-8378-DA45B79D9A06}" dt="2020-10-02T13:04:34.064" v="2967" actId="790"/>
          <ac:spMkLst>
            <pc:docMk/>
            <pc:sldMk cId="457903863" sldId="6861"/>
            <ac:spMk id="414" creationId="{D81D7DD9-B926-4C1B-8FEA-04B42917C8B8}"/>
          </ac:spMkLst>
        </pc:spChg>
        <pc:spChg chg="mod">
          <ac:chgData name="Ugo MANTEL" userId="2d5b7065-31bb-4181-a7f8-a73bf0c30211" providerId="ADAL" clId="{F05BB0D5-3454-45DC-8378-DA45B79D9A06}" dt="2020-10-02T13:04:34.065" v="2968" actId="790"/>
          <ac:spMkLst>
            <pc:docMk/>
            <pc:sldMk cId="457903863" sldId="6861"/>
            <ac:spMk id="415" creationId="{95560F43-AE8E-449B-8694-0A933ACA4B55}"/>
          </ac:spMkLst>
        </pc:spChg>
        <pc:spChg chg="mod">
          <ac:chgData name="Ugo MANTEL" userId="2d5b7065-31bb-4181-a7f8-a73bf0c30211" providerId="ADAL" clId="{F05BB0D5-3454-45DC-8378-DA45B79D9A06}" dt="2020-10-02T13:04:34.066" v="2969" actId="790"/>
          <ac:spMkLst>
            <pc:docMk/>
            <pc:sldMk cId="457903863" sldId="6861"/>
            <ac:spMk id="416" creationId="{51B0EB3B-06C0-4D0A-8DC5-B32FCC074612}"/>
          </ac:spMkLst>
        </pc:spChg>
        <pc:spChg chg="mod">
          <ac:chgData name="Ugo MANTEL" userId="2d5b7065-31bb-4181-a7f8-a73bf0c30211" providerId="ADAL" clId="{F05BB0D5-3454-45DC-8378-DA45B79D9A06}" dt="2020-10-02T13:04:34.067" v="2970" actId="790"/>
          <ac:spMkLst>
            <pc:docMk/>
            <pc:sldMk cId="457903863" sldId="6861"/>
            <ac:spMk id="417" creationId="{117EC0DE-3DE8-4F0C-AD60-DA9B0DC8AF72}"/>
          </ac:spMkLst>
        </pc:spChg>
        <pc:spChg chg="mod">
          <ac:chgData name="Ugo MANTEL" userId="2d5b7065-31bb-4181-a7f8-a73bf0c30211" providerId="ADAL" clId="{F05BB0D5-3454-45DC-8378-DA45B79D9A06}" dt="2020-10-02T13:04:34.069" v="2971" actId="790"/>
          <ac:spMkLst>
            <pc:docMk/>
            <pc:sldMk cId="457903863" sldId="6861"/>
            <ac:spMk id="541" creationId="{E1BF4AB8-5616-4F51-AE2A-2BAF5BCF7DAD}"/>
          </ac:spMkLst>
        </pc:spChg>
        <pc:spChg chg="mod">
          <ac:chgData name="Ugo MANTEL" userId="2d5b7065-31bb-4181-a7f8-a73bf0c30211" providerId="ADAL" clId="{F05BB0D5-3454-45DC-8378-DA45B79D9A06}" dt="2020-10-02T13:04:34.070" v="2972" actId="790"/>
          <ac:spMkLst>
            <pc:docMk/>
            <pc:sldMk cId="457903863" sldId="6861"/>
            <ac:spMk id="542" creationId="{DB7954D2-4318-401C-8BF9-2367B538123C}"/>
          </ac:spMkLst>
        </pc:spChg>
        <pc:spChg chg="mod">
          <ac:chgData name="Ugo MANTEL" userId="2d5b7065-31bb-4181-a7f8-a73bf0c30211" providerId="ADAL" clId="{F05BB0D5-3454-45DC-8378-DA45B79D9A06}" dt="2020-10-02T13:04:34.072" v="2975" actId="790"/>
          <ac:spMkLst>
            <pc:docMk/>
            <pc:sldMk cId="457903863" sldId="6861"/>
            <ac:spMk id="543" creationId="{3D804758-52AE-4879-9017-91F14E52CDE0}"/>
          </ac:spMkLst>
        </pc:spChg>
        <pc:spChg chg="mod">
          <ac:chgData name="Ugo MANTEL" userId="2d5b7065-31bb-4181-a7f8-a73bf0c30211" providerId="ADAL" clId="{F05BB0D5-3454-45DC-8378-DA45B79D9A06}" dt="2020-10-02T13:04:34.070" v="2973" actId="790"/>
          <ac:spMkLst>
            <pc:docMk/>
            <pc:sldMk cId="457903863" sldId="6861"/>
            <ac:spMk id="549" creationId="{68BCECFB-7AE5-4D50-930D-938F93BFC65F}"/>
          </ac:spMkLst>
        </pc:spChg>
        <pc:spChg chg="mod">
          <ac:chgData name="Ugo MANTEL" userId="2d5b7065-31bb-4181-a7f8-a73bf0c30211" providerId="ADAL" clId="{F05BB0D5-3454-45DC-8378-DA45B79D9A06}" dt="2020-10-02T13:04:34.071" v="2974" actId="790"/>
          <ac:spMkLst>
            <pc:docMk/>
            <pc:sldMk cId="457903863" sldId="6861"/>
            <ac:spMk id="550" creationId="{E4120210-6DB7-4668-9EE8-AACB41A51C9C}"/>
          </ac:spMkLst>
        </pc:spChg>
      </pc:sldChg>
      <pc:sldChg chg="modSp mod">
        <pc:chgData name="Ugo MANTEL" userId="2d5b7065-31bb-4181-a7f8-a73bf0c30211" providerId="ADAL" clId="{F05BB0D5-3454-45DC-8378-DA45B79D9A06}" dt="2020-10-02T13:04:36.273" v="4954" actId="790"/>
        <pc:sldMkLst>
          <pc:docMk/>
          <pc:sldMk cId="4187633747" sldId="6868"/>
        </pc:sldMkLst>
        <pc:spChg chg="mod">
          <ac:chgData name="Ugo MANTEL" userId="2d5b7065-31bb-4181-a7f8-a73bf0c30211" providerId="ADAL" clId="{F05BB0D5-3454-45DC-8378-DA45B79D9A06}" dt="2020-10-02T13:04:36.244" v="4940" actId="790"/>
          <ac:spMkLst>
            <pc:docMk/>
            <pc:sldMk cId="4187633747" sldId="6868"/>
            <ac:spMk id="4" creationId="{FDB82C8E-E8B1-478E-B360-98B4D58F787E}"/>
          </ac:spMkLst>
        </pc:spChg>
        <pc:spChg chg="mod">
          <ac:chgData name="Ugo MANTEL" userId="2d5b7065-31bb-4181-a7f8-a73bf0c30211" providerId="ADAL" clId="{F05BB0D5-3454-45DC-8378-DA45B79D9A06}" dt="2020-10-02T13:04:36.246" v="4941" actId="790"/>
          <ac:spMkLst>
            <pc:docMk/>
            <pc:sldMk cId="4187633747" sldId="6868"/>
            <ac:spMk id="7" creationId="{3F154BBE-F097-4CA9-B665-D2D4323CD129}"/>
          </ac:spMkLst>
        </pc:spChg>
        <pc:spChg chg="mod">
          <ac:chgData name="Ugo MANTEL" userId="2d5b7065-31bb-4181-a7f8-a73bf0c30211" providerId="ADAL" clId="{F05BB0D5-3454-45DC-8378-DA45B79D9A06}" dt="2020-10-02T13:04:36.247" v="4942" actId="790"/>
          <ac:spMkLst>
            <pc:docMk/>
            <pc:sldMk cId="4187633747" sldId="6868"/>
            <ac:spMk id="9" creationId="{3CA54F6B-FB6C-4A89-AA3B-FB797DE1F0C0}"/>
          </ac:spMkLst>
        </pc:spChg>
        <pc:spChg chg="mod">
          <ac:chgData name="Ugo MANTEL" userId="2d5b7065-31bb-4181-a7f8-a73bf0c30211" providerId="ADAL" clId="{F05BB0D5-3454-45DC-8378-DA45B79D9A06}" dt="2020-10-02T13:04:36.258" v="4944" actId="790"/>
          <ac:spMkLst>
            <pc:docMk/>
            <pc:sldMk cId="4187633747" sldId="6868"/>
            <ac:spMk id="13" creationId="{CA5437EA-E3CB-4721-BAB7-FF988F650AC9}"/>
          </ac:spMkLst>
        </pc:spChg>
        <pc:spChg chg="mod">
          <ac:chgData name="Ugo MANTEL" userId="2d5b7065-31bb-4181-a7f8-a73bf0c30211" providerId="ADAL" clId="{F05BB0D5-3454-45DC-8378-DA45B79D9A06}" dt="2020-10-02T13:04:36.261" v="4946" actId="790"/>
          <ac:spMkLst>
            <pc:docMk/>
            <pc:sldMk cId="4187633747" sldId="6868"/>
            <ac:spMk id="23" creationId="{8583A665-9BA3-4F9F-B84E-9EE20F730CB1}"/>
          </ac:spMkLst>
        </pc:spChg>
        <pc:spChg chg="mod">
          <ac:chgData name="Ugo MANTEL" userId="2d5b7065-31bb-4181-a7f8-a73bf0c30211" providerId="ADAL" clId="{F05BB0D5-3454-45DC-8378-DA45B79D9A06}" dt="2020-10-02T13:04:36.255" v="4943" actId="790"/>
          <ac:spMkLst>
            <pc:docMk/>
            <pc:sldMk cId="4187633747" sldId="6868"/>
            <ac:spMk id="26" creationId="{670823B4-899B-425F-A2D7-08A6B6F47FAA}"/>
          </ac:spMkLst>
        </pc:spChg>
        <pc:spChg chg="mod">
          <ac:chgData name="Ugo MANTEL" userId="2d5b7065-31bb-4181-a7f8-a73bf0c30211" providerId="ADAL" clId="{F05BB0D5-3454-45DC-8378-DA45B79D9A06}" dt="2020-10-02T13:04:36.261" v="4947" actId="790"/>
          <ac:spMkLst>
            <pc:docMk/>
            <pc:sldMk cId="4187633747" sldId="6868"/>
            <ac:spMk id="28" creationId="{9206C42B-83A4-487A-9DF6-7A523471DFB3}"/>
          </ac:spMkLst>
        </pc:spChg>
        <pc:spChg chg="mod">
          <ac:chgData name="Ugo MANTEL" userId="2d5b7065-31bb-4181-a7f8-a73bf0c30211" providerId="ADAL" clId="{F05BB0D5-3454-45DC-8378-DA45B79D9A06}" dt="2020-10-02T13:04:36.262" v="4948" actId="790"/>
          <ac:spMkLst>
            <pc:docMk/>
            <pc:sldMk cId="4187633747" sldId="6868"/>
            <ac:spMk id="29" creationId="{796B713C-F280-4E31-BBEA-EAC1923A68AA}"/>
          </ac:spMkLst>
        </pc:spChg>
        <pc:spChg chg="mod">
          <ac:chgData name="Ugo MANTEL" userId="2d5b7065-31bb-4181-a7f8-a73bf0c30211" providerId="ADAL" clId="{F05BB0D5-3454-45DC-8378-DA45B79D9A06}" dt="2020-10-02T13:04:36.260" v="4945" actId="790"/>
          <ac:spMkLst>
            <pc:docMk/>
            <pc:sldMk cId="4187633747" sldId="6868"/>
            <ac:spMk id="30" creationId="{410B6701-6728-44F8-9804-6C9978840DC8}"/>
          </ac:spMkLst>
        </pc:spChg>
        <pc:spChg chg="mod">
          <ac:chgData name="Ugo MANTEL" userId="2d5b7065-31bb-4181-a7f8-a73bf0c30211" providerId="ADAL" clId="{F05BB0D5-3454-45DC-8378-DA45B79D9A06}" dt="2020-10-02T13:04:36.263" v="4949" actId="790"/>
          <ac:spMkLst>
            <pc:docMk/>
            <pc:sldMk cId="4187633747" sldId="6868"/>
            <ac:spMk id="31" creationId="{C90C1FDB-C067-4DB3-B3A6-B24FDA2F9BFD}"/>
          </ac:spMkLst>
        </pc:spChg>
        <pc:spChg chg="mod">
          <ac:chgData name="Ugo MANTEL" userId="2d5b7065-31bb-4181-a7f8-a73bf0c30211" providerId="ADAL" clId="{F05BB0D5-3454-45DC-8378-DA45B79D9A06}" dt="2020-10-02T13:04:36.263" v="4950" actId="790"/>
          <ac:spMkLst>
            <pc:docMk/>
            <pc:sldMk cId="4187633747" sldId="6868"/>
            <ac:spMk id="44" creationId="{52DAEA0A-39D6-4F85-99D1-683BDB6B9C3D}"/>
          </ac:spMkLst>
        </pc:spChg>
        <pc:spChg chg="mod">
          <ac:chgData name="Ugo MANTEL" userId="2d5b7065-31bb-4181-a7f8-a73bf0c30211" providerId="ADAL" clId="{F05BB0D5-3454-45DC-8378-DA45B79D9A06}" dt="2020-10-02T13:04:36.266" v="4952" actId="790"/>
          <ac:spMkLst>
            <pc:docMk/>
            <pc:sldMk cId="4187633747" sldId="6868"/>
            <ac:spMk id="47" creationId="{F95C10D4-A741-48D3-A93F-813E9990874F}"/>
          </ac:spMkLst>
        </pc:spChg>
        <pc:spChg chg="mod">
          <ac:chgData name="Ugo MANTEL" userId="2d5b7065-31bb-4181-a7f8-a73bf0c30211" providerId="ADAL" clId="{F05BB0D5-3454-45DC-8378-DA45B79D9A06}" dt="2020-10-02T13:04:36.265" v="4951" actId="790"/>
          <ac:spMkLst>
            <pc:docMk/>
            <pc:sldMk cId="4187633747" sldId="6868"/>
            <ac:spMk id="49" creationId="{B0515E1A-41D9-4B7F-997F-01D6C25E36E8}"/>
          </ac:spMkLst>
        </pc:spChg>
        <pc:spChg chg="mod">
          <ac:chgData name="Ugo MANTEL" userId="2d5b7065-31bb-4181-a7f8-a73bf0c30211" providerId="ADAL" clId="{F05BB0D5-3454-45DC-8378-DA45B79D9A06}" dt="2020-10-02T13:04:36.270" v="4953" actId="790"/>
          <ac:spMkLst>
            <pc:docMk/>
            <pc:sldMk cId="4187633747" sldId="6868"/>
            <ac:spMk id="54" creationId="{E5957C3C-AA4D-45FC-BDE7-112C03829730}"/>
          </ac:spMkLst>
        </pc:spChg>
        <pc:spChg chg="mod">
          <ac:chgData name="Ugo MANTEL" userId="2d5b7065-31bb-4181-a7f8-a73bf0c30211" providerId="ADAL" clId="{F05BB0D5-3454-45DC-8378-DA45B79D9A06}" dt="2020-10-02T13:04:36.273" v="4954" actId="790"/>
          <ac:spMkLst>
            <pc:docMk/>
            <pc:sldMk cId="4187633747" sldId="6868"/>
            <ac:spMk id="55" creationId="{B1E8B9BF-E497-4034-B49B-27393A623CBB}"/>
          </ac:spMkLst>
        </pc:spChg>
      </pc:sldChg>
      <pc:sldChg chg="modSp mod modTransition modShow">
        <pc:chgData name="Ugo MANTEL" userId="2d5b7065-31bb-4181-a7f8-a73bf0c30211" providerId="ADAL" clId="{F05BB0D5-3454-45DC-8378-DA45B79D9A06}" dt="2020-10-02T14:08:27.093" v="6803"/>
        <pc:sldMkLst>
          <pc:docMk/>
          <pc:sldMk cId="609955169" sldId="6874"/>
        </pc:sldMkLst>
        <pc:spChg chg="mod">
          <ac:chgData name="Ugo MANTEL" userId="2d5b7065-31bb-4181-a7f8-a73bf0c30211" providerId="ADAL" clId="{F05BB0D5-3454-45DC-8378-DA45B79D9A06}" dt="2020-10-02T13:04:35.280" v="4263" actId="790"/>
          <ac:spMkLst>
            <pc:docMk/>
            <pc:sldMk cId="609955169" sldId="6874"/>
            <ac:spMk id="3" creationId="{FC36FB27-AE1D-4D62-8D90-C0A344FBDCDC}"/>
          </ac:spMkLst>
        </pc:spChg>
        <pc:spChg chg="mod">
          <ac:chgData name="Ugo MANTEL" userId="2d5b7065-31bb-4181-a7f8-a73bf0c30211" providerId="ADAL" clId="{F05BB0D5-3454-45DC-8378-DA45B79D9A06}" dt="2020-10-02T13:04:35.277" v="4262" actId="790"/>
          <ac:spMkLst>
            <pc:docMk/>
            <pc:sldMk cId="609955169" sldId="6874"/>
            <ac:spMk id="5" creationId="{C9C528CB-0DC1-457E-A5CA-62E616B3A38F}"/>
          </ac:spMkLst>
        </pc:spChg>
        <pc:spChg chg="mod">
          <ac:chgData name="Ugo MANTEL" userId="2d5b7065-31bb-4181-a7f8-a73bf0c30211" providerId="ADAL" clId="{F05BB0D5-3454-45DC-8378-DA45B79D9A06}" dt="2020-10-02T13:04:35.299" v="4273" actId="790"/>
          <ac:spMkLst>
            <pc:docMk/>
            <pc:sldMk cId="609955169" sldId="6874"/>
            <ac:spMk id="13" creationId="{58E6DE14-36AC-4D24-AA25-59CA18515C41}"/>
          </ac:spMkLst>
        </pc:spChg>
        <pc:spChg chg="mod">
          <ac:chgData name="Ugo MANTEL" userId="2d5b7065-31bb-4181-a7f8-a73bf0c30211" providerId="ADAL" clId="{F05BB0D5-3454-45DC-8378-DA45B79D9A06}" dt="2020-10-02T13:04:35.287" v="4266" actId="790"/>
          <ac:spMkLst>
            <pc:docMk/>
            <pc:sldMk cId="609955169" sldId="6874"/>
            <ac:spMk id="14" creationId="{8CDE70A2-9605-43A3-8247-4ACAF81D2EE9}"/>
          </ac:spMkLst>
        </pc:spChg>
        <pc:spChg chg="mod">
          <ac:chgData name="Ugo MANTEL" userId="2d5b7065-31bb-4181-a7f8-a73bf0c30211" providerId="ADAL" clId="{F05BB0D5-3454-45DC-8378-DA45B79D9A06}" dt="2020-10-02T13:04:35.291" v="4267" actId="790"/>
          <ac:spMkLst>
            <pc:docMk/>
            <pc:sldMk cId="609955169" sldId="6874"/>
            <ac:spMk id="20" creationId="{EC9B1881-6F65-45D1-830A-983D63E0EBBA}"/>
          </ac:spMkLst>
        </pc:spChg>
        <pc:spChg chg="mod">
          <ac:chgData name="Ugo MANTEL" userId="2d5b7065-31bb-4181-a7f8-a73bf0c30211" providerId="ADAL" clId="{F05BB0D5-3454-45DC-8378-DA45B79D9A06}" dt="2020-10-02T13:04:35.292" v="4268" actId="790"/>
          <ac:spMkLst>
            <pc:docMk/>
            <pc:sldMk cId="609955169" sldId="6874"/>
            <ac:spMk id="31" creationId="{E822014F-151D-417B-8DE5-58E38DC1D41F}"/>
          </ac:spMkLst>
        </pc:spChg>
        <pc:spChg chg="mod">
          <ac:chgData name="Ugo MANTEL" userId="2d5b7065-31bb-4181-a7f8-a73bf0c30211" providerId="ADAL" clId="{F05BB0D5-3454-45DC-8378-DA45B79D9A06}" dt="2020-10-02T13:04:35.293" v="4269" actId="790"/>
          <ac:spMkLst>
            <pc:docMk/>
            <pc:sldMk cId="609955169" sldId="6874"/>
            <ac:spMk id="32" creationId="{029C83E2-935F-406B-A1FA-267D5E5B65D6}"/>
          </ac:spMkLst>
        </pc:spChg>
        <pc:spChg chg="mod">
          <ac:chgData name="Ugo MANTEL" userId="2d5b7065-31bb-4181-a7f8-a73bf0c30211" providerId="ADAL" clId="{F05BB0D5-3454-45DC-8378-DA45B79D9A06}" dt="2020-10-02T13:04:35.293" v="4270" actId="790"/>
          <ac:spMkLst>
            <pc:docMk/>
            <pc:sldMk cId="609955169" sldId="6874"/>
            <ac:spMk id="33" creationId="{FED632F4-6725-483A-A622-A856A62D2403}"/>
          </ac:spMkLst>
        </pc:spChg>
        <pc:spChg chg="mod">
          <ac:chgData name="Ugo MANTEL" userId="2d5b7065-31bb-4181-a7f8-a73bf0c30211" providerId="ADAL" clId="{F05BB0D5-3454-45DC-8378-DA45B79D9A06}" dt="2020-10-02T13:04:35.294" v="4271" actId="790"/>
          <ac:spMkLst>
            <pc:docMk/>
            <pc:sldMk cId="609955169" sldId="6874"/>
            <ac:spMk id="34" creationId="{3C4F0E22-D11F-4D6C-A7FE-5F0B4A45D826}"/>
          </ac:spMkLst>
        </pc:spChg>
        <pc:spChg chg="mod">
          <ac:chgData name="Ugo MANTEL" userId="2d5b7065-31bb-4181-a7f8-a73bf0c30211" providerId="ADAL" clId="{F05BB0D5-3454-45DC-8378-DA45B79D9A06}" dt="2020-10-02T13:04:35.295" v="4272" actId="790"/>
          <ac:spMkLst>
            <pc:docMk/>
            <pc:sldMk cId="609955169" sldId="6874"/>
            <ac:spMk id="39" creationId="{AFED5F78-6BF2-498F-860D-0C9F1A447BC8}"/>
          </ac:spMkLst>
        </pc:spChg>
        <pc:spChg chg="mod">
          <ac:chgData name="Ugo MANTEL" userId="2d5b7065-31bb-4181-a7f8-a73bf0c30211" providerId="ADAL" clId="{F05BB0D5-3454-45DC-8378-DA45B79D9A06}" dt="2020-10-02T13:04:35.280" v="4264" actId="790"/>
          <ac:spMkLst>
            <pc:docMk/>
            <pc:sldMk cId="609955169" sldId="6874"/>
            <ac:spMk id="161" creationId="{CA4B7335-694B-43BC-B256-3D84AAF73B02}"/>
          </ac:spMkLst>
        </pc:spChg>
        <pc:spChg chg="mod">
          <ac:chgData name="Ugo MANTEL" userId="2d5b7065-31bb-4181-a7f8-a73bf0c30211" providerId="ADAL" clId="{F05BB0D5-3454-45DC-8378-DA45B79D9A06}" dt="2020-10-02T13:04:35.283" v="4265" actId="790"/>
          <ac:spMkLst>
            <pc:docMk/>
            <pc:sldMk cId="609955169" sldId="6874"/>
            <ac:spMk id="166" creationId="{6051315C-86ED-48F6-AB25-323E1E0B43AA}"/>
          </ac:spMkLst>
        </pc:spChg>
      </pc:sldChg>
      <pc:sldChg chg="modSp mod">
        <pc:chgData name="Ugo MANTEL" userId="2d5b7065-31bb-4181-a7f8-a73bf0c30211" providerId="ADAL" clId="{F05BB0D5-3454-45DC-8378-DA45B79D9A06}" dt="2020-10-02T13:04:36.060" v="4786" actId="790"/>
        <pc:sldMkLst>
          <pc:docMk/>
          <pc:sldMk cId="441395905" sldId="6878"/>
        </pc:sldMkLst>
        <pc:spChg chg="mod">
          <ac:chgData name="Ugo MANTEL" userId="2d5b7065-31bb-4181-a7f8-a73bf0c30211" providerId="ADAL" clId="{F05BB0D5-3454-45DC-8378-DA45B79D9A06}" dt="2020-10-02T13:04:35.930" v="4743" actId="790"/>
          <ac:spMkLst>
            <pc:docMk/>
            <pc:sldMk cId="441395905" sldId="6878"/>
            <ac:spMk id="3" creationId="{482B741C-FCB3-48A9-B9B6-3B637C191E31}"/>
          </ac:spMkLst>
        </pc:spChg>
        <pc:spChg chg="mod">
          <ac:chgData name="Ugo MANTEL" userId="2d5b7065-31bb-4181-a7f8-a73bf0c30211" providerId="ADAL" clId="{F05BB0D5-3454-45DC-8378-DA45B79D9A06}" dt="2020-10-02T13:04:35.928" v="4742" actId="790"/>
          <ac:spMkLst>
            <pc:docMk/>
            <pc:sldMk cId="441395905" sldId="6878"/>
            <ac:spMk id="5" creationId="{5909CFDC-F399-46F8-BF98-449244D2ECC1}"/>
          </ac:spMkLst>
        </pc:spChg>
        <pc:spChg chg="mod">
          <ac:chgData name="Ugo MANTEL" userId="2d5b7065-31bb-4181-a7f8-a73bf0c30211" providerId="ADAL" clId="{F05BB0D5-3454-45DC-8378-DA45B79D9A06}" dt="2020-10-02T13:04:35.933" v="4746" actId="790"/>
          <ac:spMkLst>
            <pc:docMk/>
            <pc:sldMk cId="441395905" sldId="6878"/>
            <ac:spMk id="36" creationId="{2B865933-9C53-4835-A7A8-1BDE1C2B3997}"/>
          </ac:spMkLst>
        </pc:spChg>
        <pc:spChg chg="mod">
          <ac:chgData name="Ugo MANTEL" userId="2d5b7065-31bb-4181-a7f8-a73bf0c30211" providerId="ADAL" clId="{F05BB0D5-3454-45DC-8378-DA45B79D9A06}" dt="2020-10-02T13:04:36.056" v="4780" actId="790"/>
          <ac:spMkLst>
            <pc:docMk/>
            <pc:sldMk cId="441395905" sldId="6878"/>
            <ac:spMk id="305" creationId="{7580BC31-E4D0-4130-80DE-55A9148AAB71}"/>
          </ac:spMkLst>
        </pc:spChg>
        <pc:spChg chg="mod">
          <ac:chgData name="Ugo MANTEL" userId="2d5b7065-31bb-4181-a7f8-a73bf0c30211" providerId="ADAL" clId="{F05BB0D5-3454-45DC-8378-DA45B79D9A06}" dt="2020-10-02T13:04:36.057" v="4781" actId="790"/>
          <ac:spMkLst>
            <pc:docMk/>
            <pc:sldMk cId="441395905" sldId="6878"/>
            <ac:spMk id="311" creationId="{CE1DFB3C-B81E-4B73-A37E-1F29C3E4B112}"/>
          </ac:spMkLst>
        </pc:spChg>
        <pc:spChg chg="mod">
          <ac:chgData name="Ugo MANTEL" userId="2d5b7065-31bb-4181-a7f8-a73bf0c30211" providerId="ADAL" clId="{F05BB0D5-3454-45DC-8378-DA45B79D9A06}" dt="2020-10-02T13:04:36.057" v="4782" actId="790"/>
          <ac:spMkLst>
            <pc:docMk/>
            <pc:sldMk cId="441395905" sldId="6878"/>
            <ac:spMk id="312" creationId="{6AB0FC31-D3D7-4F81-964B-DD4836964B42}"/>
          </ac:spMkLst>
        </pc:spChg>
        <pc:spChg chg="mod">
          <ac:chgData name="Ugo MANTEL" userId="2d5b7065-31bb-4181-a7f8-a73bf0c30211" providerId="ADAL" clId="{F05BB0D5-3454-45DC-8378-DA45B79D9A06}" dt="2020-10-02T13:04:35.993" v="4748" actId="790"/>
          <ac:spMkLst>
            <pc:docMk/>
            <pc:sldMk cId="441395905" sldId="6878"/>
            <ac:spMk id="337" creationId="{D92A8063-8FED-4A60-BB58-D8B3BAEA5253}"/>
          </ac:spMkLst>
        </pc:spChg>
        <pc:spChg chg="mod">
          <ac:chgData name="Ugo MANTEL" userId="2d5b7065-31bb-4181-a7f8-a73bf0c30211" providerId="ADAL" clId="{F05BB0D5-3454-45DC-8378-DA45B79D9A06}" dt="2020-10-02T13:04:35.998" v="4749" actId="790"/>
          <ac:spMkLst>
            <pc:docMk/>
            <pc:sldMk cId="441395905" sldId="6878"/>
            <ac:spMk id="338" creationId="{C0DD8353-65C9-4830-AAAA-F311A877CC16}"/>
          </ac:spMkLst>
        </pc:spChg>
        <pc:spChg chg="mod">
          <ac:chgData name="Ugo MANTEL" userId="2d5b7065-31bb-4181-a7f8-a73bf0c30211" providerId="ADAL" clId="{F05BB0D5-3454-45DC-8378-DA45B79D9A06}" dt="2020-10-02T13:04:35.967" v="4747" actId="790"/>
          <ac:spMkLst>
            <pc:docMk/>
            <pc:sldMk cId="441395905" sldId="6878"/>
            <ac:spMk id="339" creationId="{B416571C-6CC0-4AD0-9B65-CD3E27D3C84A}"/>
          </ac:spMkLst>
        </pc:spChg>
        <pc:spChg chg="mod">
          <ac:chgData name="Ugo MANTEL" userId="2d5b7065-31bb-4181-a7f8-a73bf0c30211" providerId="ADAL" clId="{F05BB0D5-3454-45DC-8378-DA45B79D9A06}" dt="2020-10-02T13:04:36.003" v="4750" actId="790"/>
          <ac:spMkLst>
            <pc:docMk/>
            <pc:sldMk cId="441395905" sldId="6878"/>
            <ac:spMk id="340" creationId="{F00163A5-232E-4628-A076-9DEBEE30F6AA}"/>
          </ac:spMkLst>
        </pc:spChg>
        <pc:spChg chg="mod">
          <ac:chgData name="Ugo MANTEL" userId="2d5b7065-31bb-4181-a7f8-a73bf0c30211" providerId="ADAL" clId="{F05BB0D5-3454-45DC-8378-DA45B79D9A06}" dt="2020-10-02T13:04:36.058" v="4783" actId="790"/>
          <ac:spMkLst>
            <pc:docMk/>
            <pc:sldMk cId="441395905" sldId="6878"/>
            <ac:spMk id="341" creationId="{DFF377D2-801C-4F60-A943-DF87ED3974D6}"/>
          </ac:spMkLst>
        </pc:spChg>
        <pc:spChg chg="mod">
          <ac:chgData name="Ugo MANTEL" userId="2d5b7065-31bb-4181-a7f8-a73bf0c30211" providerId="ADAL" clId="{F05BB0D5-3454-45DC-8378-DA45B79D9A06}" dt="2020-10-02T13:04:36.058" v="4784" actId="790"/>
          <ac:spMkLst>
            <pc:docMk/>
            <pc:sldMk cId="441395905" sldId="6878"/>
            <ac:spMk id="342" creationId="{400928E0-4635-4A42-826E-5152B40347C9}"/>
          </ac:spMkLst>
        </pc:spChg>
        <pc:spChg chg="mod">
          <ac:chgData name="Ugo MANTEL" userId="2d5b7065-31bb-4181-a7f8-a73bf0c30211" providerId="ADAL" clId="{F05BB0D5-3454-45DC-8378-DA45B79D9A06}" dt="2020-10-02T13:04:35.931" v="4744" actId="790"/>
          <ac:spMkLst>
            <pc:docMk/>
            <pc:sldMk cId="441395905" sldId="6878"/>
            <ac:spMk id="344" creationId="{939E11FD-0297-48EA-A350-F3AA1CF896CB}"/>
          </ac:spMkLst>
        </pc:spChg>
        <pc:spChg chg="mod">
          <ac:chgData name="Ugo MANTEL" userId="2d5b7065-31bb-4181-a7f8-a73bf0c30211" providerId="ADAL" clId="{F05BB0D5-3454-45DC-8378-DA45B79D9A06}" dt="2020-10-02T13:04:35.932" v="4745" actId="790"/>
          <ac:spMkLst>
            <pc:docMk/>
            <pc:sldMk cId="441395905" sldId="6878"/>
            <ac:spMk id="345" creationId="{C86909D9-2C01-4262-9C28-A05031A99702}"/>
          </ac:spMkLst>
        </pc:spChg>
        <pc:spChg chg="mod">
          <ac:chgData name="Ugo MANTEL" userId="2d5b7065-31bb-4181-a7f8-a73bf0c30211" providerId="ADAL" clId="{F05BB0D5-3454-45DC-8378-DA45B79D9A06}" dt="2020-10-02T13:04:36.016" v="4751" actId="790"/>
          <ac:spMkLst>
            <pc:docMk/>
            <pc:sldMk cId="441395905" sldId="6878"/>
            <ac:spMk id="396" creationId="{75A990C6-B585-4BD5-9D0A-BDC8074A4DFD}"/>
          </ac:spMkLst>
        </pc:spChg>
        <pc:spChg chg="mod">
          <ac:chgData name="Ugo MANTEL" userId="2d5b7065-31bb-4181-a7f8-a73bf0c30211" providerId="ADAL" clId="{F05BB0D5-3454-45DC-8378-DA45B79D9A06}" dt="2020-10-02T13:04:36.017" v="4752" actId="790"/>
          <ac:spMkLst>
            <pc:docMk/>
            <pc:sldMk cId="441395905" sldId="6878"/>
            <ac:spMk id="399" creationId="{CDF9B842-E289-458D-8BC3-A36BE3F9AB37}"/>
          </ac:spMkLst>
        </pc:spChg>
        <pc:spChg chg="mod">
          <ac:chgData name="Ugo MANTEL" userId="2d5b7065-31bb-4181-a7f8-a73bf0c30211" providerId="ADAL" clId="{F05BB0D5-3454-45DC-8378-DA45B79D9A06}" dt="2020-10-02T13:04:36.059" v="4785" actId="790"/>
          <ac:spMkLst>
            <pc:docMk/>
            <pc:sldMk cId="441395905" sldId="6878"/>
            <ac:spMk id="403" creationId="{832C0768-D5D0-4207-83BD-0D22C0E3DB54}"/>
          </ac:spMkLst>
        </pc:spChg>
        <pc:spChg chg="mod">
          <ac:chgData name="Ugo MANTEL" userId="2d5b7065-31bb-4181-a7f8-a73bf0c30211" providerId="ADAL" clId="{F05BB0D5-3454-45DC-8378-DA45B79D9A06}" dt="2020-10-02T13:04:36.060" v="4786" actId="790"/>
          <ac:spMkLst>
            <pc:docMk/>
            <pc:sldMk cId="441395905" sldId="6878"/>
            <ac:spMk id="406" creationId="{B560D811-A723-444E-916B-52497B036858}"/>
          </ac:spMkLst>
        </pc:spChg>
        <pc:spChg chg="mod">
          <ac:chgData name="Ugo MANTEL" userId="2d5b7065-31bb-4181-a7f8-a73bf0c30211" providerId="ADAL" clId="{F05BB0D5-3454-45DC-8378-DA45B79D9A06}" dt="2020-10-02T13:04:36.040" v="4761" actId="790"/>
          <ac:spMkLst>
            <pc:docMk/>
            <pc:sldMk cId="441395905" sldId="6878"/>
            <ac:spMk id="417" creationId="{D8C4D3AC-DD2B-43D0-B3D7-FE90A568FEBD}"/>
          </ac:spMkLst>
        </pc:spChg>
        <pc:spChg chg="mod">
          <ac:chgData name="Ugo MANTEL" userId="2d5b7065-31bb-4181-a7f8-a73bf0c30211" providerId="ADAL" clId="{F05BB0D5-3454-45DC-8378-DA45B79D9A06}" dt="2020-10-02T13:04:36.041" v="4762" actId="790"/>
          <ac:spMkLst>
            <pc:docMk/>
            <pc:sldMk cId="441395905" sldId="6878"/>
            <ac:spMk id="428" creationId="{ED0CBF6E-32E9-4928-B4BA-6D2081E75DBA}"/>
          </ac:spMkLst>
        </pc:spChg>
        <pc:spChg chg="mod">
          <ac:chgData name="Ugo MANTEL" userId="2d5b7065-31bb-4181-a7f8-a73bf0c30211" providerId="ADAL" clId="{F05BB0D5-3454-45DC-8378-DA45B79D9A06}" dt="2020-10-02T13:04:36.041" v="4763" actId="790"/>
          <ac:spMkLst>
            <pc:docMk/>
            <pc:sldMk cId="441395905" sldId="6878"/>
            <ac:spMk id="429" creationId="{2A76BE75-C149-4C35-AA0A-657E514E2830}"/>
          </ac:spMkLst>
        </pc:spChg>
        <pc:spChg chg="mod">
          <ac:chgData name="Ugo MANTEL" userId="2d5b7065-31bb-4181-a7f8-a73bf0c30211" providerId="ADAL" clId="{F05BB0D5-3454-45DC-8378-DA45B79D9A06}" dt="2020-10-02T13:04:36.042" v="4764" actId="790"/>
          <ac:spMkLst>
            <pc:docMk/>
            <pc:sldMk cId="441395905" sldId="6878"/>
            <ac:spMk id="433" creationId="{8F543B20-3A40-49DC-90C4-6BE23528CF23}"/>
          </ac:spMkLst>
        </pc:spChg>
        <pc:spChg chg="mod">
          <ac:chgData name="Ugo MANTEL" userId="2d5b7065-31bb-4181-a7f8-a73bf0c30211" providerId="ADAL" clId="{F05BB0D5-3454-45DC-8378-DA45B79D9A06}" dt="2020-10-02T13:04:36.043" v="4765" actId="790"/>
          <ac:spMkLst>
            <pc:docMk/>
            <pc:sldMk cId="441395905" sldId="6878"/>
            <ac:spMk id="436" creationId="{D421738F-D3B5-4FBC-B387-9EE3716677CE}"/>
          </ac:spMkLst>
        </pc:spChg>
        <pc:spChg chg="mod">
          <ac:chgData name="Ugo MANTEL" userId="2d5b7065-31bb-4181-a7f8-a73bf0c30211" providerId="ADAL" clId="{F05BB0D5-3454-45DC-8378-DA45B79D9A06}" dt="2020-10-02T13:04:36.043" v="4766" actId="790"/>
          <ac:spMkLst>
            <pc:docMk/>
            <pc:sldMk cId="441395905" sldId="6878"/>
            <ac:spMk id="437" creationId="{6A0530D4-3131-4201-ACE5-FC3C53778284}"/>
          </ac:spMkLst>
        </pc:spChg>
        <pc:spChg chg="mod">
          <ac:chgData name="Ugo MANTEL" userId="2d5b7065-31bb-4181-a7f8-a73bf0c30211" providerId="ADAL" clId="{F05BB0D5-3454-45DC-8378-DA45B79D9A06}" dt="2020-10-02T13:04:36.038" v="4759" actId="790"/>
          <ac:spMkLst>
            <pc:docMk/>
            <pc:sldMk cId="441395905" sldId="6878"/>
            <ac:spMk id="456" creationId="{0E2BEB82-7732-49A8-9BC5-188D43BD5EE0}"/>
          </ac:spMkLst>
        </pc:spChg>
        <pc:spChg chg="mod">
          <ac:chgData name="Ugo MANTEL" userId="2d5b7065-31bb-4181-a7f8-a73bf0c30211" providerId="ADAL" clId="{F05BB0D5-3454-45DC-8378-DA45B79D9A06}" dt="2020-10-02T13:04:36.038" v="4758" actId="790"/>
          <ac:spMkLst>
            <pc:docMk/>
            <pc:sldMk cId="441395905" sldId="6878"/>
            <ac:spMk id="478" creationId="{2087F00B-8F21-427E-B337-8505BDE6796E}"/>
          </ac:spMkLst>
        </pc:spChg>
        <pc:spChg chg="mod">
          <ac:chgData name="Ugo MANTEL" userId="2d5b7065-31bb-4181-a7f8-a73bf0c30211" providerId="ADAL" clId="{F05BB0D5-3454-45DC-8378-DA45B79D9A06}" dt="2020-10-02T13:04:36.026" v="4753" actId="790"/>
          <ac:spMkLst>
            <pc:docMk/>
            <pc:sldMk cId="441395905" sldId="6878"/>
            <ac:spMk id="479" creationId="{E66FDF61-D25C-4CCC-ADA2-B8BFE9294ECC}"/>
          </ac:spMkLst>
        </pc:spChg>
        <pc:spChg chg="mod">
          <ac:chgData name="Ugo MANTEL" userId="2d5b7065-31bb-4181-a7f8-a73bf0c30211" providerId="ADAL" clId="{F05BB0D5-3454-45DC-8378-DA45B79D9A06}" dt="2020-10-02T13:04:36.027" v="4754" actId="790"/>
          <ac:spMkLst>
            <pc:docMk/>
            <pc:sldMk cId="441395905" sldId="6878"/>
            <ac:spMk id="480" creationId="{3A97D2E6-0FCF-4836-B99B-EEAEEEBC1A8A}"/>
          </ac:spMkLst>
        </pc:spChg>
        <pc:spChg chg="mod">
          <ac:chgData name="Ugo MANTEL" userId="2d5b7065-31bb-4181-a7f8-a73bf0c30211" providerId="ADAL" clId="{F05BB0D5-3454-45DC-8378-DA45B79D9A06}" dt="2020-10-02T13:04:36.027" v="4755" actId="790"/>
          <ac:spMkLst>
            <pc:docMk/>
            <pc:sldMk cId="441395905" sldId="6878"/>
            <ac:spMk id="482" creationId="{64A6ED82-7562-44BC-811B-6123F21E9BF3}"/>
          </ac:spMkLst>
        </pc:spChg>
        <pc:spChg chg="mod">
          <ac:chgData name="Ugo MANTEL" userId="2d5b7065-31bb-4181-a7f8-a73bf0c30211" providerId="ADAL" clId="{F05BB0D5-3454-45DC-8378-DA45B79D9A06}" dt="2020-10-02T13:04:36.028" v="4756" actId="790"/>
          <ac:spMkLst>
            <pc:docMk/>
            <pc:sldMk cId="441395905" sldId="6878"/>
            <ac:spMk id="483" creationId="{0951197D-A2D2-4832-B3D6-5DC7B5F98EB0}"/>
          </ac:spMkLst>
        </pc:spChg>
        <pc:spChg chg="mod">
          <ac:chgData name="Ugo MANTEL" userId="2d5b7065-31bb-4181-a7f8-a73bf0c30211" providerId="ADAL" clId="{F05BB0D5-3454-45DC-8378-DA45B79D9A06}" dt="2020-10-02T13:04:36.029" v="4757" actId="790"/>
          <ac:spMkLst>
            <pc:docMk/>
            <pc:sldMk cId="441395905" sldId="6878"/>
            <ac:spMk id="484" creationId="{F7DFFBDB-8D07-409D-9D6E-3AC0E8FE6220}"/>
          </ac:spMkLst>
        </pc:spChg>
        <pc:spChg chg="mod">
          <ac:chgData name="Ugo MANTEL" userId="2d5b7065-31bb-4181-a7f8-a73bf0c30211" providerId="ADAL" clId="{F05BB0D5-3454-45DC-8378-DA45B79D9A06}" dt="2020-10-02T13:04:36.039" v="4760" actId="790"/>
          <ac:spMkLst>
            <pc:docMk/>
            <pc:sldMk cId="441395905" sldId="6878"/>
            <ac:spMk id="488" creationId="{F5DA31B9-E782-48BE-B385-DF7CFDE13C45}"/>
          </ac:spMkLst>
        </pc:spChg>
        <pc:spChg chg="mod">
          <ac:chgData name="Ugo MANTEL" userId="2d5b7065-31bb-4181-a7f8-a73bf0c30211" providerId="ADAL" clId="{F05BB0D5-3454-45DC-8378-DA45B79D9A06}" dt="2020-10-02T13:04:36.044" v="4767" actId="790"/>
          <ac:spMkLst>
            <pc:docMk/>
            <pc:sldMk cId="441395905" sldId="6878"/>
            <ac:spMk id="523" creationId="{CBD12C94-D37C-46E5-AFF0-654958F05250}"/>
          </ac:spMkLst>
        </pc:spChg>
        <pc:spChg chg="mod">
          <ac:chgData name="Ugo MANTEL" userId="2d5b7065-31bb-4181-a7f8-a73bf0c30211" providerId="ADAL" clId="{F05BB0D5-3454-45DC-8378-DA45B79D9A06}" dt="2020-10-02T13:04:36.045" v="4768" actId="790"/>
          <ac:spMkLst>
            <pc:docMk/>
            <pc:sldMk cId="441395905" sldId="6878"/>
            <ac:spMk id="524" creationId="{DFE39533-6AD2-40E5-A340-4C1C2F5D0486}"/>
          </ac:spMkLst>
        </pc:spChg>
        <pc:spChg chg="mod">
          <ac:chgData name="Ugo MANTEL" userId="2d5b7065-31bb-4181-a7f8-a73bf0c30211" providerId="ADAL" clId="{F05BB0D5-3454-45DC-8378-DA45B79D9A06}" dt="2020-10-02T13:04:36.046" v="4769" actId="790"/>
          <ac:spMkLst>
            <pc:docMk/>
            <pc:sldMk cId="441395905" sldId="6878"/>
            <ac:spMk id="525" creationId="{2AEE2631-3121-4AFB-B2F1-9A3FA003FCF6}"/>
          </ac:spMkLst>
        </pc:spChg>
        <pc:spChg chg="mod">
          <ac:chgData name="Ugo MANTEL" userId="2d5b7065-31bb-4181-a7f8-a73bf0c30211" providerId="ADAL" clId="{F05BB0D5-3454-45DC-8378-DA45B79D9A06}" dt="2020-10-02T13:04:36.047" v="4770" actId="790"/>
          <ac:spMkLst>
            <pc:docMk/>
            <pc:sldMk cId="441395905" sldId="6878"/>
            <ac:spMk id="527" creationId="{94CC20E3-0602-4457-AD74-6389814F549E}"/>
          </ac:spMkLst>
        </pc:spChg>
        <pc:spChg chg="mod">
          <ac:chgData name="Ugo MANTEL" userId="2d5b7065-31bb-4181-a7f8-a73bf0c30211" providerId="ADAL" clId="{F05BB0D5-3454-45DC-8378-DA45B79D9A06}" dt="2020-10-02T13:04:36.048" v="4771" actId="790"/>
          <ac:spMkLst>
            <pc:docMk/>
            <pc:sldMk cId="441395905" sldId="6878"/>
            <ac:spMk id="528" creationId="{92E19E51-4E9B-4F9E-9CDC-25DC72955983}"/>
          </ac:spMkLst>
        </pc:spChg>
        <pc:spChg chg="mod">
          <ac:chgData name="Ugo MANTEL" userId="2d5b7065-31bb-4181-a7f8-a73bf0c30211" providerId="ADAL" clId="{F05BB0D5-3454-45DC-8378-DA45B79D9A06}" dt="2020-10-02T13:04:36.050" v="4772" actId="790"/>
          <ac:spMkLst>
            <pc:docMk/>
            <pc:sldMk cId="441395905" sldId="6878"/>
            <ac:spMk id="535" creationId="{98B5983A-1E07-4AB1-A873-8CB5D032C05B}"/>
          </ac:spMkLst>
        </pc:spChg>
        <pc:spChg chg="mod">
          <ac:chgData name="Ugo MANTEL" userId="2d5b7065-31bb-4181-a7f8-a73bf0c30211" providerId="ADAL" clId="{F05BB0D5-3454-45DC-8378-DA45B79D9A06}" dt="2020-10-02T13:04:36.051" v="4773" actId="790"/>
          <ac:spMkLst>
            <pc:docMk/>
            <pc:sldMk cId="441395905" sldId="6878"/>
            <ac:spMk id="536" creationId="{FCB751B1-E46D-4445-AB80-0090C4EFBCA3}"/>
          </ac:spMkLst>
        </pc:spChg>
        <pc:spChg chg="mod">
          <ac:chgData name="Ugo MANTEL" userId="2d5b7065-31bb-4181-a7f8-a73bf0c30211" providerId="ADAL" clId="{F05BB0D5-3454-45DC-8378-DA45B79D9A06}" dt="2020-10-02T13:04:36.051" v="4774" actId="790"/>
          <ac:spMkLst>
            <pc:docMk/>
            <pc:sldMk cId="441395905" sldId="6878"/>
            <ac:spMk id="537" creationId="{C16FDA56-CF60-4076-BCE3-313B4B086374}"/>
          </ac:spMkLst>
        </pc:spChg>
        <pc:spChg chg="mod">
          <ac:chgData name="Ugo MANTEL" userId="2d5b7065-31bb-4181-a7f8-a73bf0c30211" providerId="ADAL" clId="{F05BB0D5-3454-45DC-8378-DA45B79D9A06}" dt="2020-10-02T13:04:36.052" v="4775" actId="790"/>
          <ac:spMkLst>
            <pc:docMk/>
            <pc:sldMk cId="441395905" sldId="6878"/>
            <ac:spMk id="538" creationId="{25708976-A472-48BB-BDD7-30E4DA5B52EF}"/>
          </ac:spMkLst>
        </pc:spChg>
        <pc:spChg chg="mod">
          <ac:chgData name="Ugo MANTEL" userId="2d5b7065-31bb-4181-a7f8-a73bf0c30211" providerId="ADAL" clId="{F05BB0D5-3454-45DC-8378-DA45B79D9A06}" dt="2020-10-02T13:04:36.053" v="4776" actId="790"/>
          <ac:spMkLst>
            <pc:docMk/>
            <pc:sldMk cId="441395905" sldId="6878"/>
            <ac:spMk id="539" creationId="{9F32C569-072B-4B70-918E-AE108CDD6CB3}"/>
          </ac:spMkLst>
        </pc:spChg>
        <pc:spChg chg="mod">
          <ac:chgData name="Ugo MANTEL" userId="2d5b7065-31bb-4181-a7f8-a73bf0c30211" providerId="ADAL" clId="{F05BB0D5-3454-45DC-8378-DA45B79D9A06}" dt="2020-10-02T13:04:36.053" v="4777" actId="790"/>
          <ac:spMkLst>
            <pc:docMk/>
            <pc:sldMk cId="441395905" sldId="6878"/>
            <ac:spMk id="540" creationId="{5C8FE26D-141E-4278-971B-70DE69E05B23}"/>
          </ac:spMkLst>
        </pc:spChg>
        <pc:spChg chg="mod">
          <ac:chgData name="Ugo MANTEL" userId="2d5b7065-31bb-4181-a7f8-a73bf0c30211" providerId="ADAL" clId="{F05BB0D5-3454-45DC-8378-DA45B79D9A06}" dt="2020-10-02T13:04:36.054" v="4778" actId="790"/>
          <ac:spMkLst>
            <pc:docMk/>
            <pc:sldMk cId="441395905" sldId="6878"/>
            <ac:spMk id="541" creationId="{A2E29586-A937-4E99-836A-96C8F997A16F}"/>
          </ac:spMkLst>
        </pc:spChg>
        <pc:spChg chg="mod">
          <ac:chgData name="Ugo MANTEL" userId="2d5b7065-31bb-4181-a7f8-a73bf0c30211" providerId="ADAL" clId="{F05BB0D5-3454-45DC-8378-DA45B79D9A06}" dt="2020-10-02T13:04:36.055" v="4779" actId="790"/>
          <ac:spMkLst>
            <pc:docMk/>
            <pc:sldMk cId="441395905" sldId="6878"/>
            <ac:spMk id="542" creationId="{3C925D3F-1A2D-42C3-A312-A405CE60A0B2}"/>
          </ac:spMkLst>
        </pc:spChg>
      </pc:sldChg>
      <pc:sldChg chg="modSp mod">
        <pc:chgData name="Ugo MANTEL" userId="2d5b7065-31bb-4181-a7f8-a73bf0c30211" providerId="ADAL" clId="{F05BB0D5-3454-45DC-8378-DA45B79D9A06}" dt="2020-10-02T13:04:32.197" v="1103" actId="790"/>
        <pc:sldMkLst>
          <pc:docMk/>
          <pc:sldMk cId="1456459348" sldId="6884"/>
        </pc:sldMkLst>
        <pc:spChg chg="mod">
          <ac:chgData name="Ugo MANTEL" userId="2d5b7065-31bb-4181-a7f8-a73bf0c30211" providerId="ADAL" clId="{F05BB0D5-3454-45DC-8378-DA45B79D9A06}" dt="2020-10-02T13:04:32.165" v="1071" actId="790"/>
          <ac:spMkLst>
            <pc:docMk/>
            <pc:sldMk cId="1456459348" sldId="6884"/>
            <ac:spMk id="3" creationId="{0AA036DD-C883-4F76-839C-44FD6E23C870}"/>
          </ac:spMkLst>
        </pc:spChg>
        <pc:spChg chg="mod">
          <ac:chgData name="Ugo MANTEL" userId="2d5b7065-31bb-4181-a7f8-a73bf0c30211" providerId="ADAL" clId="{F05BB0D5-3454-45DC-8378-DA45B79D9A06}" dt="2020-10-02T13:04:32.163" v="1069" actId="790"/>
          <ac:spMkLst>
            <pc:docMk/>
            <pc:sldMk cId="1456459348" sldId="6884"/>
            <ac:spMk id="4" creationId="{D2B35E67-E779-422A-ADE1-988B1343A323}"/>
          </ac:spMkLst>
        </pc:spChg>
        <pc:spChg chg="mod">
          <ac:chgData name="Ugo MANTEL" userId="2d5b7065-31bb-4181-a7f8-a73bf0c30211" providerId="ADAL" clId="{F05BB0D5-3454-45DC-8378-DA45B79D9A06}" dt="2020-10-02T13:04:32.179" v="1082" actId="790"/>
          <ac:spMkLst>
            <pc:docMk/>
            <pc:sldMk cId="1456459348" sldId="6884"/>
            <ac:spMk id="6" creationId="{B4F9AFAE-14FB-4CB5-8697-6113594D2EF7}"/>
          </ac:spMkLst>
        </pc:spChg>
        <pc:spChg chg="mod">
          <ac:chgData name="Ugo MANTEL" userId="2d5b7065-31bb-4181-a7f8-a73bf0c30211" providerId="ADAL" clId="{F05BB0D5-3454-45DC-8378-DA45B79D9A06}" dt="2020-10-02T13:04:32.175" v="1077" actId="790"/>
          <ac:spMkLst>
            <pc:docMk/>
            <pc:sldMk cId="1456459348" sldId="6884"/>
            <ac:spMk id="8" creationId="{F6B9CFB1-F526-41B6-9B4A-BB67962AA701}"/>
          </ac:spMkLst>
        </pc:spChg>
        <pc:spChg chg="mod">
          <ac:chgData name="Ugo MANTEL" userId="2d5b7065-31bb-4181-a7f8-a73bf0c30211" providerId="ADAL" clId="{F05BB0D5-3454-45DC-8378-DA45B79D9A06}" dt="2020-10-02T13:04:32.176" v="1078" actId="790"/>
          <ac:spMkLst>
            <pc:docMk/>
            <pc:sldMk cId="1456459348" sldId="6884"/>
            <ac:spMk id="9" creationId="{9E859635-F25E-4307-B762-EA130FF1E5B0}"/>
          </ac:spMkLst>
        </pc:spChg>
        <pc:spChg chg="mod">
          <ac:chgData name="Ugo MANTEL" userId="2d5b7065-31bb-4181-a7f8-a73bf0c30211" providerId="ADAL" clId="{F05BB0D5-3454-45DC-8378-DA45B79D9A06}" dt="2020-10-02T13:04:32.180" v="1083" actId="790"/>
          <ac:spMkLst>
            <pc:docMk/>
            <pc:sldMk cId="1456459348" sldId="6884"/>
            <ac:spMk id="11" creationId="{26388885-1D7D-4764-BE87-5CF5BF80DBA2}"/>
          </ac:spMkLst>
        </pc:spChg>
        <pc:spChg chg="mod">
          <ac:chgData name="Ugo MANTEL" userId="2d5b7065-31bb-4181-a7f8-a73bf0c30211" providerId="ADAL" clId="{F05BB0D5-3454-45DC-8378-DA45B79D9A06}" dt="2020-10-02T13:04:32.176" v="1079" actId="790"/>
          <ac:spMkLst>
            <pc:docMk/>
            <pc:sldMk cId="1456459348" sldId="6884"/>
            <ac:spMk id="13" creationId="{9565A9C2-2FD8-478C-B717-FB8EE6325CAE}"/>
          </ac:spMkLst>
        </pc:spChg>
        <pc:spChg chg="mod">
          <ac:chgData name="Ugo MANTEL" userId="2d5b7065-31bb-4181-a7f8-a73bf0c30211" providerId="ADAL" clId="{F05BB0D5-3454-45DC-8378-DA45B79D9A06}" dt="2020-10-02T13:04:32.181" v="1084" actId="790"/>
          <ac:spMkLst>
            <pc:docMk/>
            <pc:sldMk cId="1456459348" sldId="6884"/>
            <ac:spMk id="14" creationId="{F20B7311-A110-4087-B383-B2A6FC2291FC}"/>
          </ac:spMkLst>
        </pc:spChg>
        <pc:spChg chg="mod">
          <ac:chgData name="Ugo MANTEL" userId="2d5b7065-31bb-4181-a7f8-a73bf0c30211" providerId="ADAL" clId="{F05BB0D5-3454-45DC-8378-DA45B79D9A06}" dt="2020-10-02T13:04:32.175" v="1076" actId="790"/>
          <ac:spMkLst>
            <pc:docMk/>
            <pc:sldMk cId="1456459348" sldId="6884"/>
            <ac:spMk id="17" creationId="{28F6B2CE-5062-4E93-973A-37A8106A4FDE}"/>
          </ac:spMkLst>
        </pc:spChg>
        <pc:spChg chg="mod">
          <ac:chgData name="Ugo MANTEL" userId="2d5b7065-31bb-4181-a7f8-a73bf0c30211" providerId="ADAL" clId="{F05BB0D5-3454-45DC-8378-DA45B79D9A06}" dt="2020-10-02T13:04:32.177" v="1080" actId="790"/>
          <ac:spMkLst>
            <pc:docMk/>
            <pc:sldMk cId="1456459348" sldId="6884"/>
            <ac:spMk id="18" creationId="{E21B9AD8-0E0C-4846-8A4F-A50CF643E8BA}"/>
          </ac:spMkLst>
        </pc:spChg>
        <pc:spChg chg="mod">
          <ac:chgData name="Ugo MANTEL" userId="2d5b7065-31bb-4181-a7f8-a73bf0c30211" providerId="ADAL" clId="{F05BB0D5-3454-45DC-8378-DA45B79D9A06}" dt="2020-10-02T13:04:32.185" v="1090" actId="790"/>
          <ac:spMkLst>
            <pc:docMk/>
            <pc:sldMk cId="1456459348" sldId="6884"/>
            <ac:spMk id="21" creationId="{E6341D1C-01C1-4623-97B3-30EEF1A9DEC0}"/>
          </ac:spMkLst>
        </pc:spChg>
        <pc:spChg chg="mod">
          <ac:chgData name="Ugo MANTEL" userId="2d5b7065-31bb-4181-a7f8-a73bf0c30211" providerId="ADAL" clId="{F05BB0D5-3454-45DC-8378-DA45B79D9A06}" dt="2020-10-02T13:04:32.182" v="1086" actId="790"/>
          <ac:spMkLst>
            <pc:docMk/>
            <pc:sldMk cId="1456459348" sldId="6884"/>
            <ac:spMk id="32" creationId="{CA3A4E67-16A2-4D94-BB9D-BA9E569154F7}"/>
          </ac:spMkLst>
        </pc:spChg>
        <pc:spChg chg="mod">
          <ac:chgData name="Ugo MANTEL" userId="2d5b7065-31bb-4181-a7f8-a73bf0c30211" providerId="ADAL" clId="{F05BB0D5-3454-45DC-8378-DA45B79D9A06}" dt="2020-10-02T13:04:32.186" v="1091" actId="790"/>
          <ac:spMkLst>
            <pc:docMk/>
            <pc:sldMk cId="1456459348" sldId="6884"/>
            <ac:spMk id="55" creationId="{94FD4810-78DD-4418-89F1-B391F203F328}"/>
          </ac:spMkLst>
        </pc:spChg>
        <pc:spChg chg="mod">
          <ac:chgData name="Ugo MANTEL" userId="2d5b7065-31bb-4181-a7f8-a73bf0c30211" providerId="ADAL" clId="{F05BB0D5-3454-45DC-8378-DA45B79D9A06}" dt="2020-10-02T13:04:32.186" v="1092" actId="790"/>
          <ac:spMkLst>
            <pc:docMk/>
            <pc:sldMk cId="1456459348" sldId="6884"/>
            <ac:spMk id="56" creationId="{9095BC5E-A314-459F-A2F4-8A465457C569}"/>
          </ac:spMkLst>
        </pc:spChg>
        <pc:spChg chg="mod">
          <ac:chgData name="Ugo MANTEL" userId="2d5b7065-31bb-4181-a7f8-a73bf0c30211" providerId="ADAL" clId="{F05BB0D5-3454-45DC-8378-DA45B79D9A06}" dt="2020-10-02T13:04:32.187" v="1093" actId="790"/>
          <ac:spMkLst>
            <pc:docMk/>
            <pc:sldMk cId="1456459348" sldId="6884"/>
            <ac:spMk id="57" creationId="{52A88395-F427-4D51-91E6-C494DECFFCE7}"/>
          </ac:spMkLst>
        </pc:spChg>
        <pc:spChg chg="mod">
          <ac:chgData name="Ugo MANTEL" userId="2d5b7065-31bb-4181-a7f8-a73bf0c30211" providerId="ADAL" clId="{F05BB0D5-3454-45DC-8378-DA45B79D9A06}" dt="2020-10-02T13:04:32.188" v="1094" actId="790"/>
          <ac:spMkLst>
            <pc:docMk/>
            <pc:sldMk cId="1456459348" sldId="6884"/>
            <ac:spMk id="58" creationId="{8F449D3F-282A-4C8E-8B72-5568F3F1FD67}"/>
          </ac:spMkLst>
        </pc:spChg>
        <pc:spChg chg="mod">
          <ac:chgData name="Ugo MANTEL" userId="2d5b7065-31bb-4181-a7f8-a73bf0c30211" providerId="ADAL" clId="{F05BB0D5-3454-45DC-8378-DA45B79D9A06}" dt="2020-10-02T13:04:32.169" v="1075" actId="790"/>
          <ac:spMkLst>
            <pc:docMk/>
            <pc:sldMk cId="1456459348" sldId="6884"/>
            <ac:spMk id="61" creationId="{6ED1D969-D34C-4557-9A0A-8B46B39C3FC1}"/>
          </ac:spMkLst>
        </pc:spChg>
        <pc:spChg chg="mod">
          <ac:chgData name="Ugo MANTEL" userId="2d5b7065-31bb-4181-a7f8-a73bf0c30211" providerId="ADAL" clId="{F05BB0D5-3454-45DC-8378-DA45B79D9A06}" dt="2020-10-02T13:04:32.189" v="1095" actId="790"/>
          <ac:spMkLst>
            <pc:docMk/>
            <pc:sldMk cId="1456459348" sldId="6884"/>
            <ac:spMk id="62" creationId="{F0FBE6A4-FA16-42D9-A59F-299921BD22E9}"/>
          </ac:spMkLst>
        </pc:spChg>
        <pc:spChg chg="mod">
          <ac:chgData name="Ugo MANTEL" userId="2d5b7065-31bb-4181-a7f8-a73bf0c30211" providerId="ADAL" clId="{F05BB0D5-3454-45DC-8378-DA45B79D9A06}" dt="2020-10-02T13:04:32.194" v="1100" actId="790"/>
          <ac:spMkLst>
            <pc:docMk/>
            <pc:sldMk cId="1456459348" sldId="6884"/>
            <ac:spMk id="64" creationId="{36C26947-885E-4CF2-9380-E2E5974FEEF4}"/>
          </ac:spMkLst>
        </pc:spChg>
        <pc:spChg chg="mod">
          <ac:chgData name="Ugo MANTEL" userId="2d5b7065-31bb-4181-a7f8-a73bf0c30211" providerId="ADAL" clId="{F05BB0D5-3454-45DC-8378-DA45B79D9A06}" dt="2020-10-02T13:04:32.190" v="1096" actId="790"/>
          <ac:spMkLst>
            <pc:docMk/>
            <pc:sldMk cId="1456459348" sldId="6884"/>
            <ac:spMk id="65" creationId="{C275C88D-1ABF-4963-A280-2C8561BBCF60}"/>
          </ac:spMkLst>
        </pc:spChg>
        <pc:spChg chg="mod">
          <ac:chgData name="Ugo MANTEL" userId="2d5b7065-31bb-4181-a7f8-a73bf0c30211" providerId="ADAL" clId="{F05BB0D5-3454-45DC-8378-DA45B79D9A06}" dt="2020-10-02T13:04:32.191" v="1097" actId="790"/>
          <ac:spMkLst>
            <pc:docMk/>
            <pc:sldMk cId="1456459348" sldId="6884"/>
            <ac:spMk id="69" creationId="{51CC9843-8661-47BA-A054-1FE9A931C2E5}"/>
          </ac:spMkLst>
        </pc:spChg>
        <pc:spChg chg="mod">
          <ac:chgData name="Ugo MANTEL" userId="2d5b7065-31bb-4181-a7f8-a73bf0c30211" providerId="ADAL" clId="{F05BB0D5-3454-45DC-8378-DA45B79D9A06}" dt="2020-10-02T13:04:32.196" v="1102" actId="790"/>
          <ac:spMkLst>
            <pc:docMk/>
            <pc:sldMk cId="1456459348" sldId="6884"/>
            <ac:spMk id="70" creationId="{CA5CD320-21C2-49AF-A0EE-FA684D495C2F}"/>
          </ac:spMkLst>
        </pc:spChg>
        <pc:spChg chg="mod">
          <ac:chgData name="Ugo MANTEL" userId="2d5b7065-31bb-4181-a7f8-a73bf0c30211" providerId="ADAL" clId="{F05BB0D5-3454-45DC-8378-DA45B79D9A06}" dt="2020-10-02T13:04:32.193" v="1099" actId="790"/>
          <ac:spMkLst>
            <pc:docMk/>
            <pc:sldMk cId="1456459348" sldId="6884"/>
            <ac:spMk id="71" creationId="{AF65E28F-923D-47F4-9CFA-35F436C51AC1}"/>
          </ac:spMkLst>
        </pc:spChg>
        <pc:spChg chg="mod">
          <ac:chgData name="Ugo MANTEL" userId="2d5b7065-31bb-4181-a7f8-a73bf0c30211" providerId="ADAL" clId="{F05BB0D5-3454-45DC-8378-DA45B79D9A06}" dt="2020-10-02T13:04:32.197" v="1103" actId="790"/>
          <ac:spMkLst>
            <pc:docMk/>
            <pc:sldMk cId="1456459348" sldId="6884"/>
            <ac:spMk id="72" creationId="{4B75DDA7-E54C-49BD-802D-232FA1BF75C8}"/>
          </ac:spMkLst>
        </pc:spChg>
        <pc:spChg chg="mod">
          <ac:chgData name="Ugo MANTEL" userId="2d5b7065-31bb-4181-a7f8-a73bf0c30211" providerId="ADAL" clId="{F05BB0D5-3454-45DC-8378-DA45B79D9A06}" dt="2020-10-02T13:04:32.195" v="1101" actId="790"/>
          <ac:spMkLst>
            <pc:docMk/>
            <pc:sldMk cId="1456459348" sldId="6884"/>
            <ac:spMk id="84" creationId="{67890DD4-AFCD-4274-867A-19E4B9E5F4C1}"/>
          </ac:spMkLst>
        </pc:spChg>
        <pc:spChg chg="mod">
          <ac:chgData name="Ugo MANTEL" userId="2d5b7065-31bb-4181-a7f8-a73bf0c30211" providerId="ADAL" clId="{F05BB0D5-3454-45DC-8378-DA45B79D9A06}" dt="2020-10-02T13:04:32.183" v="1087" actId="790"/>
          <ac:spMkLst>
            <pc:docMk/>
            <pc:sldMk cId="1456459348" sldId="6884"/>
            <ac:spMk id="93" creationId="{EA6C355F-6456-4DF3-9E22-F6954A58D7FE}"/>
          </ac:spMkLst>
        </pc:spChg>
        <pc:spChg chg="mod">
          <ac:chgData name="Ugo MANTEL" userId="2d5b7065-31bb-4181-a7f8-a73bf0c30211" providerId="ADAL" clId="{F05BB0D5-3454-45DC-8378-DA45B79D9A06}" dt="2020-10-02T13:04:32.184" v="1088" actId="790"/>
          <ac:spMkLst>
            <pc:docMk/>
            <pc:sldMk cId="1456459348" sldId="6884"/>
            <ac:spMk id="101" creationId="{856C16A3-D462-44F7-8476-44F7D55BC75F}"/>
          </ac:spMkLst>
        </pc:spChg>
        <pc:spChg chg="mod">
          <ac:chgData name="Ugo MANTEL" userId="2d5b7065-31bb-4181-a7f8-a73bf0c30211" providerId="ADAL" clId="{F05BB0D5-3454-45DC-8378-DA45B79D9A06}" dt="2020-10-02T13:04:32.184" v="1089" actId="790"/>
          <ac:spMkLst>
            <pc:docMk/>
            <pc:sldMk cId="1456459348" sldId="6884"/>
            <ac:spMk id="107" creationId="{6C184948-049B-49AF-B064-DE29FFAFA836}"/>
          </ac:spMkLst>
        </pc:spChg>
        <pc:spChg chg="mod">
          <ac:chgData name="Ugo MANTEL" userId="2d5b7065-31bb-4181-a7f8-a73bf0c30211" providerId="ADAL" clId="{F05BB0D5-3454-45DC-8378-DA45B79D9A06}" dt="2020-10-02T13:04:32.181" v="1085" actId="790"/>
          <ac:spMkLst>
            <pc:docMk/>
            <pc:sldMk cId="1456459348" sldId="6884"/>
            <ac:spMk id="119" creationId="{53C583FD-2AF6-4047-97FD-3891A280B3EA}"/>
          </ac:spMkLst>
        </pc:spChg>
        <pc:spChg chg="mod">
          <ac:chgData name="Ugo MANTEL" userId="2d5b7065-31bb-4181-a7f8-a73bf0c30211" providerId="ADAL" clId="{F05BB0D5-3454-45DC-8378-DA45B79D9A06}" dt="2020-10-02T13:04:32.166" v="1072" actId="790"/>
          <ac:spMkLst>
            <pc:docMk/>
            <pc:sldMk cId="1456459348" sldId="6884"/>
            <ac:spMk id="121" creationId="{C4436ADD-20DF-4625-A001-4D9DB1B540E8}"/>
          </ac:spMkLst>
        </pc:spChg>
        <pc:spChg chg="mod">
          <ac:chgData name="Ugo MANTEL" userId="2d5b7065-31bb-4181-a7f8-a73bf0c30211" providerId="ADAL" clId="{F05BB0D5-3454-45DC-8378-DA45B79D9A06}" dt="2020-10-02T13:04:32.178" v="1081" actId="790"/>
          <ac:spMkLst>
            <pc:docMk/>
            <pc:sldMk cId="1456459348" sldId="6884"/>
            <ac:spMk id="125" creationId="{E322760F-5E2A-4E10-8F1A-B75329FA02A7}"/>
          </ac:spMkLst>
        </pc:spChg>
        <pc:spChg chg="mod">
          <ac:chgData name="Ugo MANTEL" userId="2d5b7065-31bb-4181-a7f8-a73bf0c30211" providerId="ADAL" clId="{F05BB0D5-3454-45DC-8378-DA45B79D9A06}" dt="2020-10-02T13:04:32.166" v="1073" actId="790"/>
          <ac:spMkLst>
            <pc:docMk/>
            <pc:sldMk cId="1456459348" sldId="6884"/>
            <ac:spMk id="128" creationId="{1B8C62D3-A2EB-4543-9D36-CA6830BD83F8}"/>
          </ac:spMkLst>
        </pc:spChg>
        <pc:spChg chg="mod">
          <ac:chgData name="Ugo MANTEL" userId="2d5b7065-31bb-4181-a7f8-a73bf0c30211" providerId="ADAL" clId="{F05BB0D5-3454-45DC-8378-DA45B79D9A06}" dt="2020-10-02T13:04:32.167" v="1074" actId="790"/>
          <ac:spMkLst>
            <pc:docMk/>
            <pc:sldMk cId="1456459348" sldId="6884"/>
            <ac:spMk id="129" creationId="{CC254C3E-D7B2-4658-AD8A-BEA831411C4D}"/>
          </ac:spMkLst>
        </pc:spChg>
        <pc:spChg chg="mod">
          <ac:chgData name="Ugo MANTEL" userId="2d5b7065-31bb-4181-a7f8-a73bf0c30211" providerId="ADAL" clId="{F05BB0D5-3454-45DC-8378-DA45B79D9A06}" dt="2020-10-02T13:04:32.164" v="1070" actId="790"/>
          <ac:spMkLst>
            <pc:docMk/>
            <pc:sldMk cId="1456459348" sldId="6884"/>
            <ac:spMk id="137" creationId="{F03136AD-763F-4D0B-9C02-89D15EAE83F3}"/>
          </ac:spMkLst>
        </pc:spChg>
        <pc:spChg chg="mod">
          <ac:chgData name="Ugo MANTEL" userId="2d5b7065-31bb-4181-a7f8-a73bf0c30211" providerId="ADAL" clId="{F05BB0D5-3454-45DC-8378-DA45B79D9A06}" dt="2020-10-02T13:04:32.193" v="1098" actId="790"/>
          <ac:spMkLst>
            <pc:docMk/>
            <pc:sldMk cId="1456459348" sldId="6884"/>
            <ac:spMk id="139" creationId="{75CC1791-0479-40C3-B805-4CB0F788187D}"/>
          </ac:spMkLst>
        </pc:spChg>
      </pc:sldChg>
      <pc:sldChg chg="modSp mod">
        <pc:chgData name="Ugo MANTEL" userId="2d5b7065-31bb-4181-a7f8-a73bf0c30211" providerId="ADAL" clId="{F05BB0D5-3454-45DC-8378-DA45B79D9A06}" dt="2020-10-02T13:04:36.835" v="5498" actId="790"/>
        <pc:sldMkLst>
          <pc:docMk/>
          <pc:sldMk cId="692933560" sldId="6895"/>
        </pc:sldMkLst>
        <pc:spChg chg="mod">
          <ac:chgData name="Ugo MANTEL" userId="2d5b7065-31bb-4181-a7f8-a73bf0c30211" providerId="ADAL" clId="{F05BB0D5-3454-45DC-8378-DA45B79D9A06}" dt="2020-10-02T13:04:36.783" v="5441" actId="790"/>
          <ac:spMkLst>
            <pc:docMk/>
            <pc:sldMk cId="692933560" sldId="6895"/>
            <ac:spMk id="3" creationId="{73049BF9-8D13-481B-9A48-46C6C4E9E852}"/>
          </ac:spMkLst>
        </pc:spChg>
        <pc:spChg chg="mod">
          <ac:chgData name="Ugo MANTEL" userId="2d5b7065-31bb-4181-a7f8-a73bf0c30211" providerId="ADAL" clId="{F05BB0D5-3454-45DC-8378-DA45B79D9A06}" dt="2020-10-02T13:04:36.795" v="5454" actId="790"/>
          <ac:spMkLst>
            <pc:docMk/>
            <pc:sldMk cId="692933560" sldId="6895"/>
            <ac:spMk id="5" creationId="{7A02B674-B623-4FB9-A315-49D1A6E7CC9C}"/>
          </ac:spMkLst>
        </pc:spChg>
        <pc:spChg chg="mod">
          <ac:chgData name="Ugo MANTEL" userId="2d5b7065-31bb-4181-a7f8-a73bf0c30211" providerId="ADAL" clId="{F05BB0D5-3454-45DC-8378-DA45B79D9A06}" dt="2020-10-02T13:04:36.780" v="5440" actId="790"/>
          <ac:spMkLst>
            <pc:docMk/>
            <pc:sldMk cId="692933560" sldId="6895"/>
            <ac:spMk id="7" creationId="{4A6022E3-4DB9-46DF-966E-81EED0537A86}"/>
          </ac:spMkLst>
        </pc:spChg>
        <pc:spChg chg="mod">
          <ac:chgData name="Ugo MANTEL" userId="2d5b7065-31bb-4181-a7f8-a73bf0c30211" providerId="ADAL" clId="{F05BB0D5-3454-45DC-8378-DA45B79D9A06}" dt="2020-10-02T13:04:36.784" v="5442" actId="790"/>
          <ac:spMkLst>
            <pc:docMk/>
            <pc:sldMk cId="692933560" sldId="6895"/>
            <ac:spMk id="20" creationId="{99E0C0D1-7BEF-45AF-9AF8-43C5BF48838D}"/>
          </ac:spMkLst>
        </pc:spChg>
        <pc:spChg chg="mod">
          <ac:chgData name="Ugo MANTEL" userId="2d5b7065-31bb-4181-a7f8-a73bf0c30211" providerId="ADAL" clId="{F05BB0D5-3454-45DC-8378-DA45B79D9A06}" dt="2020-10-02T13:04:36.813" v="5471" actId="790"/>
          <ac:spMkLst>
            <pc:docMk/>
            <pc:sldMk cId="692933560" sldId="6895"/>
            <ac:spMk id="24" creationId="{14E5BD6B-24E8-46B4-B66B-093EFC797D55}"/>
          </ac:spMkLst>
        </pc:spChg>
        <pc:spChg chg="mod">
          <ac:chgData name="Ugo MANTEL" userId="2d5b7065-31bb-4181-a7f8-a73bf0c30211" providerId="ADAL" clId="{F05BB0D5-3454-45DC-8378-DA45B79D9A06}" dt="2020-10-02T13:04:36.797" v="5455" actId="790"/>
          <ac:spMkLst>
            <pc:docMk/>
            <pc:sldMk cId="692933560" sldId="6895"/>
            <ac:spMk id="30" creationId="{FB01FB5E-0177-4188-AC9C-864FCCE396E7}"/>
          </ac:spMkLst>
        </pc:spChg>
        <pc:spChg chg="mod">
          <ac:chgData name="Ugo MANTEL" userId="2d5b7065-31bb-4181-a7f8-a73bf0c30211" providerId="ADAL" clId="{F05BB0D5-3454-45DC-8378-DA45B79D9A06}" dt="2020-10-02T13:04:36.797" v="5456" actId="790"/>
          <ac:spMkLst>
            <pc:docMk/>
            <pc:sldMk cId="692933560" sldId="6895"/>
            <ac:spMk id="33" creationId="{51EFD715-3B6A-4B4F-9D82-CEE537574D60}"/>
          </ac:spMkLst>
        </pc:spChg>
        <pc:spChg chg="mod">
          <ac:chgData name="Ugo MANTEL" userId="2d5b7065-31bb-4181-a7f8-a73bf0c30211" providerId="ADAL" clId="{F05BB0D5-3454-45DC-8378-DA45B79D9A06}" dt="2020-10-02T13:04:36.800" v="5457" actId="790"/>
          <ac:spMkLst>
            <pc:docMk/>
            <pc:sldMk cId="692933560" sldId="6895"/>
            <ac:spMk id="37" creationId="{4C6FA349-B6C7-4CBC-9874-6984A2DD2D1F}"/>
          </ac:spMkLst>
        </pc:spChg>
        <pc:spChg chg="mod">
          <ac:chgData name="Ugo MANTEL" userId="2d5b7065-31bb-4181-a7f8-a73bf0c30211" providerId="ADAL" clId="{F05BB0D5-3454-45DC-8378-DA45B79D9A06}" dt="2020-10-02T13:04:36.785" v="5443" actId="790"/>
          <ac:spMkLst>
            <pc:docMk/>
            <pc:sldMk cId="692933560" sldId="6895"/>
            <ac:spMk id="67" creationId="{395D9023-BB8D-4C07-A58A-9CA420892AF9}"/>
          </ac:spMkLst>
        </pc:spChg>
        <pc:spChg chg="mod">
          <ac:chgData name="Ugo MANTEL" userId="2d5b7065-31bb-4181-a7f8-a73bf0c30211" providerId="ADAL" clId="{F05BB0D5-3454-45DC-8378-DA45B79D9A06}" dt="2020-10-02T13:04:36.786" v="5444" actId="790"/>
          <ac:spMkLst>
            <pc:docMk/>
            <pc:sldMk cId="692933560" sldId="6895"/>
            <ac:spMk id="68" creationId="{EACF4C40-5F5A-4F7F-BA6B-57A106712858}"/>
          </ac:spMkLst>
        </pc:spChg>
        <pc:spChg chg="mod">
          <ac:chgData name="Ugo MANTEL" userId="2d5b7065-31bb-4181-a7f8-a73bf0c30211" providerId="ADAL" clId="{F05BB0D5-3454-45DC-8378-DA45B79D9A06}" dt="2020-10-02T13:04:36.787" v="5445" actId="790"/>
          <ac:spMkLst>
            <pc:docMk/>
            <pc:sldMk cId="692933560" sldId="6895"/>
            <ac:spMk id="69" creationId="{14932ABF-B3F2-4614-9FA3-744906B2F197}"/>
          </ac:spMkLst>
        </pc:spChg>
        <pc:spChg chg="mod">
          <ac:chgData name="Ugo MANTEL" userId="2d5b7065-31bb-4181-a7f8-a73bf0c30211" providerId="ADAL" clId="{F05BB0D5-3454-45DC-8378-DA45B79D9A06}" dt="2020-10-02T13:04:36.787" v="5446" actId="790"/>
          <ac:spMkLst>
            <pc:docMk/>
            <pc:sldMk cId="692933560" sldId="6895"/>
            <ac:spMk id="70" creationId="{D6ECC423-047F-4FFA-A595-20B725419789}"/>
          </ac:spMkLst>
        </pc:spChg>
        <pc:spChg chg="mod">
          <ac:chgData name="Ugo MANTEL" userId="2d5b7065-31bb-4181-a7f8-a73bf0c30211" providerId="ADAL" clId="{F05BB0D5-3454-45DC-8378-DA45B79D9A06}" dt="2020-10-02T13:04:36.788" v="5447" actId="790"/>
          <ac:spMkLst>
            <pc:docMk/>
            <pc:sldMk cId="692933560" sldId="6895"/>
            <ac:spMk id="71" creationId="{AD9B7B8C-EC95-4D2A-9D6F-36CF469DC9DC}"/>
          </ac:spMkLst>
        </pc:spChg>
        <pc:spChg chg="mod">
          <ac:chgData name="Ugo MANTEL" userId="2d5b7065-31bb-4181-a7f8-a73bf0c30211" providerId="ADAL" clId="{F05BB0D5-3454-45DC-8378-DA45B79D9A06}" dt="2020-10-02T13:04:36.809" v="5465" actId="790"/>
          <ac:spMkLst>
            <pc:docMk/>
            <pc:sldMk cId="692933560" sldId="6895"/>
            <ac:spMk id="74" creationId="{B0A0D9FD-6BFD-4B90-B264-BC8DB8AC2A22}"/>
          </ac:spMkLst>
        </pc:spChg>
        <pc:spChg chg="mod">
          <ac:chgData name="Ugo MANTEL" userId="2d5b7065-31bb-4181-a7f8-a73bf0c30211" providerId="ADAL" clId="{F05BB0D5-3454-45DC-8378-DA45B79D9A06}" dt="2020-10-02T13:04:36.809" v="5466" actId="790"/>
          <ac:spMkLst>
            <pc:docMk/>
            <pc:sldMk cId="692933560" sldId="6895"/>
            <ac:spMk id="76" creationId="{449C5D3A-1E00-44D1-ABE4-3063080264B6}"/>
          </ac:spMkLst>
        </pc:spChg>
        <pc:spChg chg="mod">
          <ac:chgData name="Ugo MANTEL" userId="2d5b7065-31bb-4181-a7f8-a73bf0c30211" providerId="ADAL" clId="{F05BB0D5-3454-45DC-8378-DA45B79D9A06}" dt="2020-10-02T13:04:36.810" v="5467" actId="790"/>
          <ac:spMkLst>
            <pc:docMk/>
            <pc:sldMk cId="692933560" sldId="6895"/>
            <ac:spMk id="77" creationId="{8DC60C25-C9B5-4642-ABDB-BD662034E44D}"/>
          </ac:spMkLst>
        </pc:spChg>
        <pc:spChg chg="mod">
          <ac:chgData name="Ugo MANTEL" userId="2d5b7065-31bb-4181-a7f8-a73bf0c30211" providerId="ADAL" clId="{F05BB0D5-3454-45DC-8378-DA45B79D9A06}" dt="2020-10-02T13:04:36.811" v="5468" actId="790"/>
          <ac:spMkLst>
            <pc:docMk/>
            <pc:sldMk cId="692933560" sldId="6895"/>
            <ac:spMk id="78" creationId="{9CD81375-473A-406E-AEE4-953258755F11}"/>
          </ac:spMkLst>
        </pc:spChg>
        <pc:spChg chg="mod">
          <ac:chgData name="Ugo MANTEL" userId="2d5b7065-31bb-4181-a7f8-a73bf0c30211" providerId="ADAL" clId="{F05BB0D5-3454-45DC-8378-DA45B79D9A06}" dt="2020-10-02T13:04:36.788" v="5448" actId="790"/>
          <ac:spMkLst>
            <pc:docMk/>
            <pc:sldMk cId="692933560" sldId="6895"/>
            <ac:spMk id="79" creationId="{CD19E6A4-8567-4F4C-8660-64A9310AA4D4}"/>
          </ac:spMkLst>
        </pc:spChg>
        <pc:spChg chg="mod">
          <ac:chgData name="Ugo MANTEL" userId="2d5b7065-31bb-4181-a7f8-a73bf0c30211" providerId="ADAL" clId="{F05BB0D5-3454-45DC-8378-DA45B79D9A06}" dt="2020-10-02T13:04:36.788" v="5449" actId="790"/>
          <ac:spMkLst>
            <pc:docMk/>
            <pc:sldMk cId="692933560" sldId="6895"/>
            <ac:spMk id="80" creationId="{85224B74-BFCF-40D4-8F5A-4DBD358E4A6A}"/>
          </ac:spMkLst>
        </pc:spChg>
        <pc:spChg chg="mod">
          <ac:chgData name="Ugo MANTEL" userId="2d5b7065-31bb-4181-a7f8-a73bf0c30211" providerId="ADAL" clId="{F05BB0D5-3454-45DC-8378-DA45B79D9A06}" dt="2020-10-02T13:04:36.790" v="5450" actId="790"/>
          <ac:spMkLst>
            <pc:docMk/>
            <pc:sldMk cId="692933560" sldId="6895"/>
            <ac:spMk id="81" creationId="{67520AEC-ABAB-415A-ADD8-DF870797CCB0}"/>
          </ac:spMkLst>
        </pc:spChg>
        <pc:spChg chg="mod">
          <ac:chgData name="Ugo MANTEL" userId="2d5b7065-31bb-4181-a7f8-a73bf0c30211" providerId="ADAL" clId="{F05BB0D5-3454-45DC-8378-DA45B79D9A06}" dt="2020-10-02T13:04:36.791" v="5451" actId="790"/>
          <ac:spMkLst>
            <pc:docMk/>
            <pc:sldMk cId="692933560" sldId="6895"/>
            <ac:spMk id="82" creationId="{24EAE7A4-064F-4847-974C-384E1DE8F678}"/>
          </ac:spMkLst>
        </pc:spChg>
        <pc:spChg chg="mod">
          <ac:chgData name="Ugo MANTEL" userId="2d5b7065-31bb-4181-a7f8-a73bf0c30211" providerId="ADAL" clId="{F05BB0D5-3454-45DC-8378-DA45B79D9A06}" dt="2020-10-02T13:04:36.803" v="5458" actId="790"/>
          <ac:spMkLst>
            <pc:docMk/>
            <pc:sldMk cId="692933560" sldId="6895"/>
            <ac:spMk id="83" creationId="{EDB79795-CCDC-4772-B04D-B056BFFA989C}"/>
          </ac:spMkLst>
        </pc:spChg>
        <pc:spChg chg="mod">
          <ac:chgData name="Ugo MANTEL" userId="2d5b7065-31bb-4181-a7f8-a73bf0c30211" providerId="ADAL" clId="{F05BB0D5-3454-45DC-8378-DA45B79D9A06}" dt="2020-10-02T13:04:36.812" v="5469" actId="790"/>
          <ac:spMkLst>
            <pc:docMk/>
            <pc:sldMk cId="692933560" sldId="6895"/>
            <ac:spMk id="84" creationId="{BEB94551-8AD6-41D2-9CC1-108130024DB7}"/>
          </ac:spMkLst>
        </pc:spChg>
        <pc:spChg chg="mod">
          <ac:chgData name="Ugo MANTEL" userId="2d5b7065-31bb-4181-a7f8-a73bf0c30211" providerId="ADAL" clId="{F05BB0D5-3454-45DC-8378-DA45B79D9A06}" dt="2020-10-02T13:04:36.812" v="5470" actId="790"/>
          <ac:spMkLst>
            <pc:docMk/>
            <pc:sldMk cId="692933560" sldId="6895"/>
            <ac:spMk id="85" creationId="{FE8A55E8-0B7A-4BE2-BB01-E5664B407AA7}"/>
          </ac:spMkLst>
        </pc:spChg>
        <pc:spChg chg="mod">
          <ac:chgData name="Ugo MANTEL" userId="2d5b7065-31bb-4181-a7f8-a73bf0c30211" providerId="ADAL" clId="{F05BB0D5-3454-45DC-8378-DA45B79D9A06}" dt="2020-10-02T13:04:36.804" v="5459" actId="790"/>
          <ac:spMkLst>
            <pc:docMk/>
            <pc:sldMk cId="692933560" sldId="6895"/>
            <ac:spMk id="87" creationId="{369FBC93-33CC-419E-81E7-ED99B2B84745}"/>
          </ac:spMkLst>
        </pc:spChg>
        <pc:spChg chg="mod">
          <ac:chgData name="Ugo MANTEL" userId="2d5b7065-31bb-4181-a7f8-a73bf0c30211" providerId="ADAL" clId="{F05BB0D5-3454-45DC-8378-DA45B79D9A06}" dt="2020-10-02T13:04:36.805" v="5460" actId="790"/>
          <ac:spMkLst>
            <pc:docMk/>
            <pc:sldMk cId="692933560" sldId="6895"/>
            <ac:spMk id="90" creationId="{57844CA3-74CB-4A77-A57A-5C7500F806DC}"/>
          </ac:spMkLst>
        </pc:spChg>
        <pc:spChg chg="mod">
          <ac:chgData name="Ugo MANTEL" userId="2d5b7065-31bb-4181-a7f8-a73bf0c30211" providerId="ADAL" clId="{F05BB0D5-3454-45DC-8378-DA45B79D9A06}" dt="2020-10-02T13:04:36.806" v="5461" actId="790"/>
          <ac:spMkLst>
            <pc:docMk/>
            <pc:sldMk cId="692933560" sldId="6895"/>
            <ac:spMk id="91" creationId="{EC2DDCD0-692A-4FCA-B2D9-C80A11DCC748}"/>
          </ac:spMkLst>
        </pc:spChg>
        <pc:spChg chg="mod">
          <ac:chgData name="Ugo MANTEL" userId="2d5b7065-31bb-4181-a7f8-a73bf0c30211" providerId="ADAL" clId="{F05BB0D5-3454-45DC-8378-DA45B79D9A06}" dt="2020-10-02T13:04:36.806" v="5462" actId="790"/>
          <ac:spMkLst>
            <pc:docMk/>
            <pc:sldMk cId="692933560" sldId="6895"/>
            <ac:spMk id="92" creationId="{EB0120F0-E514-4F9C-B7AF-360869814C92}"/>
          </ac:spMkLst>
        </pc:spChg>
        <pc:spChg chg="mod">
          <ac:chgData name="Ugo MANTEL" userId="2d5b7065-31bb-4181-a7f8-a73bf0c30211" providerId="ADAL" clId="{F05BB0D5-3454-45DC-8378-DA45B79D9A06}" dt="2020-10-02T13:04:36.807" v="5463" actId="790"/>
          <ac:spMkLst>
            <pc:docMk/>
            <pc:sldMk cId="692933560" sldId="6895"/>
            <ac:spMk id="93" creationId="{2DFFA865-64D9-43BD-8616-77D06B3DD803}"/>
          </ac:spMkLst>
        </pc:spChg>
        <pc:spChg chg="mod">
          <ac:chgData name="Ugo MANTEL" userId="2d5b7065-31bb-4181-a7f8-a73bf0c30211" providerId="ADAL" clId="{F05BB0D5-3454-45DC-8378-DA45B79D9A06}" dt="2020-10-02T13:04:36.808" v="5464" actId="790"/>
          <ac:spMkLst>
            <pc:docMk/>
            <pc:sldMk cId="692933560" sldId="6895"/>
            <ac:spMk id="104" creationId="{FD85FFAD-67AA-432A-A092-63B328817A7F}"/>
          </ac:spMkLst>
        </pc:spChg>
        <pc:spChg chg="mod">
          <ac:chgData name="Ugo MANTEL" userId="2d5b7065-31bb-4181-a7f8-a73bf0c30211" providerId="ADAL" clId="{F05BB0D5-3454-45DC-8378-DA45B79D9A06}" dt="2020-10-02T13:04:36.828" v="5489" actId="790"/>
          <ac:spMkLst>
            <pc:docMk/>
            <pc:sldMk cId="692933560" sldId="6895"/>
            <ac:spMk id="105" creationId="{E92375EC-AC16-49B1-A7A3-A8E21EC34E98}"/>
          </ac:spMkLst>
        </pc:spChg>
        <pc:spChg chg="mod">
          <ac:chgData name="Ugo MANTEL" userId="2d5b7065-31bb-4181-a7f8-a73bf0c30211" providerId="ADAL" clId="{F05BB0D5-3454-45DC-8378-DA45B79D9A06}" dt="2020-10-02T13:04:36.814" v="5472" actId="790"/>
          <ac:spMkLst>
            <pc:docMk/>
            <pc:sldMk cId="692933560" sldId="6895"/>
            <ac:spMk id="106" creationId="{B668B110-E21A-4E33-B7D0-3E9EA6FF2B07}"/>
          </ac:spMkLst>
        </pc:spChg>
        <pc:spChg chg="mod">
          <ac:chgData name="Ugo MANTEL" userId="2d5b7065-31bb-4181-a7f8-a73bf0c30211" providerId="ADAL" clId="{F05BB0D5-3454-45DC-8378-DA45B79D9A06}" dt="2020-10-02T13:04:36.815" v="5473" actId="790"/>
          <ac:spMkLst>
            <pc:docMk/>
            <pc:sldMk cId="692933560" sldId="6895"/>
            <ac:spMk id="107" creationId="{F14D22FD-4BD9-4538-8DEB-2884AD708E40}"/>
          </ac:spMkLst>
        </pc:spChg>
        <pc:spChg chg="mod">
          <ac:chgData name="Ugo MANTEL" userId="2d5b7065-31bb-4181-a7f8-a73bf0c30211" providerId="ADAL" clId="{F05BB0D5-3454-45DC-8378-DA45B79D9A06}" dt="2020-10-02T13:04:36.816" v="5474" actId="790"/>
          <ac:spMkLst>
            <pc:docMk/>
            <pc:sldMk cId="692933560" sldId="6895"/>
            <ac:spMk id="108" creationId="{DA1538A2-EB70-4130-B00A-E860707A51AD}"/>
          </ac:spMkLst>
        </pc:spChg>
        <pc:spChg chg="mod">
          <ac:chgData name="Ugo MANTEL" userId="2d5b7065-31bb-4181-a7f8-a73bf0c30211" providerId="ADAL" clId="{F05BB0D5-3454-45DC-8378-DA45B79D9A06}" dt="2020-10-02T13:04:36.792" v="5452" actId="790"/>
          <ac:spMkLst>
            <pc:docMk/>
            <pc:sldMk cId="692933560" sldId="6895"/>
            <ac:spMk id="109" creationId="{4ECC307B-5762-484B-95C3-CE4E6DCFD810}"/>
          </ac:spMkLst>
        </pc:spChg>
        <pc:spChg chg="mod">
          <ac:chgData name="Ugo MANTEL" userId="2d5b7065-31bb-4181-a7f8-a73bf0c30211" providerId="ADAL" clId="{F05BB0D5-3454-45DC-8378-DA45B79D9A06}" dt="2020-10-02T13:04:36.794" v="5453" actId="790"/>
          <ac:spMkLst>
            <pc:docMk/>
            <pc:sldMk cId="692933560" sldId="6895"/>
            <ac:spMk id="110" creationId="{31B10026-F685-4E9C-8685-A675CDC44995}"/>
          </ac:spMkLst>
        </pc:spChg>
        <pc:spChg chg="mod">
          <ac:chgData name="Ugo MANTEL" userId="2d5b7065-31bb-4181-a7f8-a73bf0c30211" providerId="ADAL" clId="{F05BB0D5-3454-45DC-8378-DA45B79D9A06}" dt="2020-10-02T13:04:36.817" v="5475" actId="790"/>
          <ac:spMkLst>
            <pc:docMk/>
            <pc:sldMk cId="692933560" sldId="6895"/>
            <ac:spMk id="111" creationId="{14008A6E-1532-4CA1-98E0-2031FA688935}"/>
          </ac:spMkLst>
        </pc:spChg>
        <pc:spChg chg="mod">
          <ac:chgData name="Ugo MANTEL" userId="2d5b7065-31bb-4181-a7f8-a73bf0c30211" providerId="ADAL" clId="{F05BB0D5-3454-45DC-8378-DA45B79D9A06}" dt="2020-10-02T13:04:36.818" v="5476" actId="790"/>
          <ac:spMkLst>
            <pc:docMk/>
            <pc:sldMk cId="692933560" sldId="6895"/>
            <ac:spMk id="112" creationId="{2FEB3B24-853A-44E3-95A4-6AFD8E1AB29B}"/>
          </ac:spMkLst>
        </pc:spChg>
        <pc:spChg chg="mod">
          <ac:chgData name="Ugo MANTEL" userId="2d5b7065-31bb-4181-a7f8-a73bf0c30211" providerId="ADAL" clId="{F05BB0D5-3454-45DC-8378-DA45B79D9A06}" dt="2020-10-02T13:04:36.819" v="5477" actId="790"/>
          <ac:spMkLst>
            <pc:docMk/>
            <pc:sldMk cId="692933560" sldId="6895"/>
            <ac:spMk id="113" creationId="{14DD2408-0C5F-4AC4-8ECE-A2A36344696D}"/>
          </ac:spMkLst>
        </pc:spChg>
        <pc:spChg chg="mod">
          <ac:chgData name="Ugo MANTEL" userId="2d5b7065-31bb-4181-a7f8-a73bf0c30211" providerId="ADAL" clId="{F05BB0D5-3454-45DC-8378-DA45B79D9A06}" dt="2020-10-02T13:04:36.819" v="5478" actId="790"/>
          <ac:spMkLst>
            <pc:docMk/>
            <pc:sldMk cId="692933560" sldId="6895"/>
            <ac:spMk id="114" creationId="{A1603E3B-BA87-4E7A-9265-FC5DD3713C42}"/>
          </ac:spMkLst>
        </pc:spChg>
        <pc:spChg chg="mod">
          <ac:chgData name="Ugo MANTEL" userId="2d5b7065-31bb-4181-a7f8-a73bf0c30211" providerId="ADAL" clId="{F05BB0D5-3454-45DC-8378-DA45B79D9A06}" dt="2020-10-02T13:04:36.820" v="5479" actId="790"/>
          <ac:spMkLst>
            <pc:docMk/>
            <pc:sldMk cId="692933560" sldId="6895"/>
            <ac:spMk id="115" creationId="{94754636-CF21-4C39-A5D3-912313BB6260}"/>
          </ac:spMkLst>
        </pc:spChg>
        <pc:spChg chg="mod">
          <ac:chgData name="Ugo MANTEL" userId="2d5b7065-31bb-4181-a7f8-a73bf0c30211" providerId="ADAL" clId="{F05BB0D5-3454-45DC-8378-DA45B79D9A06}" dt="2020-10-02T13:04:36.829" v="5490" actId="790"/>
          <ac:spMkLst>
            <pc:docMk/>
            <pc:sldMk cId="692933560" sldId="6895"/>
            <ac:spMk id="128" creationId="{C0F92185-9C8F-4BA9-8E20-EB8DDC6845CD}"/>
          </ac:spMkLst>
        </pc:spChg>
        <pc:spChg chg="mod">
          <ac:chgData name="Ugo MANTEL" userId="2d5b7065-31bb-4181-a7f8-a73bf0c30211" providerId="ADAL" clId="{F05BB0D5-3454-45DC-8378-DA45B79D9A06}" dt="2020-10-02T13:04:36.826" v="5487" actId="790"/>
          <ac:spMkLst>
            <pc:docMk/>
            <pc:sldMk cId="692933560" sldId="6895"/>
            <ac:spMk id="134" creationId="{48C4CE87-8086-469F-B871-7FA4934CB80E}"/>
          </ac:spMkLst>
        </pc:spChg>
        <pc:spChg chg="mod">
          <ac:chgData name="Ugo MANTEL" userId="2d5b7065-31bb-4181-a7f8-a73bf0c30211" providerId="ADAL" clId="{F05BB0D5-3454-45DC-8378-DA45B79D9A06}" dt="2020-10-02T13:04:36.821" v="5480" actId="790"/>
          <ac:spMkLst>
            <pc:docMk/>
            <pc:sldMk cId="692933560" sldId="6895"/>
            <ac:spMk id="137" creationId="{EBC0BF2E-2394-4848-88BE-E5C107D23CA1}"/>
          </ac:spMkLst>
        </pc:spChg>
        <pc:spChg chg="mod">
          <ac:chgData name="Ugo MANTEL" userId="2d5b7065-31bb-4181-a7f8-a73bf0c30211" providerId="ADAL" clId="{F05BB0D5-3454-45DC-8378-DA45B79D9A06}" dt="2020-10-02T13:04:36.822" v="5481" actId="790"/>
          <ac:spMkLst>
            <pc:docMk/>
            <pc:sldMk cId="692933560" sldId="6895"/>
            <ac:spMk id="138" creationId="{7D65E3D7-5DDF-46AE-A0F5-D92B88ECDED2}"/>
          </ac:spMkLst>
        </pc:spChg>
        <pc:spChg chg="mod">
          <ac:chgData name="Ugo MANTEL" userId="2d5b7065-31bb-4181-a7f8-a73bf0c30211" providerId="ADAL" clId="{F05BB0D5-3454-45DC-8378-DA45B79D9A06}" dt="2020-10-02T13:04:36.822" v="5482" actId="790"/>
          <ac:spMkLst>
            <pc:docMk/>
            <pc:sldMk cId="692933560" sldId="6895"/>
            <ac:spMk id="139" creationId="{FDF7A913-D092-4B17-A259-CA3F4B6D3405}"/>
          </ac:spMkLst>
        </pc:spChg>
        <pc:spChg chg="mod">
          <ac:chgData name="Ugo MANTEL" userId="2d5b7065-31bb-4181-a7f8-a73bf0c30211" providerId="ADAL" clId="{F05BB0D5-3454-45DC-8378-DA45B79D9A06}" dt="2020-10-02T13:04:36.823" v="5483" actId="790"/>
          <ac:spMkLst>
            <pc:docMk/>
            <pc:sldMk cId="692933560" sldId="6895"/>
            <ac:spMk id="140" creationId="{AB80A9D7-8C95-4C47-AEF4-EB3EA40E9032}"/>
          </ac:spMkLst>
        </pc:spChg>
        <pc:spChg chg="mod">
          <ac:chgData name="Ugo MANTEL" userId="2d5b7065-31bb-4181-a7f8-a73bf0c30211" providerId="ADAL" clId="{F05BB0D5-3454-45DC-8378-DA45B79D9A06}" dt="2020-10-02T13:04:36.824" v="5484" actId="790"/>
          <ac:spMkLst>
            <pc:docMk/>
            <pc:sldMk cId="692933560" sldId="6895"/>
            <ac:spMk id="148" creationId="{25992A77-6B87-4B2B-8D07-B9238BF3F0A7}"/>
          </ac:spMkLst>
        </pc:spChg>
        <pc:spChg chg="mod">
          <ac:chgData name="Ugo MANTEL" userId="2d5b7065-31bb-4181-a7f8-a73bf0c30211" providerId="ADAL" clId="{F05BB0D5-3454-45DC-8378-DA45B79D9A06}" dt="2020-10-02T13:04:36.829" v="5491" actId="790"/>
          <ac:spMkLst>
            <pc:docMk/>
            <pc:sldMk cId="692933560" sldId="6895"/>
            <ac:spMk id="149" creationId="{08D37570-30EB-4498-9E35-93598876D4E3}"/>
          </ac:spMkLst>
        </pc:spChg>
        <pc:spChg chg="mod">
          <ac:chgData name="Ugo MANTEL" userId="2d5b7065-31bb-4181-a7f8-a73bf0c30211" providerId="ADAL" clId="{F05BB0D5-3454-45DC-8378-DA45B79D9A06}" dt="2020-10-02T13:04:36.830" v="5492" actId="790"/>
          <ac:spMkLst>
            <pc:docMk/>
            <pc:sldMk cId="692933560" sldId="6895"/>
            <ac:spMk id="154" creationId="{B19B1ADF-CC50-48C1-88DF-722192706A3A}"/>
          </ac:spMkLst>
        </pc:spChg>
        <pc:spChg chg="mod">
          <ac:chgData name="Ugo MANTEL" userId="2d5b7065-31bb-4181-a7f8-a73bf0c30211" providerId="ADAL" clId="{F05BB0D5-3454-45DC-8378-DA45B79D9A06}" dt="2020-10-02T13:04:36.831" v="5493" actId="790"/>
          <ac:spMkLst>
            <pc:docMk/>
            <pc:sldMk cId="692933560" sldId="6895"/>
            <ac:spMk id="158" creationId="{00E0A54E-CC87-4D77-BADE-B73A1EDF6FB0}"/>
          </ac:spMkLst>
        </pc:spChg>
        <pc:spChg chg="mod">
          <ac:chgData name="Ugo MANTEL" userId="2d5b7065-31bb-4181-a7f8-a73bf0c30211" providerId="ADAL" clId="{F05BB0D5-3454-45DC-8378-DA45B79D9A06}" dt="2020-10-02T13:04:36.832" v="5494" actId="790"/>
          <ac:spMkLst>
            <pc:docMk/>
            <pc:sldMk cId="692933560" sldId="6895"/>
            <ac:spMk id="159" creationId="{4432DE0B-F8E8-46C0-B317-D0F87591A648}"/>
          </ac:spMkLst>
        </pc:spChg>
        <pc:spChg chg="mod">
          <ac:chgData name="Ugo MANTEL" userId="2d5b7065-31bb-4181-a7f8-a73bf0c30211" providerId="ADAL" clId="{F05BB0D5-3454-45DC-8378-DA45B79D9A06}" dt="2020-10-02T13:04:36.825" v="5485" actId="790"/>
          <ac:spMkLst>
            <pc:docMk/>
            <pc:sldMk cId="692933560" sldId="6895"/>
            <ac:spMk id="160" creationId="{C3436142-DEEE-4004-BC76-B66DAAB591FB}"/>
          </ac:spMkLst>
        </pc:spChg>
        <pc:spChg chg="mod">
          <ac:chgData name="Ugo MANTEL" userId="2d5b7065-31bb-4181-a7f8-a73bf0c30211" providerId="ADAL" clId="{F05BB0D5-3454-45DC-8378-DA45B79D9A06}" dt="2020-10-02T13:04:36.827" v="5488" actId="790"/>
          <ac:spMkLst>
            <pc:docMk/>
            <pc:sldMk cId="692933560" sldId="6895"/>
            <ac:spMk id="161" creationId="{ECD8E6B3-28AA-4BBB-A6AD-28BCF51C3D9F}"/>
          </ac:spMkLst>
        </pc:spChg>
        <pc:spChg chg="mod">
          <ac:chgData name="Ugo MANTEL" userId="2d5b7065-31bb-4181-a7f8-a73bf0c30211" providerId="ADAL" clId="{F05BB0D5-3454-45DC-8378-DA45B79D9A06}" dt="2020-10-02T13:04:36.832" v="5495" actId="790"/>
          <ac:spMkLst>
            <pc:docMk/>
            <pc:sldMk cId="692933560" sldId="6895"/>
            <ac:spMk id="162" creationId="{B20293F7-2FD4-4117-B8E3-C47A6A364F61}"/>
          </ac:spMkLst>
        </pc:spChg>
        <pc:spChg chg="mod">
          <ac:chgData name="Ugo MANTEL" userId="2d5b7065-31bb-4181-a7f8-a73bf0c30211" providerId="ADAL" clId="{F05BB0D5-3454-45DC-8378-DA45B79D9A06}" dt="2020-10-02T13:04:36.833" v="5496" actId="790"/>
          <ac:spMkLst>
            <pc:docMk/>
            <pc:sldMk cId="692933560" sldId="6895"/>
            <ac:spMk id="163" creationId="{0B0FCE98-B965-42F7-9055-55144AA964A4}"/>
          </ac:spMkLst>
        </pc:spChg>
        <pc:spChg chg="mod">
          <ac:chgData name="Ugo MANTEL" userId="2d5b7065-31bb-4181-a7f8-a73bf0c30211" providerId="ADAL" clId="{F05BB0D5-3454-45DC-8378-DA45B79D9A06}" dt="2020-10-02T13:04:36.826" v="5486" actId="790"/>
          <ac:spMkLst>
            <pc:docMk/>
            <pc:sldMk cId="692933560" sldId="6895"/>
            <ac:spMk id="164" creationId="{314291C5-FA83-42E7-B149-349A9AF45727}"/>
          </ac:spMkLst>
        </pc:spChg>
        <pc:spChg chg="mod">
          <ac:chgData name="Ugo MANTEL" userId="2d5b7065-31bb-4181-a7f8-a73bf0c30211" providerId="ADAL" clId="{F05BB0D5-3454-45DC-8378-DA45B79D9A06}" dt="2020-10-02T13:04:36.834" v="5497" actId="790"/>
          <ac:spMkLst>
            <pc:docMk/>
            <pc:sldMk cId="692933560" sldId="6895"/>
            <ac:spMk id="165" creationId="{57445F20-D853-4EFC-A11E-E9185A736D50}"/>
          </ac:spMkLst>
        </pc:spChg>
        <pc:spChg chg="mod">
          <ac:chgData name="Ugo MANTEL" userId="2d5b7065-31bb-4181-a7f8-a73bf0c30211" providerId="ADAL" clId="{F05BB0D5-3454-45DC-8378-DA45B79D9A06}" dt="2020-10-02T13:04:36.835" v="5498" actId="790"/>
          <ac:spMkLst>
            <pc:docMk/>
            <pc:sldMk cId="692933560" sldId="6895"/>
            <ac:spMk id="166" creationId="{51C0B985-2173-47FE-80E9-59F87780289E}"/>
          </ac:spMkLst>
        </pc:spChg>
      </pc:sldChg>
      <pc:sldChg chg="modSp mod">
        <pc:chgData name="Ugo MANTEL" userId="2d5b7065-31bb-4181-a7f8-a73bf0c30211" providerId="ADAL" clId="{F05BB0D5-3454-45DC-8378-DA45B79D9A06}" dt="2020-10-02T13:04:36.524" v="5182" actId="790"/>
        <pc:sldMkLst>
          <pc:docMk/>
          <pc:sldMk cId="4048367762" sldId="6898"/>
        </pc:sldMkLst>
        <pc:spChg chg="mod">
          <ac:chgData name="Ugo MANTEL" userId="2d5b7065-31bb-4181-a7f8-a73bf0c30211" providerId="ADAL" clId="{F05BB0D5-3454-45DC-8378-DA45B79D9A06}" dt="2020-10-02T13:04:36.435" v="5093" actId="790"/>
          <ac:spMkLst>
            <pc:docMk/>
            <pc:sldMk cId="4048367762" sldId="6898"/>
            <ac:spMk id="3" creationId="{07AAC9CD-5C08-4C8D-80A5-F42BD6814E9A}"/>
          </ac:spMkLst>
        </pc:spChg>
        <pc:spChg chg="mod">
          <ac:chgData name="Ugo MANTEL" userId="2d5b7065-31bb-4181-a7f8-a73bf0c30211" providerId="ADAL" clId="{F05BB0D5-3454-45DC-8378-DA45B79D9A06}" dt="2020-10-02T13:04:36.431" v="5091" actId="790"/>
          <ac:spMkLst>
            <pc:docMk/>
            <pc:sldMk cId="4048367762" sldId="6898"/>
            <ac:spMk id="4" creationId="{9F46D977-A29B-4A0F-BB7F-5452D2A2AF63}"/>
          </ac:spMkLst>
        </pc:spChg>
        <pc:spChg chg="mod">
          <ac:chgData name="Ugo MANTEL" userId="2d5b7065-31bb-4181-a7f8-a73bf0c30211" providerId="ADAL" clId="{F05BB0D5-3454-45DC-8378-DA45B79D9A06}" dt="2020-10-02T13:04:36.455" v="5109" actId="790"/>
          <ac:spMkLst>
            <pc:docMk/>
            <pc:sldMk cId="4048367762" sldId="6898"/>
            <ac:spMk id="7" creationId="{E03E68E5-6396-440E-B0EC-591FADF743C5}"/>
          </ac:spMkLst>
        </pc:spChg>
        <pc:spChg chg="mod">
          <ac:chgData name="Ugo MANTEL" userId="2d5b7065-31bb-4181-a7f8-a73bf0c30211" providerId="ADAL" clId="{F05BB0D5-3454-45DC-8378-DA45B79D9A06}" dt="2020-10-02T13:04:36.432" v="5092" actId="790"/>
          <ac:spMkLst>
            <pc:docMk/>
            <pc:sldMk cId="4048367762" sldId="6898"/>
            <ac:spMk id="8" creationId="{D9C5BB33-C800-4840-B227-09032F8A9918}"/>
          </ac:spMkLst>
        </pc:spChg>
        <pc:spChg chg="mod">
          <ac:chgData name="Ugo MANTEL" userId="2d5b7065-31bb-4181-a7f8-a73bf0c30211" providerId="ADAL" clId="{F05BB0D5-3454-45DC-8378-DA45B79D9A06}" dt="2020-10-02T13:04:36.452" v="5106" actId="790"/>
          <ac:spMkLst>
            <pc:docMk/>
            <pc:sldMk cId="4048367762" sldId="6898"/>
            <ac:spMk id="10" creationId="{355331A6-6B6E-48CE-A926-220473038B82}"/>
          </ac:spMkLst>
        </pc:spChg>
        <pc:spChg chg="mod">
          <ac:chgData name="Ugo MANTEL" userId="2d5b7065-31bb-4181-a7f8-a73bf0c30211" providerId="ADAL" clId="{F05BB0D5-3454-45DC-8378-DA45B79D9A06}" dt="2020-10-02T13:04:36.518" v="5175" actId="790"/>
          <ac:spMkLst>
            <pc:docMk/>
            <pc:sldMk cId="4048367762" sldId="6898"/>
            <ac:spMk id="13" creationId="{0D196125-5056-40A9-B5F0-9073B88F9964}"/>
          </ac:spMkLst>
        </pc:spChg>
        <pc:spChg chg="mod">
          <ac:chgData name="Ugo MANTEL" userId="2d5b7065-31bb-4181-a7f8-a73bf0c30211" providerId="ADAL" clId="{F05BB0D5-3454-45DC-8378-DA45B79D9A06}" dt="2020-10-02T13:04:36.522" v="5178" actId="790"/>
          <ac:spMkLst>
            <pc:docMk/>
            <pc:sldMk cId="4048367762" sldId="6898"/>
            <ac:spMk id="15" creationId="{8D6500A8-7FD9-4C7B-96A5-003DB7BAE898}"/>
          </ac:spMkLst>
        </pc:spChg>
        <pc:spChg chg="mod">
          <ac:chgData name="Ugo MANTEL" userId="2d5b7065-31bb-4181-a7f8-a73bf0c30211" providerId="ADAL" clId="{F05BB0D5-3454-45DC-8378-DA45B79D9A06}" dt="2020-10-02T13:04:36.456" v="5110" actId="790"/>
          <ac:spMkLst>
            <pc:docMk/>
            <pc:sldMk cId="4048367762" sldId="6898"/>
            <ac:spMk id="16" creationId="{9F152ED0-4AD8-4CDF-867D-34E10A5480BB}"/>
          </ac:spMkLst>
        </pc:spChg>
        <pc:spChg chg="mod">
          <ac:chgData name="Ugo MANTEL" userId="2d5b7065-31bb-4181-a7f8-a73bf0c30211" providerId="ADAL" clId="{F05BB0D5-3454-45DC-8378-DA45B79D9A06}" dt="2020-10-02T13:04:36.457" v="5111" actId="790"/>
          <ac:spMkLst>
            <pc:docMk/>
            <pc:sldMk cId="4048367762" sldId="6898"/>
            <ac:spMk id="44" creationId="{FB387BEB-9082-4CCE-BE35-62C4282A4718}"/>
          </ac:spMkLst>
        </pc:spChg>
        <pc:spChg chg="mod">
          <ac:chgData name="Ugo MANTEL" userId="2d5b7065-31bb-4181-a7f8-a73bf0c30211" providerId="ADAL" clId="{F05BB0D5-3454-45DC-8378-DA45B79D9A06}" dt="2020-10-02T13:04:36.522" v="5179" actId="790"/>
          <ac:spMkLst>
            <pc:docMk/>
            <pc:sldMk cId="4048367762" sldId="6898"/>
            <ac:spMk id="45" creationId="{3D08D22E-F67B-4B9B-AD37-543A2FA0438C}"/>
          </ac:spMkLst>
        </pc:spChg>
        <pc:spChg chg="mod">
          <ac:chgData name="Ugo MANTEL" userId="2d5b7065-31bb-4181-a7f8-a73bf0c30211" providerId="ADAL" clId="{F05BB0D5-3454-45DC-8378-DA45B79D9A06}" dt="2020-10-02T13:04:36.453" v="5107" actId="790"/>
          <ac:spMkLst>
            <pc:docMk/>
            <pc:sldMk cId="4048367762" sldId="6898"/>
            <ac:spMk id="61" creationId="{1FCFD557-8B7D-4285-BEA1-BF6C398F652D}"/>
          </ac:spMkLst>
        </pc:spChg>
        <pc:spChg chg="mod">
          <ac:chgData name="Ugo MANTEL" userId="2d5b7065-31bb-4181-a7f8-a73bf0c30211" providerId="ADAL" clId="{F05BB0D5-3454-45DC-8378-DA45B79D9A06}" dt="2020-10-02T13:04:36.454" v="5108" actId="790"/>
          <ac:spMkLst>
            <pc:docMk/>
            <pc:sldMk cId="4048367762" sldId="6898"/>
            <ac:spMk id="62" creationId="{69DF789C-DECB-4B52-9E2F-06EAFE89229D}"/>
          </ac:spMkLst>
        </pc:spChg>
        <pc:spChg chg="mod">
          <ac:chgData name="Ugo MANTEL" userId="2d5b7065-31bb-4181-a7f8-a73bf0c30211" providerId="ADAL" clId="{F05BB0D5-3454-45DC-8378-DA45B79D9A06}" dt="2020-10-02T13:04:36.458" v="5112" actId="790"/>
          <ac:spMkLst>
            <pc:docMk/>
            <pc:sldMk cId="4048367762" sldId="6898"/>
            <ac:spMk id="64" creationId="{E86AC26E-4F1C-4D09-B1BE-90716D0C300B}"/>
          </ac:spMkLst>
        </pc:spChg>
        <pc:spChg chg="mod">
          <ac:chgData name="Ugo MANTEL" userId="2d5b7065-31bb-4181-a7f8-a73bf0c30211" providerId="ADAL" clId="{F05BB0D5-3454-45DC-8378-DA45B79D9A06}" dt="2020-10-02T13:04:36.462" v="5113" actId="790"/>
          <ac:spMkLst>
            <pc:docMk/>
            <pc:sldMk cId="4048367762" sldId="6898"/>
            <ac:spMk id="87" creationId="{C70CCDAC-BBD0-44C2-918C-7950DBDA7959}"/>
          </ac:spMkLst>
        </pc:spChg>
        <pc:spChg chg="mod">
          <ac:chgData name="Ugo MANTEL" userId="2d5b7065-31bb-4181-a7f8-a73bf0c30211" providerId="ADAL" clId="{F05BB0D5-3454-45DC-8378-DA45B79D9A06}" dt="2020-10-02T13:04:36.462" v="5114" actId="790"/>
          <ac:spMkLst>
            <pc:docMk/>
            <pc:sldMk cId="4048367762" sldId="6898"/>
            <ac:spMk id="88" creationId="{E923474A-BD09-44CB-A3A5-13DA0D26EAA9}"/>
          </ac:spMkLst>
        </pc:spChg>
        <pc:spChg chg="mod">
          <ac:chgData name="Ugo MANTEL" userId="2d5b7065-31bb-4181-a7f8-a73bf0c30211" providerId="ADAL" clId="{F05BB0D5-3454-45DC-8378-DA45B79D9A06}" dt="2020-10-02T13:04:36.463" v="5115" actId="790"/>
          <ac:spMkLst>
            <pc:docMk/>
            <pc:sldMk cId="4048367762" sldId="6898"/>
            <ac:spMk id="89" creationId="{690AE142-6191-42DE-BB5B-3020D05E8EAB}"/>
          </ac:spMkLst>
        </pc:spChg>
        <pc:spChg chg="mod">
          <ac:chgData name="Ugo MANTEL" userId="2d5b7065-31bb-4181-a7f8-a73bf0c30211" providerId="ADAL" clId="{F05BB0D5-3454-45DC-8378-DA45B79D9A06}" dt="2020-10-02T13:04:36.464" v="5116" actId="790"/>
          <ac:spMkLst>
            <pc:docMk/>
            <pc:sldMk cId="4048367762" sldId="6898"/>
            <ac:spMk id="90" creationId="{1CF4F637-669F-4B1E-80E3-DA8CEEFB0CA9}"/>
          </ac:spMkLst>
        </pc:spChg>
        <pc:spChg chg="mod">
          <ac:chgData name="Ugo MANTEL" userId="2d5b7065-31bb-4181-a7f8-a73bf0c30211" providerId="ADAL" clId="{F05BB0D5-3454-45DC-8378-DA45B79D9A06}" dt="2020-10-02T13:04:36.465" v="5117" actId="790"/>
          <ac:spMkLst>
            <pc:docMk/>
            <pc:sldMk cId="4048367762" sldId="6898"/>
            <ac:spMk id="91" creationId="{B141AA4D-293A-4655-ACA1-DE8B88EDA047}"/>
          </ac:spMkLst>
        </pc:spChg>
        <pc:spChg chg="mod">
          <ac:chgData name="Ugo MANTEL" userId="2d5b7065-31bb-4181-a7f8-a73bf0c30211" providerId="ADAL" clId="{F05BB0D5-3454-45DC-8378-DA45B79D9A06}" dt="2020-10-02T13:04:36.466" v="5118" actId="790"/>
          <ac:spMkLst>
            <pc:docMk/>
            <pc:sldMk cId="4048367762" sldId="6898"/>
            <ac:spMk id="92" creationId="{27CAB67E-493C-49A4-87F7-78564FA237A1}"/>
          </ac:spMkLst>
        </pc:spChg>
        <pc:spChg chg="mod">
          <ac:chgData name="Ugo MANTEL" userId="2d5b7065-31bb-4181-a7f8-a73bf0c30211" providerId="ADAL" clId="{F05BB0D5-3454-45DC-8378-DA45B79D9A06}" dt="2020-10-02T13:04:36.467" v="5119" actId="790"/>
          <ac:spMkLst>
            <pc:docMk/>
            <pc:sldMk cId="4048367762" sldId="6898"/>
            <ac:spMk id="93" creationId="{0FDC39F4-EF94-4609-B97A-AAC23E17013D}"/>
          </ac:spMkLst>
        </pc:spChg>
        <pc:spChg chg="mod">
          <ac:chgData name="Ugo MANTEL" userId="2d5b7065-31bb-4181-a7f8-a73bf0c30211" providerId="ADAL" clId="{F05BB0D5-3454-45DC-8378-DA45B79D9A06}" dt="2020-10-02T13:04:36.468" v="5120" actId="790"/>
          <ac:spMkLst>
            <pc:docMk/>
            <pc:sldMk cId="4048367762" sldId="6898"/>
            <ac:spMk id="94" creationId="{BE7FDC6C-E6F4-4B48-928D-D24AF908D179}"/>
          </ac:spMkLst>
        </pc:spChg>
        <pc:spChg chg="mod">
          <ac:chgData name="Ugo MANTEL" userId="2d5b7065-31bb-4181-a7f8-a73bf0c30211" providerId="ADAL" clId="{F05BB0D5-3454-45DC-8378-DA45B79D9A06}" dt="2020-10-02T13:04:36.468" v="5121" actId="790"/>
          <ac:spMkLst>
            <pc:docMk/>
            <pc:sldMk cId="4048367762" sldId="6898"/>
            <ac:spMk id="95" creationId="{0C9EBCFF-1F25-41A0-9591-2956EDAEC4F7}"/>
          </ac:spMkLst>
        </pc:spChg>
        <pc:spChg chg="mod">
          <ac:chgData name="Ugo MANTEL" userId="2d5b7065-31bb-4181-a7f8-a73bf0c30211" providerId="ADAL" clId="{F05BB0D5-3454-45DC-8378-DA45B79D9A06}" dt="2020-10-02T13:04:36.469" v="5122" actId="790"/>
          <ac:spMkLst>
            <pc:docMk/>
            <pc:sldMk cId="4048367762" sldId="6898"/>
            <ac:spMk id="96" creationId="{91E62378-A3C9-4BFD-A53C-A5B63C607A11}"/>
          </ac:spMkLst>
        </pc:spChg>
        <pc:spChg chg="mod">
          <ac:chgData name="Ugo MANTEL" userId="2d5b7065-31bb-4181-a7f8-a73bf0c30211" providerId="ADAL" clId="{F05BB0D5-3454-45DC-8378-DA45B79D9A06}" dt="2020-10-02T13:04:36.450" v="5105" actId="790"/>
          <ac:spMkLst>
            <pc:docMk/>
            <pc:sldMk cId="4048367762" sldId="6898"/>
            <ac:spMk id="100" creationId="{B597BFCF-A09D-40FE-BDC1-1805DCB80CFD}"/>
          </ac:spMkLst>
        </pc:spChg>
        <pc:spChg chg="mod">
          <ac:chgData name="Ugo MANTEL" userId="2d5b7065-31bb-4181-a7f8-a73bf0c30211" providerId="ADAL" clId="{F05BB0D5-3454-45DC-8378-DA45B79D9A06}" dt="2020-10-02T13:04:36.510" v="5166" actId="790"/>
          <ac:spMkLst>
            <pc:docMk/>
            <pc:sldMk cId="4048367762" sldId="6898"/>
            <ac:spMk id="103" creationId="{47C64CF9-9CB1-4C72-A4EE-DF8B18646351}"/>
          </ac:spMkLst>
        </pc:spChg>
        <pc:spChg chg="mod">
          <ac:chgData name="Ugo MANTEL" userId="2d5b7065-31bb-4181-a7f8-a73bf0c30211" providerId="ADAL" clId="{F05BB0D5-3454-45DC-8378-DA45B79D9A06}" dt="2020-10-02T13:04:36.438" v="5097" actId="790"/>
          <ac:spMkLst>
            <pc:docMk/>
            <pc:sldMk cId="4048367762" sldId="6898"/>
            <ac:spMk id="107" creationId="{63925F6F-2F3E-4FDB-AA44-436AB8C9870B}"/>
          </ac:spMkLst>
        </pc:spChg>
        <pc:spChg chg="mod">
          <ac:chgData name="Ugo MANTEL" userId="2d5b7065-31bb-4181-a7f8-a73bf0c30211" providerId="ADAL" clId="{F05BB0D5-3454-45DC-8378-DA45B79D9A06}" dt="2020-10-02T13:04:36.470" v="5123" actId="790"/>
          <ac:spMkLst>
            <pc:docMk/>
            <pc:sldMk cId="4048367762" sldId="6898"/>
            <ac:spMk id="111" creationId="{904D3A9C-B397-44EE-80F6-A3085AF4CE89}"/>
          </ac:spMkLst>
        </pc:spChg>
        <pc:spChg chg="mod">
          <ac:chgData name="Ugo MANTEL" userId="2d5b7065-31bb-4181-a7f8-a73bf0c30211" providerId="ADAL" clId="{F05BB0D5-3454-45DC-8378-DA45B79D9A06}" dt="2020-10-02T13:04:36.471" v="5124" actId="790"/>
          <ac:spMkLst>
            <pc:docMk/>
            <pc:sldMk cId="4048367762" sldId="6898"/>
            <ac:spMk id="112" creationId="{7F0F0363-244A-4CDF-91CE-AF1FEBB98067}"/>
          </ac:spMkLst>
        </pc:spChg>
        <pc:spChg chg="mod">
          <ac:chgData name="Ugo MANTEL" userId="2d5b7065-31bb-4181-a7f8-a73bf0c30211" providerId="ADAL" clId="{F05BB0D5-3454-45DC-8378-DA45B79D9A06}" dt="2020-10-02T13:04:36.472" v="5125" actId="790"/>
          <ac:spMkLst>
            <pc:docMk/>
            <pc:sldMk cId="4048367762" sldId="6898"/>
            <ac:spMk id="113" creationId="{5D7DBDC7-9B32-432E-A3EE-4CAC566D0866}"/>
          </ac:spMkLst>
        </pc:spChg>
        <pc:spChg chg="mod">
          <ac:chgData name="Ugo MANTEL" userId="2d5b7065-31bb-4181-a7f8-a73bf0c30211" providerId="ADAL" clId="{F05BB0D5-3454-45DC-8378-DA45B79D9A06}" dt="2020-10-02T13:04:36.511" v="5167" actId="790"/>
          <ac:spMkLst>
            <pc:docMk/>
            <pc:sldMk cId="4048367762" sldId="6898"/>
            <ac:spMk id="115" creationId="{38948841-EE58-40BF-AA4E-6FC41773A34E}"/>
          </ac:spMkLst>
        </pc:spChg>
        <pc:spChg chg="mod">
          <ac:chgData name="Ugo MANTEL" userId="2d5b7065-31bb-4181-a7f8-a73bf0c30211" providerId="ADAL" clId="{F05BB0D5-3454-45DC-8378-DA45B79D9A06}" dt="2020-10-02T13:04:36.473" v="5126" actId="790"/>
          <ac:spMkLst>
            <pc:docMk/>
            <pc:sldMk cId="4048367762" sldId="6898"/>
            <ac:spMk id="116" creationId="{3EF6DDB0-960F-4A43-AB1F-71D1C709C04B}"/>
          </ac:spMkLst>
        </pc:spChg>
        <pc:spChg chg="mod">
          <ac:chgData name="Ugo MANTEL" userId="2d5b7065-31bb-4181-a7f8-a73bf0c30211" providerId="ADAL" clId="{F05BB0D5-3454-45DC-8378-DA45B79D9A06}" dt="2020-10-02T13:04:36.474" v="5127" actId="790"/>
          <ac:spMkLst>
            <pc:docMk/>
            <pc:sldMk cId="4048367762" sldId="6898"/>
            <ac:spMk id="117" creationId="{DBC5BFBA-F448-448B-8EFD-EE697E6A627A}"/>
          </ac:spMkLst>
        </pc:spChg>
        <pc:spChg chg="mod">
          <ac:chgData name="Ugo MANTEL" userId="2d5b7065-31bb-4181-a7f8-a73bf0c30211" providerId="ADAL" clId="{F05BB0D5-3454-45DC-8378-DA45B79D9A06}" dt="2020-10-02T13:04:36.475" v="5128" actId="790"/>
          <ac:spMkLst>
            <pc:docMk/>
            <pc:sldMk cId="4048367762" sldId="6898"/>
            <ac:spMk id="118" creationId="{6EC97BAF-60D0-4807-9C2A-91D9D45FF311}"/>
          </ac:spMkLst>
        </pc:spChg>
        <pc:spChg chg="mod">
          <ac:chgData name="Ugo MANTEL" userId="2d5b7065-31bb-4181-a7f8-a73bf0c30211" providerId="ADAL" clId="{F05BB0D5-3454-45DC-8378-DA45B79D9A06}" dt="2020-10-02T13:04:36.475" v="5129" actId="790"/>
          <ac:spMkLst>
            <pc:docMk/>
            <pc:sldMk cId="4048367762" sldId="6898"/>
            <ac:spMk id="119" creationId="{3A53D2E7-B266-40F7-994A-399D4E22CBBD}"/>
          </ac:spMkLst>
        </pc:spChg>
        <pc:spChg chg="mod">
          <ac:chgData name="Ugo MANTEL" userId="2d5b7065-31bb-4181-a7f8-a73bf0c30211" providerId="ADAL" clId="{F05BB0D5-3454-45DC-8378-DA45B79D9A06}" dt="2020-10-02T13:04:36.512" v="5168" actId="790"/>
          <ac:spMkLst>
            <pc:docMk/>
            <pc:sldMk cId="4048367762" sldId="6898"/>
            <ac:spMk id="122" creationId="{84E379AF-53CF-439B-A4DE-A2C83D03E40E}"/>
          </ac:spMkLst>
        </pc:spChg>
        <pc:spChg chg="mod">
          <ac:chgData name="Ugo MANTEL" userId="2d5b7065-31bb-4181-a7f8-a73bf0c30211" providerId="ADAL" clId="{F05BB0D5-3454-45DC-8378-DA45B79D9A06}" dt="2020-10-02T13:04:36.436" v="5094" actId="790"/>
          <ac:spMkLst>
            <pc:docMk/>
            <pc:sldMk cId="4048367762" sldId="6898"/>
            <ac:spMk id="123" creationId="{558D1736-8231-48AA-8605-B9FC2A9A9406}"/>
          </ac:spMkLst>
        </pc:spChg>
        <pc:spChg chg="mod">
          <ac:chgData name="Ugo MANTEL" userId="2d5b7065-31bb-4181-a7f8-a73bf0c30211" providerId="ADAL" clId="{F05BB0D5-3454-45DC-8378-DA45B79D9A06}" dt="2020-10-02T13:04:36.437" v="5095" actId="790"/>
          <ac:spMkLst>
            <pc:docMk/>
            <pc:sldMk cId="4048367762" sldId="6898"/>
            <ac:spMk id="124" creationId="{AC00E305-0542-455A-AA3F-6C1F4E63D52A}"/>
          </ac:spMkLst>
        </pc:spChg>
        <pc:spChg chg="mod">
          <ac:chgData name="Ugo MANTEL" userId="2d5b7065-31bb-4181-a7f8-a73bf0c30211" providerId="ADAL" clId="{F05BB0D5-3454-45DC-8378-DA45B79D9A06}" dt="2020-10-02T13:04:36.437" v="5096" actId="790"/>
          <ac:spMkLst>
            <pc:docMk/>
            <pc:sldMk cId="4048367762" sldId="6898"/>
            <ac:spMk id="125" creationId="{82369EC3-6AD7-4F2C-AD7D-641FDB24A5A4}"/>
          </ac:spMkLst>
        </pc:spChg>
        <pc:spChg chg="mod">
          <ac:chgData name="Ugo MANTEL" userId="2d5b7065-31bb-4181-a7f8-a73bf0c30211" providerId="ADAL" clId="{F05BB0D5-3454-45DC-8378-DA45B79D9A06}" dt="2020-10-02T13:04:36.513" v="5169" actId="790"/>
          <ac:spMkLst>
            <pc:docMk/>
            <pc:sldMk cId="4048367762" sldId="6898"/>
            <ac:spMk id="126" creationId="{714953B7-0904-4043-9C9F-6A48D355DA86}"/>
          </ac:spMkLst>
        </pc:spChg>
        <pc:spChg chg="mod">
          <ac:chgData name="Ugo MANTEL" userId="2d5b7065-31bb-4181-a7f8-a73bf0c30211" providerId="ADAL" clId="{F05BB0D5-3454-45DC-8378-DA45B79D9A06}" dt="2020-10-02T13:04:36.477" v="5130" actId="790"/>
          <ac:spMkLst>
            <pc:docMk/>
            <pc:sldMk cId="4048367762" sldId="6898"/>
            <ac:spMk id="127" creationId="{CBA39DE3-A9AF-4902-A54E-7402FB25B71B}"/>
          </ac:spMkLst>
        </pc:spChg>
        <pc:spChg chg="mod">
          <ac:chgData name="Ugo MANTEL" userId="2d5b7065-31bb-4181-a7f8-a73bf0c30211" providerId="ADAL" clId="{F05BB0D5-3454-45DC-8378-DA45B79D9A06}" dt="2020-10-02T13:04:36.477" v="5131" actId="790"/>
          <ac:spMkLst>
            <pc:docMk/>
            <pc:sldMk cId="4048367762" sldId="6898"/>
            <ac:spMk id="128" creationId="{514FB3B4-FAE6-4CF5-AF6B-56A74EBEB141}"/>
          </ac:spMkLst>
        </pc:spChg>
        <pc:spChg chg="mod">
          <ac:chgData name="Ugo MANTEL" userId="2d5b7065-31bb-4181-a7f8-a73bf0c30211" providerId="ADAL" clId="{F05BB0D5-3454-45DC-8378-DA45B79D9A06}" dt="2020-10-02T13:04:36.479" v="5132" actId="790"/>
          <ac:spMkLst>
            <pc:docMk/>
            <pc:sldMk cId="4048367762" sldId="6898"/>
            <ac:spMk id="129" creationId="{FA9C253B-721E-4A0B-AAD8-FBB3B6954A76}"/>
          </ac:spMkLst>
        </pc:spChg>
        <pc:spChg chg="mod">
          <ac:chgData name="Ugo MANTEL" userId="2d5b7065-31bb-4181-a7f8-a73bf0c30211" providerId="ADAL" clId="{F05BB0D5-3454-45DC-8378-DA45B79D9A06}" dt="2020-10-02T13:04:36.480" v="5133" actId="790"/>
          <ac:spMkLst>
            <pc:docMk/>
            <pc:sldMk cId="4048367762" sldId="6898"/>
            <ac:spMk id="130" creationId="{644A5C7D-412E-43A3-A4CB-AEEABBF3A59F}"/>
          </ac:spMkLst>
        </pc:spChg>
        <pc:spChg chg="mod">
          <ac:chgData name="Ugo MANTEL" userId="2d5b7065-31bb-4181-a7f8-a73bf0c30211" providerId="ADAL" clId="{F05BB0D5-3454-45DC-8378-DA45B79D9A06}" dt="2020-10-02T13:04:36.514" v="5170" actId="790"/>
          <ac:spMkLst>
            <pc:docMk/>
            <pc:sldMk cId="4048367762" sldId="6898"/>
            <ac:spMk id="131" creationId="{7B6E3364-38A5-448C-A34A-8C66B4A70522}"/>
          </ac:spMkLst>
        </pc:spChg>
        <pc:spChg chg="mod">
          <ac:chgData name="Ugo MANTEL" userId="2d5b7065-31bb-4181-a7f8-a73bf0c30211" providerId="ADAL" clId="{F05BB0D5-3454-45DC-8378-DA45B79D9A06}" dt="2020-10-02T13:04:36.481" v="5134" actId="790"/>
          <ac:spMkLst>
            <pc:docMk/>
            <pc:sldMk cId="4048367762" sldId="6898"/>
            <ac:spMk id="132" creationId="{FBE342E0-5996-49A3-98FF-D5240CD6E1CC}"/>
          </ac:spMkLst>
        </pc:spChg>
        <pc:spChg chg="mod">
          <ac:chgData name="Ugo MANTEL" userId="2d5b7065-31bb-4181-a7f8-a73bf0c30211" providerId="ADAL" clId="{F05BB0D5-3454-45DC-8378-DA45B79D9A06}" dt="2020-10-02T13:04:36.515" v="5171" actId="790"/>
          <ac:spMkLst>
            <pc:docMk/>
            <pc:sldMk cId="4048367762" sldId="6898"/>
            <ac:spMk id="133" creationId="{049E6BEF-E019-47CB-8838-3845C6790C69}"/>
          </ac:spMkLst>
        </pc:spChg>
        <pc:spChg chg="mod">
          <ac:chgData name="Ugo MANTEL" userId="2d5b7065-31bb-4181-a7f8-a73bf0c30211" providerId="ADAL" clId="{F05BB0D5-3454-45DC-8378-DA45B79D9A06}" dt="2020-10-02T13:04:36.484" v="5136" actId="790"/>
          <ac:spMkLst>
            <pc:docMk/>
            <pc:sldMk cId="4048367762" sldId="6898"/>
            <ac:spMk id="135" creationId="{CA8B9B60-895E-4309-9D36-C4E77A6BB76B}"/>
          </ac:spMkLst>
        </pc:spChg>
        <pc:spChg chg="mod">
          <ac:chgData name="Ugo MANTEL" userId="2d5b7065-31bb-4181-a7f8-a73bf0c30211" providerId="ADAL" clId="{F05BB0D5-3454-45DC-8378-DA45B79D9A06}" dt="2020-10-02T13:04:36.485" v="5137" actId="790"/>
          <ac:spMkLst>
            <pc:docMk/>
            <pc:sldMk cId="4048367762" sldId="6898"/>
            <ac:spMk id="136" creationId="{04ABCFB5-976D-4959-96C2-469DBD951494}"/>
          </ac:spMkLst>
        </pc:spChg>
        <pc:spChg chg="mod">
          <ac:chgData name="Ugo MANTEL" userId="2d5b7065-31bb-4181-a7f8-a73bf0c30211" providerId="ADAL" clId="{F05BB0D5-3454-45DC-8378-DA45B79D9A06}" dt="2020-10-02T13:04:36.486" v="5138" actId="790"/>
          <ac:spMkLst>
            <pc:docMk/>
            <pc:sldMk cId="4048367762" sldId="6898"/>
            <ac:spMk id="137" creationId="{4D7721C8-FA7A-41A5-9B58-FF06D73626D3}"/>
          </ac:spMkLst>
        </pc:spChg>
        <pc:spChg chg="mod">
          <ac:chgData name="Ugo MANTEL" userId="2d5b7065-31bb-4181-a7f8-a73bf0c30211" providerId="ADAL" clId="{F05BB0D5-3454-45DC-8378-DA45B79D9A06}" dt="2020-10-02T13:04:36.487" v="5139" actId="790"/>
          <ac:spMkLst>
            <pc:docMk/>
            <pc:sldMk cId="4048367762" sldId="6898"/>
            <ac:spMk id="138" creationId="{1D1BCF49-5F9F-4425-B339-B7D7FAE649C1}"/>
          </ac:spMkLst>
        </pc:spChg>
        <pc:spChg chg="mod">
          <ac:chgData name="Ugo MANTEL" userId="2d5b7065-31bb-4181-a7f8-a73bf0c30211" providerId="ADAL" clId="{F05BB0D5-3454-45DC-8378-DA45B79D9A06}" dt="2020-10-02T13:04:36.520" v="5176" actId="790"/>
          <ac:spMkLst>
            <pc:docMk/>
            <pc:sldMk cId="4048367762" sldId="6898"/>
            <ac:spMk id="139" creationId="{E86511A4-A376-40B9-A486-C240A821973B}"/>
          </ac:spMkLst>
        </pc:spChg>
        <pc:spChg chg="mod">
          <ac:chgData name="Ugo MANTEL" userId="2d5b7065-31bb-4181-a7f8-a73bf0c30211" providerId="ADAL" clId="{F05BB0D5-3454-45DC-8378-DA45B79D9A06}" dt="2020-10-02T13:04:36.487" v="5140" actId="790"/>
          <ac:spMkLst>
            <pc:docMk/>
            <pc:sldMk cId="4048367762" sldId="6898"/>
            <ac:spMk id="140" creationId="{6C2D063A-4E07-4E9E-9197-B0DCE018CF8A}"/>
          </ac:spMkLst>
        </pc:spChg>
        <pc:spChg chg="mod">
          <ac:chgData name="Ugo MANTEL" userId="2d5b7065-31bb-4181-a7f8-a73bf0c30211" providerId="ADAL" clId="{F05BB0D5-3454-45DC-8378-DA45B79D9A06}" dt="2020-10-02T13:04:36.488" v="5141" actId="790"/>
          <ac:spMkLst>
            <pc:docMk/>
            <pc:sldMk cId="4048367762" sldId="6898"/>
            <ac:spMk id="141" creationId="{CBD47C46-5D5E-4A17-AF0F-90560997FFDD}"/>
          </ac:spMkLst>
        </pc:spChg>
        <pc:spChg chg="mod">
          <ac:chgData name="Ugo MANTEL" userId="2d5b7065-31bb-4181-a7f8-a73bf0c30211" providerId="ADAL" clId="{F05BB0D5-3454-45DC-8378-DA45B79D9A06}" dt="2020-10-02T13:04:36.489" v="5142" actId="790"/>
          <ac:spMkLst>
            <pc:docMk/>
            <pc:sldMk cId="4048367762" sldId="6898"/>
            <ac:spMk id="142" creationId="{03FA2BB0-5AFF-4486-B1C1-7E1B11AA2487}"/>
          </ac:spMkLst>
        </pc:spChg>
        <pc:spChg chg="mod">
          <ac:chgData name="Ugo MANTEL" userId="2d5b7065-31bb-4181-a7f8-a73bf0c30211" providerId="ADAL" clId="{F05BB0D5-3454-45DC-8378-DA45B79D9A06}" dt="2020-10-02T13:04:36.490" v="5143" actId="790"/>
          <ac:spMkLst>
            <pc:docMk/>
            <pc:sldMk cId="4048367762" sldId="6898"/>
            <ac:spMk id="143" creationId="{CCB0ACA4-B47C-46AD-A4B0-BA70FD66DF17}"/>
          </ac:spMkLst>
        </pc:spChg>
        <pc:spChg chg="mod">
          <ac:chgData name="Ugo MANTEL" userId="2d5b7065-31bb-4181-a7f8-a73bf0c30211" providerId="ADAL" clId="{F05BB0D5-3454-45DC-8378-DA45B79D9A06}" dt="2020-10-02T13:04:36.491" v="5144" actId="790"/>
          <ac:spMkLst>
            <pc:docMk/>
            <pc:sldMk cId="4048367762" sldId="6898"/>
            <ac:spMk id="144" creationId="{C8B93B46-B035-4990-9149-95C8DF360A2F}"/>
          </ac:spMkLst>
        </pc:spChg>
        <pc:spChg chg="mod">
          <ac:chgData name="Ugo MANTEL" userId="2d5b7065-31bb-4181-a7f8-a73bf0c30211" providerId="ADAL" clId="{F05BB0D5-3454-45DC-8378-DA45B79D9A06}" dt="2020-10-02T13:04:36.492" v="5145" actId="790"/>
          <ac:spMkLst>
            <pc:docMk/>
            <pc:sldMk cId="4048367762" sldId="6898"/>
            <ac:spMk id="145" creationId="{6096AA7E-5A01-4B7F-8D3C-9C0BBFFDD943}"/>
          </ac:spMkLst>
        </pc:spChg>
        <pc:spChg chg="mod">
          <ac:chgData name="Ugo MANTEL" userId="2d5b7065-31bb-4181-a7f8-a73bf0c30211" providerId="ADAL" clId="{F05BB0D5-3454-45DC-8378-DA45B79D9A06}" dt="2020-10-02T13:04:36.493" v="5146" actId="790"/>
          <ac:spMkLst>
            <pc:docMk/>
            <pc:sldMk cId="4048367762" sldId="6898"/>
            <ac:spMk id="146" creationId="{8D910814-18DF-4D44-8B53-3BEA3048E8B0}"/>
          </ac:spMkLst>
        </pc:spChg>
        <pc:spChg chg="mod">
          <ac:chgData name="Ugo MANTEL" userId="2d5b7065-31bb-4181-a7f8-a73bf0c30211" providerId="ADAL" clId="{F05BB0D5-3454-45DC-8378-DA45B79D9A06}" dt="2020-10-02T13:04:36.493" v="5147" actId="790"/>
          <ac:spMkLst>
            <pc:docMk/>
            <pc:sldMk cId="4048367762" sldId="6898"/>
            <ac:spMk id="147" creationId="{E200CBD7-3D4F-4B97-96F1-F2C1AEB45B2C}"/>
          </ac:spMkLst>
        </pc:spChg>
        <pc:spChg chg="mod">
          <ac:chgData name="Ugo MANTEL" userId="2d5b7065-31bb-4181-a7f8-a73bf0c30211" providerId="ADAL" clId="{F05BB0D5-3454-45DC-8378-DA45B79D9A06}" dt="2020-10-02T13:04:36.494" v="5148" actId="790"/>
          <ac:spMkLst>
            <pc:docMk/>
            <pc:sldMk cId="4048367762" sldId="6898"/>
            <ac:spMk id="148" creationId="{30DA637B-D1A1-4C0E-8DE7-0A9324D72BD7}"/>
          </ac:spMkLst>
        </pc:spChg>
        <pc:spChg chg="mod">
          <ac:chgData name="Ugo MANTEL" userId="2d5b7065-31bb-4181-a7f8-a73bf0c30211" providerId="ADAL" clId="{F05BB0D5-3454-45DC-8378-DA45B79D9A06}" dt="2020-10-02T13:04:36.495" v="5149" actId="790"/>
          <ac:spMkLst>
            <pc:docMk/>
            <pc:sldMk cId="4048367762" sldId="6898"/>
            <ac:spMk id="149" creationId="{315DFE65-9335-43DD-B3F2-1689F1A261A6}"/>
          </ac:spMkLst>
        </pc:spChg>
        <pc:spChg chg="mod">
          <ac:chgData name="Ugo MANTEL" userId="2d5b7065-31bb-4181-a7f8-a73bf0c30211" providerId="ADAL" clId="{F05BB0D5-3454-45DC-8378-DA45B79D9A06}" dt="2020-10-02T13:04:36.496" v="5150" actId="790"/>
          <ac:spMkLst>
            <pc:docMk/>
            <pc:sldMk cId="4048367762" sldId="6898"/>
            <ac:spMk id="150" creationId="{7666E60F-C55B-4AA9-87CA-D20350DF10E3}"/>
          </ac:spMkLst>
        </pc:spChg>
        <pc:spChg chg="mod">
          <ac:chgData name="Ugo MANTEL" userId="2d5b7065-31bb-4181-a7f8-a73bf0c30211" providerId="ADAL" clId="{F05BB0D5-3454-45DC-8378-DA45B79D9A06}" dt="2020-10-02T13:04:36.497" v="5151" actId="790"/>
          <ac:spMkLst>
            <pc:docMk/>
            <pc:sldMk cId="4048367762" sldId="6898"/>
            <ac:spMk id="151" creationId="{70A649FF-AD3A-4FF9-84F5-93C857AC648D}"/>
          </ac:spMkLst>
        </pc:spChg>
        <pc:spChg chg="mod">
          <ac:chgData name="Ugo MANTEL" userId="2d5b7065-31bb-4181-a7f8-a73bf0c30211" providerId="ADAL" clId="{F05BB0D5-3454-45DC-8378-DA45B79D9A06}" dt="2020-10-02T13:04:36.498" v="5152" actId="790"/>
          <ac:spMkLst>
            <pc:docMk/>
            <pc:sldMk cId="4048367762" sldId="6898"/>
            <ac:spMk id="152" creationId="{C5F34115-9A65-4ED1-A8D9-E37BFB7B2242}"/>
          </ac:spMkLst>
        </pc:spChg>
        <pc:spChg chg="mod">
          <ac:chgData name="Ugo MANTEL" userId="2d5b7065-31bb-4181-a7f8-a73bf0c30211" providerId="ADAL" clId="{F05BB0D5-3454-45DC-8378-DA45B79D9A06}" dt="2020-10-02T13:04:36.499" v="5153" actId="790"/>
          <ac:spMkLst>
            <pc:docMk/>
            <pc:sldMk cId="4048367762" sldId="6898"/>
            <ac:spMk id="153" creationId="{98A3380F-2BF3-4152-8056-C93CE3CD586D}"/>
          </ac:spMkLst>
        </pc:spChg>
        <pc:spChg chg="mod">
          <ac:chgData name="Ugo MANTEL" userId="2d5b7065-31bb-4181-a7f8-a73bf0c30211" providerId="ADAL" clId="{F05BB0D5-3454-45DC-8378-DA45B79D9A06}" dt="2020-10-02T13:04:36.500" v="5154" actId="790"/>
          <ac:spMkLst>
            <pc:docMk/>
            <pc:sldMk cId="4048367762" sldId="6898"/>
            <ac:spMk id="154" creationId="{897DEE48-EB90-4491-BBB0-4028B531D17B}"/>
          </ac:spMkLst>
        </pc:spChg>
        <pc:spChg chg="mod">
          <ac:chgData name="Ugo MANTEL" userId="2d5b7065-31bb-4181-a7f8-a73bf0c30211" providerId="ADAL" clId="{F05BB0D5-3454-45DC-8378-DA45B79D9A06}" dt="2020-10-02T13:04:36.501" v="5155" actId="790"/>
          <ac:spMkLst>
            <pc:docMk/>
            <pc:sldMk cId="4048367762" sldId="6898"/>
            <ac:spMk id="155" creationId="{637EB544-C2D1-46F3-A07C-2C569ECCC177}"/>
          </ac:spMkLst>
        </pc:spChg>
        <pc:spChg chg="mod">
          <ac:chgData name="Ugo MANTEL" userId="2d5b7065-31bb-4181-a7f8-a73bf0c30211" providerId="ADAL" clId="{F05BB0D5-3454-45DC-8378-DA45B79D9A06}" dt="2020-10-02T13:04:36.501" v="5156" actId="790"/>
          <ac:spMkLst>
            <pc:docMk/>
            <pc:sldMk cId="4048367762" sldId="6898"/>
            <ac:spMk id="156" creationId="{2E6F5396-3AEF-40B0-9A66-F1FED486817F}"/>
          </ac:spMkLst>
        </pc:spChg>
        <pc:spChg chg="mod">
          <ac:chgData name="Ugo MANTEL" userId="2d5b7065-31bb-4181-a7f8-a73bf0c30211" providerId="ADAL" clId="{F05BB0D5-3454-45DC-8378-DA45B79D9A06}" dt="2020-10-02T13:04:36.502" v="5157" actId="790"/>
          <ac:spMkLst>
            <pc:docMk/>
            <pc:sldMk cId="4048367762" sldId="6898"/>
            <ac:spMk id="157" creationId="{AD507515-8B4C-4F3D-964B-301601A75C06}"/>
          </ac:spMkLst>
        </pc:spChg>
        <pc:spChg chg="mod">
          <ac:chgData name="Ugo MANTEL" userId="2d5b7065-31bb-4181-a7f8-a73bf0c30211" providerId="ADAL" clId="{F05BB0D5-3454-45DC-8378-DA45B79D9A06}" dt="2020-10-02T13:04:36.503" v="5158" actId="790"/>
          <ac:spMkLst>
            <pc:docMk/>
            <pc:sldMk cId="4048367762" sldId="6898"/>
            <ac:spMk id="158" creationId="{AFD31945-6375-40D4-BBAA-3F63D96D92AA}"/>
          </ac:spMkLst>
        </pc:spChg>
        <pc:spChg chg="mod">
          <ac:chgData name="Ugo MANTEL" userId="2d5b7065-31bb-4181-a7f8-a73bf0c30211" providerId="ADAL" clId="{F05BB0D5-3454-45DC-8378-DA45B79D9A06}" dt="2020-10-02T13:04:36.504" v="5159" actId="790"/>
          <ac:spMkLst>
            <pc:docMk/>
            <pc:sldMk cId="4048367762" sldId="6898"/>
            <ac:spMk id="159" creationId="{84666F24-FE72-4052-A35B-4048860B27EF}"/>
          </ac:spMkLst>
        </pc:spChg>
        <pc:spChg chg="mod">
          <ac:chgData name="Ugo MANTEL" userId="2d5b7065-31bb-4181-a7f8-a73bf0c30211" providerId="ADAL" clId="{F05BB0D5-3454-45DC-8378-DA45B79D9A06}" dt="2020-10-02T13:04:36.505" v="5160" actId="790"/>
          <ac:spMkLst>
            <pc:docMk/>
            <pc:sldMk cId="4048367762" sldId="6898"/>
            <ac:spMk id="160" creationId="{B72F441F-D2B8-4B0C-AD69-0B3BC2B7F7B0}"/>
          </ac:spMkLst>
        </pc:spChg>
        <pc:spChg chg="mod">
          <ac:chgData name="Ugo MANTEL" userId="2d5b7065-31bb-4181-a7f8-a73bf0c30211" providerId="ADAL" clId="{F05BB0D5-3454-45DC-8378-DA45B79D9A06}" dt="2020-10-02T13:04:36.506" v="5161" actId="790"/>
          <ac:spMkLst>
            <pc:docMk/>
            <pc:sldMk cId="4048367762" sldId="6898"/>
            <ac:spMk id="162" creationId="{E199551F-C1EA-415A-8486-557CC2DF197D}"/>
          </ac:spMkLst>
        </pc:spChg>
        <pc:spChg chg="mod">
          <ac:chgData name="Ugo MANTEL" userId="2d5b7065-31bb-4181-a7f8-a73bf0c30211" providerId="ADAL" clId="{F05BB0D5-3454-45DC-8378-DA45B79D9A06}" dt="2020-10-02T13:04:36.507" v="5162" actId="790"/>
          <ac:spMkLst>
            <pc:docMk/>
            <pc:sldMk cId="4048367762" sldId="6898"/>
            <ac:spMk id="163" creationId="{FAF74AC4-BFF6-4245-9A3A-9D12F65D6426}"/>
          </ac:spMkLst>
        </pc:spChg>
        <pc:spChg chg="mod">
          <ac:chgData name="Ugo MANTEL" userId="2d5b7065-31bb-4181-a7f8-a73bf0c30211" providerId="ADAL" clId="{F05BB0D5-3454-45DC-8378-DA45B79D9A06}" dt="2020-10-02T13:04:36.508" v="5163" actId="790"/>
          <ac:spMkLst>
            <pc:docMk/>
            <pc:sldMk cId="4048367762" sldId="6898"/>
            <ac:spMk id="164" creationId="{846A3408-1184-4913-81B2-312A96ECA25C}"/>
          </ac:spMkLst>
        </pc:spChg>
        <pc:spChg chg="mod">
          <ac:chgData name="Ugo MANTEL" userId="2d5b7065-31bb-4181-a7f8-a73bf0c30211" providerId="ADAL" clId="{F05BB0D5-3454-45DC-8378-DA45B79D9A06}" dt="2020-10-02T13:04:36.508" v="5164" actId="790"/>
          <ac:spMkLst>
            <pc:docMk/>
            <pc:sldMk cId="4048367762" sldId="6898"/>
            <ac:spMk id="165" creationId="{DA9B24E9-5D82-4677-8D8D-25EFBF76FEE1}"/>
          </ac:spMkLst>
        </pc:spChg>
        <pc:spChg chg="mod">
          <ac:chgData name="Ugo MANTEL" userId="2d5b7065-31bb-4181-a7f8-a73bf0c30211" providerId="ADAL" clId="{F05BB0D5-3454-45DC-8378-DA45B79D9A06}" dt="2020-10-02T13:04:36.509" v="5165" actId="790"/>
          <ac:spMkLst>
            <pc:docMk/>
            <pc:sldMk cId="4048367762" sldId="6898"/>
            <ac:spMk id="166" creationId="{7D2488D1-8A8F-41E1-A7D1-CB471EAFDCFB}"/>
          </ac:spMkLst>
        </pc:spChg>
        <pc:spChg chg="mod">
          <ac:chgData name="Ugo MANTEL" userId="2d5b7065-31bb-4181-a7f8-a73bf0c30211" providerId="ADAL" clId="{F05BB0D5-3454-45DC-8378-DA45B79D9A06}" dt="2020-10-02T13:04:36.516" v="5172" actId="790"/>
          <ac:spMkLst>
            <pc:docMk/>
            <pc:sldMk cId="4048367762" sldId="6898"/>
            <ac:spMk id="167" creationId="{0AA9074B-9DB2-4C8B-81AB-6350E01A24EA}"/>
          </ac:spMkLst>
        </pc:spChg>
        <pc:spChg chg="mod">
          <ac:chgData name="Ugo MANTEL" userId="2d5b7065-31bb-4181-a7f8-a73bf0c30211" providerId="ADAL" clId="{F05BB0D5-3454-45DC-8378-DA45B79D9A06}" dt="2020-10-02T13:04:36.517" v="5173" actId="790"/>
          <ac:spMkLst>
            <pc:docMk/>
            <pc:sldMk cId="4048367762" sldId="6898"/>
            <ac:spMk id="168" creationId="{37B9236C-2CB3-48D4-BFDC-7B520240BCAA}"/>
          </ac:spMkLst>
        </pc:spChg>
        <pc:spChg chg="mod">
          <ac:chgData name="Ugo MANTEL" userId="2d5b7065-31bb-4181-a7f8-a73bf0c30211" providerId="ADAL" clId="{F05BB0D5-3454-45DC-8378-DA45B79D9A06}" dt="2020-10-02T13:04:36.518" v="5174" actId="790"/>
          <ac:spMkLst>
            <pc:docMk/>
            <pc:sldMk cId="4048367762" sldId="6898"/>
            <ac:spMk id="169" creationId="{223EA112-5E89-4FA0-822D-EDAAB4F77197}"/>
          </ac:spMkLst>
        </pc:spChg>
        <pc:spChg chg="mod">
          <ac:chgData name="Ugo MANTEL" userId="2d5b7065-31bb-4181-a7f8-a73bf0c30211" providerId="ADAL" clId="{F05BB0D5-3454-45DC-8378-DA45B79D9A06}" dt="2020-10-02T13:04:36.524" v="5182" actId="790"/>
          <ac:spMkLst>
            <pc:docMk/>
            <pc:sldMk cId="4048367762" sldId="6898"/>
            <ac:spMk id="177" creationId="{1C44DEAE-2BF5-41BA-8C45-C4EA5EDBF819}"/>
          </ac:spMkLst>
        </pc:spChg>
        <pc:spChg chg="mod">
          <ac:chgData name="Ugo MANTEL" userId="2d5b7065-31bb-4181-a7f8-a73bf0c30211" providerId="ADAL" clId="{F05BB0D5-3454-45DC-8378-DA45B79D9A06}" dt="2020-10-02T13:04:36.439" v="5098" actId="790"/>
          <ac:spMkLst>
            <pc:docMk/>
            <pc:sldMk cId="4048367762" sldId="6898"/>
            <ac:spMk id="178" creationId="{A4017EC1-6605-4C2B-BDF6-ABC2F6CBD193}"/>
          </ac:spMkLst>
        </pc:spChg>
        <pc:spChg chg="mod">
          <ac:chgData name="Ugo MANTEL" userId="2d5b7065-31bb-4181-a7f8-a73bf0c30211" providerId="ADAL" clId="{F05BB0D5-3454-45DC-8378-DA45B79D9A06}" dt="2020-10-02T13:04:36.439" v="5099" actId="790"/>
          <ac:spMkLst>
            <pc:docMk/>
            <pc:sldMk cId="4048367762" sldId="6898"/>
            <ac:spMk id="179" creationId="{C7D61AB4-85C4-4D16-BB13-FC61EF54EA45}"/>
          </ac:spMkLst>
        </pc:spChg>
        <pc:spChg chg="mod">
          <ac:chgData name="Ugo MANTEL" userId="2d5b7065-31bb-4181-a7f8-a73bf0c30211" providerId="ADAL" clId="{F05BB0D5-3454-45DC-8378-DA45B79D9A06}" dt="2020-10-02T13:04:36.440" v="5100" actId="790"/>
          <ac:spMkLst>
            <pc:docMk/>
            <pc:sldMk cId="4048367762" sldId="6898"/>
            <ac:spMk id="180" creationId="{29915760-28C0-46C6-A884-64CD0F52F4B2}"/>
          </ac:spMkLst>
        </pc:spChg>
        <pc:spChg chg="mod">
          <ac:chgData name="Ugo MANTEL" userId="2d5b7065-31bb-4181-a7f8-a73bf0c30211" providerId="ADAL" clId="{F05BB0D5-3454-45DC-8378-DA45B79D9A06}" dt="2020-10-02T13:04:36.441" v="5101" actId="790"/>
          <ac:spMkLst>
            <pc:docMk/>
            <pc:sldMk cId="4048367762" sldId="6898"/>
            <ac:spMk id="181" creationId="{B3D8EB21-CA0B-4CA4-887D-D16C0465FF17}"/>
          </ac:spMkLst>
        </pc:spChg>
        <pc:spChg chg="mod">
          <ac:chgData name="Ugo MANTEL" userId="2d5b7065-31bb-4181-a7f8-a73bf0c30211" providerId="ADAL" clId="{F05BB0D5-3454-45DC-8378-DA45B79D9A06}" dt="2020-10-02T13:04:36.442" v="5102" actId="790"/>
          <ac:spMkLst>
            <pc:docMk/>
            <pc:sldMk cId="4048367762" sldId="6898"/>
            <ac:spMk id="189" creationId="{4BA5A5CA-EA66-4B03-8225-C69572C12AA7}"/>
          </ac:spMkLst>
        </pc:spChg>
        <pc:spChg chg="mod">
          <ac:chgData name="Ugo MANTEL" userId="2d5b7065-31bb-4181-a7f8-a73bf0c30211" providerId="ADAL" clId="{F05BB0D5-3454-45DC-8378-DA45B79D9A06}" dt="2020-10-02T13:04:36.442" v="5103" actId="790"/>
          <ac:spMkLst>
            <pc:docMk/>
            <pc:sldMk cId="4048367762" sldId="6898"/>
            <ac:spMk id="191" creationId="{3F9570E7-D5E2-4002-BD90-07935233D570}"/>
          </ac:spMkLst>
        </pc:spChg>
        <pc:spChg chg="mod">
          <ac:chgData name="Ugo MANTEL" userId="2d5b7065-31bb-4181-a7f8-a73bf0c30211" providerId="ADAL" clId="{F05BB0D5-3454-45DC-8378-DA45B79D9A06}" dt="2020-10-02T13:04:36.443" v="5104" actId="790"/>
          <ac:spMkLst>
            <pc:docMk/>
            <pc:sldMk cId="4048367762" sldId="6898"/>
            <ac:spMk id="192" creationId="{DE7D72D6-6BFC-4897-AA9B-6ABC0BC0E38B}"/>
          </ac:spMkLst>
        </pc:spChg>
        <pc:spChg chg="mod">
          <ac:chgData name="Ugo MANTEL" userId="2d5b7065-31bb-4181-a7f8-a73bf0c30211" providerId="ADAL" clId="{F05BB0D5-3454-45DC-8378-DA45B79D9A06}" dt="2020-10-02T13:04:36.523" v="5180" actId="790"/>
          <ac:spMkLst>
            <pc:docMk/>
            <pc:sldMk cId="4048367762" sldId="6898"/>
            <ac:spMk id="193" creationId="{97BAAD1F-7D57-474C-A51F-0E126062351F}"/>
          </ac:spMkLst>
        </pc:spChg>
        <pc:spChg chg="mod">
          <ac:chgData name="Ugo MANTEL" userId="2d5b7065-31bb-4181-a7f8-a73bf0c30211" providerId="ADAL" clId="{F05BB0D5-3454-45DC-8378-DA45B79D9A06}" dt="2020-10-02T13:04:36.521" v="5177" actId="790"/>
          <ac:spMkLst>
            <pc:docMk/>
            <pc:sldMk cId="4048367762" sldId="6898"/>
            <ac:spMk id="195" creationId="{93494226-FCF2-4C58-8D37-D285B0E7783F}"/>
          </ac:spMkLst>
        </pc:spChg>
        <pc:spChg chg="mod">
          <ac:chgData name="Ugo MANTEL" userId="2d5b7065-31bb-4181-a7f8-a73bf0c30211" providerId="ADAL" clId="{F05BB0D5-3454-45DC-8378-DA45B79D9A06}" dt="2020-10-02T13:04:36.524" v="5181" actId="790"/>
          <ac:spMkLst>
            <pc:docMk/>
            <pc:sldMk cId="4048367762" sldId="6898"/>
            <ac:spMk id="196" creationId="{0FDACD1F-DEF8-4D62-B1A7-B39F73FC358C}"/>
          </ac:spMkLst>
        </pc:spChg>
        <pc:spChg chg="mod">
          <ac:chgData name="Ugo MANTEL" userId="2d5b7065-31bb-4181-a7f8-a73bf0c30211" providerId="ADAL" clId="{F05BB0D5-3454-45DC-8378-DA45B79D9A06}" dt="2020-10-02T13:04:36.483" v="5135" actId="790"/>
          <ac:spMkLst>
            <pc:docMk/>
            <pc:sldMk cId="4048367762" sldId="6898"/>
            <ac:spMk id="7168" creationId="{410B4C42-4F92-43E4-8D9B-0D5F5C262D97}"/>
          </ac:spMkLst>
        </pc:spChg>
      </pc:sldChg>
      <pc:sldChg chg="modSp mod">
        <pc:chgData name="Ugo MANTEL" userId="2d5b7065-31bb-4181-a7f8-a73bf0c30211" providerId="ADAL" clId="{F05BB0D5-3454-45DC-8378-DA45B79D9A06}" dt="2020-10-02T13:04:35.761" v="4577" actId="790"/>
        <pc:sldMkLst>
          <pc:docMk/>
          <pc:sldMk cId="1030086371" sldId="6902"/>
        </pc:sldMkLst>
        <pc:spChg chg="mod">
          <ac:chgData name="Ugo MANTEL" userId="2d5b7065-31bb-4181-a7f8-a73bf0c30211" providerId="ADAL" clId="{F05BB0D5-3454-45DC-8378-DA45B79D9A06}" dt="2020-10-02T13:04:35.746" v="4560" actId="790"/>
          <ac:spMkLst>
            <pc:docMk/>
            <pc:sldMk cId="1030086371" sldId="6902"/>
            <ac:spMk id="3" creationId="{2CCF91DF-5924-4961-9D1C-67F2DE9D187B}"/>
          </ac:spMkLst>
        </pc:spChg>
        <pc:spChg chg="mod">
          <ac:chgData name="Ugo MANTEL" userId="2d5b7065-31bb-4181-a7f8-a73bf0c30211" providerId="ADAL" clId="{F05BB0D5-3454-45DC-8378-DA45B79D9A06}" dt="2020-10-02T13:04:35.746" v="4561" actId="790"/>
          <ac:spMkLst>
            <pc:docMk/>
            <pc:sldMk cId="1030086371" sldId="6902"/>
            <ac:spMk id="5" creationId="{B0DECA8C-AD4B-49C6-8D94-1FF22D905769}"/>
          </ac:spMkLst>
        </pc:spChg>
        <pc:spChg chg="mod">
          <ac:chgData name="Ugo MANTEL" userId="2d5b7065-31bb-4181-a7f8-a73bf0c30211" providerId="ADAL" clId="{F05BB0D5-3454-45DC-8378-DA45B79D9A06}" dt="2020-10-02T13:04:35.747" v="4562" actId="790"/>
          <ac:spMkLst>
            <pc:docMk/>
            <pc:sldMk cId="1030086371" sldId="6902"/>
            <ac:spMk id="6" creationId="{9B8CF351-193D-488A-B25D-B65F23001228}"/>
          </ac:spMkLst>
        </pc:spChg>
        <pc:spChg chg="mod">
          <ac:chgData name="Ugo MANTEL" userId="2d5b7065-31bb-4181-a7f8-a73bf0c30211" providerId="ADAL" clId="{F05BB0D5-3454-45DC-8378-DA45B79D9A06}" dt="2020-10-02T13:04:35.748" v="4563" actId="790"/>
          <ac:spMkLst>
            <pc:docMk/>
            <pc:sldMk cId="1030086371" sldId="6902"/>
            <ac:spMk id="8" creationId="{CB1BE7F2-FBB2-4FD3-948E-9C8EDCDBA0F1}"/>
          </ac:spMkLst>
        </pc:spChg>
        <pc:spChg chg="mod">
          <ac:chgData name="Ugo MANTEL" userId="2d5b7065-31bb-4181-a7f8-a73bf0c30211" providerId="ADAL" clId="{F05BB0D5-3454-45DC-8378-DA45B79D9A06}" dt="2020-10-02T13:04:35.751" v="4566" actId="790"/>
          <ac:spMkLst>
            <pc:docMk/>
            <pc:sldMk cId="1030086371" sldId="6902"/>
            <ac:spMk id="15" creationId="{540B6F5C-DDE4-4785-9F62-5F0EB11B3DD4}"/>
          </ac:spMkLst>
        </pc:spChg>
        <pc:spChg chg="mod">
          <ac:chgData name="Ugo MANTEL" userId="2d5b7065-31bb-4181-a7f8-a73bf0c30211" providerId="ADAL" clId="{F05BB0D5-3454-45DC-8378-DA45B79D9A06}" dt="2020-10-02T13:04:35.753" v="4567" actId="790"/>
          <ac:spMkLst>
            <pc:docMk/>
            <pc:sldMk cId="1030086371" sldId="6902"/>
            <ac:spMk id="17" creationId="{60D463C4-2BEF-4F90-99E4-BE1F596B82EE}"/>
          </ac:spMkLst>
        </pc:spChg>
        <pc:spChg chg="mod">
          <ac:chgData name="Ugo MANTEL" userId="2d5b7065-31bb-4181-a7f8-a73bf0c30211" providerId="ADAL" clId="{F05BB0D5-3454-45DC-8378-DA45B79D9A06}" dt="2020-10-02T13:04:35.754" v="4568" actId="790"/>
          <ac:spMkLst>
            <pc:docMk/>
            <pc:sldMk cId="1030086371" sldId="6902"/>
            <ac:spMk id="18" creationId="{B865CD4A-7F6D-4B02-8730-312E86F4C3E2}"/>
          </ac:spMkLst>
        </pc:spChg>
        <pc:spChg chg="mod">
          <ac:chgData name="Ugo MANTEL" userId="2d5b7065-31bb-4181-a7f8-a73bf0c30211" providerId="ADAL" clId="{F05BB0D5-3454-45DC-8378-DA45B79D9A06}" dt="2020-10-02T13:04:35.755" v="4569" actId="790"/>
          <ac:spMkLst>
            <pc:docMk/>
            <pc:sldMk cId="1030086371" sldId="6902"/>
            <ac:spMk id="19" creationId="{83AC96A4-6D08-4DCD-8F83-E72C6339290D}"/>
          </ac:spMkLst>
        </pc:spChg>
        <pc:spChg chg="mod">
          <ac:chgData name="Ugo MANTEL" userId="2d5b7065-31bb-4181-a7f8-a73bf0c30211" providerId="ADAL" clId="{F05BB0D5-3454-45DC-8378-DA45B79D9A06}" dt="2020-10-02T13:04:35.749" v="4564" actId="790"/>
          <ac:spMkLst>
            <pc:docMk/>
            <pc:sldMk cId="1030086371" sldId="6902"/>
            <ac:spMk id="22" creationId="{865DCA02-1DB7-4F79-877A-8FB5D2ECCF62}"/>
          </ac:spMkLst>
        </pc:spChg>
        <pc:spChg chg="mod">
          <ac:chgData name="Ugo MANTEL" userId="2d5b7065-31bb-4181-a7f8-a73bf0c30211" providerId="ADAL" clId="{F05BB0D5-3454-45DC-8378-DA45B79D9A06}" dt="2020-10-02T13:04:35.751" v="4565" actId="790"/>
          <ac:spMkLst>
            <pc:docMk/>
            <pc:sldMk cId="1030086371" sldId="6902"/>
            <ac:spMk id="23" creationId="{3B1647E1-E1C5-4A47-9361-3402F78378DF}"/>
          </ac:spMkLst>
        </pc:spChg>
        <pc:spChg chg="mod">
          <ac:chgData name="Ugo MANTEL" userId="2d5b7065-31bb-4181-a7f8-a73bf0c30211" providerId="ADAL" clId="{F05BB0D5-3454-45DC-8378-DA45B79D9A06}" dt="2020-10-02T13:04:35.755" v="4570" actId="790"/>
          <ac:spMkLst>
            <pc:docMk/>
            <pc:sldMk cId="1030086371" sldId="6902"/>
            <ac:spMk id="24" creationId="{7F857B66-88AF-4CC8-B115-32E790EE3E15}"/>
          </ac:spMkLst>
        </pc:spChg>
        <pc:spChg chg="mod">
          <ac:chgData name="Ugo MANTEL" userId="2d5b7065-31bb-4181-a7f8-a73bf0c30211" providerId="ADAL" clId="{F05BB0D5-3454-45DC-8378-DA45B79D9A06}" dt="2020-10-02T13:04:35.759" v="4575" actId="790"/>
          <ac:spMkLst>
            <pc:docMk/>
            <pc:sldMk cId="1030086371" sldId="6902"/>
            <ac:spMk id="30" creationId="{114B25CB-2398-4D9C-98CC-CB44E2D72F75}"/>
          </ac:spMkLst>
        </pc:spChg>
        <pc:spChg chg="mod">
          <ac:chgData name="Ugo MANTEL" userId="2d5b7065-31bb-4181-a7f8-a73bf0c30211" providerId="ADAL" clId="{F05BB0D5-3454-45DC-8378-DA45B79D9A06}" dt="2020-10-02T13:04:35.760" v="4576" actId="790"/>
          <ac:spMkLst>
            <pc:docMk/>
            <pc:sldMk cId="1030086371" sldId="6902"/>
            <ac:spMk id="31" creationId="{2DD7ED53-1D20-41C3-8F3F-3D32EC4F5A40}"/>
          </ac:spMkLst>
        </pc:spChg>
        <pc:spChg chg="mod">
          <ac:chgData name="Ugo MANTEL" userId="2d5b7065-31bb-4181-a7f8-a73bf0c30211" providerId="ADAL" clId="{F05BB0D5-3454-45DC-8378-DA45B79D9A06}" dt="2020-10-02T13:04:35.756" v="4571" actId="790"/>
          <ac:spMkLst>
            <pc:docMk/>
            <pc:sldMk cId="1030086371" sldId="6902"/>
            <ac:spMk id="32" creationId="{DD36DF9E-831F-4291-9672-77533653FC32}"/>
          </ac:spMkLst>
        </pc:spChg>
        <pc:spChg chg="mod">
          <ac:chgData name="Ugo MANTEL" userId="2d5b7065-31bb-4181-a7f8-a73bf0c30211" providerId="ADAL" clId="{F05BB0D5-3454-45DC-8378-DA45B79D9A06}" dt="2020-10-02T13:04:35.761" v="4577" actId="790"/>
          <ac:spMkLst>
            <pc:docMk/>
            <pc:sldMk cId="1030086371" sldId="6902"/>
            <ac:spMk id="33" creationId="{4F2CD2FB-49C8-4158-BF59-3D1DDD28AF2C}"/>
          </ac:spMkLst>
        </pc:spChg>
        <pc:spChg chg="mod">
          <ac:chgData name="Ugo MANTEL" userId="2d5b7065-31bb-4181-a7f8-a73bf0c30211" providerId="ADAL" clId="{F05BB0D5-3454-45DC-8378-DA45B79D9A06}" dt="2020-10-02T13:04:35.757" v="4572" actId="790"/>
          <ac:spMkLst>
            <pc:docMk/>
            <pc:sldMk cId="1030086371" sldId="6902"/>
            <ac:spMk id="36" creationId="{D0669013-4107-4455-96AA-5F18C0E1559F}"/>
          </ac:spMkLst>
        </pc:spChg>
        <pc:spChg chg="mod">
          <ac:chgData name="Ugo MANTEL" userId="2d5b7065-31bb-4181-a7f8-a73bf0c30211" providerId="ADAL" clId="{F05BB0D5-3454-45DC-8378-DA45B79D9A06}" dt="2020-10-02T13:04:35.757" v="4573" actId="790"/>
          <ac:spMkLst>
            <pc:docMk/>
            <pc:sldMk cId="1030086371" sldId="6902"/>
            <ac:spMk id="37" creationId="{993ACA39-7CBF-43C3-94BB-E01B2FE94702}"/>
          </ac:spMkLst>
        </pc:spChg>
        <pc:spChg chg="mod">
          <ac:chgData name="Ugo MANTEL" userId="2d5b7065-31bb-4181-a7f8-a73bf0c30211" providerId="ADAL" clId="{F05BB0D5-3454-45DC-8378-DA45B79D9A06}" dt="2020-10-02T13:04:35.758" v="4574" actId="790"/>
          <ac:spMkLst>
            <pc:docMk/>
            <pc:sldMk cId="1030086371" sldId="6902"/>
            <ac:spMk id="38" creationId="{4BFF22DF-EE9C-499D-AF3A-386558E6EA0D}"/>
          </ac:spMkLst>
        </pc:spChg>
      </pc:sldChg>
      <pc:sldChg chg="modSp mod">
        <pc:chgData name="Ugo MANTEL" userId="2d5b7065-31bb-4181-a7f8-a73bf0c30211" providerId="ADAL" clId="{F05BB0D5-3454-45DC-8378-DA45B79D9A06}" dt="2020-10-02T13:04:35.779" v="4596" actId="790"/>
        <pc:sldMkLst>
          <pc:docMk/>
          <pc:sldMk cId="3680184187" sldId="6904"/>
        </pc:sldMkLst>
        <pc:spChg chg="mod">
          <ac:chgData name="Ugo MANTEL" userId="2d5b7065-31bb-4181-a7f8-a73bf0c30211" providerId="ADAL" clId="{F05BB0D5-3454-45DC-8378-DA45B79D9A06}" dt="2020-10-02T13:04:35.762" v="4578" actId="790"/>
          <ac:spMkLst>
            <pc:docMk/>
            <pc:sldMk cId="3680184187" sldId="6904"/>
            <ac:spMk id="3" creationId="{2CCF91DF-5924-4961-9D1C-67F2DE9D187B}"/>
          </ac:spMkLst>
        </pc:spChg>
        <pc:spChg chg="mod">
          <ac:chgData name="Ugo MANTEL" userId="2d5b7065-31bb-4181-a7f8-a73bf0c30211" providerId="ADAL" clId="{F05BB0D5-3454-45DC-8378-DA45B79D9A06}" dt="2020-10-02T13:04:35.763" v="4579" actId="790"/>
          <ac:spMkLst>
            <pc:docMk/>
            <pc:sldMk cId="3680184187" sldId="6904"/>
            <ac:spMk id="5" creationId="{B0DECA8C-AD4B-49C6-8D94-1FF22D905769}"/>
          </ac:spMkLst>
        </pc:spChg>
        <pc:spChg chg="mod">
          <ac:chgData name="Ugo MANTEL" userId="2d5b7065-31bb-4181-a7f8-a73bf0c30211" providerId="ADAL" clId="{F05BB0D5-3454-45DC-8378-DA45B79D9A06}" dt="2020-10-02T13:04:35.763" v="4580" actId="790"/>
          <ac:spMkLst>
            <pc:docMk/>
            <pc:sldMk cId="3680184187" sldId="6904"/>
            <ac:spMk id="6" creationId="{9B8CF351-193D-488A-B25D-B65F23001228}"/>
          </ac:spMkLst>
        </pc:spChg>
        <pc:spChg chg="mod">
          <ac:chgData name="Ugo MANTEL" userId="2d5b7065-31bb-4181-a7f8-a73bf0c30211" providerId="ADAL" clId="{F05BB0D5-3454-45DC-8378-DA45B79D9A06}" dt="2020-10-02T13:04:35.764" v="4581" actId="790"/>
          <ac:spMkLst>
            <pc:docMk/>
            <pc:sldMk cId="3680184187" sldId="6904"/>
            <ac:spMk id="8" creationId="{CB1BE7F2-FBB2-4FD3-948E-9C8EDCDBA0F1}"/>
          </ac:spMkLst>
        </pc:spChg>
        <pc:spChg chg="mod">
          <ac:chgData name="Ugo MANTEL" userId="2d5b7065-31bb-4181-a7f8-a73bf0c30211" providerId="ADAL" clId="{F05BB0D5-3454-45DC-8378-DA45B79D9A06}" dt="2020-10-02T13:04:35.765" v="4582" actId="790"/>
          <ac:spMkLst>
            <pc:docMk/>
            <pc:sldMk cId="3680184187" sldId="6904"/>
            <ac:spMk id="13" creationId="{9A920738-B5D6-4882-927F-95CB9A426DFC}"/>
          </ac:spMkLst>
        </pc:spChg>
        <pc:spChg chg="mod">
          <ac:chgData name="Ugo MANTEL" userId="2d5b7065-31bb-4181-a7f8-a73bf0c30211" providerId="ADAL" clId="{F05BB0D5-3454-45DC-8378-DA45B79D9A06}" dt="2020-10-02T13:04:35.767" v="4583" actId="790"/>
          <ac:spMkLst>
            <pc:docMk/>
            <pc:sldMk cId="3680184187" sldId="6904"/>
            <ac:spMk id="14" creationId="{30BCEC53-0008-45E0-97B2-9AB15E9B239E}"/>
          </ac:spMkLst>
        </pc:spChg>
        <pc:spChg chg="mod">
          <ac:chgData name="Ugo MANTEL" userId="2d5b7065-31bb-4181-a7f8-a73bf0c30211" providerId="ADAL" clId="{F05BB0D5-3454-45DC-8378-DA45B79D9A06}" dt="2020-10-02T13:04:35.768" v="4584" actId="790"/>
          <ac:spMkLst>
            <pc:docMk/>
            <pc:sldMk cId="3680184187" sldId="6904"/>
            <ac:spMk id="15" creationId="{3DA73A47-CE1D-434B-AC02-B7AB8169D943}"/>
          </ac:spMkLst>
        </pc:spChg>
        <pc:spChg chg="mod">
          <ac:chgData name="Ugo MANTEL" userId="2d5b7065-31bb-4181-a7f8-a73bf0c30211" providerId="ADAL" clId="{F05BB0D5-3454-45DC-8378-DA45B79D9A06}" dt="2020-10-02T13:04:35.769" v="4585" actId="790"/>
          <ac:spMkLst>
            <pc:docMk/>
            <pc:sldMk cId="3680184187" sldId="6904"/>
            <ac:spMk id="18" creationId="{5001A042-B4A7-41DF-8CDE-4B36712F6561}"/>
          </ac:spMkLst>
        </pc:spChg>
        <pc:spChg chg="mod">
          <ac:chgData name="Ugo MANTEL" userId="2d5b7065-31bb-4181-a7f8-a73bf0c30211" providerId="ADAL" clId="{F05BB0D5-3454-45DC-8378-DA45B79D9A06}" dt="2020-10-02T13:04:35.770" v="4586" actId="790"/>
          <ac:spMkLst>
            <pc:docMk/>
            <pc:sldMk cId="3680184187" sldId="6904"/>
            <ac:spMk id="19" creationId="{3AC5671A-30F8-457C-87F8-36E9C58240AC}"/>
          </ac:spMkLst>
        </pc:spChg>
        <pc:spChg chg="mod">
          <ac:chgData name="Ugo MANTEL" userId="2d5b7065-31bb-4181-a7f8-a73bf0c30211" providerId="ADAL" clId="{F05BB0D5-3454-45DC-8378-DA45B79D9A06}" dt="2020-10-02T13:04:35.771" v="4587" actId="790"/>
          <ac:spMkLst>
            <pc:docMk/>
            <pc:sldMk cId="3680184187" sldId="6904"/>
            <ac:spMk id="20" creationId="{789609C3-3020-49E7-8B48-0C59658F34B7}"/>
          </ac:spMkLst>
        </pc:spChg>
        <pc:spChg chg="mod">
          <ac:chgData name="Ugo MANTEL" userId="2d5b7065-31bb-4181-a7f8-a73bf0c30211" providerId="ADAL" clId="{F05BB0D5-3454-45DC-8378-DA45B79D9A06}" dt="2020-10-02T13:04:35.771" v="4588" actId="790"/>
          <ac:spMkLst>
            <pc:docMk/>
            <pc:sldMk cId="3680184187" sldId="6904"/>
            <ac:spMk id="21" creationId="{BCB73F7B-867F-462D-9E73-9DC69AFC2504}"/>
          </ac:spMkLst>
        </pc:spChg>
        <pc:spChg chg="mod">
          <ac:chgData name="Ugo MANTEL" userId="2d5b7065-31bb-4181-a7f8-a73bf0c30211" providerId="ADAL" clId="{F05BB0D5-3454-45DC-8378-DA45B79D9A06}" dt="2020-10-02T13:04:35.772" v="4589" actId="790"/>
          <ac:spMkLst>
            <pc:docMk/>
            <pc:sldMk cId="3680184187" sldId="6904"/>
            <ac:spMk id="29" creationId="{F0C7397F-3669-4DD8-BD2E-7F3B02BFAAD3}"/>
          </ac:spMkLst>
        </pc:spChg>
        <pc:spChg chg="mod">
          <ac:chgData name="Ugo MANTEL" userId="2d5b7065-31bb-4181-a7f8-a73bf0c30211" providerId="ADAL" clId="{F05BB0D5-3454-45DC-8378-DA45B79D9A06}" dt="2020-10-02T13:04:35.777" v="4593" actId="790"/>
          <ac:spMkLst>
            <pc:docMk/>
            <pc:sldMk cId="3680184187" sldId="6904"/>
            <ac:spMk id="35" creationId="{9030E3A4-64D5-46FE-88C9-781622E6C8BE}"/>
          </ac:spMkLst>
        </pc:spChg>
        <pc:spChg chg="mod">
          <ac:chgData name="Ugo MANTEL" userId="2d5b7065-31bb-4181-a7f8-a73bf0c30211" providerId="ADAL" clId="{F05BB0D5-3454-45DC-8378-DA45B79D9A06}" dt="2020-10-02T13:04:35.778" v="4594" actId="790"/>
          <ac:spMkLst>
            <pc:docMk/>
            <pc:sldMk cId="3680184187" sldId="6904"/>
            <ac:spMk id="36" creationId="{A310A392-1F9A-4235-88E1-83BECBB6405B}"/>
          </ac:spMkLst>
        </pc:spChg>
        <pc:spChg chg="mod">
          <ac:chgData name="Ugo MANTEL" userId="2d5b7065-31bb-4181-a7f8-a73bf0c30211" providerId="ADAL" clId="{F05BB0D5-3454-45DC-8378-DA45B79D9A06}" dt="2020-10-02T13:04:35.778" v="4595" actId="790"/>
          <ac:spMkLst>
            <pc:docMk/>
            <pc:sldMk cId="3680184187" sldId="6904"/>
            <ac:spMk id="37" creationId="{05B20301-A3E4-4F23-8F79-22F6CE77B034}"/>
          </ac:spMkLst>
        </pc:spChg>
        <pc:spChg chg="mod">
          <ac:chgData name="Ugo MANTEL" userId="2d5b7065-31bb-4181-a7f8-a73bf0c30211" providerId="ADAL" clId="{F05BB0D5-3454-45DC-8378-DA45B79D9A06}" dt="2020-10-02T13:04:35.773" v="4590" actId="790"/>
          <ac:spMkLst>
            <pc:docMk/>
            <pc:sldMk cId="3680184187" sldId="6904"/>
            <ac:spMk id="38" creationId="{7580506F-E29F-48B9-AE24-3180A854BFEA}"/>
          </ac:spMkLst>
        </pc:spChg>
        <pc:spChg chg="mod">
          <ac:chgData name="Ugo MANTEL" userId="2d5b7065-31bb-4181-a7f8-a73bf0c30211" providerId="ADAL" clId="{F05BB0D5-3454-45DC-8378-DA45B79D9A06}" dt="2020-10-02T13:04:35.774" v="4591" actId="790"/>
          <ac:spMkLst>
            <pc:docMk/>
            <pc:sldMk cId="3680184187" sldId="6904"/>
            <ac:spMk id="39" creationId="{BF82BC3C-134F-4323-AE55-43C4FE4C8D64}"/>
          </ac:spMkLst>
        </pc:spChg>
        <pc:spChg chg="mod">
          <ac:chgData name="Ugo MANTEL" userId="2d5b7065-31bb-4181-a7f8-a73bf0c30211" providerId="ADAL" clId="{F05BB0D5-3454-45DC-8378-DA45B79D9A06}" dt="2020-10-02T13:04:35.774" v="4592" actId="790"/>
          <ac:spMkLst>
            <pc:docMk/>
            <pc:sldMk cId="3680184187" sldId="6904"/>
            <ac:spMk id="40" creationId="{44622D7F-EB4C-42B4-A178-4AF8866DFB94}"/>
          </ac:spMkLst>
        </pc:spChg>
        <pc:spChg chg="mod">
          <ac:chgData name="Ugo MANTEL" userId="2d5b7065-31bb-4181-a7f8-a73bf0c30211" providerId="ADAL" clId="{F05BB0D5-3454-45DC-8378-DA45B79D9A06}" dt="2020-10-02T13:04:35.779" v="4596" actId="790"/>
          <ac:spMkLst>
            <pc:docMk/>
            <pc:sldMk cId="3680184187" sldId="6904"/>
            <ac:spMk id="41" creationId="{E9C70374-E7E4-4CF7-B4ED-4B7D3E7AE5D4}"/>
          </ac:spMkLst>
        </pc:spChg>
      </pc:sldChg>
      <pc:sldChg chg="modSp mod">
        <pc:chgData name="Ugo MANTEL" userId="2d5b7065-31bb-4181-a7f8-a73bf0c30211" providerId="ADAL" clId="{F05BB0D5-3454-45DC-8378-DA45B79D9A06}" dt="2020-10-07T08:32:06.367" v="10670"/>
        <pc:sldMkLst>
          <pc:docMk/>
          <pc:sldMk cId="1343468430" sldId="6909"/>
        </pc:sldMkLst>
        <pc:spChg chg="mod">
          <ac:chgData name="Ugo MANTEL" userId="2d5b7065-31bb-4181-a7f8-a73bf0c30211" providerId="ADAL" clId="{F05BB0D5-3454-45DC-8378-DA45B79D9A06}" dt="2020-10-02T13:04:35.555" v="4408" actId="790"/>
          <ac:spMkLst>
            <pc:docMk/>
            <pc:sldMk cId="1343468430" sldId="6909"/>
            <ac:spMk id="3" creationId="{FBD13BD1-B840-4073-A6D1-1E8723FF6B39}"/>
          </ac:spMkLst>
        </pc:spChg>
        <pc:spChg chg="mod">
          <ac:chgData name="Ugo MANTEL" userId="2d5b7065-31bb-4181-a7f8-a73bf0c30211" providerId="ADAL" clId="{F05BB0D5-3454-45DC-8378-DA45B79D9A06}" dt="2020-10-02T13:04:35.553" v="4407" actId="790"/>
          <ac:spMkLst>
            <pc:docMk/>
            <pc:sldMk cId="1343468430" sldId="6909"/>
            <ac:spMk id="5" creationId="{A1AE1010-4DC4-4E84-B9D3-B2CAA7A78AA4}"/>
          </ac:spMkLst>
        </pc:spChg>
        <pc:spChg chg="mod">
          <ac:chgData name="Ugo MANTEL" userId="2d5b7065-31bb-4181-a7f8-a73bf0c30211" providerId="ADAL" clId="{F05BB0D5-3454-45DC-8378-DA45B79D9A06}" dt="2020-10-02T13:04:35.553" v="4406" actId="790"/>
          <ac:spMkLst>
            <pc:docMk/>
            <pc:sldMk cId="1343468430" sldId="6909"/>
            <ac:spMk id="6" creationId="{A1381AAA-C103-400B-A0E3-B9609C488AF2}"/>
          </ac:spMkLst>
        </pc:spChg>
        <pc:spChg chg="mod">
          <ac:chgData name="Ugo MANTEL" userId="2d5b7065-31bb-4181-a7f8-a73bf0c30211" providerId="ADAL" clId="{F05BB0D5-3454-45DC-8378-DA45B79D9A06}" dt="2020-10-02T13:04:35.558" v="4409" actId="790"/>
          <ac:spMkLst>
            <pc:docMk/>
            <pc:sldMk cId="1343468430" sldId="6909"/>
            <ac:spMk id="8" creationId="{A2AC5C70-8EB5-4F0C-A842-AADC34B04F23}"/>
          </ac:spMkLst>
        </pc:spChg>
        <pc:spChg chg="mod">
          <ac:chgData name="Ugo MANTEL" userId="2d5b7065-31bb-4181-a7f8-a73bf0c30211" providerId="ADAL" clId="{F05BB0D5-3454-45DC-8378-DA45B79D9A06}" dt="2020-10-02T13:04:35.559" v="4410" actId="790"/>
          <ac:spMkLst>
            <pc:docMk/>
            <pc:sldMk cId="1343468430" sldId="6909"/>
            <ac:spMk id="21" creationId="{8DF558A3-1E6B-42C4-BC10-9D27518050F9}"/>
          </ac:spMkLst>
        </pc:spChg>
        <pc:spChg chg="mod">
          <ac:chgData name="Ugo MANTEL" userId="2d5b7065-31bb-4181-a7f8-a73bf0c30211" providerId="ADAL" clId="{F05BB0D5-3454-45DC-8378-DA45B79D9A06}" dt="2020-10-02T13:04:35.561" v="4411" actId="790"/>
          <ac:spMkLst>
            <pc:docMk/>
            <pc:sldMk cId="1343468430" sldId="6909"/>
            <ac:spMk id="32" creationId="{83672DA3-89ED-4CAE-B6D7-22C414ADECA6}"/>
          </ac:spMkLst>
        </pc:spChg>
        <pc:spChg chg="mod">
          <ac:chgData name="Ugo MANTEL" userId="2d5b7065-31bb-4181-a7f8-a73bf0c30211" providerId="ADAL" clId="{F05BB0D5-3454-45DC-8378-DA45B79D9A06}" dt="2020-10-02T13:04:35.569" v="4416" actId="790"/>
          <ac:spMkLst>
            <pc:docMk/>
            <pc:sldMk cId="1343468430" sldId="6909"/>
            <ac:spMk id="53" creationId="{227AA692-D11C-43B6-817A-D6D0C44061E4}"/>
          </ac:spMkLst>
        </pc:spChg>
        <pc:spChg chg="mod">
          <ac:chgData name="Ugo MANTEL" userId="2d5b7065-31bb-4181-a7f8-a73bf0c30211" providerId="ADAL" clId="{F05BB0D5-3454-45DC-8378-DA45B79D9A06}" dt="2020-10-02T13:04:35.564" v="4412" actId="790"/>
          <ac:spMkLst>
            <pc:docMk/>
            <pc:sldMk cId="1343468430" sldId="6909"/>
            <ac:spMk id="72" creationId="{E499FB98-2E6E-4250-9807-166D499E8538}"/>
          </ac:spMkLst>
        </pc:spChg>
        <pc:spChg chg="mod">
          <ac:chgData name="Ugo MANTEL" userId="2d5b7065-31bb-4181-a7f8-a73bf0c30211" providerId="ADAL" clId="{F05BB0D5-3454-45DC-8378-DA45B79D9A06}" dt="2020-10-02T13:04:35.564" v="4413" actId="790"/>
          <ac:spMkLst>
            <pc:docMk/>
            <pc:sldMk cId="1343468430" sldId="6909"/>
            <ac:spMk id="73" creationId="{611CC5DE-9E6F-406B-9595-8EADC6BE87D3}"/>
          </ac:spMkLst>
        </pc:spChg>
        <pc:spChg chg="mod">
          <ac:chgData name="Ugo MANTEL" userId="2d5b7065-31bb-4181-a7f8-a73bf0c30211" providerId="ADAL" clId="{F05BB0D5-3454-45DC-8378-DA45B79D9A06}" dt="2020-10-02T13:04:35.565" v="4414" actId="790"/>
          <ac:spMkLst>
            <pc:docMk/>
            <pc:sldMk cId="1343468430" sldId="6909"/>
            <ac:spMk id="74" creationId="{1B87F58E-127E-4A8A-9DCA-2A0E7E8A3523}"/>
          </ac:spMkLst>
        </pc:spChg>
        <pc:spChg chg="mod">
          <ac:chgData name="Ugo MANTEL" userId="2d5b7065-31bb-4181-a7f8-a73bf0c30211" providerId="ADAL" clId="{F05BB0D5-3454-45DC-8378-DA45B79D9A06}" dt="2020-10-02T13:04:35.566" v="4415" actId="790"/>
          <ac:spMkLst>
            <pc:docMk/>
            <pc:sldMk cId="1343468430" sldId="6909"/>
            <ac:spMk id="75" creationId="{E3A38CC3-64C1-45DB-8C1E-4024EC10CFF5}"/>
          </ac:spMkLst>
        </pc:spChg>
        <pc:graphicFrameChg chg="modGraphic">
          <ac:chgData name="Ugo MANTEL" userId="2d5b7065-31bb-4181-a7f8-a73bf0c30211" providerId="ADAL" clId="{F05BB0D5-3454-45DC-8378-DA45B79D9A06}" dt="2020-10-07T08:32:06.367" v="10670"/>
          <ac:graphicFrameMkLst>
            <pc:docMk/>
            <pc:sldMk cId="1343468430" sldId="6909"/>
            <ac:graphicFrameMk id="33" creationId="{00F23043-58DB-42DB-87F0-DFE1A5A35BA9}"/>
          </ac:graphicFrameMkLst>
        </pc:graphicFrameChg>
      </pc:sldChg>
      <pc:sldChg chg="modSp mod">
        <pc:chgData name="Ugo MANTEL" userId="2d5b7065-31bb-4181-a7f8-a73bf0c30211" providerId="ADAL" clId="{F05BB0D5-3454-45DC-8378-DA45B79D9A06}" dt="2020-10-02T13:04:34.249" v="3149" actId="790"/>
        <pc:sldMkLst>
          <pc:docMk/>
          <pc:sldMk cId="3934374976" sldId="6912"/>
        </pc:sldMkLst>
        <pc:spChg chg="mod">
          <ac:chgData name="Ugo MANTEL" userId="2d5b7065-31bb-4181-a7f8-a73bf0c30211" providerId="ADAL" clId="{F05BB0D5-3454-45DC-8378-DA45B79D9A06}" dt="2020-10-02T13:04:34.219" v="3122" actId="790"/>
          <ac:spMkLst>
            <pc:docMk/>
            <pc:sldMk cId="3934374976" sldId="6912"/>
            <ac:spMk id="3" creationId="{07FBEF58-ABDE-46CD-AE57-454D452DA16B}"/>
          </ac:spMkLst>
        </pc:spChg>
        <pc:spChg chg="mod">
          <ac:chgData name="Ugo MANTEL" userId="2d5b7065-31bb-4181-a7f8-a73bf0c30211" providerId="ADAL" clId="{F05BB0D5-3454-45DC-8378-DA45B79D9A06}" dt="2020-10-02T13:04:34.206" v="3105" actId="790"/>
          <ac:spMkLst>
            <pc:docMk/>
            <pc:sldMk cId="3934374976" sldId="6912"/>
            <ac:spMk id="27" creationId="{BCF466D4-B084-41C3-9F27-7651913F89E4}"/>
          </ac:spMkLst>
        </pc:spChg>
        <pc:spChg chg="mod">
          <ac:chgData name="Ugo MANTEL" userId="2d5b7065-31bb-4181-a7f8-a73bf0c30211" providerId="ADAL" clId="{F05BB0D5-3454-45DC-8378-DA45B79D9A06}" dt="2020-10-02T13:04:34.241" v="3147" actId="790"/>
          <ac:spMkLst>
            <pc:docMk/>
            <pc:sldMk cId="3934374976" sldId="6912"/>
            <ac:spMk id="65" creationId="{6FEA18CF-6BEC-4714-B0B7-0D275F199D5C}"/>
          </ac:spMkLst>
        </pc:spChg>
        <pc:spChg chg="mod">
          <ac:chgData name="Ugo MANTEL" userId="2d5b7065-31bb-4181-a7f8-a73bf0c30211" providerId="ADAL" clId="{F05BB0D5-3454-45DC-8378-DA45B79D9A06}" dt="2020-10-02T13:04:34.245" v="3148" actId="790"/>
          <ac:spMkLst>
            <pc:docMk/>
            <pc:sldMk cId="3934374976" sldId="6912"/>
            <ac:spMk id="75" creationId="{A1E3958F-10D0-487C-AD6E-75EAF2B47E46}"/>
          </ac:spMkLst>
        </pc:spChg>
        <pc:spChg chg="mod">
          <ac:chgData name="Ugo MANTEL" userId="2d5b7065-31bb-4181-a7f8-a73bf0c30211" providerId="ADAL" clId="{F05BB0D5-3454-45DC-8378-DA45B79D9A06}" dt="2020-10-02T13:04:34.249" v="3149" actId="790"/>
          <ac:spMkLst>
            <pc:docMk/>
            <pc:sldMk cId="3934374976" sldId="6912"/>
            <ac:spMk id="85" creationId="{4ED190C1-98FE-4B0F-9B51-0DB648D79EC3}"/>
          </ac:spMkLst>
        </pc:spChg>
        <pc:spChg chg="mod">
          <ac:chgData name="Ugo MANTEL" userId="2d5b7065-31bb-4181-a7f8-a73bf0c30211" providerId="ADAL" clId="{F05BB0D5-3454-45DC-8378-DA45B79D9A06}" dt="2020-10-02T13:04:34.220" v="3123" actId="790"/>
          <ac:spMkLst>
            <pc:docMk/>
            <pc:sldMk cId="3934374976" sldId="6912"/>
            <ac:spMk id="98" creationId="{2BE66DEC-48D7-4CD4-B4A1-1D96FC180F35}"/>
          </ac:spMkLst>
        </pc:spChg>
        <pc:spChg chg="mod">
          <ac:chgData name="Ugo MANTEL" userId="2d5b7065-31bb-4181-a7f8-a73bf0c30211" providerId="ADAL" clId="{F05BB0D5-3454-45DC-8378-DA45B79D9A06}" dt="2020-10-02T13:04:34.240" v="3145" actId="790"/>
          <ac:spMkLst>
            <pc:docMk/>
            <pc:sldMk cId="3934374976" sldId="6912"/>
            <ac:spMk id="120" creationId="{12219009-295D-48D2-A6A0-222739EE3FA1}"/>
          </ac:spMkLst>
        </pc:spChg>
        <pc:spChg chg="mod">
          <ac:chgData name="Ugo MANTEL" userId="2d5b7065-31bb-4181-a7f8-a73bf0c30211" providerId="ADAL" clId="{F05BB0D5-3454-45DC-8378-DA45B79D9A06}" dt="2020-10-02T13:04:34.237" v="3141" actId="790"/>
          <ac:spMkLst>
            <pc:docMk/>
            <pc:sldMk cId="3934374976" sldId="6912"/>
            <ac:spMk id="121" creationId="{76382C05-A4C1-4077-86DB-0CC06D69DB41}"/>
          </ac:spMkLst>
        </pc:spChg>
        <pc:spChg chg="mod">
          <ac:chgData name="Ugo MANTEL" userId="2d5b7065-31bb-4181-a7f8-a73bf0c30211" providerId="ADAL" clId="{F05BB0D5-3454-45DC-8378-DA45B79D9A06}" dt="2020-10-02T13:04:34.238" v="3142" actId="790"/>
          <ac:spMkLst>
            <pc:docMk/>
            <pc:sldMk cId="3934374976" sldId="6912"/>
            <ac:spMk id="122" creationId="{67EA3C39-2888-49F7-B756-13407EF264B9}"/>
          </ac:spMkLst>
        </pc:spChg>
        <pc:spChg chg="mod">
          <ac:chgData name="Ugo MANTEL" userId="2d5b7065-31bb-4181-a7f8-a73bf0c30211" providerId="ADAL" clId="{F05BB0D5-3454-45DC-8378-DA45B79D9A06}" dt="2020-10-02T13:04:34.220" v="3124" actId="790"/>
          <ac:spMkLst>
            <pc:docMk/>
            <pc:sldMk cId="3934374976" sldId="6912"/>
            <ac:spMk id="129" creationId="{B2A63ABA-5E66-4F91-A9EF-C9B155239482}"/>
          </ac:spMkLst>
        </pc:spChg>
        <pc:spChg chg="mod">
          <ac:chgData name="Ugo MANTEL" userId="2d5b7065-31bb-4181-a7f8-a73bf0c30211" providerId="ADAL" clId="{F05BB0D5-3454-45DC-8378-DA45B79D9A06}" dt="2020-10-02T13:04:34.221" v="3125" actId="790"/>
          <ac:spMkLst>
            <pc:docMk/>
            <pc:sldMk cId="3934374976" sldId="6912"/>
            <ac:spMk id="131" creationId="{AE935E47-C1CA-4810-91F8-616A44B02F3C}"/>
          </ac:spMkLst>
        </pc:spChg>
        <pc:spChg chg="mod">
          <ac:chgData name="Ugo MANTEL" userId="2d5b7065-31bb-4181-a7f8-a73bf0c30211" providerId="ADAL" clId="{F05BB0D5-3454-45DC-8378-DA45B79D9A06}" dt="2020-10-02T13:04:34.222" v="3126" actId="790"/>
          <ac:spMkLst>
            <pc:docMk/>
            <pc:sldMk cId="3934374976" sldId="6912"/>
            <ac:spMk id="133" creationId="{0CC97725-05BE-42A2-AEA0-FDAA75F0982C}"/>
          </ac:spMkLst>
        </pc:spChg>
        <pc:spChg chg="mod">
          <ac:chgData name="Ugo MANTEL" userId="2d5b7065-31bb-4181-a7f8-a73bf0c30211" providerId="ADAL" clId="{F05BB0D5-3454-45DC-8378-DA45B79D9A06}" dt="2020-10-02T13:04:34.222" v="3127" actId="790"/>
          <ac:spMkLst>
            <pc:docMk/>
            <pc:sldMk cId="3934374976" sldId="6912"/>
            <ac:spMk id="135" creationId="{915C00E5-F5AA-421A-8E91-9F97AA4E54AD}"/>
          </ac:spMkLst>
        </pc:spChg>
        <pc:spChg chg="mod">
          <ac:chgData name="Ugo MANTEL" userId="2d5b7065-31bb-4181-a7f8-a73bf0c30211" providerId="ADAL" clId="{F05BB0D5-3454-45DC-8378-DA45B79D9A06}" dt="2020-10-02T13:04:34.224" v="3128" actId="790"/>
          <ac:spMkLst>
            <pc:docMk/>
            <pc:sldMk cId="3934374976" sldId="6912"/>
            <ac:spMk id="136" creationId="{68A8568C-485E-444C-9D8E-58608F263EC6}"/>
          </ac:spMkLst>
        </pc:spChg>
        <pc:spChg chg="mod">
          <ac:chgData name="Ugo MANTEL" userId="2d5b7065-31bb-4181-a7f8-a73bf0c30211" providerId="ADAL" clId="{F05BB0D5-3454-45DC-8378-DA45B79D9A06}" dt="2020-10-02T13:04:34.225" v="3129" actId="790"/>
          <ac:spMkLst>
            <pc:docMk/>
            <pc:sldMk cId="3934374976" sldId="6912"/>
            <ac:spMk id="137" creationId="{2D667BFC-58E3-4009-915D-F740CB005DBD}"/>
          </ac:spMkLst>
        </pc:spChg>
        <pc:spChg chg="mod">
          <ac:chgData name="Ugo MANTEL" userId="2d5b7065-31bb-4181-a7f8-a73bf0c30211" providerId="ADAL" clId="{F05BB0D5-3454-45DC-8378-DA45B79D9A06}" dt="2020-10-02T13:04:34.227" v="3130" actId="790"/>
          <ac:spMkLst>
            <pc:docMk/>
            <pc:sldMk cId="3934374976" sldId="6912"/>
            <ac:spMk id="139" creationId="{10C0D61E-2E74-41BC-9AEC-253B01A45AF5}"/>
          </ac:spMkLst>
        </pc:spChg>
        <pc:spChg chg="mod">
          <ac:chgData name="Ugo MANTEL" userId="2d5b7065-31bb-4181-a7f8-a73bf0c30211" providerId="ADAL" clId="{F05BB0D5-3454-45DC-8378-DA45B79D9A06}" dt="2020-10-02T13:04:34.228" v="3131" actId="790"/>
          <ac:spMkLst>
            <pc:docMk/>
            <pc:sldMk cId="3934374976" sldId="6912"/>
            <ac:spMk id="140" creationId="{4271542B-8683-4A6F-A817-39565E846FDF}"/>
          </ac:spMkLst>
        </pc:spChg>
        <pc:spChg chg="mod">
          <ac:chgData name="Ugo MANTEL" userId="2d5b7065-31bb-4181-a7f8-a73bf0c30211" providerId="ADAL" clId="{F05BB0D5-3454-45DC-8378-DA45B79D9A06}" dt="2020-10-02T13:04:34.228" v="3132" actId="790"/>
          <ac:spMkLst>
            <pc:docMk/>
            <pc:sldMk cId="3934374976" sldId="6912"/>
            <ac:spMk id="141" creationId="{2F21CF39-C71B-4696-B910-494DAFAE9CF3}"/>
          </ac:spMkLst>
        </pc:spChg>
        <pc:spChg chg="mod">
          <ac:chgData name="Ugo MANTEL" userId="2d5b7065-31bb-4181-a7f8-a73bf0c30211" providerId="ADAL" clId="{F05BB0D5-3454-45DC-8378-DA45B79D9A06}" dt="2020-10-02T13:04:34.229" v="3133" actId="790"/>
          <ac:spMkLst>
            <pc:docMk/>
            <pc:sldMk cId="3934374976" sldId="6912"/>
            <ac:spMk id="142" creationId="{1B0C15D4-DD62-4586-B983-9C9862D852F8}"/>
          </ac:spMkLst>
        </pc:spChg>
        <pc:spChg chg="mod">
          <ac:chgData name="Ugo MANTEL" userId="2d5b7065-31bb-4181-a7f8-a73bf0c30211" providerId="ADAL" clId="{F05BB0D5-3454-45DC-8378-DA45B79D9A06}" dt="2020-10-02T13:04:34.230" v="3134" actId="790"/>
          <ac:spMkLst>
            <pc:docMk/>
            <pc:sldMk cId="3934374976" sldId="6912"/>
            <ac:spMk id="143" creationId="{1D0A0C96-E1FA-4DD4-9C5A-D28965594E82}"/>
          </ac:spMkLst>
        </pc:spChg>
        <pc:spChg chg="mod">
          <ac:chgData name="Ugo MANTEL" userId="2d5b7065-31bb-4181-a7f8-a73bf0c30211" providerId="ADAL" clId="{F05BB0D5-3454-45DC-8378-DA45B79D9A06}" dt="2020-10-02T13:04:34.231" v="3135" actId="790"/>
          <ac:spMkLst>
            <pc:docMk/>
            <pc:sldMk cId="3934374976" sldId="6912"/>
            <ac:spMk id="145" creationId="{DD150F1D-EDAC-4FDD-80D7-A533BAC21BBB}"/>
          </ac:spMkLst>
        </pc:spChg>
        <pc:spChg chg="mod">
          <ac:chgData name="Ugo MANTEL" userId="2d5b7065-31bb-4181-a7f8-a73bf0c30211" providerId="ADAL" clId="{F05BB0D5-3454-45DC-8378-DA45B79D9A06}" dt="2020-10-02T13:04:34.231" v="3136" actId="790"/>
          <ac:spMkLst>
            <pc:docMk/>
            <pc:sldMk cId="3934374976" sldId="6912"/>
            <ac:spMk id="146" creationId="{4CF640E5-677B-445A-B8D6-CE1D716DEFC1}"/>
          </ac:spMkLst>
        </pc:spChg>
        <pc:spChg chg="mod">
          <ac:chgData name="Ugo MANTEL" userId="2d5b7065-31bb-4181-a7f8-a73bf0c30211" providerId="ADAL" clId="{F05BB0D5-3454-45DC-8378-DA45B79D9A06}" dt="2020-10-02T13:04:34.233" v="3137" actId="790"/>
          <ac:spMkLst>
            <pc:docMk/>
            <pc:sldMk cId="3934374976" sldId="6912"/>
            <ac:spMk id="147" creationId="{E881CAE9-A27F-4ADA-83BA-9C4B838E7CF1}"/>
          </ac:spMkLst>
        </pc:spChg>
        <pc:spChg chg="mod">
          <ac:chgData name="Ugo MANTEL" userId="2d5b7065-31bb-4181-a7f8-a73bf0c30211" providerId="ADAL" clId="{F05BB0D5-3454-45DC-8378-DA45B79D9A06}" dt="2020-10-02T13:04:34.234" v="3138" actId="790"/>
          <ac:spMkLst>
            <pc:docMk/>
            <pc:sldMk cId="3934374976" sldId="6912"/>
            <ac:spMk id="149" creationId="{FDD90AFC-5DA8-4C92-AD8E-A999EA225E8E}"/>
          </ac:spMkLst>
        </pc:spChg>
        <pc:spChg chg="mod">
          <ac:chgData name="Ugo MANTEL" userId="2d5b7065-31bb-4181-a7f8-a73bf0c30211" providerId="ADAL" clId="{F05BB0D5-3454-45DC-8378-DA45B79D9A06}" dt="2020-10-02T13:04:34.234" v="3139" actId="790"/>
          <ac:spMkLst>
            <pc:docMk/>
            <pc:sldMk cId="3934374976" sldId="6912"/>
            <ac:spMk id="150" creationId="{80A5D2DA-BEB7-45F8-BD92-8132C9E7010B}"/>
          </ac:spMkLst>
        </pc:spChg>
        <pc:spChg chg="mod">
          <ac:chgData name="Ugo MANTEL" userId="2d5b7065-31bb-4181-a7f8-a73bf0c30211" providerId="ADAL" clId="{F05BB0D5-3454-45DC-8378-DA45B79D9A06}" dt="2020-10-02T13:04:34.236" v="3140" actId="790"/>
          <ac:spMkLst>
            <pc:docMk/>
            <pc:sldMk cId="3934374976" sldId="6912"/>
            <ac:spMk id="151" creationId="{2FEEB8E0-6F0A-4E6F-8161-8BE9348A65A9}"/>
          </ac:spMkLst>
        </pc:spChg>
        <pc:spChg chg="mod">
          <ac:chgData name="Ugo MANTEL" userId="2d5b7065-31bb-4181-a7f8-a73bf0c30211" providerId="ADAL" clId="{F05BB0D5-3454-45DC-8378-DA45B79D9A06}" dt="2020-10-02T13:04:34.238" v="3143" actId="790"/>
          <ac:spMkLst>
            <pc:docMk/>
            <pc:sldMk cId="3934374976" sldId="6912"/>
            <ac:spMk id="155" creationId="{1BFA263A-40B9-43CF-8752-2FEB41A0B0E6}"/>
          </ac:spMkLst>
        </pc:spChg>
        <pc:spChg chg="mod">
          <ac:chgData name="Ugo MANTEL" userId="2d5b7065-31bb-4181-a7f8-a73bf0c30211" providerId="ADAL" clId="{F05BB0D5-3454-45DC-8378-DA45B79D9A06}" dt="2020-10-02T13:04:34.239" v="3144" actId="790"/>
          <ac:spMkLst>
            <pc:docMk/>
            <pc:sldMk cId="3934374976" sldId="6912"/>
            <ac:spMk id="156" creationId="{E839D39D-EBD4-47E6-9098-51CED7362C89}"/>
          </ac:spMkLst>
        </pc:spChg>
        <pc:spChg chg="mod">
          <ac:chgData name="Ugo MANTEL" userId="2d5b7065-31bb-4181-a7f8-a73bf0c30211" providerId="ADAL" clId="{F05BB0D5-3454-45DC-8378-DA45B79D9A06}" dt="2020-10-02T13:04:34.206" v="3106" actId="790"/>
          <ac:spMkLst>
            <pc:docMk/>
            <pc:sldMk cId="3934374976" sldId="6912"/>
            <ac:spMk id="174" creationId="{CD37F329-5ED3-45EF-9995-662E73CF4555}"/>
          </ac:spMkLst>
        </pc:spChg>
        <pc:spChg chg="mod">
          <ac:chgData name="Ugo MANTEL" userId="2d5b7065-31bb-4181-a7f8-a73bf0c30211" providerId="ADAL" clId="{F05BB0D5-3454-45DC-8378-DA45B79D9A06}" dt="2020-10-02T13:04:34.207" v="3107" actId="790"/>
          <ac:spMkLst>
            <pc:docMk/>
            <pc:sldMk cId="3934374976" sldId="6912"/>
            <ac:spMk id="175" creationId="{DB41871F-C83B-4E6D-BD7F-511DC9483CE6}"/>
          </ac:spMkLst>
        </pc:spChg>
        <pc:spChg chg="mod">
          <ac:chgData name="Ugo MANTEL" userId="2d5b7065-31bb-4181-a7f8-a73bf0c30211" providerId="ADAL" clId="{F05BB0D5-3454-45DC-8378-DA45B79D9A06}" dt="2020-10-02T13:04:34.208" v="3108" actId="790"/>
          <ac:spMkLst>
            <pc:docMk/>
            <pc:sldMk cId="3934374976" sldId="6912"/>
            <ac:spMk id="178" creationId="{8DE59FD4-3060-4BF6-8614-F8BB360C9640}"/>
          </ac:spMkLst>
        </pc:spChg>
        <pc:spChg chg="mod">
          <ac:chgData name="Ugo MANTEL" userId="2d5b7065-31bb-4181-a7f8-a73bf0c30211" providerId="ADAL" clId="{F05BB0D5-3454-45DC-8378-DA45B79D9A06}" dt="2020-10-02T13:04:34.208" v="3109" actId="790"/>
          <ac:spMkLst>
            <pc:docMk/>
            <pc:sldMk cId="3934374976" sldId="6912"/>
            <ac:spMk id="183" creationId="{B63EB87C-6CA7-4D30-9724-5B3DBCC86EE7}"/>
          </ac:spMkLst>
        </pc:spChg>
        <pc:spChg chg="mod">
          <ac:chgData name="Ugo MANTEL" userId="2d5b7065-31bb-4181-a7f8-a73bf0c30211" providerId="ADAL" clId="{F05BB0D5-3454-45DC-8378-DA45B79D9A06}" dt="2020-10-02T13:04:34.209" v="3110" actId="790"/>
          <ac:spMkLst>
            <pc:docMk/>
            <pc:sldMk cId="3934374976" sldId="6912"/>
            <ac:spMk id="185" creationId="{B992FE53-237B-44A5-B61D-9A72C3E3A819}"/>
          </ac:spMkLst>
        </pc:spChg>
        <pc:spChg chg="mod">
          <ac:chgData name="Ugo MANTEL" userId="2d5b7065-31bb-4181-a7f8-a73bf0c30211" providerId="ADAL" clId="{F05BB0D5-3454-45DC-8378-DA45B79D9A06}" dt="2020-10-02T13:04:34.210" v="3111" actId="790"/>
          <ac:spMkLst>
            <pc:docMk/>
            <pc:sldMk cId="3934374976" sldId="6912"/>
            <ac:spMk id="186" creationId="{41BC4A72-069C-45AD-A025-49C2EB13BBF0}"/>
          </ac:spMkLst>
        </pc:spChg>
        <pc:spChg chg="mod">
          <ac:chgData name="Ugo MANTEL" userId="2d5b7065-31bb-4181-a7f8-a73bf0c30211" providerId="ADAL" clId="{F05BB0D5-3454-45DC-8378-DA45B79D9A06}" dt="2020-10-02T13:04:34.210" v="3112" actId="790"/>
          <ac:spMkLst>
            <pc:docMk/>
            <pc:sldMk cId="3934374976" sldId="6912"/>
            <ac:spMk id="187" creationId="{8AC0612E-5ACA-4A9C-91EA-166F25496478}"/>
          </ac:spMkLst>
        </pc:spChg>
        <pc:spChg chg="mod">
          <ac:chgData name="Ugo MANTEL" userId="2d5b7065-31bb-4181-a7f8-a73bf0c30211" providerId="ADAL" clId="{F05BB0D5-3454-45DC-8378-DA45B79D9A06}" dt="2020-10-02T13:04:34.211" v="3113" actId="790"/>
          <ac:spMkLst>
            <pc:docMk/>
            <pc:sldMk cId="3934374976" sldId="6912"/>
            <ac:spMk id="188" creationId="{A19E658A-EE43-4A51-9630-8B1FA5DF62D9}"/>
          </ac:spMkLst>
        </pc:spChg>
        <pc:spChg chg="mod">
          <ac:chgData name="Ugo MANTEL" userId="2d5b7065-31bb-4181-a7f8-a73bf0c30211" providerId="ADAL" clId="{F05BB0D5-3454-45DC-8378-DA45B79D9A06}" dt="2020-10-02T13:04:34.212" v="3114" actId="790"/>
          <ac:spMkLst>
            <pc:docMk/>
            <pc:sldMk cId="3934374976" sldId="6912"/>
            <ac:spMk id="189" creationId="{B2BD41EB-993D-417F-9F82-060CF07EE697}"/>
          </ac:spMkLst>
        </pc:spChg>
        <pc:spChg chg="mod">
          <ac:chgData name="Ugo MANTEL" userId="2d5b7065-31bb-4181-a7f8-a73bf0c30211" providerId="ADAL" clId="{F05BB0D5-3454-45DC-8378-DA45B79D9A06}" dt="2020-10-02T13:04:34.212" v="3115" actId="790"/>
          <ac:spMkLst>
            <pc:docMk/>
            <pc:sldMk cId="3934374976" sldId="6912"/>
            <ac:spMk id="190" creationId="{1AF18A29-A177-4251-A35D-0AB97F51431F}"/>
          </ac:spMkLst>
        </pc:spChg>
        <pc:spChg chg="mod">
          <ac:chgData name="Ugo MANTEL" userId="2d5b7065-31bb-4181-a7f8-a73bf0c30211" providerId="ADAL" clId="{F05BB0D5-3454-45DC-8378-DA45B79D9A06}" dt="2020-10-02T13:04:34.213" v="3116" actId="790"/>
          <ac:spMkLst>
            <pc:docMk/>
            <pc:sldMk cId="3934374976" sldId="6912"/>
            <ac:spMk id="191" creationId="{29B9A966-50F5-44EE-A41D-9D529487D5D4}"/>
          </ac:spMkLst>
        </pc:spChg>
        <pc:spChg chg="mod">
          <ac:chgData name="Ugo MANTEL" userId="2d5b7065-31bb-4181-a7f8-a73bf0c30211" providerId="ADAL" clId="{F05BB0D5-3454-45DC-8378-DA45B79D9A06}" dt="2020-10-02T13:04:34.214" v="3117" actId="790"/>
          <ac:spMkLst>
            <pc:docMk/>
            <pc:sldMk cId="3934374976" sldId="6912"/>
            <ac:spMk id="192" creationId="{199C6786-B7D8-4AE5-9175-5F0D15752F25}"/>
          </ac:spMkLst>
        </pc:spChg>
        <pc:spChg chg="mod">
          <ac:chgData name="Ugo MANTEL" userId="2d5b7065-31bb-4181-a7f8-a73bf0c30211" providerId="ADAL" clId="{F05BB0D5-3454-45DC-8378-DA45B79D9A06}" dt="2020-10-02T13:04:34.215" v="3118" actId="790"/>
          <ac:spMkLst>
            <pc:docMk/>
            <pc:sldMk cId="3934374976" sldId="6912"/>
            <ac:spMk id="193" creationId="{267E65C0-6CAD-4211-BA53-CDDAF0A32DF1}"/>
          </ac:spMkLst>
        </pc:spChg>
        <pc:spChg chg="mod">
          <ac:chgData name="Ugo MANTEL" userId="2d5b7065-31bb-4181-a7f8-a73bf0c30211" providerId="ADAL" clId="{F05BB0D5-3454-45DC-8378-DA45B79D9A06}" dt="2020-10-02T13:04:34.215" v="3119" actId="790"/>
          <ac:spMkLst>
            <pc:docMk/>
            <pc:sldMk cId="3934374976" sldId="6912"/>
            <ac:spMk id="195" creationId="{FBC8FF1A-D1CC-413D-9E50-902C61359586}"/>
          </ac:spMkLst>
        </pc:spChg>
        <pc:spChg chg="mod">
          <ac:chgData name="Ugo MANTEL" userId="2d5b7065-31bb-4181-a7f8-a73bf0c30211" providerId="ADAL" clId="{F05BB0D5-3454-45DC-8378-DA45B79D9A06}" dt="2020-10-02T13:04:34.216" v="3120" actId="790"/>
          <ac:spMkLst>
            <pc:docMk/>
            <pc:sldMk cId="3934374976" sldId="6912"/>
            <ac:spMk id="197" creationId="{9628E998-CF3E-42BC-AD83-E0B749468D4F}"/>
          </ac:spMkLst>
        </pc:spChg>
        <pc:spChg chg="mod">
          <ac:chgData name="Ugo MANTEL" userId="2d5b7065-31bb-4181-a7f8-a73bf0c30211" providerId="ADAL" clId="{F05BB0D5-3454-45DC-8378-DA45B79D9A06}" dt="2020-10-02T13:04:34.217" v="3121" actId="790"/>
          <ac:spMkLst>
            <pc:docMk/>
            <pc:sldMk cId="3934374976" sldId="6912"/>
            <ac:spMk id="199" creationId="{716F9EC4-5445-44E3-BD68-6C95E9C1F53D}"/>
          </ac:spMkLst>
        </pc:spChg>
        <pc:spChg chg="mod">
          <ac:chgData name="Ugo MANTEL" userId="2d5b7065-31bb-4181-a7f8-a73bf0c30211" providerId="ADAL" clId="{F05BB0D5-3454-45DC-8378-DA45B79D9A06}" dt="2020-10-02T13:04:34.240" v="3146" actId="790"/>
          <ac:spMkLst>
            <pc:docMk/>
            <pc:sldMk cId="3934374976" sldId="6912"/>
            <ac:spMk id="203" creationId="{51661A47-EB9A-497A-A368-1332B35B9C56}"/>
          </ac:spMkLst>
        </pc:spChg>
      </pc:sldChg>
      <pc:sldChg chg="modSp mod">
        <pc:chgData name="Ugo MANTEL" userId="2d5b7065-31bb-4181-a7f8-a73bf0c30211" providerId="ADAL" clId="{F05BB0D5-3454-45DC-8378-DA45B79D9A06}" dt="2020-10-02T13:04:32.809" v="1708" actId="790"/>
        <pc:sldMkLst>
          <pc:docMk/>
          <pc:sldMk cId="1707520117" sldId="6914"/>
        </pc:sldMkLst>
        <pc:spChg chg="mod">
          <ac:chgData name="Ugo MANTEL" userId="2d5b7065-31bb-4181-a7f8-a73bf0c30211" providerId="ADAL" clId="{F05BB0D5-3454-45DC-8378-DA45B79D9A06}" dt="2020-10-02T13:04:32.774" v="1673" actId="790"/>
          <ac:spMkLst>
            <pc:docMk/>
            <pc:sldMk cId="1707520117" sldId="6914"/>
            <ac:spMk id="2" creationId="{6F4C6763-9444-44CD-BB49-8335E9628891}"/>
          </ac:spMkLst>
        </pc:spChg>
        <pc:spChg chg="mod">
          <ac:chgData name="Ugo MANTEL" userId="2d5b7065-31bb-4181-a7f8-a73bf0c30211" providerId="ADAL" clId="{F05BB0D5-3454-45DC-8378-DA45B79D9A06}" dt="2020-10-02T13:04:32.777" v="1675" actId="790"/>
          <ac:spMkLst>
            <pc:docMk/>
            <pc:sldMk cId="1707520117" sldId="6914"/>
            <ac:spMk id="4" creationId="{F359B0C1-3D34-4535-B418-F4885A9AC31D}"/>
          </ac:spMkLst>
        </pc:spChg>
        <pc:spChg chg="mod">
          <ac:chgData name="Ugo MANTEL" userId="2d5b7065-31bb-4181-a7f8-a73bf0c30211" providerId="ADAL" clId="{F05BB0D5-3454-45DC-8378-DA45B79D9A06}" dt="2020-10-02T13:04:32.777" v="1676" actId="790"/>
          <ac:spMkLst>
            <pc:docMk/>
            <pc:sldMk cId="1707520117" sldId="6914"/>
            <ac:spMk id="14" creationId="{52B0305F-B6B5-4DCF-8E0A-D7F7316DEBAA}"/>
          </ac:spMkLst>
        </pc:spChg>
        <pc:spChg chg="mod">
          <ac:chgData name="Ugo MANTEL" userId="2d5b7065-31bb-4181-a7f8-a73bf0c30211" providerId="ADAL" clId="{F05BB0D5-3454-45DC-8378-DA45B79D9A06}" dt="2020-10-02T13:04:32.781" v="1681" actId="790"/>
          <ac:spMkLst>
            <pc:docMk/>
            <pc:sldMk cId="1707520117" sldId="6914"/>
            <ac:spMk id="15" creationId="{3E2D710E-1165-4241-AC9E-DA704FCD5FBB}"/>
          </ac:spMkLst>
        </pc:spChg>
        <pc:spChg chg="mod">
          <ac:chgData name="Ugo MANTEL" userId="2d5b7065-31bb-4181-a7f8-a73bf0c30211" providerId="ADAL" clId="{F05BB0D5-3454-45DC-8378-DA45B79D9A06}" dt="2020-10-02T13:04:32.775" v="1674" actId="790"/>
          <ac:spMkLst>
            <pc:docMk/>
            <pc:sldMk cId="1707520117" sldId="6914"/>
            <ac:spMk id="47" creationId="{81FD8FE6-A690-4079-A07E-E888E0853879}"/>
          </ac:spMkLst>
        </pc:spChg>
        <pc:spChg chg="mod">
          <ac:chgData name="Ugo MANTEL" userId="2d5b7065-31bb-4181-a7f8-a73bf0c30211" providerId="ADAL" clId="{F05BB0D5-3454-45DC-8378-DA45B79D9A06}" dt="2020-10-02T13:04:32.809" v="1708" actId="790"/>
          <ac:spMkLst>
            <pc:docMk/>
            <pc:sldMk cId="1707520117" sldId="6914"/>
            <ac:spMk id="50" creationId="{0CA0195D-0498-432D-9356-151B362F619C}"/>
          </ac:spMkLst>
        </pc:spChg>
        <pc:spChg chg="mod">
          <ac:chgData name="Ugo MANTEL" userId="2d5b7065-31bb-4181-a7f8-a73bf0c30211" providerId="ADAL" clId="{F05BB0D5-3454-45DC-8378-DA45B79D9A06}" dt="2020-10-02T13:04:32.806" v="1704" actId="790"/>
          <ac:spMkLst>
            <pc:docMk/>
            <pc:sldMk cId="1707520117" sldId="6914"/>
            <ac:spMk id="52" creationId="{84C3F1F5-BC50-4B35-9109-CA2A9E203682}"/>
          </ac:spMkLst>
        </pc:spChg>
        <pc:spChg chg="mod">
          <ac:chgData name="Ugo MANTEL" userId="2d5b7065-31bb-4181-a7f8-a73bf0c30211" providerId="ADAL" clId="{F05BB0D5-3454-45DC-8378-DA45B79D9A06}" dt="2020-10-02T13:04:32.807" v="1705" actId="790"/>
          <ac:spMkLst>
            <pc:docMk/>
            <pc:sldMk cId="1707520117" sldId="6914"/>
            <ac:spMk id="54" creationId="{A85970AF-44D7-4BD4-9DA2-EAC9263C82A9}"/>
          </ac:spMkLst>
        </pc:spChg>
        <pc:spChg chg="mod">
          <ac:chgData name="Ugo MANTEL" userId="2d5b7065-31bb-4181-a7f8-a73bf0c30211" providerId="ADAL" clId="{F05BB0D5-3454-45DC-8378-DA45B79D9A06}" dt="2020-10-02T13:04:32.779" v="1678" actId="790"/>
          <ac:spMkLst>
            <pc:docMk/>
            <pc:sldMk cId="1707520117" sldId="6914"/>
            <ac:spMk id="55" creationId="{F6009FCD-45E6-4097-A4BB-61D5A876F2C6}"/>
          </ac:spMkLst>
        </pc:spChg>
        <pc:spChg chg="mod">
          <ac:chgData name="Ugo MANTEL" userId="2d5b7065-31bb-4181-a7f8-a73bf0c30211" providerId="ADAL" clId="{F05BB0D5-3454-45DC-8378-DA45B79D9A06}" dt="2020-10-02T13:04:32.808" v="1706" actId="790"/>
          <ac:spMkLst>
            <pc:docMk/>
            <pc:sldMk cId="1707520117" sldId="6914"/>
            <ac:spMk id="56" creationId="{FAD43092-2FCF-40F8-B672-9A82C3BDF5A2}"/>
          </ac:spMkLst>
        </pc:spChg>
        <pc:spChg chg="mod">
          <ac:chgData name="Ugo MANTEL" userId="2d5b7065-31bb-4181-a7f8-a73bf0c30211" providerId="ADAL" clId="{F05BB0D5-3454-45DC-8378-DA45B79D9A06}" dt="2020-10-02T13:04:32.808" v="1707" actId="790"/>
          <ac:spMkLst>
            <pc:docMk/>
            <pc:sldMk cId="1707520117" sldId="6914"/>
            <ac:spMk id="57" creationId="{ACCD971D-361C-4B66-90CB-7CE477E3D39D}"/>
          </ac:spMkLst>
        </pc:spChg>
        <pc:spChg chg="mod">
          <ac:chgData name="Ugo MANTEL" userId="2d5b7065-31bb-4181-a7f8-a73bf0c30211" providerId="ADAL" clId="{F05BB0D5-3454-45DC-8378-DA45B79D9A06}" dt="2020-10-02T13:04:32.779" v="1679" actId="790"/>
          <ac:spMkLst>
            <pc:docMk/>
            <pc:sldMk cId="1707520117" sldId="6914"/>
            <ac:spMk id="61" creationId="{47FED896-1B34-4337-8D2A-48603B8083E0}"/>
          </ac:spMkLst>
        </pc:spChg>
        <pc:spChg chg="mod">
          <ac:chgData name="Ugo MANTEL" userId="2d5b7065-31bb-4181-a7f8-a73bf0c30211" providerId="ADAL" clId="{F05BB0D5-3454-45DC-8378-DA45B79D9A06}" dt="2020-10-02T13:04:32.780" v="1680" actId="790"/>
          <ac:spMkLst>
            <pc:docMk/>
            <pc:sldMk cId="1707520117" sldId="6914"/>
            <ac:spMk id="70" creationId="{6EBBB04F-E272-4187-81B2-F0A9156B9E36}"/>
          </ac:spMkLst>
        </pc:spChg>
        <pc:spChg chg="mod">
          <ac:chgData name="Ugo MANTEL" userId="2d5b7065-31bb-4181-a7f8-a73bf0c30211" providerId="ADAL" clId="{F05BB0D5-3454-45DC-8378-DA45B79D9A06}" dt="2020-10-02T13:04:32.781" v="1682" actId="790"/>
          <ac:spMkLst>
            <pc:docMk/>
            <pc:sldMk cId="1707520117" sldId="6914"/>
            <ac:spMk id="73" creationId="{9456D184-C532-4BF8-BF80-3E0DECEF2DEE}"/>
          </ac:spMkLst>
        </pc:spChg>
        <pc:spChg chg="mod">
          <ac:chgData name="Ugo MANTEL" userId="2d5b7065-31bb-4181-a7f8-a73bf0c30211" providerId="ADAL" clId="{F05BB0D5-3454-45DC-8378-DA45B79D9A06}" dt="2020-10-02T13:04:32.782" v="1683" actId="790"/>
          <ac:spMkLst>
            <pc:docMk/>
            <pc:sldMk cId="1707520117" sldId="6914"/>
            <ac:spMk id="74" creationId="{A5249D78-C581-43FE-A837-31049461C70A}"/>
          </ac:spMkLst>
        </pc:spChg>
        <pc:spChg chg="mod">
          <ac:chgData name="Ugo MANTEL" userId="2d5b7065-31bb-4181-a7f8-a73bf0c30211" providerId="ADAL" clId="{F05BB0D5-3454-45DC-8378-DA45B79D9A06}" dt="2020-10-02T13:04:32.778" v="1677" actId="790"/>
          <ac:spMkLst>
            <pc:docMk/>
            <pc:sldMk cId="1707520117" sldId="6914"/>
            <ac:spMk id="81" creationId="{1958C581-2C8C-4143-842C-888D954574BA}"/>
          </ac:spMkLst>
        </pc:spChg>
        <pc:spChg chg="mod">
          <ac:chgData name="Ugo MANTEL" userId="2d5b7065-31bb-4181-a7f8-a73bf0c30211" providerId="ADAL" clId="{F05BB0D5-3454-45DC-8378-DA45B79D9A06}" dt="2020-10-02T13:04:32.785" v="1687" actId="790"/>
          <ac:spMkLst>
            <pc:docMk/>
            <pc:sldMk cId="1707520117" sldId="6914"/>
            <ac:spMk id="84" creationId="{861AB80A-183C-4AAF-AA15-36C6F9B9ACC2}"/>
          </ac:spMkLst>
        </pc:spChg>
        <pc:spChg chg="mod">
          <ac:chgData name="Ugo MANTEL" userId="2d5b7065-31bb-4181-a7f8-a73bf0c30211" providerId="ADAL" clId="{F05BB0D5-3454-45DC-8378-DA45B79D9A06}" dt="2020-10-02T13:04:32.785" v="1688" actId="790"/>
          <ac:spMkLst>
            <pc:docMk/>
            <pc:sldMk cId="1707520117" sldId="6914"/>
            <ac:spMk id="86" creationId="{6F325901-9CD7-4476-9D7F-9FBC8374B874}"/>
          </ac:spMkLst>
        </pc:spChg>
        <pc:spChg chg="mod">
          <ac:chgData name="Ugo MANTEL" userId="2d5b7065-31bb-4181-a7f8-a73bf0c30211" providerId="ADAL" clId="{F05BB0D5-3454-45DC-8378-DA45B79D9A06}" dt="2020-10-02T13:04:32.786" v="1689" actId="790"/>
          <ac:spMkLst>
            <pc:docMk/>
            <pc:sldMk cId="1707520117" sldId="6914"/>
            <ac:spMk id="90" creationId="{77542712-A5A1-4F63-ADE6-D1E8B6816A02}"/>
          </ac:spMkLst>
        </pc:spChg>
        <pc:spChg chg="mod">
          <ac:chgData name="Ugo MANTEL" userId="2d5b7065-31bb-4181-a7f8-a73bf0c30211" providerId="ADAL" clId="{F05BB0D5-3454-45DC-8378-DA45B79D9A06}" dt="2020-10-02T13:04:32.787" v="1690" actId="790"/>
          <ac:spMkLst>
            <pc:docMk/>
            <pc:sldMk cId="1707520117" sldId="6914"/>
            <ac:spMk id="92" creationId="{CB124131-3AB9-4BA6-B7E0-00690253484C}"/>
          </ac:spMkLst>
        </pc:spChg>
        <pc:spChg chg="mod">
          <ac:chgData name="Ugo MANTEL" userId="2d5b7065-31bb-4181-a7f8-a73bf0c30211" providerId="ADAL" clId="{F05BB0D5-3454-45DC-8378-DA45B79D9A06}" dt="2020-10-02T13:04:32.787" v="1691" actId="790"/>
          <ac:spMkLst>
            <pc:docMk/>
            <pc:sldMk cId="1707520117" sldId="6914"/>
            <ac:spMk id="94" creationId="{1CB403BC-3B6B-4576-978F-C03560764DB4}"/>
          </ac:spMkLst>
        </pc:spChg>
        <pc:spChg chg="mod">
          <ac:chgData name="Ugo MANTEL" userId="2d5b7065-31bb-4181-a7f8-a73bf0c30211" providerId="ADAL" clId="{F05BB0D5-3454-45DC-8378-DA45B79D9A06}" dt="2020-10-02T13:04:32.788" v="1692" actId="790"/>
          <ac:spMkLst>
            <pc:docMk/>
            <pc:sldMk cId="1707520117" sldId="6914"/>
            <ac:spMk id="96" creationId="{09C6F846-F2C0-4AEF-BF94-6B5AD532A3E8}"/>
          </ac:spMkLst>
        </pc:spChg>
        <pc:spChg chg="mod">
          <ac:chgData name="Ugo MANTEL" userId="2d5b7065-31bb-4181-a7f8-a73bf0c30211" providerId="ADAL" clId="{F05BB0D5-3454-45DC-8378-DA45B79D9A06}" dt="2020-10-02T13:04:32.789" v="1693" actId="790"/>
          <ac:spMkLst>
            <pc:docMk/>
            <pc:sldMk cId="1707520117" sldId="6914"/>
            <ac:spMk id="97" creationId="{D430D591-9AB6-49DC-9172-2830A02225A5}"/>
          </ac:spMkLst>
        </pc:spChg>
        <pc:spChg chg="mod">
          <ac:chgData name="Ugo MANTEL" userId="2d5b7065-31bb-4181-a7f8-a73bf0c30211" providerId="ADAL" clId="{F05BB0D5-3454-45DC-8378-DA45B79D9A06}" dt="2020-10-02T13:04:32.791" v="1694" actId="790"/>
          <ac:spMkLst>
            <pc:docMk/>
            <pc:sldMk cId="1707520117" sldId="6914"/>
            <ac:spMk id="98" creationId="{91C7156E-1590-44DB-A40F-C870DF28A23D}"/>
          </ac:spMkLst>
        </pc:spChg>
        <pc:spChg chg="mod">
          <ac:chgData name="Ugo MANTEL" userId="2d5b7065-31bb-4181-a7f8-a73bf0c30211" providerId="ADAL" clId="{F05BB0D5-3454-45DC-8378-DA45B79D9A06}" dt="2020-10-02T13:04:32.792" v="1695" actId="790"/>
          <ac:spMkLst>
            <pc:docMk/>
            <pc:sldMk cId="1707520117" sldId="6914"/>
            <ac:spMk id="99" creationId="{076ADCF7-6101-499B-B097-2F688E1CEC97}"/>
          </ac:spMkLst>
        </pc:spChg>
        <pc:spChg chg="mod">
          <ac:chgData name="Ugo MANTEL" userId="2d5b7065-31bb-4181-a7f8-a73bf0c30211" providerId="ADAL" clId="{F05BB0D5-3454-45DC-8378-DA45B79D9A06}" dt="2020-10-02T13:04:32.793" v="1696" actId="790"/>
          <ac:spMkLst>
            <pc:docMk/>
            <pc:sldMk cId="1707520117" sldId="6914"/>
            <ac:spMk id="100" creationId="{2F67BF1D-0E53-4F3C-85FD-D935567F88B3}"/>
          </ac:spMkLst>
        </pc:spChg>
        <pc:spChg chg="mod">
          <ac:chgData name="Ugo MANTEL" userId="2d5b7065-31bb-4181-a7f8-a73bf0c30211" providerId="ADAL" clId="{F05BB0D5-3454-45DC-8378-DA45B79D9A06}" dt="2020-10-02T13:04:32.795" v="1697" actId="790"/>
          <ac:spMkLst>
            <pc:docMk/>
            <pc:sldMk cId="1707520117" sldId="6914"/>
            <ac:spMk id="101" creationId="{2F247F61-71B3-4B45-AA0D-A5039A9ED30D}"/>
          </ac:spMkLst>
        </pc:spChg>
        <pc:spChg chg="mod">
          <ac:chgData name="Ugo MANTEL" userId="2d5b7065-31bb-4181-a7f8-a73bf0c30211" providerId="ADAL" clId="{F05BB0D5-3454-45DC-8378-DA45B79D9A06}" dt="2020-10-02T13:04:32.796" v="1698" actId="790"/>
          <ac:spMkLst>
            <pc:docMk/>
            <pc:sldMk cId="1707520117" sldId="6914"/>
            <ac:spMk id="102" creationId="{FD6588E9-2B0F-40D3-ABE3-AC87BA2A1757}"/>
          </ac:spMkLst>
        </pc:spChg>
        <pc:spChg chg="mod">
          <ac:chgData name="Ugo MANTEL" userId="2d5b7065-31bb-4181-a7f8-a73bf0c30211" providerId="ADAL" clId="{F05BB0D5-3454-45DC-8378-DA45B79D9A06}" dt="2020-10-02T13:04:32.797" v="1699" actId="790"/>
          <ac:spMkLst>
            <pc:docMk/>
            <pc:sldMk cId="1707520117" sldId="6914"/>
            <ac:spMk id="103" creationId="{F4E0F918-0D5B-4E7F-B2F4-12D9BDB76EDA}"/>
          </ac:spMkLst>
        </pc:spChg>
        <pc:spChg chg="mod">
          <ac:chgData name="Ugo MANTEL" userId="2d5b7065-31bb-4181-a7f8-a73bf0c30211" providerId="ADAL" clId="{F05BB0D5-3454-45DC-8378-DA45B79D9A06}" dt="2020-10-02T13:04:32.798" v="1700" actId="790"/>
          <ac:spMkLst>
            <pc:docMk/>
            <pc:sldMk cId="1707520117" sldId="6914"/>
            <ac:spMk id="104" creationId="{45FB7760-5A27-43AA-AB25-73DD199A64CF}"/>
          </ac:spMkLst>
        </pc:spChg>
        <pc:spChg chg="mod">
          <ac:chgData name="Ugo MANTEL" userId="2d5b7065-31bb-4181-a7f8-a73bf0c30211" providerId="ADAL" clId="{F05BB0D5-3454-45DC-8378-DA45B79D9A06}" dt="2020-10-02T13:04:32.800" v="1701" actId="790"/>
          <ac:spMkLst>
            <pc:docMk/>
            <pc:sldMk cId="1707520117" sldId="6914"/>
            <ac:spMk id="105" creationId="{75C3160F-55BE-4562-9129-1E17A70AE30A}"/>
          </ac:spMkLst>
        </pc:spChg>
        <pc:spChg chg="mod">
          <ac:chgData name="Ugo MANTEL" userId="2d5b7065-31bb-4181-a7f8-a73bf0c30211" providerId="ADAL" clId="{F05BB0D5-3454-45DC-8378-DA45B79D9A06}" dt="2020-10-02T13:04:32.803" v="1702" actId="790"/>
          <ac:spMkLst>
            <pc:docMk/>
            <pc:sldMk cId="1707520117" sldId="6914"/>
            <ac:spMk id="106" creationId="{29DF70E0-F7C6-4AC4-90C9-0F9BC9C3B1CF}"/>
          </ac:spMkLst>
        </pc:spChg>
        <pc:spChg chg="mod">
          <ac:chgData name="Ugo MANTEL" userId="2d5b7065-31bb-4181-a7f8-a73bf0c30211" providerId="ADAL" clId="{F05BB0D5-3454-45DC-8378-DA45B79D9A06}" dt="2020-10-02T13:04:32.806" v="1703" actId="790"/>
          <ac:spMkLst>
            <pc:docMk/>
            <pc:sldMk cId="1707520117" sldId="6914"/>
            <ac:spMk id="107" creationId="{48435563-5ABE-4C86-B260-F751EEF89BC8}"/>
          </ac:spMkLst>
        </pc:spChg>
        <pc:spChg chg="mod">
          <ac:chgData name="Ugo MANTEL" userId="2d5b7065-31bb-4181-a7f8-a73bf0c30211" providerId="ADAL" clId="{F05BB0D5-3454-45DC-8378-DA45B79D9A06}" dt="2020-10-02T13:04:32.783" v="1684" actId="790"/>
          <ac:spMkLst>
            <pc:docMk/>
            <pc:sldMk cId="1707520117" sldId="6914"/>
            <ac:spMk id="108" creationId="{E8D0DB70-FBC1-44EB-A982-4CE14D1AD94E}"/>
          </ac:spMkLst>
        </pc:spChg>
        <pc:spChg chg="mod">
          <ac:chgData name="Ugo MANTEL" userId="2d5b7065-31bb-4181-a7f8-a73bf0c30211" providerId="ADAL" clId="{F05BB0D5-3454-45DC-8378-DA45B79D9A06}" dt="2020-10-02T13:04:32.783" v="1685" actId="790"/>
          <ac:spMkLst>
            <pc:docMk/>
            <pc:sldMk cId="1707520117" sldId="6914"/>
            <ac:spMk id="109" creationId="{90AE348A-F57B-433A-835A-3AC6563CE954}"/>
          </ac:spMkLst>
        </pc:spChg>
        <pc:spChg chg="mod">
          <ac:chgData name="Ugo MANTEL" userId="2d5b7065-31bb-4181-a7f8-a73bf0c30211" providerId="ADAL" clId="{F05BB0D5-3454-45DC-8378-DA45B79D9A06}" dt="2020-10-02T13:04:32.784" v="1686" actId="790"/>
          <ac:spMkLst>
            <pc:docMk/>
            <pc:sldMk cId="1707520117" sldId="6914"/>
            <ac:spMk id="110" creationId="{1F1E2E48-D212-43FE-AC6B-8ECBDA59CB22}"/>
          </ac:spMkLst>
        </pc:spChg>
      </pc:sldChg>
      <pc:sldChg chg="delSp modSp mod">
        <pc:chgData name="Ugo MANTEL" userId="2d5b7065-31bb-4181-a7f8-a73bf0c30211" providerId="ADAL" clId="{F05BB0D5-3454-45DC-8378-DA45B79D9A06}" dt="2020-10-02T13:04:35.532" v="4390" actId="790"/>
        <pc:sldMkLst>
          <pc:docMk/>
          <pc:sldMk cId="2836452418" sldId="6916"/>
        </pc:sldMkLst>
        <pc:spChg chg="mod">
          <ac:chgData name="Ugo MANTEL" userId="2d5b7065-31bb-4181-a7f8-a73bf0c30211" providerId="ADAL" clId="{F05BB0D5-3454-45DC-8378-DA45B79D9A06}" dt="2020-10-02T13:04:35.510" v="4374" actId="790"/>
          <ac:spMkLst>
            <pc:docMk/>
            <pc:sldMk cId="2836452418" sldId="6916"/>
            <ac:spMk id="3" creationId="{4FF62979-614C-474A-8BAB-7BBEB6F4CE52}"/>
          </ac:spMkLst>
        </pc:spChg>
        <pc:spChg chg="mod">
          <ac:chgData name="Ugo MANTEL" userId="2d5b7065-31bb-4181-a7f8-a73bf0c30211" providerId="ADAL" clId="{F05BB0D5-3454-45DC-8378-DA45B79D9A06}" dt="2020-10-02T13:04:35.506" v="4372" actId="790"/>
          <ac:spMkLst>
            <pc:docMk/>
            <pc:sldMk cId="2836452418" sldId="6916"/>
            <ac:spMk id="4" creationId="{F854DCEF-5D09-4A27-9C10-DE41FAB26FCF}"/>
          </ac:spMkLst>
        </pc:spChg>
        <pc:spChg chg="mod">
          <ac:chgData name="Ugo MANTEL" userId="2d5b7065-31bb-4181-a7f8-a73bf0c30211" providerId="ADAL" clId="{F05BB0D5-3454-45DC-8378-DA45B79D9A06}" dt="2020-10-02T13:04:35.507" v="4373" actId="790"/>
          <ac:spMkLst>
            <pc:docMk/>
            <pc:sldMk cId="2836452418" sldId="6916"/>
            <ac:spMk id="5" creationId="{EAC0CC13-A429-4B1D-9536-6F719397E27C}"/>
          </ac:spMkLst>
        </pc:spChg>
        <pc:spChg chg="del mod">
          <ac:chgData name="Ugo MANTEL" userId="2d5b7065-31bb-4181-a7f8-a73bf0c30211" providerId="ADAL" clId="{F05BB0D5-3454-45DC-8378-DA45B79D9A06}" dt="2020-10-02T07:40:06.516" v="83" actId="478"/>
          <ac:spMkLst>
            <pc:docMk/>
            <pc:sldMk cId="2836452418" sldId="6916"/>
            <ac:spMk id="13" creationId="{DC19DC90-7E4F-4F4E-BAAF-82808A3E6992}"/>
          </ac:spMkLst>
        </pc:spChg>
        <pc:spChg chg="mod">
          <ac:chgData name="Ugo MANTEL" userId="2d5b7065-31bb-4181-a7f8-a73bf0c30211" providerId="ADAL" clId="{F05BB0D5-3454-45DC-8378-DA45B79D9A06}" dt="2020-10-02T13:04:35.511" v="4375" actId="790"/>
          <ac:spMkLst>
            <pc:docMk/>
            <pc:sldMk cId="2836452418" sldId="6916"/>
            <ac:spMk id="15" creationId="{0E55E92B-7D51-4A3A-BE3F-7DD2EE928B4D}"/>
          </ac:spMkLst>
        </pc:spChg>
        <pc:spChg chg="mod">
          <ac:chgData name="Ugo MANTEL" userId="2d5b7065-31bb-4181-a7f8-a73bf0c30211" providerId="ADAL" clId="{F05BB0D5-3454-45DC-8378-DA45B79D9A06}" dt="2020-10-02T13:04:35.512" v="4376" actId="790"/>
          <ac:spMkLst>
            <pc:docMk/>
            <pc:sldMk cId="2836452418" sldId="6916"/>
            <ac:spMk id="23" creationId="{F0CE2356-C5C6-4A20-9653-6B558BBA700F}"/>
          </ac:spMkLst>
        </pc:spChg>
        <pc:spChg chg="mod">
          <ac:chgData name="Ugo MANTEL" userId="2d5b7065-31bb-4181-a7f8-a73bf0c30211" providerId="ADAL" clId="{F05BB0D5-3454-45DC-8378-DA45B79D9A06}" dt="2020-10-02T13:04:35.513" v="4377" actId="790"/>
          <ac:spMkLst>
            <pc:docMk/>
            <pc:sldMk cId="2836452418" sldId="6916"/>
            <ac:spMk id="25" creationId="{0827E8EC-1FA3-49AB-83D1-166A31CA4B12}"/>
          </ac:spMkLst>
        </pc:spChg>
        <pc:spChg chg="mod">
          <ac:chgData name="Ugo MANTEL" userId="2d5b7065-31bb-4181-a7f8-a73bf0c30211" providerId="ADAL" clId="{F05BB0D5-3454-45DC-8378-DA45B79D9A06}" dt="2020-10-02T13:04:35.514" v="4378" actId="790"/>
          <ac:spMkLst>
            <pc:docMk/>
            <pc:sldMk cId="2836452418" sldId="6916"/>
            <ac:spMk id="27" creationId="{4046502C-733D-4492-9536-6251E4829624}"/>
          </ac:spMkLst>
        </pc:spChg>
        <pc:spChg chg="mod">
          <ac:chgData name="Ugo MANTEL" userId="2d5b7065-31bb-4181-a7f8-a73bf0c30211" providerId="ADAL" clId="{F05BB0D5-3454-45DC-8378-DA45B79D9A06}" dt="2020-10-02T13:04:35.515" v="4379" actId="790"/>
          <ac:spMkLst>
            <pc:docMk/>
            <pc:sldMk cId="2836452418" sldId="6916"/>
            <ac:spMk id="39" creationId="{CD2561CB-BFF6-4800-8BA8-924B176687A1}"/>
          </ac:spMkLst>
        </pc:spChg>
        <pc:spChg chg="mod">
          <ac:chgData name="Ugo MANTEL" userId="2d5b7065-31bb-4181-a7f8-a73bf0c30211" providerId="ADAL" clId="{F05BB0D5-3454-45DC-8378-DA45B79D9A06}" dt="2020-10-02T13:04:35.521" v="4383" actId="790"/>
          <ac:spMkLst>
            <pc:docMk/>
            <pc:sldMk cId="2836452418" sldId="6916"/>
            <ac:spMk id="41" creationId="{C656333A-12AB-4C8A-A78D-11F6ECDA5AA5}"/>
          </ac:spMkLst>
        </pc:spChg>
        <pc:spChg chg="mod">
          <ac:chgData name="Ugo MANTEL" userId="2d5b7065-31bb-4181-a7f8-a73bf0c30211" providerId="ADAL" clId="{F05BB0D5-3454-45DC-8378-DA45B79D9A06}" dt="2020-10-02T13:04:35.525" v="4384" actId="790"/>
          <ac:spMkLst>
            <pc:docMk/>
            <pc:sldMk cId="2836452418" sldId="6916"/>
            <ac:spMk id="42" creationId="{9B81E6F6-5347-4682-884D-4CB78A092A68}"/>
          </ac:spMkLst>
        </pc:spChg>
        <pc:spChg chg="mod">
          <ac:chgData name="Ugo MANTEL" userId="2d5b7065-31bb-4181-a7f8-a73bf0c30211" providerId="ADAL" clId="{F05BB0D5-3454-45DC-8378-DA45B79D9A06}" dt="2020-10-02T13:04:35.528" v="4385" actId="790"/>
          <ac:spMkLst>
            <pc:docMk/>
            <pc:sldMk cId="2836452418" sldId="6916"/>
            <ac:spMk id="54" creationId="{400F45F5-EB76-4078-BB29-169ECEF61571}"/>
          </ac:spMkLst>
        </pc:spChg>
        <pc:spChg chg="mod">
          <ac:chgData name="Ugo MANTEL" userId="2d5b7065-31bb-4181-a7f8-a73bf0c30211" providerId="ADAL" clId="{F05BB0D5-3454-45DC-8378-DA45B79D9A06}" dt="2020-10-02T13:04:35.516" v="4380" actId="790"/>
          <ac:spMkLst>
            <pc:docMk/>
            <pc:sldMk cId="2836452418" sldId="6916"/>
            <ac:spMk id="59" creationId="{10D9F9C1-E9C5-45C8-A49A-314E0F24DF18}"/>
          </ac:spMkLst>
        </pc:spChg>
        <pc:spChg chg="mod">
          <ac:chgData name="Ugo MANTEL" userId="2d5b7065-31bb-4181-a7f8-a73bf0c30211" providerId="ADAL" clId="{F05BB0D5-3454-45DC-8378-DA45B79D9A06}" dt="2020-10-02T13:04:35.529" v="4386" actId="790"/>
          <ac:spMkLst>
            <pc:docMk/>
            <pc:sldMk cId="2836452418" sldId="6916"/>
            <ac:spMk id="61" creationId="{9CC26798-5A53-47DE-A884-FD5F0F7CF044}"/>
          </ac:spMkLst>
        </pc:spChg>
        <pc:spChg chg="mod">
          <ac:chgData name="Ugo MANTEL" userId="2d5b7065-31bb-4181-a7f8-a73bf0c30211" providerId="ADAL" clId="{F05BB0D5-3454-45DC-8378-DA45B79D9A06}" dt="2020-10-02T13:04:35.518" v="4381" actId="790"/>
          <ac:spMkLst>
            <pc:docMk/>
            <pc:sldMk cId="2836452418" sldId="6916"/>
            <ac:spMk id="63" creationId="{9D8F770D-F6E7-44B0-889F-175908BB5270}"/>
          </ac:spMkLst>
        </pc:spChg>
        <pc:spChg chg="mod">
          <ac:chgData name="Ugo MANTEL" userId="2d5b7065-31bb-4181-a7f8-a73bf0c30211" providerId="ADAL" clId="{F05BB0D5-3454-45DC-8378-DA45B79D9A06}" dt="2020-10-02T13:04:35.519" v="4382" actId="790"/>
          <ac:spMkLst>
            <pc:docMk/>
            <pc:sldMk cId="2836452418" sldId="6916"/>
            <ac:spMk id="65" creationId="{FB2E2AB6-6549-4EE3-85DD-6A07ED6FB51F}"/>
          </ac:spMkLst>
        </pc:spChg>
        <pc:spChg chg="mod">
          <ac:chgData name="Ugo MANTEL" userId="2d5b7065-31bb-4181-a7f8-a73bf0c30211" providerId="ADAL" clId="{F05BB0D5-3454-45DC-8378-DA45B79D9A06}" dt="2020-10-02T13:04:35.530" v="4387" actId="790"/>
          <ac:spMkLst>
            <pc:docMk/>
            <pc:sldMk cId="2836452418" sldId="6916"/>
            <ac:spMk id="68" creationId="{E388A593-3A70-4DD8-9AE3-A5EF3D756C8D}"/>
          </ac:spMkLst>
        </pc:spChg>
        <pc:spChg chg="mod">
          <ac:chgData name="Ugo MANTEL" userId="2d5b7065-31bb-4181-a7f8-a73bf0c30211" providerId="ADAL" clId="{F05BB0D5-3454-45DC-8378-DA45B79D9A06}" dt="2020-10-02T13:04:35.530" v="4388" actId="790"/>
          <ac:spMkLst>
            <pc:docMk/>
            <pc:sldMk cId="2836452418" sldId="6916"/>
            <ac:spMk id="69" creationId="{C2E0594B-DF76-4DA9-8E90-198D82289D15}"/>
          </ac:spMkLst>
        </pc:spChg>
        <pc:spChg chg="mod">
          <ac:chgData name="Ugo MANTEL" userId="2d5b7065-31bb-4181-a7f8-a73bf0c30211" providerId="ADAL" clId="{F05BB0D5-3454-45DC-8378-DA45B79D9A06}" dt="2020-10-02T13:04:35.531" v="4389" actId="790"/>
          <ac:spMkLst>
            <pc:docMk/>
            <pc:sldMk cId="2836452418" sldId="6916"/>
            <ac:spMk id="70" creationId="{4D3F15F4-FAFB-4D2A-BE11-94FB5A2CAFC2}"/>
          </ac:spMkLst>
        </pc:spChg>
        <pc:spChg chg="mod">
          <ac:chgData name="Ugo MANTEL" userId="2d5b7065-31bb-4181-a7f8-a73bf0c30211" providerId="ADAL" clId="{F05BB0D5-3454-45DC-8378-DA45B79D9A06}" dt="2020-10-02T13:04:35.532" v="4390" actId="790"/>
          <ac:spMkLst>
            <pc:docMk/>
            <pc:sldMk cId="2836452418" sldId="6916"/>
            <ac:spMk id="74" creationId="{481CF3E9-55C9-4B3E-BABC-A0FF3E831B28}"/>
          </ac:spMkLst>
        </pc:spChg>
      </pc:sldChg>
      <pc:sldChg chg="modSp mod">
        <pc:chgData name="Ugo MANTEL" userId="2d5b7065-31bb-4181-a7f8-a73bf0c30211" providerId="ADAL" clId="{F05BB0D5-3454-45DC-8378-DA45B79D9A06}" dt="2020-10-02T13:04:35.591" v="4434" actId="790"/>
        <pc:sldMkLst>
          <pc:docMk/>
          <pc:sldMk cId="3683193157" sldId="6920"/>
        </pc:sldMkLst>
        <pc:spChg chg="mod">
          <ac:chgData name="Ugo MANTEL" userId="2d5b7065-31bb-4181-a7f8-a73bf0c30211" providerId="ADAL" clId="{F05BB0D5-3454-45DC-8378-DA45B79D9A06}" dt="2020-10-02T13:04:35.576" v="4420" actId="790"/>
          <ac:spMkLst>
            <pc:docMk/>
            <pc:sldMk cId="3683193157" sldId="6920"/>
            <ac:spMk id="3" creationId="{4FF62979-614C-474A-8BAB-7BBEB6F4CE52}"/>
          </ac:spMkLst>
        </pc:spChg>
        <pc:spChg chg="mod">
          <ac:chgData name="Ugo MANTEL" userId="2d5b7065-31bb-4181-a7f8-a73bf0c30211" providerId="ADAL" clId="{F05BB0D5-3454-45DC-8378-DA45B79D9A06}" dt="2020-10-02T13:04:35.570" v="4417" actId="790"/>
          <ac:spMkLst>
            <pc:docMk/>
            <pc:sldMk cId="3683193157" sldId="6920"/>
            <ac:spMk id="4" creationId="{F854DCEF-5D09-4A27-9C10-DE41FAB26FCF}"/>
          </ac:spMkLst>
        </pc:spChg>
        <pc:spChg chg="mod">
          <ac:chgData name="Ugo MANTEL" userId="2d5b7065-31bb-4181-a7f8-a73bf0c30211" providerId="ADAL" clId="{F05BB0D5-3454-45DC-8378-DA45B79D9A06}" dt="2020-10-02T13:04:35.571" v="4418" actId="790"/>
          <ac:spMkLst>
            <pc:docMk/>
            <pc:sldMk cId="3683193157" sldId="6920"/>
            <ac:spMk id="5" creationId="{EAC0CC13-A429-4B1D-9536-6F719397E27C}"/>
          </ac:spMkLst>
        </pc:spChg>
        <pc:spChg chg="mod">
          <ac:chgData name="Ugo MANTEL" userId="2d5b7065-31bb-4181-a7f8-a73bf0c30211" providerId="ADAL" clId="{F05BB0D5-3454-45DC-8378-DA45B79D9A06}" dt="2020-10-02T13:04:35.586" v="4427" actId="790"/>
          <ac:spMkLst>
            <pc:docMk/>
            <pc:sldMk cId="3683193157" sldId="6920"/>
            <ac:spMk id="34" creationId="{E5B914B4-5273-4CE4-84B9-90455D088539}"/>
          </ac:spMkLst>
        </pc:spChg>
        <pc:spChg chg="mod">
          <ac:chgData name="Ugo MANTEL" userId="2d5b7065-31bb-4181-a7f8-a73bf0c30211" providerId="ADAL" clId="{F05BB0D5-3454-45DC-8378-DA45B79D9A06}" dt="2020-10-02T13:04:35.586" v="4428" actId="790"/>
          <ac:spMkLst>
            <pc:docMk/>
            <pc:sldMk cId="3683193157" sldId="6920"/>
            <ac:spMk id="36" creationId="{0BF5ADFD-4CCC-4A7A-85B2-81DA6D4B17F3}"/>
          </ac:spMkLst>
        </pc:spChg>
        <pc:spChg chg="mod">
          <ac:chgData name="Ugo MANTEL" userId="2d5b7065-31bb-4181-a7f8-a73bf0c30211" providerId="ADAL" clId="{F05BB0D5-3454-45DC-8378-DA45B79D9A06}" dt="2020-10-02T13:04:35.587" v="4429" actId="790"/>
          <ac:spMkLst>
            <pc:docMk/>
            <pc:sldMk cId="3683193157" sldId="6920"/>
            <ac:spMk id="38" creationId="{28DDA946-DCC8-4D0F-9724-D9257F8F245A}"/>
          </ac:spMkLst>
        </pc:spChg>
        <pc:spChg chg="mod">
          <ac:chgData name="Ugo MANTEL" userId="2d5b7065-31bb-4181-a7f8-a73bf0c30211" providerId="ADAL" clId="{F05BB0D5-3454-45DC-8378-DA45B79D9A06}" dt="2020-10-02T13:04:35.588" v="4430" actId="790"/>
          <ac:spMkLst>
            <pc:docMk/>
            <pc:sldMk cId="3683193157" sldId="6920"/>
            <ac:spMk id="40" creationId="{BC296C84-2574-45FC-875C-2FB4392A2299}"/>
          </ac:spMkLst>
        </pc:spChg>
        <pc:spChg chg="mod">
          <ac:chgData name="Ugo MANTEL" userId="2d5b7065-31bb-4181-a7f8-a73bf0c30211" providerId="ADAL" clId="{F05BB0D5-3454-45DC-8378-DA45B79D9A06}" dt="2020-10-02T13:04:35.588" v="4431" actId="790"/>
          <ac:spMkLst>
            <pc:docMk/>
            <pc:sldMk cId="3683193157" sldId="6920"/>
            <ac:spMk id="43" creationId="{EE7E150D-CAD4-4DA2-9E6E-BA48E69DDFD3}"/>
          </ac:spMkLst>
        </pc:spChg>
        <pc:spChg chg="mod">
          <ac:chgData name="Ugo MANTEL" userId="2d5b7065-31bb-4181-a7f8-a73bf0c30211" providerId="ADAL" clId="{F05BB0D5-3454-45DC-8378-DA45B79D9A06}" dt="2020-10-02T13:04:35.589" v="4432" actId="790"/>
          <ac:spMkLst>
            <pc:docMk/>
            <pc:sldMk cId="3683193157" sldId="6920"/>
            <ac:spMk id="44" creationId="{167BD7B5-F523-4BEA-917F-ABAFBEC0FFDE}"/>
          </ac:spMkLst>
        </pc:spChg>
        <pc:spChg chg="mod">
          <ac:chgData name="Ugo MANTEL" userId="2d5b7065-31bb-4181-a7f8-a73bf0c30211" providerId="ADAL" clId="{F05BB0D5-3454-45DC-8378-DA45B79D9A06}" dt="2020-10-02T13:04:35.582" v="4423" actId="790"/>
          <ac:spMkLst>
            <pc:docMk/>
            <pc:sldMk cId="3683193157" sldId="6920"/>
            <ac:spMk id="51" creationId="{E1B039DF-7D46-4505-8AFD-738CA732B887}"/>
          </ac:spMkLst>
        </pc:spChg>
        <pc:spChg chg="mod">
          <ac:chgData name="Ugo MANTEL" userId="2d5b7065-31bb-4181-a7f8-a73bf0c30211" providerId="ADAL" clId="{F05BB0D5-3454-45DC-8378-DA45B79D9A06}" dt="2020-10-02T13:04:35.590" v="4433" actId="790"/>
          <ac:spMkLst>
            <pc:docMk/>
            <pc:sldMk cId="3683193157" sldId="6920"/>
            <ac:spMk id="52" creationId="{D13DF9D3-D863-4BEC-B8D7-234004AD8A31}"/>
          </ac:spMkLst>
        </pc:spChg>
        <pc:spChg chg="mod">
          <ac:chgData name="Ugo MANTEL" userId="2d5b7065-31bb-4181-a7f8-a73bf0c30211" providerId="ADAL" clId="{F05BB0D5-3454-45DC-8378-DA45B79D9A06}" dt="2020-10-02T13:04:35.591" v="4434" actId="790"/>
          <ac:spMkLst>
            <pc:docMk/>
            <pc:sldMk cId="3683193157" sldId="6920"/>
            <ac:spMk id="54" creationId="{2B4667C3-C0F6-43CD-9824-272478C1ADEE}"/>
          </ac:spMkLst>
        </pc:spChg>
        <pc:spChg chg="mod">
          <ac:chgData name="Ugo MANTEL" userId="2d5b7065-31bb-4181-a7f8-a73bf0c30211" providerId="ADAL" clId="{F05BB0D5-3454-45DC-8378-DA45B79D9A06}" dt="2020-10-02T13:04:35.583" v="4424" actId="790"/>
          <ac:spMkLst>
            <pc:docMk/>
            <pc:sldMk cId="3683193157" sldId="6920"/>
            <ac:spMk id="55" creationId="{6A3B1CC5-1B3A-46D4-883B-F787D6F317E4}"/>
          </ac:spMkLst>
        </pc:spChg>
        <pc:spChg chg="mod">
          <ac:chgData name="Ugo MANTEL" userId="2d5b7065-31bb-4181-a7f8-a73bf0c30211" providerId="ADAL" clId="{F05BB0D5-3454-45DC-8378-DA45B79D9A06}" dt="2020-10-02T13:04:35.574" v="4419" actId="790"/>
          <ac:spMkLst>
            <pc:docMk/>
            <pc:sldMk cId="3683193157" sldId="6920"/>
            <ac:spMk id="56" creationId="{3D04210C-A6AE-4263-A4B3-ABED7FE32EE9}"/>
          </ac:spMkLst>
        </pc:spChg>
        <pc:spChg chg="mod">
          <ac:chgData name="Ugo MANTEL" userId="2d5b7065-31bb-4181-a7f8-a73bf0c30211" providerId="ADAL" clId="{F05BB0D5-3454-45DC-8378-DA45B79D9A06}" dt="2020-10-02T13:04:35.584" v="4425" actId="790"/>
          <ac:spMkLst>
            <pc:docMk/>
            <pc:sldMk cId="3683193157" sldId="6920"/>
            <ac:spMk id="58" creationId="{49FC0DE9-89C2-4D19-A130-3FE6F98CA787}"/>
          </ac:spMkLst>
        </pc:spChg>
        <pc:spChg chg="mod">
          <ac:chgData name="Ugo MANTEL" userId="2d5b7065-31bb-4181-a7f8-a73bf0c30211" providerId="ADAL" clId="{F05BB0D5-3454-45DC-8378-DA45B79D9A06}" dt="2020-10-02T13:04:35.585" v="4426" actId="790"/>
          <ac:spMkLst>
            <pc:docMk/>
            <pc:sldMk cId="3683193157" sldId="6920"/>
            <ac:spMk id="60" creationId="{E688362D-C049-4B7C-BA25-85C8D100D0B8}"/>
          </ac:spMkLst>
        </pc:spChg>
        <pc:spChg chg="mod">
          <ac:chgData name="Ugo MANTEL" userId="2d5b7065-31bb-4181-a7f8-a73bf0c30211" providerId="ADAL" clId="{F05BB0D5-3454-45DC-8378-DA45B79D9A06}" dt="2020-10-02T13:04:35.578" v="4421" actId="790"/>
          <ac:spMkLst>
            <pc:docMk/>
            <pc:sldMk cId="3683193157" sldId="6920"/>
            <ac:spMk id="63" creationId="{9D8F770D-F6E7-44B0-889F-175908BB5270}"/>
          </ac:spMkLst>
        </pc:spChg>
        <pc:spChg chg="mod">
          <ac:chgData name="Ugo MANTEL" userId="2d5b7065-31bb-4181-a7f8-a73bf0c30211" providerId="ADAL" clId="{F05BB0D5-3454-45DC-8378-DA45B79D9A06}" dt="2020-10-02T13:04:35.579" v="4422" actId="790"/>
          <ac:spMkLst>
            <pc:docMk/>
            <pc:sldMk cId="3683193157" sldId="6920"/>
            <ac:spMk id="65" creationId="{FB2E2AB6-6549-4EE3-85DD-6A07ED6FB51F}"/>
          </ac:spMkLst>
        </pc:spChg>
      </pc:sldChg>
      <pc:sldChg chg="modSp mod">
        <pc:chgData name="Ugo MANTEL" userId="2d5b7065-31bb-4181-a7f8-a73bf0c30211" providerId="ADAL" clId="{F05BB0D5-3454-45DC-8378-DA45B79D9A06}" dt="2020-10-02T13:05:34.398" v="6179" actId="207"/>
        <pc:sldMkLst>
          <pc:docMk/>
          <pc:sldMk cId="1878143679" sldId="6922"/>
        </pc:sldMkLst>
        <pc:spChg chg="mod">
          <ac:chgData name="Ugo MANTEL" userId="2d5b7065-31bb-4181-a7f8-a73bf0c30211" providerId="ADAL" clId="{F05BB0D5-3454-45DC-8378-DA45B79D9A06}" dt="2020-10-02T13:04:35.592" v="4436" actId="790"/>
          <ac:spMkLst>
            <pc:docMk/>
            <pc:sldMk cId="1878143679" sldId="6922"/>
            <ac:spMk id="2" creationId="{BD1A72BA-BC92-4F75-A18A-DA60D91E117B}"/>
          </ac:spMkLst>
        </pc:spChg>
        <pc:spChg chg="mod">
          <ac:chgData name="Ugo MANTEL" userId="2d5b7065-31bb-4181-a7f8-a73bf0c30211" providerId="ADAL" clId="{F05BB0D5-3454-45DC-8378-DA45B79D9A06}" dt="2020-10-02T13:04:35.591" v="4435" actId="790"/>
          <ac:spMkLst>
            <pc:docMk/>
            <pc:sldMk cId="1878143679" sldId="6922"/>
            <ac:spMk id="5" creationId="{DFE4007A-4322-494F-8570-08F1E1CEBE28}"/>
          </ac:spMkLst>
        </pc:spChg>
        <pc:spChg chg="mod">
          <ac:chgData name="Ugo MANTEL" userId="2d5b7065-31bb-4181-a7f8-a73bf0c30211" providerId="ADAL" clId="{F05BB0D5-3454-45DC-8378-DA45B79D9A06}" dt="2020-10-02T13:04:35.599" v="4441" actId="790"/>
          <ac:spMkLst>
            <pc:docMk/>
            <pc:sldMk cId="1878143679" sldId="6922"/>
            <ac:spMk id="16" creationId="{8FCB6FA7-DD5D-461D-B50E-49DE41EE896D}"/>
          </ac:spMkLst>
        </pc:spChg>
        <pc:spChg chg="mod">
          <ac:chgData name="Ugo MANTEL" userId="2d5b7065-31bb-4181-a7f8-a73bf0c30211" providerId="ADAL" clId="{F05BB0D5-3454-45DC-8378-DA45B79D9A06}" dt="2020-10-02T13:04:35.595" v="4439" actId="790"/>
          <ac:spMkLst>
            <pc:docMk/>
            <pc:sldMk cId="1878143679" sldId="6922"/>
            <ac:spMk id="18" creationId="{5306F885-8467-4812-83BF-91BF6ED5110E}"/>
          </ac:spMkLst>
        </pc:spChg>
        <pc:spChg chg="mod">
          <ac:chgData name="Ugo MANTEL" userId="2d5b7065-31bb-4181-a7f8-a73bf0c30211" providerId="ADAL" clId="{F05BB0D5-3454-45DC-8378-DA45B79D9A06}" dt="2020-10-02T13:04:35.601" v="4442" actId="790"/>
          <ac:spMkLst>
            <pc:docMk/>
            <pc:sldMk cId="1878143679" sldId="6922"/>
            <ac:spMk id="19" creationId="{E4F66408-3154-4332-A0D9-EE50DAAB0FA9}"/>
          </ac:spMkLst>
        </pc:spChg>
        <pc:spChg chg="mod">
          <ac:chgData name="Ugo MANTEL" userId="2d5b7065-31bb-4181-a7f8-a73bf0c30211" providerId="ADAL" clId="{F05BB0D5-3454-45DC-8378-DA45B79D9A06}" dt="2020-10-02T13:04:35.594" v="4438" actId="790"/>
          <ac:spMkLst>
            <pc:docMk/>
            <pc:sldMk cId="1878143679" sldId="6922"/>
            <ac:spMk id="26" creationId="{D83D40EB-3A78-4813-9686-1A8B94D2CF13}"/>
          </ac:spMkLst>
        </pc:spChg>
        <pc:spChg chg="mod">
          <ac:chgData name="Ugo MANTEL" userId="2d5b7065-31bb-4181-a7f8-a73bf0c30211" providerId="ADAL" clId="{F05BB0D5-3454-45DC-8378-DA45B79D9A06}" dt="2020-10-02T13:04:35.604" v="4443" actId="790"/>
          <ac:spMkLst>
            <pc:docMk/>
            <pc:sldMk cId="1878143679" sldId="6922"/>
            <ac:spMk id="32" creationId="{5C5C508A-EAD8-4D5D-AF50-D42EC987B3F2}"/>
          </ac:spMkLst>
        </pc:spChg>
        <pc:spChg chg="mod">
          <ac:chgData name="Ugo MANTEL" userId="2d5b7065-31bb-4181-a7f8-a73bf0c30211" providerId="ADAL" clId="{F05BB0D5-3454-45DC-8378-DA45B79D9A06}" dt="2020-10-02T13:04:35.605" v="4444" actId="790"/>
          <ac:spMkLst>
            <pc:docMk/>
            <pc:sldMk cId="1878143679" sldId="6922"/>
            <ac:spMk id="33" creationId="{43058EAE-64F5-4851-8E0B-F1E78830F08D}"/>
          </ac:spMkLst>
        </pc:spChg>
        <pc:spChg chg="mod">
          <ac:chgData name="Ugo MANTEL" userId="2d5b7065-31bb-4181-a7f8-a73bf0c30211" providerId="ADAL" clId="{F05BB0D5-3454-45DC-8378-DA45B79D9A06}" dt="2020-10-02T13:04:35.606" v="4445" actId="790"/>
          <ac:spMkLst>
            <pc:docMk/>
            <pc:sldMk cId="1878143679" sldId="6922"/>
            <ac:spMk id="34" creationId="{E19AD542-1154-497C-A97E-E3A56FBB7E65}"/>
          </ac:spMkLst>
        </pc:spChg>
        <pc:spChg chg="mod">
          <ac:chgData name="Ugo MANTEL" userId="2d5b7065-31bb-4181-a7f8-a73bf0c30211" providerId="ADAL" clId="{F05BB0D5-3454-45DC-8378-DA45B79D9A06}" dt="2020-10-02T13:04:35.606" v="4446" actId="790"/>
          <ac:spMkLst>
            <pc:docMk/>
            <pc:sldMk cId="1878143679" sldId="6922"/>
            <ac:spMk id="35" creationId="{30A10C04-8761-4396-B9EF-FF7AE1B09ACD}"/>
          </ac:spMkLst>
        </pc:spChg>
        <pc:spChg chg="mod">
          <ac:chgData name="Ugo MANTEL" userId="2d5b7065-31bb-4181-a7f8-a73bf0c30211" providerId="ADAL" clId="{F05BB0D5-3454-45DC-8378-DA45B79D9A06}" dt="2020-10-02T13:04:35.596" v="4440" actId="790"/>
          <ac:spMkLst>
            <pc:docMk/>
            <pc:sldMk cId="1878143679" sldId="6922"/>
            <ac:spMk id="40" creationId="{1D4D4ECA-F7DD-43F8-8C86-BBB9912BA7B8}"/>
          </ac:spMkLst>
        </pc:spChg>
        <pc:spChg chg="mod">
          <ac:chgData name="Ugo MANTEL" userId="2d5b7065-31bb-4181-a7f8-a73bf0c30211" providerId="ADAL" clId="{F05BB0D5-3454-45DC-8378-DA45B79D9A06}" dt="2020-10-02T13:04:35.593" v="4437" actId="790"/>
          <ac:spMkLst>
            <pc:docMk/>
            <pc:sldMk cId="1878143679" sldId="6922"/>
            <ac:spMk id="50" creationId="{BDB37B39-FBB6-4E35-9EB1-5883957472DA}"/>
          </ac:spMkLst>
        </pc:spChg>
        <pc:graphicFrameChg chg="mod">
          <ac:chgData name="Ugo MANTEL" userId="2d5b7065-31bb-4181-a7f8-a73bf0c30211" providerId="ADAL" clId="{F05BB0D5-3454-45DC-8378-DA45B79D9A06}" dt="2020-10-02T13:05:34.398" v="6179" actId="207"/>
          <ac:graphicFrameMkLst>
            <pc:docMk/>
            <pc:sldMk cId="1878143679" sldId="6922"/>
            <ac:graphicFrameMk id="8" creationId="{256AEEA1-5D55-4724-A980-03F17A2BB8E7}"/>
          </ac:graphicFrameMkLst>
        </pc:graphicFrameChg>
        <pc:graphicFrameChg chg="mod">
          <ac:chgData name="Ugo MANTEL" userId="2d5b7065-31bb-4181-a7f8-a73bf0c30211" providerId="ADAL" clId="{F05BB0D5-3454-45DC-8378-DA45B79D9A06}" dt="2020-10-02T13:05:30.990" v="6178" actId="207"/>
          <ac:graphicFrameMkLst>
            <pc:docMk/>
            <pc:sldMk cId="1878143679" sldId="6922"/>
            <ac:graphicFrameMk id="36" creationId="{906A83E0-196F-40CC-85C5-35D0F3A88309}"/>
          </ac:graphicFrameMkLst>
        </pc:graphicFrameChg>
      </pc:sldChg>
      <pc:sldChg chg="modSp mod">
        <pc:chgData name="Ugo MANTEL" userId="2d5b7065-31bb-4181-a7f8-a73bf0c30211" providerId="ADAL" clId="{F05BB0D5-3454-45DC-8378-DA45B79D9A06}" dt="2020-10-02T13:05:19.582" v="6175" actId="207"/>
        <pc:sldMkLst>
          <pc:docMk/>
          <pc:sldMk cId="820320975" sldId="6923"/>
        </pc:sldMkLst>
        <pc:spChg chg="mod">
          <ac:chgData name="Ugo MANTEL" userId="2d5b7065-31bb-4181-a7f8-a73bf0c30211" providerId="ADAL" clId="{F05BB0D5-3454-45DC-8378-DA45B79D9A06}" dt="2020-10-02T13:04:35.534" v="4392" actId="790"/>
          <ac:spMkLst>
            <pc:docMk/>
            <pc:sldMk cId="820320975" sldId="6923"/>
            <ac:spMk id="2" creationId="{BD1A72BA-BC92-4F75-A18A-DA60D91E117B}"/>
          </ac:spMkLst>
        </pc:spChg>
        <pc:spChg chg="mod">
          <ac:chgData name="Ugo MANTEL" userId="2d5b7065-31bb-4181-a7f8-a73bf0c30211" providerId="ADAL" clId="{F05BB0D5-3454-45DC-8378-DA45B79D9A06}" dt="2020-10-02T13:04:35.533" v="4391" actId="790"/>
          <ac:spMkLst>
            <pc:docMk/>
            <pc:sldMk cId="820320975" sldId="6923"/>
            <ac:spMk id="5" creationId="{DFE4007A-4322-494F-8570-08F1E1CEBE28}"/>
          </ac:spMkLst>
        </pc:spChg>
        <pc:spChg chg="mod">
          <ac:chgData name="Ugo MANTEL" userId="2d5b7065-31bb-4181-a7f8-a73bf0c30211" providerId="ADAL" clId="{F05BB0D5-3454-45DC-8378-DA45B79D9A06}" dt="2020-10-02T13:04:35.541" v="4397" actId="790"/>
          <ac:spMkLst>
            <pc:docMk/>
            <pc:sldMk cId="820320975" sldId="6923"/>
            <ac:spMk id="16" creationId="{8FCB6FA7-DD5D-461D-B50E-49DE41EE896D}"/>
          </ac:spMkLst>
        </pc:spChg>
        <pc:spChg chg="mod">
          <ac:chgData name="Ugo MANTEL" userId="2d5b7065-31bb-4181-a7f8-a73bf0c30211" providerId="ADAL" clId="{F05BB0D5-3454-45DC-8378-DA45B79D9A06}" dt="2020-10-02T13:04:35.538" v="4395" actId="790"/>
          <ac:spMkLst>
            <pc:docMk/>
            <pc:sldMk cId="820320975" sldId="6923"/>
            <ac:spMk id="18" creationId="{5306F885-8467-4812-83BF-91BF6ED5110E}"/>
          </ac:spMkLst>
        </pc:spChg>
        <pc:spChg chg="mod">
          <ac:chgData name="Ugo MANTEL" userId="2d5b7065-31bb-4181-a7f8-a73bf0c30211" providerId="ADAL" clId="{F05BB0D5-3454-45DC-8378-DA45B79D9A06}" dt="2020-10-02T13:04:35.544" v="4398" actId="790"/>
          <ac:spMkLst>
            <pc:docMk/>
            <pc:sldMk cId="820320975" sldId="6923"/>
            <ac:spMk id="19" creationId="{E4F66408-3154-4332-A0D9-EE50DAAB0FA9}"/>
          </ac:spMkLst>
        </pc:spChg>
        <pc:spChg chg="mod">
          <ac:chgData name="Ugo MANTEL" userId="2d5b7065-31bb-4181-a7f8-a73bf0c30211" providerId="ADAL" clId="{F05BB0D5-3454-45DC-8378-DA45B79D9A06}" dt="2020-10-02T13:04:35.536" v="4394" actId="790"/>
          <ac:spMkLst>
            <pc:docMk/>
            <pc:sldMk cId="820320975" sldId="6923"/>
            <ac:spMk id="26" creationId="{D83D40EB-3A78-4813-9686-1A8B94D2CF13}"/>
          </ac:spMkLst>
        </pc:spChg>
        <pc:spChg chg="mod">
          <ac:chgData name="Ugo MANTEL" userId="2d5b7065-31bb-4181-a7f8-a73bf0c30211" providerId="ADAL" clId="{F05BB0D5-3454-45DC-8378-DA45B79D9A06}" dt="2020-10-02T13:04:35.552" v="4405" actId="790"/>
          <ac:spMkLst>
            <pc:docMk/>
            <pc:sldMk cId="820320975" sldId="6923"/>
            <ac:spMk id="34" creationId="{22A5BF14-4161-4389-8DD9-E9C95954A4C4}"/>
          </ac:spMkLst>
        </pc:spChg>
        <pc:spChg chg="mod">
          <ac:chgData name="Ugo MANTEL" userId="2d5b7065-31bb-4181-a7f8-a73bf0c30211" providerId="ADAL" clId="{F05BB0D5-3454-45DC-8378-DA45B79D9A06}" dt="2020-10-02T13:04:35.539" v="4396" actId="790"/>
          <ac:spMkLst>
            <pc:docMk/>
            <pc:sldMk cId="820320975" sldId="6923"/>
            <ac:spMk id="40" creationId="{1D4D4ECA-F7DD-43F8-8C86-BBB9912BA7B8}"/>
          </ac:spMkLst>
        </pc:spChg>
        <pc:spChg chg="mod">
          <ac:chgData name="Ugo MANTEL" userId="2d5b7065-31bb-4181-a7f8-a73bf0c30211" providerId="ADAL" clId="{F05BB0D5-3454-45DC-8378-DA45B79D9A06}" dt="2020-10-02T13:04:35.535" v="4393" actId="790"/>
          <ac:spMkLst>
            <pc:docMk/>
            <pc:sldMk cId="820320975" sldId="6923"/>
            <ac:spMk id="50" creationId="{BDB37B39-FBB6-4E35-9EB1-5883957472DA}"/>
          </ac:spMkLst>
        </pc:spChg>
        <pc:spChg chg="mod">
          <ac:chgData name="Ugo MANTEL" userId="2d5b7065-31bb-4181-a7f8-a73bf0c30211" providerId="ADAL" clId="{F05BB0D5-3454-45DC-8378-DA45B79D9A06}" dt="2020-10-02T13:04:35.546" v="4399" actId="790"/>
          <ac:spMkLst>
            <pc:docMk/>
            <pc:sldMk cId="820320975" sldId="6923"/>
            <ac:spMk id="58" creationId="{31A9E302-9A5A-44C7-A062-63A640D0E39D}"/>
          </ac:spMkLst>
        </pc:spChg>
        <pc:spChg chg="mod">
          <ac:chgData name="Ugo MANTEL" userId="2d5b7065-31bb-4181-a7f8-a73bf0c30211" providerId="ADAL" clId="{F05BB0D5-3454-45DC-8378-DA45B79D9A06}" dt="2020-10-02T13:04:35.547" v="4400" actId="790"/>
          <ac:spMkLst>
            <pc:docMk/>
            <pc:sldMk cId="820320975" sldId="6923"/>
            <ac:spMk id="60" creationId="{CE4CEBF3-9661-4B45-B0A7-235F184FBE96}"/>
          </ac:spMkLst>
        </pc:spChg>
        <pc:spChg chg="mod">
          <ac:chgData name="Ugo MANTEL" userId="2d5b7065-31bb-4181-a7f8-a73bf0c30211" providerId="ADAL" clId="{F05BB0D5-3454-45DC-8378-DA45B79D9A06}" dt="2020-10-02T13:04:35.548" v="4401" actId="790"/>
          <ac:spMkLst>
            <pc:docMk/>
            <pc:sldMk cId="820320975" sldId="6923"/>
            <ac:spMk id="61" creationId="{CA245A9E-3B97-4A17-AEA1-44922CD20C96}"/>
          </ac:spMkLst>
        </pc:spChg>
        <pc:spChg chg="mod">
          <ac:chgData name="Ugo MANTEL" userId="2d5b7065-31bb-4181-a7f8-a73bf0c30211" providerId="ADAL" clId="{F05BB0D5-3454-45DC-8378-DA45B79D9A06}" dt="2020-10-02T13:04:35.548" v="4402" actId="790"/>
          <ac:spMkLst>
            <pc:docMk/>
            <pc:sldMk cId="820320975" sldId="6923"/>
            <ac:spMk id="62" creationId="{A636FD9F-AC1A-49B6-AEF3-6ABB4E77AC1D}"/>
          </ac:spMkLst>
        </pc:spChg>
        <pc:spChg chg="mod">
          <ac:chgData name="Ugo MANTEL" userId="2d5b7065-31bb-4181-a7f8-a73bf0c30211" providerId="ADAL" clId="{F05BB0D5-3454-45DC-8378-DA45B79D9A06}" dt="2020-10-02T13:04:35.550" v="4403" actId="790"/>
          <ac:spMkLst>
            <pc:docMk/>
            <pc:sldMk cId="820320975" sldId="6923"/>
            <ac:spMk id="63" creationId="{9D471B76-BA6E-4D67-BCEE-CF4C0A9235DD}"/>
          </ac:spMkLst>
        </pc:spChg>
        <pc:spChg chg="mod">
          <ac:chgData name="Ugo MANTEL" userId="2d5b7065-31bb-4181-a7f8-a73bf0c30211" providerId="ADAL" clId="{F05BB0D5-3454-45DC-8378-DA45B79D9A06}" dt="2020-10-02T13:04:35.551" v="4404" actId="790"/>
          <ac:spMkLst>
            <pc:docMk/>
            <pc:sldMk cId="820320975" sldId="6923"/>
            <ac:spMk id="67" creationId="{3284847B-94F9-4621-84E7-79A5AD53B021}"/>
          </ac:spMkLst>
        </pc:spChg>
        <pc:graphicFrameChg chg="mod">
          <ac:chgData name="Ugo MANTEL" userId="2d5b7065-31bb-4181-a7f8-a73bf0c30211" providerId="ADAL" clId="{F05BB0D5-3454-45DC-8378-DA45B79D9A06}" dt="2020-10-02T13:05:19.582" v="6175" actId="207"/>
          <ac:graphicFrameMkLst>
            <pc:docMk/>
            <pc:sldMk cId="820320975" sldId="6923"/>
            <ac:graphicFrameMk id="8" creationId="{256AEEA1-5D55-4724-A980-03F17A2BB8E7}"/>
          </ac:graphicFrameMkLst>
        </pc:graphicFrameChg>
        <pc:graphicFrameChg chg="mod">
          <ac:chgData name="Ugo MANTEL" userId="2d5b7065-31bb-4181-a7f8-a73bf0c30211" providerId="ADAL" clId="{F05BB0D5-3454-45DC-8378-DA45B79D9A06}" dt="2020-10-02T13:05:16.579" v="6174" actId="207"/>
          <ac:graphicFrameMkLst>
            <pc:docMk/>
            <pc:sldMk cId="820320975" sldId="6923"/>
            <ac:graphicFrameMk id="25" creationId="{AF78BBC2-D582-413C-B8BD-D350092B8080}"/>
          </ac:graphicFrameMkLst>
        </pc:graphicFrameChg>
      </pc:sldChg>
      <pc:sldChg chg="modSp mod">
        <pc:chgData name="Ugo MANTEL" userId="2d5b7065-31bb-4181-a7f8-a73bf0c30211" providerId="ADAL" clId="{F05BB0D5-3454-45DC-8378-DA45B79D9A06}" dt="2020-10-02T13:04:33.714" v="2623" actId="790"/>
        <pc:sldMkLst>
          <pc:docMk/>
          <pc:sldMk cId="4222955874" sldId="6934"/>
        </pc:sldMkLst>
        <pc:spChg chg="mod">
          <ac:chgData name="Ugo MANTEL" userId="2d5b7065-31bb-4181-a7f8-a73bf0c30211" providerId="ADAL" clId="{F05BB0D5-3454-45DC-8378-DA45B79D9A06}" dt="2020-10-02T13:04:33.673" v="2591" actId="790"/>
          <ac:spMkLst>
            <pc:docMk/>
            <pc:sldMk cId="4222955874" sldId="6934"/>
            <ac:spMk id="3" creationId="{DAAD79E8-5156-4AC7-A78F-AB404520F6CB}"/>
          </ac:spMkLst>
        </pc:spChg>
        <pc:spChg chg="mod">
          <ac:chgData name="Ugo MANTEL" userId="2d5b7065-31bb-4181-a7f8-a73bf0c30211" providerId="ADAL" clId="{F05BB0D5-3454-45DC-8378-DA45B79D9A06}" dt="2020-10-02T13:04:33.670" v="2590" actId="790"/>
          <ac:spMkLst>
            <pc:docMk/>
            <pc:sldMk cId="4222955874" sldId="6934"/>
            <ac:spMk id="4" creationId="{EC875C8D-B3C1-4B15-8639-4C789960BFBD}"/>
          </ac:spMkLst>
        </pc:spChg>
        <pc:spChg chg="mod">
          <ac:chgData name="Ugo MANTEL" userId="2d5b7065-31bb-4181-a7f8-a73bf0c30211" providerId="ADAL" clId="{F05BB0D5-3454-45DC-8378-DA45B79D9A06}" dt="2020-10-02T13:04:33.703" v="2607" actId="790"/>
          <ac:spMkLst>
            <pc:docMk/>
            <pc:sldMk cId="4222955874" sldId="6934"/>
            <ac:spMk id="6" creationId="{302C4F2A-5E15-4020-B23F-CE7DF712A1DA}"/>
          </ac:spMkLst>
        </pc:spChg>
        <pc:spChg chg="mod">
          <ac:chgData name="Ugo MANTEL" userId="2d5b7065-31bb-4181-a7f8-a73bf0c30211" providerId="ADAL" clId="{F05BB0D5-3454-45DC-8378-DA45B79D9A06}" dt="2020-10-02T13:04:33.697" v="2598" actId="790"/>
          <ac:spMkLst>
            <pc:docMk/>
            <pc:sldMk cId="4222955874" sldId="6934"/>
            <ac:spMk id="8" creationId="{ACB05554-3708-48DA-94CF-5697D8CF0224}"/>
          </ac:spMkLst>
        </pc:spChg>
        <pc:spChg chg="mod">
          <ac:chgData name="Ugo MANTEL" userId="2d5b7065-31bb-4181-a7f8-a73bf0c30211" providerId="ADAL" clId="{F05BB0D5-3454-45DC-8378-DA45B79D9A06}" dt="2020-10-02T13:04:33.702" v="2605" actId="790"/>
          <ac:spMkLst>
            <pc:docMk/>
            <pc:sldMk cId="4222955874" sldId="6934"/>
            <ac:spMk id="33" creationId="{AADFA459-0814-4143-82E2-EC1EED0B31E1}"/>
          </ac:spMkLst>
        </pc:spChg>
        <pc:spChg chg="mod">
          <ac:chgData name="Ugo MANTEL" userId="2d5b7065-31bb-4181-a7f8-a73bf0c30211" providerId="ADAL" clId="{F05BB0D5-3454-45DC-8378-DA45B79D9A06}" dt="2020-10-02T13:04:33.699" v="2601" actId="790"/>
          <ac:spMkLst>
            <pc:docMk/>
            <pc:sldMk cId="4222955874" sldId="6934"/>
            <ac:spMk id="34" creationId="{51FCC616-C15B-4A3B-A096-745FD6763016}"/>
          </ac:spMkLst>
        </pc:spChg>
        <pc:spChg chg="mod">
          <ac:chgData name="Ugo MANTEL" userId="2d5b7065-31bb-4181-a7f8-a73bf0c30211" providerId="ADAL" clId="{F05BB0D5-3454-45DC-8378-DA45B79D9A06}" dt="2020-10-02T13:04:33.700" v="2602" actId="790"/>
          <ac:spMkLst>
            <pc:docMk/>
            <pc:sldMk cId="4222955874" sldId="6934"/>
            <ac:spMk id="35" creationId="{56BB9412-782D-4380-AEFA-232D451CE4DC}"/>
          </ac:spMkLst>
        </pc:spChg>
        <pc:spChg chg="mod">
          <ac:chgData name="Ugo MANTEL" userId="2d5b7065-31bb-4181-a7f8-a73bf0c30211" providerId="ADAL" clId="{F05BB0D5-3454-45DC-8378-DA45B79D9A06}" dt="2020-10-02T13:04:33.701" v="2603" actId="790"/>
          <ac:spMkLst>
            <pc:docMk/>
            <pc:sldMk cId="4222955874" sldId="6934"/>
            <ac:spMk id="36" creationId="{E75A137A-9430-445E-B599-3201899F867B}"/>
          </ac:spMkLst>
        </pc:spChg>
        <pc:spChg chg="mod">
          <ac:chgData name="Ugo MANTEL" userId="2d5b7065-31bb-4181-a7f8-a73bf0c30211" providerId="ADAL" clId="{F05BB0D5-3454-45DC-8378-DA45B79D9A06}" dt="2020-10-02T13:04:33.701" v="2604" actId="790"/>
          <ac:spMkLst>
            <pc:docMk/>
            <pc:sldMk cId="4222955874" sldId="6934"/>
            <ac:spMk id="37" creationId="{B8DA572F-2B41-4A4A-B618-02C5BD679570}"/>
          </ac:spMkLst>
        </pc:spChg>
        <pc:spChg chg="mod">
          <ac:chgData name="Ugo MANTEL" userId="2d5b7065-31bb-4181-a7f8-a73bf0c30211" providerId="ADAL" clId="{F05BB0D5-3454-45DC-8378-DA45B79D9A06}" dt="2020-10-02T13:04:33.707" v="2614" actId="790"/>
          <ac:spMkLst>
            <pc:docMk/>
            <pc:sldMk cId="4222955874" sldId="6934"/>
            <ac:spMk id="43" creationId="{0C2C7F61-A2B8-42DA-9ADA-B50662F27D36}"/>
          </ac:spMkLst>
        </pc:spChg>
        <pc:spChg chg="mod">
          <ac:chgData name="Ugo MANTEL" userId="2d5b7065-31bb-4181-a7f8-a73bf0c30211" providerId="ADAL" clId="{F05BB0D5-3454-45DC-8378-DA45B79D9A06}" dt="2020-10-02T13:04:33.703" v="2606" actId="790"/>
          <ac:spMkLst>
            <pc:docMk/>
            <pc:sldMk cId="4222955874" sldId="6934"/>
            <ac:spMk id="47" creationId="{242034A2-E0C7-432B-8EE4-45C40E31AFA4}"/>
          </ac:spMkLst>
        </pc:spChg>
        <pc:spChg chg="mod">
          <ac:chgData name="Ugo MANTEL" userId="2d5b7065-31bb-4181-a7f8-a73bf0c30211" providerId="ADAL" clId="{F05BB0D5-3454-45DC-8378-DA45B79D9A06}" dt="2020-10-02T13:04:33.704" v="2608" actId="790"/>
          <ac:spMkLst>
            <pc:docMk/>
            <pc:sldMk cId="4222955874" sldId="6934"/>
            <ac:spMk id="48" creationId="{29F7F871-AA83-4AF0-B648-B8C761A55F02}"/>
          </ac:spMkLst>
        </pc:spChg>
        <pc:spChg chg="mod">
          <ac:chgData name="Ugo MANTEL" userId="2d5b7065-31bb-4181-a7f8-a73bf0c30211" providerId="ADAL" clId="{F05BB0D5-3454-45DC-8378-DA45B79D9A06}" dt="2020-10-02T13:04:33.704" v="2609" actId="790"/>
          <ac:spMkLst>
            <pc:docMk/>
            <pc:sldMk cId="4222955874" sldId="6934"/>
            <ac:spMk id="49" creationId="{92346253-A60E-4C41-8A45-4295AF2C5DD6}"/>
          </ac:spMkLst>
        </pc:spChg>
        <pc:spChg chg="mod">
          <ac:chgData name="Ugo MANTEL" userId="2d5b7065-31bb-4181-a7f8-a73bf0c30211" providerId="ADAL" clId="{F05BB0D5-3454-45DC-8378-DA45B79D9A06}" dt="2020-10-02T13:04:33.705" v="2610" actId="790"/>
          <ac:spMkLst>
            <pc:docMk/>
            <pc:sldMk cId="4222955874" sldId="6934"/>
            <ac:spMk id="50" creationId="{3A4C9BB6-E0FD-4387-BCCA-F4D1C5523FDB}"/>
          </ac:spMkLst>
        </pc:spChg>
        <pc:spChg chg="mod">
          <ac:chgData name="Ugo MANTEL" userId="2d5b7065-31bb-4181-a7f8-a73bf0c30211" providerId="ADAL" clId="{F05BB0D5-3454-45DC-8378-DA45B79D9A06}" dt="2020-10-02T13:04:33.705" v="2611" actId="790"/>
          <ac:spMkLst>
            <pc:docMk/>
            <pc:sldMk cId="4222955874" sldId="6934"/>
            <ac:spMk id="51" creationId="{8CF8C7EC-0928-4D28-8B5A-09FC910D2736}"/>
          </ac:spMkLst>
        </pc:spChg>
        <pc:spChg chg="mod">
          <ac:chgData name="Ugo MANTEL" userId="2d5b7065-31bb-4181-a7f8-a73bf0c30211" providerId="ADAL" clId="{F05BB0D5-3454-45DC-8378-DA45B79D9A06}" dt="2020-10-02T13:04:33.706" v="2612" actId="790"/>
          <ac:spMkLst>
            <pc:docMk/>
            <pc:sldMk cId="4222955874" sldId="6934"/>
            <ac:spMk id="52" creationId="{C1572801-694D-4079-9FD0-D8EFA19E8A50}"/>
          </ac:spMkLst>
        </pc:spChg>
        <pc:spChg chg="mod">
          <ac:chgData name="Ugo MANTEL" userId="2d5b7065-31bb-4181-a7f8-a73bf0c30211" providerId="ADAL" clId="{F05BB0D5-3454-45DC-8378-DA45B79D9A06}" dt="2020-10-02T13:04:33.706" v="2613" actId="790"/>
          <ac:spMkLst>
            <pc:docMk/>
            <pc:sldMk cId="4222955874" sldId="6934"/>
            <ac:spMk id="53" creationId="{C648C527-D165-4606-AD9D-BF2B158C465F}"/>
          </ac:spMkLst>
        </pc:spChg>
        <pc:spChg chg="mod">
          <ac:chgData name="Ugo MANTEL" userId="2d5b7065-31bb-4181-a7f8-a73bf0c30211" providerId="ADAL" clId="{F05BB0D5-3454-45DC-8378-DA45B79D9A06}" dt="2020-10-02T13:04:33.708" v="2615" actId="790"/>
          <ac:spMkLst>
            <pc:docMk/>
            <pc:sldMk cId="4222955874" sldId="6934"/>
            <ac:spMk id="57" creationId="{45D6B198-5DD2-44D5-B8FA-2B5BBE1B496F}"/>
          </ac:spMkLst>
        </pc:spChg>
        <pc:spChg chg="mod">
          <ac:chgData name="Ugo MANTEL" userId="2d5b7065-31bb-4181-a7f8-a73bf0c30211" providerId="ADAL" clId="{F05BB0D5-3454-45DC-8378-DA45B79D9A06}" dt="2020-10-02T13:04:33.709" v="2616" actId="790"/>
          <ac:spMkLst>
            <pc:docMk/>
            <pc:sldMk cId="4222955874" sldId="6934"/>
            <ac:spMk id="60" creationId="{8EC1D199-0CDA-4011-B9F5-54A04C74779F}"/>
          </ac:spMkLst>
        </pc:spChg>
        <pc:spChg chg="mod">
          <ac:chgData name="Ugo MANTEL" userId="2d5b7065-31bb-4181-a7f8-a73bf0c30211" providerId="ADAL" clId="{F05BB0D5-3454-45DC-8378-DA45B79D9A06}" dt="2020-10-02T13:04:33.710" v="2617" actId="790"/>
          <ac:spMkLst>
            <pc:docMk/>
            <pc:sldMk cId="4222955874" sldId="6934"/>
            <ac:spMk id="61" creationId="{D998016A-8E5F-4074-A96A-0126234D8A7B}"/>
          </ac:spMkLst>
        </pc:spChg>
        <pc:spChg chg="mod">
          <ac:chgData name="Ugo MANTEL" userId="2d5b7065-31bb-4181-a7f8-a73bf0c30211" providerId="ADAL" clId="{F05BB0D5-3454-45DC-8378-DA45B79D9A06}" dt="2020-10-02T13:04:33.711" v="2618" actId="790"/>
          <ac:spMkLst>
            <pc:docMk/>
            <pc:sldMk cId="4222955874" sldId="6934"/>
            <ac:spMk id="62" creationId="{5110515E-1F1C-45F0-B51B-54A0DE119F77}"/>
          </ac:spMkLst>
        </pc:spChg>
        <pc:spChg chg="mod">
          <ac:chgData name="Ugo MANTEL" userId="2d5b7065-31bb-4181-a7f8-a73bf0c30211" providerId="ADAL" clId="{F05BB0D5-3454-45DC-8378-DA45B79D9A06}" dt="2020-10-02T13:04:33.711" v="2619" actId="790"/>
          <ac:spMkLst>
            <pc:docMk/>
            <pc:sldMk cId="4222955874" sldId="6934"/>
            <ac:spMk id="63" creationId="{5368D231-990E-47CE-9EC6-F2A5715ECE75}"/>
          </ac:spMkLst>
        </pc:spChg>
        <pc:spChg chg="mod">
          <ac:chgData name="Ugo MANTEL" userId="2d5b7065-31bb-4181-a7f8-a73bf0c30211" providerId="ADAL" clId="{F05BB0D5-3454-45DC-8378-DA45B79D9A06}" dt="2020-10-02T13:04:33.712" v="2620" actId="790"/>
          <ac:spMkLst>
            <pc:docMk/>
            <pc:sldMk cId="4222955874" sldId="6934"/>
            <ac:spMk id="64" creationId="{C46A13FE-C698-4725-AEAF-F5D909032B69}"/>
          </ac:spMkLst>
        </pc:spChg>
        <pc:spChg chg="mod">
          <ac:chgData name="Ugo MANTEL" userId="2d5b7065-31bb-4181-a7f8-a73bf0c30211" providerId="ADAL" clId="{F05BB0D5-3454-45DC-8378-DA45B79D9A06}" dt="2020-10-02T13:04:33.713" v="2621" actId="790"/>
          <ac:spMkLst>
            <pc:docMk/>
            <pc:sldMk cId="4222955874" sldId="6934"/>
            <ac:spMk id="65" creationId="{176B6962-FE38-456C-8B8C-32EE80906241}"/>
          </ac:spMkLst>
        </pc:spChg>
        <pc:spChg chg="mod">
          <ac:chgData name="Ugo MANTEL" userId="2d5b7065-31bb-4181-a7f8-a73bf0c30211" providerId="ADAL" clId="{F05BB0D5-3454-45DC-8378-DA45B79D9A06}" dt="2020-10-02T13:04:33.713" v="2622" actId="790"/>
          <ac:spMkLst>
            <pc:docMk/>
            <pc:sldMk cId="4222955874" sldId="6934"/>
            <ac:spMk id="66" creationId="{1082E8CF-8D73-467C-BB75-BB213C658338}"/>
          </ac:spMkLst>
        </pc:spChg>
        <pc:spChg chg="mod">
          <ac:chgData name="Ugo MANTEL" userId="2d5b7065-31bb-4181-a7f8-a73bf0c30211" providerId="ADAL" clId="{F05BB0D5-3454-45DC-8378-DA45B79D9A06}" dt="2020-10-02T13:04:33.714" v="2623" actId="790"/>
          <ac:spMkLst>
            <pc:docMk/>
            <pc:sldMk cId="4222955874" sldId="6934"/>
            <ac:spMk id="67" creationId="{204B429C-5157-4F7C-A409-AB216D389498}"/>
          </ac:spMkLst>
        </pc:spChg>
        <pc:spChg chg="mod">
          <ac:chgData name="Ugo MANTEL" userId="2d5b7065-31bb-4181-a7f8-a73bf0c30211" providerId="ADAL" clId="{F05BB0D5-3454-45DC-8378-DA45B79D9A06}" dt="2020-10-02T13:04:33.674" v="2592" actId="790"/>
          <ac:spMkLst>
            <pc:docMk/>
            <pc:sldMk cId="4222955874" sldId="6934"/>
            <ac:spMk id="86" creationId="{36E1B686-F2F5-4668-9F1F-6EAE8FE875A9}"/>
          </ac:spMkLst>
        </pc:spChg>
        <pc:spChg chg="mod">
          <ac:chgData name="Ugo MANTEL" userId="2d5b7065-31bb-4181-a7f8-a73bf0c30211" providerId="ADAL" clId="{F05BB0D5-3454-45DC-8378-DA45B79D9A06}" dt="2020-10-02T13:04:33.682" v="2593" actId="790"/>
          <ac:spMkLst>
            <pc:docMk/>
            <pc:sldMk cId="4222955874" sldId="6934"/>
            <ac:spMk id="92" creationId="{D9D9F08E-B027-4B85-8840-FB0E30E39398}"/>
          </ac:spMkLst>
        </pc:spChg>
        <pc:spChg chg="mod">
          <ac:chgData name="Ugo MANTEL" userId="2d5b7065-31bb-4181-a7f8-a73bf0c30211" providerId="ADAL" clId="{F05BB0D5-3454-45DC-8378-DA45B79D9A06}" dt="2020-10-02T13:04:33.684" v="2594" actId="790"/>
          <ac:spMkLst>
            <pc:docMk/>
            <pc:sldMk cId="4222955874" sldId="6934"/>
            <ac:spMk id="94" creationId="{E2672835-D157-41D7-AD67-C5F73A387E09}"/>
          </ac:spMkLst>
        </pc:spChg>
        <pc:spChg chg="mod">
          <ac:chgData name="Ugo MANTEL" userId="2d5b7065-31bb-4181-a7f8-a73bf0c30211" providerId="ADAL" clId="{F05BB0D5-3454-45DC-8378-DA45B79D9A06}" dt="2020-10-02T13:04:33.687" v="2595" actId="790"/>
          <ac:spMkLst>
            <pc:docMk/>
            <pc:sldMk cId="4222955874" sldId="6934"/>
            <ac:spMk id="95" creationId="{45B50EDB-B8B0-40E3-8C93-6EBD15D25C17}"/>
          </ac:spMkLst>
        </pc:spChg>
        <pc:spChg chg="mod">
          <ac:chgData name="Ugo MANTEL" userId="2d5b7065-31bb-4181-a7f8-a73bf0c30211" providerId="ADAL" clId="{F05BB0D5-3454-45DC-8378-DA45B79D9A06}" dt="2020-10-02T13:04:33.688" v="2596" actId="790"/>
          <ac:spMkLst>
            <pc:docMk/>
            <pc:sldMk cId="4222955874" sldId="6934"/>
            <ac:spMk id="115" creationId="{DB2BD2CB-492C-45C3-B620-BCB3C3183109}"/>
          </ac:spMkLst>
        </pc:spChg>
        <pc:spChg chg="mod">
          <ac:chgData name="Ugo MANTEL" userId="2d5b7065-31bb-4181-a7f8-a73bf0c30211" providerId="ADAL" clId="{F05BB0D5-3454-45DC-8378-DA45B79D9A06}" dt="2020-10-02T13:04:33.696" v="2597" actId="790"/>
          <ac:spMkLst>
            <pc:docMk/>
            <pc:sldMk cId="4222955874" sldId="6934"/>
            <ac:spMk id="116" creationId="{2D77EBD7-2543-49C6-B83B-32DB425BC33B}"/>
          </ac:spMkLst>
        </pc:spChg>
        <pc:spChg chg="mod">
          <ac:chgData name="Ugo MANTEL" userId="2d5b7065-31bb-4181-a7f8-a73bf0c30211" providerId="ADAL" clId="{F05BB0D5-3454-45DC-8378-DA45B79D9A06}" dt="2020-10-02T13:04:33.697" v="2599" actId="790"/>
          <ac:spMkLst>
            <pc:docMk/>
            <pc:sldMk cId="4222955874" sldId="6934"/>
            <ac:spMk id="119" creationId="{DD1F7526-9ACB-481A-A424-3A7D417E5889}"/>
          </ac:spMkLst>
        </pc:spChg>
        <pc:spChg chg="mod">
          <ac:chgData name="Ugo MANTEL" userId="2d5b7065-31bb-4181-a7f8-a73bf0c30211" providerId="ADAL" clId="{F05BB0D5-3454-45DC-8378-DA45B79D9A06}" dt="2020-10-02T13:04:33.698" v="2600" actId="790"/>
          <ac:spMkLst>
            <pc:docMk/>
            <pc:sldMk cId="4222955874" sldId="6934"/>
            <ac:spMk id="120" creationId="{20F7CBB8-D0FC-4D3E-A69E-1E08DA071689}"/>
          </ac:spMkLst>
        </pc:spChg>
      </pc:sldChg>
      <pc:sldChg chg="modSp mod">
        <pc:chgData name="Ugo MANTEL" userId="2d5b7065-31bb-4181-a7f8-a73bf0c30211" providerId="ADAL" clId="{F05BB0D5-3454-45DC-8378-DA45B79D9A06}" dt="2020-10-07T08:31:40.177" v="10662"/>
        <pc:sldMkLst>
          <pc:docMk/>
          <pc:sldMk cId="1924704819" sldId="6937"/>
        </pc:sldMkLst>
        <pc:spChg chg="mod">
          <ac:chgData name="Ugo MANTEL" userId="2d5b7065-31bb-4181-a7f8-a73bf0c30211" providerId="ADAL" clId="{F05BB0D5-3454-45DC-8378-DA45B79D9A06}" dt="2020-10-02T13:04:35.486" v="4360" actId="790"/>
          <ac:spMkLst>
            <pc:docMk/>
            <pc:sldMk cId="1924704819" sldId="6937"/>
            <ac:spMk id="3" creationId="{FBD13BD1-B840-4073-A6D1-1E8723FF6B39}"/>
          </ac:spMkLst>
        </pc:spChg>
        <pc:spChg chg="mod">
          <ac:chgData name="Ugo MANTEL" userId="2d5b7065-31bb-4181-a7f8-a73bf0c30211" providerId="ADAL" clId="{F05BB0D5-3454-45DC-8378-DA45B79D9A06}" dt="2020-10-02T13:04:35.484" v="4359" actId="790"/>
          <ac:spMkLst>
            <pc:docMk/>
            <pc:sldMk cId="1924704819" sldId="6937"/>
            <ac:spMk id="5" creationId="{A1AE1010-4DC4-4E84-B9D3-B2CAA7A78AA4}"/>
          </ac:spMkLst>
        </pc:spChg>
        <pc:spChg chg="mod">
          <ac:chgData name="Ugo MANTEL" userId="2d5b7065-31bb-4181-a7f8-a73bf0c30211" providerId="ADAL" clId="{F05BB0D5-3454-45DC-8378-DA45B79D9A06}" dt="2020-10-02T13:04:35.482" v="4358" actId="790"/>
          <ac:spMkLst>
            <pc:docMk/>
            <pc:sldMk cId="1924704819" sldId="6937"/>
            <ac:spMk id="6" creationId="{A1381AAA-C103-400B-A0E3-B9609C488AF2}"/>
          </ac:spMkLst>
        </pc:spChg>
        <pc:spChg chg="mod">
          <ac:chgData name="Ugo MANTEL" userId="2d5b7065-31bb-4181-a7f8-a73bf0c30211" providerId="ADAL" clId="{F05BB0D5-3454-45DC-8378-DA45B79D9A06}" dt="2020-10-02T13:04:35.488" v="4361" actId="790"/>
          <ac:spMkLst>
            <pc:docMk/>
            <pc:sldMk cId="1924704819" sldId="6937"/>
            <ac:spMk id="21" creationId="{8DF558A3-1E6B-42C4-BC10-9D27518050F9}"/>
          </ac:spMkLst>
        </pc:spChg>
        <pc:spChg chg="mod">
          <ac:chgData name="Ugo MANTEL" userId="2d5b7065-31bb-4181-a7f8-a73bf0c30211" providerId="ADAL" clId="{F05BB0D5-3454-45DC-8378-DA45B79D9A06}" dt="2020-10-02T13:04:35.503" v="4370" actId="790"/>
          <ac:spMkLst>
            <pc:docMk/>
            <pc:sldMk cId="1924704819" sldId="6937"/>
            <ac:spMk id="30" creationId="{6C7B70EA-DF21-4197-988F-171E0A94CF42}"/>
          </ac:spMkLst>
        </pc:spChg>
        <pc:spChg chg="mod">
          <ac:chgData name="Ugo MANTEL" userId="2d5b7065-31bb-4181-a7f8-a73bf0c30211" providerId="ADAL" clId="{F05BB0D5-3454-45DC-8378-DA45B79D9A06}" dt="2020-10-02T13:04:35.490" v="4362" actId="790"/>
          <ac:spMkLst>
            <pc:docMk/>
            <pc:sldMk cId="1924704819" sldId="6937"/>
            <ac:spMk id="33" creationId="{42B9B06B-0CE4-4422-A176-DC80CE725728}"/>
          </ac:spMkLst>
        </pc:spChg>
        <pc:spChg chg="mod">
          <ac:chgData name="Ugo MANTEL" userId="2d5b7065-31bb-4181-a7f8-a73bf0c30211" providerId="ADAL" clId="{F05BB0D5-3454-45DC-8378-DA45B79D9A06}" dt="2020-10-02T13:04:35.505" v="4371" actId="790"/>
          <ac:spMkLst>
            <pc:docMk/>
            <pc:sldMk cId="1924704819" sldId="6937"/>
            <ac:spMk id="38" creationId="{3A9C706A-9D6A-4698-B3EC-9EA0F5048A02}"/>
          </ac:spMkLst>
        </pc:spChg>
        <pc:spChg chg="mod">
          <ac:chgData name="Ugo MANTEL" userId="2d5b7065-31bb-4181-a7f8-a73bf0c30211" providerId="ADAL" clId="{F05BB0D5-3454-45DC-8378-DA45B79D9A06}" dt="2020-10-02T13:04:35.500" v="4369" actId="790"/>
          <ac:spMkLst>
            <pc:docMk/>
            <pc:sldMk cId="1924704819" sldId="6937"/>
            <ac:spMk id="39" creationId="{CBDF6B1C-0B00-48F1-B35B-862F35B1A685}"/>
          </ac:spMkLst>
        </pc:spChg>
        <pc:spChg chg="mod">
          <ac:chgData name="Ugo MANTEL" userId="2d5b7065-31bb-4181-a7f8-a73bf0c30211" providerId="ADAL" clId="{F05BB0D5-3454-45DC-8378-DA45B79D9A06}" dt="2020-10-02T13:04:35.493" v="4363" actId="790"/>
          <ac:spMkLst>
            <pc:docMk/>
            <pc:sldMk cId="1924704819" sldId="6937"/>
            <ac:spMk id="48" creationId="{F6C477B1-D7BD-4FFA-87C6-8CEE1D0D15AD}"/>
          </ac:spMkLst>
        </pc:spChg>
        <pc:spChg chg="mod">
          <ac:chgData name="Ugo MANTEL" userId="2d5b7065-31bb-4181-a7f8-a73bf0c30211" providerId="ADAL" clId="{F05BB0D5-3454-45DC-8378-DA45B79D9A06}" dt="2020-10-02T13:04:35.494" v="4364" actId="790"/>
          <ac:spMkLst>
            <pc:docMk/>
            <pc:sldMk cId="1924704819" sldId="6937"/>
            <ac:spMk id="50" creationId="{C065DFFD-EFFB-4B2E-A8EF-DC8CF5E0B6E8}"/>
          </ac:spMkLst>
        </pc:spChg>
        <pc:spChg chg="mod">
          <ac:chgData name="Ugo MANTEL" userId="2d5b7065-31bb-4181-a7f8-a73bf0c30211" providerId="ADAL" clId="{F05BB0D5-3454-45DC-8378-DA45B79D9A06}" dt="2020-10-02T13:04:35.494" v="4365" actId="790"/>
          <ac:spMkLst>
            <pc:docMk/>
            <pc:sldMk cId="1924704819" sldId="6937"/>
            <ac:spMk id="51" creationId="{D3335064-24B2-416C-A923-EF8EFF502BE8}"/>
          </ac:spMkLst>
        </pc:spChg>
        <pc:spChg chg="mod">
          <ac:chgData name="Ugo MANTEL" userId="2d5b7065-31bb-4181-a7f8-a73bf0c30211" providerId="ADAL" clId="{F05BB0D5-3454-45DC-8378-DA45B79D9A06}" dt="2020-10-02T13:04:35.495" v="4366" actId="790"/>
          <ac:spMkLst>
            <pc:docMk/>
            <pc:sldMk cId="1924704819" sldId="6937"/>
            <ac:spMk id="56" creationId="{42494F08-2D9D-457A-AFAE-988455FB9582}"/>
          </ac:spMkLst>
        </pc:spChg>
        <pc:spChg chg="mod">
          <ac:chgData name="Ugo MANTEL" userId="2d5b7065-31bb-4181-a7f8-a73bf0c30211" providerId="ADAL" clId="{F05BB0D5-3454-45DC-8378-DA45B79D9A06}" dt="2020-10-02T13:04:35.496" v="4367" actId="790"/>
          <ac:spMkLst>
            <pc:docMk/>
            <pc:sldMk cId="1924704819" sldId="6937"/>
            <ac:spMk id="57" creationId="{2C3D46D8-C133-458F-8F43-4025F040C5BB}"/>
          </ac:spMkLst>
        </pc:spChg>
        <pc:spChg chg="mod">
          <ac:chgData name="Ugo MANTEL" userId="2d5b7065-31bb-4181-a7f8-a73bf0c30211" providerId="ADAL" clId="{F05BB0D5-3454-45DC-8378-DA45B79D9A06}" dt="2020-10-02T13:04:35.497" v="4368" actId="790"/>
          <ac:spMkLst>
            <pc:docMk/>
            <pc:sldMk cId="1924704819" sldId="6937"/>
            <ac:spMk id="61" creationId="{CC942D35-FA6F-477C-8D23-69BE8FE4F001}"/>
          </ac:spMkLst>
        </pc:spChg>
        <pc:graphicFrameChg chg="modGraphic">
          <ac:chgData name="Ugo MANTEL" userId="2d5b7065-31bb-4181-a7f8-a73bf0c30211" providerId="ADAL" clId="{F05BB0D5-3454-45DC-8378-DA45B79D9A06}" dt="2020-10-07T08:31:40.177" v="10662"/>
          <ac:graphicFrameMkLst>
            <pc:docMk/>
            <pc:sldMk cId="1924704819" sldId="6937"/>
            <ac:graphicFrameMk id="36" creationId="{2CD77FC4-1E30-46C1-B568-1254633A3E44}"/>
          </ac:graphicFrameMkLst>
        </pc:graphicFrameChg>
      </pc:sldChg>
      <pc:sldChg chg="modSp mod">
        <pc:chgData name="Ugo MANTEL" userId="2d5b7065-31bb-4181-a7f8-a73bf0c30211" providerId="ADAL" clId="{F05BB0D5-3454-45DC-8378-DA45B79D9A06}" dt="2020-10-02T13:04:36.680" v="5343" actId="790"/>
        <pc:sldMkLst>
          <pc:docMk/>
          <pc:sldMk cId="3276115457" sldId="6939"/>
        </pc:sldMkLst>
        <pc:spChg chg="mod">
          <ac:chgData name="Ugo MANTEL" userId="2d5b7065-31bb-4181-a7f8-a73bf0c30211" providerId="ADAL" clId="{F05BB0D5-3454-45DC-8378-DA45B79D9A06}" dt="2020-10-02T13:04:36.644" v="5298" actId="790"/>
          <ac:spMkLst>
            <pc:docMk/>
            <pc:sldMk cId="3276115457" sldId="6939"/>
            <ac:spMk id="3" creationId="{10561ADF-A7DF-4CCB-A7DC-6DEDE384578B}"/>
          </ac:spMkLst>
        </pc:spChg>
        <pc:spChg chg="mod">
          <ac:chgData name="Ugo MANTEL" userId="2d5b7065-31bb-4181-a7f8-a73bf0c30211" providerId="ADAL" clId="{F05BB0D5-3454-45DC-8378-DA45B79D9A06}" dt="2020-10-02T13:04:36.645" v="5299" actId="790"/>
          <ac:spMkLst>
            <pc:docMk/>
            <pc:sldMk cId="3276115457" sldId="6939"/>
            <ac:spMk id="8" creationId="{5380CE36-9F8B-4709-88F0-0B5BFF3BF056}"/>
          </ac:spMkLst>
        </pc:spChg>
        <pc:spChg chg="mod">
          <ac:chgData name="Ugo MANTEL" userId="2d5b7065-31bb-4181-a7f8-a73bf0c30211" providerId="ADAL" clId="{F05BB0D5-3454-45DC-8378-DA45B79D9A06}" dt="2020-10-02T13:04:36.646" v="5300" actId="790"/>
          <ac:spMkLst>
            <pc:docMk/>
            <pc:sldMk cId="3276115457" sldId="6939"/>
            <ac:spMk id="10" creationId="{280CE774-A8A3-4849-A760-27355C95BFF9}"/>
          </ac:spMkLst>
        </pc:spChg>
        <pc:spChg chg="mod">
          <ac:chgData name="Ugo MANTEL" userId="2d5b7065-31bb-4181-a7f8-a73bf0c30211" providerId="ADAL" clId="{F05BB0D5-3454-45DC-8378-DA45B79D9A06}" dt="2020-10-02T13:04:36.647" v="5301" actId="790"/>
          <ac:spMkLst>
            <pc:docMk/>
            <pc:sldMk cId="3276115457" sldId="6939"/>
            <ac:spMk id="11" creationId="{F8F5FC42-70EC-4066-8C52-FB1FE66A9024}"/>
          </ac:spMkLst>
        </pc:spChg>
        <pc:spChg chg="mod">
          <ac:chgData name="Ugo MANTEL" userId="2d5b7065-31bb-4181-a7f8-a73bf0c30211" providerId="ADAL" clId="{F05BB0D5-3454-45DC-8378-DA45B79D9A06}" dt="2020-10-02T13:04:36.641" v="5296" actId="790"/>
          <ac:spMkLst>
            <pc:docMk/>
            <pc:sldMk cId="3276115457" sldId="6939"/>
            <ac:spMk id="13" creationId="{F1E5D7FA-FB46-476D-A5B2-146D2FA2F652}"/>
          </ac:spMkLst>
        </pc:spChg>
        <pc:spChg chg="mod">
          <ac:chgData name="Ugo MANTEL" userId="2d5b7065-31bb-4181-a7f8-a73bf0c30211" providerId="ADAL" clId="{F05BB0D5-3454-45DC-8378-DA45B79D9A06}" dt="2020-10-02T13:04:36.647" v="5302" actId="790"/>
          <ac:spMkLst>
            <pc:docMk/>
            <pc:sldMk cId="3276115457" sldId="6939"/>
            <ac:spMk id="14" creationId="{58BB45F0-39BD-490D-960A-C00EC3E4283D}"/>
          </ac:spMkLst>
        </pc:spChg>
        <pc:spChg chg="mod">
          <ac:chgData name="Ugo MANTEL" userId="2d5b7065-31bb-4181-a7f8-a73bf0c30211" providerId="ADAL" clId="{F05BB0D5-3454-45DC-8378-DA45B79D9A06}" dt="2020-10-02T13:04:36.648" v="5303" actId="790"/>
          <ac:spMkLst>
            <pc:docMk/>
            <pc:sldMk cId="3276115457" sldId="6939"/>
            <ac:spMk id="15" creationId="{1E4D70F9-0F53-44D1-8661-694231D6263D}"/>
          </ac:spMkLst>
        </pc:spChg>
        <pc:spChg chg="mod">
          <ac:chgData name="Ugo MANTEL" userId="2d5b7065-31bb-4181-a7f8-a73bf0c30211" providerId="ADAL" clId="{F05BB0D5-3454-45DC-8378-DA45B79D9A06}" dt="2020-10-02T13:04:36.677" v="5339" actId="790"/>
          <ac:spMkLst>
            <pc:docMk/>
            <pc:sldMk cId="3276115457" sldId="6939"/>
            <ac:spMk id="17" creationId="{D78D5F1A-514A-466E-9179-022B0BA74612}"/>
          </ac:spMkLst>
        </pc:spChg>
        <pc:spChg chg="mod">
          <ac:chgData name="Ugo MANTEL" userId="2d5b7065-31bb-4181-a7f8-a73bf0c30211" providerId="ADAL" clId="{F05BB0D5-3454-45DC-8378-DA45B79D9A06}" dt="2020-10-02T13:04:36.678" v="5341" actId="790"/>
          <ac:spMkLst>
            <pc:docMk/>
            <pc:sldMk cId="3276115457" sldId="6939"/>
            <ac:spMk id="20" creationId="{29C11D97-D835-4974-B916-841FA3662382}"/>
          </ac:spMkLst>
        </pc:spChg>
        <pc:spChg chg="mod">
          <ac:chgData name="Ugo MANTEL" userId="2d5b7065-31bb-4181-a7f8-a73bf0c30211" providerId="ADAL" clId="{F05BB0D5-3454-45DC-8378-DA45B79D9A06}" dt="2020-10-02T13:04:36.650" v="5304" actId="790"/>
          <ac:spMkLst>
            <pc:docMk/>
            <pc:sldMk cId="3276115457" sldId="6939"/>
            <ac:spMk id="24" creationId="{A8553FDB-1DB5-46C6-A629-137DA410C89C}"/>
          </ac:spMkLst>
        </pc:spChg>
        <pc:spChg chg="mod">
          <ac:chgData name="Ugo MANTEL" userId="2d5b7065-31bb-4181-a7f8-a73bf0c30211" providerId="ADAL" clId="{F05BB0D5-3454-45DC-8378-DA45B79D9A06}" dt="2020-10-02T13:04:36.651" v="5305" actId="790"/>
          <ac:spMkLst>
            <pc:docMk/>
            <pc:sldMk cId="3276115457" sldId="6939"/>
            <ac:spMk id="27" creationId="{345D7F9B-41D3-4406-8CB7-BCC1E221EBE6}"/>
          </ac:spMkLst>
        </pc:spChg>
        <pc:spChg chg="mod">
          <ac:chgData name="Ugo MANTEL" userId="2d5b7065-31bb-4181-a7f8-a73bf0c30211" providerId="ADAL" clId="{F05BB0D5-3454-45DC-8378-DA45B79D9A06}" dt="2020-10-02T13:04:36.654" v="5309" actId="790"/>
          <ac:spMkLst>
            <pc:docMk/>
            <pc:sldMk cId="3276115457" sldId="6939"/>
            <ac:spMk id="29" creationId="{4797808D-913D-4B73-85F1-942B3BFF4F24}"/>
          </ac:spMkLst>
        </pc:spChg>
        <pc:spChg chg="mod">
          <ac:chgData name="Ugo MANTEL" userId="2d5b7065-31bb-4181-a7f8-a73bf0c30211" providerId="ADAL" clId="{F05BB0D5-3454-45DC-8378-DA45B79D9A06}" dt="2020-10-02T13:04:36.652" v="5306" actId="790"/>
          <ac:spMkLst>
            <pc:docMk/>
            <pc:sldMk cId="3276115457" sldId="6939"/>
            <ac:spMk id="31" creationId="{BA2F5725-355A-45F9-9BB4-EFB15FC7752E}"/>
          </ac:spMkLst>
        </pc:spChg>
        <pc:spChg chg="mod">
          <ac:chgData name="Ugo MANTEL" userId="2d5b7065-31bb-4181-a7f8-a73bf0c30211" providerId="ADAL" clId="{F05BB0D5-3454-45DC-8378-DA45B79D9A06}" dt="2020-10-02T13:04:36.653" v="5307" actId="790"/>
          <ac:spMkLst>
            <pc:docMk/>
            <pc:sldMk cId="3276115457" sldId="6939"/>
            <ac:spMk id="32" creationId="{0426B964-12EE-41C9-B505-D7E20D186AE7}"/>
          </ac:spMkLst>
        </pc:spChg>
        <pc:spChg chg="mod">
          <ac:chgData name="Ugo MANTEL" userId="2d5b7065-31bb-4181-a7f8-a73bf0c30211" providerId="ADAL" clId="{F05BB0D5-3454-45DC-8378-DA45B79D9A06}" dt="2020-10-02T13:04:36.653" v="5308" actId="790"/>
          <ac:spMkLst>
            <pc:docMk/>
            <pc:sldMk cId="3276115457" sldId="6939"/>
            <ac:spMk id="33" creationId="{F5F02E2B-B22B-4765-9FE8-1670DF07E9EA}"/>
          </ac:spMkLst>
        </pc:spChg>
        <pc:spChg chg="mod">
          <ac:chgData name="Ugo MANTEL" userId="2d5b7065-31bb-4181-a7f8-a73bf0c30211" providerId="ADAL" clId="{F05BB0D5-3454-45DC-8378-DA45B79D9A06}" dt="2020-10-02T13:04:36.655" v="5310" actId="790"/>
          <ac:spMkLst>
            <pc:docMk/>
            <pc:sldMk cId="3276115457" sldId="6939"/>
            <ac:spMk id="35" creationId="{E3055CDD-FDA9-4576-BD45-9AED148EB31D}"/>
          </ac:spMkLst>
        </pc:spChg>
        <pc:spChg chg="mod">
          <ac:chgData name="Ugo MANTEL" userId="2d5b7065-31bb-4181-a7f8-a73bf0c30211" providerId="ADAL" clId="{F05BB0D5-3454-45DC-8378-DA45B79D9A06}" dt="2020-10-02T13:04:36.656" v="5311" actId="790"/>
          <ac:spMkLst>
            <pc:docMk/>
            <pc:sldMk cId="3276115457" sldId="6939"/>
            <ac:spMk id="36" creationId="{AF2E9534-5B75-478E-B4C3-346B9E15CAF4}"/>
          </ac:spMkLst>
        </pc:spChg>
        <pc:spChg chg="mod">
          <ac:chgData name="Ugo MANTEL" userId="2d5b7065-31bb-4181-a7f8-a73bf0c30211" providerId="ADAL" clId="{F05BB0D5-3454-45DC-8378-DA45B79D9A06}" dt="2020-10-02T13:04:36.642" v="5297" actId="790"/>
          <ac:spMkLst>
            <pc:docMk/>
            <pc:sldMk cId="3276115457" sldId="6939"/>
            <ac:spMk id="48" creationId="{E8263A15-2A4A-47D5-B526-687D7D9CFEB9}"/>
          </ac:spMkLst>
        </pc:spChg>
        <pc:spChg chg="mod">
          <ac:chgData name="Ugo MANTEL" userId="2d5b7065-31bb-4181-a7f8-a73bf0c30211" providerId="ADAL" clId="{F05BB0D5-3454-45DC-8378-DA45B79D9A06}" dt="2020-10-02T13:04:36.657" v="5312" actId="790"/>
          <ac:spMkLst>
            <pc:docMk/>
            <pc:sldMk cId="3276115457" sldId="6939"/>
            <ac:spMk id="50" creationId="{06FE5ACD-5382-4EDA-9DC6-DFBEB53AC430}"/>
          </ac:spMkLst>
        </pc:spChg>
        <pc:spChg chg="mod">
          <ac:chgData name="Ugo MANTEL" userId="2d5b7065-31bb-4181-a7f8-a73bf0c30211" providerId="ADAL" clId="{F05BB0D5-3454-45DC-8378-DA45B79D9A06}" dt="2020-10-02T13:04:36.658" v="5314" actId="790"/>
          <ac:spMkLst>
            <pc:docMk/>
            <pc:sldMk cId="3276115457" sldId="6939"/>
            <ac:spMk id="54" creationId="{9CBA65FC-243A-4783-91D6-D432381446B2}"/>
          </ac:spMkLst>
        </pc:spChg>
        <pc:spChg chg="mod">
          <ac:chgData name="Ugo MANTEL" userId="2d5b7065-31bb-4181-a7f8-a73bf0c30211" providerId="ADAL" clId="{F05BB0D5-3454-45DC-8378-DA45B79D9A06}" dt="2020-10-02T13:04:36.657" v="5313" actId="790"/>
          <ac:spMkLst>
            <pc:docMk/>
            <pc:sldMk cId="3276115457" sldId="6939"/>
            <ac:spMk id="56" creationId="{52B98B18-C9BE-4103-ADE4-2D85E5255912}"/>
          </ac:spMkLst>
        </pc:spChg>
        <pc:spChg chg="mod">
          <ac:chgData name="Ugo MANTEL" userId="2d5b7065-31bb-4181-a7f8-a73bf0c30211" providerId="ADAL" clId="{F05BB0D5-3454-45DC-8378-DA45B79D9A06}" dt="2020-10-02T13:04:36.659" v="5315" actId="790"/>
          <ac:spMkLst>
            <pc:docMk/>
            <pc:sldMk cId="3276115457" sldId="6939"/>
            <ac:spMk id="63" creationId="{F9DF228A-A479-479C-980D-BB78949915A5}"/>
          </ac:spMkLst>
        </pc:spChg>
        <pc:spChg chg="mod">
          <ac:chgData name="Ugo MANTEL" userId="2d5b7065-31bb-4181-a7f8-a73bf0c30211" providerId="ADAL" clId="{F05BB0D5-3454-45DC-8378-DA45B79D9A06}" dt="2020-10-02T13:04:36.660" v="5316" actId="790"/>
          <ac:spMkLst>
            <pc:docMk/>
            <pc:sldMk cId="3276115457" sldId="6939"/>
            <ac:spMk id="65" creationId="{469DEA96-37AF-48B9-9667-3C554B72B9CB}"/>
          </ac:spMkLst>
        </pc:spChg>
        <pc:spChg chg="mod">
          <ac:chgData name="Ugo MANTEL" userId="2d5b7065-31bb-4181-a7f8-a73bf0c30211" providerId="ADAL" clId="{F05BB0D5-3454-45DC-8378-DA45B79D9A06}" dt="2020-10-02T13:04:36.661" v="5317" actId="790"/>
          <ac:spMkLst>
            <pc:docMk/>
            <pc:sldMk cId="3276115457" sldId="6939"/>
            <ac:spMk id="67" creationId="{390EF367-2A07-46A5-9933-BA85B759CAD3}"/>
          </ac:spMkLst>
        </pc:spChg>
        <pc:spChg chg="mod">
          <ac:chgData name="Ugo MANTEL" userId="2d5b7065-31bb-4181-a7f8-a73bf0c30211" providerId="ADAL" clId="{F05BB0D5-3454-45DC-8378-DA45B79D9A06}" dt="2020-10-02T13:04:36.669" v="5330" actId="790"/>
          <ac:spMkLst>
            <pc:docMk/>
            <pc:sldMk cId="3276115457" sldId="6939"/>
            <ac:spMk id="71" creationId="{DA86FF12-0713-4A96-9BB9-12C497C43C7C}"/>
          </ac:spMkLst>
        </pc:spChg>
        <pc:spChg chg="mod">
          <ac:chgData name="Ugo MANTEL" userId="2d5b7065-31bb-4181-a7f8-a73bf0c30211" providerId="ADAL" clId="{F05BB0D5-3454-45DC-8378-DA45B79D9A06}" dt="2020-10-02T13:04:36.670" v="5331" actId="790"/>
          <ac:spMkLst>
            <pc:docMk/>
            <pc:sldMk cId="3276115457" sldId="6939"/>
            <ac:spMk id="72" creationId="{CA8C8DE9-6858-43B0-9B40-56DA0C5E0D8C}"/>
          </ac:spMkLst>
        </pc:spChg>
        <pc:spChg chg="mod">
          <ac:chgData name="Ugo MANTEL" userId="2d5b7065-31bb-4181-a7f8-a73bf0c30211" providerId="ADAL" clId="{F05BB0D5-3454-45DC-8378-DA45B79D9A06}" dt="2020-10-02T13:04:36.671" v="5332" actId="790"/>
          <ac:spMkLst>
            <pc:docMk/>
            <pc:sldMk cId="3276115457" sldId="6939"/>
            <ac:spMk id="75" creationId="{D1E7626A-1E81-4156-86FC-867A39839390}"/>
          </ac:spMkLst>
        </pc:spChg>
        <pc:spChg chg="mod">
          <ac:chgData name="Ugo MANTEL" userId="2d5b7065-31bb-4181-a7f8-a73bf0c30211" providerId="ADAL" clId="{F05BB0D5-3454-45DC-8378-DA45B79D9A06}" dt="2020-10-02T13:04:36.667" v="5327" actId="790"/>
          <ac:spMkLst>
            <pc:docMk/>
            <pc:sldMk cId="3276115457" sldId="6939"/>
            <ac:spMk id="76" creationId="{B235BFB5-D869-46B2-83ED-072C48D2FB34}"/>
          </ac:spMkLst>
        </pc:spChg>
        <pc:spChg chg="mod">
          <ac:chgData name="Ugo MANTEL" userId="2d5b7065-31bb-4181-a7f8-a73bf0c30211" providerId="ADAL" clId="{F05BB0D5-3454-45DC-8378-DA45B79D9A06}" dt="2020-10-02T13:04:36.668" v="5328" actId="790"/>
          <ac:spMkLst>
            <pc:docMk/>
            <pc:sldMk cId="3276115457" sldId="6939"/>
            <ac:spMk id="77" creationId="{E5E54BD2-6F60-43D4-B491-C80D257464B7}"/>
          </ac:spMkLst>
        </pc:spChg>
        <pc:spChg chg="mod">
          <ac:chgData name="Ugo MANTEL" userId="2d5b7065-31bb-4181-a7f8-a73bf0c30211" providerId="ADAL" clId="{F05BB0D5-3454-45DC-8378-DA45B79D9A06}" dt="2020-10-02T13:04:36.661" v="5318" actId="790"/>
          <ac:spMkLst>
            <pc:docMk/>
            <pc:sldMk cId="3276115457" sldId="6939"/>
            <ac:spMk id="78" creationId="{1DD592AE-2EBB-4D91-84BD-589677F940F1}"/>
          </ac:spMkLst>
        </pc:spChg>
        <pc:spChg chg="mod">
          <ac:chgData name="Ugo MANTEL" userId="2d5b7065-31bb-4181-a7f8-a73bf0c30211" providerId="ADAL" clId="{F05BB0D5-3454-45DC-8378-DA45B79D9A06}" dt="2020-10-02T13:04:36.671" v="5333" actId="790"/>
          <ac:spMkLst>
            <pc:docMk/>
            <pc:sldMk cId="3276115457" sldId="6939"/>
            <ac:spMk id="81" creationId="{B0E7AC09-2BC9-4668-9F94-A291F7BB1E3B}"/>
          </ac:spMkLst>
        </pc:spChg>
        <pc:spChg chg="mod">
          <ac:chgData name="Ugo MANTEL" userId="2d5b7065-31bb-4181-a7f8-a73bf0c30211" providerId="ADAL" clId="{F05BB0D5-3454-45DC-8378-DA45B79D9A06}" dt="2020-10-02T13:04:36.662" v="5319" actId="790"/>
          <ac:spMkLst>
            <pc:docMk/>
            <pc:sldMk cId="3276115457" sldId="6939"/>
            <ac:spMk id="82" creationId="{BB12FB63-76C6-4963-8BEC-8E4F59210E12}"/>
          </ac:spMkLst>
        </pc:spChg>
        <pc:spChg chg="mod">
          <ac:chgData name="Ugo MANTEL" userId="2d5b7065-31bb-4181-a7f8-a73bf0c30211" providerId="ADAL" clId="{F05BB0D5-3454-45DC-8378-DA45B79D9A06}" dt="2020-10-02T13:04:36.663" v="5320" actId="790"/>
          <ac:spMkLst>
            <pc:docMk/>
            <pc:sldMk cId="3276115457" sldId="6939"/>
            <ac:spMk id="83" creationId="{5BA2871E-5B37-4CD9-9E38-6747D2105BA0}"/>
          </ac:spMkLst>
        </pc:spChg>
        <pc:spChg chg="mod">
          <ac:chgData name="Ugo MANTEL" userId="2d5b7065-31bb-4181-a7f8-a73bf0c30211" providerId="ADAL" clId="{F05BB0D5-3454-45DC-8378-DA45B79D9A06}" dt="2020-10-02T13:04:36.672" v="5334" actId="790"/>
          <ac:spMkLst>
            <pc:docMk/>
            <pc:sldMk cId="3276115457" sldId="6939"/>
            <ac:spMk id="84" creationId="{D65CBD88-2F8A-414F-BD1F-65B2B1659EBB}"/>
          </ac:spMkLst>
        </pc:spChg>
        <pc:spChg chg="mod">
          <ac:chgData name="Ugo MANTEL" userId="2d5b7065-31bb-4181-a7f8-a73bf0c30211" providerId="ADAL" clId="{F05BB0D5-3454-45DC-8378-DA45B79D9A06}" dt="2020-10-02T13:04:36.673" v="5335" actId="790"/>
          <ac:spMkLst>
            <pc:docMk/>
            <pc:sldMk cId="3276115457" sldId="6939"/>
            <ac:spMk id="85" creationId="{38616C3F-2FD8-4206-A580-76C4F09976B2}"/>
          </ac:spMkLst>
        </pc:spChg>
        <pc:spChg chg="mod">
          <ac:chgData name="Ugo MANTEL" userId="2d5b7065-31bb-4181-a7f8-a73bf0c30211" providerId="ADAL" clId="{F05BB0D5-3454-45DC-8378-DA45B79D9A06}" dt="2020-10-02T13:04:36.669" v="5329" actId="790"/>
          <ac:spMkLst>
            <pc:docMk/>
            <pc:sldMk cId="3276115457" sldId="6939"/>
            <ac:spMk id="86" creationId="{E3047BBD-384F-4AB3-B215-90A512F4F3C0}"/>
          </ac:spMkLst>
        </pc:spChg>
        <pc:spChg chg="mod">
          <ac:chgData name="Ugo MANTEL" userId="2d5b7065-31bb-4181-a7f8-a73bf0c30211" providerId="ADAL" clId="{F05BB0D5-3454-45DC-8378-DA45B79D9A06}" dt="2020-10-02T13:04:36.674" v="5336" actId="790"/>
          <ac:spMkLst>
            <pc:docMk/>
            <pc:sldMk cId="3276115457" sldId="6939"/>
            <ac:spMk id="94" creationId="{8CDFB941-2F0A-4218-979F-9B72AAFC552D}"/>
          </ac:spMkLst>
        </pc:spChg>
        <pc:spChg chg="mod">
          <ac:chgData name="Ugo MANTEL" userId="2d5b7065-31bb-4181-a7f8-a73bf0c30211" providerId="ADAL" clId="{F05BB0D5-3454-45DC-8378-DA45B79D9A06}" dt="2020-10-02T13:04:36.664" v="5323" actId="790"/>
          <ac:spMkLst>
            <pc:docMk/>
            <pc:sldMk cId="3276115457" sldId="6939"/>
            <ac:spMk id="96" creationId="{4C6BC3D0-A2BA-4F5F-99E9-577C1243A01B}"/>
          </ac:spMkLst>
        </pc:spChg>
        <pc:spChg chg="mod">
          <ac:chgData name="Ugo MANTEL" userId="2d5b7065-31bb-4181-a7f8-a73bf0c30211" providerId="ADAL" clId="{F05BB0D5-3454-45DC-8378-DA45B79D9A06}" dt="2020-10-02T13:04:36.665" v="5324" actId="790"/>
          <ac:spMkLst>
            <pc:docMk/>
            <pc:sldMk cId="3276115457" sldId="6939"/>
            <ac:spMk id="97" creationId="{19ADEF70-C234-4BCA-A25F-2D43DC0C2CEF}"/>
          </ac:spMkLst>
        </pc:spChg>
        <pc:spChg chg="mod">
          <ac:chgData name="Ugo MANTEL" userId="2d5b7065-31bb-4181-a7f8-a73bf0c30211" providerId="ADAL" clId="{F05BB0D5-3454-45DC-8378-DA45B79D9A06}" dt="2020-10-02T13:04:36.666" v="5325" actId="790"/>
          <ac:spMkLst>
            <pc:docMk/>
            <pc:sldMk cId="3276115457" sldId="6939"/>
            <ac:spMk id="99" creationId="{2AAA7D61-8013-4A15-BB14-F4F29B257564}"/>
          </ac:spMkLst>
        </pc:spChg>
        <pc:spChg chg="mod">
          <ac:chgData name="Ugo MANTEL" userId="2d5b7065-31bb-4181-a7f8-a73bf0c30211" providerId="ADAL" clId="{F05BB0D5-3454-45DC-8378-DA45B79D9A06}" dt="2020-10-02T13:04:36.667" v="5326" actId="790"/>
          <ac:spMkLst>
            <pc:docMk/>
            <pc:sldMk cId="3276115457" sldId="6939"/>
            <ac:spMk id="100" creationId="{F6B1BB31-23E0-4188-9EFB-5D005A15F7DE}"/>
          </ac:spMkLst>
        </pc:spChg>
        <pc:spChg chg="mod">
          <ac:chgData name="Ugo MANTEL" userId="2d5b7065-31bb-4181-a7f8-a73bf0c30211" providerId="ADAL" clId="{F05BB0D5-3454-45DC-8378-DA45B79D9A06}" dt="2020-10-02T13:04:36.676" v="5338" actId="790"/>
          <ac:spMkLst>
            <pc:docMk/>
            <pc:sldMk cId="3276115457" sldId="6939"/>
            <ac:spMk id="102" creationId="{E4B09638-68E6-4878-863B-CEBDAC3605F0}"/>
          </ac:spMkLst>
        </pc:spChg>
        <pc:spChg chg="mod">
          <ac:chgData name="Ugo MANTEL" userId="2d5b7065-31bb-4181-a7f8-a73bf0c30211" providerId="ADAL" clId="{F05BB0D5-3454-45DC-8378-DA45B79D9A06}" dt="2020-10-02T13:04:36.675" v="5337" actId="790"/>
          <ac:spMkLst>
            <pc:docMk/>
            <pc:sldMk cId="3276115457" sldId="6939"/>
            <ac:spMk id="103" creationId="{6FA02F26-A894-4395-9B64-3A3A9625482D}"/>
          </ac:spMkLst>
        </pc:spChg>
        <pc:spChg chg="mod">
          <ac:chgData name="Ugo MANTEL" userId="2d5b7065-31bb-4181-a7f8-a73bf0c30211" providerId="ADAL" clId="{F05BB0D5-3454-45DC-8378-DA45B79D9A06}" dt="2020-10-02T13:04:36.678" v="5340" actId="790"/>
          <ac:spMkLst>
            <pc:docMk/>
            <pc:sldMk cId="3276115457" sldId="6939"/>
            <ac:spMk id="104" creationId="{88388C6E-B953-432F-9511-F9BD9EF823BF}"/>
          </ac:spMkLst>
        </pc:spChg>
        <pc:spChg chg="mod">
          <ac:chgData name="Ugo MANTEL" userId="2d5b7065-31bb-4181-a7f8-a73bf0c30211" providerId="ADAL" clId="{F05BB0D5-3454-45DC-8378-DA45B79D9A06}" dt="2020-10-02T13:04:36.679" v="5342" actId="790"/>
          <ac:spMkLst>
            <pc:docMk/>
            <pc:sldMk cId="3276115457" sldId="6939"/>
            <ac:spMk id="109" creationId="{501EA85D-7F4C-4930-B693-6234A9FCA73E}"/>
          </ac:spMkLst>
        </pc:spChg>
        <pc:spChg chg="mod">
          <ac:chgData name="Ugo MANTEL" userId="2d5b7065-31bb-4181-a7f8-a73bf0c30211" providerId="ADAL" clId="{F05BB0D5-3454-45DC-8378-DA45B79D9A06}" dt="2020-10-02T13:04:36.680" v="5343" actId="790"/>
          <ac:spMkLst>
            <pc:docMk/>
            <pc:sldMk cId="3276115457" sldId="6939"/>
            <ac:spMk id="110" creationId="{9E829BAA-67C6-4EE1-8E6D-71E780013C76}"/>
          </ac:spMkLst>
        </pc:spChg>
        <pc:spChg chg="mod">
          <ac:chgData name="Ugo MANTEL" userId="2d5b7065-31bb-4181-a7f8-a73bf0c30211" providerId="ADAL" clId="{F05BB0D5-3454-45DC-8378-DA45B79D9A06}" dt="2020-10-02T13:04:36.663" v="5321" actId="790"/>
          <ac:spMkLst>
            <pc:docMk/>
            <pc:sldMk cId="3276115457" sldId="6939"/>
            <ac:spMk id="183308" creationId="{0D54E099-6A88-4E2C-BE7D-888A781A540F}"/>
          </ac:spMkLst>
        </pc:spChg>
        <pc:spChg chg="mod">
          <ac:chgData name="Ugo MANTEL" userId="2d5b7065-31bb-4181-a7f8-a73bf0c30211" providerId="ADAL" clId="{F05BB0D5-3454-45DC-8378-DA45B79D9A06}" dt="2020-10-02T13:04:36.664" v="5322" actId="790"/>
          <ac:spMkLst>
            <pc:docMk/>
            <pc:sldMk cId="3276115457" sldId="6939"/>
            <ac:spMk id="183309" creationId="{EDDEFBF3-087D-4A25-B781-C8B05355171E}"/>
          </ac:spMkLst>
        </pc:spChg>
      </pc:sldChg>
      <pc:sldChg chg="modSp mod">
        <pc:chgData name="Ugo MANTEL" userId="2d5b7065-31bb-4181-a7f8-a73bf0c30211" providerId="ADAL" clId="{F05BB0D5-3454-45DC-8378-DA45B79D9A06}" dt="2020-10-02T13:04:36.975" v="5599" actId="790"/>
        <pc:sldMkLst>
          <pc:docMk/>
          <pc:sldMk cId="2819355768" sldId="6948"/>
        </pc:sldMkLst>
        <pc:spChg chg="mod">
          <ac:chgData name="Ugo MANTEL" userId="2d5b7065-31bb-4181-a7f8-a73bf0c30211" providerId="ADAL" clId="{F05BB0D5-3454-45DC-8378-DA45B79D9A06}" dt="2020-10-02T13:04:36.905" v="5565" actId="790"/>
          <ac:spMkLst>
            <pc:docMk/>
            <pc:sldMk cId="2819355768" sldId="6948"/>
            <ac:spMk id="3" creationId="{30953E26-7813-417B-AC0B-7AC74C77D79F}"/>
          </ac:spMkLst>
        </pc:spChg>
        <pc:spChg chg="mod">
          <ac:chgData name="Ugo MANTEL" userId="2d5b7065-31bb-4181-a7f8-a73bf0c30211" providerId="ADAL" clId="{F05BB0D5-3454-45DC-8378-DA45B79D9A06}" dt="2020-10-02T13:04:36.902" v="5562" actId="790"/>
          <ac:spMkLst>
            <pc:docMk/>
            <pc:sldMk cId="2819355768" sldId="6948"/>
            <ac:spMk id="4" creationId="{CFDA14E9-D9F6-4D44-A466-BF298653DD71}"/>
          </ac:spMkLst>
        </pc:spChg>
        <pc:spChg chg="mod">
          <ac:chgData name="Ugo MANTEL" userId="2d5b7065-31bb-4181-a7f8-a73bf0c30211" providerId="ADAL" clId="{F05BB0D5-3454-45DC-8378-DA45B79D9A06}" dt="2020-10-02T13:04:36.975" v="5599" actId="790"/>
          <ac:spMkLst>
            <pc:docMk/>
            <pc:sldMk cId="2819355768" sldId="6948"/>
            <ac:spMk id="10" creationId="{567C5CCB-51D1-4661-9C48-6394529C706E}"/>
          </ac:spMkLst>
        </pc:spChg>
        <pc:spChg chg="mod">
          <ac:chgData name="Ugo MANTEL" userId="2d5b7065-31bb-4181-a7f8-a73bf0c30211" providerId="ADAL" clId="{F05BB0D5-3454-45DC-8378-DA45B79D9A06}" dt="2020-10-02T13:04:36.902" v="5563" actId="790"/>
          <ac:spMkLst>
            <pc:docMk/>
            <pc:sldMk cId="2819355768" sldId="6948"/>
            <ac:spMk id="14" creationId="{92FC6C6C-155F-4C1A-890E-114863D14568}"/>
          </ac:spMkLst>
        </pc:spChg>
        <pc:spChg chg="mod">
          <ac:chgData name="Ugo MANTEL" userId="2d5b7065-31bb-4181-a7f8-a73bf0c30211" providerId="ADAL" clId="{F05BB0D5-3454-45DC-8378-DA45B79D9A06}" dt="2020-10-02T13:04:36.910" v="5566" actId="790"/>
          <ac:spMkLst>
            <pc:docMk/>
            <pc:sldMk cId="2819355768" sldId="6948"/>
            <ac:spMk id="16" creationId="{EACE795C-C806-425F-8AA4-8EFA6F2CB1B5}"/>
          </ac:spMkLst>
        </pc:spChg>
        <pc:spChg chg="mod">
          <ac:chgData name="Ugo MANTEL" userId="2d5b7065-31bb-4181-a7f8-a73bf0c30211" providerId="ADAL" clId="{F05BB0D5-3454-45DC-8378-DA45B79D9A06}" dt="2020-10-02T13:04:36.919" v="5569" actId="790"/>
          <ac:spMkLst>
            <pc:docMk/>
            <pc:sldMk cId="2819355768" sldId="6948"/>
            <ac:spMk id="33" creationId="{35668BE3-A578-4550-A106-E1FC96FFA984}"/>
          </ac:spMkLst>
        </pc:spChg>
        <pc:spChg chg="mod">
          <ac:chgData name="Ugo MANTEL" userId="2d5b7065-31bb-4181-a7f8-a73bf0c30211" providerId="ADAL" clId="{F05BB0D5-3454-45DC-8378-DA45B79D9A06}" dt="2020-10-02T13:04:36.919" v="5570" actId="790"/>
          <ac:spMkLst>
            <pc:docMk/>
            <pc:sldMk cId="2819355768" sldId="6948"/>
            <ac:spMk id="35" creationId="{DD3EEF94-FB32-4BB4-9469-0571E622481E}"/>
          </ac:spMkLst>
        </pc:spChg>
        <pc:spChg chg="mod">
          <ac:chgData name="Ugo MANTEL" userId="2d5b7065-31bb-4181-a7f8-a73bf0c30211" providerId="ADAL" clId="{F05BB0D5-3454-45DC-8378-DA45B79D9A06}" dt="2020-10-02T13:04:36.920" v="5571" actId="790"/>
          <ac:spMkLst>
            <pc:docMk/>
            <pc:sldMk cId="2819355768" sldId="6948"/>
            <ac:spMk id="36" creationId="{B8916949-39E4-4A8B-8267-944AD57E150B}"/>
          </ac:spMkLst>
        </pc:spChg>
        <pc:spChg chg="mod">
          <ac:chgData name="Ugo MANTEL" userId="2d5b7065-31bb-4181-a7f8-a73bf0c30211" providerId="ADAL" clId="{F05BB0D5-3454-45DC-8378-DA45B79D9A06}" dt="2020-10-02T13:04:36.921" v="5572" actId="790"/>
          <ac:spMkLst>
            <pc:docMk/>
            <pc:sldMk cId="2819355768" sldId="6948"/>
            <ac:spMk id="37" creationId="{3148D036-372E-4EA1-9060-A86BD7DF5E23}"/>
          </ac:spMkLst>
        </pc:spChg>
        <pc:spChg chg="mod">
          <ac:chgData name="Ugo MANTEL" userId="2d5b7065-31bb-4181-a7f8-a73bf0c30211" providerId="ADAL" clId="{F05BB0D5-3454-45DC-8378-DA45B79D9A06}" dt="2020-10-02T13:04:36.922" v="5573" actId="790"/>
          <ac:spMkLst>
            <pc:docMk/>
            <pc:sldMk cId="2819355768" sldId="6948"/>
            <ac:spMk id="38" creationId="{034CD746-019D-4BB6-823A-21A2F34A1278}"/>
          </ac:spMkLst>
        </pc:spChg>
        <pc:spChg chg="mod">
          <ac:chgData name="Ugo MANTEL" userId="2d5b7065-31bb-4181-a7f8-a73bf0c30211" providerId="ADAL" clId="{F05BB0D5-3454-45DC-8378-DA45B79D9A06}" dt="2020-10-02T13:04:36.913" v="5567" actId="790"/>
          <ac:spMkLst>
            <pc:docMk/>
            <pc:sldMk cId="2819355768" sldId="6948"/>
            <ac:spMk id="47" creationId="{C85B0421-5BDB-4848-914A-867C2D466E74}"/>
          </ac:spMkLst>
        </pc:spChg>
        <pc:spChg chg="mod">
          <ac:chgData name="Ugo MANTEL" userId="2d5b7065-31bb-4181-a7f8-a73bf0c30211" providerId="ADAL" clId="{F05BB0D5-3454-45DC-8378-DA45B79D9A06}" dt="2020-10-02T13:04:36.916" v="5568" actId="790"/>
          <ac:spMkLst>
            <pc:docMk/>
            <pc:sldMk cId="2819355768" sldId="6948"/>
            <ac:spMk id="48" creationId="{4A9A9C35-FBD0-4A84-AAD1-D2EF1546575F}"/>
          </ac:spMkLst>
        </pc:spChg>
        <pc:spChg chg="mod">
          <ac:chgData name="Ugo MANTEL" userId="2d5b7065-31bb-4181-a7f8-a73bf0c30211" providerId="ADAL" clId="{F05BB0D5-3454-45DC-8378-DA45B79D9A06}" dt="2020-10-02T13:04:36.923" v="5574" actId="790"/>
          <ac:spMkLst>
            <pc:docMk/>
            <pc:sldMk cId="2819355768" sldId="6948"/>
            <ac:spMk id="54" creationId="{A3DA0185-9170-45BB-8E7D-7A6648269FBF}"/>
          </ac:spMkLst>
        </pc:spChg>
        <pc:spChg chg="mod">
          <ac:chgData name="Ugo MANTEL" userId="2d5b7065-31bb-4181-a7f8-a73bf0c30211" providerId="ADAL" clId="{F05BB0D5-3454-45DC-8378-DA45B79D9A06}" dt="2020-10-02T13:04:36.923" v="5575" actId="790"/>
          <ac:spMkLst>
            <pc:docMk/>
            <pc:sldMk cId="2819355768" sldId="6948"/>
            <ac:spMk id="63" creationId="{23D20E3D-A9F6-4996-9AD2-FCB15A969547}"/>
          </ac:spMkLst>
        </pc:spChg>
        <pc:spChg chg="mod">
          <ac:chgData name="Ugo MANTEL" userId="2d5b7065-31bb-4181-a7f8-a73bf0c30211" providerId="ADAL" clId="{F05BB0D5-3454-45DC-8378-DA45B79D9A06}" dt="2020-10-02T13:04:36.924" v="5576" actId="790"/>
          <ac:spMkLst>
            <pc:docMk/>
            <pc:sldMk cId="2819355768" sldId="6948"/>
            <ac:spMk id="64" creationId="{9ABEAFC9-2A6D-47FF-ABE2-3FFAD6B0DC6D}"/>
          </ac:spMkLst>
        </pc:spChg>
        <pc:spChg chg="mod">
          <ac:chgData name="Ugo MANTEL" userId="2d5b7065-31bb-4181-a7f8-a73bf0c30211" providerId="ADAL" clId="{F05BB0D5-3454-45DC-8378-DA45B79D9A06}" dt="2020-10-02T13:04:36.925" v="5577" actId="790"/>
          <ac:spMkLst>
            <pc:docMk/>
            <pc:sldMk cId="2819355768" sldId="6948"/>
            <ac:spMk id="66" creationId="{B6E3BBDE-273D-4062-9A43-8E45BBAE31A7}"/>
          </ac:spMkLst>
        </pc:spChg>
        <pc:spChg chg="mod">
          <ac:chgData name="Ugo MANTEL" userId="2d5b7065-31bb-4181-a7f8-a73bf0c30211" providerId="ADAL" clId="{F05BB0D5-3454-45DC-8378-DA45B79D9A06}" dt="2020-10-02T13:04:36.926" v="5578" actId="790"/>
          <ac:spMkLst>
            <pc:docMk/>
            <pc:sldMk cId="2819355768" sldId="6948"/>
            <ac:spMk id="67" creationId="{F888C264-BFDA-458E-88B2-86C958888D19}"/>
          </ac:spMkLst>
        </pc:spChg>
        <pc:spChg chg="mod">
          <ac:chgData name="Ugo MANTEL" userId="2d5b7065-31bb-4181-a7f8-a73bf0c30211" providerId="ADAL" clId="{F05BB0D5-3454-45DC-8378-DA45B79D9A06}" dt="2020-10-02T13:04:36.928" v="5579" actId="790"/>
          <ac:spMkLst>
            <pc:docMk/>
            <pc:sldMk cId="2819355768" sldId="6948"/>
            <ac:spMk id="95" creationId="{92AD7220-4C75-42B1-A0FA-59E9A0490D1F}"/>
          </ac:spMkLst>
        </pc:spChg>
        <pc:spChg chg="mod">
          <ac:chgData name="Ugo MANTEL" userId="2d5b7065-31bb-4181-a7f8-a73bf0c30211" providerId="ADAL" clId="{F05BB0D5-3454-45DC-8378-DA45B79D9A06}" dt="2020-10-02T13:04:36.971" v="5597" actId="790"/>
          <ac:spMkLst>
            <pc:docMk/>
            <pc:sldMk cId="2819355768" sldId="6948"/>
            <ac:spMk id="113" creationId="{6EAF8DE2-BBBA-48AB-A7B2-060D1235155D}"/>
          </ac:spMkLst>
        </pc:spChg>
        <pc:spChg chg="mod">
          <ac:chgData name="Ugo MANTEL" userId="2d5b7065-31bb-4181-a7f8-a73bf0c30211" providerId="ADAL" clId="{F05BB0D5-3454-45DC-8378-DA45B79D9A06}" dt="2020-10-02T13:04:36.972" v="5598" actId="790"/>
          <ac:spMkLst>
            <pc:docMk/>
            <pc:sldMk cId="2819355768" sldId="6948"/>
            <ac:spMk id="115" creationId="{011F7ED9-36BA-4919-BAD4-AEE2E1201810}"/>
          </ac:spMkLst>
        </pc:spChg>
        <pc:spChg chg="mod">
          <ac:chgData name="Ugo MANTEL" userId="2d5b7065-31bb-4181-a7f8-a73bf0c30211" providerId="ADAL" clId="{F05BB0D5-3454-45DC-8378-DA45B79D9A06}" dt="2020-10-02T13:04:36.929" v="5580" actId="790"/>
          <ac:spMkLst>
            <pc:docMk/>
            <pc:sldMk cId="2819355768" sldId="6948"/>
            <ac:spMk id="209" creationId="{370E683B-F1A2-4001-9FAE-8438E0423D61}"/>
          </ac:spMkLst>
        </pc:spChg>
        <pc:spChg chg="mod">
          <ac:chgData name="Ugo MANTEL" userId="2d5b7065-31bb-4181-a7f8-a73bf0c30211" providerId="ADAL" clId="{F05BB0D5-3454-45DC-8378-DA45B79D9A06}" dt="2020-10-02T13:04:36.934" v="5583" actId="790"/>
          <ac:spMkLst>
            <pc:docMk/>
            <pc:sldMk cId="2819355768" sldId="6948"/>
            <ac:spMk id="276" creationId="{65362891-05A9-4BB1-95AB-513702E4C37D}"/>
          </ac:spMkLst>
        </pc:spChg>
        <pc:spChg chg="mod">
          <ac:chgData name="Ugo MANTEL" userId="2d5b7065-31bb-4181-a7f8-a73bf0c30211" providerId="ADAL" clId="{F05BB0D5-3454-45DC-8378-DA45B79D9A06}" dt="2020-10-02T13:04:36.904" v="5564" actId="790"/>
          <ac:spMkLst>
            <pc:docMk/>
            <pc:sldMk cId="2819355768" sldId="6948"/>
            <ac:spMk id="280" creationId="{A7E7A95C-41FE-40CB-B158-36E75885A03A}"/>
          </ac:spMkLst>
        </pc:spChg>
        <pc:spChg chg="mod">
          <ac:chgData name="Ugo MANTEL" userId="2d5b7065-31bb-4181-a7f8-a73bf0c30211" providerId="ADAL" clId="{F05BB0D5-3454-45DC-8378-DA45B79D9A06}" dt="2020-10-02T13:04:36.931" v="5581" actId="790"/>
          <ac:spMkLst>
            <pc:docMk/>
            <pc:sldMk cId="2819355768" sldId="6948"/>
            <ac:spMk id="281" creationId="{B8CAD4E8-C98F-460F-A5D1-B925F30A5C03}"/>
          </ac:spMkLst>
        </pc:spChg>
        <pc:spChg chg="mod">
          <ac:chgData name="Ugo MANTEL" userId="2d5b7065-31bb-4181-a7f8-a73bf0c30211" providerId="ADAL" clId="{F05BB0D5-3454-45DC-8378-DA45B79D9A06}" dt="2020-10-02T13:04:36.933" v="5582" actId="790"/>
          <ac:spMkLst>
            <pc:docMk/>
            <pc:sldMk cId="2819355768" sldId="6948"/>
            <ac:spMk id="282" creationId="{1F0F2177-09F5-460B-896D-D63391B41E6C}"/>
          </ac:spMkLst>
        </pc:spChg>
        <pc:spChg chg="mod">
          <ac:chgData name="Ugo MANTEL" userId="2d5b7065-31bb-4181-a7f8-a73bf0c30211" providerId="ADAL" clId="{F05BB0D5-3454-45DC-8378-DA45B79D9A06}" dt="2020-10-02T13:04:36.935" v="5584" actId="790"/>
          <ac:spMkLst>
            <pc:docMk/>
            <pc:sldMk cId="2819355768" sldId="6948"/>
            <ac:spMk id="283" creationId="{1F7006A3-9536-47DB-8E8D-9D308688F740}"/>
          </ac:spMkLst>
        </pc:spChg>
        <pc:spChg chg="mod">
          <ac:chgData name="Ugo MANTEL" userId="2d5b7065-31bb-4181-a7f8-a73bf0c30211" providerId="ADAL" clId="{F05BB0D5-3454-45DC-8378-DA45B79D9A06}" dt="2020-10-02T13:04:36.936" v="5585" actId="790"/>
          <ac:spMkLst>
            <pc:docMk/>
            <pc:sldMk cId="2819355768" sldId="6948"/>
            <ac:spMk id="285" creationId="{10606C06-AC30-48CD-BBC9-0A5CE8C4B678}"/>
          </ac:spMkLst>
        </pc:spChg>
        <pc:spChg chg="mod">
          <ac:chgData name="Ugo MANTEL" userId="2d5b7065-31bb-4181-a7f8-a73bf0c30211" providerId="ADAL" clId="{F05BB0D5-3454-45DC-8378-DA45B79D9A06}" dt="2020-10-02T13:04:36.937" v="5586" actId="790"/>
          <ac:spMkLst>
            <pc:docMk/>
            <pc:sldMk cId="2819355768" sldId="6948"/>
            <ac:spMk id="286" creationId="{DDB1588B-481E-4EF5-8A39-E073BED12295}"/>
          </ac:spMkLst>
        </pc:spChg>
        <pc:spChg chg="mod">
          <ac:chgData name="Ugo MANTEL" userId="2d5b7065-31bb-4181-a7f8-a73bf0c30211" providerId="ADAL" clId="{F05BB0D5-3454-45DC-8378-DA45B79D9A06}" dt="2020-10-02T13:04:36.937" v="5587" actId="790"/>
          <ac:spMkLst>
            <pc:docMk/>
            <pc:sldMk cId="2819355768" sldId="6948"/>
            <ac:spMk id="288" creationId="{D41359AE-FE2E-42CA-AD56-AE4EC3314135}"/>
          </ac:spMkLst>
        </pc:spChg>
        <pc:spChg chg="mod">
          <ac:chgData name="Ugo MANTEL" userId="2d5b7065-31bb-4181-a7f8-a73bf0c30211" providerId="ADAL" clId="{F05BB0D5-3454-45DC-8378-DA45B79D9A06}" dt="2020-10-02T13:04:36.938" v="5588" actId="790"/>
          <ac:spMkLst>
            <pc:docMk/>
            <pc:sldMk cId="2819355768" sldId="6948"/>
            <ac:spMk id="289" creationId="{4FB92E99-4DE1-428F-B405-7CECF54ED383}"/>
          </ac:spMkLst>
        </pc:spChg>
        <pc:spChg chg="mod">
          <ac:chgData name="Ugo MANTEL" userId="2d5b7065-31bb-4181-a7f8-a73bf0c30211" providerId="ADAL" clId="{F05BB0D5-3454-45DC-8378-DA45B79D9A06}" dt="2020-10-02T13:04:36.950" v="5589" actId="790"/>
          <ac:spMkLst>
            <pc:docMk/>
            <pc:sldMk cId="2819355768" sldId="6948"/>
            <ac:spMk id="312" creationId="{B88B1108-0092-4AF0-9274-78C36552DF38}"/>
          </ac:spMkLst>
        </pc:spChg>
        <pc:spChg chg="mod">
          <ac:chgData name="Ugo MANTEL" userId="2d5b7065-31bb-4181-a7f8-a73bf0c30211" providerId="ADAL" clId="{F05BB0D5-3454-45DC-8378-DA45B79D9A06}" dt="2020-10-02T13:04:36.952" v="5590" actId="790"/>
          <ac:spMkLst>
            <pc:docMk/>
            <pc:sldMk cId="2819355768" sldId="6948"/>
            <ac:spMk id="313" creationId="{ACC55E45-D91A-4E5A-B55D-CC1C31EE3885}"/>
          </ac:spMkLst>
        </pc:spChg>
        <pc:spChg chg="mod">
          <ac:chgData name="Ugo MANTEL" userId="2d5b7065-31bb-4181-a7f8-a73bf0c30211" providerId="ADAL" clId="{F05BB0D5-3454-45DC-8378-DA45B79D9A06}" dt="2020-10-02T13:04:36.952" v="5591" actId="790"/>
          <ac:spMkLst>
            <pc:docMk/>
            <pc:sldMk cId="2819355768" sldId="6948"/>
            <ac:spMk id="314" creationId="{D4489E23-9F70-4A58-BC89-401B9D993A86}"/>
          </ac:spMkLst>
        </pc:spChg>
        <pc:spChg chg="mod">
          <ac:chgData name="Ugo MANTEL" userId="2d5b7065-31bb-4181-a7f8-a73bf0c30211" providerId="ADAL" clId="{F05BB0D5-3454-45DC-8378-DA45B79D9A06}" dt="2020-10-02T13:04:36.953" v="5592" actId="790"/>
          <ac:spMkLst>
            <pc:docMk/>
            <pc:sldMk cId="2819355768" sldId="6948"/>
            <ac:spMk id="315" creationId="{C7A85204-D779-4BC9-8681-F532B6318218}"/>
          </ac:spMkLst>
        </pc:spChg>
        <pc:spChg chg="mod">
          <ac:chgData name="Ugo MANTEL" userId="2d5b7065-31bb-4181-a7f8-a73bf0c30211" providerId="ADAL" clId="{F05BB0D5-3454-45DC-8378-DA45B79D9A06}" dt="2020-10-02T13:04:36.966" v="5593" actId="790"/>
          <ac:spMkLst>
            <pc:docMk/>
            <pc:sldMk cId="2819355768" sldId="6948"/>
            <ac:spMk id="345" creationId="{B88B1108-0092-4AF0-9274-78C36552DF38}"/>
          </ac:spMkLst>
        </pc:spChg>
        <pc:spChg chg="mod">
          <ac:chgData name="Ugo MANTEL" userId="2d5b7065-31bb-4181-a7f8-a73bf0c30211" providerId="ADAL" clId="{F05BB0D5-3454-45DC-8378-DA45B79D9A06}" dt="2020-10-02T13:04:36.967" v="5594" actId="790"/>
          <ac:spMkLst>
            <pc:docMk/>
            <pc:sldMk cId="2819355768" sldId="6948"/>
            <ac:spMk id="346" creationId="{ACC55E45-D91A-4E5A-B55D-CC1C31EE3885}"/>
          </ac:spMkLst>
        </pc:spChg>
        <pc:spChg chg="mod">
          <ac:chgData name="Ugo MANTEL" userId="2d5b7065-31bb-4181-a7f8-a73bf0c30211" providerId="ADAL" clId="{F05BB0D5-3454-45DC-8378-DA45B79D9A06}" dt="2020-10-02T13:04:36.968" v="5595" actId="790"/>
          <ac:spMkLst>
            <pc:docMk/>
            <pc:sldMk cId="2819355768" sldId="6948"/>
            <ac:spMk id="347" creationId="{D4489E23-9F70-4A58-BC89-401B9D993A86}"/>
          </ac:spMkLst>
        </pc:spChg>
        <pc:spChg chg="mod">
          <ac:chgData name="Ugo MANTEL" userId="2d5b7065-31bb-4181-a7f8-a73bf0c30211" providerId="ADAL" clId="{F05BB0D5-3454-45DC-8378-DA45B79D9A06}" dt="2020-10-02T13:04:36.969" v="5596" actId="790"/>
          <ac:spMkLst>
            <pc:docMk/>
            <pc:sldMk cId="2819355768" sldId="6948"/>
            <ac:spMk id="348" creationId="{C7A85204-D779-4BC9-8681-F532B6318218}"/>
          </ac:spMkLst>
        </pc:spChg>
      </pc:sldChg>
      <pc:sldChg chg="delSp modSp mod">
        <pc:chgData name="Ugo MANTEL" userId="2d5b7065-31bb-4181-a7f8-a73bf0c30211" providerId="ADAL" clId="{F05BB0D5-3454-45DC-8378-DA45B79D9A06}" dt="2020-10-02T13:04:37.484" v="5833" actId="790"/>
        <pc:sldMkLst>
          <pc:docMk/>
          <pc:sldMk cId="3180225553" sldId="6950"/>
        </pc:sldMkLst>
        <pc:spChg chg="mod">
          <ac:chgData name="Ugo MANTEL" userId="2d5b7065-31bb-4181-a7f8-a73bf0c30211" providerId="ADAL" clId="{F05BB0D5-3454-45DC-8378-DA45B79D9A06}" dt="2020-10-02T13:04:37.479" v="5831" actId="790"/>
          <ac:spMkLst>
            <pc:docMk/>
            <pc:sldMk cId="3180225553" sldId="6950"/>
            <ac:spMk id="2" creationId="{69B01C19-0B4C-4A02-BD6D-64552DEA313D}"/>
          </ac:spMkLst>
        </pc:spChg>
        <pc:spChg chg="mod">
          <ac:chgData name="Ugo MANTEL" userId="2d5b7065-31bb-4181-a7f8-a73bf0c30211" providerId="ADAL" clId="{F05BB0D5-3454-45DC-8378-DA45B79D9A06}" dt="2020-10-02T13:04:37.359" v="5785" actId="790"/>
          <ac:spMkLst>
            <pc:docMk/>
            <pc:sldMk cId="3180225553" sldId="6950"/>
            <ac:spMk id="3" creationId="{30953E26-7813-417B-AC0B-7AC74C77D79F}"/>
          </ac:spMkLst>
        </pc:spChg>
        <pc:spChg chg="mod">
          <ac:chgData name="Ugo MANTEL" userId="2d5b7065-31bb-4181-a7f8-a73bf0c30211" providerId="ADAL" clId="{F05BB0D5-3454-45DC-8378-DA45B79D9A06}" dt="2020-10-02T13:04:37.357" v="5784" actId="790"/>
          <ac:spMkLst>
            <pc:docMk/>
            <pc:sldMk cId="3180225553" sldId="6950"/>
            <ac:spMk id="4" creationId="{CFDA14E9-D9F6-4D44-A466-BF298653DD71}"/>
          </ac:spMkLst>
        </pc:spChg>
        <pc:spChg chg="del mod">
          <ac:chgData name="Ugo MANTEL" userId="2d5b7065-31bb-4181-a7f8-a73bf0c30211" providerId="ADAL" clId="{F05BB0D5-3454-45DC-8378-DA45B79D9A06}" dt="2020-10-02T09:17:39.823" v="156" actId="478"/>
          <ac:spMkLst>
            <pc:docMk/>
            <pc:sldMk cId="3180225553" sldId="6950"/>
            <ac:spMk id="7" creationId="{3AFF8B6C-5224-4909-87F0-B98149D544C6}"/>
          </ac:spMkLst>
        </pc:spChg>
        <pc:spChg chg="mod">
          <ac:chgData name="Ugo MANTEL" userId="2d5b7065-31bb-4181-a7f8-a73bf0c30211" providerId="ADAL" clId="{F05BB0D5-3454-45DC-8378-DA45B79D9A06}" dt="2020-10-02T13:04:37.361" v="5786" actId="790"/>
          <ac:spMkLst>
            <pc:docMk/>
            <pc:sldMk cId="3180225553" sldId="6950"/>
            <ac:spMk id="14" creationId="{92FC6C6C-155F-4C1A-890E-114863D14568}"/>
          </ac:spMkLst>
        </pc:spChg>
        <pc:spChg chg="mod">
          <ac:chgData name="Ugo MANTEL" userId="2d5b7065-31bb-4181-a7f8-a73bf0c30211" providerId="ADAL" clId="{F05BB0D5-3454-45DC-8378-DA45B79D9A06}" dt="2020-10-02T13:04:37.367" v="5787" actId="790"/>
          <ac:spMkLst>
            <pc:docMk/>
            <pc:sldMk cId="3180225553" sldId="6950"/>
            <ac:spMk id="16" creationId="{EACE795C-C806-425F-8AA4-8EFA6F2CB1B5}"/>
          </ac:spMkLst>
        </pc:spChg>
        <pc:spChg chg="mod">
          <ac:chgData name="Ugo MANTEL" userId="2d5b7065-31bb-4181-a7f8-a73bf0c30211" providerId="ADAL" clId="{F05BB0D5-3454-45DC-8378-DA45B79D9A06}" dt="2020-10-02T13:04:37.377" v="5790" actId="790"/>
          <ac:spMkLst>
            <pc:docMk/>
            <pc:sldMk cId="3180225553" sldId="6950"/>
            <ac:spMk id="35" creationId="{0269DD2C-05FB-460F-B6DD-2219DC782E5D}"/>
          </ac:spMkLst>
        </pc:spChg>
        <pc:spChg chg="mod">
          <ac:chgData name="Ugo MANTEL" userId="2d5b7065-31bb-4181-a7f8-a73bf0c30211" providerId="ADAL" clId="{F05BB0D5-3454-45DC-8378-DA45B79D9A06}" dt="2020-10-02T13:04:37.379" v="5791" actId="790"/>
          <ac:spMkLst>
            <pc:docMk/>
            <pc:sldMk cId="3180225553" sldId="6950"/>
            <ac:spMk id="37" creationId="{BC332233-14DF-4C73-AB17-88C3B9382411}"/>
          </ac:spMkLst>
        </pc:spChg>
        <pc:spChg chg="mod">
          <ac:chgData name="Ugo MANTEL" userId="2d5b7065-31bb-4181-a7f8-a73bf0c30211" providerId="ADAL" clId="{F05BB0D5-3454-45DC-8378-DA45B79D9A06}" dt="2020-10-02T13:04:37.380" v="5792" actId="790"/>
          <ac:spMkLst>
            <pc:docMk/>
            <pc:sldMk cId="3180225553" sldId="6950"/>
            <ac:spMk id="38" creationId="{DD62F214-64DE-4187-B2E0-D1194D3A3DC8}"/>
          </ac:spMkLst>
        </pc:spChg>
        <pc:spChg chg="mod">
          <ac:chgData name="Ugo MANTEL" userId="2d5b7065-31bb-4181-a7f8-a73bf0c30211" providerId="ADAL" clId="{F05BB0D5-3454-45DC-8378-DA45B79D9A06}" dt="2020-10-02T13:04:37.381" v="5793" actId="790"/>
          <ac:spMkLst>
            <pc:docMk/>
            <pc:sldMk cId="3180225553" sldId="6950"/>
            <ac:spMk id="39" creationId="{C3A976AD-14C4-4ABE-A934-7E27BBE85C1C}"/>
          </ac:spMkLst>
        </pc:spChg>
        <pc:spChg chg="mod">
          <ac:chgData name="Ugo MANTEL" userId="2d5b7065-31bb-4181-a7f8-a73bf0c30211" providerId="ADAL" clId="{F05BB0D5-3454-45DC-8378-DA45B79D9A06}" dt="2020-10-02T13:04:37.383" v="5794" actId="790"/>
          <ac:spMkLst>
            <pc:docMk/>
            <pc:sldMk cId="3180225553" sldId="6950"/>
            <ac:spMk id="46" creationId="{9FB5FA0A-66DB-4991-8669-D703061FDE44}"/>
          </ac:spMkLst>
        </pc:spChg>
        <pc:spChg chg="mod">
          <ac:chgData name="Ugo MANTEL" userId="2d5b7065-31bb-4181-a7f8-a73bf0c30211" providerId="ADAL" clId="{F05BB0D5-3454-45DC-8378-DA45B79D9A06}" dt="2020-10-02T13:04:37.371" v="5788" actId="790"/>
          <ac:spMkLst>
            <pc:docMk/>
            <pc:sldMk cId="3180225553" sldId="6950"/>
            <ac:spMk id="47" creationId="{C85B0421-5BDB-4848-914A-867C2D466E74}"/>
          </ac:spMkLst>
        </pc:spChg>
        <pc:spChg chg="mod">
          <ac:chgData name="Ugo MANTEL" userId="2d5b7065-31bb-4181-a7f8-a73bf0c30211" providerId="ADAL" clId="{F05BB0D5-3454-45DC-8378-DA45B79D9A06}" dt="2020-10-02T13:04:37.374" v="5789" actId="790"/>
          <ac:spMkLst>
            <pc:docMk/>
            <pc:sldMk cId="3180225553" sldId="6950"/>
            <ac:spMk id="48" creationId="{4A9A9C35-FBD0-4A84-AAD1-D2EF1546575F}"/>
          </ac:spMkLst>
        </pc:spChg>
        <pc:spChg chg="mod">
          <ac:chgData name="Ugo MANTEL" userId="2d5b7065-31bb-4181-a7f8-a73bf0c30211" providerId="ADAL" clId="{F05BB0D5-3454-45DC-8378-DA45B79D9A06}" dt="2020-10-02T13:04:37.385" v="5795" actId="790"/>
          <ac:spMkLst>
            <pc:docMk/>
            <pc:sldMk cId="3180225553" sldId="6950"/>
            <ac:spMk id="56" creationId="{47F1C37A-47CF-4B73-B59D-BF4C343FCB28}"/>
          </ac:spMkLst>
        </pc:spChg>
        <pc:spChg chg="mod">
          <ac:chgData name="Ugo MANTEL" userId="2d5b7065-31bb-4181-a7f8-a73bf0c30211" providerId="ADAL" clId="{F05BB0D5-3454-45DC-8378-DA45B79D9A06}" dt="2020-10-02T13:04:37.386" v="5796" actId="790"/>
          <ac:spMkLst>
            <pc:docMk/>
            <pc:sldMk cId="3180225553" sldId="6950"/>
            <ac:spMk id="59" creationId="{F8FFB6EC-60B8-42F7-AC4B-B8D8305772BF}"/>
          </ac:spMkLst>
        </pc:spChg>
        <pc:spChg chg="mod">
          <ac:chgData name="Ugo MANTEL" userId="2d5b7065-31bb-4181-a7f8-a73bf0c30211" providerId="ADAL" clId="{F05BB0D5-3454-45DC-8378-DA45B79D9A06}" dt="2020-10-02T13:04:37.388" v="5797" actId="790"/>
          <ac:spMkLst>
            <pc:docMk/>
            <pc:sldMk cId="3180225553" sldId="6950"/>
            <ac:spMk id="60" creationId="{A8919A01-495A-4182-B50C-C2001DF61330}"/>
          </ac:spMkLst>
        </pc:spChg>
        <pc:spChg chg="mod">
          <ac:chgData name="Ugo MANTEL" userId="2d5b7065-31bb-4181-a7f8-a73bf0c30211" providerId="ADAL" clId="{F05BB0D5-3454-45DC-8378-DA45B79D9A06}" dt="2020-10-02T13:04:37.389" v="5798" actId="790"/>
          <ac:spMkLst>
            <pc:docMk/>
            <pc:sldMk cId="3180225553" sldId="6950"/>
            <ac:spMk id="62" creationId="{18DEBDAF-B61D-4B6E-9242-4D9F60C8CB3F}"/>
          </ac:spMkLst>
        </pc:spChg>
        <pc:spChg chg="mod">
          <ac:chgData name="Ugo MANTEL" userId="2d5b7065-31bb-4181-a7f8-a73bf0c30211" providerId="ADAL" clId="{F05BB0D5-3454-45DC-8378-DA45B79D9A06}" dt="2020-10-02T13:04:37.390" v="5799" actId="790"/>
          <ac:spMkLst>
            <pc:docMk/>
            <pc:sldMk cId="3180225553" sldId="6950"/>
            <ac:spMk id="63" creationId="{7E0D63E8-0049-4A8A-B944-CF3AB9F1FA23}"/>
          </ac:spMkLst>
        </pc:spChg>
        <pc:spChg chg="mod">
          <ac:chgData name="Ugo MANTEL" userId="2d5b7065-31bb-4181-a7f8-a73bf0c30211" providerId="ADAL" clId="{F05BB0D5-3454-45DC-8378-DA45B79D9A06}" dt="2020-10-02T13:04:37.392" v="5800" actId="790"/>
          <ac:spMkLst>
            <pc:docMk/>
            <pc:sldMk cId="3180225553" sldId="6950"/>
            <ac:spMk id="75" creationId="{2512987A-FDC9-498A-BCB8-28A6CE2D81BE}"/>
          </ac:spMkLst>
        </pc:spChg>
        <pc:spChg chg="mod">
          <ac:chgData name="Ugo MANTEL" userId="2d5b7065-31bb-4181-a7f8-a73bf0c30211" providerId="ADAL" clId="{F05BB0D5-3454-45DC-8378-DA45B79D9A06}" dt="2020-10-02T13:04:37.394" v="5801" actId="790"/>
          <ac:spMkLst>
            <pc:docMk/>
            <pc:sldMk cId="3180225553" sldId="6950"/>
            <ac:spMk id="76" creationId="{E68A145D-08A7-412E-A54B-7C2CBB75EAB1}"/>
          </ac:spMkLst>
        </pc:spChg>
        <pc:spChg chg="mod">
          <ac:chgData name="Ugo MANTEL" userId="2d5b7065-31bb-4181-a7f8-a73bf0c30211" providerId="ADAL" clId="{F05BB0D5-3454-45DC-8378-DA45B79D9A06}" dt="2020-10-02T13:04:37.397" v="5802" actId="790"/>
          <ac:spMkLst>
            <pc:docMk/>
            <pc:sldMk cId="3180225553" sldId="6950"/>
            <ac:spMk id="81" creationId="{161C8AFA-B589-42AC-9180-F90F1AFC83EF}"/>
          </ac:spMkLst>
        </pc:spChg>
        <pc:spChg chg="mod">
          <ac:chgData name="Ugo MANTEL" userId="2d5b7065-31bb-4181-a7f8-a73bf0c30211" providerId="ADAL" clId="{F05BB0D5-3454-45DC-8378-DA45B79D9A06}" dt="2020-10-02T13:04:37.399" v="5803" actId="790"/>
          <ac:spMkLst>
            <pc:docMk/>
            <pc:sldMk cId="3180225553" sldId="6950"/>
            <ac:spMk id="82" creationId="{08389D88-E096-478D-A223-1D7B6CF87F27}"/>
          </ac:spMkLst>
        </pc:spChg>
        <pc:spChg chg="mod">
          <ac:chgData name="Ugo MANTEL" userId="2d5b7065-31bb-4181-a7f8-a73bf0c30211" providerId="ADAL" clId="{F05BB0D5-3454-45DC-8378-DA45B79D9A06}" dt="2020-10-02T13:04:37.402" v="5804" actId="790"/>
          <ac:spMkLst>
            <pc:docMk/>
            <pc:sldMk cId="3180225553" sldId="6950"/>
            <ac:spMk id="83" creationId="{44EF3646-A171-4ACB-89F4-4BF4584168F6}"/>
          </ac:spMkLst>
        </pc:spChg>
        <pc:spChg chg="mod">
          <ac:chgData name="Ugo MANTEL" userId="2d5b7065-31bb-4181-a7f8-a73bf0c30211" providerId="ADAL" clId="{F05BB0D5-3454-45DC-8378-DA45B79D9A06}" dt="2020-10-02T13:04:37.406" v="5805" actId="790"/>
          <ac:spMkLst>
            <pc:docMk/>
            <pc:sldMk cId="3180225553" sldId="6950"/>
            <ac:spMk id="84" creationId="{1F10B08E-B981-4C0D-B63F-072F6B4A0200}"/>
          </ac:spMkLst>
        </pc:spChg>
        <pc:spChg chg="mod">
          <ac:chgData name="Ugo MANTEL" userId="2d5b7065-31bb-4181-a7f8-a73bf0c30211" providerId="ADAL" clId="{F05BB0D5-3454-45DC-8378-DA45B79D9A06}" dt="2020-10-02T13:04:37.484" v="5833" actId="790"/>
          <ac:spMkLst>
            <pc:docMk/>
            <pc:sldMk cId="3180225553" sldId="6950"/>
            <ac:spMk id="107" creationId="{A7D45EF5-E7A8-4DB1-A507-8A7EDF03FD56}"/>
          </ac:spMkLst>
        </pc:spChg>
        <pc:spChg chg="mod">
          <ac:chgData name="Ugo MANTEL" userId="2d5b7065-31bb-4181-a7f8-a73bf0c30211" providerId="ADAL" clId="{F05BB0D5-3454-45DC-8378-DA45B79D9A06}" dt="2020-10-02T13:04:37.411" v="5806" actId="790"/>
          <ac:spMkLst>
            <pc:docMk/>
            <pc:sldMk cId="3180225553" sldId="6950"/>
            <ac:spMk id="120" creationId="{24DBBEC1-2EBC-4025-BAED-993C2FA9EB18}"/>
          </ac:spMkLst>
        </pc:spChg>
        <pc:spChg chg="mod">
          <ac:chgData name="Ugo MANTEL" userId="2d5b7065-31bb-4181-a7f8-a73bf0c30211" providerId="ADAL" clId="{F05BB0D5-3454-45DC-8378-DA45B79D9A06}" dt="2020-10-02T13:04:37.412" v="5807" actId="790"/>
          <ac:spMkLst>
            <pc:docMk/>
            <pc:sldMk cId="3180225553" sldId="6950"/>
            <ac:spMk id="121" creationId="{6D559518-E8C1-46B8-9B52-9036FEE0B55E}"/>
          </ac:spMkLst>
        </pc:spChg>
        <pc:spChg chg="mod">
          <ac:chgData name="Ugo MANTEL" userId="2d5b7065-31bb-4181-a7f8-a73bf0c30211" providerId="ADAL" clId="{F05BB0D5-3454-45DC-8378-DA45B79D9A06}" dt="2020-10-02T13:04:37.414" v="5808" actId="790"/>
          <ac:spMkLst>
            <pc:docMk/>
            <pc:sldMk cId="3180225553" sldId="6950"/>
            <ac:spMk id="122" creationId="{8C66A17F-8A18-4E0C-B25E-892F3E969D94}"/>
          </ac:spMkLst>
        </pc:spChg>
        <pc:spChg chg="mod">
          <ac:chgData name="Ugo MANTEL" userId="2d5b7065-31bb-4181-a7f8-a73bf0c30211" providerId="ADAL" clId="{F05BB0D5-3454-45DC-8378-DA45B79D9A06}" dt="2020-10-02T13:04:37.416" v="5809" actId="790"/>
          <ac:spMkLst>
            <pc:docMk/>
            <pc:sldMk cId="3180225553" sldId="6950"/>
            <ac:spMk id="123" creationId="{8FD9938C-F978-46AE-BB3A-EDEDFF7FD70A}"/>
          </ac:spMkLst>
        </pc:spChg>
        <pc:spChg chg="mod">
          <ac:chgData name="Ugo MANTEL" userId="2d5b7065-31bb-4181-a7f8-a73bf0c30211" providerId="ADAL" clId="{F05BB0D5-3454-45DC-8378-DA45B79D9A06}" dt="2020-10-02T13:04:37.418" v="5810" actId="790"/>
          <ac:spMkLst>
            <pc:docMk/>
            <pc:sldMk cId="3180225553" sldId="6950"/>
            <ac:spMk id="124" creationId="{20ABFB18-92B3-4581-849D-D6C5F42002DE}"/>
          </ac:spMkLst>
        </pc:spChg>
        <pc:spChg chg="mod">
          <ac:chgData name="Ugo MANTEL" userId="2d5b7065-31bb-4181-a7f8-a73bf0c30211" providerId="ADAL" clId="{F05BB0D5-3454-45DC-8378-DA45B79D9A06}" dt="2020-10-02T13:04:37.419" v="5811" actId="790"/>
          <ac:spMkLst>
            <pc:docMk/>
            <pc:sldMk cId="3180225553" sldId="6950"/>
            <ac:spMk id="125" creationId="{FDD0A22E-D044-4738-A846-D69DD4EC1C73}"/>
          </ac:spMkLst>
        </pc:spChg>
        <pc:spChg chg="mod">
          <ac:chgData name="Ugo MANTEL" userId="2d5b7065-31bb-4181-a7f8-a73bf0c30211" providerId="ADAL" clId="{F05BB0D5-3454-45DC-8378-DA45B79D9A06}" dt="2020-10-02T13:04:37.422" v="5812" actId="790"/>
          <ac:spMkLst>
            <pc:docMk/>
            <pc:sldMk cId="3180225553" sldId="6950"/>
            <ac:spMk id="126" creationId="{A9A0C130-CA17-448C-B406-947373E76974}"/>
          </ac:spMkLst>
        </pc:spChg>
        <pc:spChg chg="mod">
          <ac:chgData name="Ugo MANTEL" userId="2d5b7065-31bb-4181-a7f8-a73bf0c30211" providerId="ADAL" clId="{F05BB0D5-3454-45DC-8378-DA45B79D9A06}" dt="2020-10-02T13:04:37.423" v="5813" actId="790"/>
          <ac:spMkLst>
            <pc:docMk/>
            <pc:sldMk cId="3180225553" sldId="6950"/>
            <ac:spMk id="127" creationId="{46B3103C-B011-4050-9308-7682C2786A94}"/>
          </ac:spMkLst>
        </pc:spChg>
        <pc:spChg chg="mod">
          <ac:chgData name="Ugo MANTEL" userId="2d5b7065-31bb-4181-a7f8-a73bf0c30211" providerId="ADAL" clId="{F05BB0D5-3454-45DC-8378-DA45B79D9A06}" dt="2020-10-02T13:04:37.425" v="5814" actId="790"/>
          <ac:spMkLst>
            <pc:docMk/>
            <pc:sldMk cId="3180225553" sldId="6950"/>
            <ac:spMk id="128" creationId="{5656A40E-94D2-4D19-9FCB-B644FC3F1A54}"/>
          </ac:spMkLst>
        </pc:spChg>
        <pc:spChg chg="mod">
          <ac:chgData name="Ugo MANTEL" userId="2d5b7065-31bb-4181-a7f8-a73bf0c30211" providerId="ADAL" clId="{F05BB0D5-3454-45DC-8378-DA45B79D9A06}" dt="2020-10-02T13:04:37.482" v="5832" actId="790"/>
          <ac:spMkLst>
            <pc:docMk/>
            <pc:sldMk cId="3180225553" sldId="6950"/>
            <ac:spMk id="168" creationId="{B88B1108-0092-4AF0-9274-78C36552DF38}"/>
          </ac:spMkLst>
        </pc:spChg>
        <pc:spChg chg="mod">
          <ac:chgData name="Ugo MANTEL" userId="2d5b7065-31bb-4181-a7f8-a73bf0c30211" providerId="ADAL" clId="{F05BB0D5-3454-45DC-8378-DA45B79D9A06}" dt="2020-10-02T13:04:37.436" v="5815" actId="790"/>
          <ac:spMkLst>
            <pc:docMk/>
            <pc:sldMk cId="3180225553" sldId="6950"/>
            <ac:spMk id="169" creationId="{ACC55E45-D91A-4E5A-B55D-CC1C31EE3885}"/>
          </ac:spMkLst>
        </pc:spChg>
        <pc:spChg chg="mod">
          <ac:chgData name="Ugo MANTEL" userId="2d5b7065-31bb-4181-a7f8-a73bf0c30211" providerId="ADAL" clId="{F05BB0D5-3454-45DC-8378-DA45B79D9A06}" dt="2020-10-02T13:04:37.438" v="5816" actId="790"/>
          <ac:spMkLst>
            <pc:docMk/>
            <pc:sldMk cId="3180225553" sldId="6950"/>
            <ac:spMk id="170" creationId="{D4489E23-9F70-4A58-BC89-401B9D993A86}"/>
          </ac:spMkLst>
        </pc:spChg>
        <pc:spChg chg="mod">
          <ac:chgData name="Ugo MANTEL" userId="2d5b7065-31bb-4181-a7f8-a73bf0c30211" providerId="ADAL" clId="{F05BB0D5-3454-45DC-8378-DA45B79D9A06}" dt="2020-10-02T13:04:37.439" v="5817" actId="790"/>
          <ac:spMkLst>
            <pc:docMk/>
            <pc:sldMk cId="3180225553" sldId="6950"/>
            <ac:spMk id="171" creationId="{C7A85204-D779-4BC9-8681-F532B6318218}"/>
          </ac:spMkLst>
        </pc:spChg>
        <pc:spChg chg="mod">
          <ac:chgData name="Ugo MANTEL" userId="2d5b7065-31bb-4181-a7f8-a73bf0c30211" providerId="ADAL" clId="{F05BB0D5-3454-45DC-8378-DA45B79D9A06}" dt="2020-10-02T13:04:37.441" v="5818" actId="790"/>
          <ac:spMkLst>
            <pc:docMk/>
            <pc:sldMk cId="3180225553" sldId="6950"/>
            <ac:spMk id="246" creationId="{20ABFB18-92B3-4581-849D-D6C5F42002DE}"/>
          </ac:spMkLst>
        </pc:spChg>
        <pc:spChg chg="mod">
          <ac:chgData name="Ugo MANTEL" userId="2d5b7065-31bb-4181-a7f8-a73bf0c30211" providerId="ADAL" clId="{F05BB0D5-3454-45DC-8378-DA45B79D9A06}" dt="2020-10-02T13:04:37.443" v="5819" actId="790"/>
          <ac:spMkLst>
            <pc:docMk/>
            <pc:sldMk cId="3180225553" sldId="6950"/>
            <ac:spMk id="247" creationId="{8FD9938C-F978-46AE-BB3A-EDEDFF7FD70A}"/>
          </ac:spMkLst>
        </pc:spChg>
        <pc:spChg chg="mod">
          <ac:chgData name="Ugo MANTEL" userId="2d5b7065-31bb-4181-a7f8-a73bf0c30211" providerId="ADAL" clId="{F05BB0D5-3454-45DC-8378-DA45B79D9A06}" dt="2020-10-02T13:04:37.448" v="5820" actId="790"/>
          <ac:spMkLst>
            <pc:docMk/>
            <pc:sldMk cId="3180225553" sldId="6950"/>
            <ac:spMk id="249" creationId="{46B3103C-B011-4050-9308-7682C2786A94}"/>
          </ac:spMkLst>
        </pc:spChg>
        <pc:spChg chg="mod">
          <ac:chgData name="Ugo MANTEL" userId="2d5b7065-31bb-4181-a7f8-a73bf0c30211" providerId="ADAL" clId="{F05BB0D5-3454-45DC-8378-DA45B79D9A06}" dt="2020-10-02T13:04:37.452" v="5821" actId="790"/>
          <ac:spMkLst>
            <pc:docMk/>
            <pc:sldMk cId="3180225553" sldId="6950"/>
            <ac:spMk id="251" creationId="{5656A40E-94D2-4D19-9FCB-B644FC3F1A54}"/>
          </ac:spMkLst>
        </pc:spChg>
        <pc:spChg chg="mod">
          <ac:chgData name="Ugo MANTEL" userId="2d5b7065-31bb-4181-a7f8-a73bf0c30211" providerId="ADAL" clId="{F05BB0D5-3454-45DC-8378-DA45B79D9A06}" dt="2020-10-02T13:04:37.454" v="5822" actId="790"/>
          <ac:spMkLst>
            <pc:docMk/>
            <pc:sldMk cId="3180225553" sldId="6950"/>
            <ac:spMk id="252" creationId="{24DBBEC1-2EBC-4025-BAED-993C2FA9EB18}"/>
          </ac:spMkLst>
        </pc:spChg>
        <pc:spChg chg="mod">
          <ac:chgData name="Ugo MANTEL" userId="2d5b7065-31bb-4181-a7f8-a73bf0c30211" providerId="ADAL" clId="{F05BB0D5-3454-45DC-8378-DA45B79D9A06}" dt="2020-10-02T13:04:37.456" v="5823" actId="790"/>
          <ac:spMkLst>
            <pc:docMk/>
            <pc:sldMk cId="3180225553" sldId="6950"/>
            <ac:spMk id="253" creationId="{6D559518-E8C1-46B8-9B52-9036FEE0B55E}"/>
          </ac:spMkLst>
        </pc:spChg>
        <pc:spChg chg="mod">
          <ac:chgData name="Ugo MANTEL" userId="2d5b7065-31bb-4181-a7f8-a73bf0c30211" providerId="ADAL" clId="{F05BB0D5-3454-45DC-8378-DA45B79D9A06}" dt="2020-10-02T13:04:37.457" v="5824" actId="790"/>
          <ac:spMkLst>
            <pc:docMk/>
            <pc:sldMk cId="3180225553" sldId="6950"/>
            <ac:spMk id="254" creationId="{A9A0C130-CA17-448C-B406-947373E76974}"/>
          </ac:spMkLst>
        </pc:spChg>
        <pc:spChg chg="mod">
          <ac:chgData name="Ugo MANTEL" userId="2d5b7065-31bb-4181-a7f8-a73bf0c30211" providerId="ADAL" clId="{F05BB0D5-3454-45DC-8378-DA45B79D9A06}" dt="2020-10-02T13:04:37.458" v="5825" actId="790"/>
          <ac:spMkLst>
            <pc:docMk/>
            <pc:sldMk cId="3180225553" sldId="6950"/>
            <ac:spMk id="255" creationId="{FDD0A22E-D044-4738-A846-D69DD4EC1C73}"/>
          </ac:spMkLst>
        </pc:spChg>
        <pc:spChg chg="mod">
          <ac:chgData name="Ugo MANTEL" userId="2d5b7065-31bb-4181-a7f8-a73bf0c30211" providerId="ADAL" clId="{F05BB0D5-3454-45DC-8378-DA45B79D9A06}" dt="2020-10-02T13:04:37.460" v="5826" actId="790"/>
          <ac:spMkLst>
            <pc:docMk/>
            <pc:sldMk cId="3180225553" sldId="6950"/>
            <ac:spMk id="256" creationId="{8C66A17F-8A18-4E0C-B25E-892F3E969D94}"/>
          </ac:spMkLst>
        </pc:spChg>
        <pc:spChg chg="mod">
          <ac:chgData name="Ugo MANTEL" userId="2d5b7065-31bb-4181-a7f8-a73bf0c30211" providerId="ADAL" clId="{F05BB0D5-3454-45DC-8378-DA45B79D9A06}" dt="2020-10-02T13:04:37.471" v="5827" actId="790"/>
          <ac:spMkLst>
            <pc:docMk/>
            <pc:sldMk cId="3180225553" sldId="6950"/>
            <ac:spMk id="264" creationId="{B88B1108-0092-4AF0-9274-78C36552DF38}"/>
          </ac:spMkLst>
        </pc:spChg>
        <pc:spChg chg="mod">
          <ac:chgData name="Ugo MANTEL" userId="2d5b7065-31bb-4181-a7f8-a73bf0c30211" providerId="ADAL" clId="{F05BB0D5-3454-45DC-8378-DA45B79D9A06}" dt="2020-10-02T13:04:37.472" v="5828" actId="790"/>
          <ac:spMkLst>
            <pc:docMk/>
            <pc:sldMk cId="3180225553" sldId="6950"/>
            <ac:spMk id="265" creationId="{ACC55E45-D91A-4E5A-B55D-CC1C31EE3885}"/>
          </ac:spMkLst>
        </pc:spChg>
        <pc:spChg chg="mod">
          <ac:chgData name="Ugo MANTEL" userId="2d5b7065-31bb-4181-a7f8-a73bf0c30211" providerId="ADAL" clId="{F05BB0D5-3454-45DC-8378-DA45B79D9A06}" dt="2020-10-02T13:04:37.474" v="5829" actId="790"/>
          <ac:spMkLst>
            <pc:docMk/>
            <pc:sldMk cId="3180225553" sldId="6950"/>
            <ac:spMk id="266" creationId="{D4489E23-9F70-4A58-BC89-401B9D993A86}"/>
          </ac:spMkLst>
        </pc:spChg>
        <pc:spChg chg="mod">
          <ac:chgData name="Ugo MANTEL" userId="2d5b7065-31bb-4181-a7f8-a73bf0c30211" providerId="ADAL" clId="{F05BB0D5-3454-45DC-8378-DA45B79D9A06}" dt="2020-10-02T13:04:37.476" v="5830" actId="790"/>
          <ac:spMkLst>
            <pc:docMk/>
            <pc:sldMk cId="3180225553" sldId="6950"/>
            <ac:spMk id="267" creationId="{C7A85204-D779-4BC9-8681-F532B6318218}"/>
          </ac:spMkLst>
        </pc:spChg>
      </pc:sldChg>
      <pc:sldChg chg="modSp mod">
        <pc:chgData name="Ugo MANTEL" userId="2d5b7065-31bb-4181-a7f8-a73bf0c30211" providerId="ADAL" clId="{F05BB0D5-3454-45DC-8378-DA45B79D9A06}" dt="2020-10-02T13:04:37.802" v="5920" actId="790"/>
        <pc:sldMkLst>
          <pc:docMk/>
          <pc:sldMk cId="3055682090" sldId="6951"/>
        </pc:sldMkLst>
        <pc:spChg chg="mod">
          <ac:chgData name="Ugo MANTEL" userId="2d5b7065-31bb-4181-a7f8-a73bf0c30211" providerId="ADAL" clId="{F05BB0D5-3454-45DC-8378-DA45B79D9A06}" dt="2020-10-02T13:04:37.654" v="5882" actId="790"/>
          <ac:spMkLst>
            <pc:docMk/>
            <pc:sldMk cId="3055682090" sldId="6951"/>
            <ac:spMk id="3" creationId="{30953E26-7813-417B-AC0B-7AC74C77D79F}"/>
          </ac:spMkLst>
        </pc:spChg>
        <pc:spChg chg="mod">
          <ac:chgData name="Ugo MANTEL" userId="2d5b7065-31bb-4181-a7f8-a73bf0c30211" providerId="ADAL" clId="{F05BB0D5-3454-45DC-8378-DA45B79D9A06}" dt="2020-10-02T13:04:37.652" v="5881" actId="790"/>
          <ac:spMkLst>
            <pc:docMk/>
            <pc:sldMk cId="3055682090" sldId="6951"/>
            <ac:spMk id="4" creationId="{CFDA14E9-D9F6-4D44-A466-BF298653DD71}"/>
          </ac:spMkLst>
        </pc:spChg>
        <pc:spChg chg="mod">
          <ac:chgData name="Ugo MANTEL" userId="2d5b7065-31bb-4181-a7f8-a73bf0c30211" providerId="ADAL" clId="{F05BB0D5-3454-45DC-8378-DA45B79D9A06}" dt="2020-10-02T13:04:37.656" v="5883" actId="790"/>
          <ac:spMkLst>
            <pc:docMk/>
            <pc:sldMk cId="3055682090" sldId="6951"/>
            <ac:spMk id="14" creationId="{92FC6C6C-155F-4C1A-890E-114863D14568}"/>
          </ac:spMkLst>
        </pc:spChg>
        <pc:spChg chg="mod">
          <ac:chgData name="Ugo MANTEL" userId="2d5b7065-31bb-4181-a7f8-a73bf0c30211" providerId="ADAL" clId="{F05BB0D5-3454-45DC-8378-DA45B79D9A06}" dt="2020-10-02T13:04:37.667" v="5886" actId="790"/>
          <ac:spMkLst>
            <pc:docMk/>
            <pc:sldMk cId="3055682090" sldId="6951"/>
            <ac:spMk id="36" creationId="{87B48562-D2D9-4215-A1D8-63C987E5CD85}"/>
          </ac:spMkLst>
        </pc:spChg>
        <pc:spChg chg="mod">
          <ac:chgData name="Ugo MANTEL" userId="2d5b7065-31bb-4181-a7f8-a73bf0c30211" providerId="ADAL" clId="{F05BB0D5-3454-45DC-8378-DA45B79D9A06}" dt="2020-10-02T13:04:37.669" v="5887" actId="790"/>
          <ac:spMkLst>
            <pc:docMk/>
            <pc:sldMk cId="3055682090" sldId="6951"/>
            <ac:spMk id="37" creationId="{56C7D6E4-5002-428F-872D-0F58F6949487}"/>
          </ac:spMkLst>
        </pc:spChg>
        <pc:spChg chg="mod">
          <ac:chgData name="Ugo MANTEL" userId="2d5b7065-31bb-4181-a7f8-a73bf0c30211" providerId="ADAL" clId="{F05BB0D5-3454-45DC-8378-DA45B79D9A06}" dt="2020-10-02T13:04:37.671" v="5888" actId="790"/>
          <ac:spMkLst>
            <pc:docMk/>
            <pc:sldMk cId="3055682090" sldId="6951"/>
            <ac:spMk id="38" creationId="{C263DE67-002D-418E-8454-406162DF7A56}"/>
          </ac:spMkLst>
        </pc:spChg>
        <pc:spChg chg="mod">
          <ac:chgData name="Ugo MANTEL" userId="2d5b7065-31bb-4181-a7f8-a73bf0c30211" providerId="ADAL" clId="{F05BB0D5-3454-45DC-8378-DA45B79D9A06}" dt="2020-10-02T13:04:37.673" v="5889" actId="790"/>
          <ac:spMkLst>
            <pc:docMk/>
            <pc:sldMk cId="3055682090" sldId="6951"/>
            <ac:spMk id="39" creationId="{7598D4B6-96AC-489B-8F61-82243167AC7B}"/>
          </ac:spMkLst>
        </pc:spChg>
        <pc:spChg chg="mod">
          <ac:chgData name="Ugo MANTEL" userId="2d5b7065-31bb-4181-a7f8-a73bf0c30211" providerId="ADAL" clId="{F05BB0D5-3454-45DC-8378-DA45B79D9A06}" dt="2020-10-02T13:04:37.660" v="5884" actId="790"/>
          <ac:spMkLst>
            <pc:docMk/>
            <pc:sldMk cId="3055682090" sldId="6951"/>
            <ac:spMk id="47" creationId="{C85B0421-5BDB-4848-914A-867C2D466E74}"/>
          </ac:spMkLst>
        </pc:spChg>
        <pc:spChg chg="mod">
          <ac:chgData name="Ugo MANTEL" userId="2d5b7065-31bb-4181-a7f8-a73bf0c30211" providerId="ADAL" clId="{F05BB0D5-3454-45DC-8378-DA45B79D9A06}" dt="2020-10-02T13:04:37.665" v="5885" actId="790"/>
          <ac:spMkLst>
            <pc:docMk/>
            <pc:sldMk cId="3055682090" sldId="6951"/>
            <ac:spMk id="48" creationId="{4A9A9C35-FBD0-4A84-AAD1-D2EF1546575F}"/>
          </ac:spMkLst>
        </pc:spChg>
        <pc:spChg chg="mod">
          <ac:chgData name="Ugo MANTEL" userId="2d5b7065-31bb-4181-a7f8-a73bf0c30211" providerId="ADAL" clId="{F05BB0D5-3454-45DC-8378-DA45B79D9A06}" dt="2020-10-02T13:04:37.675" v="5890" actId="790"/>
          <ac:spMkLst>
            <pc:docMk/>
            <pc:sldMk cId="3055682090" sldId="6951"/>
            <ac:spMk id="55" creationId="{2C205BA5-D72C-4E3B-8EC2-747B50C45C45}"/>
          </ac:spMkLst>
        </pc:spChg>
        <pc:spChg chg="mod">
          <ac:chgData name="Ugo MANTEL" userId="2d5b7065-31bb-4181-a7f8-a73bf0c30211" providerId="ADAL" clId="{F05BB0D5-3454-45DC-8378-DA45B79D9A06}" dt="2020-10-02T13:04:37.686" v="5891" actId="790"/>
          <ac:spMkLst>
            <pc:docMk/>
            <pc:sldMk cId="3055682090" sldId="6951"/>
            <ac:spMk id="57" creationId="{C7761167-8EEA-4790-9E92-2DF776DF9F92}"/>
          </ac:spMkLst>
        </pc:spChg>
        <pc:spChg chg="mod">
          <ac:chgData name="Ugo MANTEL" userId="2d5b7065-31bb-4181-a7f8-a73bf0c30211" providerId="ADAL" clId="{F05BB0D5-3454-45DC-8378-DA45B79D9A06}" dt="2020-10-02T13:04:37.688" v="5892" actId="790"/>
          <ac:spMkLst>
            <pc:docMk/>
            <pc:sldMk cId="3055682090" sldId="6951"/>
            <ac:spMk id="59" creationId="{CB3E8335-973C-4212-B8EF-06D93E94D9BB}"/>
          </ac:spMkLst>
        </pc:spChg>
        <pc:spChg chg="mod">
          <ac:chgData name="Ugo MANTEL" userId="2d5b7065-31bb-4181-a7f8-a73bf0c30211" providerId="ADAL" clId="{F05BB0D5-3454-45DC-8378-DA45B79D9A06}" dt="2020-10-02T13:04:37.690" v="5893" actId="790"/>
          <ac:spMkLst>
            <pc:docMk/>
            <pc:sldMk cId="3055682090" sldId="6951"/>
            <ac:spMk id="60" creationId="{CD0F51E3-CC4B-46A1-9693-7082CBB05CD9}"/>
          </ac:spMkLst>
        </pc:spChg>
        <pc:spChg chg="mod">
          <ac:chgData name="Ugo MANTEL" userId="2d5b7065-31bb-4181-a7f8-a73bf0c30211" providerId="ADAL" clId="{F05BB0D5-3454-45DC-8378-DA45B79D9A06}" dt="2020-10-02T13:04:37.692" v="5894" actId="790"/>
          <ac:spMkLst>
            <pc:docMk/>
            <pc:sldMk cId="3055682090" sldId="6951"/>
            <ac:spMk id="62" creationId="{5755D8D0-0DEF-48CB-8C4B-6E8F69625F31}"/>
          </ac:spMkLst>
        </pc:spChg>
        <pc:spChg chg="mod">
          <ac:chgData name="Ugo MANTEL" userId="2d5b7065-31bb-4181-a7f8-a73bf0c30211" providerId="ADAL" clId="{F05BB0D5-3454-45DC-8378-DA45B79D9A06}" dt="2020-10-02T13:04:37.693" v="5895" actId="790"/>
          <ac:spMkLst>
            <pc:docMk/>
            <pc:sldMk cId="3055682090" sldId="6951"/>
            <ac:spMk id="63" creationId="{ABE41BAD-E61A-4ABB-AE5E-194A42711AA0}"/>
          </ac:spMkLst>
        </pc:spChg>
        <pc:spChg chg="mod">
          <ac:chgData name="Ugo MANTEL" userId="2d5b7065-31bb-4181-a7f8-a73bf0c30211" providerId="ADAL" clId="{F05BB0D5-3454-45DC-8378-DA45B79D9A06}" dt="2020-10-02T13:04:37.694" v="5896" actId="790"/>
          <ac:spMkLst>
            <pc:docMk/>
            <pc:sldMk cId="3055682090" sldId="6951"/>
            <ac:spMk id="69" creationId="{B0799433-5878-4EDA-A0D1-9BE83DFA4366}"/>
          </ac:spMkLst>
        </pc:spChg>
        <pc:spChg chg="mod">
          <ac:chgData name="Ugo MANTEL" userId="2d5b7065-31bb-4181-a7f8-a73bf0c30211" providerId="ADAL" clId="{F05BB0D5-3454-45DC-8378-DA45B79D9A06}" dt="2020-10-02T13:04:37.696" v="5897" actId="790"/>
          <ac:spMkLst>
            <pc:docMk/>
            <pc:sldMk cId="3055682090" sldId="6951"/>
            <ac:spMk id="70" creationId="{BA99CAC5-2EC8-4D88-9F02-3B44A80B5882}"/>
          </ac:spMkLst>
        </pc:spChg>
        <pc:spChg chg="mod">
          <ac:chgData name="Ugo MANTEL" userId="2d5b7065-31bb-4181-a7f8-a73bf0c30211" providerId="ADAL" clId="{F05BB0D5-3454-45DC-8378-DA45B79D9A06}" dt="2020-10-02T13:04:37.785" v="5912" actId="790"/>
          <ac:spMkLst>
            <pc:docMk/>
            <pc:sldMk cId="3055682090" sldId="6951"/>
            <ac:spMk id="103" creationId="{72090B49-B165-43E3-B662-8506E990B11E}"/>
          </ac:spMkLst>
        </pc:spChg>
        <pc:spChg chg="mod">
          <ac:chgData name="Ugo MANTEL" userId="2d5b7065-31bb-4181-a7f8-a73bf0c30211" providerId="ADAL" clId="{F05BB0D5-3454-45DC-8378-DA45B79D9A06}" dt="2020-10-02T13:04:37.788" v="5913" actId="790"/>
          <ac:spMkLst>
            <pc:docMk/>
            <pc:sldMk cId="3055682090" sldId="6951"/>
            <ac:spMk id="113" creationId="{03019474-C46F-4D1F-8B26-967EB88D446A}"/>
          </ac:spMkLst>
        </pc:spChg>
        <pc:spChg chg="mod">
          <ac:chgData name="Ugo MANTEL" userId="2d5b7065-31bb-4181-a7f8-a73bf0c30211" providerId="ADAL" clId="{F05BB0D5-3454-45DC-8378-DA45B79D9A06}" dt="2020-10-02T13:04:37.790" v="5914" actId="790"/>
          <ac:spMkLst>
            <pc:docMk/>
            <pc:sldMk cId="3055682090" sldId="6951"/>
            <ac:spMk id="116" creationId="{D5B75DAF-7DBC-4B73-B02E-57BC7B8E6BF7}"/>
          </ac:spMkLst>
        </pc:spChg>
        <pc:spChg chg="mod">
          <ac:chgData name="Ugo MANTEL" userId="2d5b7065-31bb-4181-a7f8-a73bf0c30211" providerId="ADAL" clId="{F05BB0D5-3454-45DC-8378-DA45B79D9A06}" dt="2020-10-02T13:04:37.793" v="5915" actId="790"/>
          <ac:spMkLst>
            <pc:docMk/>
            <pc:sldMk cId="3055682090" sldId="6951"/>
            <ac:spMk id="119" creationId="{55108368-D278-4879-A489-778CF027539E}"/>
          </ac:spMkLst>
        </pc:spChg>
        <pc:spChg chg="mod">
          <ac:chgData name="Ugo MANTEL" userId="2d5b7065-31bb-4181-a7f8-a73bf0c30211" providerId="ADAL" clId="{F05BB0D5-3454-45DC-8378-DA45B79D9A06}" dt="2020-10-02T13:04:37.795" v="5916" actId="790"/>
          <ac:spMkLst>
            <pc:docMk/>
            <pc:sldMk cId="3055682090" sldId="6951"/>
            <ac:spMk id="120" creationId="{D9CA344A-D293-40DA-8B5D-B76B4E39DD92}"/>
          </ac:spMkLst>
        </pc:spChg>
        <pc:spChg chg="mod">
          <ac:chgData name="Ugo MANTEL" userId="2d5b7065-31bb-4181-a7f8-a73bf0c30211" providerId="ADAL" clId="{F05BB0D5-3454-45DC-8378-DA45B79D9A06}" dt="2020-10-02T13:04:37.797" v="5917" actId="790"/>
          <ac:spMkLst>
            <pc:docMk/>
            <pc:sldMk cId="3055682090" sldId="6951"/>
            <ac:spMk id="128" creationId="{04F7E42F-5640-4652-AD37-9FE756C6090B}"/>
          </ac:spMkLst>
        </pc:spChg>
        <pc:spChg chg="mod">
          <ac:chgData name="Ugo MANTEL" userId="2d5b7065-31bb-4181-a7f8-a73bf0c30211" providerId="ADAL" clId="{F05BB0D5-3454-45DC-8378-DA45B79D9A06}" dt="2020-10-02T13:04:37.799" v="5918" actId="790"/>
          <ac:spMkLst>
            <pc:docMk/>
            <pc:sldMk cId="3055682090" sldId="6951"/>
            <ac:spMk id="129" creationId="{4D6BCFA7-3A1C-46D4-98D9-9DCB744D4593}"/>
          </ac:spMkLst>
        </pc:spChg>
        <pc:spChg chg="mod">
          <ac:chgData name="Ugo MANTEL" userId="2d5b7065-31bb-4181-a7f8-a73bf0c30211" providerId="ADAL" clId="{F05BB0D5-3454-45DC-8378-DA45B79D9A06}" dt="2020-10-02T13:04:37.801" v="5919" actId="790"/>
          <ac:spMkLst>
            <pc:docMk/>
            <pc:sldMk cId="3055682090" sldId="6951"/>
            <ac:spMk id="131" creationId="{B5F5A8F0-12DB-483B-9EE0-BF28D8F44F45}"/>
          </ac:spMkLst>
        </pc:spChg>
        <pc:spChg chg="mod">
          <ac:chgData name="Ugo MANTEL" userId="2d5b7065-31bb-4181-a7f8-a73bf0c30211" providerId="ADAL" clId="{F05BB0D5-3454-45DC-8378-DA45B79D9A06}" dt="2020-10-02T13:04:37.802" v="5920" actId="790"/>
          <ac:spMkLst>
            <pc:docMk/>
            <pc:sldMk cId="3055682090" sldId="6951"/>
            <ac:spMk id="132" creationId="{6184617B-EE0C-40C3-B6BA-C6966A0A6A8A}"/>
          </ac:spMkLst>
        </pc:spChg>
        <pc:spChg chg="mod">
          <ac:chgData name="Ugo MANTEL" userId="2d5b7065-31bb-4181-a7f8-a73bf0c30211" providerId="ADAL" clId="{F05BB0D5-3454-45DC-8378-DA45B79D9A06}" dt="2020-10-02T13:04:37.699" v="5898" actId="790"/>
          <ac:spMkLst>
            <pc:docMk/>
            <pc:sldMk cId="3055682090" sldId="6951"/>
            <ac:spMk id="150" creationId="{2E532408-C62D-41D3-B57D-A0A86CA848DE}"/>
          </ac:spMkLst>
        </pc:spChg>
        <pc:spChg chg="mod">
          <ac:chgData name="Ugo MANTEL" userId="2d5b7065-31bb-4181-a7f8-a73bf0c30211" providerId="ADAL" clId="{F05BB0D5-3454-45DC-8378-DA45B79D9A06}" dt="2020-10-02T13:04:37.700" v="5899" actId="790"/>
          <ac:spMkLst>
            <pc:docMk/>
            <pc:sldMk cId="3055682090" sldId="6951"/>
            <ac:spMk id="151" creationId="{82DEBBF3-491D-4866-9699-99021F3BA9EF}"/>
          </ac:spMkLst>
        </pc:spChg>
        <pc:spChg chg="mod">
          <ac:chgData name="Ugo MANTEL" userId="2d5b7065-31bb-4181-a7f8-a73bf0c30211" providerId="ADAL" clId="{F05BB0D5-3454-45DC-8378-DA45B79D9A06}" dt="2020-10-02T13:04:37.703" v="5900" actId="790"/>
          <ac:spMkLst>
            <pc:docMk/>
            <pc:sldMk cId="3055682090" sldId="6951"/>
            <ac:spMk id="152" creationId="{7BA28E49-F140-4A49-995C-C3B8B152A61A}"/>
          </ac:spMkLst>
        </pc:spChg>
        <pc:spChg chg="mod">
          <ac:chgData name="Ugo MANTEL" userId="2d5b7065-31bb-4181-a7f8-a73bf0c30211" providerId="ADAL" clId="{F05BB0D5-3454-45DC-8378-DA45B79D9A06}" dt="2020-10-02T13:04:37.706" v="5901" actId="790"/>
          <ac:spMkLst>
            <pc:docMk/>
            <pc:sldMk cId="3055682090" sldId="6951"/>
            <ac:spMk id="153" creationId="{9991953C-C2A5-4B25-B864-28C1D0CC492C}"/>
          </ac:spMkLst>
        </pc:spChg>
        <pc:spChg chg="mod">
          <ac:chgData name="Ugo MANTEL" userId="2d5b7065-31bb-4181-a7f8-a73bf0c30211" providerId="ADAL" clId="{F05BB0D5-3454-45DC-8378-DA45B79D9A06}" dt="2020-10-02T13:04:37.709" v="5902" actId="790"/>
          <ac:spMkLst>
            <pc:docMk/>
            <pc:sldMk cId="3055682090" sldId="6951"/>
            <ac:spMk id="154" creationId="{98C51536-2B14-4192-A8BF-3CEA4AFA4F72}"/>
          </ac:spMkLst>
        </pc:spChg>
        <pc:spChg chg="mod">
          <ac:chgData name="Ugo MANTEL" userId="2d5b7065-31bb-4181-a7f8-a73bf0c30211" providerId="ADAL" clId="{F05BB0D5-3454-45DC-8378-DA45B79D9A06}" dt="2020-10-02T13:04:37.711" v="5903" actId="790"/>
          <ac:spMkLst>
            <pc:docMk/>
            <pc:sldMk cId="3055682090" sldId="6951"/>
            <ac:spMk id="155" creationId="{D568A810-32AA-423F-90F1-6B9D8A243517}"/>
          </ac:spMkLst>
        </pc:spChg>
        <pc:spChg chg="mod">
          <ac:chgData name="Ugo MANTEL" userId="2d5b7065-31bb-4181-a7f8-a73bf0c30211" providerId="ADAL" clId="{F05BB0D5-3454-45DC-8378-DA45B79D9A06}" dt="2020-10-02T13:04:37.740" v="5904" actId="790"/>
          <ac:spMkLst>
            <pc:docMk/>
            <pc:sldMk cId="3055682090" sldId="6951"/>
            <ac:spMk id="183" creationId="{D458E761-8D37-4B76-985F-EA4DCCEFE449}"/>
          </ac:spMkLst>
        </pc:spChg>
        <pc:spChg chg="mod">
          <ac:chgData name="Ugo MANTEL" userId="2d5b7065-31bb-4181-a7f8-a73bf0c30211" providerId="ADAL" clId="{F05BB0D5-3454-45DC-8378-DA45B79D9A06}" dt="2020-10-02T13:04:37.742" v="5905" actId="790"/>
          <ac:spMkLst>
            <pc:docMk/>
            <pc:sldMk cId="3055682090" sldId="6951"/>
            <ac:spMk id="184" creationId="{E421838B-1AC2-4204-8392-5E73A0DAC093}"/>
          </ac:spMkLst>
        </pc:spChg>
        <pc:spChg chg="mod">
          <ac:chgData name="Ugo MANTEL" userId="2d5b7065-31bb-4181-a7f8-a73bf0c30211" providerId="ADAL" clId="{F05BB0D5-3454-45DC-8378-DA45B79D9A06}" dt="2020-10-02T13:04:37.745" v="5906" actId="790"/>
          <ac:spMkLst>
            <pc:docMk/>
            <pc:sldMk cId="3055682090" sldId="6951"/>
            <ac:spMk id="185" creationId="{E54FBE8C-ECAC-4DE9-B343-6B55E302243E}"/>
          </ac:spMkLst>
        </pc:spChg>
        <pc:spChg chg="mod">
          <ac:chgData name="Ugo MANTEL" userId="2d5b7065-31bb-4181-a7f8-a73bf0c30211" providerId="ADAL" clId="{F05BB0D5-3454-45DC-8378-DA45B79D9A06}" dt="2020-10-02T13:04:37.747" v="5907" actId="790"/>
          <ac:spMkLst>
            <pc:docMk/>
            <pc:sldMk cId="3055682090" sldId="6951"/>
            <ac:spMk id="186" creationId="{CA08447A-EE6E-4C22-A9BA-BC8710F62CB8}"/>
          </ac:spMkLst>
        </pc:spChg>
        <pc:spChg chg="mod">
          <ac:chgData name="Ugo MANTEL" userId="2d5b7065-31bb-4181-a7f8-a73bf0c30211" providerId="ADAL" clId="{F05BB0D5-3454-45DC-8378-DA45B79D9A06}" dt="2020-10-02T13:04:37.774" v="5908" actId="790"/>
          <ac:spMkLst>
            <pc:docMk/>
            <pc:sldMk cId="3055682090" sldId="6951"/>
            <ac:spMk id="214" creationId="{186F9FE6-6D42-4CD1-9264-BB26E46D58EC}"/>
          </ac:spMkLst>
        </pc:spChg>
        <pc:spChg chg="mod">
          <ac:chgData name="Ugo MANTEL" userId="2d5b7065-31bb-4181-a7f8-a73bf0c30211" providerId="ADAL" clId="{F05BB0D5-3454-45DC-8378-DA45B79D9A06}" dt="2020-10-02T13:04:37.776" v="5909" actId="790"/>
          <ac:spMkLst>
            <pc:docMk/>
            <pc:sldMk cId="3055682090" sldId="6951"/>
            <ac:spMk id="215" creationId="{4F578D78-755A-422C-AA31-4B207C7EBCBF}"/>
          </ac:spMkLst>
        </pc:spChg>
        <pc:spChg chg="mod">
          <ac:chgData name="Ugo MANTEL" userId="2d5b7065-31bb-4181-a7f8-a73bf0c30211" providerId="ADAL" clId="{F05BB0D5-3454-45DC-8378-DA45B79D9A06}" dt="2020-10-02T13:04:37.778" v="5910" actId="790"/>
          <ac:spMkLst>
            <pc:docMk/>
            <pc:sldMk cId="3055682090" sldId="6951"/>
            <ac:spMk id="216" creationId="{14E40106-3D33-44DE-A969-4F4D77754EB3}"/>
          </ac:spMkLst>
        </pc:spChg>
        <pc:spChg chg="mod">
          <ac:chgData name="Ugo MANTEL" userId="2d5b7065-31bb-4181-a7f8-a73bf0c30211" providerId="ADAL" clId="{F05BB0D5-3454-45DC-8378-DA45B79D9A06}" dt="2020-10-02T13:04:37.779" v="5911" actId="790"/>
          <ac:spMkLst>
            <pc:docMk/>
            <pc:sldMk cId="3055682090" sldId="6951"/>
            <ac:spMk id="217" creationId="{4EED8B52-E2F6-4FC8-8F0D-B6989714D56A}"/>
          </ac:spMkLst>
        </pc:spChg>
      </pc:sldChg>
      <pc:sldChg chg="modSp mod">
        <pc:chgData name="Ugo MANTEL" userId="2d5b7065-31bb-4181-a7f8-a73bf0c30211" providerId="ADAL" clId="{F05BB0D5-3454-45DC-8378-DA45B79D9A06}" dt="2020-10-02T13:04:33.491" v="2437" actId="790"/>
        <pc:sldMkLst>
          <pc:docMk/>
          <pc:sldMk cId="651344601" sldId="6954"/>
        </pc:sldMkLst>
        <pc:spChg chg="mod">
          <ac:chgData name="Ugo MANTEL" userId="2d5b7065-31bb-4181-a7f8-a73bf0c30211" providerId="ADAL" clId="{F05BB0D5-3454-45DC-8378-DA45B79D9A06}" dt="2020-10-02T13:04:33.436" v="2358" actId="790"/>
          <ac:spMkLst>
            <pc:docMk/>
            <pc:sldMk cId="651344601" sldId="6954"/>
            <ac:spMk id="2" creationId="{6E96B131-4384-4F20-AAC3-60174B3C2D90}"/>
          </ac:spMkLst>
        </pc:spChg>
        <pc:spChg chg="mod">
          <ac:chgData name="Ugo MANTEL" userId="2d5b7065-31bb-4181-a7f8-a73bf0c30211" providerId="ADAL" clId="{F05BB0D5-3454-45DC-8378-DA45B79D9A06}" dt="2020-10-02T13:04:33.486" v="2434" actId="790"/>
          <ac:spMkLst>
            <pc:docMk/>
            <pc:sldMk cId="651344601" sldId="6954"/>
            <ac:spMk id="4" creationId="{4E1304A4-3819-4E1D-8689-F8C8B3486596}"/>
          </ac:spMkLst>
        </pc:spChg>
        <pc:spChg chg="mod">
          <ac:chgData name="Ugo MANTEL" userId="2d5b7065-31bb-4181-a7f8-a73bf0c30211" providerId="ADAL" clId="{F05BB0D5-3454-45DC-8378-DA45B79D9A06}" dt="2020-10-02T13:04:33.439" v="2359" actId="790"/>
          <ac:spMkLst>
            <pc:docMk/>
            <pc:sldMk cId="651344601" sldId="6954"/>
            <ac:spMk id="11" creationId="{47616165-DDD5-44ED-B592-B1C71E3C74B2}"/>
          </ac:spMkLst>
        </pc:spChg>
        <pc:spChg chg="mod">
          <ac:chgData name="Ugo MANTEL" userId="2d5b7065-31bb-4181-a7f8-a73bf0c30211" providerId="ADAL" clId="{F05BB0D5-3454-45DC-8378-DA45B79D9A06}" dt="2020-10-02T13:04:33.447" v="2374" actId="790"/>
          <ac:spMkLst>
            <pc:docMk/>
            <pc:sldMk cId="651344601" sldId="6954"/>
            <ac:spMk id="58" creationId="{2E2BDF86-B4FE-440E-8D44-CD169851DE4B}"/>
          </ac:spMkLst>
        </pc:spChg>
        <pc:spChg chg="mod">
          <ac:chgData name="Ugo MANTEL" userId="2d5b7065-31bb-4181-a7f8-a73bf0c30211" providerId="ADAL" clId="{F05BB0D5-3454-45DC-8378-DA45B79D9A06}" dt="2020-10-02T13:04:33.441" v="2364" actId="790"/>
          <ac:spMkLst>
            <pc:docMk/>
            <pc:sldMk cId="651344601" sldId="6954"/>
            <ac:spMk id="86" creationId="{A48712C4-981C-408E-9EB7-C798809FA0B1}"/>
          </ac:spMkLst>
        </pc:spChg>
        <pc:spChg chg="mod">
          <ac:chgData name="Ugo MANTEL" userId="2d5b7065-31bb-4181-a7f8-a73bf0c30211" providerId="ADAL" clId="{F05BB0D5-3454-45DC-8378-DA45B79D9A06}" dt="2020-10-02T13:04:33.440" v="2361" actId="790"/>
          <ac:spMkLst>
            <pc:docMk/>
            <pc:sldMk cId="651344601" sldId="6954"/>
            <ac:spMk id="95" creationId="{12E25148-6DFE-411E-A9DC-48A086A12F54}"/>
          </ac:spMkLst>
        </pc:spChg>
        <pc:spChg chg="mod">
          <ac:chgData name="Ugo MANTEL" userId="2d5b7065-31bb-4181-a7f8-a73bf0c30211" providerId="ADAL" clId="{F05BB0D5-3454-45DC-8378-DA45B79D9A06}" dt="2020-10-02T13:04:33.439" v="2360" actId="790"/>
          <ac:spMkLst>
            <pc:docMk/>
            <pc:sldMk cId="651344601" sldId="6954"/>
            <ac:spMk id="96" creationId="{C4CDC83C-2278-480E-A012-8DF6E9D353CB}"/>
          </ac:spMkLst>
        </pc:spChg>
        <pc:spChg chg="mod">
          <ac:chgData name="Ugo MANTEL" userId="2d5b7065-31bb-4181-a7f8-a73bf0c30211" providerId="ADAL" clId="{F05BB0D5-3454-45DC-8378-DA45B79D9A06}" dt="2020-10-02T13:04:33.442" v="2365" actId="790"/>
          <ac:spMkLst>
            <pc:docMk/>
            <pc:sldMk cId="651344601" sldId="6954"/>
            <ac:spMk id="109" creationId="{555FC63E-5220-4D3D-9C13-0DCCB596F197}"/>
          </ac:spMkLst>
        </pc:spChg>
        <pc:spChg chg="mod">
          <ac:chgData name="Ugo MANTEL" userId="2d5b7065-31bb-4181-a7f8-a73bf0c30211" providerId="ADAL" clId="{F05BB0D5-3454-45DC-8378-DA45B79D9A06}" dt="2020-10-02T13:04:33.443" v="2366" actId="790"/>
          <ac:spMkLst>
            <pc:docMk/>
            <pc:sldMk cId="651344601" sldId="6954"/>
            <ac:spMk id="110" creationId="{942C7867-096E-4AEE-BF76-8C09715AEB28}"/>
          </ac:spMkLst>
        </pc:spChg>
        <pc:spChg chg="mod">
          <ac:chgData name="Ugo MANTEL" userId="2d5b7065-31bb-4181-a7f8-a73bf0c30211" providerId="ADAL" clId="{F05BB0D5-3454-45DC-8378-DA45B79D9A06}" dt="2020-10-02T13:04:33.443" v="2367" actId="790"/>
          <ac:spMkLst>
            <pc:docMk/>
            <pc:sldMk cId="651344601" sldId="6954"/>
            <ac:spMk id="112" creationId="{A9CCD360-9AEE-4393-BD89-4A8F847D891D}"/>
          </ac:spMkLst>
        </pc:spChg>
        <pc:spChg chg="mod">
          <ac:chgData name="Ugo MANTEL" userId="2d5b7065-31bb-4181-a7f8-a73bf0c30211" providerId="ADAL" clId="{F05BB0D5-3454-45DC-8378-DA45B79D9A06}" dt="2020-10-02T13:04:33.444" v="2368" actId="790"/>
          <ac:spMkLst>
            <pc:docMk/>
            <pc:sldMk cId="651344601" sldId="6954"/>
            <ac:spMk id="113" creationId="{A20B7C30-7BF6-47C2-8B8F-7E7AD740C7B6}"/>
          </ac:spMkLst>
        </pc:spChg>
        <pc:spChg chg="mod">
          <ac:chgData name="Ugo MANTEL" userId="2d5b7065-31bb-4181-a7f8-a73bf0c30211" providerId="ADAL" clId="{F05BB0D5-3454-45DC-8378-DA45B79D9A06}" dt="2020-10-02T13:04:33.491" v="2437" actId="790"/>
          <ac:spMkLst>
            <pc:docMk/>
            <pc:sldMk cId="651344601" sldId="6954"/>
            <ac:spMk id="114" creationId="{1D944720-1761-4BB2-A793-02A46C0BB385}"/>
          </ac:spMkLst>
        </pc:spChg>
        <pc:spChg chg="mod">
          <ac:chgData name="Ugo MANTEL" userId="2d5b7065-31bb-4181-a7f8-a73bf0c30211" providerId="ADAL" clId="{F05BB0D5-3454-45DC-8378-DA45B79D9A06}" dt="2020-10-02T13:04:33.444" v="2369" actId="790"/>
          <ac:spMkLst>
            <pc:docMk/>
            <pc:sldMk cId="651344601" sldId="6954"/>
            <ac:spMk id="115" creationId="{275D1E42-6080-4562-A3EE-FA736D8B7E16}"/>
          </ac:spMkLst>
        </pc:spChg>
        <pc:spChg chg="mod">
          <ac:chgData name="Ugo MANTEL" userId="2d5b7065-31bb-4181-a7f8-a73bf0c30211" providerId="ADAL" clId="{F05BB0D5-3454-45DC-8378-DA45B79D9A06}" dt="2020-10-02T13:04:33.445" v="2370" actId="790"/>
          <ac:spMkLst>
            <pc:docMk/>
            <pc:sldMk cId="651344601" sldId="6954"/>
            <ac:spMk id="116" creationId="{FEED74ED-3DD9-4775-9EC0-D1B90DF827D7}"/>
          </ac:spMkLst>
        </pc:spChg>
        <pc:spChg chg="mod">
          <ac:chgData name="Ugo MANTEL" userId="2d5b7065-31bb-4181-a7f8-a73bf0c30211" providerId="ADAL" clId="{F05BB0D5-3454-45DC-8378-DA45B79D9A06}" dt="2020-10-02T13:04:33.487" v="2435" actId="790"/>
          <ac:spMkLst>
            <pc:docMk/>
            <pc:sldMk cId="651344601" sldId="6954"/>
            <ac:spMk id="117" creationId="{7468EAE1-6B77-41EB-B4D8-2DEF5915FFC5}"/>
          </ac:spMkLst>
        </pc:spChg>
        <pc:spChg chg="mod">
          <ac:chgData name="Ugo MANTEL" userId="2d5b7065-31bb-4181-a7f8-a73bf0c30211" providerId="ADAL" clId="{F05BB0D5-3454-45DC-8378-DA45B79D9A06}" dt="2020-10-02T13:04:33.445" v="2371" actId="790"/>
          <ac:spMkLst>
            <pc:docMk/>
            <pc:sldMk cId="651344601" sldId="6954"/>
            <ac:spMk id="118" creationId="{C4947133-D1E9-4291-9400-EE884F8DB9FA}"/>
          </ac:spMkLst>
        </pc:spChg>
        <pc:spChg chg="mod">
          <ac:chgData name="Ugo MANTEL" userId="2d5b7065-31bb-4181-a7f8-a73bf0c30211" providerId="ADAL" clId="{F05BB0D5-3454-45DC-8378-DA45B79D9A06}" dt="2020-10-02T13:04:33.446" v="2372" actId="790"/>
          <ac:spMkLst>
            <pc:docMk/>
            <pc:sldMk cId="651344601" sldId="6954"/>
            <ac:spMk id="119" creationId="{8246CC77-224A-461C-8C7C-4BA3F7989535}"/>
          </ac:spMkLst>
        </pc:spChg>
        <pc:spChg chg="mod">
          <ac:chgData name="Ugo MANTEL" userId="2d5b7065-31bb-4181-a7f8-a73bf0c30211" providerId="ADAL" clId="{F05BB0D5-3454-45DC-8378-DA45B79D9A06}" dt="2020-10-02T13:04:33.447" v="2373" actId="790"/>
          <ac:spMkLst>
            <pc:docMk/>
            <pc:sldMk cId="651344601" sldId="6954"/>
            <ac:spMk id="120" creationId="{C1FC5082-9CF2-441D-8346-0611AA1FF4F5}"/>
          </ac:spMkLst>
        </pc:spChg>
        <pc:spChg chg="mod">
          <ac:chgData name="Ugo MANTEL" userId="2d5b7065-31bb-4181-a7f8-a73bf0c30211" providerId="ADAL" clId="{F05BB0D5-3454-45DC-8378-DA45B79D9A06}" dt="2020-10-02T13:04:33.455" v="2385" actId="790"/>
          <ac:spMkLst>
            <pc:docMk/>
            <pc:sldMk cId="651344601" sldId="6954"/>
            <ac:spMk id="123" creationId="{67BBC3A4-A09A-40DA-9D27-3AE9861B4F1E}"/>
          </ac:spMkLst>
        </pc:spChg>
        <pc:spChg chg="mod">
          <ac:chgData name="Ugo MANTEL" userId="2d5b7065-31bb-4181-a7f8-a73bf0c30211" providerId="ADAL" clId="{F05BB0D5-3454-45DC-8378-DA45B79D9A06}" dt="2020-10-02T13:04:33.455" v="2386" actId="790"/>
          <ac:spMkLst>
            <pc:docMk/>
            <pc:sldMk cId="651344601" sldId="6954"/>
            <ac:spMk id="126" creationId="{555141D9-1F3E-4DC7-A5B0-204FFF397991}"/>
          </ac:spMkLst>
        </pc:spChg>
        <pc:spChg chg="mod">
          <ac:chgData name="Ugo MANTEL" userId="2d5b7065-31bb-4181-a7f8-a73bf0c30211" providerId="ADAL" clId="{F05BB0D5-3454-45DC-8378-DA45B79D9A06}" dt="2020-10-02T13:04:33.456" v="2387" actId="790"/>
          <ac:spMkLst>
            <pc:docMk/>
            <pc:sldMk cId="651344601" sldId="6954"/>
            <ac:spMk id="127" creationId="{C4EE17D8-594E-4E9C-92C6-0BD8EC3C24D4}"/>
          </ac:spMkLst>
        </pc:spChg>
        <pc:spChg chg="mod">
          <ac:chgData name="Ugo MANTEL" userId="2d5b7065-31bb-4181-a7f8-a73bf0c30211" providerId="ADAL" clId="{F05BB0D5-3454-45DC-8378-DA45B79D9A06}" dt="2020-10-02T13:04:33.440" v="2362" actId="790"/>
          <ac:spMkLst>
            <pc:docMk/>
            <pc:sldMk cId="651344601" sldId="6954"/>
            <ac:spMk id="128" creationId="{506DFF1C-3075-4D17-9E6D-72B52C178628}"/>
          </ac:spMkLst>
        </pc:spChg>
        <pc:spChg chg="mod">
          <ac:chgData name="Ugo MANTEL" userId="2d5b7065-31bb-4181-a7f8-a73bf0c30211" providerId="ADAL" clId="{F05BB0D5-3454-45DC-8378-DA45B79D9A06}" dt="2020-10-02T13:04:33.456" v="2388" actId="790"/>
          <ac:spMkLst>
            <pc:docMk/>
            <pc:sldMk cId="651344601" sldId="6954"/>
            <ac:spMk id="129" creationId="{090D8B2D-4797-4558-AACC-A16A773F4636}"/>
          </ac:spMkLst>
        </pc:spChg>
        <pc:spChg chg="mod">
          <ac:chgData name="Ugo MANTEL" userId="2d5b7065-31bb-4181-a7f8-a73bf0c30211" providerId="ADAL" clId="{F05BB0D5-3454-45DC-8378-DA45B79D9A06}" dt="2020-10-02T13:04:33.458" v="2391" actId="790"/>
          <ac:spMkLst>
            <pc:docMk/>
            <pc:sldMk cId="651344601" sldId="6954"/>
            <ac:spMk id="131" creationId="{14AA6195-1121-45C8-9A47-9E51A8607F54}"/>
          </ac:spMkLst>
        </pc:spChg>
        <pc:spChg chg="mod">
          <ac:chgData name="Ugo MANTEL" userId="2d5b7065-31bb-4181-a7f8-a73bf0c30211" providerId="ADAL" clId="{F05BB0D5-3454-45DC-8378-DA45B79D9A06}" dt="2020-10-02T13:04:33.461" v="2396" actId="790"/>
          <ac:spMkLst>
            <pc:docMk/>
            <pc:sldMk cId="651344601" sldId="6954"/>
            <ac:spMk id="134" creationId="{B446D2D1-F6BA-4953-8F9C-4F8B9EA7DE5E}"/>
          </ac:spMkLst>
        </pc:spChg>
        <pc:spChg chg="mod">
          <ac:chgData name="Ugo MANTEL" userId="2d5b7065-31bb-4181-a7f8-a73bf0c30211" providerId="ADAL" clId="{F05BB0D5-3454-45DC-8378-DA45B79D9A06}" dt="2020-10-02T13:04:33.459" v="2392" actId="790"/>
          <ac:spMkLst>
            <pc:docMk/>
            <pc:sldMk cId="651344601" sldId="6954"/>
            <ac:spMk id="135" creationId="{90E30707-8B93-4168-B1DB-DA9A3B024AAC}"/>
          </ac:spMkLst>
        </pc:spChg>
        <pc:spChg chg="mod">
          <ac:chgData name="Ugo MANTEL" userId="2d5b7065-31bb-4181-a7f8-a73bf0c30211" providerId="ADAL" clId="{F05BB0D5-3454-45DC-8378-DA45B79D9A06}" dt="2020-10-02T13:04:33.459" v="2393" actId="790"/>
          <ac:spMkLst>
            <pc:docMk/>
            <pc:sldMk cId="651344601" sldId="6954"/>
            <ac:spMk id="136" creationId="{1D0CA8BD-306B-47FA-BA36-D2DC5DDA1EB3}"/>
          </ac:spMkLst>
        </pc:spChg>
        <pc:spChg chg="mod">
          <ac:chgData name="Ugo MANTEL" userId="2d5b7065-31bb-4181-a7f8-a73bf0c30211" providerId="ADAL" clId="{F05BB0D5-3454-45DC-8378-DA45B79D9A06}" dt="2020-10-02T13:04:33.460" v="2394" actId="790"/>
          <ac:spMkLst>
            <pc:docMk/>
            <pc:sldMk cId="651344601" sldId="6954"/>
            <ac:spMk id="137" creationId="{56654E0D-A27D-4F3B-8C01-514879CA6A65}"/>
          </ac:spMkLst>
        </pc:spChg>
        <pc:spChg chg="mod">
          <ac:chgData name="Ugo MANTEL" userId="2d5b7065-31bb-4181-a7f8-a73bf0c30211" providerId="ADAL" clId="{F05BB0D5-3454-45DC-8378-DA45B79D9A06}" dt="2020-10-02T13:04:33.461" v="2395" actId="790"/>
          <ac:spMkLst>
            <pc:docMk/>
            <pc:sldMk cId="651344601" sldId="6954"/>
            <ac:spMk id="138" creationId="{0E3F67B2-898D-4CBF-9AD0-1777CFF36DFD}"/>
          </ac:spMkLst>
        </pc:spChg>
        <pc:spChg chg="mod">
          <ac:chgData name="Ugo MANTEL" userId="2d5b7065-31bb-4181-a7f8-a73bf0c30211" providerId="ADAL" clId="{F05BB0D5-3454-45DC-8378-DA45B79D9A06}" dt="2020-10-02T13:04:33.457" v="2389" actId="790"/>
          <ac:spMkLst>
            <pc:docMk/>
            <pc:sldMk cId="651344601" sldId="6954"/>
            <ac:spMk id="156" creationId="{5F618E72-050C-45A0-91BB-D6DA3F0E6C6C}"/>
          </ac:spMkLst>
        </pc:spChg>
        <pc:spChg chg="mod">
          <ac:chgData name="Ugo MANTEL" userId="2d5b7065-31bb-4181-a7f8-a73bf0c30211" providerId="ADAL" clId="{F05BB0D5-3454-45DC-8378-DA45B79D9A06}" dt="2020-10-02T13:04:33.458" v="2390" actId="790"/>
          <ac:spMkLst>
            <pc:docMk/>
            <pc:sldMk cId="651344601" sldId="6954"/>
            <ac:spMk id="157" creationId="{10D008DA-9570-4BEA-AC07-BCD4977CDA65}"/>
          </ac:spMkLst>
        </pc:spChg>
        <pc:spChg chg="mod">
          <ac:chgData name="Ugo MANTEL" userId="2d5b7065-31bb-4181-a7f8-a73bf0c30211" providerId="ADAL" clId="{F05BB0D5-3454-45DC-8378-DA45B79D9A06}" dt="2020-10-02T13:04:33.441" v="2363" actId="790"/>
          <ac:spMkLst>
            <pc:docMk/>
            <pc:sldMk cId="651344601" sldId="6954"/>
            <ac:spMk id="161" creationId="{231391C5-553D-4FEA-BA0F-5DAB178CFF75}"/>
          </ac:spMkLst>
        </pc:spChg>
        <pc:spChg chg="mod">
          <ac:chgData name="Ugo MANTEL" userId="2d5b7065-31bb-4181-a7f8-a73bf0c30211" providerId="ADAL" clId="{F05BB0D5-3454-45DC-8378-DA45B79D9A06}" dt="2020-10-02T13:04:33.448" v="2375" actId="790"/>
          <ac:spMkLst>
            <pc:docMk/>
            <pc:sldMk cId="651344601" sldId="6954"/>
            <ac:spMk id="226" creationId="{93C9F407-EF88-4D64-9D8D-988324094152}"/>
          </ac:spMkLst>
        </pc:spChg>
        <pc:spChg chg="mod">
          <ac:chgData name="Ugo MANTEL" userId="2d5b7065-31bb-4181-a7f8-a73bf0c30211" providerId="ADAL" clId="{F05BB0D5-3454-45DC-8378-DA45B79D9A06}" dt="2020-10-02T13:04:33.449" v="2376" actId="790"/>
          <ac:spMkLst>
            <pc:docMk/>
            <pc:sldMk cId="651344601" sldId="6954"/>
            <ac:spMk id="227" creationId="{DF2563A8-DC7E-4BCA-9285-EC1AF1EACAF9}"/>
          </ac:spMkLst>
        </pc:spChg>
        <pc:spChg chg="mod">
          <ac:chgData name="Ugo MANTEL" userId="2d5b7065-31bb-4181-a7f8-a73bf0c30211" providerId="ADAL" clId="{F05BB0D5-3454-45DC-8378-DA45B79D9A06}" dt="2020-10-02T13:04:33.449" v="2377" actId="790"/>
          <ac:spMkLst>
            <pc:docMk/>
            <pc:sldMk cId="651344601" sldId="6954"/>
            <ac:spMk id="228" creationId="{E0262ACA-A556-42CA-A17A-222D4549B7B4}"/>
          </ac:spMkLst>
        </pc:spChg>
        <pc:spChg chg="mod">
          <ac:chgData name="Ugo MANTEL" userId="2d5b7065-31bb-4181-a7f8-a73bf0c30211" providerId="ADAL" clId="{F05BB0D5-3454-45DC-8378-DA45B79D9A06}" dt="2020-10-02T13:04:33.450" v="2378" actId="790"/>
          <ac:spMkLst>
            <pc:docMk/>
            <pc:sldMk cId="651344601" sldId="6954"/>
            <ac:spMk id="230" creationId="{3383D886-0B46-4936-A951-01ED04DC0F75}"/>
          </ac:spMkLst>
        </pc:spChg>
        <pc:spChg chg="mod">
          <ac:chgData name="Ugo MANTEL" userId="2d5b7065-31bb-4181-a7f8-a73bf0c30211" providerId="ADAL" clId="{F05BB0D5-3454-45DC-8378-DA45B79D9A06}" dt="2020-10-02T13:04:33.462" v="2397" actId="790"/>
          <ac:spMkLst>
            <pc:docMk/>
            <pc:sldMk cId="651344601" sldId="6954"/>
            <ac:spMk id="239" creationId="{F54A9D3B-1685-4D14-8301-471DC61D3226}"/>
          </ac:spMkLst>
        </pc:spChg>
        <pc:spChg chg="mod">
          <ac:chgData name="Ugo MANTEL" userId="2d5b7065-31bb-4181-a7f8-a73bf0c30211" providerId="ADAL" clId="{F05BB0D5-3454-45DC-8378-DA45B79D9A06}" dt="2020-10-02T13:04:33.463" v="2398" actId="790"/>
          <ac:spMkLst>
            <pc:docMk/>
            <pc:sldMk cId="651344601" sldId="6954"/>
            <ac:spMk id="240" creationId="{2E10C217-689B-4DDE-B44E-49D64E40BE59}"/>
          </ac:spMkLst>
        </pc:spChg>
        <pc:spChg chg="mod">
          <ac:chgData name="Ugo MANTEL" userId="2d5b7065-31bb-4181-a7f8-a73bf0c30211" providerId="ADAL" clId="{F05BB0D5-3454-45DC-8378-DA45B79D9A06}" dt="2020-10-02T13:04:33.463" v="2399" actId="790"/>
          <ac:spMkLst>
            <pc:docMk/>
            <pc:sldMk cId="651344601" sldId="6954"/>
            <ac:spMk id="241" creationId="{9E2D3BFE-B313-46E5-B690-F578EACB1EB6}"/>
          </ac:spMkLst>
        </pc:spChg>
        <pc:spChg chg="mod">
          <ac:chgData name="Ugo MANTEL" userId="2d5b7065-31bb-4181-a7f8-a73bf0c30211" providerId="ADAL" clId="{F05BB0D5-3454-45DC-8378-DA45B79D9A06}" dt="2020-10-02T13:04:33.464" v="2400" actId="790"/>
          <ac:spMkLst>
            <pc:docMk/>
            <pc:sldMk cId="651344601" sldId="6954"/>
            <ac:spMk id="242" creationId="{1B3C1E96-EA01-4AFC-9F90-046282C62E3D}"/>
          </ac:spMkLst>
        </pc:spChg>
        <pc:spChg chg="mod">
          <ac:chgData name="Ugo MANTEL" userId="2d5b7065-31bb-4181-a7f8-a73bf0c30211" providerId="ADAL" clId="{F05BB0D5-3454-45DC-8378-DA45B79D9A06}" dt="2020-10-02T13:04:33.465" v="2401" actId="790"/>
          <ac:spMkLst>
            <pc:docMk/>
            <pc:sldMk cId="651344601" sldId="6954"/>
            <ac:spMk id="243" creationId="{507707B4-ED9B-4643-BAEC-C718D78DC0D4}"/>
          </ac:spMkLst>
        </pc:spChg>
        <pc:spChg chg="mod">
          <ac:chgData name="Ugo MANTEL" userId="2d5b7065-31bb-4181-a7f8-a73bf0c30211" providerId="ADAL" clId="{F05BB0D5-3454-45DC-8378-DA45B79D9A06}" dt="2020-10-02T13:04:33.465" v="2402" actId="790"/>
          <ac:spMkLst>
            <pc:docMk/>
            <pc:sldMk cId="651344601" sldId="6954"/>
            <ac:spMk id="244" creationId="{1714B4DA-5FF8-4360-912B-A6F6041AE12D}"/>
          </ac:spMkLst>
        </pc:spChg>
        <pc:spChg chg="mod">
          <ac:chgData name="Ugo MANTEL" userId="2d5b7065-31bb-4181-a7f8-a73bf0c30211" providerId="ADAL" clId="{F05BB0D5-3454-45DC-8378-DA45B79D9A06}" dt="2020-10-02T13:04:33.466" v="2403" actId="790"/>
          <ac:spMkLst>
            <pc:docMk/>
            <pc:sldMk cId="651344601" sldId="6954"/>
            <ac:spMk id="245" creationId="{28798881-7B25-4A52-9C2D-84BE6A290635}"/>
          </ac:spMkLst>
        </pc:spChg>
        <pc:spChg chg="mod">
          <ac:chgData name="Ugo MANTEL" userId="2d5b7065-31bb-4181-a7f8-a73bf0c30211" providerId="ADAL" clId="{F05BB0D5-3454-45DC-8378-DA45B79D9A06}" dt="2020-10-02T13:04:33.467" v="2404" actId="790"/>
          <ac:spMkLst>
            <pc:docMk/>
            <pc:sldMk cId="651344601" sldId="6954"/>
            <ac:spMk id="246" creationId="{EFA91B5B-9AFC-4282-AABD-4B5B46D45B62}"/>
          </ac:spMkLst>
        </pc:spChg>
        <pc:spChg chg="mod">
          <ac:chgData name="Ugo MANTEL" userId="2d5b7065-31bb-4181-a7f8-a73bf0c30211" providerId="ADAL" clId="{F05BB0D5-3454-45DC-8378-DA45B79D9A06}" dt="2020-10-02T13:04:33.468" v="2405" actId="790"/>
          <ac:spMkLst>
            <pc:docMk/>
            <pc:sldMk cId="651344601" sldId="6954"/>
            <ac:spMk id="247" creationId="{9431B924-AB81-45CE-97F6-6E41C4252903}"/>
          </ac:spMkLst>
        </pc:spChg>
        <pc:spChg chg="mod">
          <ac:chgData name="Ugo MANTEL" userId="2d5b7065-31bb-4181-a7f8-a73bf0c30211" providerId="ADAL" clId="{F05BB0D5-3454-45DC-8378-DA45B79D9A06}" dt="2020-10-02T13:04:33.469" v="2406" actId="790"/>
          <ac:spMkLst>
            <pc:docMk/>
            <pc:sldMk cId="651344601" sldId="6954"/>
            <ac:spMk id="248" creationId="{D658FF66-AAC2-441E-B312-A5C69829CBFB}"/>
          </ac:spMkLst>
        </pc:spChg>
        <pc:spChg chg="mod">
          <ac:chgData name="Ugo MANTEL" userId="2d5b7065-31bb-4181-a7f8-a73bf0c30211" providerId="ADAL" clId="{F05BB0D5-3454-45DC-8378-DA45B79D9A06}" dt="2020-10-02T13:04:33.469" v="2407" actId="790"/>
          <ac:spMkLst>
            <pc:docMk/>
            <pc:sldMk cId="651344601" sldId="6954"/>
            <ac:spMk id="249" creationId="{2099DE46-64A0-4FAB-8E41-BAC1C220CBB6}"/>
          </ac:spMkLst>
        </pc:spChg>
        <pc:spChg chg="mod">
          <ac:chgData name="Ugo MANTEL" userId="2d5b7065-31bb-4181-a7f8-a73bf0c30211" providerId="ADAL" clId="{F05BB0D5-3454-45DC-8378-DA45B79D9A06}" dt="2020-10-02T13:04:33.470" v="2408" actId="790"/>
          <ac:spMkLst>
            <pc:docMk/>
            <pc:sldMk cId="651344601" sldId="6954"/>
            <ac:spMk id="250" creationId="{34C830AF-8CEC-483B-B769-FE7A1B551683}"/>
          </ac:spMkLst>
        </pc:spChg>
        <pc:spChg chg="mod">
          <ac:chgData name="Ugo MANTEL" userId="2d5b7065-31bb-4181-a7f8-a73bf0c30211" providerId="ADAL" clId="{F05BB0D5-3454-45DC-8378-DA45B79D9A06}" dt="2020-10-02T13:04:33.471" v="2409" actId="790"/>
          <ac:spMkLst>
            <pc:docMk/>
            <pc:sldMk cId="651344601" sldId="6954"/>
            <ac:spMk id="251" creationId="{03458428-3E91-4DAD-B6FD-BEC53904D07D}"/>
          </ac:spMkLst>
        </pc:spChg>
        <pc:spChg chg="mod">
          <ac:chgData name="Ugo MANTEL" userId="2d5b7065-31bb-4181-a7f8-a73bf0c30211" providerId="ADAL" clId="{F05BB0D5-3454-45DC-8378-DA45B79D9A06}" dt="2020-10-02T13:04:33.472" v="2410" actId="790"/>
          <ac:spMkLst>
            <pc:docMk/>
            <pc:sldMk cId="651344601" sldId="6954"/>
            <ac:spMk id="252" creationId="{464089CA-75A0-4184-AF60-E1C9F4B2711C}"/>
          </ac:spMkLst>
        </pc:spChg>
        <pc:spChg chg="mod">
          <ac:chgData name="Ugo MANTEL" userId="2d5b7065-31bb-4181-a7f8-a73bf0c30211" providerId="ADAL" clId="{F05BB0D5-3454-45DC-8378-DA45B79D9A06}" dt="2020-10-02T13:04:33.472" v="2411" actId="790"/>
          <ac:spMkLst>
            <pc:docMk/>
            <pc:sldMk cId="651344601" sldId="6954"/>
            <ac:spMk id="253" creationId="{09916D7A-BE6F-4938-9FA4-169F775FAB71}"/>
          </ac:spMkLst>
        </pc:spChg>
        <pc:spChg chg="mod">
          <ac:chgData name="Ugo MANTEL" userId="2d5b7065-31bb-4181-a7f8-a73bf0c30211" providerId="ADAL" clId="{F05BB0D5-3454-45DC-8378-DA45B79D9A06}" dt="2020-10-02T13:04:33.473" v="2412" actId="790"/>
          <ac:spMkLst>
            <pc:docMk/>
            <pc:sldMk cId="651344601" sldId="6954"/>
            <ac:spMk id="254" creationId="{6B18F5A9-B96A-49D6-9AD4-6C52B0290272}"/>
          </ac:spMkLst>
        </pc:spChg>
        <pc:spChg chg="mod">
          <ac:chgData name="Ugo MANTEL" userId="2d5b7065-31bb-4181-a7f8-a73bf0c30211" providerId="ADAL" clId="{F05BB0D5-3454-45DC-8378-DA45B79D9A06}" dt="2020-10-02T13:04:33.474" v="2413" actId="790"/>
          <ac:spMkLst>
            <pc:docMk/>
            <pc:sldMk cId="651344601" sldId="6954"/>
            <ac:spMk id="255" creationId="{030BF817-862D-4E0F-BAFF-4BFAE8F4AC99}"/>
          </ac:spMkLst>
        </pc:spChg>
        <pc:spChg chg="mod">
          <ac:chgData name="Ugo MANTEL" userId="2d5b7065-31bb-4181-a7f8-a73bf0c30211" providerId="ADAL" clId="{F05BB0D5-3454-45DC-8378-DA45B79D9A06}" dt="2020-10-02T13:04:33.475" v="2414" actId="790"/>
          <ac:spMkLst>
            <pc:docMk/>
            <pc:sldMk cId="651344601" sldId="6954"/>
            <ac:spMk id="256" creationId="{10413B11-371B-4567-B1F6-A76AB01560E5}"/>
          </ac:spMkLst>
        </pc:spChg>
        <pc:spChg chg="mod">
          <ac:chgData name="Ugo MANTEL" userId="2d5b7065-31bb-4181-a7f8-a73bf0c30211" providerId="ADAL" clId="{F05BB0D5-3454-45DC-8378-DA45B79D9A06}" dt="2020-10-02T13:04:33.475" v="2415" actId="790"/>
          <ac:spMkLst>
            <pc:docMk/>
            <pc:sldMk cId="651344601" sldId="6954"/>
            <ac:spMk id="257" creationId="{9D04E41E-05EB-47D5-B841-6BA8C02A1E52}"/>
          </ac:spMkLst>
        </pc:spChg>
        <pc:spChg chg="mod">
          <ac:chgData name="Ugo MANTEL" userId="2d5b7065-31bb-4181-a7f8-a73bf0c30211" providerId="ADAL" clId="{F05BB0D5-3454-45DC-8378-DA45B79D9A06}" dt="2020-10-02T13:04:33.476" v="2416" actId="790"/>
          <ac:spMkLst>
            <pc:docMk/>
            <pc:sldMk cId="651344601" sldId="6954"/>
            <ac:spMk id="258" creationId="{96827A77-4E89-468F-87B4-F0436F36E7E7}"/>
          </ac:spMkLst>
        </pc:spChg>
        <pc:spChg chg="mod">
          <ac:chgData name="Ugo MANTEL" userId="2d5b7065-31bb-4181-a7f8-a73bf0c30211" providerId="ADAL" clId="{F05BB0D5-3454-45DC-8378-DA45B79D9A06}" dt="2020-10-02T13:04:33.477" v="2417" actId="790"/>
          <ac:spMkLst>
            <pc:docMk/>
            <pc:sldMk cId="651344601" sldId="6954"/>
            <ac:spMk id="259" creationId="{77A66694-7E6A-42FA-826C-0A0024B0B6B2}"/>
          </ac:spMkLst>
        </pc:spChg>
        <pc:spChg chg="mod">
          <ac:chgData name="Ugo MANTEL" userId="2d5b7065-31bb-4181-a7f8-a73bf0c30211" providerId="ADAL" clId="{F05BB0D5-3454-45DC-8378-DA45B79D9A06}" dt="2020-10-02T13:04:33.477" v="2418" actId="790"/>
          <ac:spMkLst>
            <pc:docMk/>
            <pc:sldMk cId="651344601" sldId="6954"/>
            <ac:spMk id="260" creationId="{9CE5BB4D-AB52-4D2E-A55C-BB9E63E53541}"/>
          </ac:spMkLst>
        </pc:spChg>
        <pc:spChg chg="mod">
          <ac:chgData name="Ugo MANTEL" userId="2d5b7065-31bb-4181-a7f8-a73bf0c30211" providerId="ADAL" clId="{F05BB0D5-3454-45DC-8378-DA45B79D9A06}" dt="2020-10-02T13:04:33.451" v="2379" actId="790"/>
          <ac:spMkLst>
            <pc:docMk/>
            <pc:sldMk cId="651344601" sldId="6954"/>
            <ac:spMk id="261" creationId="{741C3489-CEB8-4BF7-9B9F-75F7FDF155CC}"/>
          </ac:spMkLst>
        </pc:spChg>
        <pc:spChg chg="mod">
          <ac:chgData name="Ugo MANTEL" userId="2d5b7065-31bb-4181-a7f8-a73bf0c30211" providerId="ADAL" clId="{F05BB0D5-3454-45DC-8378-DA45B79D9A06}" dt="2020-10-02T13:04:33.478" v="2419" actId="790"/>
          <ac:spMkLst>
            <pc:docMk/>
            <pc:sldMk cId="651344601" sldId="6954"/>
            <ac:spMk id="262" creationId="{E74D5E25-9028-4BD8-8028-10A2ECEF1F72}"/>
          </ac:spMkLst>
        </pc:spChg>
        <pc:spChg chg="mod">
          <ac:chgData name="Ugo MANTEL" userId="2d5b7065-31bb-4181-a7f8-a73bf0c30211" providerId="ADAL" clId="{F05BB0D5-3454-45DC-8378-DA45B79D9A06}" dt="2020-10-02T13:04:33.479" v="2421" actId="790"/>
          <ac:spMkLst>
            <pc:docMk/>
            <pc:sldMk cId="651344601" sldId="6954"/>
            <ac:spMk id="263" creationId="{B470A90B-5E4C-44CF-A85B-6ECD54B569B6}"/>
          </ac:spMkLst>
        </pc:spChg>
        <pc:spChg chg="mod">
          <ac:chgData name="Ugo MANTEL" userId="2d5b7065-31bb-4181-a7f8-a73bf0c30211" providerId="ADAL" clId="{F05BB0D5-3454-45DC-8378-DA45B79D9A06}" dt="2020-10-02T13:04:33.479" v="2422" actId="790"/>
          <ac:spMkLst>
            <pc:docMk/>
            <pc:sldMk cId="651344601" sldId="6954"/>
            <ac:spMk id="264" creationId="{3A2EE98E-243D-4125-B725-28D694CA0599}"/>
          </ac:spMkLst>
        </pc:spChg>
        <pc:spChg chg="mod">
          <ac:chgData name="Ugo MANTEL" userId="2d5b7065-31bb-4181-a7f8-a73bf0c30211" providerId="ADAL" clId="{F05BB0D5-3454-45DC-8378-DA45B79D9A06}" dt="2020-10-02T13:04:33.451" v="2380" actId="790"/>
          <ac:spMkLst>
            <pc:docMk/>
            <pc:sldMk cId="651344601" sldId="6954"/>
            <ac:spMk id="265" creationId="{5BF66B99-AEE7-402A-A6D4-F9F7AB1A39FA}"/>
          </ac:spMkLst>
        </pc:spChg>
        <pc:spChg chg="mod">
          <ac:chgData name="Ugo MANTEL" userId="2d5b7065-31bb-4181-a7f8-a73bf0c30211" providerId="ADAL" clId="{F05BB0D5-3454-45DC-8378-DA45B79D9A06}" dt="2020-10-02T13:04:33.452" v="2381" actId="790"/>
          <ac:spMkLst>
            <pc:docMk/>
            <pc:sldMk cId="651344601" sldId="6954"/>
            <ac:spMk id="266" creationId="{A801ADE5-AD6F-487A-B71D-DE25DB31C39F}"/>
          </ac:spMkLst>
        </pc:spChg>
        <pc:spChg chg="mod">
          <ac:chgData name="Ugo MANTEL" userId="2d5b7065-31bb-4181-a7f8-a73bf0c30211" providerId="ADAL" clId="{F05BB0D5-3454-45DC-8378-DA45B79D9A06}" dt="2020-10-02T13:04:33.480" v="2423" actId="790"/>
          <ac:spMkLst>
            <pc:docMk/>
            <pc:sldMk cId="651344601" sldId="6954"/>
            <ac:spMk id="267" creationId="{5AC9A312-F328-4424-8E17-F9A82899DC69}"/>
          </ac:spMkLst>
        </pc:spChg>
        <pc:spChg chg="mod">
          <ac:chgData name="Ugo MANTEL" userId="2d5b7065-31bb-4181-a7f8-a73bf0c30211" providerId="ADAL" clId="{F05BB0D5-3454-45DC-8378-DA45B79D9A06}" dt="2020-10-02T13:04:33.453" v="2382" actId="790"/>
          <ac:spMkLst>
            <pc:docMk/>
            <pc:sldMk cId="651344601" sldId="6954"/>
            <ac:spMk id="268" creationId="{5A728A33-EC33-45DD-9D59-7E195544EC76}"/>
          </ac:spMkLst>
        </pc:spChg>
        <pc:spChg chg="mod">
          <ac:chgData name="Ugo MANTEL" userId="2d5b7065-31bb-4181-a7f8-a73bf0c30211" providerId="ADAL" clId="{F05BB0D5-3454-45DC-8378-DA45B79D9A06}" dt="2020-10-02T13:04:33.480" v="2424" actId="790"/>
          <ac:spMkLst>
            <pc:docMk/>
            <pc:sldMk cId="651344601" sldId="6954"/>
            <ac:spMk id="269" creationId="{84366664-C036-4CB1-B1BE-33E771FE2D4E}"/>
          </ac:spMkLst>
        </pc:spChg>
        <pc:spChg chg="mod">
          <ac:chgData name="Ugo MANTEL" userId="2d5b7065-31bb-4181-a7f8-a73bf0c30211" providerId="ADAL" clId="{F05BB0D5-3454-45DC-8378-DA45B79D9A06}" dt="2020-10-02T13:04:33.478" v="2420" actId="790"/>
          <ac:spMkLst>
            <pc:docMk/>
            <pc:sldMk cId="651344601" sldId="6954"/>
            <ac:spMk id="274" creationId="{E3012A31-9499-4DC1-850D-02B1A035AFDA}"/>
          </ac:spMkLst>
        </pc:spChg>
        <pc:spChg chg="mod">
          <ac:chgData name="Ugo MANTEL" userId="2d5b7065-31bb-4181-a7f8-a73bf0c30211" providerId="ADAL" clId="{F05BB0D5-3454-45DC-8378-DA45B79D9A06}" dt="2020-10-02T13:04:33.481" v="2425" actId="790"/>
          <ac:spMkLst>
            <pc:docMk/>
            <pc:sldMk cId="651344601" sldId="6954"/>
            <ac:spMk id="275" creationId="{2D2F9392-6910-4566-A426-9D28FB27420D}"/>
          </ac:spMkLst>
        </pc:spChg>
        <pc:spChg chg="mod">
          <ac:chgData name="Ugo MANTEL" userId="2d5b7065-31bb-4181-a7f8-a73bf0c30211" providerId="ADAL" clId="{F05BB0D5-3454-45DC-8378-DA45B79D9A06}" dt="2020-10-02T13:04:33.481" v="2426" actId="790"/>
          <ac:spMkLst>
            <pc:docMk/>
            <pc:sldMk cId="651344601" sldId="6954"/>
            <ac:spMk id="276" creationId="{B1FD27EA-4204-420C-BB0D-800DCB34D0B4}"/>
          </ac:spMkLst>
        </pc:spChg>
        <pc:spChg chg="mod">
          <ac:chgData name="Ugo MANTEL" userId="2d5b7065-31bb-4181-a7f8-a73bf0c30211" providerId="ADAL" clId="{F05BB0D5-3454-45DC-8378-DA45B79D9A06}" dt="2020-10-02T13:04:33.482" v="2427" actId="790"/>
          <ac:spMkLst>
            <pc:docMk/>
            <pc:sldMk cId="651344601" sldId="6954"/>
            <ac:spMk id="277" creationId="{DC98A8F5-046D-426E-9E44-FF3158F58ADE}"/>
          </ac:spMkLst>
        </pc:spChg>
        <pc:spChg chg="mod">
          <ac:chgData name="Ugo MANTEL" userId="2d5b7065-31bb-4181-a7f8-a73bf0c30211" providerId="ADAL" clId="{F05BB0D5-3454-45DC-8378-DA45B79D9A06}" dt="2020-10-02T13:04:33.453" v="2383" actId="790"/>
          <ac:spMkLst>
            <pc:docMk/>
            <pc:sldMk cId="651344601" sldId="6954"/>
            <ac:spMk id="284" creationId="{449D329A-60A8-419E-BEDC-74F9C61DC74C}"/>
          </ac:spMkLst>
        </pc:spChg>
        <pc:spChg chg="mod">
          <ac:chgData name="Ugo MANTEL" userId="2d5b7065-31bb-4181-a7f8-a73bf0c30211" providerId="ADAL" clId="{F05BB0D5-3454-45DC-8378-DA45B79D9A06}" dt="2020-10-02T13:04:33.454" v="2384" actId="790"/>
          <ac:spMkLst>
            <pc:docMk/>
            <pc:sldMk cId="651344601" sldId="6954"/>
            <ac:spMk id="285" creationId="{3D07C366-9481-4DFB-B578-E80B3774F6C9}"/>
          </ac:spMkLst>
        </pc:spChg>
        <pc:spChg chg="mod">
          <ac:chgData name="Ugo MANTEL" userId="2d5b7065-31bb-4181-a7f8-a73bf0c30211" providerId="ADAL" clId="{F05BB0D5-3454-45DC-8378-DA45B79D9A06}" dt="2020-10-02T13:04:33.482" v="2428" actId="790"/>
          <ac:spMkLst>
            <pc:docMk/>
            <pc:sldMk cId="651344601" sldId="6954"/>
            <ac:spMk id="287" creationId="{C116B240-6FAE-4B39-BCEC-6DDA973F1464}"/>
          </ac:spMkLst>
        </pc:spChg>
        <pc:spChg chg="mod">
          <ac:chgData name="Ugo MANTEL" userId="2d5b7065-31bb-4181-a7f8-a73bf0c30211" providerId="ADAL" clId="{F05BB0D5-3454-45DC-8378-DA45B79D9A06}" dt="2020-10-02T13:04:33.483" v="2429" actId="790"/>
          <ac:spMkLst>
            <pc:docMk/>
            <pc:sldMk cId="651344601" sldId="6954"/>
            <ac:spMk id="289" creationId="{A0B809A4-FB1A-4788-A515-DD50294569E0}"/>
          </ac:spMkLst>
        </pc:spChg>
        <pc:spChg chg="mod">
          <ac:chgData name="Ugo MANTEL" userId="2d5b7065-31bb-4181-a7f8-a73bf0c30211" providerId="ADAL" clId="{F05BB0D5-3454-45DC-8378-DA45B79D9A06}" dt="2020-10-02T13:04:33.484" v="2430" actId="790"/>
          <ac:spMkLst>
            <pc:docMk/>
            <pc:sldMk cId="651344601" sldId="6954"/>
            <ac:spMk id="290" creationId="{05F34368-BE08-4729-A75F-251101CBC380}"/>
          </ac:spMkLst>
        </pc:spChg>
        <pc:spChg chg="mod">
          <ac:chgData name="Ugo MANTEL" userId="2d5b7065-31bb-4181-a7f8-a73bf0c30211" providerId="ADAL" clId="{F05BB0D5-3454-45DC-8378-DA45B79D9A06}" dt="2020-10-02T13:04:33.484" v="2431" actId="790"/>
          <ac:spMkLst>
            <pc:docMk/>
            <pc:sldMk cId="651344601" sldId="6954"/>
            <ac:spMk id="291" creationId="{F319D7D7-07D8-4461-BC33-1CF1B831D1C4}"/>
          </ac:spMkLst>
        </pc:spChg>
        <pc:spChg chg="mod">
          <ac:chgData name="Ugo MANTEL" userId="2d5b7065-31bb-4181-a7f8-a73bf0c30211" providerId="ADAL" clId="{F05BB0D5-3454-45DC-8378-DA45B79D9A06}" dt="2020-10-02T13:04:33.485" v="2432" actId="790"/>
          <ac:spMkLst>
            <pc:docMk/>
            <pc:sldMk cId="651344601" sldId="6954"/>
            <ac:spMk id="292" creationId="{8190FC58-6B5E-46E2-952C-429B8D1A2F5F}"/>
          </ac:spMkLst>
        </pc:spChg>
        <pc:spChg chg="mod">
          <ac:chgData name="Ugo MANTEL" userId="2d5b7065-31bb-4181-a7f8-a73bf0c30211" providerId="ADAL" clId="{F05BB0D5-3454-45DC-8378-DA45B79D9A06}" dt="2020-10-02T13:04:33.486" v="2433" actId="790"/>
          <ac:spMkLst>
            <pc:docMk/>
            <pc:sldMk cId="651344601" sldId="6954"/>
            <ac:spMk id="293" creationId="{5311985C-626E-433B-8DCE-D410717F5D97}"/>
          </ac:spMkLst>
        </pc:spChg>
        <pc:spChg chg="mod">
          <ac:chgData name="Ugo MANTEL" userId="2d5b7065-31bb-4181-a7f8-a73bf0c30211" providerId="ADAL" clId="{F05BB0D5-3454-45DC-8378-DA45B79D9A06}" dt="2020-10-02T13:04:33.487" v="2436" actId="790"/>
          <ac:spMkLst>
            <pc:docMk/>
            <pc:sldMk cId="651344601" sldId="6954"/>
            <ac:spMk id="299" creationId="{39F99B10-6FE0-4614-8A65-A41B4F684017}"/>
          </ac:spMkLst>
        </pc:spChg>
      </pc:sldChg>
      <pc:sldChg chg="modSp mod ord">
        <pc:chgData name="Ugo MANTEL" userId="2d5b7065-31bb-4181-a7f8-a73bf0c30211" providerId="ADAL" clId="{F05BB0D5-3454-45DC-8378-DA45B79D9A06}" dt="2020-10-02T15:44:18.939" v="7503"/>
        <pc:sldMkLst>
          <pc:docMk/>
          <pc:sldMk cId="1917388172" sldId="6958"/>
        </pc:sldMkLst>
        <pc:spChg chg="mod">
          <ac:chgData name="Ugo MANTEL" userId="2d5b7065-31bb-4181-a7f8-a73bf0c30211" providerId="ADAL" clId="{F05BB0D5-3454-45DC-8378-DA45B79D9A06}" dt="2020-10-02T13:04:32.904" v="1794" actId="790"/>
          <ac:spMkLst>
            <pc:docMk/>
            <pc:sldMk cId="1917388172" sldId="6958"/>
            <ac:spMk id="3" creationId="{61351E7A-9481-41DB-AB3F-B12A6918ABEC}"/>
          </ac:spMkLst>
        </pc:spChg>
        <pc:spChg chg="mod">
          <ac:chgData name="Ugo MANTEL" userId="2d5b7065-31bb-4181-a7f8-a73bf0c30211" providerId="ADAL" clId="{F05BB0D5-3454-45DC-8378-DA45B79D9A06}" dt="2020-10-02T13:04:32.902" v="1793" actId="790"/>
          <ac:spMkLst>
            <pc:docMk/>
            <pc:sldMk cId="1917388172" sldId="6958"/>
            <ac:spMk id="10" creationId="{50C3B344-EC20-4FC0-A0F8-1D6921421D45}"/>
          </ac:spMkLst>
        </pc:spChg>
        <pc:spChg chg="mod">
          <ac:chgData name="Ugo MANTEL" userId="2d5b7065-31bb-4181-a7f8-a73bf0c30211" providerId="ADAL" clId="{F05BB0D5-3454-45DC-8378-DA45B79D9A06}" dt="2020-10-02T13:04:32.924" v="1819" actId="790"/>
          <ac:spMkLst>
            <pc:docMk/>
            <pc:sldMk cId="1917388172" sldId="6958"/>
            <ac:spMk id="15" creationId="{7835799C-39A4-4B48-B444-AB9044F873CD}"/>
          </ac:spMkLst>
        </pc:spChg>
        <pc:spChg chg="mod">
          <ac:chgData name="Ugo MANTEL" userId="2d5b7065-31bb-4181-a7f8-a73bf0c30211" providerId="ADAL" clId="{F05BB0D5-3454-45DC-8378-DA45B79D9A06}" dt="2020-10-02T13:04:32.905" v="1795" actId="790"/>
          <ac:spMkLst>
            <pc:docMk/>
            <pc:sldMk cId="1917388172" sldId="6958"/>
            <ac:spMk id="16" creationId="{99A85B47-9B6A-409E-925C-8CA1206520DF}"/>
          </ac:spMkLst>
        </pc:spChg>
        <pc:spChg chg="mod">
          <ac:chgData name="Ugo MANTEL" userId="2d5b7065-31bb-4181-a7f8-a73bf0c30211" providerId="ADAL" clId="{F05BB0D5-3454-45DC-8378-DA45B79D9A06}" dt="2020-10-02T13:04:32.906" v="1796" actId="790"/>
          <ac:spMkLst>
            <pc:docMk/>
            <pc:sldMk cId="1917388172" sldId="6958"/>
            <ac:spMk id="18" creationId="{0344E564-E925-467B-81BE-BC1FC73022AB}"/>
          </ac:spMkLst>
        </pc:spChg>
        <pc:spChg chg="mod">
          <ac:chgData name="Ugo MANTEL" userId="2d5b7065-31bb-4181-a7f8-a73bf0c30211" providerId="ADAL" clId="{F05BB0D5-3454-45DC-8378-DA45B79D9A06}" dt="2020-10-02T13:04:32.901" v="1792" actId="790"/>
          <ac:spMkLst>
            <pc:docMk/>
            <pc:sldMk cId="1917388172" sldId="6958"/>
            <ac:spMk id="20" creationId="{09B840F8-497F-4061-BCB3-52E61A3148E7}"/>
          </ac:spMkLst>
        </pc:spChg>
        <pc:spChg chg="mod">
          <ac:chgData name="Ugo MANTEL" userId="2d5b7065-31bb-4181-a7f8-a73bf0c30211" providerId="ADAL" clId="{F05BB0D5-3454-45DC-8378-DA45B79D9A06}" dt="2020-10-02T13:04:32.906" v="1797" actId="790"/>
          <ac:spMkLst>
            <pc:docMk/>
            <pc:sldMk cId="1917388172" sldId="6958"/>
            <ac:spMk id="21" creationId="{45751F37-24C4-4D3E-BB31-025E729AD47A}"/>
          </ac:spMkLst>
        </pc:spChg>
        <pc:spChg chg="mod">
          <ac:chgData name="Ugo MANTEL" userId="2d5b7065-31bb-4181-a7f8-a73bf0c30211" providerId="ADAL" clId="{F05BB0D5-3454-45DC-8378-DA45B79D9A06}" dt="2020-10-02T13:04:32.912" v="1804" actId="790"/>
          <ac:spMkLst>
            <pc:docMk/>
            <pc:sldMk cId="1917388172" sldId="6958"/>
            <ac:spMk id="43" creationId="{5EF23CE8-FA1A-490A-867F-9ADD3B2693E4}"/>
          </ac:spMkLst>
        </pc:spChg>
        <pc:spChg chg="mod">
          <ac:chgData name="Ugo MANTEL" userId="2d5b7065-31bb-4181-a7f8-a73bf0c30211" providerId="ADAL" clId="{F05BB0D5-3454-45DC-8378-DA45B79D9A06}" dt="2020-10-02T13:04:32.913" v="1805" actId="790"/>
          <ac:spMkLst>
            <pc:docMk/>
            <pc:sldMk cId="1917388172" sldId="6958"/>
            <ac:spMk id="44" creationId="{B556EBA1-48C6-48C3-9DC9-8DF046FBAF2C}"/>
          </ac:spMkLst>
        </pc:spChg>
        <pc:spChg chg="mod">
          <ac:chgData name="Ugo MANTEL" userId="2d5b7065-31bb-4181-a7f8-a73bf0c30211" providerId="ADAL" clId="{F05BB0D5-3454-45DC-8378-DA45B79D9A06}" dt="2020-10-02T13:04:32.914" v="1806" actId="790"/>
          <ac:spMkLst>
            <pc:docMk/>
            <pc:sldMk cId="1917388172" sldId="6958"/>
            <ac:spMk id="45" creationId="{931C6884-999E-4697-BF7C-27C3123E62E7}"/>
          </ac:spMkLst>
        </pc:spChg>
        <pc:spChg chg="mod">
          <ac:chgData name="Ugo MANTEL" userId="2d5b7065-31bb-4181-a7f8-a73bf0c30211" providerId="ADAL" clId="{F05BB0D5-3454-45DC-8378-DA45B79D9A06}" dt="2020-10-02T13:04:32.915" v="1807" actId="790"/>
          <ac:spMkLst>
            <pc:docMk/>
            <pc:sldMk cId="1917388172" sldId="6958"/>
            <ac:spMk id="46" creationId="{1E0226D3-4633-4EDA-877D-B040FB35AB8C}"/>
          </ac:spMkLst>
        </pc:spChg>
        <pc:spChg chg="mod">
          <ac:chgData name="Ugo MANTEL" userId="2d5b7065-31bb-4181-a7f8-a73bf0c30211" providerId="ADAL" clId="{F05BB0D5-3454-45DC-8378-DA45B79D9A06}" dt="2020-10-02T13:04:32.916" v="1808" actId="790"/>
          <ac:spMkLst>
            <pc:docMk/>
            <pc:sldMk cId="1917388172" sldId="6958"/>
            <ac:spMk id="47" creationId="{B4CFA30E-4A1A-4040-991A-495DF4A10580}"/>
          </ac:spMkLst>
        </pc:spChg>
        <pc:spChg chg="mod">
          <ac:chgData name="Ugo MANTEL" userId="2d5b7065-31bb-4181-a7f8-a73bf0c30211" providerId="ADAL" clId="{F05BB0D5-3454-45DC-8378-DA45B79D9A06}" dt="2020-10-02T13:04:32.917" v="1809" actId="790"/>
          <ac:spMkLst>
            <pc:docMk/>
            <pc:sldMk cId="1917388172" sldId="6958"/>
            <ac:spMk id="49" creationId="{4CEF070C-10A3-402B-A567-04B5A5707142}"/>
          </ac:spMkLst>
        </pc:spChg>
        <pc:spChg chg="mod">
          <ac:chgData name="Ugo MANTEL" userId="2d5b7065-31bb-4181-a7f8-a73bf0c30211" providerId="ADAL" clId="{F05BB0D5-3454-45DC-8378-DA45B79D9A06}" dt="2020-10-02T13:04:32.918" v="1810" actId="790"/>
          <ac:spMkLst>
            <pc:docMk/>
            <pc:sldMk cId="1917388172" sldId="6958"/>
            <ac:spMk id="50" creationId="{40AC6737-C920-4282-803C-3787263AB325}"/>
          </ac:spMkLst>
        </pc:spChg>
        <pc:spChg chg="mod">
          <ac:chgData name="Ugo MANTEL" userId="2d5b7065-31bb-4181-a7f8-a73bf0c30211" providerId="ADAL" clId="{F05BB0D5-3454-45DC-8378-DA45B79D9A06}" dt="2020-10-02T13:04:32.918" v="1811" actId="790"/>
          <ac:spMkLst>
            <pc:docMk/>
            <pc:sldMk cId="1917388172" sldId="6958"/>
            <ac:spMk id="51" creationId="{CCA1E744-642D-4E27-B133-5CB9220CD2ED}"/>
          </ac:spMkLst>
        </pc:spChg>
        <pc:spChg chg="mod">
          <ac:chgData name="Ugo MANTEL" userId="2d5b7065-31bb-4181-a7f8-a73bf0c30211" providerId="ADAL" clId="{F05BB0D5-3454-45DC-8378-DA45B79D9A06}" dt="2020-10-02T13:04:32.919" v="1812" actId="790"/>
          <ac:spMkLst>
            <pc:docMk/>
            <pc:sldMk cId="1917388172" sldId="6958"/>
            <ac:spMk id="52" creationId="{04118EFC-EE59-4DDB-9F04-2660DF8D9CFD}"/>
          </ac:spMkLst>
        </pc:spChg>
        <pc:spChg chg="mod">
          <ac:chgData name="Ugo MANTEL" userId="2d5b7065-31bb-4181-a7f8-a73bf0c30211" providerId="ADAL" clId="{F05BB0D5-3454-45DC-8378-DA45B79D9A06}" dt="2020-10-02T13:04:32.920" v="1813" actId="790"/>
          <ac:spMkLst>
            <pc:docMk/>
            <pc:sldMk cId="1917388172" sldId="6958"/>
            <ac:spMk id="53" creationId="{B24572AB-9534-43BC-972D-A430C2797644}"/>
          </ac:spMkLst>
        </pc:spChg>
        <pc:spChg chg="mod">
          <ac:chgData name="Ugo MANTEL" userId="2d5b7065-31bb-4181-a7f8-a73bf0c30211" providerId="ADAL" clId="{F05BB0D5-3454-45DC-8378-DA45B79D9A06}" dt="2020-10-02T13:04:32.927" v="1824" actId="790"/>
          <ac:spMkLst>
            <pc:docMk/>
            <pc:sldMk cId="1917388172" sldId="6958"/>
            <ac:spMk id="54" creationId="{E2EDA8C0-3F35-42AC-A37B-3A89F6473400}"/>
          </ac:spMkLst>
        </pc:spChg>
        <pc:spChg chg="mod">
          <ac:chgData name="Ugo MANTEL" userId="2d5b7065-31bb-4181-a7f8-a73bf0c30211" providerId="ADAL" clId="{F05BB0D5-3454-45DC-8378-DA45B79D9A06}" dt="2020-10-02T13:04:32.921" v="1814" actId="790"/>
          <ac:spMkLst>
            <pc:docMk/>
            <pc:sldMk cId="1917388172" sldId="6958"/>
            <ac:spMk id="55" creationId="{10D5D2EA-688D-4927-9F63-0ECF42EB5370}"/>
          </ac:spMkLst>
        </pc:spChg>
        <pc:spChg chg="mod">
          <ac:chgData name="Ugo MANTEL" userId="2d5b7065-31bb-4181-a7f8-a73bf0c30211" providerId="ADAL" clId="{F05BB0D5-3454-45DC-8378-DA45B79D9A06}" dt="2020-10-02T13:04:32.928" v="1825" actId="790"/>
          <ac:spMkLst>
            <pc:docMk/>
            <pc:sldMk cId="1917388172" sldId="6958"/>
            <ac:spMk id="57" creationId="{56D2F1AE-D69D-47CE-B4A1-E2BBF19BD30A}"/>
          </ac:spMkLst>
        </pc:spChg>
        <pc:spChg chg="mod">
          <ac:chgData name="Ugo MANTEL" userId="2d5b7065-31bb-4181-a7f8-a73bf0c30211" providerId="ADAL" clId="{F05BB0D5-3454-45DC-8378-DA45B79D9A06}" dt="2020-10-02T13:04:32.929" v="1826" actId="790"/>
          <ac:spMkLst>
            <pc:docMk/>
            <pc:sldMk cId="1917388172" sldId="6958"/>
            <ac:spMk id="58" creationId="{4E5A8748-A349-4CDA-BD9A-C8739B34CB8C}"/>
          </ac:spMkLst>
        </pc:spChg>
        <pc:spChg chg="mod">
          <ac:chgData name="Ugo MANTEL" userId="2d5b7065-31bb-4181-a7f8-a73bf0c30211" providerId="ADAL" clId="{F05BB0D5-3454-45DC-8378-DA45B79D9A06}" dt="2020-10-02T13:04:32.930" v="1827" actId="790"/>
          <ac:spMkLst>
            <pc:docMk/>
            <pc:sldMk cId="1917388172" sldId="6958"/>
            <ac:spMk id="59" creationId="{93EE29AE-3672-4992-B61E-FA8DB0DB91EC}"/>
          </ac:spMkLst>
        </pc:spChg>
        <pc:spChg chg="mod">
          <ac:chgData name="Ugo MANTEL" userId="2d5b7065-31bb-4181-a7f8-a73bf0c30211" providerId="ADAL" clId="{F05BB0D5-3454-45DC-8378-DA45B79D9A06}" dt="2020-10-02T13:04:32.922" v="1815" actId="790"/>
          <ac:spMkLst>
            <pc:docMk/>
            <pc:sldMk cId="1917388172" sldId="6958"/>
            <ac:spMk id="60" creationId="{0F7411FF-931F-4428-9782-B1936E618738}"/>
          </ac:spMkLst>
        </pc:spChg>
        <pc:spChg chg="mod">
          <ac:chgData name="Ugo MANTEL" userId="2d5b7065-31bb-4181-a7f8-a73bf0c30211" providerId="ADAL" clId="{F05BB0D5-3454-45DC-8378-DA45B79D9A06}" dt="2020-10-02T13:04:32.931" v="1828" actId="790"/>
          <ac:spMkLst>
            <pc:docMk/>
            <pc:sldMk cId="1917388172" sldId="6958"/>
            <ac:spMk id="61" creationId="{6D8E28D4-E384-4FA7-BF9E-C7DCA53596F3}"/>
          </ac:spMkLst>
        </pc:spChg>
        <pc:spChg chg="mod">
          <ac:chgData name="Ugo MANTEL" userId="2d5b7065-31bb-4181-a7f8-a73bf0c30211" providerId="ADAL" clId="{F05BB0D5-3454-45DC-8378-DA45B79D9A06}" dt="2020-10-02T13:04:32.922" v="1816" actId="790"/>
          <ac:spMkLst>
            <pc:docMk/>
            <pc:sldMk cId="1917388172" sldId="6958"/>
            <ac:spMk id="62" creationId="{B4B5EB93-D9FB-4310-BBB1-F16819ECE3A5}"/>
          </ac:spMkLst>
        </pc:spChg>
        <pc:spChg chg="mod">
          <ac:chgData name="Ugo MANTEL" userId="2d5b7065-31bb-4181-a7f8-a73bf0c30211" providerId="ADAL" clId="{F05BB0D5-3454-45DC-8378-DA45B79D9A06}" dt="2020-10-02T13:04:32.931" v="1829" actId="790"/>
          <ac:spMkLst>
            <pc:docMk/>
            <pc:sldMk cId="1917388172" sldId="6958"/>
            <ac:spMk id="63" creationId="{CF52B27B-156E-4EC7-93B5-D1842AB2B15C}"/>
          </ac:spMkLst>
        </pc:spChg>
        <pc:spChg chg="mod">
          <ac:chgData name="Ugo MANTEL" userId="2d5b7065-31bb-4181-a7f8-a73bf0c30211" providerId="ADAL" clId="{F05BB0D5-3454-45DC-8378-DA45B79D9A06}" dt="2020-10-02T13:04:32.932" v="1830" actId="790"/>
          <ac:spMkLst>
            <pc:docMk/>
            <pc:sldMk cId="1917388172" sldId="6958"/>
            <ac:spMk id="64" creationId="{7E74E807-E39E-4930-A8CE-EE58B0787D58}"/>
          </ac:spMkLst>
        </pc:spChg>
        <pc:spChg chg="mod">
          <ac:chgData name="Ugo MANTEL" userId="2d5b7065-31bb-4181-a7f8-a73bf0c30211" providerId="ADAL" clId="{F05BB0D5-3454-45DC-8378-DA45B79D9A06}" dt="2020-10-02T13:04:32.933" v="1831" actId="790"/>
          <ac:spMkLst>
            <pc:docMk/>
            <pc:sldMk cId="1917388172" sldId="6958"/>
            <ac:spMk id="68" creationId="{21503CB5-33BE-4732-A392-FDE00411D40C}"/>
          </ac:spMkLst>
        </pc:spChg>
        <pc:spChg chg="mod">
          <ac:chgData name="Ugo MANTEL" userId="2d5b7065-31bb-4181-a7f8-a73bf0c30211" providerId="ADAL" clId="{F05BB0D5-3454-45DC-8378-DA45B79D9A06}" dt="2020-10-02T13:04:32.936" v="1836" actId="790"/>
          <ac:spMkLst>
            <pc:docMk/>
            <pc:sldMk cId="1917388172" sldId="6958"/>
            <ac:spMk id="74" creationId="{336D3575-5EDF-40E2-819F-540E7740B24F}"/>
          </ac:spMkLst>
        </pc:spChg>
        <pc:spChg chg="mod">
          <ac:chgData name="Ugo MANTEL" userId="2d5b7065-31bb-4181-a7f8-a73bf0c30211" providerId="ADAL" clId="{F05BB0D5-3454-45DC-8378-DA45B79D9A06}" dt="2020-10-02T13:04:32.933" v="1832" actId="790"/>
          <ac:spMkLst>
            <pc:docMk/>
            <pc:sldMk cId="1917388172" sldId="6958"/>
            <ac:spMk id="75" creationId="{1C3B7076-7616-41DF-9B49-83397070BA55}"/>
          </ac:spMkLst>
        </pc:spChg>
        <pc:spChg chg="mod">
          <ac:chgData name="Ugo MANTEL" userId="2d5b7065-31bb-4181-a7f8-a73bf0c30211" providerId="ADAL" clId="{F05BB0D5-3454-45DC-8378-DA45B79D9A06}" dt="2020-10-02T13:04:32.934" v="1833" actId="790"/>
          <ac:spMkLst>
            <pc:docMk/>
            <pc:sldMk cId="1917388172" sldId="6958"/>
            <ac:spMk id="76" creationId="{0273EC4A-5127-4AA5-AFEC-C64B9472D045}"/>
          </ac:spMkLst>
        </pc:spChg>
        <pc:spChg chg="mod">
          <ac:chgData name="Ugo MANTEL" userId="2d5b7065-31bb-4181-a7f8-a73bf0c30211" providerId="ADAL" clId="{F05BB0D5-3454-45DC-8378-DA45B79D9A06}" dt="2020-10-02T13:04:32.935" v="1834" actId="790"/>
          <ac:spMkLst>
            <pc:docMk/>
            <pc:sldMk cId="1917388172" sldId="6958"/>
            <ac:spMk id="77" creationId="{42D328B2-1C66-4FBD-A7AA-F9E191A83839}"/>
          </ac:spMkLst>
        </pc:spChg>
        <pc:spChg chg="mod">
          <ac:chgData name="Ugo MANTEL" userId="2d5b7065-31bb-4181-a7f8-a73bf0c30211" providerId="ADAL" clId="{F05BB0D5-3454-45DC-8378-DA45B79D9A06}" dt="2020-10-02T13:04:32.935" v="1835" actId="790"/>
          <ac:spMkLst>
            <pc:docMk/>
            <pc:sldMk cId="1917388172" sldId="6958"/>
            <ac:spMk id="78" creationId="{C51304FD-6BDE-4421-8C9A-5761AE4F77CE}"/>
          </ac:spMkLst>
        </pc:spChg>
        <pc:spChg chg="mod">
          <ac:chgData name="Ugo MANTEL" userId="2d5b7065-31bb-4181-a7f8-a73bf0c30211" providerId="ADAL" clId="{F05BB0D5-3454-45DC-8378-DA45B79D9A06}" dt="2020-10-02T13:04:32.907" v="1798" actId="790"/>
          <ac:spMkLst>
            <pc:docMk/>
            <pc:sldMk cId="1917388172" sldId="6958"/>
            <ac:spMk id="81" creationId="{40BD4282-7F68-4479-B087-6C03DBACFBC8}"/>
          </ac:spMkLst>
        </pc:spChg>
        <pc:spChg chg="mod">
          <ac:chgData name="Ugo MANTEL" userId="2d5b7065-31bb-4181-a7f8-a73bf0c30211" providerId="ADAL" clId="{F05BB0D5-3454-45DC-8378-DA45B79D9A06}" dt="2020-10-02T13:04:32.908" v="1799" actId="790"/>
          <ac:spMkLst>
            <pc:docMk/>
            <pc:sldMk cId="1917388172" sldId="6958"/>
            <ac:spMk id="82" creationId="{47A90E6D-C112-4370-9B18-F1DB4973ECFF}"/>
          </ac:spMkLst>
        </pc:spChg>
        <pc:spChg chg="mod">
          <ac:chgData name="Ugo MANTEL" userId="2d5b7065-31bb-4181-a7f8-a73bf0c30211" providerId="ADAL" clId="{F05BB0D5-3454-45DC-8378-DA45B79D9A06}" dt="2020-10-02T13:04:32.909" v="1800" actId="790"/>
          <ac:spMkLst>
            <pc:docMk/>
            <pc:sldMk cId="1917388172" sldId="6958"/>
            <ac:spMk id="83" creationId="{C52DB842-0D1E-422C-A630-0636842D0A69}"/>
          </ac:spMkLst>
        </pc:spChg>
        <pc:spChg chg="mod">
          <ac:chgData name="Ugo MANTEL" userId="2d5b7065-31bb-4181-a7f8-a73bf0c30211" providerId="ADAL" clId="{F05BB0D5-3454-45DC-8378-DA45B79D9A06}" dt="2020-10-02T13:04:32.910" v="1801" actId="790"/>
          <ac:spMkLst>
            <pc:docMk/>
            <pc:sldMk cId="1917388172" sldId="6958"/>
            <ac:spMk id="84" creationId="{19AB4639-25CC-401C-8F8C-90821BB24636}"/>
          </ac:spMkLst>
        </pc:spChg>
        <pc:spChg chg="mod">
          <ac:chgData name="Ugo MANTEL" userId="2d5b7065-31bb-4181-a7f8-a73bf0c30211" providerId="ADAL" clId="{F05BB0D5-3454-45DC-8378-DA45B79D9A06}" dt="2020-10-02T13:04:32.911" v="1802" actId="790"/>
          <ac:spMkLst>
            <pc:docMk/>
            <pc:sldMk cId="1917388172" sldId="6958"/>
            <ac:spMk id="86" creationId="{39DE89E0-737E-410F-8525-85E5DD4EC013}"/>
          </ac:spMkLst>
        </pc:spChg>
        <pc:spChg chg="mod">
          <ac:chgData name="Ugo MANTEL" userId="2d5b7065-31bb-4181-a7f8-a73bf0c30211" providerId="ADAL" clId="{F05BB0D5-3454-45DC-8378-DA45B79D9A06}" dt="2020-10-02T13:04:32.912" v="1803" actId="790"/>
          <ac:spMkLst>
            <pc:docMk/>
            <pc:sldMk cId="1917388172" sldId="6958"/>
            <ac:spMk id="89" creationId="{3EA799DF-A51B-4CD6-9AF3-A99647E6EB3B}"/>
          </ac:spMkLst>
        </pc:spChg>
        <pc:spChg chg="mod">
          <ac:chgData name="Ugo MANTEL" userId="2d5b7065-31bb-4181-a7f8-a73bf0c30211" providerId="ADAL" clId="{F05BB0D5-3454-45DC-8378-DA45B79D9A06}" dt="2020-10-02T13:04:32.923" v="1817" actId="790"/>
          <ac:spMkLst>
            <pc:docMk/>
            <pc:sldMk cId="1917388172" sldId="6958"/>
            <ac:spMk id="107" creationId="{D9D9B692-EE19-493B-8051-6D1B341F9A65}"/>
          </ac:spMkLst>
        </pc:spChg>
        <pc:spChg chg="mod">
          <ac:chgData name="Ugo MANTEL" userId="2d5b7065-31bb-4181-a7f8-a73bf0c30211" providerId="ADAL" clId="{F05BB0D5-3454-45DC-8378-DA45B79D9A06}" dt="2020-10-02T13:04:32.924" v="1818" actId="790"/>
          <ac:spMkLst>
            <pc:docMk/>
            <pc:sldMk cId="1917388172" sldId="6958"/>
            <ac:spMk id="108" creationId="{D34F7579-186B-42C7-A9F6-172F9D397B67}"/>
          </ac:spMkLst>
        </pc:spChg>
        <pc:spChg chg="mod">
          <ac:chgData name="Ugo MANTEL" userId="2d5b7065-31bb-4181-a7f8-a73bf0c30211" providerId="ADAL" clId="{F05BB0D5-3454-45DC-8378-DA45B79D9A06}" dt="2020-10-02T13:04:32.925" v="1820" actId="790"/>
          <ac:spMkLst>
            <pc:docMk/>
            <pc:sldMk cId="1917388172" sldId="6958"/>
            <ac:spMk id="113" creationId="{CD9CE235-A39A-48F9-BA95-4B9C185731C1}"/>
          </ac:spMkLst>
        </pc:spChg>
        <pc:spChg chg="mod">
          <ac:chgData name="Ugo MANTEL" userId="2d5b7065-31bb-4181-a7f8-a73bf0c30211" providerId="ADAL" clId="{F05BB0D5-3454-45DC-8378-DA45B79D9A06}" dt="2020-10-02T13:04:32.926" v="1821" actId="790"/>
          <ac:spMkLst>
            <pc:docMk/>
            <pc:sldMk cId="1917388172" sldId="6958"/>
            <ac:spMk id="114" creationId="{EC9F6E44-6738-46BA-8B27-17F8FA043D82}"/>
          </ac:spMkLst>
        </pc:spChg>
        <pc:spChg chg="mod">
          <ac:chgData name="Ugo MANTEL" userId="2d5b7065-31bb-4181-a7f8-a73bf0c30211" providerId="ADAL" clId="{F05BB0D5-3454-45DC-8378-DA45B79D9A06}" dt="2020-10-02T13:04:32.926" v="1822" actId="790"/>
          <ac:spMkLst>
            <pc:docMk/>
            <pc:sldMk cId="1917388172" sldId="6958"/>
            <ac:spMk id="115" creationId="{46D68191-5380-4E28-8488-025CB32B58BE}"/>
          </ac:spMkLst>
        </pc:spChg>
        <pc:spChg chg="mod">
          <ac:chgData name="Ugo MANTEL" userId="2d5b7065-31bb-4181-a7f8-a73bf0c30211" providerId="ADAL" clId="{F05BB0D5-3454-45DC-8378-DA45B79D9A06}" dt="2020-10-02T13:04:32.927" v="1823" actId="790"/>
          <ac:spMkLst>
            <pc:docMk/>
            <pc:sldMk cId="1917388172" sldId="6958"/>
            <ac:spMk id="116" creationId="{B2D99113-742D-4D12-8D4D-315331E4C38D}"/>
          </ac:spMkLst>
        </pc:spChg>
      </pc:sldChg>
      <pc:sldChg chg="modSp mod">
        <pc:chgData name="Ugo MANTEL" userId="2d5b7065-31bb-4181-a7f8-a73bf0c30211" providerId="ADAL" clId="{F05BB0D5-3454-45DC-8378-DA45B79D9A06}" dt="2020-10-02T13:04:32.482" v="1407" actId="790"/>
        <pc:sldMkLst>
          <pc:docMk/>
          <pc:sldMk cId="2931811662" sldId="6960"/>
        </pc:sldMkLst>
        <pc:spChg chg="mod">
          <ac:chgData name="Ugo MANTEL" userId="2d5b7065-31bb-4181-a7f8-a73bf0c30211" providerId="ADAL" clId="{F05BB0D5-3454-45DC-8378-DA45B79D9A06}" dt="2020-10-02T13:04:32.472" v="1397" actId="790"/>
          <ac:spMkLst>
            <pc:docMk/>
            <pc:sldMk cId="2931811662" sldId="6960"/>
            <ac:spMk id="2" creationId="{D5B2A277-F335-4670-B53F-8315F69D869F}"/>
          </ac:spMkLst>
        </pc:spChg>
        <pc:spChg chg="mod">
          <ac:chgData name="Ugo MANTEL" userId="2d5b7065-31bb-4181-a7f8-a73bf0c30211" providerId="ADAL" clId="{F05BB0D5-3454-45DC-8378-DA45B79D9A06}" dt="2020-10-02T13:04:32.482" v="1407" actId="790"/>
          <ac:spMkLst>
            <pc:docMk/>
            <pc:sldMk cId="2931811662" sldId="6960"/>
            <ac:spMk id="3" creationId="{42375E5B-F154-43BB-AD35-9519B478B4CE}"/>
          </ac:spMkLst>
        </pc:spChg>
        <pc:spChg chg="mod">
          <ac:chgData name="Ugo MANTEL" userId="2d5b7065-31bb-4181-a7f8-a73bf0c30211" providerId="ADAL" clId="{F05BB0D5-3454-45DC-8378-DA45B79D9A06}" dt="2020-10-02T13:04:32.475" v="1400" actId="790"/>
          <ac:spMkLst>
            <pc:docMk/>
            <pc:sldMk cId="2931811662" sldId="6960"/>
            <ac:spMk id="4" creationId="{D1B4F0F5-FE88-487D-BB95-5F8C9819679E}"/>
          </ac:spMkLst>
        </pc:spChg>
        <pc:spChg chg="mod">
          <ac:chgData name="Ugo MANTEL" userId="2d5b7065-31bb-4181-a7f8-a73bf0c30211" providerId="ADAL" clId="{F05BB0D5-3454-45DC-8378-DA45B79D9A06}" dt="2020-10-02T13:04:32.454" v="1372" actId="790"/>
          <ac:spMkLst>
            <pc:docMk/>
            <pc:sldMk cId="2931811662" sldId="6960"/>
            <ac:spMk id="7" creationId="{4EB2C07D-20C7-4F02-A008-2EF35CDE37B7}"/>
          </ac:spMkLst>
        </pc:spChg>
        <pc:spChg chg="mod">
          <ac:chgData name="Ugo MANTEL" userId="2d5b7065-31bb-4181-a7f8-a73bf0c30211" providerId="ADAL" clId="{F05BB0D5-3454-45DC-8378-DA45B79D9A06}" dt="2020-10-02T13:04:32.454" v="1373" actId="790"/>
          <ac:spMkLst>
            <pc:docMk/>
            <pc:sldMk cId="2931811662" sldId="6960"/>
            <ac:spMk id="8" creationId="{B96CD24F-CC3A-4923-8FD5-764716E82CE5}"/>
          </ac:spMkLst>
        </pc:spChg>
        <pc:spChg chg="mod">
          <ac:chgData name="Ugo MANTEL" userId="2d5b7065-31bb-4181-a7f8-a73bf0c30211" providerId="ADAL" clId="{F05BB0D5-3454-45DC-8378-DA45B79D9A06}" dt="2020-10-02T13:04:32.465" v="1386" actId="790"/>
          <ac:spMkLst>
            <pc:docMk/>
            <pc:sldMk cId="2931811662" sldId="6960"/>
            <ac:spMk id="9" creationId="{B668F350-174C-4180-88F1-4A1670AD56AA}"/>
          </ac:spMkLst>
        </pc:spChg>
        <pc:spChg chg="mod">
          <ac:chgData name="Ugo MANTEL" userId="2d5b7065-31bb-4181-a7f8-a73bf0c30211" providerId="ADAL" clId="{F05BB0D5-3454-45DC-8378-DA45B79D9A06}" dt="2020-10-02T13:04:32.441" v="1355" actId="790"/>
          <ac:spMkLst>
            <pc:docMk/>
            <pc:sldMk cId="2931811662" sldId="6960"/>
            <ac:spMk id="11" creationId="{6D33DE53-DFA3-4F0E-B13A-AD18B67CF67D}"/>
          </ac:spMkLst>
        </pc:spChg>
        <pc:spChg chg="mod">
          <ac:chgData name="Ugo MANTEL" userId="2d5b7065-31bb-4181-a7f8-a73bf0c30211" providerId="ADAL" clId="{F05BB0D5-3454-45DC-8378-DA45B79D9A06}" dt="2020-10-02T13:04:32.455" v="1374" actId="790"/>
          <ac:spMkLst>
            <pc:docMk/>
            <pc:sldMk cId="2931811662" sldId="6960"/>
            <ac:spMk id="13" creationId="{A88F0425-8083-4C04-8DB8-FECE07CEB102}"/>
          </ac:spMkLst>
        </pc:spChg>
        <pc:spChg chg="mod">
          <ac:chgData name="Ugo MANTEL" userId="2d5b7065-31bb-4181-a7f8-a73bf0c30211" providerId="ADAL" clId="{F05BB0D5-3454-45DC-8378-DA45B79D9A06}" dt="2020-10-02T13:04:32.437" v="1351" actId="790"/>
          <ac:spMkLst>
            <pc:docMk/>
            <pc:sldMk cId="2931811662" sldId="6960"/>
            <ac:spMk id="21" creationId="{FCCE2A74-0914-49FA-A9F8-4CA92AF47D8B}"/>
          </ac:spMkLst>
        </pc:spChg>
        <pc:spChg chg="mod">
          <ac:chgData name="Ugo MANTEL" userId="2d5b7065-31bb-4181-a7f8-a73bf0c30211" providerId="ADAL" clId="{F05BB0D5-3454-45DC-8378-DA45B79D9A06}" dt="2020-10-02T13:04:32.457" v="1378" actId="790"/>
          <ac:spMkLst>
            <pc:docMk/>
            <pc:sldMk cId="2931811662" sldId="6960"/>
            <ac:spMk id="23" creationId="{4BE70A14-B636-4FD0-B19E-A770980674ED}"/>
          </ac:spMkLst>
        </pc:spChg>
        <pc:spChg chg="mod">
          <ac:chgData name="Ugo MANTEL" userId="2d5b7065-31bb-4181-a7f8-a73bf0c30211" providerId="ADAL" clId="{F05BB0D5-3454-45DC-8378-DA45B79D9A06}" dt="2020-10-02T13:04:32.455" v="1375" actId="790"/>
          <ac:spMkLst>
            <pc:docMk/>
            <pc:sldMk cId="2931811662" sldId="6960"/>
            <ac:spMk id="36" creationId="{2C7BF0A7-DCDE-4AE1-8576-C619A70E44A1}"/>
          </ac:spMkLst>
        </pc:spChg>
        <pc:spChg chg="mod">
          <ac:chgData name="Ugo MANTEL" userId="2d5b7065-31bb-4181-a7f8-a73bf0c30211" providerId="ADAL" clId="{F05BB0D5-3454-45DC-8378-DA45B79D9A06}" dt="2020-10-02T13:04:32.466" v="1388" actId="790"/>
          <ac:spMkLst>
            <pc:docMk/>
            <pc:sldMk cId="2931811662" sldId="6960"/>
            <ac:spMk id="38" creationId="{1D24FE3C-A0C9-4C36-A2DC-6567B59A006B}"/>
          </ac:spMkLst>
        </pc:spChg>
        <pc:spChg chg="mod">
          <ac:chgData name="Ugo MANTEL" userId="2d5b7065-31bb-4181-a7f8-a73bf0c30211" providerId="ADAL" clId="{F05BB0D5-3454-45DC-8378-DA45B79D9A06}" dt="2020-10-02T13:04:32.456" v="1376" actId="790"/>
          <ac:spMkLst>
            <pc:docMk/>
            <pc:sldMk cId="2931811662" sldId="6960"/>
            <ac:spMk id="43" creationId="{9C048539-6A5D-47AC-B942-86F8D6245A3F}"/>
          </ac:spMkLst>
        </pc:spChg>
        <pc:spChg chg="mod">
          <ac:chgData name="Ugo MANTEL" userId="2d5b7065-31bb-4181-a7f8-a73bf0c30211" providerId="ADAL" clId="{F05BB0D5-3454-45DC-8378-DA45B79D9A06}" dt="2020-10-02T13:04:32.456" v="1377" actId="790"/>
          <ac:spMkLst>
            <pc:docMk/>
            <pc:sldMk cId="2931811662" sldId="6960"/>
            <ac:spMk id="45" creationId="{D5CF76D2-C2E1-4E18-BCFF-5105356A219B}"/>
          </ac:spMkLst>
        </pc:spChg>
        <pc:spChg chg="mod">
          <ac:chgData name="Ugo MANTEL" userId="2d5b7065-31bb-4181-a7f8-a73bf0c30211" providerId="ADAL" clId="{F05BB0D5-3454-45DC-8378-DA45B79D9A06}" dt="2020-10-02T13:04:32.440" v="1354" actId="790"/>
          <ac:spMkLst>
            <pc:docMk/>
            <pc:sldMk cId="2931811662" sldId="6960"/>
            <ac:spMk id="49" creationId="{492CADC2-90FC-4004-9044-7C2579A98F3E}"/>
          </ac:spMkLst>
        </pc:spChg>
        <pc:spChg chg="mod">
          <ac:chgData name="Ugo MANTEL" userId="2d5b7065-31bb-4181-a7f8-a73bf0c30211" providerId="ADAL" clId="{F05BB0D5-3454-45DC-8378-DA45B79D9A06}" dt="2020-10-02T13:04:32.473" v="1399" actId="790"/>
          <ac:spMkLst>
            <pc:docMk/>
            <pc:sldMk cId="2931811662" sldId="6960"/>
            <ac:spMk id="51" creationId="{F759A219-753E-41F8-90D6-E08104CF8A35}"/>
          </ac:spMkLst>
        </pc:spChg>
        <pc:spChg chg="mod">
          <ac:chgData name="Ugo MANTEL" userId="2d5b7065-31bb-4181-a7f8-a73bf0c30211" providerId="ADAL" clId="{F05BB0D5-3454-45DC-8378-DA45B79D9A06}" dt="2020-10-02T13:04:32.470" v="1394" actId="790"/>
          <ac:spMkLst>
            <pc:docMk/>
            <pc:sldMk cId="2931811662" sldId="6960"/>
            <ac:spMk id="96" creationId="{8D4C5CF0-6728-476D-A14A-C82DDF5A67BE}"/>
          </ac:spMkLst>
        </pc:spChg>
        <pc:spChg chg="mod">
          <ac:chgData name="Ugo MANTEL" userId="2d5b7065-31bb-4181-a7f8-a73bf0c30211" providerId="ADAL" clId="{F05BB0D5-3454-45DC-8378-DA45B79D9A06}" dt="2020-10-02T13:04:32.471" v="1395" actId="790"/>
          <ac:spMkLst>
            <pc:docMk/>
            <pc:sldMk cId="2931811662" sldId="6960"/>
            <ac:spMk id="99" creationId="{633FED30-7B42-45A0-BD59-A2E7D176D888}"/>
          </ac:spMkLst>
        </pc:spChg>
        <pc:spChg chg="mod">
          <ac:chgData name="Ugo MANTEL" userId="2d5b7065-31bb-4181-a7f8-a73bf0c30211" providerId="ADAL" clId="{F05BB0D5-3454-45DC-8378-DA45B79D9A06}" dt="2020-10-02T13:04:32.458" v="1379" actId="790"/>
          <ac:spMkLst>
            <pc:docMk/>
            <pc:sldMk cId="2931811662" sldId="6960"/>
            <ac:spMk id="104" creationId="{8DA05D07-A81B-4298-8931-F5808D6DF974}"/>
          </ac:spMkLst>
        </pc:spChg>
        <pc:spChg chg="mod">
          <ac:chgData name="Ugo MANTEL" userId="2d5b7065-31bb-4181-a7f8-a73bf0c30211" providerId="ADAL" clId="{F05BB0D5-3454-45DC-8378-DA45B79D9A06}" dt="2020-10-02T13:04:32.441" v="1356" actId="790"/>
          <ac:spMkLst>
            <pc:docMk/>
            <pc:sldMk cId="2931811662" sldId="6960"/>
            <ac:spMk id="105" creationId="{7BBE24FB-73D5-4B92-943A-0AC033535248}"/>
          </ac:spMkLst>
        </pc:spChg>
        <pc:spChg chg="mod">
          <ac:chgData name="Ugo MANTEL" userId="2d5b7065-31bb-4181-a7f8-a73bf0c30211" providerId="ADAL" clId="{F05BB0D5-3454-45DC-8378-DA45B79D9A06}" dt="2020-10-02T13:04:32.458" v="1380" actId="790"/>
          <ac:spMkLst>
            <pc:docMk/>
            <pc:sldMk cId="2931811662" sldId="6960"/>
            <ac:spMk id="106" creationId="{59E42056-3687-4C97-A3AE-0D9D74AA79C7}"/>
          </ac:spMkLst>
        </pc:spChg>
        <pc:spChg chg="mod">
          <ac:chgData name="Ugo MANTEL" userId="2d5b7065-31bb-4181-a7f8-a73bf0c30211" providerId="ADAL" clId="{F05BB0D5-3454-45DC-8378-DA45B79D9A06}" dt="2020-10-02T13:04:32.459" v="1381" actId="790"/>
          <ac:spMkLst>
            <pc:docMk/>
            <pc:sldMk cId="2931811662" sldId="6960"/>
            <ac:spMk id="107" creationId="{42FBE62F-77E8-46F8-B7DB-1B7A003D1AD4}"/>
          </ac:spMkLst>
        </pc:spChg>
        <pc:spChg chg="mod">
          <ac:chgData name="Ugo MANTEL" userId="2d5b7065-31bb-4181-a7f8-a73bf0c30211" providerId="ADAL" clId="{F05BB0D5-3454-45DC-8378-DA45B79D9A06}" dt="2020-10-02T13:04:32.476" v="1401" actId="790"/>
          <ac:spMkLst>
            <pc:docMk/>
            <pc:sldMk cId="2931811662" sldId="6960"/>
            <ac:spMk id="108" creationId="{86B106C8-A46B-408F-81FE-AE08AD431FBF}"/>
          </ac:spMkLst>
        </pc:spChg>
        <pc:spChg chg="mod">
          <ac:chgData name="Ugo MANTEL" userId="2d5b7065-31bb-4181-a7f8-a73bf0c30211" providerId="ADAL" clId="{F05BB0D5-3454-45DC-8378-DA45B79D9A06}" dt="2020-10-02T13:04:32.477" v="1402" actId="790"/>
          <ac:spMkLst>
            <pc:docMk/>
            <pc:sldMk cId="2931811662" sldId="6960"/>
            <ac:spMk id="109" creationId="{0CBBC16E-1912-4A49-8DED-ECAF1ADB240E}"/>
          </ac:spMkLst>
        </pc:spChg>
        <pc:spChg chg="mod">
          <ac:chgData name="Ugo MANTEL" userId="2d5b7065-31bb-4181-a7f8-a73bf0c30211" providerId="ADAL" clId="{F05BB0D5-3454-45DC-8378-DA45B79D9A06}" dt="2020-10-02T13:04:32.460" v="1382" actId="790"/>
          <ac:spMkLst>
            <pc:docMk/>
            <pc:sldMk cId="2931811662" sldId="6960"/>
            <ac:spMk id="110" creationId="{DFE2EF42-FB90-4D20-9B70-F11751A84D8E}"/>
          </ac:spMkLst>
        </pc:spChg>
        <pc:spChg chg="mod">
          <ac:chgData name="Ugo MANTEL" userId="2d5b7065-31bb-4181-a7f8-a73bf0c30211" providerId="ADAL" clId="{F05BB0D5-3454-45DC-8378-DA45B79D9A06}" dt="2020-10-02T13:04:32.478" v="1403" actId="790"/>
          <ac:spMkLst>
            <pc:docMk/>
            <pc:sldMk cId="2931811662" sldId="6960"/>
            <ac:spMk id="112" creationId="{BB5D5F8F-94B6-4561-AEB9-86FCAC558187}"/>
          </ac:spMkLst>
        </pc:spChg>
        <pc:spChg chg="mod">
          <ac:chgData name="Ugo MANTEL" userId="2d5b7065-31bb-4181-a7f8-a73bf0c30211" providerId="ADAL" clId="{F05BB0D5-3454-45DC-8378-DA45B79D9A06}" dt="2020-10-02T13:04:32.472" v="1396" actId="790"/>
          <ac:spMkLst>
            <pc:docMk/>
            <pc:sldMk cId="2931811662" sldId="6960"/>
            <ac:spMk id="116" creationId="{1D844AA7-D3B8-41FB-AD0C-7B0BE4219589}"/>
          </ac:spMkLst>
        </pc:spChg>
        <pc:spChg chg="mod">
          <ac:chgData name="Ugo MANTEL" userId="2d5b7065-31bb-4181-a7f8-a73bf0c30211" providerId="ADAL" clId="{F05BB0D5-3454-45DC-8378-DA45B79D9A06}" dt="2020-10-02T13:04:32.473" v="1398" actId="790"/>
          <ac:spMkLst>
            <pc:docMk/>
            <pc:sldMk cId="2931811662" sldId="6960"/>
            <ac:spMk id="118" creationId="{0FDD7FE6-1849-4FA4-934D-67F148AE87C2}"/>
          </ac:spMkLst>
        </pc:spChg>
        <pc:spChg chg="mod">
          <ac:chgData name="Ugo MANTEL" userId="2d5b7065-31bb-4181-a7f8-a73bf0c30211" providerId="ADAL" clId="{F05BB0D5-3454-45DC-8378-DA45B79D9A06}" dt="2020-10-02T13:04:32.443" v="1358" actId="790"/>
          <ac:spMkLst>
            <pc:docMk/>
            <pc:sldMk cId="2931811662" sldId="6960"/>
            <ac:spMk id="121" creationId="{94A8A525-9B78-4EF6-BFFF-E467454BDB1D}"/>
          </ac:spMkLst>
        </pc:spChg>
        <pc:spChg chg="mod">
          <ac:chgData name="Ugo MANTEL" userId="2d5b7065-31bb-4181-a7f8-a73bf0c30211" providerId="ADAL" clId="{F05BB0D5-3454-45DC-8378-DA45B79D9A06}" dt="2020-10-02T13:04:32.444" v="1359" actId="790"/>
          <ac:spMkLst>
            <pc:docMk/>
            <pc:sldMk cId="2931811662" sldId="6960"/>
            <ac:spMk id="122" creationId="{22AD2BEC-FBDF-4B3A-A215-55BC0DCCC5AA}"/>
          </ac:spMkLst>
        </pc:spChg>
        <pc:spChg chg="mod">
          <ac:chgData name="Ugo MANTEL" userId="2d5b7065-31bb-4181-a7f8-a73bf0c30211" providerId="ADAL" clId="{F05BB0D5-3454-45DC-8378-DA45B79D9A06}" dt="2020-10-02T13:04:32.444" v="1360" actId="790"/>
          <ac:spMkLst>
            <pc:docMk/>
            <pc:sldMk cId="2931811662" sldId="6960"/>
            <ac:spMk id="123" creationId="{B4D7F55A-2EC2-4A59-8D17-5FABC7B4DA87}"/>
          </ac:spMkLst>
        </pc:spChg>
        <pc:spChg chg="mod">
          <ac:chgData name="Ugo MANTEL" userId="2d5b7065-31bb-4181-a7f8-a73bf0c30211" providerId="ADAL" clId="{F05BB0D5-3454-45DC-8378-DA45B79D9A06}" dt="2020-10-02T13:04:32.445" v="1361" actId="790"/>
          <ac:spMkLst>
            <pc:docMk/>
            <pc:sldMk cId="2931811662" sldId="6960"/>
            <ac:spMk id="125" creationId="{CB74B095-B5AD-40AD-9C7F-DC7B8B7BCE7D}"/>
          </ac:spMkLst>
        </pc:spChg>
        <pc:spChg chg="mod">
          <ac:chgData name="Ugo MANTEL" userId="2d5b7065-31bb-4181-a7f8-a73bf0c30211" providerId="ADAL" clId="{F05BB0D5-3454-45DC-8378-DA45B79D9A06}" dt="2020-10-02T13:04:32.460" v="1383" actId="790"/>
          <ac:spMkLst>
            <pc:docMk/>
            <pc:sldMk cId="2931811662" sldId="6960"/>
            <ac:spMk id="127" creationId="{40000148-3F71-485A-AEE8-E959B8F20C7E}"/>
          </ac:spMkLst>
        </pc:spChg>
        <pc:spChg chg="mod">
          <ac:chgData name="Ugo MANTEL" userId="2d5b7065-31bb-4181-a7f8-a73bf0c30211" providerId="ADAL" clId="{F05BB0D5-3454-45DC-8378-DA45B79D9A06}" dt="2020-10-02T13:04:32.446" v="1362" actId="790"/>
          <ac:spMkLst>
            <pc:docMk/>
            <pc:sldMk cId="2931811662" sldId="6960"/>
            <ac:spMk id="134" creationId="{85A6F0FB-6C89-4031-9C3F-C90C64559699}"/>
          </ac:spMkLst>
        </pc:spChg>
        <pc:spChg chg="mod">
          <ac:chgData name="Ugo MANTEL" userId="2d5b7065-31bb-4181-a7f8-a73bf0c30211" providerId="ADAL" clId="{F05BB0D5-3454-45DC-8378-DA45B79D9A06}" dt="2020-10-02T13:04:32.464" v="1385" actId="790"/>
          <ac:spMkLst>
            <pc:docMk/>
            <pc:sldMk cId="2931811662" sldId="6960"/>
            <ac:spMk id="135" creationId="{0D6A5823-7E0E-4F13-AC14-958A9740A99B}"/>
          </ac:spMkLst>
        </pc:spChg>
        <pc:spChg chg="mod">
          <ac:chgData name="Ugo MANTEL" userId="2d5b7065-31bb-4181-a7f8-a73bf0c30211" providerId="ADAL" clId="{F05BB0D5-3454-45DC-8378-DA45B79D9A06}" dt="2020-10-02T13:04:32.447" v="1363" actId="790"/>
          <ac:spMkLst>
            <pc:docMk/>
            <pc:sldMk cId="2931811662" sldId="6960"/>
            <ac:spMk id="136" creationId="{DB28B6C3-23E8-45FC-BB03-D56BE1CE69E0}"/>
          </ac:spMkLst>
        </pc:spChg>
        <pc:spChg chg="mod">
          <ac:chgData name="Ugo MANTEL" userId="2d5b7065-31bb-4181-a7f8-a73bf0c30211" providerId="ADAL" clId="{F05BB0D5-3454-45DC-8378-DA45B79D9A06}" dt="2020-10-02T13:04:32.448" v="1364" actId="790"/>
          <ac:spMkLst>
            <pc:docMk/>
            <pc:sldMk cId="2931811662" sldId="6960"/>
            <ac:spMk id="137" creationId="{6BA8408C-192C-42D2-A3A9-AC748DDFA06D}"/>
          </ac:spMkLst>
        </pc:spChg>
        <pc:spChg chg="mod">
          <ac:chgData name="Ugo MANTEL" userId="2d5b7065-31bb-4181-a7f8-a73bf0c30211" providerId="ADAL" clId="{F05BB0D5-3454-45DC-8378-DA45B79D9A06}" dt="2020-10-02T13:04:32.448" v="1365" actId="790"/>
          <ac:spMkLst>
            <pc:docMk/>
            <pc:sldMk cId="2931811662" sldId="6960"/>
            <ac:spMk id="138" creationId="{7882C86F-162D-49F2-BF7E-D4A99D5898D9}"/>
          </ac:spMkLst>
        </pc:spChg>
        <pc:spChg chg="mod">
          <ac:chgData name="Ugo MANTEL" userId="2d5b7065-31bb-4181-a7f8-a73bf0c30211" providerId="ADAL" clId="{F05BB0D5-3454-45DC-8378-DA45B79D9A06}" dt="2020-10-02T13:04:32.449" v="1366" actId="790"/>
          <ac:spMkLst>
            <pc:docMk/>
            <pc:sldMk cId="2931811662" sldId="6960"/>
            <ac:spMk id="139" creationId="{37DDAE45-F48D-425E-9E9B-E54EC3E4BBB8}"/>
          </ac:spMkLst>
        </pc:spChg>
        <pc:spChg chg="mod">
          <ac:chgData name="Ugo MANTEL" userId="2d5b7065-31bb-4181-a7f8-a73bf0c30211" providerId="ADAL" clId="{F05BB0D5-3454-45DC-8378-DA45B79D9A06}" dt="2020-10-02T13:04:32.464" v="1384" actId="790"/>
          <ac:spMkLst>
            <pc:docMk/>
            <pc:sldMk cId="2931811662" sldId="6960"/>
            <ac:spMk id="141" creationId="{00D2A606-A9A2-4953-A3BC-21DA2FD9F25C}"/>
          </ac:spMkLst>
        </pc:spChg>
        <pc:spChg chg="mod">
          <ac:chgData name="Ugo MANTEL" userId="2d5b7065-31bb-4181-a7f8-a73bf0c30211" providerId="ADAL" clId="{F05BB0D5-3454-45DC-8378-DA45B79D9A06}" dt="2020-10-02T13:04:32.450" v="1367" actId="790"/>
          <ac:spMkLst>
            <pc:docMk/>
            <pc:sldMk cId="2931811662" sldId="6960"/>
            <ac:spMk id="142" creationId="{2249E4C2-4EE4-4859-BC82-3385EA488FE5}"/>
          </ac:spMkLst>
        </pc:spChg>
        <pc:spChg chg="mod">
          <ac:chgData name="Ugo MANTEL" userId="2d5b7065-31bb-4181-a7f8-a73bf0c30211" providerId="ADAL" clId="{F05BB0D5-3454-45DC-8378-DA45B79D9A06}" dt="2020-10-02T13:04:32.450" v="1368" actId="790"/>
          <ac:spMkLst>
            <pc:docMk/>
            <pc:sldMk cId="2931811662" sldId="6960"/>
            <ac:spMk id="144" creationId="{F0643119-73CD-48AA-8979-551AF16926EE}"/>
          </ac:spMkLst>
        </pc:spChg>
        <pc:spChg chg="mod">
          <ac:chgData name="Ugo MANTEL" userId="2d5b7065-31bb-4181-a7f8-a73bf0c30211" providerId="ADAL" clId="{F05BB0D5-3454-45DC-8378-DA45B79D9A06}" dt="2020-10-02T13:04:32.451" v="1369" actId="790"/>
          <ac:spMkLst>
            <pc:docMk/>
            <pc:sldMk cId="2931811662" sldId="6960"/>
            <ac:spMk id="145" creationId="{D90F5170-87BF-47AF-A996-C99DC2035ECB}"/>
          </ac:spMkLst>
        </pc:spChg>
        <pc:spChg chg="mod">
          <ac:chgData name="Ugo MANTEL" userId="2d5b7065-31bb-4181-a7f8-a73bf0c30211" providerId="ADAL" clId="{F05BB0D5-3454-45DC-8378-DA45B79D9A06}" dt="2020-10-02T13:04:32.452" v="1370" actId="790"/>
          <ac:spMkLst>
            <pc:docMk/>
            <pc:sldMk cId="2931811662" sldId="6960"/>
            <ac:spMk id="146" creationId="{55F79A4B-BD14-402D-82D1-8420EBABC9DA}"/>
          </ac:spMkLst>
        </pc:spChg>
        <pc:spChg chg="mod">
          <ac:chgData name="Ugo MANTEL" userId="2d5b7065-31bb-4181-a7f8-a73bf0c30211" providerId="ADAL" clId="{F05BB0D5-3454-45DC-8378-DA45B79D9A06}" dt="2020-10-02T13:04:32.453" v="1371" actId="790"/>
          <ac:spMkLst>
            <pc:docMk/>
            <pc:sldMk cId="2931811662" sldId="6960"/>
            <ac:spMk id="147" creationId="{7CCD26F3-70C2-48E7-A4B1-0B563E5456DD}"/>
          </ac:spMkLst>
        </pc:spChg>
        <pc:spChg chg="mod">
          <ac:chgData name="Ugo MANTEL" userId="2d5b7065-31bb-4181-a7f8-a73bf0c30211" providerId="ADAL" clId="{F05BB0D5-3454-45DC-8378-DA45B79D9A06}" dt="2020-10-02T13:04:32.466" v="1387" actId="790"/>
          <ac:spMkLst>
            <pc:docMk/>
            <pc:sldMk cId="2931811662" sldId="6960"/>
            <ac:spMk id="149" creationId="{D90A03B8-BD0A-4166-9D3E-236BAC83FBD1}"/>
          </ac:spMkLst>
        </pc:spChg>
        <pc:spChg chg="mod">
          <ac:chgData name="Ugo MANTEL" userId="2d5b7065-31bb-4181-a7f8-a73bf0c30211" providerId="ADAL" clId="{F05BB0D5-3454-45DC-8378-DA45B79D9A06}" dt="2020-10-02T13:04:32.439" v="1353" actId="790"/>
          <ac:spMkLst>
            <pc:docMk/>
            <pc:sldMk cId="2931811662" sldId="6960"/>
            <ac:spMk id="151" creationId="{D1802E84-F32B-4F5B-9D93-B30EBF9A32B5}"/>
          </ac:spMkLst>
        </pc:spChg>
        <pc:spChg chg="mod">
          <ac:chgData name="Ugo MANTEL" userId="2d5b7065-31bb-4181-a7f8-a73bf0c30211" providerId="ADAL" clId="{F05BB0D5-3454-45DC-8378-DA45B79D9A06}" dt="2020-10-02T13:04:32.479" v="1404" actId="790"/>
          <ac:spMkLst>
            <pc:docMk/>
            <pc:sldMk cId="2931811662" sldId="6960"/>
            <ac:spMk id="154" creationId="{2E2B8C7D-6844-431E-83CA-2E7A66233C46}"/>
          </ac:spMkLst>
        </pc:spChg>
        <pc:spChg chg="mod">
          <ac:chgData name="Ugo MANTEL" userId="2d5b7065-31bb-4181-a7f8-a73bf0c30211" providerId="ADAL" clId="{F05BB0D5-3454-45DC-8378-DA45B79D9A06}" dt="2020-10-02T13:04:32.480" v="1405" actId="790"/>
          <ac:spMkLst>
            <pc:docMk/>
            <pc:sldMk cId="2931811662" sldId="6960"/>
            <ac:spMk id="155" creationId="{2F13880E-807E-47F3-87DB-3AAA0BE6B135}"/>
          </ac:spMkLst>
        </pc:spChg>
        <pc:spChg chg="mod">
          <ac:chgData name="Ugo MANTEL" userId="2d5b7065-31bb-4181-a7f8-a73bf0c30211" providerId="ADAL" clId="{F05BB0D5-3454-45DC-8378-DA45B79D9A06}" dt="2020-10-02T13:04:32.442" v="1357" actId="790"/>
          <ac:spMkLst>
            <pc:docMk/>
            <pc:sldMk cId="2931811662" sldId="6960"/>
            <ac:spMk id="157" creationId="{3D863372-F95F-4691-81AA-E536D07E16E4}"/>
          </ac:spMkLst>
        </pc:spChg>
        <pc:spChg chg="mod">
          <ac:chgData name="Ugo MANTEL" userId="2d5b7065-31bb-4181-a7f8-a73bf0c30211" providerId="ADAL" clId="{F05BB0D5-3454-45DC-8378-DA45B79D9A06}" dt="2020-10-02T13:04:32.481" v="1406" actId="790"/>
          <ac:spMkLst>
            <pc:docMk/>
            <pc:sldMk cId="2931811662" sldId="6960"/>
            <ac:spMk id="164" creationId="{5F06EA9B-3CC6-4322-B080-455C56650498}"/>
          </ac:spMkLst>
        </pc:spChg>
        <pc:spChg chg="mod">
          <ac:chgData name="Ugo MANTEL" userId="2d5b7065-31bb-4181-a7f8-a73bf0c30211" providerId="ADAL" clId="{F05BB0D5-3454-45DC-8378-DA45B79D9A06}" dt="2020-10-02T13:04:32.467" v="1389" actId="790"/>
          <ac:spMkLst>
            <pc:docMk/>
            <pc:sldMk cId="2931811662" sldId="6960"/>
            <ac:spMk id="182" creationId="{4A2E262C-DDF7-41FA-8090-1908B0BB7330}"/>
          </ac:spMkLst>
        </pc:spChg>
        <pc:spChg chg="mod">
          <ac:chgData name="Ugo MANTEL" userId="2d5b7065-31bb-4181-a7f8-a73bf0c30211" providerId="ADAL" clId="{F05BB0D5-3454-45DC-8378-DA45B79D9A06}" dt="2020-10-02T13:04:32.468" v="1391" actId="790"/>
          <ac:spMkLst>
            <pc:docMk/>
            <pc:sldMk cId="2931811662" sldId="6960"/>
            <ac:spMk id="189" creationId="{52F351FA-FC48-4F39-B56C-45006ACD83CF}"/>
          </ac:spMkLst>
        </pc:spChg>
        <pc:spChg chg="mod">
          <ac:chgData name="Ugo MANTEL" userId="2d5b7065-31bb-4181-a7f8-a73bf0c30211" providerId="ADAL" clId="{F05BB0D5-3454-45DC-8378-DA45B79D9A06}" dt="2020-10-02T13:04:32.469" v="1392" actId="790"/>
          <ac:spMkLst>
            <pc:docMk/>
            <pc:sldMk cId="2931811662" sldId="6960"/>
            <ac:spMk id="191" creationId="{69AAED62-441E-4CDF-802A-9634FE833410}"/>
          </ac:spMkLst>
        </pc:spChg>
        <pc:spChg chg="mod">
          <ac:chgData name="Ugo MANTEL" userId="2d5b7065-31bb-4181-a7f8-a73bf0c30211" providerId="ADAL" clId="{F05BB0D5-3454-45DC-8378-DA45B79D9A06}" dt="2020-10-02T13:04:32.470" v="1393" actId="790"/>
          <ac:spMkLst>
            <pc:docMk/>
            <pc:sldMk cId="2931811662" sldId="6960"/>
            <ac:spMk id="197" creationId="{14EBF422-78FE-496A-B872-043D7F351A69}"/>
          </ac:spMkLst>
        </pc:spChg>
        <pc:spChg chg="mod">
          <ac:chgData name="Ugo MANTEL" userId="2d5b7065-31bb-4181-a7f8-a73bf0c30211" providerId="ADAL" clId="{F05BB0D5-3454-45DC-8378-DA45B79D9A06}" dt="2020-10-02T13:04:32.468" v="1390" actId="790"/>
          <ac:spMkLst>
            <pc:docMk/>
            <pc:sldMk cId="2931811662" sldId="6960"/>
            <ac:spMk id="200" creationId="{5167AED1-B6CB-449E-AAD8-270DD233F802}"/>
          </ac:spMkLst>
        </pc:spChg>
        <pc:spChg chg="mod">
          <ac:chgData name="Ugo MANTEL" userId="2d5b7065-31bb-4181-a7f8-a73bf0c30211" providerId="ADAL" clId="{F05BB0D5-3454-45DC-8378-DA45B79D9A06}" dt="2020-10-02T13:04:32.438" v="1352" actId="790"/>
          <ac:spMkLst>
            <pc:docMk/>
            <pc:sldMk cId="2931811662" sldId="6960"/>
            <ac:spMk id="14365" creationId="{5C3B6E0C-A045-481C-88E0-0A64F4CABC01}"/>
          </ac:spMkLst>
        </pc:spChg>
      </pc:sldChg>
      <pc:sldChg chg="modSp mod">
        <pc:chgData name="Ugo MANTEL" userId="2d5b7065-31bb-4181-a7f8-a73bf0c30211" providerId="ADAL" clId="{F05BB0D5-3454-45DC-8378-DA45B79D9A06}" dt="2020-10-02T13:04:33.535" v="2474" actId="790"/>
        <pc:sldMkLst>
          <pc:docMk/>
          <pc:sldMk cId="1360834780" sldId="6961"/>
        </pc:sldMkLst>
        <pc:spChg chg="mod">
          <ac:chgData name="Ugo MANTEL" userId="2d5b7065-31bb-4181-a7f8-a73bf0c30211" providerId="ADAL" clId="{F05BB0D5-3454-45DC-8378-DA45B79D9A06}" dt="2020-10-02T13:04:33.507" v="2443" actId="790"/>
          <ac:spMkLst>
            <pc:docMk/>
            <pc:sldMk cId="1360834780" sldId="6961"/>
            <ac:spMk id="3" creationId="{B66E256D-ED32-4E13-A0C0-CF1897D67355}"/>
          </ac:spMkLst>
        </pc:spChg>
        <pc:spChg chg="mod">
          <ac:chgData name="Ugo MANTEL" userId="2d5b7065-31bb-4181-a7f8-a73bf0c30211" providerId="ADAL" clId="{F05BB0D5-3454-45DC-8378-DA45B79D9A06}" dt="2020-10-02T13:04:33.505" v="2442" actId="790"/>
          <ac:spMkLst>
            <pc:docMk/>
            <pc:sldMk cId="1360834780" sldId="6961"/>
            <ac:spMk id="4" creationId="{0A5B9864-B7AE-4DC4-9B66-0DE62ED71FEB}"/>
          </ac:spMkLst>
        </pc:spChg>
        <pc:spChg chg="mod">
          <ac:chgData name="Ugo MANTEL" userId="2d5b7065-31bb-4181-a7f8-a73bf0c30211" providerId="ADAL" clId="{F05BB0D5-3454-45DC-8378-DA45B79D9A06}" dt="2020-10-02T13:04:33.512" v="2447" actId="790"/>
          <ac:spMkLst>
            <pc:docMk/>
            <pc:sldMk cId="1360834780" sldId="6961"/>
            <ac:spMk id="5" creationId="{177B0926-676A-4552-B417-C5FB857DD9E2}"/>
          </ac:spMkLst>
        </pc:spChg>
        <pc:spChg chg="mod">
          <ac:chgData name="Ugo MANTEL" userId="2d5b7065-31bb-4181-a7f8-a73bf0c30211" providerId="ADAL" clId="{F05BB0D5-3454-45DC-8378-DA45B79D9A06}" dt="2020-10-02T13:04:33.508" v="2444" actId="790"/>
          <ac:spMkLst>
            <pc:docMk/>
            <pc:sldMk cId="1360834780" sldId="6961"/>
            <ac:spMk id="16" creationId="{323BE36A-0C92-443A-95CA-B9382604D7B4}"/>
          </ac:spMkLst>
        </pc:spChg>
        <pc:spChg chg="mod">
          <ac:chgData name="Ugo MANTEL" userId="2d5b7065-31bb-4181-a7f8-a73bf0c30211" providerId="ADAL" clId="{F05BB0D5-3454-45DC-8378-DA45B79D9A06}" dt="2020-10-02T13:04:33.514" v="2448" actId="790"/>
          <ac:spMkLst>
            <pc:docMk/>
            <pc:sldMk cId="1360834780" sldId="6961"/>
            <ac:spMk id="26" creationId="{0F02C24D-3FFF-4993-89A5-7F93320A11C0}"/>
          </ac:spMkLst>
        </pc:spChg>
        <pc:spChg chg="mod">
          <ac:chgData name="Ugo MANTEL" userId="2d5b7065-31bb-4181-a7f8-a73bf0c30211" providerId="ADAL" clId="{F05BB0D5-3454-45DC-8378-DA45B79D9A06}" dt="2020-10-02T13:04:33.511" v="2445" actId="790"/>
          <ac:spMkLst>
            <pc:docMk/>
            <pc:sldMk cId="1360834780" sldId="6961"/>
            <ac:spMk id="28" creationId="{77D1C28B-C2DB-4D05-9843-EF4F43F330C4}"/>
          </ac:spMkLst>
        </pc:spChg>
        <pc:spChg chg="mod">
          <ac:chgData name="Ugo MANTEL" userId="2d5b7065-31bb-4181-a7f8-a73bf0c30211" providerId="ADAL" clId="{F05BB0D5-3454-45DC-8378-DA45B79D9A06}" dt="2020-10-02T13:04:33.512" v="2446" actId="790"/>
          <ac:spMkLst>
            <pc:docMk/>
            <pc:sldMk cId="1360834780" sldId="6961"/>
            <ac:spMk id="29" creationId="{5681BF43-1DBA-4934-8DF0-A4C9CFD8C840}"/>
          </ac:spMkLst>
        </pc:spChg>
        <pc:spChg chg="mod">
          <ac:chgData name="Ugo MANTEL" userId="2d5b7065-31bb-4181-a7f8-a73bf0c30211" providerId="ADAL" clId="{F05BB0D5-3454-45DC-8378-DA45B79D9A06}" dt="2020-10-02T13:04:33.516" v="2450" actId="790"/>
          <ac:spMkLst>
            <pc:docMk/>
            <pc:sldMk cId="1360834780" sldId="6961"/>
            <ac:spMk id="31" creationId="{A0CF32D6-4C51-4985-8A2E-AF40FCA00C59}"/>
          </ac:spMkLst>
        </pc:spChg>
        <pc:spChg chg="mod">
          <ac:chgData name="Ugo MANTEL" userId="2d5b7065-31bb-4181-a7f8-a73bf0c30211" providerId="ADAL" clId="{F05BB0D5-3454-45DC-8378-DA45B79D9A06}" dt="2020-10-02T13:04:33.515" v="2449" actId="790"/>
          <ac:spMkLst>
            <pc:docMk/>
            <pc:sldMk cId="1360834780" sldId="6961"/>
            <ac:spMk id="32" creationId="{F4B49DBE-210D-416E-BB49-4F82BFFAB718}"/>
          </ac:spMkLst>
        </pc:spChg>
        <pc:spChg chg="mod">
          <ac:chgData name="Ugo MANTEL" userId="2d5b7065-31bb-4181-a7f8-a73bf0c30211" providerId="ADAL" clId="{F05BB0D5-3454-45DC-8378-DA45B79D9A06}" dt="2020-10-02T13:04:33.520" v="2455" actId="790"/>
          <ac:spMkLst>
            <pc:docMk/>
            <pc:sldMk cId="1360834780" sldId="6961"/>
            <ac:spMk id="45" creationId="{4FA0392E-20D0-4FEA-B7AF-13BD894DB94B}"/>
          </ac:spMkLst>
        </pc:spChg>
        <pc:spChg chg="mod">
          <ac:chgData name="Ugo MANTEL" userId="2d5b7065-31bb-4181-a7f8-a73bf0c30211" providerId="ADAL" clId="{F05BB0D5-3454-45DC-8378-DA45B79D9A06}" dt="2020-10-02T13:04:33.517" v="2451" actId="790"/>
          <ac:spMkLst>
            <pc:docMk/>
            <pc:sldMk cId="1360834780" sldId="6961"/>
            <ac:spMk id="46" creationId="{EDAE61CB-AF32-481C-8A81-1029FBCC9F75}"/>
          </ac:spMkLst>
        </pc:spChg>
        <pc:spChg chg="mod">
          <ac:chgData name="Ugo MANTEL" userId="2d5b7065-31bb-4181-a7f8-a73bf0c30211" providerId="ADAL" clId="{F05BB0D5-3454-45DC-8378-DA45B79D9A06}" dt="2020-10-02T13:04:33.517" v="2452" actId="790"/>
          <ac:spMkLst>
            <pc:docMk/>
            <pc:sldMk cId="1360834780" sldId="6961"/>
            <ac:spMk id="47" creationId="{835D7DA8-7718-4EAC-8B5D-C1A8F061BBFA}"/>
          </ac:spMkLst>
        </pc:spChg>
        <pc:spChg chg="mod">
          <ac:chgData name="Ugo MANTEL" userId="2d5b7065-31bb-4181-a7f8-a73bf0c30211" providerId="ADAL" clId="{F05BB0D5-3454-45DC-8378-DA45B79D9A06}" dt="2020-10-02T13:04:33.518" v="2453" actId="790"/>
          <ac:spMkLst>
            <pc:docMk/>
            <pc:sldMk cId="1360834780" sldId="6961"/>
            <ac:spMk id="48" creationId="{C425CDE0-ACED-478F-BA91-C905143C5203}"/>
          </ac:spMkLst>
        </pc:spChg>
        <pc:spChg chg="mod">
          <ac:chgData name="Ugo MANTEL" userId="2d5b7065-31bb-4181-a7f8-a73bf0c30211" providerId="ADAL" clId="{F05BB0D5-3454-45DC-8378-DA45B79D9A06}" dt="2020-10-02T13:04:33.519" v="2454" actId="790"/>
          <ac:spMkLst>
            <pc:docMk/>
            <pc:sldMk cId="1360834780" sldId="6961"/>
            <ac:spMk id="49" creationId="{9DFB6CDC-114A-4C11-9939-261546394E8A}"/>
          </ac:spMkLst>
        </pc:spChg>
        <pc:spChg chg="mod">
          <ac:chgData name="Ugo MANTEL" userId="2d5b7065-31bb-4181-a7f8-a73bf0c30211" providerId="ADAL" clId="{F05BB0D5-3454-45DC-8378-DA45B79D9A06}" dt="2020-10-02T13:04:33.520" v="2456" actId="790"/>
          <ac:spMkLst>
            <pc:docMk/>
            <pc:sldMk cId="1360834780" sldId="6961"/>
            <ac:spMk id="58" creationId="{6BA3DC21-4EEF-4D34-9C4E-0A0B1BC0242D}"/>
          </ac:spMkLst>
        </pc:spChg>
        <pc:spChg chg="mod">
          <ac:chgData name="Ugo MANTEL" userId="2d5b7065-31bb-4181-a7f8-a73bf0c30211" providerId="ADAL" clId="{F05BB0D5-3454-45DC-8378-DA45B79D9A06}" dt="2020-10-02T13:04:33.521" v="2457" actId="790"/>
          <ac:spMkLst>
            <pc:docMk/>
            <pc:sldMk cId="1360834780" sldId="6961"/>
            <ac:spMk id="59" creationId="{0B70BCE4-24E8-498A-B85F-1F79927DA327}"/>
          </ac:spMkLst>
        </pc:spChg>
        <pc:spChg chg="mod">
          <ac:chgData name="Ugo MANTEL" userId="2d5b7065-31bb-4181-a7f8-a73bf0c30211" providerId="ADAL" clId="{F05BB0D5-3454-45DC-8378-DA45B79D9A06}" dt="2020-10-02T13:04:33.522" v="2458" actId="790"/>
          <ac:spMkLst>
            <pc:docMk/>
            <pc:sldMk cId="1360834780" sldId="6961"/>
            <ac:spMk id="60" creationId="{2D497C5D-281A-4592-861C-01BEB420C51B}"/>
          </ac:spMkLst>
        </pc:spChg>
        <pc:spChg chg="mod">
          <ac:chgData name="Ugo MANTEL" userId="2d5b7065-31bb-4181-a7f8-a73bf0c30211" providerId="ADAL" clId="{F05BB0D5-3454-45DC-8378-DA45B79D9A06}" dt="2020-10-02T13:04:33.523" v="2459" actId="790"/>
          <ac:spMkLst>
            <pc:docMk/>
            <pc:sldMk cId="1360834780" sldId="6961"/>
            <ac:spMk id="62" creationId="{BC0E2BBB-C10B-471C-B591-15DC1C38B55F}"/>
          </ac:spMkLst>
        </pc:spChg>
        <pc:spChg chg="mod">
          <ac:chgData name="Ugo MANTEL" userId="2d5b7065-31bb-4181-a7f8-a73bf0c30211" providerId="ADAL" clId="{F05BB0D5-3454-45DC-8378-DA45B79D9A06}" dt="2020-10-02T13:04:33.523" v="2460" actId="790"/>
          <ac:spMkLst>
            <pc:docMk/>
            <pc:sldMk cId="1360834780" sldId="6961"/>
            <ac:spMk id="64" creationId="{5B24D377-F9FF-4F44-AF39-0134A09F817F}"/>
          </ac:spMkLst>
        </pc:spChg>
        <pc:spChg chg="mod">
          <ac:chgData name="Ugo MANTEL" userId="2d5b7065-31bb-4181-a7f8-a73bf0c30211" providerId="ADAL" clId="{F05BB0D5-3454-45DC-8378-DA45B79D9A06}" dt="2020-10-02T13:04:33.524" v="2461" actId="790"/>
          <ac:spMkLst>
            <pc:docMk/>
            <pc:sldMk cId="1360834780" sldId="6961"/>
            <ac:spMk id="65" creationId="{F550B6E1-6864-42F9-AD55-9CE2D3F50BD2}"/>
          </ac:spMkLst>
        </pc:spChg>
        <pc:spChg chg="mod">
          <ac:chgData name="Ugo MANTEL" userId="2d5b7065-31bb-4181-a7f8-a73bf0c30211" providerId="ADAL" clId="{F05BB0D5-3454-45DC-8378-DA45B79D9A06}" dt="2020-10-02T13:04:33.525" v="2462" actId="790"/>
          <ac:spMkLst>
            <pc:docMk/>
            <pc:sldMk cId="1360834780" sldId="6961"/>
            <ac:spMk id="66" creationId="{1A8FA00A-3CE1-47B9-8FC8-16A463D9B468}"/>
          </ac:spMkLst>
        </pc:spChg>
        <pc:spChg chg="mod">
          <ac:chgData name="Ugo MANTEL" userId="2d5b7065-31bb-4181-a7f8-a73bf0c30211" providerId="ADAL" clId="{F05BB0D5-3454-45DC-8378-DA45B79D9A06}" dt="2020-10-02T13:04:33.526" v="2463" actId="790"/>
          <ac:spMkLst>
            <pc:docMk/>
            <pc:sldMk cId="1360834780" sldId="6961"/>
            <ac:spMk id="68" creationId="{C2FE329B-E28D-4D65-BFF7-89DA0A2C94ED}"/>
          </ac:spMkLst>
        </pc:spChg>
        <pc:spChg chg="mod">
          <ac:chgData name="Ugo MANTEL" userId="2d5b7065-31bb-4181-a7f8-a73bf0c30211" providerId="ADAL" clId="{F05BB0D5-3454-45DC-8378-DA45B79D9A06}" dt="2020-10-02T13:04:33.526" v="2464" actId="790"/>
          <ac:spMkLst>
            <pc:docMk/>
            <pc:sldMk cId="1360834780" sldId="6961"/>
            <ac:spMk id="70" creationId="{7F7B6741-9DFC-4133-BA9A-8A309407F003}"/>
          </ac:spMkLst>
        </pc:spChg>
        <pc:spChg chg="mod">
          <ac:chgData name="Ugo MANTEL" userId="2d5b7065-31bb-4181-a7f8-a73bf0c30211" providerId="ADAL" clId="{F05BB0D5-3454-45DC-8378-DA45B79D9A06}" dt="2020-10-02T13:04:33.527" v="2465" actId="790"/>
          <ac:spMkLst>
            <pc:docMk/>
            <pc:sldMk cId="1360834780" sldId="6961"/>
            <ac:spMk id="71" creationId="{D949A66D-FA5D-45F2-8117-18B8A8CC2BD7}"/>
          </ac:spMkLst>
        </pc:spChg>
        <pc:spChg chg="mod">
          <ac:chgData name="Ugo MANTEL" userId="2d5b7065-31bb-4181-a7f8-a73bf0c30211" providerId="ADAL" clId="{F05BB0D5-3454-45DC-8378-DA45B79D9A06}" dt="2020-10-02T13:04:33.528" v="2466" actId="790"/>
          <ac:spMkLst>
            <pc:docMk/>
            <pc:sldMk cId="1360834780" sldId="6961"/>
            <ac:spMk id="72" creationId="{F538A596-A907-4F79-8BC3-5C4039E3226F}"/>
          </ac:spMkLst>
        </pc:spChg>
        <pc:spChg chg="mod">
          <ac:chgData name="Ugo MANTEL" userId="2d5b7065-31bb-4181-a7f8-a73bf0c30211" providerId="ADAL" clId="{F05BB0D5-3454-45DC-8378-DA45B79D9A06}" dt="2020-10-02T13:04:33.529" v="2467" actId="790"/>
          <ac:spMkLst>
            <pc:docMk/>
            <pc:sldMk cId="1360834780" sldId="6961"/>
            <ac:spMk id="74" creationId="{72C2AC7D-B010-43DA-8D54-4550828277C9}"/>
          </ac:spMkLst>
        </pc:spChg>
        <pc:spChg chg="mod">
          <ac:chgData name="Ugo MANTEL" userId="2d5b7065-31bb-4181-a7f8-a73bf0c30211" providerId="ADAL" clId="{F05BB0D5-3454-45DC-8378-DA45B79D9A06}" dt="2020-10-02T13:04:33.529" v="2468" actId="790"/>
          <ac:spMkLst>
            <pc:docMk/>
            <pc:sldMk cId="1360834780" sldId="6961"/>
            <ac:spMk id="76" creationId="{26EE7C9F-0867-47D6-869D-E2B37ECDA7FC}"/>
          </ac:spMkLst>
        </pc:spChg>
        <pc:spChg chg="mod">
          <ac:chgData name="Ugo MANTEL" userId="2d5b7065-31bb-4181-a7f8-a73bf0c30211" providerId="ADAL" clId="{F05BB0D5-3454-45DC-8378-DA45B79D9A06}" dt="2020-10-02T13:04:33.530" v="2469" actId="790"/>
          <ac:spMkLst>
            <pc:docMk/>
            <pc:sldMk cId="1360834780" sldId="6961"/>
            <ac:spMk id="77" creationId="{34EA98DE-F635-4561-8E39-AE6458BEE8DC}"/>
          </ac:spMkLst>
        </pc:spChg>
        <pc:spChg chg="mod">
          <ac:chgData name="Ugo MANTEL" userId="2d5b7065-31bb-4181-a7f8-a73bf0c30211" providerId="ADAL" clId="{F05BB0D5-3454-45DC-8378-DA45B79D9A06}" dt="2020-10-02T13:04:33.531" v="2470" actId="790"/>
          <ac:spMkLst>
            <pc:docMk/>
            <pc:sldMk cId="1360834780" sldId="6961"/>
            <ac:spMk id="78" creationId="{388218A8-3346-4922-B0B8-9A0CDE9DCAEA}"/>
          </ac:spMkLst>
        </pc:spChg>
        <pc:spChg chg="mod">
          <ac:chgData name="Ugo MANTEL" userId="2d5b7065-31bb-4181-a7f8-a73bf0c30211" providerId="ADAL" clId="{F05BB0D5-3454-45DC-8378-DA45B79D9A06}" dt="2020-10-02T13:04:33.532" v="2471" actId="790"/>
          <ac:spMkLst>
            <pc:docMk/>
            <pc:sldMk cId="1360834780" sldId="6961"/>
            <ac:spMk id="80" creationId="{FEFE0F27-1EA5-4CCE-9F13-DCAE8027ABED}"/>
          </ac:spMkLst>
        </pc:spChg>
        <pc:spChg chg="mod">
          <ac:chgData name="Ugo MANTEL" userId="2d5b7065-31bb-4181-a7f8-a73bf0c30211" providerId="ADAL" clId="{F05BB0D5-3454-45DC-8378-DA45B79D9A06}" dt="2020-10-02T13:04:33.534" v="2472" actId="790"/>
          <ac:spMkLst>
            <pc:docMk/>
            <pc:sldMk cId="1360834780" sldId="6961"/>
            <ac:spMk id="85" creationId="{B8FD6C57-6B26-4D03-BEED-78C382D632FB}"/>
          </ac:spMkLst>
        </pc:spChg>
        <pc:spChg chg="mod">
          <ac:chgData name="Ugo MANTEL" userId="2d5b7065-31bb-4181-a7f8-a73bf0c30211" providerId="ADAL" clId="{F05BB0D5-3454-45DC-8378-DA45B79D9A06}" dt="2020-10-02T13:04:33.535" v="2473" actId="790"/>
          <ac:spMkLst>
            <pc:docMk/>
            <pc:sldMk cId="1360834780" sldId="6961"/>
            <ac:spMk id="86" creationId="{2748DDEA-25F8-4912-9D76-99245B00F427}"/>
          </ac:spMkLst>
        </pc:spChg>
        <pc:spChg chg="mod">
          <ac:chgData name="Ugo MANTEL" userId="2d5b7065-31bb-4181-a7f8-a73bf0c30211" providerId="ADAL" clId="{F05BB0D5-3454-45DC-8378-DA45B79D9A06}" dt="2020-10-02T13:04:33.535" v="2474" actId="790"/>
          <ac:spMkLst>
            <pc:docMk/>
            <pc:sldMk cId="1360834780" sldId="6961"/>
            <ac:spMk id="88" creationId="{AA267F3C-5866-4EA4-BDB9-9148CB2C07F8}"/>
          </ac:spMkLst>
        </pc:spChg>
      </pc:sldChg>
      <pc:sldChg chg="modSp mod">
        <pc:chgData name="Ugo MANTEL" userId="2d5b7065-31bb-4181-a7f8-a73bf0c30211" providerId="ADAL" clId="{F05BB0D5-3454-45DC-8378-DA45B79D9A06}" dt="2020-10-02T13:04:36.411" v="5073" actId="790"/>
        <pc:sldMkLst>
          <pc:docMk/>
          <pc:sldMk cId="783706327" sldId="6970"/>
        </pc:sldMkLst>
        <pc:spChg chg="mod">
          <ac:chgData name="Ugo MANTEL" userId="2d5b7065-31bb-4181-a7f8-a73bf0c30211" providerId="ADAL" clId="{F05BB0D5-3454-45DC-8378-DA45B79D9A06}" dt="2020-10-02T13:04:36.357" v="5016" actId="790"/>
          <ac:spMkLst>
            <pc:docMk/>
            <pc:sldMk cId="783706327" sldId="6970"/>
            <ac:spMk id="3" creationId="{30953E26-7813-417B-AC0B-7AC74C77D79F}"/>
          </ac:spMkLst>
        </pc:spChg>
        <pc:spChg chg="mod">
          <ac:chgData name="Ugo MANTEL" userId="2d5b7065-31bb-4181-a7f8-a73bf0c30211" providerId="ADAL" clId="{F05BB0D5-3454-45DC-8378-DA45B79D9A06}" dt="2020-10-02T13:04:36.355" v="5015" actId="790"/>
          <ac:spMkLst>
            <pc:docMk/>
            <pc:sldMk cId="783706327" sldId="6970"/>
            <ac:spMk id="4" creationId="{CFDA14E9-D9F6-4D44-A466-BF298653DD71}"/>
          </ac:spMkLst>
        </pc:spChg>
        <pc:spChg chg="mod">
          <ac:chgData name="Ugo MANTEL" userId="2d5b7065-31bb-4181-a7f8-a73bf0c30211" providerId="ADAL" clId="{F05BB0D5-3454-45DC-8378-DA45B79D9A06}" dt="2020-10-02T13:04:36.359" v="5019" actId="790"/>
          <ac:spMkLst>
            <pc:docMk/>
            <pc:sldMk cId="783706327" sldId="6970"/>
            <ac:spMk id="8" creationId="{343AA465-5BC6-46CB-B8E0-623B409A173D}"/>
          </ac:spMkLst>
        </pc:spChg>
        <pc:spChg chg="mod">
          <ac:chgData name="Ugo MANTEL" userId="2d5b7065-31bb-4181-a7f8-a73bf0c30211" providerId="ADAL" clId="{F05BB0D5-3454-45DC-8378-DA45B79D9A06}" dt="2020-10-02T13:04:36.359" v="5020" actId="790"/>
          <ac:spMkLst>
            <pc:docMk/>
            <pc:sldMk cId="783706327" sldId="6970"/>
            <ac:spMk id="9" creationId="{0CD05F2A-2553-41F0-8FDE-E8DDF4630CA6}"/>
          </ac:spMkLst>
        </pc:spChg>
        <pc:spChg chg="mod">
          <ac:chgData name="Ugo MANTEL" userId="2d5b7065-31bb-4181-a7f8-a73bf0c30211" providerId="ADAL" clId="{F05BB0D5-3454-45DC-8378-DA45B79D9A06}" dt="2020-10-02T13:04:36.360" v="5021" actId="790"/>
          <ac:spMkLst>
            <pc:docMk/>
            <pc:sldMk cId="783706327" sldId="6970"/>
            <ac:spMk id="10" creationId="{F625E5B1-BAD9-4380-BDF3-DFAB0776DF43}"/>
          </ac:spMkLst>
        </pc:spChg>
        <pc:spChg chg="mod">
          <ac:chgData name="Ugo MANTEL" userId="2d5b7065-31bb-4181-a7f8-a73bf0c30211" providerId="ADAL" clId="{F05BB0D5-3454-45DC-8378-DA45B79D9A06}" dt="2020-10-02T13:04:36.361" v="5022" actId="790"/>
          <ac:spMkLst>
            <pc:docMk/>
            <pc:sldMk cId="783706327" sldId="6970"/>
            <ac:spMk id="12" creationId="{5EDDA950-E42B-4A8C-BC28-6F1B9985C14A}"/>
          </ac:spMkLst>
        </pc:spChg>
        <pc:spChg chg="mod">
          <ac:chgData name="Ugo MANTEL" userId="2d5b7065-31bb-4181-a7f8-a73bf0c30211" providerId="ADAL" clId="{F05BB0D5-3454-45DC-8378-DA45B79D9A06}" dt="2020-10-02T13:04:36.358" v="5018" actId="790"/>
          <ac:spMkLst>
            <pc:docMk/>
            <pc:sldMk cId="783706327" sldId="6970"/>
            <ac:spMk id="13" creationId="{D32E84DD-C893-42DD-9473-F15BB856A60E}"/>
          </ac:spMkLst>
        </pc:spChg>
        <pc:spChg chg="mod">
          <ac:chgData name="Ugo MANTEL" userId="2d5b7065-31bb-4181-a7f8-a73bf0c30211" providerId="ADAL" clId="{F05BB0D5-3454-45DC-8378-DA45B79D9A06}" dt="2020-10-02T13:04:36.404" v="5061" actId="790"/>
          <ac:spMkLst>
            <pc:docMk/>
            <pc:sldMk cId="783706327" sldId="6970"/>
            <ac:spMk id="14" creationId="{8FB8BF63-91D2-4492-8E01-1510EE913A60}"/>
          </ac:spMkLst>
        </pc:spChg>
        <pc:spChg chg="mod">
          <ac:chgData name="Ugo MANTEL" userId="2d5b7065-31bb-4181-a7f8-a73bf0c30211" providerId="ADAL" clId="{F05BB0D5-3454-45DC-8378-DA45B79D9A06}" dt="2020-10-02T13:04:36.362" v="5023" actId="790"/>
          <ac:spMkLst>
            <pc:docMk/>
            <pc:sldMk cId="783706327" sldId="6970"/>
            <ac:spMk id="17" creationId="{EBC0EC2E-B9DC-408F-893C-B2C88EDF6C34}"/>
          </ac:spMkLst>
        </pc:spChg>
        <pc:spChg chg="mod">
          <ac:chgData name="Ugo MANTEL" userId="2d5b7065-31bb-4181-a7f8-a73bf0c30211" providerId="ADAL" clId="{F05BB0D5-3454-45DC-8378-DA45B79D9A06}" dt="2020-10-02T13:04:36.363" v="5024" actId="790"/>
          <ac:spMkLst>
            <pc:docMk/>
            <pc:sldMk cId="783706327" sldId="6970"/>
            <ac:spMk id="18" creationId="{1C8426FD-45CA-4C05-9934-1908CD1FBB92}"/>
          </ac:spMkLst>
        </pc:spChg>
        <pc:spChg chg="mod">
          <ac:chgData name="Ugo MANTEL" userId="2d5b7065-31bb-4181-a7f8-a73bf0c30211" providerId="ADAL" clId="{F05BB0D5-3454-45DC-8378-DA45B79D9A06}" dt="2020-10-02T13:04:36.365" v="5025" actId="790"/>
          <ac:spMkLst>
            <pc:docMk/>
            <pc:sldMk cId="783706327" sldId="6970"/>
            <ac:spMk id="19" creationId="{B6A6F518-CD7C-4B26-9051-A24603212F34}"/>
          </ac:spMkLst>
        </pc:spChg>
        <pc:spChg chg="mod">
          <ac:chgData name="Ugo MANTEL" userId="2d5b7065-31bb-4181-a7f8-a73bf0c30211" providerId="ADAL" clId="{F05BB0D5-3454-45DC-8378-DA45B79D9A06}" dt="2020-10-02T13:04:36.357" v="5017" actId="790"/>
          <ac:spMkLst>
            <pc:docMk/>
            <pc:sldMk cId="783706327" sldId="6970"/>
            <ac:spMk id="25" creationId="{FF9A8524-C1D3-4A5B-8786-C43807E61F54}"/>
          </ac:spMkLst>
        </pc:spChg>
        <pc:spChg chg="mod">
          <ac:chgData name="Ugo MANTEL" userId="2d5b7065-31bb-4181-a7f8-a73bf0c30211" providerId="ADAL" clId="{F05BB0D5-3454-45DC-8378-DA45B79D9A06}" dt="2020-10-02T13:04:36.404" v="5062" actId="790"/>
          <ac:spMkLst>
            <pc:docMk/>
            <pc:sldMk cId="783706327" sldId="6970"/>
            <ac:spMk id="60" creationId="{90FF76A5-AFF8-4A68-8F7D-C6FC521109FB}"/>
          </ac:spMkLst>
        </pc:spChg>
        <pc:spChg chg="mod">
          <ac:chgData name="Ugo MANTEL" userId="2d5b7065-31bb-4181-a7f8-a73bf0c30211" providerId="ADAL" clId="{F05BB0D5-3454-45DC-8378-DA45B79D9A06}" dt="2020-10-02T13:04:36.385" v="5032" actId="790"/>
          <ac:spMkLst>
            <pc:docMk/>
            <pc:sldMk cId="783706327" sldId="6970"/>
            <ac:spMk id="63" creationId="{5FCFFFA6-4C46-486D-9D44-E945D9C3CB66}"/>
          </ac:spMkLst>
        </pc:spChg>
        <pc:spChg chg="mod">
          <ac:chgData name="Ugo MANTEL" userId="2d5b7065-31bb-4181-a7f8-a73bf0c30211" providerId="ADAL" clId="{F05BB0D5-3454-45DC-8378-DA45B79D9A06}" dt="2020-10-02T13:04:36.372" v="5026" actId="790"/>
          <ac:spMkLst>
            <pc:docMk/>
            <pc:sldMk cId="783706327" sldId="6970"/>
            <ac:spMk id="64" creationId="{7E34DA4F-8485-4703-BA6D-00EFCE332426}"/>
          </ac:spMkLst>
        </pc:spChg>
        <pc:spChg chg="mod">
          <ac:chgData name="Ugo MANTEL" userId="2d5b7065-31bb-4181-a7f8-a73bf0c30211" providerId="ADAL" clId="{F05BB0D5-3454-45DC-8378-DA45B79D9A06}" dt="2020-10-02T13:04:36.385" v="5033" actId="790"/>
          <ac:spMkLst>
            <pc:docMk/>
            <pc:sldMk cId="783706327" sldId="6970"/>
            <ac:spMk id="65" creationId="{CC2E881F-E531-4936-AC8E-7FBD923F69F9}"/>
          </ac:spMkLst>
        </pc:spChg>
        <pc:spChg chg="mod">
          <ac:chgData name="Ugo MANTEL" userId="2d5b7065-31bb-4181-a7f8-a73bf0c30211" providerId="ADAL" clId="{F05BB0D5-3454-45DC-8378-DA45B79D9A06}" dt="2020-10-02T13:04:36.383" v="5030" actId="790"/>
          <ac:spMkLst>
            <pc:docMk/>
            <pc:sldMk cId="783706327" sldId="6970"/>
            <ac:spMk id="66" creationId="{1165AB63-96F3-4690-9587-9D191E694BF3}"/>
          </ac:spMkLst>
        </pc:spChg>
        <pc:spChg chg="mod">
          <ac:chgData name="Ugo MANTEL" userId="2d5b7065-31bb-4181-a7f8-a73bf0c30211" providerId="ADAL" clId="{F05BB0D5-3454-45DC-8378-DA45B79D9A06}" dt="2020-10-02T13:04:36.376" v="5027" actId="790"/>
          <ac:spMkLst>
            <pc:docMk/>
            <pc:sldMk cId="783706327" sldId="6970"/>
            <ac:spMk id="67" creationId="{B01B3BA9-ECC4-49E8-B312-EC37C180675F}"/>
          </ac:spMkLst>
        </pc:spChg>
        <pc:spChg chg="mod">
          <ac:chgData name="Ugo MANTEL" userId="2d5b7065-31bb-4181-a7f8-a73bf0c30211" providerId="ADAL" clId="{F05BB0D5-3454-45DC-8378-DA45B79D9A06}" dt="2020-10-02T13:04:36.380" v="5028" actId="790"/>
          <ac:spMkLst>
            <pc:docMk/>
            <pc:sldMk cId="783706327" sldId="6970"/>
            <ac:spMk id="69" creationId="{D07E061F-D086-4449-A323-D8BDA97BC0F0}"/>
          </ac:spMkLst>
        </pc:spChg>
        <pc:spChg chg="mod">
          <ac:chgData name="Ugo MANTEL" userId="2d5b7065-31bb-4181-a7f8-a73bf0c30211" providerId="ADAL" clId="{F05BB0D5-3454-45DC-8378-DA45B79D9A06}" dt="2020-10-02T13:04:36.382" v="5029" actId="790"/>
          <ac:spMkLst>
            <pc:docMk/>
            <pc:sldMk cId="783706327" sldId="6970"/>
            <ac:spMk id="70" creationId="{9DDDEAEA-FB2F-45FA-AC2F-1254E89E1A12}"/>
          </ac:spMkLst>
        </pc:spChg>
        <pc:spChg chg="mod">
          <ac:chgData name="Ugo MANTEL" userId="2d5b7065-31bb-4181-a7f8-a73bf0c30211" providerId="ADAL" clId="{F05BB0D5-3454-45DC-8378-DA45B79D9A06}" dt="2020-10-02T13:04:36.384" v="5031" actId="790"/>
          <ac:spMkLst>
            <pc:docMk/>
            <pc:sldMk cId="783706327" sldId="6970"/>
            <ac:spMk id="71" creationId="{96C9DE94-C0AC-405E-9440-0BF0CC8E2955}"/>
          </ac:spMkLst>
        </pc:spChg>
        <pc:spChg chg="mod">
          <ac:chgData name="Ugo MANTEL" userId="2d5b7065-31bb-4181-a7f8-a73bf0c30211" providerId="ADAL" clId="{F05BB0D5-3454-45DC-8378-DA45B79D9A06}" dt="2020-10-02T13:04:36.387" v="5036" actId="790"/>
          <ac:spMkLst>
            <pc:docMk/>
            <pc:sldMk cId="783706327" sldId="6970"/>
            <ac:spMk id="74" creationId="{3A858E80-8ED0-4061-A884-4E37C0474C13}"/>
          </ac:spMkLst>
        </pc:spChg>
        <pc:spChg chg="mod">
          <ac:chgData name="Ugo MANTEL" userId="2d5b7065-31bb-4181-a7f8-a73bf0c30211" providerId="ADAL" clId="{F05BB0D5-3454-45DC-8378-DA45B79D9A06}" dt="2020-10-02T13:04:36.388" v="5037" actId="790"/>
          <ac:spMkLst>
            <pc:docMk/>
            <pc:sldMk cId="783706327" sldId="6970"/>
            <ac:spMk id="75" creationId="{EF17B332-D452-47EF-8B11-D68412B16CEA}"/>
          </ac:spMkLst>
        </pc:spChg>
        <pc:spChg chg="mod">
          <ac:chgData name="Ugo MANTEL" userId="2d5b7065-31bb-4181-a7f8-a73bf0c30211" providerId="ADAL" clId="{F05BB0D5-3454-45DC-8378-DA45B79D9A06}" dt="2020-10-02T13:04:36.386" v="5034" actId="790"/>
          <ac:spMkLst>
            <pc:docMk/>
            <pc:sldMk cId="783706327" sldId="6970"/>
            <ac:spMk id="77" creationId="{5CE4A4AB-FF8C-47D5-9596-248D41EE9587}"/>
          </ac:spMkLst>
        </pc:spChg>
        <pc:spChg chg="mod">
          <ac:chgData name="Ugo MANTEL" userId="2d5b7065-31bb-4181-a7f8-a73bf0c30211" providerId="ADAL" clId="{F05BB0D5-3454-45DC-8378-DA45B79D9A06}" dt="2020-10-02T13:04:36.386" v="5035" actId="790"/>
          <ac:spMkLst>
            <pc:docMk/>
            <pc:sldMk cId="783706327" sldId="6970"/>
            <ac:spMk id="78" creationId="{7B83081C-CC4B-4D92-ABB2-272521AED6E6}"/>
          </ac:spMkLst>
        </pc:spChg>
        <pc:spChg chg="mod">
          <ac:chgData name="Ugo MANTEL" userId="2d5b7065-31bb-4181-a7f8-a73bf0c30211" providerId="ADAL" clId="{F05BB0D5-3454-45DC-8378-DA45B79D9A06}" dt="2020-10-02T13:04:36.389" v="5040" actId="790"/>
          <ac:spMkLst>
            <pc:docMk/>
            <pc:sldMk cId="783706327" sldId="6970"/>
            <ac:spMk id="87" creationId="{4D2D3202-7804-42D3-A6BA-BBE53551F504}"/>
          </ac:spMkLst>
        </pc:spChg>
        <pc:spChg chg="mod">
          <ac:chgData name="Ugo MANTEL" userId="2d5b7065-31bb-4181-a7f8-a73bf0c30211" providerId="ADAL" clId="{F05BB0D5-3454-45DC-8378-DA45B79D9A06}" dt="2020-10-02T13:04:36.390" v="5041" actId="790"/>
          <ac:spMkLst>
            <pc:docMk/>
            <pc:sldMk cId="783706327" sldId="6970"/>
            <ac:spMk id="88" creationId="{9C157529-1135-4AC3-B62E-72F3508F2149}"/>
          </ac:spMkLst>
        </pc:spChg>
        <pc:spChg chg="mod">
          <ac:chgData name="Ugo MANTEL" userId="2d5b7065-31bb-4181-a7f8-a73bf0c30211" providerId="ADAL" clId="{F05BB0D5-3454-45DC-8378-DA45B79D9A06}" dt="2020-10-02T13:04:36.388" v="5038" actId="790"/>
          <ac:spMkLst>
            <pc:docMk/>
            <pc:sldMk cId="783706327" sldId="6970"/>
            <ac:spMk id="89" creationId="{6053AB6C-9FDC-4B92-B1CD-8944257A29C6}"/>
          </ac:spMkLst>
        </pc:spChg>
        <pc:spChg chg="mod">
          <ac:chgData name="Ugo MANTEL" userId="2d5b7065-31bb-4181-a7f8-a73bf0c30211" providerId="ADAL" clId="{F05BB0D5-3454-45DC-8378-DA45B79D9A06}" dt="2020-10-02T13:04:36.389" v="5039" actId="790"/>
          <ac:spMkLst>
            <pc:docMk/>
            <pc:sldMk cId="783706327" sldId="6970"/>
            <ac:spMk id="90" creationId="{0863FF30-2A5F-4B64-BBCB-B4CA3CE57912}"/>
          </ac:spMkLst>
        </pc:spChg>
        <pc:spChg chg="mod">
          <ac:chgData name="Ugo MANTEL" userId="2d5b7065-31bb-4181-a7f8-a73bf0c30211" providerId="ADAL" clId="{F05BB0D5-3454-45DC-8378-DA45B79D9A06}" dt="2020-10-02T13:04:36.392" v="5044" actId="790"/>
          <ac:spMkLst>
            <pc:docMk/>
            <pc:sldMk cId="783706327" sldId="6970"/>
            <ac:spMk id="111" creationId="{093C4265-EF20-4B2B-B10F-E03C3D9471E0}"/>
          </ac:spMkLst>
        </pc:spChg>
        <pc:spChg chg="mod">
          <ac:chgData name="Ugo MANTEL" userId="2d5b7065-31bb-4181-a7f8-a73bf0c30211" providerId="ADAL" clId="{F05BB0D5-3454-45DC-8378-DA45B79D9A06}" dt="2020-10-02T13:04:36.393" v="5045" actId="790"/>
          <ac:spMkLst>
            <pc:docMk/>
            <pc:sldMk cId="783706327" sldId="6970"/>
            <ac:spMk id="112" creationId="{4A7EB267-1242-485C-AF2E-F2E0C9AA31C4}"/>
          </ac:spMkLst>
        </pc:spChg>
        <pc:spChg chg="mod">
          <ac:chgData name="Ugo MANTEL" userId="2d5b7065-31bb-4181-a7f8-a73bf0c30211" providerId="ADAL" clId="{F05BB0D5-3454-45DC-8378-DA45B79D9A06}" dt="2020-10-02T13:04:36.391" v="5042" actId="790"/>
          <ac:spMkLst>
            <pc:docMk/>
            <pc:sldMk cId="783706327" sldId="6970"/>
            <ac:spMk id="113" creationId="{1BD0CC35-5A4C-467B-A6F2-FBF2C7727DD4}"/>
          </ac:spMkLst>
        </pc:spChg>
        <pc:spChg chg="mod">
          <ac:chgData name="Ugo MANTEL" userId="2d5b7065-31bb-4181-a7f8-a73bf0c30211" providerId="ADAL" clId="{F05BB0D5-3454-45DC-8378-DA45B79D9A06}" dt="2020-10-02T13:04:36.392" v="5043" actId="790"/>
          <ac:spMkLst>
            <pc:docMk/>
            <pc:sldMk cId="783706327" sldId="6970"/>
            <ac:spMk id="114" creationId="{CC3AC6DC-C91D-4A06-98A4-E3D98B070564}"/>
          </ac:spMkLst>
        </pc:spChg>
        <pc:spChg chg="mod">
          <ac:chgData name="Ugo MANTEL" userId="2d5b7065-31bb-4181-a7f8-a73bf0c30211" providerId="ADAL" clId="{F05BB0D5-3454-45DC-8378-DA45B79D9A06}" dt="2020-10-02T13:04:36.394" v="5048" actId="790"/>
          <ac:spMkLst>
            <pc:docMk/>
            <pc:sldMk cId="783706327" sldId="6970"/>
            <ac:spMk id="117" creationId="{3EA37A1E-9606-4B67-B5B3-2D38CB048C95}"/>
          </ac:spMkLst>
        </pc:spChg>
        <pc:spChg chg="mod">
          <ac:chgData name="Ugo MANTEL" userId="2d5b7065-31bb-4181-a7f8-a73bf0c30211" providerId="ADAL" clId="{F05BB0D5-3454-45DC-8378-DA45B79D9A06}" dt="2020-10-02T13:04:36.395" v="5049" actId="790"/>
          <ac:spMkLst>
            <pc:docMk/>
            <pc:sldMk cId="783706327" sldId="6970"/>
            <ac:spMk id="118" creationId="{912024F4-820E-4283-A95E-EBE16781FEAA}"/>
          </ac:spMkLst>
        </pc:spChg>
        <pc:spChg chg="mod">
          <ac:chgData name="Ugo MANTEL" userId="2d5b7065-31bb-4181-a7f8-a73bf0c30211" providerId="ADAL" clId="{F05BB0D5-3454-45DC-8378-DA45B79D9A06}" dt="2020-10-02T13:04:36.393" v="5046" actId="790"/>
          <ac:spMkLst>
            <pc:docMk/>
            <pc:sldMk cId="783706327" sldId="6970"/>
            <ac:spMk id="119" creationId="{110C25E9-FD5E-4769-963E-A748DD72B748}"/>
          </ac:spMkLst>
        </pc:spChg>
        <pc:spChg chg="mod">
          <ac:chgData name="Ugo MANTEL" userId="2d5b7065-31bb-4181-a7f8-a73bf0c30211" providerId="ADAL" clId="{F05BB0D5-3454-45DC-8378-DA45B79D9A06}" dt="2020-10-02T13:04:36.394" v="5047" actId="790"/>
          <ac:spMkLst>
            <pc:docMk/>
            <pc:sldMk cId="783706327" sldId="6970"/>
            <ac:spMk id="120" creationId="{C077586E-6515-41ED-9FBF-D9E3FA349393}"/>
          </ac:spMkLst>
        </pc:spChg>
        <pc:spChg chg="mod">
          <ac:chgData name="Ugo MANTEL" userId="2d5b7065-31bb-4181-a7f8-a73bf0c30211" providerId="ADAL" clId="{F05BB0D5-3454-45DC-8378-DA45B79D9A06}" dt="2020-10-02T13:04:36.397" v="5052" actId="790"/>
          <ac:spMkLst>
            <pc:docMk/>
            <pc:sldMk cId="783706327" sldId="6970"/>
            <ac:spMk id="123" creationId="{BCBD45F6-9F97-4171-8551-B40F62A36A75}"/>
          </ac:spMkLst>
        </pc:spChg>
        <pc:spChg chg="mod">
          <ac:chgData name="Ugo MANTEL" userId="2d5b7065-31bb-4181-a7f8-a73bf0c30211" providerId="ADAL" clId="{F05BB0D5-3454-45DC-8378-DA45B79D9A06}" dt="2020-10-02T13:04:36.397" v="5053" actId="790"/>
          <ac:spMkLst>
            <pc:docMk/>
            <pc:sldMk cId="783706327" sldId="6970"/>
            <ac:spMk id="124" creationId="{0ED208F1-3479-47AD-A936-711CEFBFEA5E}"/>
          </ac:spMkLst>
        </pc:spChg>
        <pc:spChg chg="mod">
          <ac:chgData name="Ugo MANTEL" userId="2d5b7065-31bb-4181-a7f8-a73bf0c30211" providerId="ADAL" clId="{F05BB0D5-3454-45DC-8378-DA45B79D9A06}" dt="2020-10-02T13:04:36.396" v="5050" actId="790"/>
          <ac:spMkLst>
            <pc:docMk/>
            <pc:sldMk cId="783706327" sldId="6970"/>
            <ac:spMk id="125" creationId="{E88330B5-99C7-4D7D-9E99-8858D0BEA3E9}"/>
          </ac:spMkLst>
        </pc:spChg>
        <pc:spChg chg="mod">
          <ac:chgData name="Ugo MANTEL" userId="2d5b7065-31bb-4181-a7f8-a73bf0c30211" providerId="ADAL" clId="{F05BB0D5-3454-45DC-8378-DA45B79D9A06}" dt="2020-10-02T13:04:36.396" v="5051" actId="790"/>
          <ac:spMkLst>
            <pc:docMk/>
            <pc:sldMk cId="783706327" sldId="6970"/>
            <ac:spMk id="126" creationId="{D1440F17-090D-4A8C-BD35-3A46735794DD}"/>
          </ac:spMkLst>
        </pc:spChg>
        <pc:spChg chg="mod">
          <ac:chgData name="Ugo MANTEL" userId="2d5b7065-31bb-4181-a7f8-a73bf0c30211" providerId="ADAL" clId="{F05BB0D5-3454-45DC-8378-DA45B79D9A06}" dt="2020-10-02T13:04:36.409" v="5070" actId="790"/>
          <ac:spMkLst>
            <pc:docMk/>
            <pc:sldMk cId="783706327" sldId="6970"/>
            <ac:spMk id="136" creationId="{CFEF2712-47DA-4C99-B3BB-51EFC3356095}"/>
          </ac:spMkLst>
        </pc:spChg>
        <pc:spChg chg="mod">
          <ac:chgData name="Ugo MANTEL" userId="2d5b7065-31bb-4181-a7f8-a73bf0c30211" providerId="ADAL" clId="{F05BB0D5-3454-45DC-8378-DA45B79D9A06}" dt="2020-10-02T13:04:36.400" v="5056" actId="790"/>
          <ac:spMkLst>
            <pc:docMk/>
            <pc:sldMk cId="783706327" sldId="6970"/>
            <ac:spMk id="138" creationId="{9B9861C8-B073-4167-8114-A08EF57F0873}"/>
          </ac:spMkLst>
        </pc:spChg>
        <pc:spChg chg="mod">
          <ac:chgData name="Ugo MANTEL" userId="2d5b7065-31bb-4181-a7f8-a73bf0c30211" providerId="ADAL" clId="{F05BB0D5-3454-45DC-8378-DA45B79D9A06}" dt="2020-10-02T13:04:36.410" v="5071" actId="790"/>
          <ac:spMkLst>
            <pc:docMk/>
            <pc:sldMk cId="783706327" sldId="6970"/>
            <ac:spMk id="139" creationId="{BE3DB6BE-40C7-420E-B0FB-B906FF788E8D}"/>
          </ac:spMkLst>
        </pc:spChg>
        <pc:spChg chg="mod">
          <ac:chgData name="Ugo MANTEL" userId="2d5b7065-31bb-4181-a7f8-a73bf0c30211" providerId="ADAL" clId="{F05BB0D5-3454-45DC-8378-DA45B79D9A06}" dt="2020-10-02T13:04:36.408" v="5068" actId="790"/>
          <ac:spMkLst>
            <pc:docMk/>
            <pc:sldMk cId="783706327" sldId="6970"/>
            <ac:spMk id="140" creationId="{000AB945-716D-4644-80A1-B20F53315579}"/>
          </ac:spMkLst>
        </pc:spChg>
        <pc:spChg chg="mod">
          <ac:chgData name="Ugo MANTEL" userId="2d5b7065-31bb-4181-a7f8-a73bf0c30211" providerId="ADAL" clId="{F05BB0D5-3454-45DC-8378-DA45B79D9A06}" dt="2020-10-02T13:04:36.409" v="5069" actId="790"/>
          <ac:spMkLst>
            <pc:docMk/>
            <pc:sldMk cId="783706327" sldId="6970"/>
            <ac:spMk id="141" creationId="{18E15B61-A48D-4E9E-8CE5-F8468C3A82D1}"/>
          </ac:spMkLst>
        </pc:spChg>
        <pc:spChg chg="mod">
          <ac:chgData name="Ugo MANTEL" userId="2d5b7065-31bb-4181-a7f8-a73bf0c30211" providerId="ADAL" clId="{F05BB0D5-3454-45DC-8378-DA45B79D9A06}" dt="2020-10-02T13:04:36.410" v="5072" actId="790"/>
          <ac:spMkLst>
            <pc:docMk/>
            <pc:sldMk cId="783706327" sldId="6970"/>
            <ac:spMk id="142" creationId="{05BE333F-5A4D-4226-A7D5-74DDA05F4198}"/>
          </ac:spMkLst>
        </pc:spChg>
        <pc:spChg chg="mod">
          <ac:chgData name="Ugo MANTEL" userId="2d5b7065-31bb-4181-a7f8-a73bf0c30211" providerId="ADAL" clId="{F05BB0D5-3454-45DC-8378-DA45B79D9A06}" dt="2020-10-02T13:04:36.411" v="5073" actId="790"/>
          <ac:spMkLst>
            <pc:docMk/>
            <pc:sldMk cId="783706327" sldId="6970"/>
            <ac:spMk id="143" creationId="{253932A8-889B-4E09-9BFE-BCBA7371B535}"/>
          </ac:spMkLst>
        </pc:spChg>
        <pc:spChg chg="mod">
          <ac:chgData name="Ugo MANTEL" userId="2d5b7065-31bb-4181-a7f8-a73bf0c30211" providerId="ADAL" clId="{F05BB0D5-3454-45DC-8378-DA45B79D9A06}" dt="2020-10-02T13:04:36.399" v="5055" actId="790"/>
          <ac:spMkLst>
            <pc:docMk/>
            <pc:sldMk cId="783706327" sldId="6970"/>
            <ac:spMk id="163" creationId="{29C56565-60EB-4653-B129-B14E79554D3A}"/>
          </ac:spMkLst>
        </pc:spChg>
        <pc:spChg chg="mod">
          <ac:chgData name="Ugo MANTEL" userId="2d5b7065-31bb-4181-a7f8-a73bf0c30211" providerId="ADAL" clId="{F05BB0D5-3454-45DC-8378-DA45B79D9A06}" dt="2020-10-02T13:04:36.398" v="5054" actId="790"/>
          <ac:spMkLst>
            <pc:docMk/>
            <pc:sldMk cId="783706327" sldId="6970"/>
            <ac:spMk id="164" creationId="{3D18F167-0B1D-46A9-96C8-8C68973685EE}"/>
          </ac:spMkLst>
        </pc:spChg>
        <pc:spChg chg="mod">
          <ac:chgData name="Ugo MANTEL" userId="2d5b7065-31bb-4181-a7f8-a73bf0c30211" providerId="ADAL" clId="{F05BB0D5-3454-45DC-8378-DA45B79D9A06}" dt="2020-10-02T13:04:36.401" v="5057" actId="790"/>
          <ac:spMkLst>
            <pc:docMk/>
            <pc:sldMk cId="783706327" sldId="6970"/>
            <ac:spMk id="171" creationId="{F9AB1FF8-5A21-4679-9DD3-AC6A2AC2F705}"/>
          </ac:spMkLst>
        </pc:spChg>
        <pc:spChg chg="mod">
          <ac:chgData name="Ugo MANTEL" userId="2d5b7065-31bb-4181-a7f8-a73bf0c30211" providerId="ADAL" clId="{F05BB0D5-3454-45DC-8378-DA45B79D9A06}" dt="2020-10-02T13:04:36.401" v="5058" actId="790"/>
          <ac:spMkLst>
            <pc:docMk/>
            <pc:sldMk cId="783706327" sldId="6970"/>
            <ac:spMk id="172" creationId="{AA96600F-D544-4FF4-AF1D-E2F7C236E172}"/>
          </ac:spMkLst>
        </pc:spChg>
        <pc:spChg chg="mod">
          <ac:chgData name="Ugo MANTEL" userId="2d5b7065-31bb-4181-a7f8-a73bf0c30211" providerId="ADAL" clId="{F05BB0D5-3454-45DC-8378-DA45B79D9A06}" dt="2020-10-02T13:04:36.402" v="5059" actId="790"/>
          <ac:spMkLst>
            <pc:docMk/>
            <pc:sldMk cId="783706327" sldId="6970"/>
            <ac:spMk id="173" creationId="{A33466B1-3AA5-408C-9AC4-5B1EDF579156}"/>
          </ac:spMkLst>
        </pc:spChg>
        <pc:spChg chg="mod">
          <ac:chgData name="Ugo MANTEL" userId="2d5b7065-31bb-4181-a7f8-a73bf0c30211" providerId="ADAL" clId="{F05BB0D5-3454-45DC-8378-DA45B79D9A06}" dt="2020-10-02T13:04:36.403" v="5060" actId="790"/>
          <ac:spMkLst>
            <pc:docMk/>
            <pc:sldMk cId="783706327" sldId="6970"/>
            <ac:spMk id="181" creationId="{AE16EBEB-B8B1-4BE4-B707-C3B26E4BC10C}"/>
          </ac:spMkLst>
        </pc:spChg>
        <pc:spChg chg="mod">
          <ac:chgData name="Ugo MANTEL" userId="2d5b7065-31bb-4181-a7f8-a73bf0c30211" providerId="ADAL" clId="{F05BB0D5-3454-45DC-8378-DA45B79D9A06}" dt="2020-10-02T13:04:36.405" v="5063" actId="790"/>
          <ac:spMkLst>
            <pc:docMk/>
            <pc:sldMk cId="783706327" sldId="6970"/>
            <ac:spMk id="183" creationId="{5A162B31-116D-47F0-813B-0AE0621FCA50}"/>
          </ac:spMkLst>
        </pc:spChg>
        <pc:spChg chg="mod">
          <ac:chgData name="Ugo MANTEL" userId="2d5b7065-31bb-4181-a7f8-a73bf0c30211" providerId="ADAL" clId="{F05BB0D5-3454-45DC-8378-DA45B79D9A06}" dt="2020-10-02T13:04:36.405" v="5064" actId="790"/>
          <ac:spMkLst>
            <pc:docMk/>
            <pc:sldMk cId="783706327" sldId="6970"/>
            <ac:spMk id="184" creationId="{8A534040-E4B4-493B-A542-641FC2EBF9BB}"/>
          </ac:spMkLst>
        </pc:spChg>
        <pc:spChg chg="mod">
          <ac:chgData name="Ugo MANTEL" userId="2d5b7065-31bb-4181-a7f8-a73bf0c30211" providerId="ADAL" clId="{F05BB0D5-3454-45DC-8378-DA45B79D9A06}" dt="2020-10-02T13:04:36.406" v="5065" actId="790"/>
          <ac:spMkLst>
            <pc:docMk/>
            <pc:sldMk cId="783706327" sldId="6970"/>
            <ac:spMk id="185" creationId="{3D572A66-E0CC-44F7-BA6B-7FAA780F7CB1}"/>
          </ac:spMkLst>
        </pc:spChg>
        <pc:spChg chg="mod">
          <ac:chgData name="Ugo MANTEL" userId="2d5b7065-31bb-4181-a7f8-a73bf0c30211" providerId="ADAL" clId="{F05BB0D5-3454-45DC-8378-DA45B79D9A06}" dt="2020-10-02T13:04:36.407" v="5066" actId="790"/>
          <ac:spMkLst>
            <pc:docMk/>
            <pc:sldMk cId="783706327" sldId="6970"/>
            <ac:spMk id="189" creationId="{D6FE9F74-1BA4-49CE-8994-FAA0713679F4}"/>
          </ac:spMkLst>
        </pc:spChg>
        <pc:spChg chg="mod">
          <ac:chgData name="Ugo MANTEL" userId="2d5b7065-31bb-4181-a7f8-a73bf0c30211" providerId="ADAL" clId="{F05BB0D5-3454-45DC-8378-DA45B79D9A06}" dt="2020-10-02T13:04:36.407" v="5067" actId="790"/>
          <ac:spMkLst>
            <pc:docMk/>
            <pc:sldMk cId="783706327" sldId="6970"/>
            <ac:spMk id="190" creationId="{40FDC2D8-F477-4B8D-8499-FF3EBCA0BD4E}"/>
          </ac:spMkLst>
        </pc:spChg>
      </pc:sldChg>
      <pc:sldChg chg="modSp mod">
        <pc:chgData name="Ugo MANTEL" userId="2d5b7065-31bb-4181-a7f8-a73bf0c30211" providerId="ADAL" clId="{F05BB0D5-3454-45DC-8378-DA45B79D9A06}" dt="2020-10-02T13:04:36.779" v="5439" actId="790"/>
        <pc:sldMkLst>
          <pc:docMk/>
          <pc:sldMk cId="172779121" sldId="6971"/>
        </pc:sldMkLst>
        <pc:spChg chg="mod">
          <ac:chgData name="Ugo MANTEL" userId="2d5b7065-31bb-4181-a7f8-a73bf0c30211" providerId="ADAL" clId="{F05BB0D5-3454-45DC-8378-DA45B79D9A06}" dt="2020-10-02T13:04:36.743" v="5404" actId="790"/>
          <ac:spMkLst>
            <pc:docMk/>
            <pc:sldMk cId="172779121" sldId="6971"/>
            <ac:spMk id="3" creationId="{6F60CA85-8BEB-445B-B9BB-A4B7F1A1066C}"/>
          </ac:spMkLst>
        </pc:spChg>
        <pc:spChg chg="mod">
          <ac:chgData name="Ugo MANTEL" userId="2d5b7065-31bb-4181-a7f8-a73bf0c30211" providerId="ADAL" clId="{F05BB0D5-3454-45DC-8378-DA45B79D9A06}" dt="2020-10-02T13:04:36.768" v="5427" actId="790"/>
          <ac:spMkLst>
            <pc:docMk/>
            <pc:sldMk cId="172779121" sldId="6971"/>
            <ac:spMk id="4" creationId="{664C49E0-A798-4073-95D4-1E8013BE06E3}"/>
          </ac:spMkLst>
        </pc:spChg>
        <pc:spChg chg="mod">
          <ac:chgData name="Ugo MANTEL" userId="2d5b7065-31bb-4181-a7f8-a73bf0c30211" providerId="ADAL" clId="{F05BB0D5-3454-45DC-8378-DA45B79D9A06}" dt="2020-10-02T13:04:36.744" v="5405" actId="790"/>
          <ac:spMkLst>
            <pc:docMk/>
            <pc:sldMk cId="172779121" sldId="6971"/>
            <ac:spMk id="25" creationId="{8352403C-FED7-4611-BF46-7190916A174B}"/>
          </ac:spMkLst>
        </pc:spChg>
        <pc:spChg chg="mod">
          <ac:chgData name="Ugo MANTEL" userId="2d5b7065-31bb-4181-a7f8-a73bf0c30211" providerId="ADAL" clId="{F05BB0D5-3454-45DC-8378-DA45B79D9A06}" dt="2020-10-02T13:04:36.746" v="5406" actId="790"/>
          <ac:spMkLst>
            <pc:docMk/>
            <pc:sldMk cId="172779121" sldId="6971"/>
            <ac:spMk id="28" creationId="{4F5CD4AA-8FBB-46E3-BA9E-818B7B68C922}"/>
          </ac:spMkLst>
        </pc:spChg>
        <pc:spChg chg="mod">
          <ac:chgData name="Ugo MANTEL" userId="2d5b7065-31bb-4181-a7f8-a73bf0c30211" providerId="ADAL" clId="{F05BB0D5-3454-45DC-8378-DA45B79D9A06}" dt="2020-10-02T13:04:36.747" v="5407" actId="790"/>
          <ac:spMkLst>
            <pc:docMk/>
            <pc:sldMk cId="172779121" sldId="6971"/>
            <ac:spMk id="30" creationId="{0E6C9CBF-402B-4F6A-A8BA-95A99936487A}"/>
          </ac:spMkLst>
        </pc:spChg>
        <pc:spChg chg="mod">
          <ac:chgData name="Ugo MANTEL" userId="2d5b7065-31bb-4181-a7f8-a73bf0c30211" providerId="ADAL" clId="{F05BB0D5-3454-45DC-8378-DA45B79D9A06}" dt="2020-10-02T13:04:36.748" v="5408" actId="790"/>
          <ac:spMkLst>
            <pc:docMk/>
            <pc:sldMk cId="172779121" sldId="6971"/>
            <ac:spMk id="31" creationId="{1E880C80-5B90-47B7-93F4-B56506F4B269}"/>
          </ac:spMkLst>
        </pc:spChg>
        <pc:spChg chg="mod">
          <ac:chgData name="Ugo MANTEL" userId="2d5b7065-31bb-4181-a7f8-a73bf0c30211" providerId="ADAL" clId="{F05BB0D5-3454-45DC-8378-DA45B79D9A06}" dt="2020-10-02T13:04:36.749" v="5409" actId="790"/>
          <ac:spMkLst>
            <pc:docMk/>
            <pc:sldMk cId="172779121" sldId="6971"/>
            <ac:spMk id="33" creationId="{457BB269-1064-4FDA-9A71-0600145CD7EE}"/>
          </ac:spMkLst>
        </pc:spChg>
        <pc:spChg chg="mod">
          <ac:chgData name="Ugo MANTEL" userId="2d5b7065-31bb-4181-a7f8-a73bf0c30211" providerId="ADAL" clId="{F05BB0D5-3454-45DC-8378-DA45B79D9A06}" dt="2020-10-02T13:04:36.752" v="5410" actId="790"/>
          <ac:spMkLst>
            <pc:docMk/>
            <pc:sldMk cId="172779121" sldId="6971"/>
            <ac:spMk id="37" creationId="{97518191-B53A-4686-A937-FD0D2A91E2A5}"/>
          </ac:spMkLst>
        </pc:spChg>
        <pc:spChg chg="mod">
          <ac:chgData name="Ugo MANTEL" userId="2d5b7065-31bb-4181-a7f8-a73bf0c30211" providerId="ADAL" clId="{F05BB0D5-3454-45DC-8378-DA45B79D9A06}" dt="2020-10-02T13:04:36.753" v="5411" actId="790"/>
          <ac:spMkLst>
            <pc:docMk/>
            <pc:sldMk cId="172779121" sldId="6971"/>
            <ac:spMk id="39" creationId="{10B40B40-FB30-4FDB-BE99-591FBB48A108}"/>
          </ac:spMkLst>
        </pc:spChg>
        <pc:spChg chg="mod">
          <ac:chgData name="Ugo MANTEL" userId="2d5b7065-31bb-4181-a7f8-a73bf0c30211" providerId="ADAL" clId="{F05BB0D5-3454-45DC-8378-DA45B79D9A06}" dt="2020-10-02T13:04:36.753" v="5412" actId="790"/>
          <ac:spMkLst>
            <pc:docMk/>
            <pc:sldMk cId="172779121" sldId="6971"/>
            <ac:spMk id="41" creationId="{269F1D98-9851-43AF-A172-2DDDE27F369B}"/>
          </ac:spMkLst>
        </pc:spChg>
        <pc:spChg chg="mod">
          <ac:chgData name="Ugo MANTEL" userId="2d5b7065-31bb-4181-a7f8-a73bf0c30211" providerId="ADAL" clId="{F05BB0D5-3454-45DC-8378-DA45B79D9A06}" dt="2020-10-02T13:04:36.755" v="5413" actId="790"/>
          <ac:spMkLst>
            <pc:docMk/>
            <pc:sldMk cId="172779121" sldId="6971"/>
            <ac:spMk id="47" creationId="{2121BC6D-8714-4066-AB51-5035C6A05988}"/>
          </ac:spMkLst>
        </pc:spChg>
        <pc:spChg chg="mod">
          <ac:chgData name="Ugo MANTEL" userId="2d5b7065-31bb-4181-a7f8-a73bf0c30211" providerId="ADAL" clId="{F05BB0D5-3454-45DC-8378-DA45B79D9A06}" dt="2020-10-02T13:04:36.756" v="5414" actId="790"/>
          <ac:spMkLst>
            <pc:docMk/>
            <pc:sldMk cId="172779121" sldId="6971"/>
            <ac:spMk id="49" creationId="{CEADB9B1-D966-4314-A0D8-6A7FC6820124}"/>
          </ac:spMkLst>
        </pc:spChg>
        <pc:spChg chg="mod">
          <ac:chgData name="Ugo MANTEL" userId="2d5b7065-31bb-4181-a7f8-a73bf0c30211" providerId="ADAL" clId="{F05BB0D5-3454-45DC-8378-DA45B79D9A06}" dt="2020-10-02T13:04:36.757" v="5415" actId="790"/>
          <ac:spMkLst>
            <pc:docMk/>
            <pc:sldMk cId="172779121" sldId="6971"/>
            <ac:spMk id="59" creationId="{F4E946C6-1BFF-4302-85FF-58E286326C81}"/>
          </ac:spMkLst>
        </pc:spChg>
        <pc:spChg chg="mod">
          <ac:chgData name="Ugo MANTEL" userId="2d5b7065-31bb-4181-a7f8-a73bf0c30211" providerId="ADAL" clId="{F05BB0D5-3454-45DC-8378-DA45B79D9A06}" dt="2020-10-02T13:04:36.757" v="5416" actId="790"/>
          <ac:spMkLst>
            <pc:docMk/>
            <pc:sldMk cId="172779121" sldId="6971"/>
            <ac:spMk id="60" creationId="{25ED01A2-BFD5-4EB1-882F-424490193B29}"/>
          </ac:spMkLst>
        </pc:spChg>
        <pc:spChg chg="mod">
          <ac:chgData name="Ugo MANTEL" userId="2d5b7065-31bb-4181-a7f8-a73bf0c30211" providerId="ADAL" clId="{F05BB0D5-3454-45DC-8378-DA45B79D9A06}" dt="2020-10-02T13:04:36.758" v="5417" actId="790"/>
          <ac:spMkLst>
            <pc:docMk/>
            <pc:sldMk cId="172779121" sldId="6971"/>
            <ac:spMk id="71" creationId="{89DCF5DA-2116-4628-A777-6A754A54306F}"/>
          </ac:spMkLst>
        </pc:spChg>
        <pc:spChg chg="mod">
          <ac:chgData name="Ugo MANTEL" userId="2d5b7065-31bb-4181-a7f8-a73bf0c30211" providerId="ADAL" clId="{F05BB0D5-3454-45DC-8378-DA45B79D9A06}" dt="2020-10-02T13:04:36.760" v="5418" actId="790"/>
          <ac:spMkLst>
            <pc:docMk/>
            <pc:sldMk cId="172779121" sldId="6971"/>
            <ac:spMk id="73" creationId="{C4A592BD-4F83-42B7-91E4-03EA4491B466}"/>
          </ac:spMkLst>
        </pc:spChg>
        <pc:spChg chg="mod">
          <ac:chgData name="Ugo MANTEL" userId="2d5b7065-31bb-4181-a7f8-a73bf0c30211" providerId="ADAL" clId="{F05BB0D5-3454-45DC-8378-DA45B79D9A06}" dt="2020-10-02T13:04:36.760" v="5419" actId="790"/>
          <ac:spMkLst>
            <pc:docMk/>
            <pc:sldMk cId="172779121" sldId="6971"/>
            <ac:spMk id="74" creationId="{5E6094B5-BE2D-4EE1-915D-CA3BF0FAC358}"/>
          </ac:spMkLst>
        </pc:spChg>
        <pc:spChg chg="mod">
          <ac:chgData name="Ugo MANTEL" userId="2d5b7065-31bb-4181-a7f8-a73bf0c30211" providerId="ADAL" clId="{F05BB0D5-3454-45DC-8378-DA45B79D9A06}" dt="2020-10-02T13:04:36.761" v="5420" actId="790"/>
          <ac:spMkLst>
            <pc:docMk/>
            <pc:sldMk cId="172779121" sldId="6971"/>
            <ac:spMk id="75" creationId="{F2AEEA7C-77ED-4575-A814-87AF7D892142}"/>
          </ac:spMkLst>
        </pc:spChg>
        <pc:spChg chg="mod">
          <ac:chgData name="Ugo MANTEL" userId="2d5b7065-31bb-4181-a7f8-a73bf0c30211" providerId="ADAL" clId="{F05BB0D5-3454-45DC-8378-DA45B79D9A06}" dt="2020-10-02T13:04:36.763" v="5421" actId="790"/>
          <ac:spMkLst>
            <pc:docMk/>
            <pc:sldMk cId="172779121" sldId="6971"/>
            <ac:spMk id="76" creationId="{E4C09340-52C9-4A5F-9C01-1DA736DB741C}"/>
          </ac:spMkLst>
        </pc:spChg>
        <pc:spChg chg="mod">
          <ac:chgData name="Ugo MANTEL" userId="2d5b7065-31bb-4181-a7f8-a73bf0c30211" providerId="ADAL" clId="{F05BB0D5-3454-45DC-8378-DA45B79D9A06}" dt="2020-10-02T13:04:36.739" v="5401" actId="790"/>
          <ac:spMkLst>
            <pc:docMk/>
            <pc:sldMk cId="172779121" sldId="6971"/>
            <ac:spMk id="77" creationId="{6E3E299C-7714-43EE-A242-7B5255A7008F}"/>
          </ac:spMkLst>
        </pc:spChg>
        <pc:spChg chg="mod">
          <ac:chgData name="Ugo MANTEL" userId="2d5b7065-31bb-4181-a7f8-a73bf0c30211" providerId="ADAL" clId="{F05BB0D5-3454-45DC-8378-DA45B79D9A06}" dt="2020-10-02T13:04:36.779" v="5439" actId="790"/>
          <ac:spMkLst>
            <pc:docMk/>
            <pc:sldMk cId="172779121" sldId="6971"/>
            <ac:spMk id="79" creationId="{54D23A71-F6A1-4B7A-8917-CB377B0D2985}"/>
          </ac:spMkLst>
        </pc:spChg>
        <pc:spChg chg="mod">
          <ac:chgData name="Ugo MANTEL" userId="2d5b7065-31bb-4181-a7f8-a73bf0c30211" providerId="ADAL" clId="{F05BB0D5-3454-45DC-8378-DA45B79D9A06}" dt="2020-10-02T13:04:36.763" v="5422" actId="790"/>
          <ac:spMkLst>
            <pc:docMk/>
            <pc:sldMk cId="172779121" sldId="6971"/>
            <ac:spMk id="86" creationId="{E540C764-9371-4944-931C-A58CCCE5DA1E}"/>
          </ac:spMkLst>
        </pc:spChg>
        <pc:spChg chg="mod">
          <ac:chgData name="Ugo MANTEL" userId="2d5b7065-31bb-4181-a7f8-a73bf0c30211" providerId="ADAL" clId="{F05BB0D5-3454-45DC-8378-DA45B79D9A06}" dt="2020-10-02T13:04:36.764" v="5423" actId="790"/>
          <ac:spMkLst>
            <pc:docMk/>
            <pc:sldMk cId="172779121" sldId="6971"/>
            <ac:spMk id="90" creationId="{55448A36-EA51-4338-BF14-369F81E1B6F5}"/>
          </ac:spMkLst>
        </pc:spChg>
        <pc:spChg chg="mod">
          <ac:chgData name="Ugo MANTEL" userId="2d5b7065-31bb-4181-a7f8-a73bf0c30211" providerId="ADAL" clId="{F05BB0D5-3454-45DC-8378-DA45B79D9A06}" dt="2020-10-02T13:04:36.765" v="5424" actId="790"/>
          <ac:spMkLst>
            <pc:docMk/>
            <pc:sldMk cId="172779121" sldId="6971"/>
            <ac:spMk id="92" creationId="{06700BFA-DEE3-4F86-9D33-386D9140B42C}"/>
          </ac:spMkLst>
        </pc:spChg>
        <pc:spChg chg="mod">
          <ac:chgData name="Ugo MANTEL" userId="2d5b7065-31bb-4181-a7f8-a73bf0c30211" providerId="ADAL" clId="{F05BB0D5-3454-45DC-8378-DA45B79D9A06}" dt="2020-10-02T13:04:36.766" v="5425" actId="790"/>
          <ac:spMkLst>
            <pc:docMk/>
            <pc:sldMk cId="172779121" sldId="6971"/>
            <ac:spMk id="93" creationId="{25B70C1C-901B-4693-9BC5-4410EE080BF5}"/>
          </ac:spMkLst>
        </pc:spChg>
        <pc:spChg chg="mod">
          <ac:chgData name="Ugo MANTEL" userId="2d5b7065-31bb-4181-a7f8-a73bf0c30211" providerId="ADAL" clId="{F05BB0D5-3454-45DC-8378-DA45B79D9A06}" dt="2020-10-02T13:04:36.740" v="5402" actId="790"/>
          <ac:spMkLst>
            <pc:docMk/>
            <pc:sldMk cId="172779121" sldId="6971"/>
            <ac:spMk id="94" creationId="{FC292FC5-EFCC-4348-86E8-009174084256}"/>
          </ac:spMkLst>
        </pc:spChg>
        <pc:spChg chg="mod">
          <ac:chgData name="Ugo MANTEL" userId="2d5b7065-31bb-4181-a7f8-a73bf0c30211" providerId="ADAL" clId="{F05BB0D5-3454-45DC-8378-DA45B79D9A06}" dt="2020-10-02T13:04:36.773" v="5434" actId="790"/>
          <ac:spMkLst>
            <pc:docMk/>
            <pc:sldMk cId="172779121" sldId="6971"/>
            <ac:spMk id="97" creationId="{B4C2C704-AA83-4F39-B95B-D4301964BFCD}"/>
          </ac:spMkLst>
        </pc:spChg>
        <pc:spChg chg="mod">
          <ac:chgData name="Ugo MANTEL" userId="2d5b7065-31bb-4181-a7f8-a73bf0c30211" providerId="ADAL" clId="{F05BB0D5-3454-45DC-8378-DA45B79D9A06}" dt="2020-10-02T13:04:36.767" v="5426" actId="790"/>
          <ac:spMkLst>
            <pc:docMk/>
            <pc:sldMk cId="172779121" sldId="6971"/>
            <ac:spMk id="100" creationId="{0AA3095B-D11C-4573-9112-D8BEE96FA726}"/>
          </ac:spMkLst>
        </pc:spChg>
        <pc:spChg chg="mod">
          <ac:chgData name="Ugo MANTEL" userId="2d5b7065-31bb-4181-a7f8-a73bf0c30211" providerId="ADAL" clId="{F05BB0D5-3454-45DC-8378-DA45B79D9A06}" dt="2020-10-02T13:04:36.741" v="5403" actId="790"/>
          <ac:spMkLst>
            <pc:docMk/>
            <pc:sldMk cId="172779121" sldId="6971"/>
            <ac:spMk id="101" creationId="{928856DA-55F9-4DD8-9993-54A51898E8B4}"/>
          </ac:spMkLst>
        </pc:spChg>
        <pc:spChg chg="mod">
          <ac:chgData name="Ugo MANTEL" userId="2d5b7065-31bb-4181-a7f8-a73bf0c30211" providerId="ADAL" clId="{F05BB0D5-3454-45DC-8378-DA45B79D9A06}" dt="2020-10-02T13:04:36.769" v="5428" actId="790"/>
          <ac:spMkLst>
            <pc:docMk/>
            <pc:sldMk cId="172779121" sldId="6971"/>
            <ac:spMk id="104" creationId="{12B151C8-729C-4598-A38C-AAF59E8A5BA2}"/>
          </ac:spMkLst>
        </pc:spChg>
        <pc:spChg chg="mod">
          <ac:chgData name="Ugo MANTEL" userId="2d5b7065-31bb-4181-a7f8-a73bf0c30211" providerId="ADAL" clId="{F05BB0D5-3454-45DC-8378-DA45B79D9A06}" dt="2020-10-02T13:04:36.769" v="5429" actId="790"/>
          <ac:spMkLst>
            <pc:docMk/>
            <pc:sldMk cId="172779121" sldId="6971"/>
            <ac:spMk id="108" creationId="{197C3545-B632-4481-974D-58E8F8B6B251}"/>
          </ac:spMkLst>
        </pc:spChg>
        <pc:spChg chg="mod">
          <ac:chgData name="Ugo MANTEL" userId="2d5b7065-31bb-4181-a7f8-a73bf0c30211" providerId="ADAL" clId="{F05BB0D5-3454-45DC-8378-DA45B79D9A06}" dt="2020-10-02T13:04:36.770" v="5430" actId="790"/>
          <ac:spMkLst>
            <pc:docMk/>
            <pc:sldMk cId="172779121" sldId="6971"/>
            <ac:spMk id="109" creationId="{49A4E507-06DA-4C8E-A682-5443A3F93257}"/>
          </ac:spMkLst>
        </pc:spChg>
        <pc:spChg chg="mod">
          <ac:chgData name="Ugo MANTEL" userId="2d5b7065-31bb-4181-a7f8-a73bf0c30211" providerId="ADAL" clId="{F05BB0D5-3454-45DC-8378-DA45B79D9A06}" dt="2020-10-02T13:04:36.771" v="5431" actId="790"/>
          <ac:spMkLst>
            <pc:docMk/>
            <pc:sldMk cId="172779121" sldId="6971"/>
            <ac:spMk id="110" creationId="{6C79613A-13AF-4CE8-B8F6-86FDA17DC526}"/>
          </ac:spMkLst>
        </pc:spChg>
        <pc:spChg chg="mod">
          <ac:chgData name="Ugo MANTEL" userId="2d5b7065-31bb-4181-a7f8-a73bf0c30211" providerId="ADAL" clId="{F05BB0D5-3454-45DC-8378-DA45B79D9A06}" dt="2020-10-02T13:04:36.771" v="5432" actId="790"/>
          <ac:spMkLst>
            <pc:docMk/>
            <pc:sldMk cId="172779121" sldId="6971"/>
            <ac:spMk id="111" creationId="{84A72B9E-E0AE-4947-9BAB-83E21573350C}"/>
          </ac:spMkLst>
        </pc:spChg>
        <pc:spChg chg="mod">
          <ac:chgData name="Ugo MANTEL" userId="2d5b7065-31bb-4181-a7f8-a73bf0c30211" providerId="ADAL" clId="{F05BB0D5-3454-45DC-8378-DA45B79D9A06}" dt="2020-10-02T13:04:36.772" v="5433" actId="790"/>
          <ac:spMkLst>
            <pc:docMk/>
            <pc:sldMk cId="172779121" sldId="6971"/>
            <ac:spMk id="119" creationId="{9B123706-F682-4BCF-B44D-6DAA2F257B4D}"/>
          </ac:spMkLst>
        </pc:spChg>
        <pc:spChg chg="mod">
          <ac:chgData name="Ugo MANTEL" userId="2d5b7065-31bb-4181-a7f8-a73bf0c30211" providerId="ADAL" clId="{F05BB0D5-3454-45DC-8378-DA45B79D9A06}" dt="2020-10-02T13:04:36.774" v="5435" actId="790"/>
          <ac:spMkLst>
            <pc:docMk/>
            <pc:sldMk cId="172779121" sldId="6971"/>
            <ac:spMk id="121" creationId="{A477F45A-F4A7-4A87-A57E-E7D2EF8DB536}"/>
          </ac:spMkLst>
        </pc:spChg>
        <pc:spChg chg="mod">
          <ac:chgData name="Ugo MANTEL" userId="2d5b7065-31bb-4181-a7f8-a73bf0c30211" providerId="ADAL" clId="{F05BB0D5-3454-45DC-8378-DA45B79D9A06}" dt="2020-10-02T13:04:36.775" v="5436" actId="790"/>
          <ac:spMkLst>
            <pc:docMk/>
            <pc:sldMk cId="172779121" sldId="6971"/>
            <ac:spMk id="122" creationId="{D7AEC632-BB66-444B-9BEE-C739FFBE7284}"/>
          </ac:spMkLst>
        </pc:spChg>
        <pc:spChg chg="mod">
          <ac:chgData name="Ugo MANTEL" userId="2d5b7065-31bb-4181-a7f8-a73bf0c30211" providerId="ADAL" clId="{F05BB0D5-3454-45DC-8378-DA45B79D9A06}" dt="2020-10-02T13:04:36.776" v="5437" actId="790"/>
          <ac:spMkLst>
            <pc:docMk/>
            <pc:sldMk cId="172779121" sldId="6971"/>
            <ac:spMk id="123" creationId="{8F3DAFC8-A909-4F23-821A-21D9F7FA0BBB}"/>
          </ac:spMkLst>
        </pc:spChg>
        <pc:spChg chg="mod">
          <ac:chgData name="Ugo MANTEL" userId="2d5b7065-31bb-4181-a7f8-a73bf0c30211" providerId="ADAL" clId="{F05BB0D5-3454-45DC-8378-DA45B79D9A06}" dt="2020-10-02T13:04:36.777" v="5438" actId="790"/>
          <ac:spMkLst>
            <pc:docMk/>
            <pc:sldMk cId="172779121" sldId="6971"/>
            <ac:spMk id="124" creationId="{CC898BD2-115A-4A86-8934-EF125BED9274}"/>
          </ac:spMkLst>
        </pc:spChg>
      </pc:sldChg>
      <pc:sldChg chg="modSp mod">
        <pc:chgData name="Ugo MANTEL" userId="2d5b7065-31bb-4181-a7f8-a73bf0c30211" providerId="ADAL" clId="{F05BB0D5-3454-45DC-8378-DA45B79D9A06}" dt="2020-10-02T13:04:35.630" v="4463" actId="790"/>
        <pc:sldMkLst>
          <pc:docMk/>
          <pc:sldMk cId="4165085356" sldId="6975"/>
        </pc:sldMkLst>
        <pc:spChg chg="mod">
          <ac:chgData name="Ugo MANTEL" userId="2d5b7065-31bb-4181-a7f8-a73bf0c30211" providerId="ADAL" clId="{F05BB0D5-3454-45DC-8378-DA45B79D9A06}" dt="2020-10-02T13:04:35.610" v="4449" actId="790"/>
          <ac:spMkLst>
            <pc:docMk/>
            <pc:sldMk cId="4165085356" sldId="6975"/>
            <ac:spMk id="3" creationId="{FBD13BD1-B840-4073-A6D1-1E8723FF6B39}"/>
          </ac:spMkLst>
        </pc:spChg>
        <pc:spChg chg="mod">
          <ac:chgData name="Ugo MANTEL" userId="2d5b7065-31bb-4181-a7f8-a73bf0c30211" providerId="ADAL" clId="{F05BB0D5-3454-45DC-8378-DA45B79D9A06}" dt="2020-10-02T13:04:35.608" v="4448" actId="790"/>
          <ac:spMkLst>
            <pc:docMk/>
            <pc:sldMk cId="4165085356" sldId="6975"/>
            <ac:spMk id="5" creationId="{A1AE1010-4DC4-4E84-B9D3-B2CAA7A78AA4}"/>
          </ac:spMkLst>
        </pc:spChg>
        <pc:spChg chg="mod">
          <ac:chgData name="Ugo MANTEL" userId="2d5b7065-31bb-4181-a7f8-a73bf0c30211" providerId="ADAL" clId="{F05BB0D5-3454-45DC-8378-DA45B79D9A06}" dt="2020-10-02T13:04:35.607" v="4447" actId="790"/>
          <ac:spMkLst>
            <pc:docMk/>
            <pc:sldMk cId="4165085356" sldId="6975"/>
            <ac:spMk id="6" creationId="{A1381AAA-C103-400B-A0E3-B9609C488AF2}"/>
          </ac:spMkLst>
        </pc:spChg>
        <pc:spChg chg="mod">
          <ac:chgData name="Ugo MANTEL" userId="2d5b7065-31bb-4181-a7f8-a73bf0c30211" providerId="ADAL" clId="{F05BB0D5-3454-45DC-8378-DA45B79D9A06}" dt="2020-10-02T13:04:35.612" v="4450" actId="790"/>
          <ac:spMkLst>
            <pc:docMk/>
            <pc:sldMk cId="4165085356" sldId="6975"/>
            <ac:spMk id="8" creationId="{A2AC5C70-8EB5-4F0C-A842-AADC34B04F23}"/>
          </ac:spMkLst>
        </pc:spChg>
        <pc:spChg chg="mod">
          <ac:chgData name="Ugo MANTEL" userId="2d5b7065-31bb-4181-a7f8-a73bf0c30211" providerId="ADAL" clId="{F05BB0D5-3454-45DC-8378-DA45B79D9A06}" dt="2020-10-02T13:04:35.623" v="4455" actId="790"/>
          <ac:spMkLst>
            <pc:docMk/>
            <pc:sldMk cId="4165085356" sldId="6975"/>
            <ac:spMk id="10" creationId="{CAF163B1-68DE-4B3B-B95E-8855A40559F9}"/>
          </ac:spMkLst>
        </pc:spChg>
        <pc:spChg chg="mod">
          <ac:chgData name="Ugo MANTEL" userId="2d5b7065-31bb-4181-a7f8-a73bf0c30211" providerId="ADAL" clId="{F05BB0D5-3454-45DC-8378-DA45B79D9A06}" dt="2020-10-02T13:04:35.613" v="4451" actId="790"/>
          <ac:spMkLst>
            <pc:docMk/>
            <pc:sldMk cId="4165085356" sldId="6975"/>
            <ac:spMk id="21" creationId="{8DF558A3-1E6B-42C4-BC10-9D27518050F9}"/>
          </ac:spMkLst>
        </pc:spChg>
        <pc:spChg chg="mod">
          <ac:chgData name="Ugo MANTEL" userId="2d5b7065-31bb-4181-a7f8-a73bf0c30211" providerId="ADAL" clId="{F05BB0D5-3454-45DC-8378-DA45B79D9A06}" dt="2020-10-02T13:04:35.622" v="4454" actId="790"/>
          <ac:spMkLst>
            <pc:docMk/>
            <pc:sldMk cId="4165085356" sldId="6975"/>
            <ac:spMk id="31" creationId="{FA3F4479-E7AA-43E4-89F5-F93C9F7EA73F}"/>
          </ac:spMkLst>
        </pc:spChg>
        <pc:spChg chg="mod">
          <ac:chgData name="Ugo MANTEL" userId="2d5b7065-31bb-4181-a7f8-a73bf0c30211" providerId="ADAL" clId="{F05BB0D5-3454-45DC-8378-DA45B79D9A06}" dt="2020-10-02T13:04:35.618" v="4452" actId="790"/>
          <ac:spMkLst>
            <pc:docMk/>
            <pc:sldMk cId="4165085356" sldId="6975"/>
            <ac:spMk id="32" creationId="{83672DA3-89ED-4CAE-B6D7-22C414ADECA6}"/>
          </ac:spMkLst>
        </pc:spChg>
        <pc:spChg chg="mod">
          <ac:chgData name="Ugo MANTEL" userId="2d5b7065-31bb-4181-a7f8-a73bf0c30211" providerId="ADAL" clId="{F05BB0D5-3454-45DC-8378-DA45B79D9A06}" dt="2020-10-02T13:04:35.621" v="4453" actId="790"/>
          <ac:spMkLst>
            <pc:docMk/>
            <pc:sldMk cId="4165085356" sldId="6975"/>
            <ac:spMk id="41" creationId="{5BB7CC38-0F31-4736-BBB2-9C26982DB4F8}"/>
          </ac:spMkLst>
        </pc:spChg>
        <pc:spChg chg="mod">
          <ac:chgData name="Ugo MANTEL" userId="2d5b7065-31bb-4181-a7f8-a73bf0c30211" providerId="ADAL" clId="{F05BB0D5-3454-45DC-8378-DA45B79D9A06}" dt="2020-10-02T13:04:35.624" v="4456" actId="790"/>
          <ac:spMkLst>
            <pc:docMk/>
            <pc:sldMk cId="4165085356" sldId="6975"/>
            <ac:spMk id="44" creationId="{033660ED-8787-4CE8-A6D6-CBBDC197EA67}"/>
          </ac:spMkLst>
        </pc:spChg>
        <pc:spChg chg="mod">
          <ac:chgData name="Ugo MANTEL" userId="2d5b7065-31bb-4181-a7f8-a73bf0c30211" providerId="ADAL" clId="{F05BB0D5-3454-45DC-8378-DA45B79D9A06}" dt="2020-10-02T13:04:35.626" v="4458" actId="790"/>
          <ac:spMkLst>
            <pc:docMk/>
            <pc:sldMk cId="4165085356" sldId="6975"/>
            <ac:spMk id="46" creationId="{6111E63A-164E-4C56-9BB9-E0DFC35E81A8}"/>
          </ac:spMkLst>
        </pc:spChg>
        <pc:spChg chg="mod">
          <ac:chgData name="Ugo MANTEL" userId="2d5b7065-31bb-4181-a7f8-a73bf0c30211" providerId="ADAL" clId="{F05BB0D5-3454-45DC-8378-DA45B79D9A06}" dt="2020-10-02T13:04:35.627" v="4459" actId="790"/>
          <ac:spMkLst>
            <pc:docMk/>
            <pc:sldMk cId="4165085356" sldId="6975"/>
            <ac:spMk id="48" creationId="{0BB623DF-5830-442A-954A-12A406D26751}"/>
          </ac:spMkLst>
        </pc:spChg>
        <pc:spChg chg="mod">
          <ac:chgData name="Ugo MANTEL" userId="2d5b7065-31bb-4181-a7f8-a73bf0c30211" providerId="ADAL" clId="{F05BB0D5-3454-45DC-8378-DA45B79D9A06}" dt="2020-10-02T13:04:35.625" v="4457" actId="790"/>
          <ac:spMkLst>
            <pc:docMk/>
            <pc:sldMk cId="4165085356" sldId="6975"/>
            <ac:spMk id="51" creationId="{FDABF482-579E-4CFC-90C5-1D31655F159A}"/>
          </ac:spMkLst>
        </pc:spChg>
        <pc:spChg chg="mod">
          <ac:chgData name="Ugo MANTEL" userId="2d5b7065-31bb-4181-a7f8-a73bf0c30211" providerId="ADAL" clId="{F05BB0D5-3454-45DC-8378-DA45B79D9A06}" dt="2020-10-02T13:04:35.628" v="4460" actId="790"/>
          <ac:spMkLst>
            <pc:docMk/>
            <pc:sldMk cId="4165085356" sldId="6975"/>
            <ac:spMk id="72" creationId="{E499FB98-2E6E-4250-9807-166D499E8538}"/>
          </ac:spMkLst>
        </pc:spChg>
        <pc:spChg chg="mod">
          <ac:chgData name="Ugo MANTEL" userId="2d5b7065-31bb-4181-a7f8-a73bf0c30211" providerId="ADAL" clId="{F05BB0D5-3454-45DC-8378-DA45B79D9A06}" dt="2020-10-02T13:04:35.628" v="4461" actId="790"/>
          <ac:spMkLst>
            <pc:docMk/>
            <pc:sldMk cId="4165085356" sldId="6975"/>
            <ac:spMk id="73" creationId="{611CC5DE-9E6F-406B-9595-8EADC6BE87D3}"/>
          </ac:spMkLst>
        </pc:spChg>
        <pc:spChg chg="mod">
          <ac:chgData name="Ugo MANTEL" userId="2d5b7065-31bb-4181-a7f8-a73bf0c30211" providerId="ADAL" clId="{F05BB0D5-3454-45DC-8378-DA45B79D9A06}" dt="2020-10-02T13:04:35.629" v="4462" actId="790"/>
          <ac:spMkLst>
            <pc:docMk/>
            <pc:sldMk cId="4165085356" sldId="6975"/>
            <ac:spMk id="74" creationId="{1B87F58E-127E-4A8A-9DCA-2A0E7E8A3523}"/>
          </ac:spMkLst>
        </pc:spChg>
        <pc:spChg chg="mod">
          <ac:chgData name="Ugo MANTEL" userId="2d5b7065-31bb-4181-a7f8-a73bf0c30211" providerId="ADAL" clId="{F05BB0D5-3454-45DC-8378-DA45B79D9A06}" dt="2020-10-02T13:04:35.630" v="4463" actId="790"/>
          <ac:spMkLst>
            <pc:docMk/>
            <pc:sldMk cId="4165085356" sldId="6975"/>
            <ac:spMk id="75" creationId="{E3A38CC3-64C1-45DB-8C1E-4024EC10CFF5}"/>
          </ac:spMkLst>
        </pc:spChg>
      </pc:sldChg>
      <pc:sldChg chg="modSp mod">
        <pc:chgData name="Ugo MANTEL" userId="2d5b7065-31bb-4181-a7f8-a73bf0c30211" providerId="ADAL" clId="{F05BB0D5-3454-45DC-8378-DA45B79D9A06}" dt="2020-10-02T13:05:57.045" v="6183" actId="207"/>
        <pc:sldMkLst>
          <pc:docMk/>
          <pc:sldMk cId="2309580848" sldId="6976"/>
        </pc:sldMkLst>
        <pc:spChg chg="mod">
          <ac:chgData name="Ugo MANTEL" userId="2d5b7065-31bb-4181-a7f8-a73bf0c30211" providerId="ADAL" clId="{F05BB0D5-3454-45DC-8378-DA45B79D9A06}" dt="2020-10-02T13:04:35.634" v="4467" actId="790"/>
          <ac:spMkLst>
            <pc:docMk/>
            <pc:sldMk cId="2309580848" sldId="6976"/>
            <ac:spMk id="3" creationId="{4FF62979-614C-474A-8BAB-7BBEB6F4CE52}"/>
          </ac:spMkLst>
        </pc:spChg>
        <pc:spChg chg="mod">
          <ac:chgData name="Ugo MANTEL" userId="2d5b7065-31bb-4181-a7f8-a73bf0c30211" providerId="ADAL" clId="{F05BB0D5-3454-45DC-8378-DA45B79D9A06}" dt="2020-10-02T13:04:35.630" v="4464" actId="790"/>
          <ac:spMkLst>
            <pc:docMk/>
            <pc:sldMk cId="2309580848" sldId="6976"/>
            <ac:spMk id="4" creationId="{F854DCEF-5D09-4A27-9C10-DE41FAB26FCF}"/>
          </ac:spMkLst>
        </pc:spChg>
        <pc:spChg chg="mod">
          <ac:chgData name="Ugo MANTEL" userId="2d5b7065-31bb-4181-a7f8-a73bf0c30211" providerId="ADAL" clId="{F05BB0D5-3454-45DC-8378-DA45B79D9A06}" dt="2020-10-02T13:04:35.631" v="4465" actId="790"/>
          <ac:spMkLst>
            <pc:docMk/>
            <pc:sldMk cId="2309580848" sldId="6976"/>
            <ac:spMk id="5" creationId="{EAC0CC13-A429-4B1D-9536-6F719397E27C}"/>
          </ac:spMkLst>
        </pc:spChg>
        <pc:spChg chg="mod">
          <ac:chgData name="Ugo MANTEL" userId="2d5b7065-31bb-4181-a7f8-a73bf0c30211" providerId="ADAL" clId="{F05BB0D5-3454-45DC-8378-DA45B79D9A06}" dt="2020-10-02T13:04:35.638" v="4468" actId="790"/>
          <ac:spMkLst>
            <pc:docMk/>
            <pc:sldMk cId="2309580848" sldId="6976"/>
            <ac:spMk id="7" creationId="{8AADBE8E-2522-4234-BCCA-A570CA396A5E}"/>
          </ac:spMkLst>
        </pc:spChg>
        <pc:spChg chg="mod">
          <ac:chgData name="Ugo MANTEL" userId="2d5b7065-31bb-4181-a7f8-a73bf0c30211" providerId="ADAL" clId="{F05BB0D5-3454-45DC-8378-DA45B79D9A06}" dt="2020-10-02T13:04:35.653" v="4480" actId="790"/>
          <ac:spMkLst>
            <pc:docMk/>
            <pc:sldMk cId="2309580848" sldId="6976"/>
            <ac:spMk id="8" creationId="{60C9E80C-68F5-4834-A062-477187CB927D}"/>
          </ac:spMkLst>
        </pc:spChg>
        <pc:spChg chg="mod">
          <ac:chgData name="Ugo MANTEL" userId="2d5b7065-31bb-4181-a7f8-a73bf0c30211" providerId="ADAL" clId="{F05BB0D5-3454-45DC-8378-DA45B79D9A06}" dt="2020-10-02T13:04:35.647" v="4474" actId="790"/>
          <ac:spMkLst>
            <pc:docMk/>
            <pc:sldMk cId="2309580848" sldId="6976"/>
            <ac:spMk id="37" creationId="{1A8E7577-7746-4DE9-A76A-6C8AB3D1094A}"/>
          </ac:spMkLst>
        </pc:spChg>
        <pc:spChg chg="mod">
          <ac:chgData name="Ugo MANTEL" userId="2d5b7065-31bb-4181-a7f8-a73bf0c30211" providerId="ADAL" clId="{F05BB0D5-3454-45DC-8378-DA45B79D9A06}" dt="2020-10-02T13:04:35.631" v="4466" actId="790"/>
          <ac:spMkLst>
            <pc:docMk/>
            <pc:sldMk cId="2309580848" sldId="6976"/>
            <ac:spMk id="38" creationId="{C1721D0C-E460-4F14-9C39-1813F1C494EF}"/>
          </ac:spMkLst>
        </pc:spChg>
        <pc:spChg chg="mod">
          <ac:chgData name="Ugo MANTEL" userId="2d5b7065-31bb-4181-a7f8-a73bf0c30211" providerId="ADAL" clId="{F05BB0D5-3454-45DC-8378-DA45B79D9A06}" dt="2020-10-02T13:04:35.648" v="4475" actId="790"/>
          <ac:spMkLst>
            <pc:docMk/>
            <pc:sldMk cId="2309580848" sldId="6976"/>
            <ac:spMk id="40" creationId="{D5CD4274-590E-4E82-9C25-BBD292141644}"/>
          </ac:spMkLst>
        </pc:spChg>
        <pc:spChg chg="mod">
          <ac:chgData name="Ugo MANTEL" userId="2d5b7065-31bb-4181-a7f8-a73bf0c30211" providerId="ADAL" clId="{F05BB0D5-3454-45DC-8378-DA45B79D9A06}" dt="2020-10-02T13:04:35.649" v="4476" actId="790"/>
          <ac:spMkLst>
            <pc:docMk/>
            <pc:sldMk cId="2309580848" sldId="6976"/>
            <ac:spMk id="42" creationId="{5CDEC3D0-A3B6-484C-B4C7-B39AACA8746D}"/>
          </ac:spMkLst>
        </pc:spChg>
        <pc:spChg chg="mod">
          <ac:chgData name="Ugo MANTEL" userId="2d5b7065-31bb-4181-a7f8-a73bf0c30211" providerId="ADAL" clId="{F05BB0D5-3454-45DC-8378-DA45B79D9A06}" dt="2020-10-02T13:04:35.651" v="4477" actId="790"/>
          <ac:spMkLst>
            <pc:docMk/>
            <pc:sldMk cId="2309580848" sldId="6976"/>
            <ac:spMk id="44" creationId="{D8EF2208-4D92-4E02-9524-AF50DBCB2B46}"/>
          </ac:spMkLst>
        </pc:spChg>
        <pc:spChg chg="mod">
          <ac:chgData name="Ugo MANTEL" userId="2d5b7065-31bb-4181-a7f8-a73bf0c30211" providerId="ADAL" clId="{F05BB0D5-3454-45DC-8378-DA45B79D9A06}" dt="2020-10-02T13:04:35.652" v="4478" actId="790"/>
          <ac:spMkLst>
            <pc:docMk/>
            <pc:sldMk cId="2309580848" sldId="6976"/>
            <ac:spMk id="49" creationId="{E3F7441C-0CD7-41BE-8C88-E828F1DF5398}"/>
          </ac:spMkLst>
        </pc:spChg>
        <pc:spChg chg="mod">
          <ac:chgData name="Ugo MANTEL" userId="2d5b7065-31bb-4181-a7f8-a73bf0c30211" providerId="ADAL" clId="{F05BB0D5-3454-45DC-8378-DA45B79D9A06}" dt="2020-10-02T13:04:35.643" v="4470" actId="790"/>
          <ac:spMkLst>
            <pc:docMk/>
            <pc:sldMk cId="2309580848" sldId="6976"/>
            <ac:spMk id="51" creationId="{E1B039DF-7D46-4505-8AFD-738CA732B887}"/>
          </ac:spMkLst>
        </pc:spChg>
        <pc:spChg chg="mod">
          <ac:chgData name="Ugo MANTEL" userId="2d5b7065-31bb-4181-a7f8-a73bf0c30211" providerId="ADAL" clId="{F05BB0D5-3454-45DC-8378-DA45B79D9A06}" dt="2020-10-02T13:04:35.656" v="4485" actId="790"/>
          <ac:spMkLst>
            <pc:docMk/>
            <pc:sldMk cId="2309580848" sldId="6976"/>
            <ac:spMk id="52" creationId="{65105DA9-CF35-451C-8BE5-23142353A792}"/>
          </ac:spMkLst>
        </pc:spChg>
        <pc:spChg chg="mod">
          <ac:chgData name="Ugo MANTEL" userId="2d5b7065-31bb-4181-a7f8-a73bf0c30211" providerId="ADAL" clId="{F05BB0D5-3454-45DC-8378-DA45B79D9A06}" dt="2020-10-02T13:04:35.652" v="4479" actId="790"/>
          <ac:spMkLst>
            <pc:docMk/>
            <pc:sldMk cId="2309580848" sldId="6976"/>
            <ac:spMk id="53" creationId="{CF24A754-FC54-4C5D-B428-5F8BBC52C578}"/>
          </ac:spMkLst>
        </pc:spChg>
        <pc:spChg chg="mod">
          <ac:chgData name="Ugo MANTEL" userId="2d5b7065-31bb-4181-a7f8-a73bf0c30211" providerId="ADAL" clId="{F05BB0D5-3454-45DC-8378-DA45B79D9A06}" dt="2020-10-02T13:04:35.654" v="4481" actId="790"/>
          <ac:spMkLst>
            <pc:docMk/>
            <pc:sldMk cId="2309580848" sldId="6976"/>
            <ac:spMk id="54" creationId="{AF89456B-B5B6-4954-8ACF-76E019985E71}"/>
          </ac:spMkLst>
        </pc:spChg>
        <pc:spChg chg="mod">
          <ac:chgData name="Ugo MANTEL" userId="2d5b7065-31bb-4181-a7f8-a73bf0c30211" providerId="ADAL" clId="{F05BB0D5-3454-45DC-8378-DA45B79D9A06}" dt="2020-10-02T13:04:35.644" v="4471" actId="790"/>
          <ac:spMkLst>
            <pc:docMk/>
            <pc:sldMk cId="2309580848" sldId="6976"/>
            <ac:spMk id="55" creationId="{6A3B1CC5-1B3A-46D4-883B-F787D6F317E4}"/>
          </ac:spMkLst>
        </pc:spChg>
        <pc:spChg chg="mod">
          <ac:chgData name="Ugo MANTEL" userId="2d5b7065-31bb-4181-a7f8-a73bf0c30211" providerId="ADAL" clId="{F05BB0D5-3454-45DC-8378-DA45B79D9A06}" dt="2020-10-02T13:04:35.654" v="4482" actId="790"/>
          <ac:spMkLst>
            <pc:docMk/>
            <pc:sldMk cId="2309580848" sldId="6976"/>
            <ac:spMk id="56" creationId="{F54BFA0A-93A7-4DFA-96AB-74E48E7B98F2}"/>
          </ac:spMkLst>
        </pc:spChg>
        <pc:spChg chg="mod">
          <ac:chgData name="Ugo MANTEL" userId="2d5b7065-31bb-4181-a7f8-a73bf0c30211" providerId="ADAL" clId="{F05BB0D5-3454-45DC-8378-DA45B79D9A06}" dt="2020-10-02T13:04:35.655" v="4483" actId="790"/>
          <ac:spMkLst>
            <pc:docMk/>
            <pc:sldMk cId="2309580848" sldId="6976"/>
            <ac:spMk id="57" creationId="{269B1D82-6A6A-4DC1-81E7-E8FF5E3929C5}"/>
          </ac:spMkLst>
        </pc:spChg>
        <pc:spChg chg="mod">
          <ac:chgData name="Ugo MANTEL" userId="2d5b7065-31bb-4181-a7f8-a73bf0c30211" providerId="ADAL" clId="{F05BB0D5-3454-45DC-8378-DA45B79D9A06}" dt="2020-10-02T13:04:35.644" v="4472" actId="790"/>
          <ac:spMkLst>
            <pc:docMk/>
            <pc:sldMk cId="2309580848" sldId="6976"/>
            <ac:spMk id="58" creationId="{49FC0DE9-89C2-4D19-A130-3FE6F98CA787}"/>
          </ac:spMkLst>
        </pc:spChg>
        <pc:spChg chg="mod">
          <ac:chgData name="Ugo MANTEL" userId="2d5b7065-31bb-4181-a7f8-a73bf0c30211" providerId="ADAL" clId="{F05BB0D5-3454-45DC-8378-DA45B79D9A06}" dt="2020-10-02T13:04:35.656" v="4484" actId="790"/>
          <ac:spMkLst>
            <pc:docMk/>
            <pc:sldMk cId="2309580848" sldId="6976"/>
            <ac:spMk id="59" creationId="{862B6E81-E0FF-42F1-970E-423B82A0B548}"/>
          </ac:spMkLst>
        </pc:spChg>
        <pc:spChg chg="mod">
          <ac:chgData name="Ugo MANTEL" userId="2d5b7065-31bb-4181-a7f8-a73bf0c30211" providerId="ADAL" clId="{F05BB0D5-3454-45DC-8378-DA45B79D9A06}" dt="2020-10-02T13:04:35.645" v="4473" actId="790"/>
          <ac:spMkLst>
            <pc:docMk/>
            <pc:sldMk cId="2309580848" sldId="6976"/>
            <ac:spMk id="60" creationId="{E688362D-C049-4B7C-BA25-85C8D100D0B8}"/>
          </ac:spMkLst>
        </pc:spChg>
        <pc:spChg chg="mod">
          <ac:chgData name="Ugo MANTEL" userId="2d5b7065-31bb-4181-a7f8-a73bf0c30211" providerId="ADAL" clId="{F05BB0D5-3454-45DC-8378-DA45B79D9A06}" dt="2020-10-02T13:04:35.640" v="4469" actId="790"/>
          <ac:spMkLst>
            <pc:docMk/>
            <pc:sldMk cId="2309580848" sldId="6976"/>
            <ac:spMk id="65" creationId="{FB2E2AB6-6549-4EE3-85DD-6A07ED6FB51F}"/>
          </ac:spMkLst>
        </pc:spChg>
        <pc:graphicFrameChg chg="mod">
          <ac:chgData name="Ugo MANTEL" userId="2d5b7065-31bb-4181-a7f8-a73bf0c30211" providerId="ADAL" clId="{F05BB0D5-3454-45DC-8378-DA45B79D9A06}" dt="2020-10-02T13:05:57.045" v="6183" actId="207"/>
          <ac:graphicFrameMkLst>
            <pc:docMk/>
            <pc:sldMk cId="2309580848" sldId="6976"/>
            <ac:graphicFrameMk id="34" creationId="{9700E973-FF04-420F-9D2B-4F1BF210342A}"/>
          </ac:graphicFrameMkLst>
        </pc:graphicFrameChg>
      </pc:sldChg>
      <pc:sldChg chg="modSp mod">
        <pc:chgData name="Ugo MANTEL" userId="2d5b7065-31bb-4181-a7f8-a73bf0c30211" providerId="ADAL" clId="{F05BB0D5-3454-45DC-8378-DA45B79D9A06}" dt="2020-10-02T13:04:33.607" v="2530" actId="790"/>
        <pc:sldMkLst>
          <pc:docMk/>
          <pc:sldMk cId="3002270694" sldId="6978"/>
        </pc:sldMkLst>
        <pc:spChg chg="mod">
          <ac:chgData name="Ugo MANTEL" userId="2d5b7065-31bb-4181-a7f8-a73bf0c30211" providerId="ADAL" clId="{F05BB0D5-3454-45DC-8378-DA45B79D9A06}" dt="2020-10-02T13:04:33.576" v="2510" actId="790"/>
          <ac:spMkLst>
            <pc:docMk/>
            <pc:sldMk cId="3002270694" sldId="6978"/>
            <ac:spMk id="3" creationId="{7D73B612-83D0-4797-9341-963BC626A21C}"/>
          </ac:spMkLst>
        </pc:spChg>
        <pc:spChg chg="mod">
          <ac:chgData name="Ugo MANTEL" userId="2d5b7065-31bb-4181-a7f8-a73bf0c30211" providerId="ADAL" clId="{F05BB0D5-3454-45DC-8378-DA45B79D9A06}" dt="2020-10-02T13:04:33.574" v="2509" actId="790"/>
          <ac:spMkLst>
            <pc:docMk/>
            <pc:sldMk cId="3002270694" sldId="6978"/>
            <ac:spMk id="5" creationId="{40FFA6C4-FB36-4810-8985-357F47AC8D3F}"/>
          </ac:spMkLst>
        </pc:spChg>
        <pc:spChg chg="mod">
          <ac:chgData name="Ugo MANTEL" userId="2d5b7065-31bb-4181-a7f8-a73bf0c30211" providerId="ADAL" clId="{F05BB0D5-3454-45DC-8378-DA45B79D9A06}" dt="2020-10-02T13:04:33.588" v="2518" actId="790"/>
          <ac:spMkLst>
            <pc:docMk/>
            <pc:sldMk cId="3002270694" sldId="6978"/>
            <ac:spMk id="7" creationId="{2B63328D-76FA-4797-8AF0-F7CB209F2B98}"/>
          </ac:spMkLst>
        </pc:spChg>
        <pc:spChg chg="mod">
          <ac:chgData name="Ugo MANTEL" userId="2d5b7065-31bb-4181-a7f8-a73bf0c30211" providerId="ADAL" clId="{F05BB0D5-3454-45DC-8378-DA45B79D9A06}" dt="2020-10-02T13:04:33.581" v="2513" actId="790"/>
          <ac:spMkLst>
            <pc:docMk/>
            <pc:sldMk cId="3002270694" sldId="6978"/>
            <ac:spMk id="9" creationId="{0E1A1D1F-EC7D-4DF7-8F77-F4D28BA53615}"/>
          </ac:spMkLst>
        </pc:spChg>
        <pc:spChg chg="mod">
          <ac:chgData name="Ugo MANTEL" userId="2d5b7065-31bb-4181-a7f8-a73bf0c30211" providerId="ADAL" clId="{F05BB0D5-3454-45DC-8378-DA45B79D9A06}" dt="2020-10-02T13:04:33.590" v="2519" actId="790"/>
          <ac:spMkLst>
            <pc:docMk/>
            <pc:sldMk cId="3002270694" sldId="6978"/>
            <ac:spMk id="11" creationId="{9067A0C1-6385-4984-BD90-A2112863B001}"/>
          </ac:spMkLst>
        </pc:spChg>
        <pc:spChg chg="mod">
          <ac:chgData name="Ugo MANTEL" userId="2d5b7065-31bb-4181-a7f8-a73bf0c30211" providerId="ADAL" clId="{F05BB0D5-3454-45DC-8378-DA45B79D9A06}" dt="2020-10-02T13:04:33.590" v="2520" actId="790"/>
          <ac:spMkLst>
            <pc:docMk/>
            <pc:sldMk cId="3002270694" sldId="6978"/>
            <ac:spMk id="16" creationId="{E20775C9-FAE8-42D1-BCEF-2F07B450DD25}"/>
          </ac:spMkLst>
        </pc:spChg>
        <pc:spChg chg="mod">
          <ac:chgData name="Ugo MANTEL" userId="2d5b7065-31bb-4181-a7f8-a73bf0c30211" providerId="ADAL" clId="{F05BB0D5-3454-45DC-8378-DA45B79D9A06}" dt="2020-10-02T13:04:33.577" v="2511" actId="790"/>
          <ac:spMkLst>
            <pc:docMk/>
            <pc:sldMk cId="3002270694" sldId="6978"/>
            <ac:spMk id="32" creationId="{1A2AE403-F44D-4CF2-9ED1-5D62CEA6FBD0}"/>
          </ac:spMkLst>
        </pc:spChg>
        <pc:spChg chg="mod">
          <ac:chgData name="Ugo MANTEL" userId="2d5b7065-31bb-4181-a7f8-a73bf0c30211" providerId="ADAL" clId="{F05BB0D5-3454-45DC-8378-DA45B79D9A06}" dt="2020-10-02T13:04:33.581" v="2512" actId="790"/>
          <ac:spMkLst>
            <pc:docMk/>
            <pc:sldMk cId="3002270694" sldId="6978"/>
            <ac:spMk id="45" creationId="{F1221B6E-F5E0-47C9-BD67-5B54B13DACEF}"/>
          </ac:spMkLst>
        </pc:spChg>
        <pc:spChg chg="mod">
          <ac:chgData name="Ugo MANTEL" userId="2d5b7065-31bb-4181-a7f8-a73bf0c30211" providerId="ADAL" clId="{F05BB0D5-3454-45DC-8378-DA45B79D9A06}" dt="2020-10-02T13:04:33.587" v="2517" actId="790"/>
          <ac:spMkLst>
            <pc:docMk/>
            <pc:sldMk cId="3002270694" sldId="6978"/>
            <ac:spMk id="69" creationId="{9CC0F9D8-B1D8-48FA-B68B-E3D05F72733C}"/>
          </ac:spMkLst>
        </pc:spChg>
        <pc:spChg chg="mod">
          <ac:chgData name="Ugo MANTEL" userId="2d5b7065-31bb-4181-a7f8-a73bf0c30211" providerId="ADAL" clId="{F05BB0D5-3454-45DC-8378-DA45B79D9A06}" dt="2020-10-02T13:04:33.582" v="2514" actId="790"/>
          <ac:spMkLst>
            <pc:docMk/>
            <pc:sldMk cId="3002270694" sldId="6978"/>
            <ac:spMk id="80" creationId="{F85FD96A-A79B-49DE-8777-DBACA67460E1}"/>
          </ac:spMkLst>
        </pc:spChg>
        <pc:spChg chg="mod">
          <ac:chgData name="Ugo MANTEL" userId="2d5b7065-31bb-4181-a7f8-a73bf0c30211" providerId="ADAL" clId="{F05BB0D5-3454-45DC-8378-DA45B79D9A06}" dt="2020-10-02T13:04:33.593" v="2525" actId="790"/>
          <ac:spMkLst>
            <pc:docMk/>
            <pc:sldMk cId="3002270694" sldId="6978"/>
            <ac:spMk id="92" creationId="{EA15C148-2598-481F-87CB-344A1F132D1C}"/>
          </ac:spMkLst>
        </pc:spChg>
        <pc:spChg chg="mod">
          <ac:chgData name="Ugo MANTEL" userId="2d5b7065-31bb-4181-a7f8-a73bf0c30211" providerId="ADAL" clId="{F05BB0D5-3454-45DC-8378-DA45B79D9A06}" dt="2020-10-02T13:04:33.591" v="2521" actId="790"/>
          <ac:spMkLst>
            <pc:docMk/>
            <pc:sldMk cId="3002270694" sldId="6978"/>
            <ac:spMk id="93" creationId="{DDFEFCEF-4837-41BC-A260-9BE5C972107A}"/>
          </ac:spMkLst>
        </pc:spChg>
        <pc:spChg chg="mod">
          <ac:chgData name="Ugo MANTEL" userId="2d5b7065-31bb-4181-a7f8-a73bf0c30211" providerId="ADAL" clId="{F05BB0D5-3454-45DC-8378-DA45B79D9A06}" dt="2020-10-02T13:04:33.592" v="2522" actId="790"/>
          <ac:spMkLst>
            <pc:docMk/>
            <pc:sldMk cId="3002270694" sldId="6978"/>
            <ac:spMk id="94" creationId="{F2C36C00-7BB1-4D7A-BAB9-41CB875114C8}"/>
          </ac:spMkLst>
        </pc:spChg>
        <pc:spChg chg="mod">
          <ac:chgData name="Ugo MANTEL" userId="2d5b7065-31bb-4181-a7f8-a73bf0c30211" providerId="ADAL" clId="{F05BB0D5-3454-45DC-8378-DA45B79D9A06}" dt="2020-10-02T13:04:33.592" v="2523" actId="790"/>
          <ac:spMkLst>
            <pc:docMk/>
            <pc:sldMk cId="3002270694" sldId="6978"/>
            <ac:spMk id="95" creationId="{82931FF9-B897-4D1E-B652-8E2AD16291D3}"/>
          </ac:spMkLst>
        </pc:spChg>
        <pc:spChg chg="mod">
          <ac:chgData name="Ugo MANTEL" userId="2d5b7065-31bb-4181-a7f8-a73bf0c30211" providerId="ADAL" clId="{F05BB0D5-3454-45DC-8378-DA45B79D9A06}" dt="2020-10-02T13:04:33.603" v="2526" actId="790"/>
          <ac:spMkLst>
            <pc:docMk/>
            <pc:sldMk cId="3002270694" sldId="6978"/>
            <ac:spMk id="100" creationId="{69C2E01A-60A3-446B-876B-AFF7D4475DE3}"/>
          </ac:spMkLst>
        </pc:spChg>
        <pc:spChg chg="mod">
          <ac:chgData name="Ugo MANTEL" userId="2d5b7065-31bb-4181-a7f8-a73bf0c30211" providerId="ADAL" clId="{F05BB0D5-3454-45DC-8378-DA45B79D9A06}" dt="2020-10-02T13:04:33.586" v="2515" actId="790"/>
          <ac:spMkLst>
            <pc:docMk/>
            <pc:sldMk cId="3002270694" sldId="6978"/>
            <ac:spMk id="106" creationId="{58266FBD-2E8F-4FE3-8AC2-09AD83524CD9}"/>
          </ac:spMkLst>
        </pc:spChg>
        <pc:spChg chg="mod">
          <ac:chgData name="Ugo MANTEL" userId="2d5b7065-31bb-4181-a7f8-a73bf0c30211" providerId="ADAL" clId="{F05BB0D5-3454-45DC-8378-DA45B79D9A06}" dt="2020-10-02T13:04:33.587" v="2516" actId="790"/>
          <ac:spMkLst>
            <pc:docMk/>
            <pc:sldMk cId="3002270694" sldId="6978"/>
            <ac:spMk id="107" creationId="{9EB823E0-6591-45C8-8256-695C74AA436C}"/>
          </ac:spMkLst>
        </pc:spChg>
        <pc:spChg chg="mod">
          <ac:chgData name="Ugo MANTEL" userId="2d5b7065-31bb-4181-a7f8-a73bf0c30211" providerId="ADAL" clId="{F05BB0D5-3454-45DC-8378-DA45B79D9A06}" dt="2020-10-02T13:04:33.593" v="2524" actId="790"/>
          <ac:spMkLst>
            <pc:docMk/>
            <pc:sldMk cId="3002270694" sldId="6978"/>
            <ac:spMk id="110" creationId="{4B111F22-D965-4654-A7A3-EB5A53FD3E21}"/>
          </ac:spMkLst>
        </pc:spChg>
        <pc:spChg chg="mod">
          <ac:chgData name="Ugo MANTEL" userId="2d5b7065-31bb-4181-a7f8-a73bf0c30211" providerId="ADAL" clId="{F05BB0D5-3454-45DC-8378-DA45B79D9A06}" dt="2020-10-02T13:04:33.605" v="2527" actId="790"/>
          <ac:spMkLst>
            <pc:docMk/>
            <pc:sldMk cId="3002270694" sldId="6978"/>
            <ac:spMk id="120" creationId="{5F349B48-C2BC-40BF-9AC7-9FEE263ACADC}"/>
          </ac:spMkLst>
        </pc:spChg>
        <pc:spChg chg="mod">
          <ac:chgData name="Ugo MANTEL" userId="2d5b7065-31bb-4181-a7f8-a73bf0c30211" providerId="ADAL" clId="{F05BB0D5-3454-45DC-8378-DA45B79D9A06}" dt="2020-10-02T13:04:33.605" v="2528" actId="790"/>
          <ac:spMkLst>
            <pc:docMk/>
            <pc:sldMk cId="3002270694" sldId="6978"/>
            <ac:spMk id="122" creationId="{75CDC4F1-B76B-4CC1-821F-0CA754FAC086}"/>
          </ac:spMkLst>
        </pc:spChg>
        <pc:spChg chg="mod">
          <ac:chgData name="Ugo MANTEL" userId="2d5b7065-31bb-4181-a7f8-a73bf0c30211" providerId="ADAL" clId="{F05BB0D5-3454-45DC-8378-DA45B79D9A06}" dt="2020-10-02T13:04:33.606" v="2529" actId="790"/>
          <ac:spMkLst>
            <pc:docMk/>
            <pc:sldMk cId="3002270694" sldId="6978"/>
            <ac:spMk id="129" creationId="{980BBE29-D76D-4CED-8992-1A4450EDF52C}"/>
          </ac:spMkLst>
        </pc:spChg>
        <pc:spChg chg="mod">
          <ac:chgData name="Ugo MANTEL" userId="2d5b7065-31bb-4181-a7f8-a73bf0c30211" providerId="ADAL" clId="{F05BB0D5-3454-45DC-8378-DA45B79D9A06}" dt="2020-10-02T13:04:33.607" v="2530" actId="790"/>
          <ac:spMkLst>
            <pc:docMk/>
            <pc:sldMk cId="3002270694" sldId="6978"/>
            <ac:spMk id="131" creationId="{665753CF-43A1-4AB9-971C-AF32375D6F52}"/>
          </ac:spMkLst>
        </pc:spChg>
      </pc:sldChg>
      <pc:sldChg chg="modSp mod">
        <pc:chgData name="Ugo MANTEL" userId="2d5b7065-31bb-4181-a7f8-a73bf0c30211" providerId="ADAL" clId="{F05BB0D5-3454-45DC-8378-DA45B79D9A06}" dt="2020-10-02T13:04:36.733" v="5400" actId="790"/>
        <pc:sldMkLst>
          <pc:docMk/>
          <pc:sldMk cId="2669007869" sldId="6993"/>
        </pc:sldMkLst>
        <pc:spChg chg="mod">
          <ac:chgData name="Ugo MANTEL" userId="2d5b7065-31bb-4181-a7f8-a73bf0c30211" providerId="ADAL" clId="{F05BB0D5-3454-45DC-8378-DA45B79D9A06}" dt="2020-10-02T13:04:36.728" v="5397" actId="790"/>
          <ac:spMkLst>
            <pc:docMk/>
            <pc:sldMk cId="2669007869" sldId="6993"/>
            <ac:spMk id="2" creationId="{6A44C8C8-2F36-450B-A067-045DF42C7170}"/>
          </ac:spMkLst>
        </pc:spChg>
        <pc:spChg chg="mod">
          <ac:chgData name="Ugo MANTEL" userId="2d5b7065-31bb-4181-a7f8-a73bf0c30211" providerId="ADAL" clId="{F05BB0D5-3454-45DC-8378-DA45B79D9A06}" dt="2020-10-02T13:04:36.729" v="5398" actId="790"/>
          <ac:spMkLst>
            <pc:docMk/>
            <pc:sldMk cId="2669007869" sldId="6993"/>
            <ac:spMk id="3" creationId="{59AD0D4C-52B6-4887-95DD-FD6DE794558F}"/>
          </ac:spMkLst>
        </pc:spChg>
        <pc:spChg chg="mod">
          <ac:chgData name="Ugo MANTEL" userId="2d5b7065-31bb-4181-a7f8-a73bf0c30211" providerId="ADAL" clId="{F05BB0D5-3454-45DC-8378-DA45B79D9A06}" dt="2020-10-02T13:04:36.732" v="5399" actId="790"/>
          <ac:spMkLst>
            <pc:docMk/>
            <pc:sldMk cId="2669007869" sldId="6993"/>
            <ac:spMk id="4" creationId="{F0A06676-82C0-4F43-87A1-A34EA0E8CFAF}"/>
          </ac:spMkLst>
        </pc:spChg>
        <pc:spChg chg="mod">
          <ac:chgData name="Ugo MANTEL" userId="2d5b7065-31bb-4181-a7f8-a73bf0c30211" providerId="ADAL" clId="{F05BB0D5-3454-45DC-8378-DA45B79D9A06}" dt="2020-10-02T13:04:36.733" v="5400" actId="790"/>
          <ac:spMkLst>
            <pc:docMk/>
            <pc:sldMk cId="2669007869" sldId="6993"/>
            <ac:spMk id="71" creationId="{2A230948-1EC9-463F-98FF-E0E458B9B00C}"/>
          </ac:spMkLst>
        </pc:spChg>
      </pc:sldChg>
      <pc:sldChg chg="addSp delSp modSp mod">
        <pc:chgData name="Ugo MANTEL" userId="2d5b7065-31bb-4181-a7f8-a73bf0c30211" providerId="ADAL" clId="{F05BB0D5-3454-45DC-8378-DA45B79D9A06}" dt="2020-10-05T13:56:55.141" v="9909" actId="2085"/>
        <pc:sldMkLst>
          <pc:docMk/>
          <pc:sldMk cId="2838286066" sldId="6995"/>
        </pc:sldMkLst>
        <pc:spChg chg="mod">
          <ac:chgData name="Ugo MANTEL" userId="2d5b7065-31bb-4181-a7f8-a73bf0c30211" providerId="ADAL" clId="{F05BB0D5-3454-45DC-8378-DA45B79D9A06}" dt="2020-10-02T09:20:45.080" v="161" actId="1076"/>
          <ac:spMkLst>
            <pc:docMk/>
            <pc:sldMk cId="2838286066" sldId="6995"/>
            <ac:spMk id="2" creationId="{995FD57F-6544-4618-B9A6-3391B4E6913A}"/>
          </ac:spMkLst>
        </pc:spChg>
        <pc:spChg chg="mod">
          <ac:chgData name="Ugo MANTEL" userId="2d5b7065-31bb-4181-a7f8-a73bf0c30211" providerId="ADAL" clId="{F05BB0D5-3454-45DC-8378-DA45B79D9A06}" dt="2020-10-02T13:04:38.022" v="5967" actId="790"/>
          <ac:spMkLst>
            <pc:docMk/>
            <pc:sldMk cId="2838286066" sldId="6995"/>
            <ac:spMk id="3" creationId="{130A723F-4D8B-40D5-A87C-4C1A87D5173A}"/>
          </ac:spMkLst>
        </pc:spChg>
        <pc:spChg chg="mod">
          <ac:chgData name="Ugo MANTEL" userId="2d5b7065-31bb-4181-a7f8-a73bf0c30211" providerId="ADAL" clId="{F05BB0D5-3454-45DC-8378-DA45B79D9A06}" dt="2020-10-05T13:23:52.931" v="9754" actId="20577"/>
          <ac:spMkLst>
            <pc:docMk/>
            <pc:sldMk cId="2838286066" sldId="6995"/>
            <ac:spMk id="4" creationId="{03AE7BBC-40ED-4E9B-B40A-C5E7D4BC9E16}"/>
          </ac:spMkLst>
        </pc:spChg>
        <pc:spChg chg="mod">
          <ac:chgData name="Ugo MANTEL" userId="2d5b7065-31bb-4181-a7f8-a73bf0c30211" providerId="ADAL" clId="{F05BB0D5-3454-45DC-8378-DA45B79D9A06}" dt="2020-10-05T13:49:28.625" v="9833" actId="20577"/>
          <ac:spMkLst>
            <pc:docMk/>
            <pc:sldMk cId="2838286066" sldId="6995"/>
            <ac:spMk id="5" creationId="{6D9258D7-7340-4D8A-95DA-B6AC917746BD}"/>
          </ac:spMkLst>
        </pc:spChg>
        <pc:spChg chg="mod">
          <ac:chgData name="Ugo MANTEL" userId="2d5b7065-31bb-4181-a7f8-a73bf0c30211" providerId="ADAL" clId="{F05BB0D5-3454-45DC-8378-DA45B79D9A06}" dt="2020-10-02T13:04:38.084" v="5986" actId="790"/>
          <ac:spMkLst>
            <pc:docMk/>
            <pc:sldMk cId="2838286066" sldId="6995"/>
            <ac:spMk id="6" creationId="{81CC9A1E-00B9-4F5D-92BF-73D82068FFAA}"/>
          </ac:spMkLst>
        </pc:spChg>
        <pc:spChg chg="mod">
          <ac:chgData name="Ugo MANTEL" userId="2d5b7065-31bb-4181-a7f8-a73bf0c30211" providerId="ADAL" clId="{F05BB0D5-3454-45DC-8378-DA45B79D9A06}" dt="2020-10-02T13:04:38.099" v="5993" actId="790"/>
          <ac:spMkLst>
            <pc:docMk/>
            <pc:sldMk cId="2838286066" sldId="6995"/>
            <ac:spMk id="9" creationId="{2F3F50B6-7C6C-4F71-A49B-E6576E7DB1A8}"/>
          </ac:spMkLst>
        </pc:spChg>
        <pc:spChg chg="del mod">
          <ac:chgData name="Ugo MANTEL" userId="2d5b7065-31bb-4181-a7f8-a73bf0c30211" providerId="ADAL" clId="{F05BB0D5-3454-45DC-8378-DA45B79D9A06}" dt="2020-10-05T13:25:38.329" v="9783" actId="478"/>
          <ac:spMkLst>
            <pc:docMk/>
            <pc:sldMk cId="2838286066" sldId="6995"/>
            <ac:spMk id="9" creationId="{444F0171-ACA9-48E5-A37C-EE87F0324EC1}"/>
          </ac:spMkLst>
        </pc:spChg>
        <pc:spChg chg="mod">
          <ac:chgData name="Ugo MANTEL" userId="2d5b7065-31bb-4181-a7f8-a73bf0c30211" providerId="ADAL" clId="{F05BB0D5-3454-45DC-8378-DA45B79D9A06}" dt="2020-10-05T13:28:20.645" v="9788" actId="1076"/>
          <ac:spMkLst>
            <pc:docMk/>
            <pc:sldMk cId="2838286066" sldId="6995"/>
            <ac:spMk id="10" creationId="{29674868-0EE8-4029-BD1C-94D99F1F86E9}"/>
          </ac:spMkLst>
        </pc:spChg>
        <pc:spChg chg="mod topLvl">
          <ac:chgData name="Ugo MANTEL" userId="2d5b7065-31bb-4181-a7f8-a73bf0c30211" providerId="ADAL" clId="{F05BB0D5-3454-45DC-8378-DA45B79D9A06}" dt="2020-10-05T13:55:51.593" v="9901" actId="1076"/>
          <ac:spMkLst>
            <pc:docMk/>
            <pc:sldMk cId="2838286066" sldId="6995"/>
            <ac:spMk id="13" creationId="{694C4C19-04E1-4F91-A6DD-A55644294499}"/>
          </ac:spMkLst>
        </pc:spChg>
        <pc:spChg chg="mod">
          <ac:chgData name="Ugo MANTEL" userId="2d5b7065-31bb-4181-a7f8-a73bf0c30211" providerId="ADAL" clId="{F05BB0D5-3454-45DC-8378-DA45B79D9A06}" dt="2020-10-02T13:04:38.026" v="5968" actId="790"/>
          <ac:spMkLst>
            <pc:docMk/>
            <pc:sldMk cId="2838286066" sldId="6995"/>
            <ac:spMk id="17" creationId="{E4732452-243E-4933-BDC3-632AC5C3AE71}"/>
          </ac:spMkLst>
        </pc:spChg>
        <pc:spChg chg="del mod">
          <ac:chgData name="Ugo MANTEL" userId="2d5b7065-31bb-4181-a7f8-a73bf0c30211" providerId="ADAL" clId="{F05BB0D5-3454-45DC-8378-DA45B79D9A06}" dt="2020-10-05T13:51:30.596" v="9840" actId="478"/>
          <ac:spMkLst>
            <pc:docMk/>
            <pc:sldMk cId="2838286066" sldId="6995"/>
            <ac:spMk id="18" creationId="{BC4D1E3D-9683-4F4B-924B-969775C99AB4}"/>
          </ac:spMkLst>
        </pc:spChg>
        <pc:spChg chg="add del">
          <ac:chgData name="Ugo MANTEL" userId="2d5b7065-31bb-4181-a7f8-a73bf0c30211" providerId="ADAL" clId="{F05BB0D5-3454-45DC-8378-DA45B79D9A06}" dt="2020-10-05T13:53:18.470" v="9847" actId="478"/>
          <ac:spMkLst>
            <pc:docMk/>
            <pc:sldMk cId="2838286066" sldId="6995"/>
            <ac:spMk id="26" creationId="{86657B4D-C674-4249-8094-FF05749B21FC}"/>
          </ac:spMkLst>
        </pc:spChg>
        <pc:spChg chg="mod">
          <ac:chgData name="Ugo MANTEL" userId="2d5b7065-31bb-4181-a7f8-a73bf0c30211" providerId="ADAL" clId="{F05BB0D5-3454-45DC-8378-DA45B79D9A06}" dt="2020-10-02T13:04:38.040" v="5974" actId="790"/>
          <ac:spMkLst>
            <pc:docMk/>
            <pc:sldMk cId="2838286066" sldId="6995"/>
            <ac:spMk id="27" creationId="{89A50E69-B7A7-4C78-986E-EF01E9DA772D}"/>
          </ac:spMkLst>
        </pc:spChg>
        <pc:spChg chg="add mod">
          <ac:chgData name="Ugo MANTEL" userId="2d5b7065-31bb-4181-a7f8-a73bf0c30211" providerId="ADAL" clId="{F05BB0D5-3454-45DC-8378-DA45B79D9A06}" dt="2020-10-05T13:55:35.640" v="9898" actId="1038"/>
          <ac:spMkLst>
            <pc:docMk/>
            <pc:sldMk cId="2838286066" sldId="6995"/>
            <ac:spMk id="28" creationId="{CD78E8D4-1303-410A-82C0-1D0E1C19AB0C}"/>
          </ac:spMkLst>
        </pc:spChg>
        <pc:spChg chg="mod">
          <ac:chgData name="Ugo MANTEL" userId="2d5b7065-31bb-4181-a7f8-a73bf0c30211" providerId="ADAL" clId="{F05BB0D5-3454-45DC-8378-DA45B79D9A06}" dt="2020-10-02T13:04:38.055" v="5975" actId="790"/>
          <ac:spMkLst>
            <pc:docMk/>
            <pc:sldMk cId="2838286066" sldId="6995"/>
            <ac:spMk id="33" creationId="{9E63C95D-1808-49DA-AF51-7A2B446970FD}"/>
          </ac:spMkLst>
        </pc:spChg>
        <pc:spChg chg="mod">
          <ac:chgData name="Ugo MANTEL" userId="2d5b7065-31bb-4181-a7f8-a73bf0c30211" providerId="ADAL" clId="{F05BB0D5-3454-45DC-8378-DA45B79D9A06}" dt="2020-10-02T13:04:38.028" v="5969" actId="790"/>
          <ac:spMkLst>
            <pc:docMk/>
            <pc:sldMk cId="2838286066" sldId="6995"/>
            <ac:spMk id="35" creationId="{1720AF01-B97E-4A96-A364-79B030B4EBFC}"/>
          </ac:spMkLst>
        </pc:spChg>
        <pc:spChg chg="mod">
          <ac:chgData name="Ugo MANTEL" userId="2d5b7065-31bb-4181-a7f8-a73bf0c30211" providerId="ADAL" clId="{F05BB0D5-3454-45DC-8378-DA45B79D9A06}" dt="2020-10-02T13:04:38.030" v="5970" actId="790"/>
          <ac:spMkLst>
            <pc:docMk/>
            <pc:sldMk cId="2838286066" sldId="6995"/>
            <ac:spMk id="36" creationId="{97557C2D-4F56-4EE3-AC28-A1968E4C6C6B}"/>
          </ac:spMkLst>
        </pc:spChg>
        <pc:spChg chg="mod">
          <ac:chgData name="Ugo MANTEL" userId="2d5b7065-31bb-4181-a7f8-a73bf0c30211" providerId="ADAL" clId="{F05BB0D5-3454-45DC-8378-DA45B79D9A06}" dt="2020-10-02T13:04:38.032" v="5971" actId="790"/>
          <ac:spMkLst>
            <pc:docMk/>
            <pc:sldMk cId="2838286066" sldId="6995"/>
            <ac:spMk id="37" creationId="{9F66E24E-1BDC-47EA-8BDD-B3C9A7CAA84F}"/>
          </ac:spMkLst>
        </pc:spChg>
        <pc:spChg chg="mod">
          <ac:chgData name="Ugo MANTEL" userId="2d5b7065-31bb-4181-a7f8-a73bf0c30211" providerId="ADAL" clId="{F05BB0D5-3454-45DC-8378-DA45B79D9A06}" dt="2020-10-02T13:04:38.035" v="5972" actId="790"/>
          <ac:spMkLst>
            <pc:docMk/>
            <pc:sldMk cId="2838286066" sldId="6995"/>
            <ac:spMk id="38" creationId="{6C2BA8BF-3D77-41F4-A732-8BDC82AFCDC9}"/>
          </ac:spMkLst>
        </pc:spChg>
        <pc:spChg chg="mod">
          <ac:chgData name="Ugo MANTEL" userId="2d5b7065-31bb-4181-a7f8-a73bf0c30211" providerId="ADAL" clId="{F05BB0D5-3454-45DC-8378-DA45B79D9A06}" dt="2020-10-02T13:04:38.038" v="5973" actId="790"/>
          <ac:spMkLst>
            <pc:docMk/>
            <pc:sldMk cId="2838286066" sldId="6995"/>
            <ac:spMk id="46" creationId="{E8A3F5A2-8705-4189-B6FF-A3D3ADC8A2D1}"/>
          </ac:spMkLst>
        </pc:spChg>
        <pc:spChg chg="del mod topLvl">
          <ac:chgData name="Ugo MANTEL" userId="2d5b7065-31bb-4181-a7f8-a73bf0c30211" providerId="ADAL" clId="{F05BB0D5-3454-45DC-8378-DA45B79D9A06}" dt="2020-10-05T13:51:28.267" v="9839" actId="478"/>
          <ac:spMkLst>
            <pc:docMk/>
            <pc:sldMk cId="2838286066" sldId="6995"/>
            <ac:spMk id="47" creationId="{DEAA47E5-C751-41D3-970D-0967FF70378E}"/>
          </ac:spMkLst>
        </pc:spChg>
        <pc:spChg chg="mod">
          <ac:chgData name="Ugo MANTEL" userId="2d5b7065-31bb-4181-a7f8-a73bf0c30211" providerId="ADAL" clId="{F05BB0D5-3454-45DC-8378-DA45B79D9A06}" dt="2020-10-02T13:04:38.057" v="5976" actId="790"/>
          <ac:spMkLst>
            <pc:docMk/>
            <pc:sldMk cId="2838286066" sldId="6995"/>
            <ac:spMk id="49" creationId="{8B30313C-9DBA-48D7-98E0-5EA7D6DEC7CA}"/>
          </ac:spMkLst>
        </pc:spChg>
        <pc:spChg chg="mod">
          <ac:chgData name="Ugo MANTEL" userId="2d5b7065-31bb-4181-a7f8-a73bf0c30211" providerId="ADAL" clId="{F05BB0D5-3454-45DC-8378-DA45B79D9A06}" dt="2020-10-02T13:04:38.059" v="5977" actId="790"/>
          <ac:spMkLst>
            <pc:docMk/>
            <pc:sldMk cId="2838286066" sldId="6995"/>
            <ac:spMk id="50" creationId="{5AFA1066-3589-4B65-BA74-4624E32C0CBA}"/>
          </ac:spMkLst>
        </pc:spChg>
        <pc:spChg chg="mod">
          <ac:chgData name="Ugo MANTEL" userId="2d5b7065-31bb-4181-a7f8-a73bf0c30211" providerId="ADAL" clId="{F05BB0D5-3454-45DC-8378-DA45B79D9A06}" dt="2020-10-02T13:04:38.061" v="5978" actId="790"/>
          <ac:spMkLst>
            <pc:docMk/>
            <pc:sldMk cId="2838286066" sldId="6995"/>
            <ac:spMk id="52" creationId="{585CF0D3-C2BB-488A-810D-6EC3019C3A45}"/>
          </ac:spMkLst>
        </pc:spChg>
        <pc:spChg chg="mod">
          <ac:chgData name="Ugo MANTEL" userId="2d5b7065-31bb-4181-a7f8-a73bf0c30211" providerId="ADAL" clId="{F05BB0D5-3454-45DC-8378-DA45B79D9A06}" dt="2020-10-02T13:04:38.063" v="5979" actId="790"/>
          <ac:spMkLst>
            <pc:docMk/>
            <pc:sldMk cId="2838286066" sldId="6995"/>
            <ac:spMk id="53" creationId="{46646A08-8E04-44A2-B3FD-0F180B6AF5B4}"/>
          </ac:spMkLst>
        </pc:spChg>
        <pc:spChg chg="mod">
          <ac:chgData name="Ugo MANTEL" userId="2d5b7065-31bb-4181-a7f8-a73bf0c30211" providerId="ADAL" clId="{F05BB0D5-3454-45DC-8378-DA45B79D9A06}" dt="2020-10-02T13:04:38.105" v="5994" actId="790"/>
          <ac:spMkLst>
            <pc:docMk/>
            <pc:sldMk cId="2838286066" sldId="6995"/>
            <ac:spMk id="54" creationId="{687C6B1D-964F-48A7-B779-D31B3B439767}"/>
          </ac:spMkLst>
        </pc:spChg>
        <pc:spChg chg="mod">
          <ac:chgData name="Ugo MANTEL" userId="2d5b7065-31bb-4181-a7f8-a73bf0c30211" providerId="ADAL" clId="{F05BB0D5-3454-45DC-8378-DA45B79D9A06}" dt="2020-10-05T13:24:10.056" v="9758" actId="20577"/>
          <ac:spMkLst>
            <pc:docMk/>
            <pc:sldMk cId="2838286066" sldId="6995"/>
            <ac:spMk id="55" creationId="{E1031151-A381-4D0C-B232-A64F9423DA4E}"/>
          </ac:spMkLst>
        </pc:spChg>
        <pc:spChg chg="mod">
          <ac:chgData name="Ugo MANTEL" userId="2d5b7065-31bb-4181-a7f8-a73bf0c30211" providerId="ADAL" clId="{F05BB0D5-3454-45DC-8378-DA45B79D9A06}" dt="2020-10-05T13:24:50.424" v="9774" actId="20577"/>
          <ac:spMkLst>
            <pc:docMk/>
            <pc:sldMk cId="2838286066" sldId="6995"/>
            <ac:spMk id="56" creationId="{3EB84117-2BD1-41F3-AB66-B05C63C517E1}"/>
          </ac:spMkLst>
        </pc:spChg>
        <pc:spChg chg="mod">
          <ac:chgData name="Ugo MANTEL" userId="2d5b7065-31bb-4181-a7f8-a73bf0c30211" providerId="ADAL" clId="{F05BB0D5-3454-45DC-8378-DA45B79D9A06}" dt="2020-10-05T13:24:54.631" v="9778" actId="20577"/>
          <ac:spMkLst>
            <pc:docMk/>
            <pc:sldMk cId="2838286066" sldId="6995"/>
            <ac:spMk id="57" creationId="{D38D7D4E-014E-48CA-B224-CB37C3C226B3}"/>
          </ac:spMkLst>
        </pc:spChg>
        <pc:spChg chg="mod">
          <ac:chgData name="Ugo MANTEL" userId="2d5b7065-31bb-4181-a7f8-a73bf0c30211" providerId="ADAL" clId="{F05BB0D5-3454-45DC-8378-DA45B79D9A06}" dt="2020-10-05T13:24:58.107" v="9782" actId="20577"/>
          <ac:spMkLst>
            <pc:docMk/>
            <pc:sldMk cId="2838286066" sldId="6995"/>
            <ac:spMk id="58" creationId="{45565FB7-2EC0-40E9-A3DF-5A779EDB823E}"/>
          </ac:spMkLst>
        </pc:spChg>
        <pc:spChg chg="mod">
          <ac:chgData name="Ugo MANTEL" userId="2d5b7065-31bb-4181-a7f8-a73bf0c30211" providerId="ADAL" clId="{F05BB0D5-3454-45DC-8378-DA45B79D9A06}" dt="2020-10-02T13:04:38.108" v="5995" actId="790"/>
          <ac:spMkLst>
            <pc:docMk/>
            <pc:sldMk cId="2838286066" sldId="6995"/>
            <ac:spMk id="59" creationId="{233B2146-6AF6-459D-8D77-A0AC1C0EFA42}"/>
          </ac:spMkLst>
        </pc:spChg>
        <pc:spChg chg="add mod">
          <ac:chgData name="Ugo MANTEL" userId="2d5b7065-31bb-4181-a7f8-a73bf0c30211" providerId="ADAL" clId="{F05BB0D5-3454-45DC-8378-DA45B79D9A06}" dt="2020-10-05T13:16:45.658" v="9733" actId="12788"/>
          <ac:spMkLst>
            <pc:docMk/>
            <pc:sldMk cId="2838286066" sldId="6995"/>
            <ac:spMk id="59" creationId="{8AE17340-2E8C-4536-86F8-34454B02EC5B}"/>
          </ac:spMkLst>
        </pc:spChg>
        <pc:spChg chg="mod">
          <ac:chgData name="Ugo MANTEL" userId="2d5b7065-31bb-4181-a7f8-a73bf0c30211" providerId="ADAL" clId="{F05BB0D5-3454-45DC-8378-DA45B79D9A06}" dt="2020-10-02T13:04:38.110" v="5996" actId="790"/>
          <ac:spMkLst>
            <pc:docMk/>
            <pc:sldMk cId="2838286066" sldId="6995"/>
            <ac:spMk id="60" creationId="{F401BD09-3346-486E-821A-85AABF891840}"/>
          </ac:spMkLst>
        </pc:spChg>
        <pc:spChg chg="mod">
          <ac:chgData name="Ugo MANTEL" userId="2d5b7065-31bb-4181-a7f8-a73bf0c30211" providerId="ADAL" clId="{F05BB0D5-3454-45DC-8378-DA45B79D9A06}" dt="2020-10-05T13:16:52.753" v="9736" actId="20577"/>
          <ac:spMkLst>
            <pc:docMk/>
            <pc:sldMk cId="2838286066" sldId="6995"/>
            <ac:spMk id="62" creationId="{5CEAACA1-D312-4F02-B82D-53BF47DABF9D}"/>
          </ac:spMkLst>
        </pc:spChg>
        <pc:spChg chg="add mod">
          <ac:chgData name="Ugo MANTEL" userId="2d5b7065-31bb-4181-a7f8-a73bf0c30211" providerId="ADAL" clId="{F05BB0D5-3454-45DC-8378-DA45B79D9A06}" dt="2020-10-05T13:18:03.917" v="9750" actId="20577"/>
          <ac:spMkLst>
            <pc:docMk/>
            <pc:sldMk cId="2838286066" sldId="6995"/>
            <ac:spMk id="64" creationId="{B9B63693-12EC-4EF3-80F2-A2778DCE8487}"/>
          </ac:spMkLst>
        </pc:spChg>
        <pc:spChg chg="add del mod topLvl">
          <ac:chgData name="Ugo MANTEL" userId="2d5b7065-31bb-4181-a7f8-a73bf0c30211" providerId="ADAL" clId="{F05BB0D5-3454-45DC-8378-DA45B79D9A06}" dt="2020-10-05T13:51:26.127" v="9837" actId="478"/>
          <ac:spMkLst>
            <pc:docMk/>
            <pc:sldMk cId="2838286066" sldId="6995"/>
            <ac:spMk id="65" creationId="{B8064BC1-9DE1-4A56-9B77-B4FF63CDC3C8}"/>
          </ac:spMkLst>
        </pc:spChg>
        <pc:spChg chg="add mod topLvl">
          <ac:chgData name="Ugo MANTEL" userId="2d5b7065-31bb-4181-a7f8-a73bf0c30211" providerId="ADAL" clId="{F05BB0D5-3454-45DC-8378-DA45B79D9A06}" dt="2020-10-05T13:56:55.141" v="9909" actId="2085"/>
          <ac:spMkLst>
            <pc:docMk/>
            <pc:sldMk cId="2838286066" sldId="6995"/>
            <ac:spMk id="66" creationId="{5495D559-5AD5-4BB7-8F14-0A0F57C38508}"/>
          </ac:spMkLst>
        </pc:spChg>
        <pc:spChg chg="del mod topLvl">
          <ac:chgData name="Ugo MANTEL" userId="2d5b7065-31bb-4181-a7f8-a73bf0c30211" providerId="ADAL" clId="{F05BB0D5-3454-45DC-8378-DA45B79D9A06}" dt="2020-10-05T13:51:27.521" v="9838" actId="478"/>
          <ac:spMkLst>
            <pc:docMk/>
            <pc:sldMk cId="2838286066" sldId="6995"/>
            <ac:spMk id="67" creationId="{7C9B0F8C-595C-45F1-8260-384F42A043F7}"/>
          </ac:spMkLst>
        </pc:spChg>
        <pc:spChg chg="mod topLvl">
          <ac:chgData name="Ugo MANTEL" userId="2d5b7065-31bb-4181-a7f8-a73bf0c30211" providerId="ADAL" clId="{F05BB0D5-3454-45DC-8378-DA45B79D9A06}" dt="2020-10-05T13:56:25.764" v="9905" actId="12789"/>
          <ac:spMkLst>
            <pc:docMk/>
            <pc:sldMk cId="2838286066" sldId="6995"/>
            <ac:spMk id="68" creationId="{FF288548-CDB1-446F-8A56-991904D556E0}"/>
          </ac:spMkLst>
        </pc:spChg>
        <pc:spChg chg="mod">
          <ac:chgData name="Ugo MANTEL" userId="2d5b7065-31bb-4181-a7f8-a73bf0c30211" providerId="ADAL" clId="{F05BB0D5-3454-45DC-8378-DA45B79D9A06}" dt="2020-10-02T13:04:38.081" v="5985" actId="790"/>
          <ac:spMkLst>
            <pc:docMk/>
            <pc:sldMk cId="2838286066" sldId="6995"/>
            <ac:spMk id="69" creationId="{495C44C9-E739-4255-B4DB-FE60DB6E2D87}"/>
          </ac:spMkLst>
        </pc:spChg>
        <pc:spChg chg="add mod">
          <ac:chgData name="Ugo MANTEL" userId="2d5b7065-31bb-4181-a7f8-a73bf0c30211" providerId="ADAL" clId="{F05BB0D5-3454-45DC-8378-DA45B79D9A06}" dt="2020-10-05T13:56:50.451" v="9908" actId="208"/>
          <ac:spMkLst>
            <pc:docMk/>
            <pc:sldMk cId="2838286066" sldId="6995"/>
            <ac:spMk id="70" creationId="{5101C598-A771-49C2-B608-E0E80A510A2C}"/>
          </ac:spMkLst>
        </pc:spChg>
        <pc:spChg chg="add mod">
          <ac:chgData name="Ugo MANTEL" userId="2d5b7065-31bb-4181-a7f8-a73bf0c30211" providerId="ADAL" clId="{F05BB0D5-3454-45DC-8378-DA45B79D9A06}" dt="2020-10-05T13:56:36.732" v="9906" actId="14100"/>
          <ac:spMkLst>
            <pc:docMk/>
            <pc:sldMk cId="2838286066" sldId="6995"/>
            <ac:spMk id="71" creationId="{8357F281-3F7E-4C39-B00F-4A89502A2959}"/>
          </ac:spMkLst>
        </pc:spChg>
        <pc:grpChg chg="mod">
          <ac:chgData name="Ugo MANTEL" userId="2d5b7065-31bb-4181-a7f8-a73bf0c30211" providerId="ADAL" clId="{F05BB0D5-3454-45DC-8378-DA45B79D9A06}" dt="2020-10-05T13:24:40.414" v="9770" actId="14100"/>
          <ac:grpSpMkLst>
            <pc:docMk/>
            <pc:sldMk cId="2838286066" sldId="6995"/>
            <ac:grpSpMk id="7" creationId="{1880F187-B3CC-4486-BA7B-CBFC06AC4B7B}"/>
          </ac:grpSpMkLst>
        </pc:grpChg>
        <pc:grpChg chg="add del mod">
          <ac:chgData name="Ugo MANTEL" userId="2d5b7065-31bb-4181-a7f8-a73bf0c30211" providerId="ADAL" clId="{F05BB0D5-3454-45DC-8378-DA45B79D9A06}" dt="2020-10-05T13:51:16.033" v="9835" actId="165"/>
          <ac:grpSpMkLst>
            <pc:docMk/>
            <pc:sldMk cId="2838286066" sldId="6995"/>
            <ac:grpSpMk id="23" creationId="{1199B92A-3A2D-4043-AD94-18BAC586FC87}"/>
          </ac:grpSpMkLst>
        </pc:grpChg>
        <pc:grpChg chg="add del mod">
          <ac:chgData name="Ugo MANTEL" userId="2d5b7065-31bb-4181-a7f8-a73bf0c30211" providerId="ADAL" clId="{F05BB0D5-3454-45DC-8378-DA45B79D9A06}" dt="2020-10-05T13:49:08.364" v="9831" actId="165"/>
          <ac:grpSpMkLst>
            <pc:docMk/>
            <pc:sldMk cId="2838286066" sldId="6995"/>
            <ac:grpSpMk id="24" creationId="{4BA80BA6-B7DD-4639-A7D2-F7D4220C50EF}"/>
          </ac:grpSpMkLst>
        </pc:grpChg>
        <pc:grpChg chg="add del">
          <ac:chgData name="Ugo MANTEL" userId="2d5b7065-31bb-4181-a7f8-a73bf0c30211" providerId="ADAL" clId="{F05BB0D5-3454-45DC-8378-DA45B79D9A06}" dt="2020-10-05T13:51:18.721" v="9836" actId="165"/>
          <ac:grpSpMkLst>
            <pc:docMk/>
            <pc:sldMk cId="2838286066" sldId="6995"/>
            <ac:grpSpMk id="25" creationId="{9309705A-EA55-4EE6-8A40-5B4E8B46CB91}"/>
          </ac:grpSpMkLst>
        </pc:grpChg>
        <pc:graphicFrameChg chg="mod">
          <ac:chgData name="Ugo MANTEL" userId="2d5b7065-31bb-4181-a7f8-a73bf0c30211" providerId="ADAL" clId="{F05BB0D5-3454-45DC-8378-DA45B79D9A06}" dt="2020-10-05T13:52:16.113" v="9845"/>
          <ac:graphicFrameMkLst>
            <pc:docMk/>
            <pc:sldMk cId="2838286066" sldId="6995"/>
            <ac:graphicFrameMk id="11" creationId="{373E9F32-3508-4699-B95C-446417612343}"/>
          </ac:graphicFrameMkLst>
        </pc:graphicFrameChg>
        <pc:cxnChg chg="add mod">
          <ac:chgData name="Ugo MANTEL" userId="2d5b7065-31bb-4181-a7f8-a73bf0c30211" providerId="ADAL" clId="{F05BB0D5-3454-45DC-8378-DA45B79D9A06}" dt="2020-10-05T13:16:45.658" v="9733" actId="12788"/>
          <ac:cxnSpMkLst>
            <pc:docMk/>
            <pc:sldMk cId="2838286066" sldId="6995"/>
            <ac:cxnSpMk id="54" creationId="{7F2056BD-A912-4AA3-A701-E8550CEA1D5A}"/>
          </ac:cxnSpMkLst>
        </pc:cxnChg>
        <pc:cxnChg chg="add mod">
          <ac:chgData name="Ugo MANTEL" userId="2d5b7065-31bb-4181-a7f8-a73bf0c30211" providerId="ADAL" clId="{F05BB0D5-3454-45DC-8378-DA45B79D9A06}" dt="2020-10-05T13:17:45.149" v="9742" actId="14100"/>
          <ac:cxnSpMkLst>
            <pc:docMk/>
            <pc:sldMk cId="2838286066" sldId="6995"/>
            <ac:cxnSpMk id="60" creationId="{9BA747DD-A032-431F-917B-4264B0406881}"/>
          </ac:cxnSpMkLst>
        </pc:cxnChg>
        <pc:cxnChg chg="mod">
          <ac:chgData name="Ugo MANTEL" userId="2d5b7065-31bb-4181-a7f8-a73bf0c30211" providerId="ADAL" clId="{F05BB0D5-3454-45DC-8378-DA45B79D9A06}" dt="2020-10-05T13:14:41.208" v="9706" actId="14100"/>
          <ac:cxnSpMkLst>
            <pc:docMk/>
            <pc:sldMk cId="2838286066" sldId="6995"/>
            <ac:cxnSpMk id="61" creationId="{1694DDFC-ACE1-4662-A65C-B07252C508C8}"/>
          </ac:cxnSpMkLst>
        </pc:cxnChg>
        <pc:cxnChg chg="add mod">
          <ac:chgData name="Ugo MANTEL" userId="2d5b7065-31bb-4181-a7f8-a73bf0c30211" providerId="ADAL" clId="{F05BB0D5-3454-45DC-8378-DA45B79D9A06}" dt="2020-10-05T13:17:39.556" v="9741" actId="1076"/>
          <ac:cxnSpMkLst>
            <pc:docMk/>
            <pc:sldMk cId="2838286066" sldId="6995"/>
            <ac:cxnSpMk id="63" creationId="{C6DE7397-28FC-4C03-88E2-1636A7C6ECF8}"/>
          </ac:cxnSpMkLst>
        </pc:cxnChg>
      </pc:sldChg>
      <pc:sldChg chg="modSp mod">
        <pc:chgData name="Ugo MANTEL" userId="2d5b7065-31bb-4181-a7f8-a73bf0c30211" providerId="ADAL" clId="{F05BB0D5-3454-45DC-8378-DA45B79D9A06}" dt="2020-10-02T13:04:32.251" v="1147" actId="790"/>
        <pc:sldMkLst>
          <pc:docMk/>
          <pc:sldMk cId="104034165" sldId="6997"/>
        </pc:sldMkLst>
        <pc:spChg chg="mod">
          <ac:chgData name="Ugo MANTEL" userId="2d5b7065-31bb-4181-a7f8-a73bf0c30211" providerId="ADAL" clId="{F05BB0D5-3454-45DC-8378-DA45B79D9A06}" dt="2020-10-02T13:04:32.202" v="1106" actId="790"/>
          <ac:spMkLst>
            <pc:docMk/>
            <pc:sldMk cId="104034165" sldId="6997"/>
            <ac:spMk id="3" creationId="{CDF6068E-6FF4-45E2-848E-3107DADC832E}"/>
          </ac:spMkLst>
        </pc:spChg>
        <pc:spChg chg="mod">
          <ac:chgData name="Ugo MANTEL" userId="2d5b7065-31bb-4181-a7f8-a73bf0c30211" providerId="ADAL" clId="{F05BB0D5-3454-45DC-8378-DA45B79D9A06}" dt="2020-10-02T13:04:32.251" v="1147" actId="790"/>
          <ac:spMkLst>
            <pc:docMk/>
            <pc:sldMk cId="104034165" sldId="6997"/>
            <ac:spMk id="7" creationId="{1FA03A31-0DE6-4874-B1D7-F5BE1EDB10DD}"/>
          </ac:spMkLst>
        </pc:spChg>
        <pc:spChg chg="mod">
          <ac:chgData name="Ugo MANTEL" userId="2d5b7065-31bb-4181-a7f8-a73bf0c30211" providerId="ADAL" clId="{F05BB0D5-3454-45DC-8378-DA45B79D9A06}" dt="2020-10-02T13:04:32.197" v="1104" actId="790"/>
          <ac:spMkLst>
            <pc:docMk/>
            <pc:sldMk cId="104034165" sldId="6997"/>
            <ac:spMk id="8" creationId="{0DA3D0BC-DA7E-4962-A114-29DB29712CF8}"/>
          </ac:spMkLst>
        </pc:spChg>
        <pc:spChg chg="mod">
          <ac:chgData name="Ugo MANTEL" userId="2d5b7065-31bb-4181-a7f8-a73bf0c30211" providerId="ADAL" clId="{F05BB0D5-3454-45DC-8378-DA45B79D9A06}" dt="2020-10-02T13:04:32.203" v="1107" actId="790"/>
          <ac:spMkLst>
            <pc:docMk/>
            <pc:sldMk cId="104034165" sldId="6997"/>
            <ac:spMk id="13" creationId="{AF62AA6B-1731-4411-B315-DEB7B769EDEC}"/>
          </ac:spMkLst>
        </pc:spChg>
        <pc:spChg chg="mod">
          <ac:chgData name="Ugo MANTEL" userId="2d5b7065-31bb-4181-a7f8-a73bf0c30211" providerId="ADAL" clId="{F05BB0D5-3454-45DC-8378-DA45B79D9A06}" dt="2020-10-02T13:04:32.203" v="1108" actId="790"/>
          <ac:spMkLst>
            <pc:docMk/>
            <pc:sldMk cId="104034165" sldId="6997"/>
            <ac:spMk id="16" creationId="{58D6EB86-2D67-4B64-AD63-2798CC3D91F8}"/>
          </ac:spMkLst>
        </pc:spChg>
        <pc:spChg chg="mod">
          <ac:chgData name="Ugo MANTEL" userId="2d5b7065-31bb-4181-a7f8-a73bf0c30211" providerId="ADAL" clId="{F05BB0D5-3454-45DC-8378-DA45B79D9A06}" dt="2020-10-02T13:04:32.204" v="1109" actId="790"/>
          <ac:spMkLst>
            <pc:docMk/>
            <pc:sldMk cId="104034165" sldId="6997"/>
            <ac:spMk id="19" creationId="{FD3848EB-4442-48D1-85DA-EC9CA2740676}"/>
          </ac:spMkLst>
        </pc:spChg>
        <pc:spChg chg="mod">
          <ac:chgData name="Ugo MANTEL" userId="2d5b7065-31bb-4181-a7f8-a73bf0c30211" providerId="ADAL" clId="{F05BB0D5-3454-45DC-8378-DA45B79D9A06}" dt="2020-10-02T13:04:32.213" v="1115" actId="790"/>
          <ac:spMkLst>
            <pc:docMk/>
            <pc:sldMk cId="104034165" sldId="6997"/>
            <ac:spMk id="23" creationId="{3B096EC3-A9D6-417D-98B2-003E2B99FD2D}"/>
          </ac:spMkLst>
        </pc:spChg>
        <pc:spChg chg="mod">
          <ac:chgData name="Ugo MANTEL" userId="2d5b7065-31bb-4181-a7f8-a73bf0c30211" providerId="ADAL" clId="{F05BB0D5-3454-45DC-8378-DA45B79D9A06}" dt="2020-10-02T13:04:32.207" v="1110" actId="790"/>
          <ac:spMkLst>
            <pc:docMk/>
            <pc:sldMk cId="104034165" sldId="6997"/>
            <ac:spMk id="26" creationId="{03EB0B39-D44D-4B19-8751-410B622C1472}"/>
          </ac:spMkLst>
        </pc:spChg>
        <pc:spChg chg="mod">
          <ac:chgData name="Ugo MANTEL" userId="2d5b7065-31bb-4181-a7f8-a73bf0c30211" providerId="ADAL" clId="{F05BB0D5-3454-45DC-8378-DA45B79D9A06}" dt="2020-10-02T13:04:32.214" v="1116" actId="790"/>
          <ac:spMkLst>
            <pc:docMk/>
            <pc:sldMk cId="104034165" sldId="6997"/>
            <ac:spMk id="27" creationId="{C093899E-92DB-4E98-82B0-ADF8880B1A64}"/>
          </ac:spMkLst>
        </pc:spChg>
        <pc:spChg chg="mod">
          <ac:chgData name="Ugo MANTEL" userId="2d5b7065-31bb-4181-a7f8-a73bf0c30211" providerId="ADAL" clId="{F05BB0D5-3454-45DC-8378-DA45B79D9A06}" dt="2020-10-02T13:04:32.208" v="1111" actId="790"/>
          <ac:spMkLst>
            <pc:docMk/>
            <pc:sldMk cId="104034165" sldId="6997"/>
            <ac:spMk id="28" creationId="{F4C3BD8E-0427-48E7-9292-26A279C2E22C}"/>
          </ac:spMkLst>
        </pc:spChg>
        <pc:spChg chg="mod">
          <ac:chgData name="Ugo MANTEL" userId="2d5b7065-31bb-4181-a7f8-a73bf0c30211" providerId="ADAL" clId="{F05BB0D5-3454-45DC-8378-DA45B79D9A06}" dt="2020-10-02T13:04:32.209" v="1112" actId="790"/>
          <ac:spMkLst>
            <pc:docMk/>
            <pc:sldMk cId="104034165" sldId="6997"/>
            <ac:spMk id="29" creationId="{E28E2BA2-B193-4A4E-BF2C-E9D8477F7C9F}"/>
          </ac:spMkLst>
        </pc:spChg>
        <pc:spChg chg="mod">
          <ac:chgData name="Ugo MANTEL" userId="2d5b7065-31bb-4181-a7f8-a73bf0c30211" providerId="ADAL" clId="{F05BB0D5-3454-45DC-8378-DA45B79D9A06}" dt="2020-10-02T13:04:32.212" v="1113" actId="790"/>
          <ac:spMkLst>
            <pc:docMk/>
            <pc:sldMk cId="104034165" sldId="6997"/>
            <ac:spMk id="30" creationId="{DB4EE7E7-42E4-4AE5-817E-56FA2779C81A}"/>
          </ac:spMkLst>
        </pc:spChg>
        <pc:spChg chg="mod">
          <ac:chgData name="Ugo MANTEL" userId="2d5b7065-31bb-4181-a7f8-a73bf0c30211" providerId="ADAL" clId="{F05BB0D5-3454-45DC-8378-DA45B79D9A06}" dt="2020-10-02T13:04:32.213" v="1114" actId="790"/>
          <ac:spMkLst>
            <pc:docMk/>
            <pc:sldMk cId="104034165" sldId="6997"/>
            <ac:spMk id="31" creationId="{60D4BBEE-FC1B-426E-9DA7-36504E5032F8}"/>
          </ac:spMkLst>
        </pc:spChg>
        <pc:spChg chg="mod">
          <ac:chgData name="Ugo MANTEL" userId="2d5b7065-31bb-4181-a7f8-a73bf0c30211" providerId="ADAL" clId="{F05BB0D5-3454-45DC-8378-DA45B79D9A06}" dt="2020-10-02T13:04:32.200" v="1105" actId="790"/>
          <ac:spMkLst>
            <pc:docMk/>
            <pc:sldMk cId="104034165" sldId="6997"/>
            <ac:spMk id="32" creationId="{6A5B054F-3A9E-415F-BBCB-5A046CB2869B}"/>
          </ac:spMkLst>
        </pc:spChg>
        <pc:spChg chg="mod">
          <ac:chgData name="Ugo MANTEL" userId="2d5b7065-31bb-4181-a7f8-a73bf0c30211" providerId="ADAL" clId="{F05BB0D5-3454-45DC-8378-DA45B79D9A06}" dt="2020-10-02T13:04:32.214" v="1117" actId="790"/>
          <ac:spMkLst>
            <pc:docMk/>
            <pc:sldMk cId="104034165" sldId="6997"/>
            <ac:spMk id="35" creationId="{12C9DEC7-5089-46A3-A48D-D760B2BAC719}"/>
          </ac:spMkLst>
        </pc:spChg>
        <pc:spChg chg="mod">
          <ac:chgData name="Ugo MANTEL" userId="2d5b7065-31bb-4181-a7f8-a73bf0c30211" providerId="ADAL" clId="{F05BB0D5-3454-45DC-8378-DA45B79D9A06}" dt="2020-10-02T13:04:32.215" v="1118" actId="790"/>
          <ac:spMkLst>
            <pc:docMk/>
            <pc:sldMk cId="104034165" sldId="6997"/>
            <ac:spMk id="36" creationId="{9FEF5B2E-0930-427F-AAFB-53631B87FE9C}"/>
          </ac:spMkLst>
        </pc:spChg>
        <pc:spChg chg="mod">
          <ac:chgData name="Ugo MANTEL" userId="2d5b7065-31bb-4181-a7f8-a73bf0c30211" providerId="ADAL" clId="{F05BB0D5-3454-45DC-8378-DA45B79D9A06}" dt="2020-10-02T13:04:32.216" v="1119" actId="790"/>
          <ac:spMkLst>
            <pc:docMk/>
            <pc:sldMk cId="104034165" sldId="6997"/>
            <ac:spMk id="37" creationId="{22BCF2C5-0A7A-46BF-8AEC-7E2535A2E13D}"/>
          </ac:spMkLst>
        </pc:spChg>
        <pc:spChg chg="mod">
          <ac:chgData name="Ugo MANTEL" userId="2d5b7065-31bb-4181-a7f8-a73bf0c30211" providerId="ADAL" clId="{F05BB0D5-3454-45DC-8378-DA45B79D9A06}" dt="2020-10-02T13:04:32.219" v="1120" actId="790"/>
          <ac:spMkLst>
            <pc:docMk/>
            <pc:sldMk cId="104034165" sldId="6997"/>
            <ac:spMk id="38" creationId="{90C03955-55FC-4B12-941A-2C938355FDB5}"/>
          </ac:spMkLst>
        </pc:spChg>
        <pc:spChg chg="mod">
          <ac:chgData name="Ugo MANTEL" userId="2d5b7065-31bb-4181-a7f8-a73bf0c30211" providerId="ADAL" clId="{F05BB0D5-3454-45DC-8378-DA45B79D9A06}" dt="2020-10-02T13:04:32.221" v="1121" actId="790"/>
          <ac:spMkLst>
            <pc:docMk/>
            <pc:sldMk cId="104034165" sldId="6997"/>
            <ac:spMk id="39" creationId="{8EB248E9-CE81-4433-9A18-8CB1954101B3}"/>
          </ac:spMkLst>
        </pc:spChg>
        <pc:spChg chg="mod">
          <ac:chgData name="Ugo MANTEL" userId="2d5b7065-31bb-4181-a7f8-a73bf0c30211" providerId="ADAL" clId="{F05BB0D5-3454-45DC-8378-DA45B79D9A06}" dt="2020-10-02T13:04:32.222" v="1122" actId="790"/>
          <ac:spMkLst>
            <pc:docMk/>
            <pc:sldMk cId="104034165" sldId="6997"/>
            <ac:spMk id="40" creationId="{7B248246-45D7-483C-90C3-2FBCA82F8975}"/>
          </ac:spMkLst>
        </pc:spChg>
        <pc:spChg chg="mod">
          <ac:chgData name="Ugo MANTEL" userId="2d5b7065-31bb-4181-a7f8-a73bf0c30211" providerId="ADAL" clId="{F05BB0D5-3454-45DC-8378-DA45B79D9A06}" dt="2020-10-02T13:04:32.231" v="1123" actId="790"/>
          <ac:spMkLst>
            <pc:docMk/>
            <pc:sldMk cId="104034165" sldId="6997"/>
            <ac:spMk id="42" creationId="{90FB813A-34C3-4737-AAA2-22847CB895B2}"/>
          </ac:spMkLst>
        </pc:spChg>
        <pc:spChg chg="mod">
          <ac:chgData name="Ugo MANTEL" userId="2d5b7065-31bb-4181-a7f8-a73bf0c30211" providerId="ADAL" clId="{F05BB0D5-3454-45DC-8378-DA45B79D9A06}" dt="2020-10-02T13:04:32.233" v="1125" actId="790"/>
          <ac:spMkLst>
            <pc:docMk/>
            <pc:sldMk cId="104034165" sldId="6997"/>
            <ac:spMk id="51" creationId="{CB765A61-4854-4F1F-9173-AE6293407662}"/>
          </ac:spMkLst>
        </pc:spChg>
        <pc:spChg chg="mod">
          <ac:chgData name="Ugo MANTEL" userId="2d5b7065-31bb-4181-a7f8-a73bf0c30211" providerId="ADAL" clId="{F05BB0D5-3454-45DC-8378-DA45B79D9A06}" dt="2020-10-02T13:04:32.234" v="1126" actId="790"/>
          <ac:spMkLst>
            <pc:docMk/>
            <pc:sldMk cId="104034165" sldId="6997"/>
            <ac:spMk id="52" creationId="{587CEBCA-42CD-47CE-8D2E-353005ED572A}"/>
          </ac:spMkLst>
        </pc:spChg>
        <pc:spChg chg="mod">
          <ac:chgData name="Ugo MANTEL" userId="2d5b7065-31bb-4181-a7f8-a73bf0c30211" providerId="ADAL" clId="{F05BB0D5-3454-45DC-8378-DA45B79D9A06}" dt="2020-10-02T13:04:32.235" v="1127" actId="790"/>
          <ac:spMkLst>
            <pc:docMk/>
            <pc:sldMk cId="104034165" sldId="6997"/>
            <ac:spMk id="55" creationId="{42F0C7DB-4719-4E09-996D-20FA1D2930B7}"/>
          </ac:spMkLst>
        </pc:spChg>
        <pc:spChg chg="mod">
          <ac:chgData name="Ugo MANTEL" userId="2d5b7065-31bb-4181-a7f8-a73bf0c30211" providerId="ADAL" clId="{F05BB0D5-3454-45DC-8378-DA45B79D9A06}" dt="2020-10-02T13:04:32.236" v="1128" actId="790"/>
          <ac:spMkLst>
            <pc:docMk/>
            <pc:sldMk cId="104034165" sldId="6997"/>
            <ac:spMk id="57" creationId="{721BBA77-6243-447F-8ED0-9615C5F8F239}"/>
          </ac:spMkLst>
        </pc:spChg>
        <pc:spChg chg="mod">
          <ac:chgData name="Ugo MANTEL" userId="2d5b7065-31bb-4181-a7f8-a73bf0c30211" providerId="ADAL" clId="{F05BB0D5-3454-45DC-8378-DA45B79D9A06}" dt="2020-10-02T13:04:32.237" v="1129" actId="790"/>
          <ac:spMkLst>
            <pc:docMk/>
            <pc:sldMk cId="104034165" sldId="6997"/>
            <ac:spMk id="60" creationId="{3623AA9C-44A0-48B8-9020-AC1DC27BE248}"/>
          </ac:spMkLst>
        </pc:spChg>
        <pc:spChg chg="mod">
          <ac:chgData name="Ugo MANTEL" userId="2d5b7065-31bb-4181-a7f8-a73bf0c30211" providerId="ADAL" clId="{F05BB0D5-3454-45DC-8378-DA45B79D9A06}" dt="2020-10-02T13:04:32.242" v="1135" actId="790"/>
          <ac:spMkLst>
            <pc:docMk/>
            <pc:sldMk cId="104034165" sldId="6997"/>
            <ac:spMk id="62" creationId="{4CFF26B3-58E4-48AC-A007-8D3B1032DE11}"/>
          </ac:spMkLst>
        </pc:spChg>
        <pc:spChg chg="mod">
          <ac:chgData name="Ugo MANTEL" userId="2d5b7065-31bb-4181-a7f8-a73bf0c30211" providerId="ADAL" clId="{F05BB0D5-3454-45DC-8378-DA45B79D9A06}" dt="2020-10-02T13:04:32.242" v="1136" actId="790"/>
          <ac:spMkLst>
            <pc:docMk/>
            <pc:sldMk cId="104034165" sldId="6997"/>
            <ac:spMk id="64" creationId="{40EE8712-C331-46DE-B8D8-C70B712CCEAD}"/>
          </ac:spMkLst>
        </pc:spChg>
        <pc:spChg chg="mod">
          <ac:chgData name="Ugo MANTEL" userId="2d5b7065-31bb-4181-a7f8-a73bf0c30211" providerId="ADAL" clId="{F05BB0D5-3454-45DC-8378-DA45B79D9A06}" dt="2020-10-02T13:04:32.243" v="1137" actId="790"/>
          <ac:spMkLst>
            <pc:docMk/>
            <pc:sldMk cId="104034165" sldId="6997"/>
            <ac:spMk id="66" creationId="{8EA0B4DB-848C-44CE-BFFC-24FE033230BB}"/>
          </ac:spMkLst>
        </pc:spChg>
        <pc:spChg chg="mod">
          <ac:chgData name="Ugo MANTEL" userId="2d5b7065-31bb-4181-a7f8-a73bf0c30211" providerId="ADAL" clId="{F05BB0D5-3454-45DC-8378-DA45B79D9A06}" dt="2020-10-02T13:04:32.244" v="1138" actId="790"/>
          <ac:spMkLst>
            <pc:docMk/>
            <pc:sldMk cId="104034165" sldId="6997"/>
            <ac:spMk id="70" creationId="{3D3FD356-0CB0-410E-9EC3-0E34A0415C9E}"/>
          </ac:spMkLst>
        </pc:spChg>
        <pc:spChg chg="mod">
          <ac:chgData name="Ugo MANTEL" userId="2d5b7065-31bb-4181-a7f8-a73bf0c30211" providerId="ADAL" clId="{F05BB0D5-3454-45DC-8378-DA45B79D9A06}" dt="2020-10-02T13:04:32.245" v="1139" actId="790"/>
          <ac:spMkLst>
            <pc:docMk/>
            <pc:sldMk cId="104034165" sldId="6997"/>
            <ac:spMk id="73" creationId="{E63B3A07-11BB-46D5-9539-7CDD30C1B5E7}"/>
          </ac:spMkLst>
        </pc:spChg>
        <pc:spChg chg="mod">
          <ac:chgData name="Ugo MANTEL" userId="2d5b7065-31bb-4181-a7f8-a73bf0c30211" providerId="ADAL" clId="{F05BB0D5-3454-45DC-8378-DA45B79D9A06}" dt="2020-10-02T13:04:32.245" v="1140" actId="790"/>
          <ac:spMkLst>
            <pc:docMk/>
            <pc:sldMk cId="104034165" sldId="6997"/>
            <ac:spMk id="74" creationId="{B02CA083-41D5-49FD-80B6-011B025F98F5}"/>
          </ac:spMkLst>
        </pc:spChg>
        <pc:spChg chg="mod">
          <ac:chgData name="Ugo MANTEL" userId="2d5b7065-31bb-4181-a7f8-a73bf0c30211" providerId="ADAL" clId="{F05BB0D5-3454-45DC-8378-DA45B79D9A06}" dt="2020-10-02T13:04:32.246" v="1141" actId="790"/>
          <ac:spMkLst>
            <pc:docMk/>
            <pc:sldMk cId="104034165" sldId="6997"/>
            <ac:spMk id="75" creationId="{FBE6B3A0-0D6D-4E7D-B7F5-18370ED32684}"/>
          </ac:spMkLst>
        </pc:spChg>
        <pc:spChg chg="mod">
          <ac:chgData name="Ugo MANTEL" userId="2d5b7065-31bb-4181-a7f8-a73bf0c30211" providerId="ADAL" clId="{F05BB0D5-3454-45DC-8378-DA45B79D9A06}" dt="2020-10-02T13:04:32.247" v="1142" actId="790"/>
          <ac:spMkLst>
            <pc:docMk/>
            <pc:sldMk cId="104034165" sldId="6997"/>
            <ac:spMk id="76" creationId="{83E1E222-B6B0-43F8-97D4-19963A37C18A}"/>
          </ac:spMkLst>
        </pc:spChg>
        <pc:spChg chg="mod">
          <ac:chgData name="Ugo MANTEL" userId="2d5b7065-31bb-4181-a7f8-a73bf0c30211" providerId="ADAL" clId="{F05BB0D5-3454-45DC-8378-DA45B79D9A06}" dt="2020-10-02T13:04:32.248" v="1143" actId="790"/>
          <ac:spMkLst>
            <pc:docMk/>
            <pc:sldMk cId="104034165" sldId="6997"/>
            <ac:spMk id="77" creationId="{5E6230E6-0959-4198-AE89-F8DA84238E6E}"/>
          </ac:spMkLst>
        </pc:spChg>
        <pc:spChg chg="mod">
          <ac:chgData name="Ugo MANTEL" userId="2d5b7065-31bb-4181-a7f8-a73bf0c30211" providerId="ADAL" clId="{F05BB0D5-3454-45DC-8378-DA45B79D9A06}" dt="2020-10-02T13:04:32.248" v="1144" actId="790"/>
          <ac:spMkLst>
            <pc:docMk/>
            <pc:sldMk cId="104034165" sldId="6997"/>
            <ac:spMk id="78" creationId="{C0ABBA2B-4777-4592-9326-6A75C2F1B94D}"/>
          </ac:spMkLst>
        </pc:spChg>
        <pc:spChg chg="mod">
          <ac:chgData name="Ugo MANTEL" userId="2d5b7065-31bb-4181-a7f8-a73bf0c30211" providerId="ADAL" clId="{F05BB0D5-3454-45DC-8378-DA45B79D9A06}" dt="2020-10-02T13:04:32.249" v="1145" actId="790"/>
          <ac:spMkLst>
            <pc:docMk/>
            <pc:sldMk cId="104034165" sldId="6997"/>
            <ac:spMk id="80" creationId="{228B9B84-D2B7-4723-9890-8C86CFEC6C9D}"/>
          </ac:spMkLst>
        </pc:spChg>
        <pc:spChg chg="mod">
          <ac:chgData name="Ugo MANTEL" userId="2d5b7065-31bb-4181-a7f8-a73bf0c30211" providerId="ADAL" clId="{F05BB0D5-3454-45DC-8378-DA45B79D9A06}" dt="2020-10-02T13:04:32.249" v="1146" actId="790"/>
          <ac:spMkLst>
            <pc:docMk/>
            <pc:sldMk cId="104034165" sldId="6997"/>
            <ac:spMk id="81" creationId="{6BB5C437-7AAE-4A58-AD29-3412C9C1FB10}"/>
          </ac:spMkLst>
        </pc:spChg>
        <pc:spChg chg="mod">
          <ac:chgData name="Ugo MANTEL" userId="2d5b7065-31bb-4181-a7f8-a73bf0c30211" providerId="ADAL" clId="{F05BB0D5-3454-45DC-8378-DA45B79D9A06}" dt="2020-10-02T13:04:32.238" v="1130" actId="790"/>
          <ac:spMkLst>
            <pc:docMk/>
            <pc:sldMk cId="104034165" sldId="6997"/>
            <ac:spMk id="98" creationId="{5EF13F67-82B8-469A-92E3-CB085ED51273}"/>
          </ac:spMkLst>
        </pc:spChg>
        <pc:spChg chg="mod">
          <ac:chgData name="Ugo MANTEL" userId="2d5b7065-31bb-4181-a7f8-a73bf0c30211" providerId="ADAL" clId="{F05BB0D5-3454-45DC-8378-DA45B79D9A06}" dt="2020-10-02T13:04:32.239" v="1131" actId="790"/>
          <ac:spMkLst>
            <pc:docMk/>
            <pc:sldMk cId="104034165" sldId="6997"/>
            <ac:spMk id="99" creationId="{9BEFB677-1618-447E-A371-00CE8D90916A}"/>
          </ac:spMkLst>
        </pc:spChg>
        <pc:spChg chg="mod">
          <ac:chgData name="Ugo MANTEL" userId="2d5b7065-31bb-4181-a7f8-a73bf0c30211" providerId="ADAL" clId="{F05BB0D5-3454-45DC-8378-DA45B79D9A06}" dt="2020-10-02T13:04:32.239" v="1132" actId="790"/>
          <ac:spMkLst>
            <pc:docMk/>
            <pc:sldMk cId="104034165" sldId="6997"/>
            <ac:spMk id="115" creationId="{0087F620-E298-4A6A-9103-8C758191D5E8}"/>
          </ac:spMkLst>
        </pc:spChg>
        <pc:spChg chg="mod">
          <ac:chgData name="Ugo MANTEL" userId="2d5b7065-31bb-4181-a7f8-a73bf0c30211" providerId="ADAL" clId="{F05BB0D5-3454-45DC-8378-DA45B79D9A06}" dt="2020-10-02T13:04:32.240" v="1133" actId="790"/>
          <ac:spMkLst>
            <pc:docMk/>
            <pc:sldMk cId="104034165" sldId="6997"/>
            <ac:spMk id="116" creationId="{E6BDD79D-4062-4BB6-81B4-3407DF2D1263}"/>
          </ac:spMkLst>
        </pc:spChg>
        <pc:spChg chg="mod">
          <ac:chgData name="Ugo MANTEL" userId="2d5b7065-31bb-4181-a7f8-a73bf0c30211" providerId="ADAL" clId="{F05BB0D5-3454-45DC-8378-DA45B79D9A06}" dt="2020-10-02T13:04:32.241" v="1134" actId="790"/>
          <ac:spMkLst>
            <pc:docMk/>
            <pc:sldMk cId="104034165" sldId="6997"/>
            <ac:spMk id="117" creationId="{C414845C-52B1-47CE-A3EB-882A38173550}"/>
          </ac:spMkLst>
        </pc:spChg>
        <pc:spChg chg="mod">
          <ac:chgData name="Ugo MANTEL" userId="2d5b7065-31bb-4181-a7f8-a73bf0c30211" providerId="ADAL" clId="{F05BB0D5-3454-45DC-8378-DA45B79D9A06}" dt="2020-10-02T13:04:32.232" v="1124" actId="790"/>
          <ac:spMkLst>
            <pc:docMk/>
            <pc:sldMk cId="104034165" sldId="6997"/>
            <ac:spMk id="146" creationId="{ECD351E4-FAF3-4561-994C-BB46EFD003F7}"/>
          </ac:spMkLst>
        </pc:spChg>
      </pc:sldChg>
      <pc:sldChg chg="modSp mod">
        <pc:chgData name="Ugo MANTEL" userId="2d5b7065-31bb-4181-a7f8-a73bf0c30211" providerId="ADAL" clId="{F05BB0D5-3454-45DC-8378-DA45B79D9A06}" dt="2020-10-02T13:04:36.895" v="5561" actId="790"/>
        <pc:sldMkLst>
          <pc:docMk/>
          <pc:sldMk cId="3896457780" sldId="6998"/>
        </pc:sldMkLst>
        <pc:spChg chg="mod">
          <ac:chgData name="Ugo MANTEL" userId="2d5b7065-31bb-4181-a7f8-a73bf0c30211" providerId="ADAL" clId="{F05BB0D5-3454-45DC-8378-DA45B79D9A06}" dt="2020-10-02T13:04:36.890" v="5558" actId="790"/>
          <ac:spMkLst>
            <pc:docMk/>
            <pc:sldMk cId="3896457780" sldId="6998"/>
            <ac:spMk id="2" creationId="{6A44C8C8-2F36-450B-A067-045DF42C7170}"/>
          </ac:spMkLst>
        </pc:spChg>
        <pc:spChg chg="mod">
          <ac:chgData name="Ugo MANTEL" userId="2d5b7065-31bb-4181-a7f8-a73bf0c30211" providerId="ADAL" clId="{F05BB0D5-3454-45DC-8378-DA45B79D9A06}" dt="2020-10-02T13:04:36.891" v="5559" actId="790"/>
          <ac:spMkLst>
            <pc:docMk/>
            <pc:sldMk cId="3896457780" sldId="6998"/>
            <ac:spMk id="3" creationId="{59AD0D4C-52B6-4887-95DD-FD6DE794558F}"/>
          </ac:spMkLst>
        </pc:spChg>
        <pc:spChg chg="mod">
          <ac:chgData name="Ugo MANTEL" userId="2d5b7065-31bb-4181-a7f8-a73bf0c30211" providerId="ADAL" clId="{F05BB0D5-3454-45DC-8378-DA45B79D9A06}" dt="2020-10-02T13:04:36.894" v="5560" actId="790"/>
          <ac:spMkLst>
            <pc:docMk/>
            <pc:sldMk cId="3896457780" sldId="6998"/>
            <ac:spMk id="4" creationId="{F0A06676-82C0-4F43-87A1-A34EA0E8CFAF}"/>
          </ac:spMkLst>
        </pc:spChg>
        <pc:spChg chg="mod">
          <ac:chgData name="Ugo MANTEL" userId="2d5b7065-31bb-4181-a7f8-a73bf0c30211" providerId="ADAL" clId="{F05BB0D5-3454-45DC-8378-DA45B79D9A06}" dt="2020-10-02T13:04:36.895" v="5561" actId="790"/>
          <ac:spMkLst>
            <pc:docMk/>
            <pc:sldMk cId="3896457780" sldId="6998"/>
            <ac:spMk id="71" creationId="{2A230948-1EC9-463F-98FF-E0E458B9B00C}"/>
          </ac:spMkLst>
        </pc:spChg>
      </pc:sldChg>
      <pc:sldChg chg="modSp mod">
        <pc:chgData name="Ugo MANTEL" userId="2d5b7065-31bb-4181-a7f8-a73bf0c30211" providerId="ADAL" clId="{F05BB0D5-3454-45DC-8378-DA45B79D9A06}" dt="2020-10-02T13:04:38.123" v="6000" actId="790"/>
        <pc:sldMkLst>
          <pc:docMk/>
          <pc:sldMk cId="689191810" sldId="6999"/>
        </pc:sldMkLst>
        <pc:spChg chg="mod">
          <ac:chgData name="Ugo MANTEL" userId="2d5b7065-31bb-4181-a7f8-a73bf0c30211" providerId="ADAL" clId="{F05BB0D5-3454-45DC-8378-DA45B79D9A06}" dt="2020-10-02T13:04:38.112" v="5997" actId="790"/>
          <ac:spMkLst>
            <pc:docMk/>
            <pc:sldMk cId="689191810" sldId="6999"/>
            <ac:spMk id="2" creationId="{6A44C8C8-2F36-450B-A067-045DF42C7170}"/>
          </ac:spMkLst>
        </pc:spChg>
        <pc:spChg chg="mod">
          <ac:chgData name="Ugo MANTEL" userId="2d5b7065-31bb-4181-a7f8-a73bf0c30211" providerId="ADAL" clId="{F05BB0D5-3454-45DC-8378-DA45B79D9A06}" dt="2020-10-02T13:04:38.115" v="5998" actId="790"/>
          <ac:spMkLst>
            <pc:docMk/>
            <pc:sldMk cId="689191810" sldId="6999"/>
            <ac:spMk id="3" creationId="{59AD0D4C-52B6-4887-95DD-FD6DE794558F}"/>
          </ac:spMkLst>
        </pc:spChg>
        <pc:spChg chg="mod">
          <ac:chgData name="Ugo MANTEL" userId="2d5b7065-31bb-4181-a7f8-a73bf0c30211" providerId="ADAL" clId="{F05BB0D5-3454-45DC-8378-DA45B79D9A06}" dt="2020-10-02T13:04:38.120" v="5999" actId="790"/>
          <ac:spMkLst>
            <pc:docMk/>
            <pc:sldMk cId="689191810" sldId="6999"/>
            <ac:spMk id="4" creationId="{F0A06676-82C0-4F43-87A1-A34EA0E8CFAF}"/>
          </ac:spMkLst>
        </pc:spChg>
        <pc:spChg chg="mod">
          <ac:chgData name="Ugo MANTEL" userId="2d5b7065-31bb-4181-a7f8-a73bf0c30211" providerId="ADAL" clId="{F05BB0D5-3454-45DC-8378-DA45B79D9A06}" dt="2020-10-02T13:04:38.123" v="6000" actId="790"/>
          <ac:spMkLst>
            <pc:docMk/>
            <pc:sldMk cId="689191810" sldId="6999"/>
            <ac:spMk id="71" creationId="{2A230948-1EC9-463F-98FF-E0E458B9B00C}"/>
          </ac:spMkLst>
        </pc:spChg>
      </pc:sldChg>
      <pc:sldChg chg="modSp mod">
        <pc:chgData name="Ugo MANTEL" userId="2d5b7065-31bb-4181-a7f8-a73bf0c30211" providerId="ADAL" clId="{F05BB0D5-3454-45DC-8378-DA45B79D9A06}" dt="2020-10-02T13:04:38.455" v="6119" actId="790"/>
        <pc:sldMkLst>
          <pc:docMk/>
          <pc:sldMk cId="4208723415" sldId="7002"/>
        </pc:sldMkLst>
        <pc:spChg chg="mod">
          <ac:chgData name="Ugo MANTEL" userId="2d5b7065-31bb-4181-a7f8-a73bf0c30211" providerId="ADAL" clId="{F05BB0D5-3454-45DC-8378-DA45B79D9A06}" dt="2020-10-02T13:04:38.397" v="6090" actId="790"/>
          <ac:spMkLst>
            <pc:docMk/>
            <pc:sldMk cId="4208723415" sldId="7002"/>
            <ac:spMk id="3" creationId="{415BA172-C3CA-4025-B3E1-665B245AB959}"/>
          </ac:spMkLst>
        </pc:spChg>
        <pc:spChg chg="mod">
          <ac:chgData name="Ugo MANTEL" userId="2d5b7065-31bb-4181-a7f8-a73bf0c30211" providerId="ADAL" clId="{F05BB0D5-3454-45DC-8378-DA45B79D9A06}" dt="2020-10-02T13:04:38.400" v="6091" actId="790"/>
          <ac:spMkLst>
            <pc:docMk/>
            <pc:sldMk cId="4208723415" sldId="7002"/>
            <ac:spMk id="4" creationId="{4749A4D0-7849-4BAC-96B9-C542EBD00FE9}"/>
          </ac:spMkLst>
        </pc:spChg>
        <pc:spChg chg="mod">
          <ac:chgData name="Ugo MANTEL" userId="2d5b7065-31bb-4181-a7f8-a73bf0c30211" providerId="ADAL" clId="{F05BB0D5-3454-45DC-8378-DA45B79D9A06}" dt="2020-10-02T13:04:38.401" v="6092" actId="790"/>
          <ac:spMkLst>
            <pc:docMk/>
            <pc:sldMk cId="4208723415" sldId="7002"/>
            <ac:spMk id="5" creationId="{CB097341-2EEA-414F-819D-639745E1D754}"/>
          </ac:spMkLst>
        </pc:spChg>
        <pc:spChg chg="mod">
          <ac:chgData name="Ugo MANTEL" userId="2d5b7065-31bb-4181-a7f8-a73bf0c30211" providerId="ADAL" clId="{F05BB0D5-3454-45DC-8378-DA45B79D9A06}" dt="2020-10-02T13:04:38.391" v="6089" actId="790"/>
          <ac:spMkLst>
            <pc:docMk/>
            <pc:sldMk cId="4208723415" sldId="7002"/>
            <ac:spMk id="6" creationId="{A73FB595-40AB-4BB2-9103-56BF2E36D6AE}"/>
          </ac:spMkLst>
        </pc:spChg>
        <pc:spChg chg="mod">
          <ac:chgData name="Ugo MANTEL" userId="2d5b7065-31bb-4181-a7f8-a73bf0c30211" providerId="ADAL" clId="{F05BB0D5-3454-45DC-8378-DA45B79D9A06}" dt="2020-10-02T13:04:38.420" v="6101" actId="790"/>
          <ac:spMkLst>
            <pc:docMk/>
            <pc:sldMk cId="4208723415" sldId="7002"/>
            <ac:spMk id="13" creationId="{6D8C82C9-0D4B-45FE-801A-B29CC8E51644}"/>
          </ac:spMkLst>
        </pc:spChg>
        <pc:spChg chg="mod">
          <ac:chgData name="Ugo MANTEL" userId="2d5b7065-31bb-4181-a7f8-a73bf0c30211" providerId="ADAL" clId="{F05BB0D5-3454-45DC-8378-DA45B79D9A06}" dt="2020-10-02T13:04:38.424" v="6103" actId="790"/>
          <ac:spMkLst>
            <pc:docMk/>
            <pc:sldMk cId="4208723415" sldId="7002"/>
            <ac:spMk id="14" creationId="{8DAA2C47-1C54-4C13-9070-D386727A39AD}"/>
          </ac:spMkLst>
        </pc:spChg>
        <pc:spChg chg="mod">
          <ac:chgData name="Ugo MANTEL" userId="2d5b7065-31bb-4181-a7f8-a73bf0c30211" providerId="ADAL" clId="{F05BB0D5-3454-45DC-8378-DA45B79D9A06}" dt="2020-10-02T13:04:38.404" v="6093" actId="790"/>
          <ac:spMkLst>
            <pc:docMk/>
            <pc:sldMk cId="4208723415" sldId="7002"/>
            <ac:spMk id="15" creationId="{D182096F-5687-4740-9CBE-6DDF96A384B9}"/>
          </ac:spMkLst>
        </pc:spChg>
        <pc:spChg chg="mod">
          <ac:chgData name="Ugo MANTEL" userId="2d5b7065-31bb-4181-a7f8-a73bf0c30211" providerId="ADAL" clId="{F05BB0D5-3454-45DC-8378-DA45B79D9A06}" dt="2020-10-02T13:04:38.406" v="6094" actId="790"/>
          <ac:spMkLst>
            <pc:docMk/>
            <pc:sldMk cId="4208723415" sldId="7002"/>
            <ac:spMk id="16" creationId="{6D344AEF-7E0C-46A8-BB7F-A078297FF907}"/>
          </ac:spMkLst>
        </pc:spChg>
        <pc:spChg chg="mod">
          <ac:chgData name="Ugo MANTEL" userId="2d5b7065-31bb-4181-a7f8-a73bf0c30211" providerId="ADAL" clId="{F05BB0D5-3454-45DC-8378-DA45B79D9A06}" dt="2020-10-02T13:04:38.408" v="6095" actId="790"/>
          <ac:spMkLst>
            <pc:docMk/>
            <pc:sldMk cId="4208723415" sldId="7002"/>
            <ac:spMk id="17" creationId="{D6ECFEA6-61A1-4474-A295-651246114309}"/>
          </ac:spMkLst>
        </pc:spChg>
        <pc:spChg chg="mod">
          <ac:chgData name="Ugo MANTEL" userId="2d5b7065-31bb-4181-a7f8-a73bf0c30211" providerId="ADAL" clId="{F05BB0D5-3454-45DC-8378-DA45B79D9A06}" dt="2020-10-02T13:04:38.411" v="6096" actId="790"/>
          <ac:spMkLst>
            <pc:docMk/>
            <pc:sldMk cId="4208723415" sldId="7002"/>
            <ac:spMk id="18" creationId="{9F0D9BEE-7114-4948-84B8-C570F758A4E5}"/>
          </ac:spMkLst>
        </pc:spChg>
        <pc:spChg chg="mod">
          <ac:chgData name="Ugo MANTEL" userId="2d5b7065-31bb-4181-a7f8-a73bf0c30211" providerId="ADAL" clId="{F05BB0D5-3454-45DC-8378-DA45B79D9A06}" dt="2020-10-02T13:04:38.413" v="6097" actId="790"/>
          <ac:spMkLst>
            <pc:docMk/>
            <pc:sldMk cId="4208723415" sldId="7002"/>
            <ac:spMk id="19" creationId="{E9F076AD-19DE-4CCA-9FB3-951F140D1C62}"/>
          </ac:spMkLst>
        </pc:spChg>
        <pc:spChg chg="mod">
          <ac:chgData name="Ugo MANTEL" userId="2d5b7065-31bb-4181-a7f8-a73bf0c30211" providerId="ADAL" clId="{F05BB0D5-3454-45DC-8378-DA45B79D9A06}" dt="2020-10-02T13:04:38.415" v="6098" actId="790"/>
          <ac:spMkLst>
            <pc:docMk/>
            <pc:sldMk cId="4208723415" sldId="7002"/>
            <ac:spMk id="21" creationId="{00616BC8-88E9-460A-97E6-FF29B59DCEED}"/>
          </ac:spMkLst>
        </pc:spChg>
        <pc:spChg chg="mod">
          <ac:chgData name="Ugo MANTEL" userId="2d5b7065-31bb-4181-a7f8-a73bf0c30211" providerId="ADAL" clId="{F05BB0D5-3454-45DC-8378-DA45B79D9A06}" dt="2020-10-02T13:04:38.417" v="6099" actId="790"/>
          <ac:spMkLst>
            <pc:docMk/>
            <pc:sldMk cId="4208723415" sldId="7002"/>
            <ac:spMk id="22" creationId="{D72A6BA8-4E5F-46F1-96DC-5E6F7193E63E}"/>
          </ac:spMkLst>
        </pc:spChg>
        <pc:spChg chg="mod">
          <ac:chgData name="Ugo MANTEL" userId="2d5b7065-31bb-4181-a7f8-a73bf0c30211" providerId="ADAL" clId="{F05BB0D5-3454-45DC-8378-DA45B79D9A06}" dt="2020-10-02T13:04:38.418" v="6100" actId="790"/>
          <ac:spMkLst>
            <pc:docMk/>
            <pc:sldMk cId="4208723415" sldId="7002"/>
            <ac:spMk id="23" creationId="{1FD52EDD-BE68-4FEE-93CE-E6CC8654587E}"/>
          </ac:spMkLst>
        </pc:spChg>
        <pc:spChg chg="mod">
          <ac:chgData name="Ugo MANTEL" userId="2d5b7065-31bb-4181-a7f8-a73bf0c30211" providerId="ADAL" clId="{F05BB0D5-3454-45DC-8378-DA45B79D9A06}" dt="2020-10-02T13:04:38.422" v="6102" actId="790"/>
          <ac:spMkLst>
            <pc:docMk/>
            <pc:sldMk cId="4208723415" sldId="7002"/>
            <ac:spMk id="24" creationId="{4E935DFC-2DDA-48B8-9563-A0B2D9FE0CE4}"/>
          </ac:spMkLst>
        </pc:spChg>
        <pc:spChg chg="mod">
          <ac:chgData name="Ugo MANTEL" userId="2d5b7065-31bb-4181-a7f8-a73bf0c30211" providerId="ADAL" clId="{F05BB0D5-3454-45DC-8378-DA45B79D9A06}" dt="2020-10-02T13:04:38.425" v="6104" actId="790"/>
          <ac:spMkLst>
            <pc:docMk/>
            <pc:sldMk cId="4208723415" sldId="7002"/>
            <ac:spMk id="26" creationId="{19011EBB-D36E-4967-BA72-3E1020C82835}"/>
          </ac:spMkLst>
        </pc:spChg>
        <pc:spChg chg="mod">
          <ac:chgData name="Ugo MANTEL" userId="2d5b7065-31bb-4181-a7f8-a73bf0c30211" providerId="ADAL" clId="{F05BB0D5-3454-45DC-8378-DA45B79D9A06}" dt="2020-10-02T13:04:38.427" v="6105" actId="790"/>
          <ac:spMkLst>
            <pc:docMk/>
            <pc:sldMk cId="4208723415" sldId="7002"/>
            <ac:spMk id="27" creationId="{C646581A-66F7-43A1-92EE-EE4C546E3BB6}"/>
          </ac:spMkLst>
        </pc:spChg>
        <pc:spChg chg="mod">
          <ac:chgData name="Ugo MANTEL" userId="2d5b7065-31bb-4181-a7f8-a73bf0c30211" providerId="ADAL" clId="{F05BB0D5-3454-45DC-8378-DA45B79D9A06}" dt="2020-10-02T13:04:38.428" v="6106" actId="790"/>
          <ac:spMkLst>
            <pc:docMk/>
            <pc:sldMk cId="4208723415" sldId="7002"/>
            <ac:spMk id="28" creationId="{36C1C047-9003-4526-927E-7936CFBA11F5}"/>
          </ac:spMkLst>
        </pc:spChg>
        <pc:spChg chg="mod">
          <ac:chgData name="Ugo MANTEL" userId="2d5b7065-31bb-4181-a7f8-a73bf0c30211" providerId="ADAL" clId="{F05BB0D5-3454-45DC-8378-DA45B79D9A06}" dt="2020-10-02T13:04:38.430" v="6107" actId="790"/>
          <ac:spMkLst>
            <pc:docMk/>
            <pc:sldMk cId="4208723415" sldId="7002"/>
            <ac:spMk id="39" creationId="{179871B6-DEDB-41E5-ACDE-8D390F01449B}"/>
          </ac:spMkLst>
        </pc:spChg>
        <pc:spChg chg="mod">
          <ac:chgData name="Ugo MANTEL" userId="2d5b7065-31bb-4181-a7f8-a73bf0c30211" providerId="ADAL" clId="{F05BB0D5-3454-45DC-8378-DA45B79D9A06}" dt="2020-10-02T13:04:38.432" v="6108" actId="790"/>
          <ac:spMkLst>
            <pc:docMk/>
            <pc:sldMk cId="4208723415" sldId="7002"/>
            <ac:spMk id="41" creationId="{9EA9F4F5-52C7-4CF0-922F-E4A65FA55BC6}"/>
          </ac:spMkLst>
        </pc:spChg>
        <pc:spChg chg="mod">
          <ac:chgData name="Ugo MANTEL" userId="2d5b7065-31bb-4181-a7f8-a73bf0c30211" providerId="ADAL" clId="{F05BB0D5-3454-45DC-8378-DA45B79D9A06}" dt="2020-10-02T13:04:38.434" v="6109" actId="790"/>
          <ac:spMkLst>
            <pc:docMk/>
            <pc:sldMk cId="4208723415" sldId="7002"/>
            <ac:spMk id="43" creationId="{747A3E83-D716-46B3-9807-F1A4854AB660}"/>
          </ac:spMkLst>
        </pc:spChg>
        <pc:spChg chg="mod">
          <ac:chgData name="Ugo MANTEL" userId="2d5b7065-31bb-4181-a7f8-a73bf0c30211" providerId="ADAL" clId="{F05BB0D5-3454-45DC-8378-DA45B79D9A06}" dt="2020-10-02T13:04:38.436" v="6110" actId="790"/>
          <ac:spMkLst>
            <pc:docMk/>
            <pc:sldMk cId="4208723415" sldId="7002"/>
            <ac:spMk id="44" creationId="{59093492-2846-4D38-916C-94D845B79ECD}"/>
          </ac:spMkLst>
        </pc:spChg>
        <pc:spChg chg="mod">
          <ac:chgData name="Ugo MANTEL" userId="2d5b7065-31bb-4181-a7f8-a73bf0c30211" providerId="ADAL" clId="{F05BB0D5-3454-45DC-8378-DA45B79D9A06}" dt="2020-10-02T13:04:38.445" v="6115" actId="790"/>
          <ac:spMkLst>
            <pc:docMk/>
            <pc:sldMk cId="4208723415" sldId="7002"/>
            <ac:spMk id="47" creationId="{34D34095-C169-4068-A1AA-08C9EBE02214}"/>
          </ac:spMkLst>
        </pc:spChg>
        <pc:spChg chg="mod">
          <ac:chgData name="Ugo MANTEL" userId="2d5b7065-31bb-4181-a7f8-a73bf0c30211" providerId="ADAL" clId="{F05BB0D5-3454-45DC-8378-DA45B79D9A06}" dt="2020-10-02T13:04:38.438" v="6111" actId="790"/>
          <ac:spMkLst>
            <pc:docMk/>
            <pc:sldMk cId="4208723415" sldId="7002"/>
            <ac:spMk id="48" creationId="{53009741-A9D4-4F45-9A74-DEF61D597C95}"/>
          </ac:spMkLst>
        </pc:spChg>
        <pc:spChg chg="mod">
          <ac:chgData name="Ugo MANTEL" userId="2d5b7065-31bb-4181-a7f8-a73bf0c30211" providerId="ADAL" clId="{F05BB0D5-3454-45DC-8378-DA45B79D9A06}" dt="2020-10-02T13:04:38.440" v="6112" actId="790"/>
          <ac:spMkLst>
            <pc:docMk/>
            <pc:sldMk cId="4208723415" sldId="7002"/>
            <ac:spMk id="49" creationId="{758CA0D3-8761-467B-B0D2-050A4A97DA67}"/>
          </ac:spMkLst>
        </pc:spChg>
        <pc:spChg chg="mod">
          <ac:chgData name="Ugo MANTEL" userId="2d5b7065-31bb-4181-a7f8-a73bf0c30211" providerId="ADAL" clId="{F05BB0D5-3454-45DC-8378-DA45B79D9A06}" dt="2020-10-02T13:04:38.441" v="6113" actId="790"/>
          <ac:spMkLst>
            <pc:docMk/>
            <pc:sldMk cId="4208723415" sldId="7002"/>
            <ac:spMk id="50" creationId="{1FE80298-3407-4AE4-83F0-F1C1974C64C1}"/>
          </ac:spMkLst>
        </pc:spChg>
        <pc:spChg chg="mod">
          <ac:chgData name="Ugo MANTEL" userId="2d5b7065-31bb-4181-a7f8-a73bf0c30211" providerId="ADAL" clId="{F05BB0D5-3454-45DC-8378-DA45B79D9A06}" dt="2020-10-02T13:04:38.443" v="6114" actId="790"/>
          <ac:spMkLst>
            <pc:docMk/>
            <pc:sldMk cId="4208723415" sldId="7002"/>
            <ac:spMk id="51" creationId="{425CD5DA-3A38-4DCC-8726-3DFF0926E9B1}"/>
          </ac:spMkLst>
        </pc:spChg>
        <pc:spChg chg="mod">
          <ac:chgData name="Ugo MANTEL" userId="2d5b7065-31bb-4181-a7f8-a73bf0c30211" providerId="ADAL" clId="{F05BB0D5-3454-45DC-8378-DA45B79D9A06}" dt="2020-10-02T13:04:38.447" v="6116" actId="790"/>
          <ac:spMkLst>
            <pc:docMk/>
            <pc:sldMk cId="4208723415" sldId="7002"/>
            <ac:spMk id="59" creationId="{A833EA4D-D03B-42D0-B249-A57D5778E84D}"/>
          </ac:spMkLst>
        </pc:spChg>
        <pc:spChg chg="mod">
          <ac:chgData name="Ugo MANTEL" userId="2d5b7065-31bb-4181-a7f8-a73bf0c30211" providerId="ADAL" clId="{F05BB0D5-3454-45DC-8378-DA45B79D9A06}" dt="2020-10-02T13:04:38.452" v="6117" actId="790"/>
          <ac:spMkLst>
            <pc:docMk/>
            <pc:sldMk cId="4208723415" sldId="7002"/>
            <ac:spMk id="67" creationId="{D32D6026-ED9A-4BBE-9C9A-405FE3EECC28}"/>
          </ac:spMkLst>
        </pc:spChg>
        <pc:spChg chg="mod">
          <ac:chgData name="Ugo MANTEL" userId="2d5b7065-31bb-4181-a7f8-a73bf0c30211" providerId="ADAL" clId="{F05BB0D5-3454-45DC-8378-DA45B79D9A06}" dt="2020-10-02T13:04:38.454" v="6118" actId="790"/>
          <ac:spMkLst>
            <pc:docMk/>
            <pc:sldMk cId="4208723415" sldId="7002"/>
            <ac:spMk id="68" creationId="{94B1629F-7AD8-4B31-964C-3C95DACAE374}"/>
          </ac:spMkLst>
        </pc:spChg>
        <pc:spChg chg="mod">
          <ac:chgData name="Ugo MANTEL" userId="2d5b7065-31bb-4181-a7f8-a73bf0c30211" providerId="ADAL" clId="{F05BB0D5-3454-45DC-8378-DA45B79D9A06}" dt="2020-10-02T13:04:38.455" v="6119" actId="790"/>
          <ac:spMkLst>
            <pc:docMk/>
            <pc:sldMk cId="4208723415" sldId="7002"/>
            <ac:spMk id="69" creationId="{29ECFD18-45CB-460D-B2E6-155820A67828}"/>
          </ac:spMkLst>
        </pc:spChg>
      </pc:sldChg>
      <pc:sldChg chg="modSp mod">
        <pc:chgData name="Ugo MANTEL" userId="2d5b7065-31bb-4181-a7f8-a73bf0c30211" providerId="ADAL" clId="{F05BB0D5-3454-45DC-8378-DA45B79D9A06}" dt="2020-10-02T13:04:36.728" v="5396" actId="790"/>
        <pc:sldMkLst>
          <pc:docMk/>
          <pc:sldMk cId="2646771071" sldId="7005"/>
        </pc:sldMkLst>
        <pc:spChg chg="mod">
          <ac:chgData name="Ugo MANTEL" userId="2d5b7065-31bb-4181-a7f8-a73bf0c30211" providerId="ADAL" clId="{F05BB0D5-3454-45DC-8378-DA45B79D9A06}" dt="2020-10-02T13:04:36.681" v="5344" actId="790"/>
          <ac:spMkLst>
            <pc:docMk/>
            <pc:sldMk cId="2646771071" sldId="7005"/>
            <ac:spMk id="11" creationId="{3ED64FBE-AAEE-4458-9D85-EB97B61E549E}"/>
          </ac:spMkLst>
        </pc:spChg>
        <pc:spChg chg="mod">
          <ac:chgData name="Ugo MANTEL" userId="2d5b7065-31bb-4181-a7f8-a73bf0c30211" providerId="ADAL" clId="{F05BB0D5-3454-45DC-8378-DA45B79D9A06}" dt="2020-10-02T13:04:36.682" v="5345" actId="790"/>
          <ac:spMkLst>
            <pc:docMk/>
            <pc:sldMk cId="2646771071" sldId="7005"/>
            <ac:spMk id="70" creationId="{6402FA03-47B4-4889-AEBE-966AE42D2C75}"/>
          </ac:spMkLst>
        </pc:spChg>
        <pc:spChg chg="mod">
          <ac:chgData name="Ugo MANTEL" userId="2d5b7065-31bb-4181-a7f8-a73bf0c30211" providerId="ADAL" clId="{F05BB0D5-3454-45DC-8378-DA45B79D9A06}" dt="2020-10-02T13:04:36.689" v="5353" actId="790"/>
          <ac:spMkLst>
            <pc:docMk/>
            <pc:sldMk cId="2646771071" sldId="7005"/>
            <ac:spMk id="74" creationId="{4CFDAFC7-7BB9-464D-AFF0-D49CC8D51988}"/>
          </ac:spMkLst>
        </pc:spChg>
        <pc:spChg chg="mod">
          <ac:chgData name="Ugo MANTEL" userId="2d5b7065-31bb-4181-a7f8-a73bf0c30211" providerId="ADAL" clId="{F05BB0D5-3454-45DC-8378-DA45B79D9A06}" dt="2020-10-02T13:04:36.707" v="5382" actId="790"/>
          <ac:spMkLst>
            <pc:docMk/>
            <pc:sldMk cId="2646771071" sldId="7005"/>
            <ac:spMk id="81" creationId="{C8E68423-7734-4084-A530-FE3808538581}"/>
          </ac:spMkLst>
        </pc:spChg>
        <pc:spChg chg="mod">
          <ac:chgData name="Ugo MANTEL" userId="2d5b7065-31bb-4181-a7f8-a73bf0c30211" providerId="ADAL" clId="{F05BB0D5-3454-45DC-8378-DA45B79D9A06}" dt="2020-10-02T13:04:36.690" v="5354" actId="790"/>
          <ac:spMkLst>
            <pc:docMk/>
            <pc:sldMk cId="2646771071" sldId="7005"/>
            <ac:spMk id="83" creationId="{483EF14A-39FD-4BC5-A5BE-A1587D7D36FC}"/>
          </ac:spMkLst>
        </pc:spChg>
        <pc:spChg chg="mod">
          <ac:chgData name="Ugo MANTEL" userId="2d5b7065-31bb-4181-a7f8-a73bf0c30211" providerId="ADAL" clId="{F05BB0D5-3454-45DC-8378-DA45B79D9A06}" dt="2020-10-02T13:04:36.690" v="5355" actId="790"/>
          <ac:spMkLst>
            <pc:docMk/>
            <pc:sldMk cId="2646771071" sldId="7005"/>
            <ac:spMk id="84" creationId="{D930F181-2744-4CE3-AF74-49C50D80BE7A}"/>
          </ac:spMkLst>
        </pc:spChg>
        <pc:spChg chg="mod">
          <ac:chgData name="Ugo MANTEL" userId="2d5b7065-31bb-4181-a7f8-a73bf0c30211" providerId="ADAL" clId="{F05BB0D5-3454-45DC-8378-DA45B79D9A06}" dt="2020-10-02T13:04:36.691" v="5356" actId="790"/>
          <ac:spMkLst>
            <pc:docMk/>
            <pc:sldMk cId="2646771071" sldId="7005"/>
            <ac:spMk id="85" creationId="{6D25002B-EDE8-45AD-BE6B-28BDB99BAC4E}"/>
          </ac:spMkLst>
        </pc:spChg>
        <pc:spChg chg="mod">
          <ac:chgData name="Ugo MANTEL" userId="2d5b7065-31bb-4181-a7f8-a73bf0c30211" providerId="ADAL" clId="{F05BB0D5-3454-45DC-8378-DA45B79D9A06}" dt="2020-10-02T13:04:36.708" v="5383" actId="790"/>
          <ac:spMkLst>
            <pc:docMk/>
            <pc:sldMk cId="2646771071" sldId="7005"/>
            <ac:spMk id="87" creationId="{768F6C43-9E7E-4289-90E9-97E4D4D22D61}"/>
          </ac:spMkLst>
        </pc:spChg>
        <pc:spChg chg="mod">
          <ac:chgData name="Ugo MANTEL" userId="2d5b7065-31bb-4181-a7f8-a73bf0c30211" providerId="ADAL" clId="{F05BB0D5-3454-45DC-8378-DA45B79D9A06}" dt="2020-10-02T13:04:36.709" v="5384" actId="790"/>
          <ac:spMkLst>
            <pc:docMk/>
            <pc:sldMk cId="2646771071" sldId="7005"/>
            <ac:spMk id="88" creationId="{B3D0841A-0B3E-4BC5-8CC4-D5C677E13B94}"/>
          </ac:spMkLst>
        </pc:spChg>
        <pc:spChg chg="mod">
          <ac:chgData name="Ugo MANTEL" userId="2d5b7065-31bb-4181-a7f8-a73bf0c30211" providerId="ADAL" clId="{F05BB0D5-3454-45DC-8378-DA45B79D9A06}" dt="2020-10-02T13:04:36.727" v="5395" actId="790"/>
          <ac:spMkLst>
            <pc:docMk/>
            <pc:sldMk cId="2646771071" sldId="7005"/>
            <ac:spMk id="90" creationId="{A1290A94-D65C-4816-AD66-B4A12F2731DA}"/>
          </ac:spMkLst>
        </pc:spChg>
        <pc:spChg chg="mod">
          <ac:chgData name="Ugo MANTEL" userId="2d5b7065-31bb-4181-a7f8-a73bf0c30211" providerId="ADAL" clId="{F05BB0D5-3454-45DC-8378-DA45B79D9A06}" dt="2020-10-02T13:04:36.728" v="5396" actId="790"/>
          <ac:spMkLst>
            <pc:docMk/>
            <pc:sldMk cId="2646771071" sldId="7005"/>
            <ac:spMk id="91" creationId="{E0B40404-719C-43CC-A2EB-D90237C6D6AE}"/>
          </ac:spMkLst>
        </pc:spChg>
        <pc:spChg chg="mod">
          <ac:chgData name="Ugo MANTEL" userId="2d5b7065-31bb-4181-a7f8-a73bf0c30211" providerId="ADAL" clId="{F05BB0D5-3454-45DC-8378-DA45B79D9A06}" dt="2020-10-02T13:04:36.692" v="5357" actId="790"/>
          <ac:spMkLst>
            <pc:docMk/>
            <pc:sldMk cId="2646771071" sldId="7005"/>
            <ac:spMk id="92" creationId="{4034B504-DD0B-494A-9246-92D23B444B29}"/>
          </ac:spMkLst>
        </pc:spChg>
        <pc:spChg chg="mod">
          <ac:chgData name="Ugo MANTEL" userId="2d5b7065-31bb-4181-a7f8-a73bf0c30211" providerId="ADAL" clId="{F05BB0D5-3454-45DC-8378-DA45B79D9A06}" dt="2020-10-02T13:04:36.692" v="5358" actId="790"/>
          <ac:spMkLst>
            <pc:docMk/>
            <pc:sldMk cId="2646771071" sldId="7005"/>
            <ac:spMk id="93" creationId="{84B6EF74-E001-4B67-AAD5-08AD784BF559}"/>
          </ac:spMkLst>
        </pc:spChg>
        <pc:spChg chg="mod">
          <ac:chgData name="Ugo MANTEL" userId="2d5b7065-31bb-4181-a7f8-a73bf0c30211" providerId="ADAL" clId="{F05BB0D5-3454-45DC-8378-DA45B79D9A06}" dt="2020-10-02T13:04:36.684" v="5346" actId="790"/>
          <ac:spMkLst>
            <pc:docMk/>
            <pc:sldMk cId="2646771071" sldId="7005"/>
            <ac:spMk id="106" creationId="{97F50AB4-C1F2-4A92-BACA-19A8BE369ACB}"/>
          </ac:spMkLst>
        </pc:spChg>
        <pc:spChg chg="mod">
          <ac:chgData name="Ugo MANTEL" userId="2d5b7065-31bb-4181-a7f8-a73bf0c30211" providerId="ADAL" clId="{F05BB0D5-3454-45DC-8378-DA45B79D9A06}" dt="2020-10-02T13:04:36.685" v="5347" actId="790"/>
          <ac:spMkLst>
            <pc:docMk/>
            <pc:sldMk cId="2646771071" sldId="7005"/>
            <ac:spMk id="107" creationId="{4D738589-EFFB-4FE2-AAEB-463D7A615DAF}"/>
          </ac:spMkLst>
        </pc:spChg>
        <pc:spChg chg="mod">
          <ac:chgData name="Ugo MANTEL" userId="2d5b7065-31bb-4181-a7f8-a73bf0c30211" providerId="ADAL" clId="{F05BB0D5-3454-45DC-8378-DA45B79D9A06}" dt="2020-10-02T13:04:36.686" v="5348" actId="790"/>
          <ac:spMkLst>
            <pc:docMk/>
            <pc:sldMk cId="2646771071" sldId="7005"/>
            <ac:spMk id="108" creationId="{64D7BDE4-B2B9-4322-980A-151F43EEC038}"/>
          </ac:spMkLst>
        </pc:spChg>
        <pc:spChg chg="mod">
          <ac:chgData name="Ugo MANTEL" userId="2d5b7065-31bb-4181-a7f8-a73bf0c30211" providerId="ADAL" clId="{F05BB0D5-3454-45DC-8378-DA45B79D9A06}" dt="2020-10-02T13:04:36.686" v="5349" actId="790"/>
          <ac:spMkLst>
            <pc:docMk/>
            <pc:sldMk cId="2646771071" sldId="7005"/>
            <ac:spMk id="111" creationId="{7083E020-F02E-4594-8353-06855FDF7CFA}"/>
          </ac:spMkLst>
        </pc:spChg>
        <pc:spChg chg="mod">
          <ac:chgData name="Ugo MANTEL" userId="2d5b7065-31bb-4181-a7f8-a73bf0c30211" providerId="ADAL" clId="{F05BB0D5-3454-45DC-8378-DA45B79D9A06}" dt="2020-10-02T13:04:36.687" v="5350" actId="790"/>
          <ac:spMkLst>
            <pc:docMk/>
            <pc:sldMk cId="2646771071" sldId="7005"/>
            <ac:spMk id="132" creationId="{7A0928F4-B9F3-48EE-A0ED-853230AE10AA}"/>
          </ac:spMkLst>
        </pc:spChg>
        <pc:spChg chg="mod">
          <ac:chgData name="Ugo MANTEL" userId="2d5b7065-31bb-4181-a7f8-a73bf0c30211" providerId="ADAL" clId="{F05BB0D5-3454-45DC-8378-DA45B79D9A06}" dt="2020-10-02T13:04:36.688" v="5351" actId="790"/>
          <ac:spMkLst>
            <pc:docMk/>
            <pc:sldMk cId="2646771071" sldId="7005"/>
            <ac:spMk id="134" creationId="{1E16791D-02F2-4842-B7A4-AA41AB44B14C}"/>
          </ac:spMkLst>
        </pc:spChg>
        <pc:spChg chg="mod">
          <ac:chgData name="Ugo MANTEL" userId="2d5b7065-31bb-4181-a7f8-a73bf0c30211" providerId="ADAL" clId="{F05BB0D5-3454-45DC-8378-DA45B79D9A06}" dt="2020-10-02T13:04:36.689" v="5352" actId="790"/>
          <ac:spMkLst>
            <pc:docMk/>
            <pc:sldMk cId="2646771071" sldId="7005"/>
            <ac:spMk id="135" creationId="{64319EEA-820F-4025-A99F-412DAEE5A5C1}"/>
          </ac:spMkLst>
        </pc:spChg>
        <pc:spChg chg="mod">
          <ac:chgData name="Ugo MANTEL" userId="2d5b7065-31bb-4181-a7f8-a73bf0c30211" providerId="ADAL" clId="{F05BB0D5-3454-45DC-8378-DA45B79D9A06}" dt="2020-10-02T13:04:36.693" v="5359" actId="790"/>
          <ac:spMkLst>
            <pc:docMk/>
            <pc:sldMk cId="2646771071" sldId="7005"/>
            <ac:spMk id="159" creationId="{9FF02F23-11A6-4FBC-B96D-3436A079B145}"/>
          </ac:spMkLst>
        </pc:spChg>
        <pc:spChg chg="mod">
          <ac:chgData name="Ugo MANTEL" userId="2d5b7065-31bb-4181-a7f8-a73bf0c30211" providerId="ADAL" clId="{F05BB0D5-3454-45DC-8378-DA45B79D9A06}" dt="2020-10-02T13:04:36.694" v="5360" actId="790"/>
          <ac:spMkLst>
            <pc:docMk/>
            <pc:sldMk cId="2646771071" sldId="7005"/>
            <ac:spMk id="160" creationId="{88FD53E5-72E1-4902-82B7-436482D676C6}"/>
          </ac:spMkLst>
        </pc:spChg>
        <pc:spChg chg="mod">
          <ac:chgData name="Ugo MANTEL" userId="2d5b7065-31bb-4181-a7f8-a73bf0c30211" providerId="ADAL" clId="{F05BB0D5-3454-45DC-8378-DA45B79D9A06}" dt="2020-10-02T13:04:36.694" v="5361" actId="790"/>
          <ac:spMkLst>
            <pc:docMk/>
            <pc:sldMk cId="2646771071" sldId="7005"/>
            <ac:spMk id="162" creationId="{ABDDB01D-3E05-4D66-91E4-7D7EBFA3B986}"/>
          </ac:spMkLst>
        </pc:spChg>
        <pc:spChg chg="mod">
          <ac:chgData name="Ugo MANTEL" userId="2d5b7065-31bb-4181-a7f8-a73bf0c30211" providerId="ADAL" clId="{F05BB0D5-3454-45DC-8378-DA45B79D9A06}" dt="2020-10-02T13:04:36.695" v="5362" actId="790"/>
          <ac:spMkLst>
            <pc:docMk/>
            <pc:sldMk cId="2646771071" sldId="7005"/>
            <ac:spMk id="163" creationId="{5C64F8E9-0B57-4D04-9997-51401A076BA3}"/>
          </ac:spMkLst>
        </pc:spChg>
        <pc:spChg chg="mod">
          <ac:chgData name="Ugo MANTEL" userId="2d5b7065-31bb-4181-a7f8-a73bf0c30211" providerId="ADAL" clId="{F05BB0D5-3454-45DC-8378-DA45B79D9A06}" dt="2020-10-02T13:04:36.695" v="5363" actId="790"/>
          <ac:spMkLst>
            <pc:docMk/>
            <pc:sldMk cId="2646771071" sldId="7005"/>
            <ac:spMk id="165" creationId="{99C1C6EE-B268-4D81-9CCF-DB0E63EE5301}"/>
          </ac:spMkLst>
        </pc:spChg>
        <pc:spChg chg="mod">
          <ac:chgData name="Ugo MANTEL" userId="2d5b7065-31bb-4181-a7f8-a73bf0c30211" providerId="ADAL" clId="{F05BB0D5-3454-45DC-8378-DA45B79D9A06}" dt="2020-10-02T13:04:36.696" v="5364" actId="790"/>
          <ac:spMkLst>
            <pc:docMk/>
            <pc:sldMk cId="2646771071" sldId="7005"/>
            <ac:spMk id="168" creationId="{17C6C85C-961E-4E69-9FFC-74E122B986BD}"/>
          </ac:spMkLst>
        </pc:spChg>
        <pc:spChg chg="mod">
          <ac:chgData name="Ugo MANTEL" userId="2d5b7065-31bb-4181-a7f8-a73bf0c30211" providerId="ADAL" clId="{F05BB0D5-3454-45DC-8378-DA45B79D9A06}" dt="2020-10-02T13:04:36.697" v="5365" actId="790"/>
          <ac:spMkLst>
            <pc:docMk/>
            <pc:sldMk cId="2646771071" sldId="7005"/>
            <ac:spMk id="169" creationId="{6CA891D5-BCA2-4B24-885B-692EECC32196}"/>
          </ac:spMkLst>
        </pc:spChg>
        <pc:spChg chg="mod">
          <ac:chgData name="Ugo MANTEL" userId="2d5b7065-31bb-4181-a7f8-a73bf0c30211" providerId="ADAL" clId="{F05BB0D5-3454-45DC-8378-DA45B79D9A06}" dt="2020-10-02T13:04:36.698" v="5366" actId="790"/>
          <ac:spMkLst>
            <pc:docMk/>
            <pc:sldMk cId="2646771071" sldId="7005"/>
            <ac:spMk id="170" creationId="{96F6BBA4-55CD-4E7E-858A-7F7C6EA60CFF}"/>
          </ac:spMkLst>
        </pc:spChg>
        <pc:spChg chg="mod">
          <ac:chgData name="Ugo MANTEL" userId="2d5b7065-31bb-4181-a7f8-a73bf0c30211" providerId="ADAL" clId="{F05BB0D5-3454-45DC-8378-DA45B79D9A06}" dt="2020-10-02T13:04:36.698" v="5367" actId="790"/>
          <ac:spMkLst>
            <pc:docMk/>
            <pc:sldMk cId="2646771071" sldId="7005"/>
            <ac:spMk id="171" creationId="{D2C4B312-0FA5-4190-915E-9D32116C6E39}"/>
          </ac:spMkLst>
        </pc:spChg>
        <pc:spChg chg="mod">
          <ac:chgData name="Ugo MANTEL" userId="2d5b7065-31bb-4181-a7f8-a73bf0c30211" providerId="ADAL" clId="{F05BB0D5-3454-45DC-8378-DA45B79D9A06}" dt="2020-10-02T13:04:36.699" v="5368" actId="790"/>
          <ac:spMkLst>
            <pc:docMk/>
            <pc:sldMk cId="2646771071" sldId="7005"/>
            <ac:spMk id="172" creationId="{4179423D-85FD-4FAE-A860-4E7B74FDDF54}"/>
          </ac:spMkLst>
        </pc:spChg>
        <pc:spChg chg="mod">
          <ac:chgData name="Ugo MANTEL" userId="2d5b7065-31bb-4181-a7f8-a73bf0c30211" providerId="ADAL" clId="{F05BB0D5-3454-45DC-8378-DA45B79D9A06}" dt="2020-10-02T13:04:36.700" v="5369" actId="790"/>
          <ac:spMkLst>
            <pc:docMk/>
            <pc:sldMk cId="2646771071" sldId="7005"/>
            <ac:spMk id="173" creationId="{E36399FB-35D6-4E17-8A75-2E32662D510B}"/>
          </ac:spMkLst>
        </pc:spChg>
        <pc:spChg chg="mod">
          <ac:chgData name="Ugo MANTEL" userId="2d5b7065-31bb-4181-a7f8-a73bf0c30211" providerId="ADAL" clId="{F05BB0D5-3454-45DC-8378-DA45B79D9A06}" dt="2020-10-02T13:04:36.700" v="5370" actId="790"/>
          <ac:spMkLst>
            <pc:docMk/>
            <pc:sldMk cId="2646771071" sldId="7005"/>
            <ac:spMk id="174" creationId="{0436B4C1-2554-417E-84C6-51693276686A}"/>
          </ac:spMkLst>
        </pc:spChg>
        <pc:spChg chg="mod">
          <ac:chgData name="Ugo MANTEL" userId="2d5b7065-31bb-4181-a7f8-a73bf0c30211" providerId="ADAL" clId="{F05BB0D5-3454-45DC-8378-DA45B79D9A06}" dt="2020-10-02T13:04:36.701" v="5371" actId="790"/>
          <ac:spMkLst>
            <pc:docMk/>
            <pc:sldMk cId="2646771071" sldId="7005"/>
            <ac:spMk id="175" creationId="{9C80114C-4E79-4534-B4E4-7227CD32081E}"/>
          </ac:spMkLst>
        </pc:spChg>
        <pc:spChg chg="mod">
          <ac:chgData name="Ugo MANTEL" userId="2d5b7065-31bb-4181-a7f8-a73bf0c30211" providerId="ADAL" clId="{F05BB0D5-3454-45DC-8378-DA45B79D9A06}" dt="2020-10-02T13:04:36.703" v="5374" actId="790"/>
          <ac:spMkLst>
            <pc:docMk/>
            <pc:sldMk cId="2646771071" sldId="7005"/>
            <ac:spMk id="179" creationId="{C2D436DF-0E21-4363-959C-5BEDE7457192}"/>
          </ac:spMkLst>
        </pc:spChg>
        <pc:spChg chg="mod">
          <ac:chgData name="Ugo MANTEL" userId="2d5b7065-31bb-4181-a7f8-a73bf0c30211" providerId="ADAL" clId="{F05BB0D5-3454-45DC-8378-DA45B79D9A06}" dt="2020-10-02T13:04:36.703" v="5375" actId="790"/>
          <ac:spMkLst>
            <pc:docMk/>
            <pc:sldMk cId="2646771071" sldId="7005"/>
            <ac:spMk id="180" creationId="{33A296AD-D7A3-4CE5-8A6F-022BEAAEB55B}"/>
          </ac:spMkLst>
        </pc:spChg>
        <pc:spChg chg="mod">
          <ac:chgData name="Ugo MANTEL" userId="2d5b7065-31bb-4181-a7f8-a73bf0c30211" providerId="ADAL" clId="{F05BB0D5-3454-45DC-8378-DA45B79D9A06}" dt="2020-10-02T13:04:36.701" v="5372" actId="790"/>
          <ac:spMkLst>
            <pc:docMk/>
            <pc:sldMk cId="2646771071" sldId="7005"/>
            <ac:spMk id="181" creationId="{B2A9A696-9838-4001-8851-E8F03D4EE8AC}"/>
          </ac:spMkLst>
        </pc:spChg>
        <pc:spChg chg="mod">
          <ac:chgData name="Ugo MANTEL" userId="2d5b7065-31bb-4181-a7f8-a73bf0c30211" providerId="ADAL" clId="{F05BB0D5-3454-45DC-8378-DA45B79D9A06}" dt="2020-10-02T13:04:36.702" v="5373" actId="790"/>
          <ac:spMkLst>
            <pc:docMk/>
            <pc:sldMk cId="2646771071" sldId="7005"/>
            <ac:spMk id="182" creationId="{4C1E4AE4-9932-4603-BCAE-0D2009B050D7}"/>
          </ac:spMkLst>
        </pc:spChg>
        <pc:spChg chg="mod">
          <ac:chgData name="Ugo MANTEL" userId="2d5b7065-31bb-4181-a7f8-a73bf0c30211" providerId="ADAL" clId="{F05BB0D5-3454-45DC-8378-DA45B79D9A06}" dt="2020-10-02T13:04:36.705" v="5378" actId="790"/>
          <ac:spMkLst>
            <pc:docMk/>
            <pc:sldMk cId="2646771071" sldId="7005"/>
            <ac:spMk id="185" creationId="{C7C816CF-D68D-43AA-AC8C-5B1BEF369D3F}"/>
          </ac:spMkLst>
        </pc:spChg>
        <pc:spChg chg="mod">
          <ac:chgData name="Ugo MANTEL" userId="2d5b7065-31bb-4181-a7f8-a73bf0c30211" providerId="ADAL" clId="{F05BB0D5-3454-45DC-8378-DA45B79D9A06}" dt="2020-10-02T13:04:36.705" v="5379" actId="790"/>
          <ac:spMkLst>
            <pc:docMk/>
            <pc:sldMk cId="2646771071" sldId="7005"/>
            <ac:spMk id="187" creationId="{CFD239D0-0AA5-4F8A-8218-A671B3D2766B}"/>
          </ac:spMkLst>
        </pc:spChg>
        <pc:spChg chg="mod">
          <ac:chgData name="Ugo MANTEL" userId="2d5b7065-31bb-4181-a7f8-a73bf0c30211" providerId="ADAL" clId="{F05BB0D5-3454-45DC-8378-DA45B79D9A06}" dt="2020-10-02T13:04:36.704" v="5376" actId="790"/>
          <ac:spMkLst>
            <pc:docMk/>
            <pc:sldMk cId="2646771071" sldId="7005"/>
            <ac:spMk id="191" creationId="{75931FE7-44DB-456C-B894-9CCA73D84DA4}"/>
          </ac:spMkLst>
        </pc:spChg>
        <pc:spChg chg="mod">
          <ac:chgData name="Ugo MANTEL" userId="2d5b7065-31bb-4181-a7f8-a73bf0c30211" providerId="ADAL" clId="{F05BB0D5-3454-45DC-8378-DA45B79D9A06}" dt="2020-10-02T13:04:36.704" v="5377" actId="790"/>
          <ac:spMkLst>
            <pc:docMk/>
            <pc:sldMk cId="2646771071" sldId="7005"/>
            <ac:spMk id="192" creationId="{7862E793-61CC-4D4E-BBAA-5100A162D8C5}"/>
          </ac:spMkLst>
        </pc:spChg>
        <pc:spChg chg="mod">
          <ac:chgData name="Ugo MANTEL" userId="2d5b7065-31bb-4181-a7f8-a73bf0c30211" providerId="ADAL" clId="{F05BB0D5-3454-45DC-8378-DA45B79D9A06}" dt="2020-10-02T13:04:36.706" v="5380" actId="790"/>
          <ac:spMkLst>
            <pc:docMk/>
            <pc:sldMk cId="2646771071" sldId="7005"/>
            <ac:spMk id="196" creationId="{53DBAC9D-20A5-4254-BEEA-DC92076704E8}"/>
          </ac:spMkLst>
        </pc:spChg>
        <pc:spChg chg="mod">
          <ac:chgData name="Ugo MANTEL" userId="2d5b7065-31bb-4181-a7f8-a73bf0c30211" providerId="ADAL" clId="{F05BB0D5-3454-45DC-8378-DA45B79D9A06}" dt="2020-10-02T13:04:36.707" v="5381" actId="790"/>
          <ac:spMkLst>
            <pc:docMk/>
            <pc:sldMk cId="2646771071" sldId="7005"/>
            <ac:spMk id="197" creationId="{8437311C-1FA0-4C74-AB79-66F47DEBE8F1}"/>
          </ac:spMkLst>
        </pc:spChg>
        <pc:spChg chg="mod">
          <ac:chgData name="Ugo MANTEL" userId="2d5b7065-31bb-4181-a7f8-a73bf0c30211" providerId="ADAL" clId="{F05BB0D5-3454-45DC-8378-DA45B79D9A06}" dt="2020-10-02T13:04:36.711" v="5385" actId="790"/>
          <ac:spMkLst>
            <pc:docMk/>
            <pc:sldMk cId="2646771071" sldId="7005"/>
            <ac:spMk id="198" creationId="{E9C09309-4397-4D0D-9139-8BCDDAC2A071}"/>
          </ac:spMkLst>
        </pc:spChg>
        <pc:spChg chg="mod">
          <ac:chgData name="Ugo MANTEL" userId="2d5b7065-31bb-4181-a7f8-a73bf0c30211" providerId="ADAL" clId="{F05BB0D5-3454-45DC-8378-DA45B79D9A06}" dt="2020-10-02T13:04:36.713" v="5386" actId="790"/>
          <ac:spMkLst>
            <pc:docMk/>
            <pc:sldMk cId="2646771071" sldId="7005"/>
            <ac:spMk id="199" creationId="{BF670DFB-DF36-4588-837A-8D29573F15D2}"/>
          </ac:spMkLst>
        </pc:spChg>
        <pc:spChg chg="mod">
          <ac:chgData name="Ugo MANTEL" userId="2d5b7065-31bb-4181-a7f8-a73bf0c30211" providerId="ADAL" clId="{F05BB0D5-3454-45DC-8378-DA45B79D9A06}" dt="2020-10-02T13:04:36.716" v="5387" actId="790"/>
          <ac:spMkLst>
            <pc:docMk/>
            <pc:sldMk cId="2646771071" sldId="7005"/>
            <ac:spMk id="200" creationId="{3A0AB619-BC22-46FF-A2F4-CBDDDFE1A7BA}"/>
          </ac:spMkLst>
        </pc:spChg>
        <pc:spChg chg="mod">
          <ac:chgData name="Ugo MANTEL" userId="2d5b7065-31bb-4181-a7f8-a73bf0c30211" providerId="ADAL" clId="{F05BB0D5-3454-45DC-8378-DA45B79D9A06}" dt="2020-10-02T13:04:36.718" v="5388" actId="790"/>
          <ac:spMkLst>
            <pc:docMk/>
            <pc:sldMk cId="2646771071" sldId="7005"/>
            <ac:spMk id="202" creationId="{9B262CE2-7E55-4C11-BCC5-AF32A2E2CEEC}"/>
          </ac:spMkLst>
        </pc:spChg>
        <pc:spChg chg="mod">
          <ac:chgData name="Ugo MANTEL" userId="2d5b7065-31bb-4181-a7f8-a73bf0c30211" providerId="ADAL" clId="{F05BB0D5-3454-45DC-8378-DA45B79D9A06}" dt="2020-10-02T13:04:36.719" v="5389" actId="790"/>
          <ac:spMkLst>
            <pc:docMk/>
            <pc:sldMk cId="2646771071" sldId="7005"/>
            <ac:spMk id="207" creationId="{9E32D39B-3566-48FA-BD44-D3FBCAAA7633}"/>
          </ac:spMkLst>
        </pc:spChg>
        <pc:spChg chg="mod">
          <ac:chgData name="Ugo MANTEL" userId="2d5b7065-31bb-4181-a7f8-a73bf0c30211" providerId="ADAL" clId="{F05BB0D5-3454-45DC-8378-DA45B79D9A06}" dt="2020-10-02T13:04:36.720" v="5390" actId="790"/>
          <ac:spMkLst>
            <pc:docMk/>
            <pc:sldMk cId="2646771071" sldId="7005"/>
            <ac:spMk id="209" creationId="{C07072E9-E162-4201-ACA3-BB3B73AB4D16}"/>
          </ac:spMkLst>
        </pc:spChg>
        <pc:spChg chg="mod">
          <ac:chgData name="Ugo MANTEL" userId="2d5b7065-31bb-4181-a7f8-a73bf0c30211" providerId="ADAL" clId="{F05BB0D5-3454-45DC-8378-DA45B79D9A06}" dt="2020-10-02T13:04:36.721" v="5391" actId="790"/>
          <ac:spMkLst>
            <pc:docMk/>
            <pc:sldMk cId="2646771071" sldId="7005"/>
            <ac:spMk id="217" creationId="{752FBCD1-D327-48C2-8595-FA83932D8B27}"/>
          </ac:spMkLst>
        </pc:spChg>
        <pc:spChg chg="mod">
          <ac:chgData name="Ugo MANTEL" userId="2d5b7065-31bb-4181-a7f8-a73bf0c30211" providerId="ADAL" clId="{F05BB0D5-3454-45DC-8378-DA45B79D9A06}" dt="2020-10-02T13:04:36.722" v="5392" actId="790"/>
          <ac:spMkLst>
            <pc:docMk/>
            <pc:sldMk cId="2646771071" sldId="7005"/>
            <ac:spMk id="218" creationId="{2DDB44C2-2429-4E1F-9DFC-F2F9459DF2F0}"/>
          </ac:spMkLst>
        </pc:spChg>
        <pc:spChg chg="mod">
          <ac:chgData name="Ugo MANTEL" userId="2d5b7065-31bb-4181-a7f8-a73bf0c30211" providerId="ADAL" clId="{F05BB0D5-3454-45DC-8378-DA45B79D9A06}" dt="2020-10-02T13:04:36.724" v="5393" actId="790"/>
          <ac:spMkLst>
            <pc:docMk/>
            <pc:sldMk cId="2646771071" sldId="7005"/>
            <ac:spMk id="219" creationId="{BA014DD9-47C5-4F8A-B2E1-5A959C7E0666}"/>
          </ac:spMkLst>
        </pc:spChg>
        <pc:spChg chg="mod">
          <ac:chgData name="Ugo MANTEL" userId="2d5b7065-31bb-4181-a7f8-a73bf0c30211" providerId="ADAL" clId="{F05BB0D5-3454-45DC-8378-DA45B79D9A06}" dt="2020-10-02T13:04:36.726" v="5394" actId="790"/>
          <ac:spMkLst>
            <pc:docMk/>
            <pc:sldMk cId="2646771071" sldId="7005"/>
            <ac:spMk id="220" creationId="{0D62FE39-7952-408B-B587-2433D291281D}"/>
          </ac:spMkLst>
        </pc:spChg>
      </pc:sldChg>
      <pc:sldChg chg="modSp mod">
        <pc:chgData name="Ugo MANTEL" userId="2d5b7065-31bb-4181-a7f8-a73bf0c30211" providerId="ADAL" clId="{F05BB0D5-3454-45DC-8378-DA45B79D9A06}" dt="2020-10-02T13:04:37.344" v="5783" actId="790"/>
        <pc:sldMkLst>
          <pc:docMk/>
          <pc:sldMk cId="337664102" sldId="7006"/>
        </pc:sldMkLst>
        <pc:spChg chg="mod">
          <ac:chgData name="Ugo MANTEL" userId="2d5b7065-31bb-4181-a7f8-a73bf0c30211" providerId="ADAL" clId="{F05BB0D5-3454-45DC-8378-DA45B79D9A06}" dt="2020-10-02T13:04:37.336" v="5780" actId="790"/>
          <ac:spMkLst>
            <pc:docMk/>
            <pc:sldMk cId="337664102" sldId="7006"/>
            <ac:spMk id="2" creationId="{6A44C8C8-2F36-450B-A067-045DF42C7170}"/>
          </ac:spMkLst>
        </pc:spChg>
        <pc:spChg chg="mod">
          <ac:chgData name="Ugo MANTEL" userId="2d5b7065-31bb-4181-a7f8-a73bf0c30211" providerId="ADAL" clId="{F05BB0D5-3454-45DC-8378-DA45B79D9A06}" dt="2020-10-02T13:04:37.338" v="5781" actId="790"/>
          <ac:spMkLst>
            <pc:docMk/>
            <pc:sldMk cId="337664102" sldId="7006"/>
            <ac:spMk id="3" creationId="{59AD0D4C-52B6-4887-95DD-FD6DE794558F}"/>
          </ac:spMkLst>
        </pc:spChg>
        <pc:spChg chg="mod">
          <ac:chgData name="Ugo MANTEL" userId="2d5b7065-31bb-4181-a7f8-a73bf0c30211" providerId="ADAL" clId="{F05BB0D5-3454-45DC-8378-DA45B79D9A06}" dt="2020-10-02T13:04:37.341" v="5782" actId="790"/>
          <ac:spMkLst>
            <pc:docMk/>
            <pc:sldMk cId="337664102" sldId="7006"/>
            <ac:spMk id="4" creationId="{F0A06676-82C0-4F43-87A1-A34EA0E8CFAF}"/>
          </ac:spMkLst>
        </pc:spChg>
        <pc:spChg chg="mod">
          <ac:chgData name="Ugo MANTEL" userId="2d5b7065-31bb-4181-a7f8-a73bf0c30211" providerId="ADAL" clId="{F05BB0D5-3454-45DC-8378-DA45B79D9A06}" dt="2020-10-02T13:04:37.344" v="5783" actId="790"/>
          <ac:spMkLst>
            <pc:docMk/>
            <pc:sldMk cId="337664102" sldId="7006"/>
            <ac:spMk id="71" creationId="{2A230948-1EC9-463F-98FF-E0E458B9B00C}"/>
          </ac:spMkLst>
        </pc:spChg>
      </pc:sldChg>
      <pc:sldChg chg="modSp mod">
        <pc:chgData name="Ugo MANTEL" userId="2d5b7065-31bb-4181-a7f8-a73bf0c30211" providerId="ADAL" clId="{F05BB0D5-3454-45DC-8378-DA45B79D9A06}" dt="2020-10-02T13:04:37.637" v="5880" actId="790"/>
        <pc:sldMkLst>
          <pc:docMk/>
          <pc:sldMk cId="98982834" sldId="7007"/>
        </pc:sldMkLst>
        <pc:spChg chg="mod">
          <ac:chgData name="Ugo MANTEL" userId="2d5b7065-31bb-4181-a7f8-a73bf0c30211" providerId="ADAL" clId="{F05BB0D5-3454-45DC-8378-DA45B79D9A06}" dt="2020-10-02T13:04:37.625" v="5877" actId="790"/>
          <ac:spMkLst>
            <pc:docMk/>
            <pc:sldMk cId="98982834" sldId="7007"/>
            <ac:spMk id="2" creationId="{6A44C8C8-2F36-450B-A067-045DF42C7170}"/>
          </ac:spMkLst>
        </pc:spChg>
        <pc:spChg chg="mod">
          <ac:chgData name="Ugo MANTEL" userId="2d5b7065-31bb-4181-a7f8-a73bf0c30211" providerId="ADAL" clId="{F05BB0D5-3454-45DC-8378-DA45B79D9A06}" dt="2020-10-02T13:04:37.627" v="5878" actId="790"/>
          <ac:spMkLst>
            <pc:docMk/>
            <pc:sldMk cId="98982834" sldId="7007"/>
            <ac:spMk id="3" creationId="{59AD0D4C-52B6-4887-95DD-FD6DE794558F}"/>
          </ac:spMkLst>
        </pc:spChg>
        <pc:spChg chg="mod">
          <ac:chgData name="Ugo MANTEL" userId="2d5b7065-31bb-4181-a7f8-a73bf0c30211" providerId="ADAL" clId="{F05BB0D5-3454-45DC-8378-DA45B79D9A06}" dt="2020-10-02T13:04:37.634" v="5879" actId="790"/>
          <ac:spMkLst>
            <pc:docMk/>
            <pc:sldMk cId="98982834" sldId="7007"/>
            <ac:spMk id="4" creationId="{F0A06676-82C0-4F43-87A1-A34EA0E8CFAF}"/>
          </ac:spMkLst>
        </pc:spChg>
        <pc:spChg chg="mod">
          <ac:chgData name="Ugo MANTEL" userId="2d5b7065-31bb-4181-a7f8-a73bf0c30211" providerId="ADAL" clId="{F05BB0D5-3454-45DC-8378-DA45B79D9A06}" dt="2020-10-02T13:04:37.637" v="5880" actId="790"/>
          <ac:spMkLst>
            <pc:docMk/>
            <pc:sldMk cId="98982834" sldId="7007"/>
            <ac:spMk id="71" creationId="{2A230948-1EC9-463F-98FF-E0E458B9B00C}"/>
          </ac:spMkLst>
        </pc:spChg>
      </pc:sldChg>
      <pc:sldChg chg="modSp mod">
        <pc:chgData name="Ugo MANTEL" userId="2d5b7065-31bb-4181-a7f8-a73bf0c30211" providerId="ADAL" clId="{F05BB0D5-3454-45DC-8378-DA45B79D9A06}" dt="2020-10-02T13:04:38.004" v="5966" actId="790"/>
        <pc:sldMkLst>
          <pc:docMk/>
          <pc:sldMk cId="2896264086" sldId="7008"/>
        </pc:sldMkLst>
        <pc:spChg chg="mod">
          <ac:chgData name="Ugo MANTEL" userId="2d5b7065-31bb-4181-a7f8-a73bf0c30211" providerId="ADAL" clId="{F05BB0D5-3454-45DC-8378-DA45B79D9A06}" dt="2020-10-02T13:04:37.993" v="5963" actId="790"/>
          <ac:spMkLst>
            <pc:docMk/>
            <pc:sldMk cId="2896264086" sldId="7008"/>
            <ac:spMk id="2" creationId="{6A44C8C8-2F36-450B-A067-045DF42C7170}"/>
          </ac:spMkLst>
        </pc:spChg>
        <pc:spChg chg="mod">
          <ac:chgData name="Ugo MANTEL" userId="2d5b7065-31bb-4181-a7f8-a73bf0c30211" providerId="ADAL" clId="{F05BB0D5-3454-45DC-8378-DA45B79D9A06}" dt="2020-10-02T13:04:37.995" v="5964" actId="790"/>
          <ac:spMkLst>
            <pc:docMk/>
            <pc:sldMk cId="2896264086" sldId="7008"/>
            <ac:spMk id="3" creationId="{59AD0D4C-52B6-4887-95DD-FD6DE794558F}"/>
          </ac:spMkLst>
        </pc:spChg>
        <pc:spChg chg="mod">
          <ac:chgData name="Ugo MANTEL" userId="2d5b7065-31bb-4181-a7f8-a73bf0c30211" providerId="ADAL" clId="{F05BB0D5-3454-45DC-8378-DA45B79D9A06}" dt="2020-10-02T13:04:38" v="5965" actId="790"/>
          <ac:spMkLst>
            <pc:docMk/>
            <pc:sldMk cId="2896264086" sldId="7008"/>
            <ac:spMk id="4" creationId="{F0A06676-82C0-4F43-87A1-A34EA0E8CFAF}"/>
          </ac:spMkLst>
        </pc:spChg>
        <pc:spChg chg="mod">
          <ac:chgData name="Ugo MANTEL" userId="2d5b7065-31bb-4181-a7f8-a73bf0c30211" providerId="ADAL" clId="{F05BB0D5-3454-45DC-8378-DA45B79D9A06}" dt="2020-10-02T13:04:38.004" v="5966" actId="790"/>
          <ac:spMkLst>
            <pc:docMk/>
            <pc:sldMk cId="2896264086" sldId="7008"/>
            <ac:spMk id="71" creationId="{2A230948-1EC9-463F-98FF-E0E458B9B00C}"/>
          </ac:spMkLst>
        </pc:spChg>
      </pc:sldChg>
      <pc:sldChg chg="modSp mod">
        <pc:chgData name="Ugo MANTEL" userId="2d5b7065-31bb-4181-a7f8-a73bf0c30211" providerId="ADAL" clId="{F05BB0D5-3454-45DC-8378-DA45B79D9A06}" dt="2020-10-02T15:20:18.008" v="6977" actId="27918"/>
        <pc:sldMkLst>
          <pc:docMk/>
          <pc:sldMk cId="2190796301" sldId="7009"/>
        </pc:sldMkLst>
        <pc:spChg chg="mod">
          <ac:chgData name="Ugo MANTEL" userId="2d5b7065-31bb-4181-a7f8-a73bf0c30211" providerId="ADAL" clId="{F05BB0D5-3454-45DC-8378-DA45B79D9A06}" dt="2020-10-02T13:04:32.549" v="1464" actId="790"/>
          <ac:spMkLst>
            <pc:docMk/>
            <pc:sldMk cId="2190796301" sldId="7009"/>
            <ac:spMk id="3" creationId="{748376CE-8CE9-4270-BCC5-FF81F21E6EB4}"/>
          </ac:spMkLst>
        </pc:spChg>
        <pc:spChg chg="mod">
          <ac:chgData name="Ugo MANTEL" userId="2d5b7065-31bb-4181-a7f8-a73bf0c30211" providerId="ADAL" clId="{F05BB0D5-3454-45DC-8378-DA45B79D9A06}" dt="2020-10-02T13:04:32.575" v="1484" actId="790"/>
          <ac:spMkLst>
            <pc:docMk/>
            <pc:sldMk cId="2190796301" sldId="7009"/>
            <ac:spMk id="5" creationId="{C2BE1FD7-242D-405F-9583-E426167BABCF}"/>
          </ac:spMkLst>
        </pc:spChg>
        <pc:spChg chg="mod">
          <ac:chgData name="Ugo MANTEL" userId="2d5b7065-31bb-4181-a7f8-a73bf0c30211" providerId="ADAL" clId="{F05BB0D5-3454-45DC-8378-DA45B79D9A06}" dt="2020-10-02T13:04:32.550" v="1465" actId="790"/>
          <ac:spMkLst>
            <pc:docMk/>
            <pc:sldMk cId="2190796301" sldId="7009"/>
            <ac:spMk id="6" creationId="{DBD9DB15-66E2-47F5-8345-A626A98D460C}"/>
          </ac:spMkLst>
        </pc:spChg>
        <pc:spChg chg="mod">
          <ac:chgData name="Ugo MANTEL" userId="2d5b7065-31bb-4181-a7f8-a73bf0c30211" providerId="ADAL" clId="{F05BB0D5-3454-45DC-8378-DA45B79D9A06}" dt="2020-10-02T13:04:32.551" v="1466" actId="790"/>
          <ac:spMkLst>
            <pc:docMk/>
            <pc:sldMk cId="2190796301" sldId="7009"/>
            <ac:spMk id="7" creationId="{EDF31B05-C628-49A7-84C1-8815E03B2092}"/>
          </ac:spMkLst>
        </pc:spChg>
        <pc:spChg chg="mod">
          <ac:chgData name="Ugo MANTEL" userId="2d5b7065-31bb-4181-a7f8-a73bf0c30211" providerId="ADAL" clId="{F05BB0D5-3454-45DC-8378-DA45B79D9A06}" dt="2020-10-02T13:04:32.583" v="1491" actId="790"/>
          <ac:spMkLst>
            <pc:docMk/>
            <pc:sldMk cId="2190796301" sldId="7009"/>
            <ac:spMk id="8" creationId="{F74BF5DD-9C3E-4107-B2F6-6C1B3C8E01F3}"/>
          </ac:spMkLst>
        </pc:spChg>
        <pc:spChg chg="mod">
          <ac:chgData name="Ugo MANTEL" userId="2d5b7065-31bb-4181-a7f8-a73bf0c30211" providerId="ADAL" clId="{F05BB0D5-3454-45DC-8378-DA45B79D9A06}" dt="2020-10-02T13:04:32.552" v="1467" actId="790"/>
          <ac:spMkLst>
            <pc:docMk/>
            <pc:sldMk cId="2190796301" sldId="7009"/>
            <ac:spMk id="9" creationId="{9F62BC4A-095C-4674-8BF1-0854344AED23}"/>
          </ac:spMkLst>
        </pc:spChg>
        <pc:spChg chg="mod">
          <ac:chgData name="Ugo MANTEL" userId="2d5b7065-31bb-4181-a7f8-a73bf0c30211" providerId="ADAL" clId="{F05BB0D5-3454-45DC-8378-DA45B79D9A06}" dt="2020-10-02T13:04:32.553" v="1468" actId="790"/>
          <ac:spMkLst>
            <pc:docMk/>
            <pc:sldMk cId="2190796301" sldId="7009"/>
            <ac:spMk id="10" creationId="{6A93C87A-47E8-46EB-8D5C-35CB3C68221A}"/>
          </ac:spMkLst>
        </pc:spChg>
        <pc:spChg chg="mod">
          <ac:chgData name="Ugo MANTEL" userId="2d5b7065-31bb-4181-a7f8-a73bf0c30211" providerId="ADAL" clId="{F05BB0D5-3454-45DC-8378-DA45B79D9A06}" dt="2020-10-02T13:04:32.548" v="1463" actId="790"/>
          <ac:spMkLst>
            <pc:docMk/>
            <pc:sldMk cId="2190796301" sldId="7009"/>
            <ac:spMk id="11" creationId="{D564330D-A578-4298-842B-B0EEED11C426}"/>
          </ac:spMkLst>
        </pc:spChg>
        <pc:spChg chg="mod">
          <ac:chgData name="Ugo MANTEL" userId="2d5b7065-31bb-4181-a7f8-a73bf0c30211" providerId="ADAL" clId="{F05BB0D5-3454-45DC-8378-DA45B79D9A06}" dt="2020-10-02T13:04:32.554" v="1469" actId="790"/>
          <ac:spMkLst>
            <pc:docMk/>
            <pc:sldMk cId="2190796301" sldId="7009"/>
            <ac:spMk id="13" creationId="{3DDC8206-0B22-4352-A7C3-793E20949F1B}"/>
          </ac:spMkLst>
        </pc:spChg>
        <pc:spChg chg="mod">
          <ac:chgData name="Ugo MANTEL" userId="2d5b7065-31bb-4181-a7f8-a73bf0c30211" providerId="ADAL" clId="{F05BB0D5-3454-45DC-8378-DA45B79D9A06}" dt="2020-10-02T13:04:32.554" v="1470" actId="790"/>
          <ac:spMkLst>
            <pc:docMk/>
            <pc:sldMk cId="2190796301" sldId="7009"/>
            <ac:spMk id="14" creationId="{B9338DA5-F565-435D-AFC4-7915A744460F}"/>
          </ac:spMkLst>
        </pc:spChg>
        <pc:spChg chg="mod">
          <ac:chgData name="Ugo MANTEL" userId="2d5b7065-31bb-4181-a7f8-a73bf0c30211" providerId="ADAL" clId="{F05BB0D5-3454-45DC-8378-DA45B79D9A06}" dt="2020-10-02T13:04:32.555" v="1471" actId="790"/>
          <ac:spMkLst>
            <pc:docMk/>
            <pc:sldMk cId="2190796301" sldId="7009"/>
            <ac:spMk id="19" creationId="{49A05D93-7CA8-4353-B161-43B4768B24DC}"/>
          </ac:spMkLst>
        </pc:spChg>
        <pc:spChg chg="mod">
          <ac:chgData name="Ugo MANTEL" userId="2d5b7065-31bb-4181-a7f8-a73bf0c30211" providerId="ADAL" clId="{F05BB0D5-3454-45DC-8378-DA45B79D9A06}" dt="2020-10-02T13:04:32.559" v="1477" actId="790"/>
          <ac:spMkLst>
            <pc:docMk/>
            <pc:sldMk cId="2190796301" sldId="7009"/>
            <ac:spMk id="20" creationId="{D54E648E-9AB7-48BC-8D79-4A661BA4B99C}"/>
          </ac:spMkLst>
        </pc:spChg>
        <pc:spChg chg="mod">
          <ac:chgData name="Ugo MANTEL" userId="2d5b7065-31bb-4181-a7f8-a73bf0c30211" providerId="ADAL" clId="{F05BB0D5-3454-45DC-8378-DA45B79D9A06}" dt="2020-10-02T13:04:32.559" v="1478" actId="790"/>
          <ac:spMkLst>
            <pc:docMk/>
            <pc:sldMk cId="2190796301" sldId="7009"/>
            <ac:spMk id="21" creationId="{4413C54A-23FB-4FFC-A537-E5B039B6EFC0}"/>
          </ac:spMkLst>
        </pc:spChg>
        <pc:spChg chg="mod">
          <ac:chgData name="Ugo MANTEL" userId="2d5b7065-31bb-4181-a7f8-a73bf0c30211" providerId="ADAL" clId="{F05BB0D5-3454-45DC-8378-DA45B79D9A06}" dt="2020-10-02T13:04:32.555" v="1472" actId="790"/>
          <ac:spMkLst>
            <pc:docMk/>
            <pc:sldMk cId="2190796301" sldId="7009"/>
            <ac:spMk id="29" creationId="{6A57239F-273F-4B05-AABA-99F407B112E6}"/>
          </ac:spMkLst>
        </pc:spChg>
        <pc:spChg chg="mod">
          <ac:chgData name="Ugo MANTEL" userId="2d5b7065-31bb-4181-a7f8-a73bf0c30211" providerId="ADAL" clId="{F05BB0D5-3454-45DC-8378-DA45B79D9A06}" dt="2020-10-02T13:04:32.556" v="1473" actId="790"/>
          <ac:spMkLst>
            <pc:docMk/>
            <pc:sldMk cId="2190796301" sldId="7009"/>
            <ac:spMk id="36" creationId="{0FA9C5EB-911B-461F-B036-2EDC726DACAA}"/>
          </ac:spMkLst>
        </pc:spChg>
        <pc:spChg chg="mod">
          <ac:chgData name="Ugo MANTEL" userId="2d5b7065-31bb-4181-a7f8-a73bf0c30211" providerId="ADAL" clId="{F05BB0D5-3454-45DC-8378-DA45B79D9A06}" dt="2020-10-02T13:04:32.557" v="1474" actId="790"/>
          <ac:spMkLst>
            <pc:docMk/>
            <pc:sldMk cId="2190796301" sldId="7009"/>
            <ac:spMk id="37" creationId="{EDD82E92-AC5D-4EDC-9641-8F05B60D3C20}"/>
          </ac:spMkLst>
        </pc:spChg>
        <pc:spChg chg="mod">
          <ac:chgData name="Ugo MANTEL" userId="2d5b7065-31bb-4181-a7f8-a73bf0c30211" providerId="ADAL" clId="{F05BB0D5-3454-45DC-8378-DA45B79D9A06}" dt="2020-10-02T13:04:32.558" v="1475" actId="790"/>
          <ac:spMkLst>
            <pc:docMk/>
            <pc:sldMk cId="2190796301" sldId="7009"/>
            <ac:spMk id="38" creationId="{19958C83-CA2C-45E2-A9D5-146D8A1C38CE}"/>
          </ac:spMkLst>
        </pc:spChg>
        <pc:spChg chg="mod">
          <ac:chgData name="Ugo MANTEL" userId="2d5b7065-31bb-4181-a7f8-a73bf0c30211" providerId="ADAL" clId="{F05BB0D5-3454-45DC-8378-DA45B79D9A06}" dt="2020-10-02T13:04:32.558" v="1476" actId="790"/>
          <ac:spMkLst>
            <pc:docMk/>
            <pc:sldMk cId="2190796301" sldId="7009"/>
            <ac:spMk id="39" creationId="{6E3E471B-9108-45D9-9B3A-CC2D68284D48}"/>
          </ac:spMkLst>
        </pc:spChg>
        <pc:spChg chg="mod">
          <ac:chgData name="Ugo MANTEL" userId="2d5b7065-31bb-4181-a7f8-a73bf0c30211" providerId="ADAL" clId="{F05BB0D5-3454-45DC-8378-DA45B79D9A06}" dt="2020-10-02T13:04:32.560" v="1479" actId="790"/>
          <ac:spMkLst>
            <pc:docMk/>
            <pc:sldMk cId="2190796301" sldId="7009"/>
            <ac:spMk id="41" creationId="{D02B8EB8-EAC5-4CC3-BD5A-E3165F30F6A9}"/>
          </ac:spMkLst>
        </pc:spChg>
        <pc:spChg chg="mod">
          <ac:chgData name="Ugo MANTEL" userId="2d5b7065-31bb-4181-a7f8-a73bf0c30211" providerId="ADAL" clId="{F05BB0D5-3454-45DC-8378-DA45B79D9A06}" dt="2020-10-02T13:04:32.560" v="1480" actId="790"/>
          <ac:spMkLst>
            <pc:docMk/>
            <pc:sldMk cId="2190796301" sldId="7009"/>
            <ac:spMk id="42" creationId="{034C130F-7FD0-4EA3-8AFC-344475A7868A}"/>
          </ac:spMkLst>
        </pc:spChg>
        <pc:spChg chg="mod">
          <ac:chgData name="Ugo MANTEL" userId="2d5b7065-31bb-4181-a7f8-a73bf0c30211" providerId="ADAL" clId="{F05BB0D5-3454-45DC-8378-DA45B79D9A06}" dt="2020-10-02T13:04:32.573" v="1481" actId="790"/>
          <ac:spMkLst>
            <pc:docMk/>
            <pc:sldMk cId="2190796301" sldId="7009"/>
            <ac:spMk id="43" creationId="{2FF5ED70-50C7-4628-992D-BA68A952A0A1}"/>
          </ac:spMkLst>
        </pc:spChg>
        <pc:spChg chg="mod">
          <ac:chgData name="Ugo MANTEL" userId="2d5b7065-31bb-4181-a7f8-a73bf0c30211" providerId="ADAL" clId="{F05BB0D5-3454-45DC-8378-DA45B79D9A06}" dt="2020-10-02T13:04:32.574" v="1482" actId="790"/>
          <ac:spMkLst>
            <pc:docMk/>
            <pc:sldMk cId="2190796301" sldId="7009"/>
            <ac:spMk id="50" creationId="{F9C4C24B-FEB7-49DB-849E-9DB18EE0D38B}"/>
          </ac:spMkLst>
        </pc:spChg>
        <pc:spChg chg="mod">
          <ac:chgData name="Ugo MANTEL" userId="2d5b7065-31bb-4181-a7f8-a73bf0c30211" providerId="ADAL" clId="{F05BB0D5-3454-45DC-8378-DA45B79D9A06}" dt="2020-10-02T13:04:32.574" v="1483" actId="790"/>
          <ac:spMkLst>
            <pc:docMk/>
            <pc:sldMk cId="2190796301" sldId="7009"/>
            <ac:spMk id="59" creationId="{252E9BC1-689B-4E82-A808-C908B89808D8}"/>
          </ac:spMkLst>
        </pc:spChg>
        <pc:spChg chg="mod">
          <ac:chgData name="Ugo MANTEL" userId="2d5b7065-31bb-4181-a7f8-a73bf0c30211" providerId="ADAL" clId="{F05BB0D5-3454-45DC-8378-DA45B79D9A06}" dt="2020-10-02T13:04:32.576" v="1485" actId="790"/>
          <ac:spMkLst>
            <pc:docMk/>
            <pc:sldMk cId="2190796301" sldId="7009"/>
            <ac:spMk id="60" creationId="{684E5C29-8D10-4FA6-B851-B68483CC187D}"/>
          </ac:spMkLst>
        </pc:spChg>
        <pc:spChg chg="mod">
          <ac:chgData name="Ugo MANTEL" userId="2d5b7065-31bb-4181-a7f8-a73bf0c30211" providerId="ADAL" clId="{F05BB0D5-3454-45DC-8378-DA45B79D9A06}" dt="2020-10-02T13:04:32.576" v="1486" actId="790"/>
          <ac:spMkLst>
            <pc:docMk/>
            <pc:sldMk cId="2190796301" sldId="7009"/>
            <ac:spMk id="67" creationId="{A6EFDB0B-0155-4C37-A098-73365350EA2A}"/>
          </ac:spMkLst>
        </pc:spChg>
        <pc:spChg chg="mod">
          <ac:chgData name="Ugo MANTEL" userId="2d5b7065-31bb-4181-a7f8-a73bf0c30211" providerId="ADAL" clId="{F05BB0D5-3454-45DC-8378-DA45B79D9A06}" dt="2020-10-02T13:04:32.577" v="1487" actId="790"/>
          <ac:spMkLst>
            <pc:docMk/>
            <pc:sldMk cId="2190796301" sldId="7009"/>
            <ac:spMk id="68" creationId="{74032168-D6A2-4B50-9D24-532B323FB82F}"/>
          </ac:spMkLst>
        </pc:spChg>
        <pc:spChg chg="mod">
          <ac:chgData name="Ugo MANTEL" userId="2d5b7065-31bb-4181-a7f8-a73bf0c30211" providerId="ADAL" clId="{F05BB0D5-3454-45DC-8378-DA45B79D9A06}" dt="2020-10-02T13:04:32.577" v="1488" actId="790"/>
          <ac:spMkLst>
            <pc:docMk/>
            <pc:sldMk cId="2190796301" sldId="7009"/>
            <ac:spMk id="69" creationId="{1FF75278-CA94-4871-B5C0-89F85AB5D5A7}"/>
          </ac:spMkLst>
        </pc:spChg>
        <pc:spChg chg="mod">
          <ac:chgData name="Ugo MANTEL" userId="2d5b7065-31bb-4181-a7f8-a73bf0c30211" providerId="ADAL" clId="{F05BB0D5-3454-45DC-8378-DA45B79D9A06}" dt="2020-10-02T13:04:32.578" v="1489" actId="790"/>
          <ac:spMkLst>
            <pc:docMk/>
            <pc:sldMk cId="2190796301" sldId="7009"/>
            <ac:spMk id="70" creationId="{B0E52101-26C1-4BB1-ABB5-C8327F9213A2}"/>
          </ac:spMkLst>
        </pc:spChg>
        <pc:spChg chg="mod">
          <ac:chgData name="Ugo MANTEL" userId="2d5b7065-31bb-4181-a7f8-a73bf0c30211" providerId="ADAL" clId="{F05BB0D5-3454-45DC-8378-DA45B79D9A06}" dt="2020-10-02T13:04:32.579" v="1490" actId="790"/>
          <ac:spMkLst>
            <pc:docMk/>
            <pc:sldMk cId="2190796301" sldId="7009"/>
            <ac:spMk id="77" creationId="{4721D394-E657-4FED-A39D-D12747DE4BA9}"/>
          </ac:spMkLst>
        </pc:spChg>
        <pc:graphicFrameChg chg="mod">
          <ac:chgData name="Ugo MANTEL" userId="2d5b7065-31bb-4181-a7f8-a73bf0c30211" providerId="ADAL" clId="{F05BB0D5-3454-45DC-8378-DA45B79D9A06}" dt="2020-10-02T12:28:43.242" v="697" actId="207"/>
          <ac:graphicFrameMkLst>
            <pc:docMk/>
            <pc:sldMk cId="2190796301" sldId="7009"/>
            <ac:graphicFrameMk id="45" creationId="{7D0EFD98-758B-45B3-97BF-CE241986ECF7}"/>
          </ac:graphicFrameMkLst>
        </pc:graphicFrameChg>
        <pc:graphicFrameChg chg="mod">
          <ac:chgData name="Ugo MANTEL" userId="2d5b7065-31bb-4181-a7f8-a73bf0c30211" providerId="ADAL" clId="{F05BB0D5-3454-45DC-8378-DA45B79D9A06}" dt="2020-10-02T15:00:33.374" v="6946"/>
          <ac:graphicFrameMkLst>
            <pc:docMk/>
            <pc:sldMk cId="2190796301" sldId="7009"/>
            <ac:graphicFrameMk id="49" creationId="{1903CFC9-61D0-4FF7-A22F-28FA1F560959}"/>
          </ac:graphicFrameMkLst>
        </pc:graphicFrameChg>
      </pc:sldChg>
      <pc:sldChg chg="modSp mod">
        <pc:chgData name="Ugo MANTEL" userId="2d5b7065-31bb-4181-a7f8-a73bf0c30211" providerId="ADAL" clId="{F05BB0D5-3454-45DC-8378-DA45B79D9A06}" dt="2020-10-02T13:04:34.021" v="2939" actId="790"/>
        <pc:sldMkLst>
          <pc:docMk/>
          <pc:sldMk cId="747328579" sldId="7023"/>
        </pc:sldMkLst>
        <pc:spChg chg="mod">
          <ac:chgData name="Ugo MANTEL" userId="2d5b7065-31bb-4181-a7f8-a73bf0c30211" providerId="ADAL" clId="{F05BB0D5-3454-45DC-8378-DA45B79D9A06}" dt="2020-10-02T13:04:33.981" v="2883" actId="790"/>
          <ac:spMkLst>
            <pc:docMk/>
            <pc:sldMk cId="747328579" sldId="7023"/>
            <ac:spMk id="3" creationId="{DD0833A5-4EAE-4CE9-8039-61F0BAB63E55}"/>
          </ac:spMkLst>
        </pc:spChg>
        <pc:spChg chg="mod">
          <ac:chgData name="Ugo MANTEL" userId="2d5b7065-31bb-4181-a7f8-a73bf0c30211" providerId="ADAL" clId="{F05BB0D5-3454-45DC-8378-DA45B79D9A06}" dt="2020-10-02T13:04:33.981" v="2884" actId="790"/>
          <ac:spMkLst>
            <pc:docMk/>
            <pc:sldMk cId="747328579" sldId="7023"/>
            <ac:spMk id="6" creationId="{3FE12521-EEA8-4DE6-B205-9D74694BC96C}"/>
          </ac:spMkLst>
        </pc:spChg>
        <pc:spChg chg="mod">
          <ac:chgData name="Ugo MANTEL" userId="2d5b7065-31bb-4181-a7f8-a73bf0c30211" providerId="ADAL" clId="{F05BB0D5-3454-45DC-8378-DA45B79D9A06}" dt="2020-10-02T13:04:33.982" v="2885" actId="790"/>
          <ac:spMkLst>
            <pc:docMk/>
            <pc:sldMk cId="747328579" sldId="7023"/>
            <ac:spMk id="8" creationId="{00452729-6C80-4ADE-814F-2CFA18003E7F}"/>
          </ac:spMkLst>
        </pc:spChg>
        <pc:spChg chg="mod">
          <ac:chgData name="Ugo MANTEL" userId="2d5b7065-31bb-4181-a7f8-a73bf0c30211" providerId="ADAL" clId="{F05BB0D5-3454-45DC-8378-DA45B79D9A06}" dt="2020-10-02T13:04:33.984" v="2889" actId="790"/>
          <ac:spMkLst>
            <pc:docMk/>
            <pc:sldMk cId="747328579" sldId="7023"/>
            <ac:spMk id="9" creationId="{51007B97-16D1-48DC-9E57-6216CEE30E1E}"/>
          </ac:spMkLst>
        </pc:spChg>
        <pc:spChg chg="mod">
          <ac:chgData name="Ugo MANTEL" userId="2d5b7065-31bb-4181-a7f8-a73bf0c30211" providerId="ADAL" clId="{F05BB0D5-3454-45DC-8378-DA45B79D9A06}" dt="2020-10-02T13:04:33.985" v="2890" actId="790"/>
          <ac:spMkLst>
            <pc:docMk/>
            <pc:sldMk cId="747328579" sldId="7023"/>
            <ac:spMk id="10" creationId="{DAD33592-395B-40F7-81DF-CB034FF9EE34}"/>
          </ac:spMkLst>
        </pc:spChg>
        <pc:spChg chg="mod">
          <ac:chgData name="Ugo MANTEL" userId="2d5b7065-31bb-4181-a7f8-a73bf0c30211" providerId="ADAL" clId="{F05BB0D5-3454-45DC-8378-DA45B79D9A06}" dt="2020-10-02T13:04:33.982" v="2886" actId="790"/>
          <ac:spMkLst>
            <pc:docMk/>
            <pc:sldMk cId="747328579" sldId="7023"/>
            <ac:spMk id="11" creationId="{C8E66DAC-0921-490A-9D89-A7ED56BC46E3}"/>
          </ac:spMkLst>
        </pc:spChg>
        <pc:spChg chg="mod">
          <ac:chgData name="Ugo MANTEL" userId="2d5b7065-31bb-4181-a7f8-a73bf0c30211" providerId="ADAL" clId="{F05BB0D5-3454-45DC-8378-DA45B79D9A06}" dt="2020-10-02T13:04:33.983" v="2887" actId="790"/>
          <ac:spMkLst>
            <pc:docMk/>
            <pc:sldMk cId="747328579" sldId="7023"/>
            <ac:spMk id="12" creationId="{0F387F71-5AE4-488F-A5CC-2027BBCF61AC}"/>
          </ac:spMkLst>
        </pc:spChg>
        <pc:spChg chg="mod">
          <ac:chgData name="Ugo MANTEL" userId="2d5b7065-31bb-4181-a7f8-a73bf0c30211" providerId="ADAL" clId="{F05BB0D5-3454-45DC-8378-DA45B79D9A06}" dt="2020-10-02T13:04:33.984" v="2888" actId="790"/>
          <ac:spMkLst>
            <pc:docMk/>
            <pc:sldMk cId="747328579" sldId="7023"/>
            <ac:spMk id="13" creationId="{EE59AB04-B79E-4C6E-B6C7-D42B918A6E05}"/>
          </ac:spMkLst>
        </pc:spChg>
        <pc:spChg chg="mod">
          <ac:chgData name="Ugo MANTEL" userId="2d5b7065-31bb-4181-a7f8-a73bf0c30211" providerId="ADAL" clId="{F05BB0D5-3454-45DC-8378-DA45B79D9A06}" dt="2020-10-02T13:04:33.986" v="2891" actId="790"/>
          <ac:spMkLst>
            <pc:docMk/>
            <pc:sldMk cId="747328579" sldId="7023"/>
            <ac:spMk id="15" creationId="{2CE941FA-5D35-4F27-9CA2-169CBAB39C6F}"/>
          </ac:spMkLst>
        </pc:spChg>
        <pc:spChg chg="mod">
          <ac:chgData name="Ugo MANTEL" userId="2d5b7065-31bb-4181-a7f8-a73bf0c30211" providerId="ADAL" clId="{F05BB0D5-3454-45DC-8378-DA45B79D9A06}" dt="2020-10-02T13:04:33.986" v="2892" actId="790"/>
          <ac:spMkLst>
            <pc:docMk/>
            <pc:sldMk cId="747328579" sldId="7023"/>
            <ac:spMk id="16" creationId="{6ED26453-24AE-4060-89D5-698136170840}"/>
          </ac:spMkLst>
        </pc:spChg>
        <pc:spChg chg="mod">
          <ac:chgData name="Ugo MANTEL" userId="2d5b7065-31bb-4181-a7f8-a73bf0c30211" providerId="ADAL" clId="{F05BB0D5-3454-45DC-8378-DA45B79D9A06}" dt="2020-10-02T13:04:33.987" v="2893" actId="790"/>
          <ac:spMkLst>
            <pc:docMk/>
            <pc:sldMk cId="747328579" sldId="7023"/>
            <ac:spMk id="17" creationId="{E92C7A57-CFCC-43DA-A6E0-B290CC0183D6}"/>
          </ac:spMkLst>
        </pc:spChg>
        <pc:spChg chg="mod">
          <ac:chgData name="Ugo MANTEL" userId="2d5b7065-31bb-4181-a7f8-a73bf0c30211" providerId="ADAL" clId="{F05BB0D5-3454-45DC-8378-DA45B79D9A06}" dt="2020-10-02T13:04:34.014" v="2928" actId="790"/>
          <ac:spMkLst>
            <pc:docMk/>
            <pc:sldMk cId="747328579" sldId="7023"/>
            <ac:spMk id="18" creationId="{9D9281FF-24D4-4A9A-BA31-36475CB53E34}"/>
          </ac:spMkLst>
        </pc:spChg>
        <pc:spChg chg="mod">
          <ac:chgData name="Ugo MANTEL" userId="2d5b7065-31bb-4181-a7f8-a73bf0c30211" providerId="ADAL" clId="{F05BB0D5-3454-45DC-8378-DA45B79D9A06}" dt="2020-10-02T13:04:33.995" v="2904" actId="790"/>
          <ac:spMkLst>
            <pc:docMk/>
            <pc:sldMk cId="747328579" sldId="7023"/>
            <ac:spMk id="24" creationId="{CCCE6D51-1F15-4AB3-9402-6C92704A3BFA}"/>
          </ac:spMkLst>
        </pc:spChg>
        <pc:spChg chg="mod">
          <ac:chgData name="Ugo MANTEL" userId="2d5b7065-31bb-4181-a7f8-a73bf0c30211" providerId="ADAL" clId="{F05BB0D5-3454-45DC-8378-DA45B79D9A06}" dt="2020-10-02T13:04:34.001" v="2911" actId="790"/>
          <ac:spMkLst>
            <pc:docMk/>
            <pc:sldMk cId="747328579" sldId="7023"/>
            <ac:spMk id="30" creationId="{5F1660DB-ED4E-47DA-B3DE-E4027F220E85}"/>
          </ac:spMkLst>
        </pc:spChg>
        <pc:spChg chg="mod">
          <ac:chgData name="Ugo MANTEL" userId="2d5b7065-31bb-4181-a7f8-a73bf0c30211" providerId="ADAL" clId="{F05BB0D5-3454-45DC-8378-DA45B79D9A06}" dt="2020-10-02T13:04:33.998" v="2907" actId="790"/>
          <ac:spMkLst>
            <pc:docMk/>
            <pc:sldMk cId="747328579" sldId="7023"/>
            <ac:spMk id="37" creationId="{2CDFFA4F-DFE8-4147-9B6E-62C27266B511}"/>
          </ac:spMkLst>
        </pc:spChg>
        <pc:spChg chg="mod">
          <ac:chgData name="Ugo MANTEL" userId="2d5b7065-31bb-4181-a7f8-a73bf0c30211" providerId="ADAL" clId="{F05BB0D5-3454-45DC-8378-DA45B79D9A06}" dt="2020-10-02T13:04:33.979" v="2882" actId="790"/>
          <ac:spMkLst>
            <pc:docMk/>
            <pc:sldMk cId="747328579" sldId="7023"/>
            <ac:spMk id="46" creationId="{226E1622-D6BD-4579-BEED-F63395A1E100}"/>
          </ac:spMkLst>
        </pc:spChg>
        <pc:spChg chg="mod">
          <ac:chgData name="Ugo MANTEL" userId="2d5b7065-31bb-4181-a7f8-a73bf0c30211" providerId="ADAL" clId="{F05BB0D5-3454-45DC-8378-DA45B79D9A06}" dt="2020-10-02T13:04:33.988" v="2894" actId="790"/>
          <ac:spMkLst>
            <pc:docMk/>
            <pc:sldMk cId="747328579" sldId="7023"/>
            <ac:spMk id="54" creationId="{AFDE1BFA-CA06-404A-9AEC-FD3A50599DC9}"/>
          </ac:spMkLst>
        </pc:spChg>
        <pc:spChg chg="mod">
          <ac:chgData name="Ugo MANTEL" userId="2d5b7065-31bb-4181-a7f8-a73bf0c30211" providerId="ADAL" clId="{F05BB0D5-3454-45DC-8378-DA45B79D9A06}" dt="2020-10-02T13:04:33.988" v="2895" actId="790"/>
          <ac:spMkLst>
            <pc:docMk/>
            <pc:sldMk cId="747328579" sldId="7023"/>
            <ac:spMk id="55" creationId="{CCF144B6-6FDA-472E-A89C-3600B9D866DD}"/>
          </ac:spMkLst>
        </pc:spChg>
        <pc:spChg chg="mod">
          <ac:chgData name="Ugo MANTEL" userId="2d5b7065-31bb-4181-a7f8-a73bf0c30211" providerId="ADAL" clId="{F05BB0D5-3454-45DC-8378-DA45B79D9A06}" dt="2020-10-02T13:04:33.989" v="2896" actId="790"/>
          <ac:spMkLst>
            <pc:docMk/>
            <pc:sldMk cId="747328579" sldId="7023"/>
            <ac:spMk id="56" creationId="{D1262E41-1D72-4A8B-B6F0-A6F40795DCE4}"/>
          </ac:spMkLst>
        </pc:spChg>
        <pc:spChg chg="mod">
          <ac:chgData name="Ugo MANTEL" userId="2d5b7065-31bb-4181-a7f8-a73bf0c30211" providerId="ADAL" clId="{F05BB0D5-3454-45DC-8378-DA45B79D9A06}" dt="2020-10-02T13:04:33.989" v="2897" actId="790"/>
          <ac:spMkLst>
            <pc:docMk/>
            <pc:sldMk cId="747328579" sldId="7023"/>
            <ac:spMk id="57" creationId="{72FF4E33-277B-49B5-8C52-3D9C36B67617}"/>
          </ac:spMkLst>
        </pc:spChg>
        <pc:spChg chg="mod">
          <ac:chgData name="Ugo MANTEL" userId="2d5b7065-31bb-4181-a7f8-a73bf0c30211" providerId="ADAL" clId="{F05BB0D5-3454-45DC-8378-DA45B79D9A06}" dt="2020-10-02T13:04:33.989" v="2898" actId="790"/>
          <ac:spMkLst>
            <pc:docMk/>
            <pc:sldMk cId="747328579" sldId="7023"/>
            <ac:spMk id="60" creationId="{4BABED7D-8DB0-4932-BB35-540FF7321E66}"/>
          </ac:spMkLst>
        </pc:spChg>
        <pc:spChg chg="mod">
          <ac:chgData name="Ugo MANTEL" userId="2d5b7065-31bb-4181-a7f8-a73bf0c30211" providerId="ADAL" clId="{F05BB0D5-3454-45DC-8378-DA45B79D9A06}" dt="2020-10-02T13:04:33.990" v="2899" actId="790"/>
          <ac:spMkLst>
            <pc:docMk/>
            <pc:sldMk cId="747328579" sldId="7023"/>
            <ac:spMk id="61" creationId="{668F72B6-C9FC-4A26-A746-30A61CFA6721}"/>
          </ac:spMkLst>
        </pc:spChg>
        <pc:spChg chg="mod">
          <ac:chgData name="Ugo MANTEL" userId="2d5b7065-31bb-4181-a7f8-a73bf0c30211" providerId="ADAL" clId="{F05BB0D5-3454-45DC-8378-DA45B79D9A06}" dt="2020-10-02T13:04:34.015" v="2929" actId="790"/>
          <ac:spMkLst>
            <pc:docMk/>
            <pc:sldMk cId="747328579" sldId="7023"/>
            <ac:spMk id="63" creationId="{D7346241-4023-409A-83C0-666A4A9D333F}"/>
          </ac:spMkLst>
        </pc:spChg>
        <pc:spChg chg="mod">
          <ac:chgData name="Ugo MANTEL" userId="2d5b7065-31bb-4181-a7f8-a73bf0c30211" providerId="ADAL" clId="{F05BB0D5-3454-45DC-8378-DA45B79D9A06}" dt="2020-10-02T13:04:33.999" v="2908" actId="790"/>
          <ac:spMkLst>
            <pc:docMk/>
            <pc:sldMk cId="747328579" sldId="7023"/>
            <ac:spMk id="65" creationId="{E99BC867-C03E-4D0D-BE7A-A83ABBB3E2BE}"/>
          </ac:spMkLst>
        </pc:spChg>
        <pc:spChg chg="mod">
          <ac:chgData name="Ugo MANTEL" userId="2d5b7065-31bb-4181-a7f8-a73bf0c30211" providerId="ADAL" clId="{F05BB0D5-3454-45DC-8378-DA45B79D9A06}" dt="2020-10-02T13:04:34.002" v="2912" actId="790"/>
          <ac:spMkLst>
            <pc:docMk/>
            <pc:sldMk cId="747328579" sldId="7023"/>
            <ac:spMk id="66" creationId="{98DC831B-2BC7-4525-903F-110A4785A4AB}"/>
          </ac:spMkLst>
        </pc:spChg>
        <pc:spChg chg="mod">
          <ac:chgData name="Ugo MANTEL" userId="2d5b7065-31bb-4181-a7f8-a73bf0c30211" providerId="ADAL" clId="{F05BB0D5-3454-45DC-8378-DA45B79D9A06}" dt="2020-10-02T13:04:33.995" v="2905" actId="790"/>
          <ac:spMkLst>
            <pc:docMk/>
            <pc:sldMk cId="747328579" sldId="7023"/>
            <ac:spMk id="67" creationId="{C6F09E0F-C2B8-4968-B0F4-78406EFC155A}"/>
          </ac:spMkLst>
        </pc:spChg>
        <pc:spChg chg="mod">
          <ac:chgData name="Ugo MANTEL" userId="2d5b7065-31bb-4181-a7f8-a73bf0c30211" providerId="ADAL" clId="{F05BB0D5-3454-45DC-8378-DA45B79D9A06}" dt="2020-10-02T13:04:34.016" v="2930" actId="790"/>
          <ac:spMkLst>
            <pc:docMk/>
            <pc:sldMk cId="747328579" sldId="7023"/>
            <ac:spMk id="69" creationId="{E5CD0C06-A0E2-4C64-9DEE-C6877F91E1F9}"/>
          </ac:spMkLst>
        </pc:spChg>
        <pc:spChg chg="mod">
          <ac:chgData name="Ugo MANTEL" userId="2d5b7065-31bb-4181-a7f8-a73bf0c30211" providerId="ADAL" clId="{F05BB0D5-3454-45DC-8378-DA45B79D9A06}" dt="2020-10-02T13:04:34.017" v="2931" actId="790"/>
          <ac:spMkLst>
            <pc:docMk/>
            <pc:sldMk cId="747328579" sldId="7023"/>
            <ac:spMk id="73" creationId="{04418DD6-0142-4601-B269-CCAAB2CCFBDD}"/>
          </ac:spMkLst>
        </pc:spChg>
        <pc:spChg chg="mod">
          <ac:chgData name="Ugo MANTEL" userId="2d5b7065-31bb-4181-a7f8-a73bf0c30211" providerId="ADAL" clId="{F05BB0D5-3454-45DC-8378-DA45B79D9A06}" dt="2020-10-02T13:04:33.991" v="2900" actId="790"/>
          <ac:spMkLst>
            <pc:docMk/>
            <pc:sldMk cId="747328579" sldId="7023"/>
            <ac:spMk id="82" creationId="{F9CE50F4-559F-4A63-8DED-004E061F20DD}"/>
          </ac:spMkLst>
        </pc:spChg>
        <pc:spChg chg="mod">
          <ac:chgData name="Ugo MANTEL" userId="2d5b7065-31bb-4181-a7f8-a73bf0c30211" providerId="ADAL" clId="{F05BB0D5-3454-45DC-8378-DA45B79D9A06}" dt="2020-10-02T13:04:33.992" v="2901" actId="790"/>
          <ac:spMkLst>
            <pc:docMk/>
            <pc:sldMk cId="747328579" sldId="7023"/>
            <ac:spMk id="83" creationId="{D96676D6-F9DD-4E31-936E-6A46DFE154AF}"/>
          </ac:spMkLst>
        </pc:spChg>
        <pc:spChg chg="mod">
          <ac:chgData name="Ugo MANTEL" userId="2d5b7065-31bb-4181-a7f8-a73bf0c30211" providerId="ADAL" clId="{F05BB0D5-3454-45DC-8378-DA45B79D9A06}" dt="2020-10-02T13:04:33.978" v="2881" actId="790"/>
          <ac:spMkLst>
            <pc:docMk/>
            <pc:sldMk cId="747328579" sldId="7023"/>
            <ac:spMk id="86" creationId="{ACE56A5D-72B2-46F1-B100-4883F6AE1D78}"/>
          </ac:spMkLst>
        </pc:spChg>
        <pc:spChg chg="mod">
          <ac:chgData name="Ugo MANTEL" userId="2d5b7065-31bb-4181-a7f8-a73bf0c30211" providerId="ADAL" clId="{F05BB0D5-3454-45DC-8378-DA45B79D9A06}" dt="2020-10-02T13:04:33.992" v="2902" actId="790"/>
          <ac:spMkLst>
            <pc:docMk/>
            <pc:sldMk cId="747328579" sldId="7023"/>
            <ac:spMk id="98" creationId="{C2D0B771-5F87-43C3-BF4B-CC772E064034}"/>
          </ac:spMkLst>
        </pc:spChg>
        <pc:spChg chg="mod">
          <ac:chgData name="Ugo MANTEL" userId="2d5b7065-31bb-4181-a7f8-a73bf0c30211" providerId="ADAL" clId="{F05BB0D5-3454-45DC-8378-DA45B79D9A06}" dt="2020-10-02T13:04:33.994" v="2903" actId="790"/>
          <ac:spMkLst>
            <pc:docMk/>
            <pc:sldMk cId="747328579" sldId="7023"/>
            <ac:spMk id="103" creationId="{DDAD27AB-985E-4685-BBDB-60A95AFDDE42}"/>
          </ac:spMkLst>
        </pc:spChg>
        <pc:spChg chg="mod">
          <ac:chgData name="Ugo MANTEL" userId="2d5b7065-31bb-4181-a7f8-a73bf0c30211" providerId="ADAL" clId="{F05BB0D5-3454-45DC-8378-DA45B79D9A06}" dt="2020-10-02T13:04:33.998" v="2906" actId="790"/>
          <ac:spMkLst>
            <pc:docMk/>
            <pc:sldMk cId="747328579" sldId="7023"/>
            <ac:spMk id="105" creationId="{D6E91577-39E8-4234-BD65-0DF3D22210FF}"/>
          </ac:spMkLst>
        </pc:spChg>
        <pc:spChg chg="mod">
          <ac:chgData name="Ugo MANTEL" userId="2d5b7065-31bb-4181-a7f8-a73bf0c30211" providerId="ADAL" clId="{F05BB0D5-3454-45DC-8378-DA45B79D9A06}" dt="2020-10-02T13:04:34.006" v="2919" actId="790"/>
          <ac:spMkLst>
            <pc:docMk/>
            <pc:sldMk cId="747328579" sldId="7023"/>
            <ac:spMk id="110" creationId="{69D3E9AD-8855-4592-B164-29330672FFCB}"/>
          </ac:spMkLst>
        </pc:spChg>
        <pc:spChg chg="mod">
          <ac:chgData name="Ugo MANTEL" userId="2d5b7065-31bb-4181-a7f8-a73bf0c30211" providerId="ADAL" clId="{F05BB0D5-3454-45DC-8378-DA45B79D9A06}" dt="2020-10-02T13:04:34.004" v="2915" actId="790"/>
          <ac:spMkLst>
            <pc:docMk/>
            <pc:sldMk cId="747328579" sldId="7023"/>
            <ac:spMk id="111" creationId="{06612EB1-C8E2-4A40-BA14-2108AEF36B9B}"/>
          </ac:spMkLst>
        </pc:spChg>
        <pc:spChg chg="mod">
          <ac:chgData name="Ugo MANTEL" userId="2d5b7065-31bb-4181-a7f8-a73bf0c30211" providerId="ADAL" clId="{F05BB0D5-3454-45DC-8378-DA45B79D9A06}" dt="2020-10-02T13:04:34.005" v="2916" actId="790"/>
          <ac:spMkLst>
            <pc:docMk/>
            <pc:sldMk cId="747328579" sldId="7023"/>
            <ac:spMk id="112" creationId="{8446021B-15A4-4308-A5A4-09D942148D72}"/>
          </ac:spMkLst>
        </pc:spChg>
        <pc:spChg chg="mod">
          <ac:chgData name="Ugo MANTEL" userId="2d5b7065-31bb-4181-a7f8-a73bf0c30211" providerId="ADAL" clId="{F05BB0D5-3454-45DC-8378-DA45B79D9A06}" dt="2020-10-02T13:04:34" v="2909" actId="790"/>
          <ac:spMkLst>
            <pc:docMk/>
            <pc:sldMk cId="747328579" sldId="7023"/>
            <ac:spMk id="117" creationId="{0E9EA3C1-E7BD-4660-AB57-7D2586F42CA2}"/>
          </ac:spMkLst>
        </pc:spChg>
        <pc:spChg chg="mod">
          <ac:chgData name="Ugo MANTEL" userId="2d5b7065-31bb-4181-a7f8-a73bf0c30211" providerId="ADAL" clId="{F05BB0D5-3454-45DC-8378-DA45B79D9A06}" dt="2020-10-02T13:04:34.001" v="2910" actId="790"/>
          <ac:spMkLst>
            <pc:docMk/>
            <pc:sldMk cId="747328579" sldId="7023"/>
            <ac:spMk id="119" creationId="{A959ADC4-ED31-408E-A7EC-C62F160E6203}"/>
          </ac:spMkLst>
        </pc:spChg>
        <pc:spChg chg="mod">
          <ac:chgData name="Ugo MANTEL" userId="2d5b7065-31bb-4181-a7f8-a73bf0c30211" providerId="ADAL" clId="{F05BB0D5-3454-45DC-8378-DA45B79D9A06}" dt="2020-10-02T13:04:34.018" v="2933" actId="790"/>
          <ac:spMkLst>
            <pc:docMk/>
            <pc:sldMk cId="747328579" sldId="7023"/>
            <ac:spMk id="120" creationId="{DA2F1A23-5B70-4CA7-B136-09A0B818BF78}"/>
          </ac:spMkLst>
        </pc:spChg>
        <pc:spChg chg="mod">
          <ac:chgData name="Ugo MANTEL" userId="2d5b7065-31bb-4181-a7f8-a73bf0c30211" providerId="ADAL" clId="{F05BB0D5-3454-45DC-8378-DA45B79D9A06}" dt="2020-10-02T13:04:34.018" v="2934" actId="790"/>
          <ac:spMkLst>
            <pc:docMk/>
            <pc:sldMk cId="747328579" sldId="7023"/>
            <ac:spMk id="123" creationId="{94871709-5128-4CB4-94C5-C91193B3380E}"/>
          </ac:spMkLst>
        </pc:spChg>
        <pc:spChg chg="mod">
          <ac:chgData name="Ugo MANTEL" userId="2d5b7065-31bb-4181-a7f8-a73bf0c30211" providerId="ADAL" clId="{F05BB0D5-3454-45DC-8378-DA45B79D9A06}" dt="2020-10-02T13:04:34.019" v="2935" actId="790"/>
          <ac:spMkLst>
            <pc:docMk/>
            <pc:sldMk cId="747328579" sldId="7023"/>
            <ac:spMk id="125" creationId="{E56E0948-D1AF-4944-BE6F-E19F8403F927}"/>
          </ac:spMkLst>
        </pc:spChg>
        <pc:spChg chg="mod">
          <ac:chgData name="Ugo MANTEL" userId="2d5b7065-31bb-4181-a7f8-a73bf0c30211" providerId="ADAL" clId="{F05BB0D5-3454-45DC-8378-DA45B79D9A06}" dt="2020-10-02T13:04:34.003" v="2913" actId="790"/>
          <ac:spMkLst>
            <pc:docMk/>
            <pc:sldMk cId="747328579" sldId="7023"/>
            <ac:spMk id="126" creationId="{9611BA06-BF76-4A65-9035-8B913FA3C382}"/>
          </ac:spMkLst>
        </pc:spChg>
        <pc:spChg chg="mod">
          <ac:chgData name="Ugo MANTEL" userId="2d5b7065-31bb-4181-a7f8-a73bf0c30211" providerId="ADAL" clId="{F05BB0D5-3454-45DC-8378-DA45B79D9A06}" dt="2020-10-02T13:04:34.003" v="2914" actId="790"/>
          <ac:spMkLst>
            <pc:docMk/>
            <pc:sldMk cId="747328579" sldId="7023"/>
            <ac:spMk id="127" creationId="{E3844DD8-62C8-434A-B1B6-DBB1ED4BBE67}"/>
          </ac:spMkLst>
        </pc:spChg>
        <pc:spChg chg="mod">
          <ac:chgData name="Ugo MANTEL" userId="2d5b7065-31bb-4181-a7f8-a73bf0c30211" providerId="ADAL" clId="{F05BB0D5-3454-45DC-8378-DA45B79D9A06}" dt="2020-10-02T13:04:34.020" v="2936" actId="790"/>
          <ac:spMkLst>
            <pc:docMk/>
            <pc:sldMk cId="747328579" sldId="7023"/>
            <ac:spMk id="130" creationId="{7B5FD2DA-E2C6-4E28-B739-55D3BAF13FF8}"/>
          </ac:spMkLst>
        </pc:spChg>
        <pc:spChg chg="mod">
          <ac:chgData name="Ugo MANTEL" userId="2d5b7065-31bb-4181-a7f8-a73bf0c30211" providerId="ADAL" clId="{F05BB0D5-3454-45DC-8378-DA45B79D9A06}" dt="2020-10-02T13:04:34.021" v="2939" actId="790"/>
          <ac:spMkLst>
            <pc:docMk/>
            <pc:sldMk cId="747328579" sldId="7023"/>
            <ac:spMk id="132" creationId="{011DD08F-BD70-457F-B1EC-5F0500C056AB}"/>
          </ac:spMkLst>
        </pc:spChg>
        <pc:spChg chg="mod">
          <ac:chgData name="Ugo MANTEL" userId="2d5b7065-31bb-4181-a7f8-a73bf0c30211" providerId="ADAL" clId="{F05BB0D5-3454-45DC-8378-DA45B79D9A06}" dt="2020-10-02T13:04:34.005" v="2917" actId="790"/>
          <ac:spMkLst>
            <pc:docMk/>
            <pc:sldMk cId="747328579" sldId="7023"/>
            <ac:spMk id="133" creationId="{B5574400-C57E-435C-A73E-950604EEB583}"/>
          </ac:spMkLst>
        </pc:spChg>
        <pc:spChg chg="mod">
          <ac:chgData name="Ugo MANTEL" userId="2d5b7065-31bb-4181-a7f8-a73bf0c30211" providerId="ADAL" clId="{F05BB0D5-3454-45DC-8378-DA45B79D9A06}" dt="2020-10-02T13:04:34.006" v="2918" actId="790"/>
          <ac:spMkLst>
            <pc:docMk/>
            <pc:sldMk cId="747328579" sldId="7023"/>
            <ac:spMk id="134" creationId="{067F4629-4D50-4AEF-B6FB-D143D8A47694}"/>
          </ac:spMkLst>
        </pc:spChg>
        <pc:spChg chg="mod">
          <ac:chgData name="Ugo MANTEL" userId="2d5b7065-31bb-4181-a7f8-a73bf0c30211" providerId="ADAL" clId="{F05BB0D5-3454-45DC-8378-DA45B79D9A06}" dt="2020-10-02T13:04:34.014" v="2927" actId="790"/>
          <ac:spMkLst>
            <pc:docMk/>
            <pc:sldMk cId="747328579" sldId="7023"/>
            <ac:spMk id="142" creationId="{3E966304-61B9-4E15-ABB7-2CBB9DEBFCB3}"/>
          </ac:spMkLst>
        </pc:spChg>
        <pc:spChg chg="mod">
          <ac:chgData name="Ugo MANTEL" userId="2d5b7065-31bb-4181-a7f8-a73bf0c30211" providerId="ADAL" clId="{F05BB0D5-3454-45DC-8378-DA45B79D9A06}" dt="2020-10-02T13:04:34.017" v="2932" actId="790"/>
          <ac:spMkLst>
            <pc:docMk/>
            <pc:sldMk cId="747328579" sldId="7023"/>
            <ac:spMk id="144" creationId="{2284F5FB-92A9-480A-9058-2849059212F6}"/>
          </ac:spMkLst>
        </pc:spChg>
        <pc:spChg chg="mod">
          <ac:chgData name="Ugo MANTEL" userId="2d5b7065-31bb-4181-a7f8-a73bf0c30211" providerId="ADAL" clId="{F05BB0D5-3454-45DC-8378-DA45B79D9A06}" dt="2020-10-02T13:04:34.021" v="2938" actId="790"/>
          <ac:spMkLst>
            <pc:docMk/>
            <pc:sldMk cId="747328579" sldId="7023"/>
            <ac:spMk id="148" creationId="{8DE3CB61-98FB-4675-90C1-2000CDA8D717}"/>
          </ac:spMkLst>
        </pc:spChg>
        <pc:spChg chg="mod">
          <ac:chgData name="Ugo MANTEL" userId="2d5b7065-31bb-4181-a7f8-a73bf0c30211" providerId="ADAL" clId="{F05BB0D5-3454-45DC-8378-DA45B79D9A06}" dt="2020-10-02T13:04:34.007" v="2920" actId="790"/>
          <ac:spMkLst>
            <pc:docMk/>
            <pc:sldMk cId="747328579" sldId="7023"/>
            <ac:spMk id="150" creationId="{A17A2065-946F-4282-BF0E-BF2A29568772}"/>
          </ac:spMkLst>
        </pc:spChg>
        <pc:spChg chg="mod">
          <ac:chgData name="Ugo MANTEL" userId="2d5b7065-31bb-4181-a7f8-a73bf0c30211" providerId="ADAL" clId="{F05BB0D5-3454-45DC-8378-DA45B79D9A06}" dt="2020-10-02T13:04:34.008" v="2921" actId="790"/>
          <ac:spMkLst>
            <pc:docMk/>
            <pc:sldMk cId="747328579" sldId="7023"/>
            <ac:spMk id="152" creationId="{2DFBD1B0-5249-4379-BB19-3027D2016888}"/>
          </ac:spMkLst>
        </pc:spChg>
        <pc:spChg chg="mod">
          <ac:chgData name="Ugo MANTEL" userId="2d5b7065-31bb-4181-a7f8-a73bf0c30211" providerId="ADAL" clId="{F05BB0D5-3454-45DC-8378-DA45B79D9A06}" dt="2020-10-02T13:04:34.020" v="2937" actId="790"/>
          <ac:spMkLst>
            <pc:docMk/>
            <pc:sldMk cId="747328579" sldId="7023"/>
            <ac:spMk id="154" creationId="{F98886B7-C722-44D9-9374-52ABE552328B}"/>
          </ac:spMkLst>
        </pc:spChg>
        <pc:spChg chg="mod">
          <ac:chgData name="Ugo MANTEL" userId="2d5b7065-31bb-4181-a7f8-a73bf0c30211" providerId="ADAL" clId="{F05BB0D5-3454-45DC-8378-DA45B79D9A06}" dt="2020-10-02T13:04:34.009" v="2922" actId="790"/>
          <ac:spMkLst>
            <pc:docMk/>
            <pc:sldMk cId="747328579" sldId="7023"/>
            <ac:spMk id="159" creationId="{B9E766AB-88EC-4924-931D-7C82E76216C3}"/>
          </ac:spMkLst>
        </pc:spChg>
        <pc:spChg chg="mod">
          <ac:chgData name="Ugo MANTEL" userId="2d5b7065-31bb-4181-a7f8-a73bf0c30211" providerId="ADAL" clId="{F05BB0D5-3454-45DC-8378-DA45B79D9A06}" dt="2020-10-02T13:04:34.010" v="2923" actId="790"/>
          <ac:spMkLst>
            <pc:docMk/>
            <pc:sldMk cId="747328579" sldId="7023"/>
            <ac:spMk id="160" creationId="{11FD22C4-B7CD-42CA-8FE4-CB109E449E4B}"/>
          </ac:spMkLst>
        </pc:spChg>
        <pc:spChg chg="mod">
          <ac:chgData name="Ugo MANTEL" userId="2d5b7065-31bb-4181-a7f8-a73bf0c30211" providerId="ADAL" clId="{F05BB0D5-3454-45DC-8378-DA45B79D9A06}" dt="2020-10-02T13:04:34.012" v="2924" actId="790"/>
          <ac:spMkLst>
            <pc:docMk/>
            <pc:sldMk cId="747328579" sldId="7023"/>
            <ac:spMk id="161" creationId="{BDB95085-8BE5-4A53-971E-2C30D51783DF}"/>
          </ac:spMkLst>
        </pc:spChg>
        <pc:spChg chg="mod">
          <ac:chgData name="Ugo MANTEL" userId="2d5b7065-31bb-4181-a7f8-a73bf0c30211" providerId="ADAL" clId="{F05BB0D5-3454-45DC-8378-DA45B79D9A06}" dt="2020-10-02T13:04:34.013" v="2925" actId="790"/>
          <ac:spMkLst>
            <pc:docMk/>
            <pc:sldMk cId="747328579" sldId="7023"/>
            <ac:spMk id="162" creationId="{26852FBC-5DC8-4480-BF36-069D0E40851C}"/>
          </ac:spMkLst>
        </pc:spChg>
        <pc:spChg chg="mod">
          <ac:chgData name="Ugo MANTEL" userId="2d5b7065-31bb-4181-a7f8-a73bf0c30211" providerId="ADAL" clId="{F05BB0D5-3454-45DC-8378-DA45B79D9A06}" dt="2020-10-02T13:04:34.013" v="2926" actId="790"/>
          <ac:spMkLst>
            <pc:docMk/>
            <pc:sldMk cId="747328579" sldId="7023"/>
            <ac:spMk id="164" creationId="{4872C8EF-37E1-40E7-82CA-5659802E0ABD}"/>
          </ac:spMkLst>
        </pc:spChg>
      </pc:sldChg>
      <pc:sldChg chg="modSp mod">
        <pc:chgData name="Ugo MANTEL" userId="2d5b7065-31bb-4181-a7f8-a73bf0c30211" providerId="ADAL" clId="{F05BB0D5-3454-45DC-8378-DA45B79D9A06}" dt="2020-10-02T13:04:33.978" v="2880" actId="790"/>
        <pc:sldMkLst>
          <pc:docMk/>
          <pc:sldMk cId="2784942929" sldId="7024"/>
        </pc:sldMkLst>
        <pc:spChg chg="mod">
          <ac:chgData name="Ugo MANTEL" userId="2d5b7065-31bb-4181-a7f8-a73bf0c30211" providerId="ADAL" clId="{F05BB0D5-3454-45DC-8378-DA45B79D9A06}" dt="2020-10-02T13:04:33.952" v="2848" actId="790"/>
          <ac:spMkLst>
            <pc:docMk/>
            <pc:sldMk cId="2784942929" sldId="7024"/>
            <ac:spMk id="3" creationId="{DD0833A5-4EAE-4CE9-8039-61F0BAB63E55}"/>
          </ac:spMkLst>
        </pc:spChg>
        <pc:spChg chg="mod">
          <ac:chgData name="Ugo MANTEL" userId="2d5b7065-31bb-4181-a7f8-a73bf0c30211" providerId="ADAL" clId="{F05BB0D5-3454-45DC-8378-DA45B79D9A06}" dt="2020-10-02T13:04:33.953" v="2849" actId="790"/>
          <ac:spMkLst>
            <pc:docMk/>
            <pc:sldMk cId="2784942929" sldId="7024"/>
            <ac:spMk id="6" creationId="{3FE12521-EEA8-4DE6-B205-9D74694BC96C}"/>
          </ac:spMkLst>
        </pc:spChg>
        <pc:spChg chg="mod">
          <ac:chgData name="Ugo MANTEL" userId="2d5b7065-31bb-4181-a7f8-a73bf0c30211" providerId="ADAL" clId="{F05BB0D5-3454-45DC-8378-DA45B79D9A06}" dt="2020-10-02T13:04:33.960" v="2859" actId="790"/>
          <ac:spMkLst>
            <pc:docMk/>
            <pc:sldMk cId="2784942929" sldId="7024"/>
            <ac:spMk id="11" creationId="{C8E66DAC-0921-490A-9D89-A7ED56BC46E3}"/>
          </ac:spMkLst>
        </pc:spChg>
        <pc:spChg chg="mod">
          <ac:chgData name="Ugo MANTEL" userId="2d5b7065-31bb-4181-a7f8-a73bf0c30211" providerId="ADAL" clId="{F05BB0D5-3454-45DC-8378-DA45B79D9A06}" dt="2020-10-02T13:04:33.960" v="2860" actId="790"/>
          <ac:spMkLst>
            <pc:docMk/>
            <pc:sldMk cId="2784942929" sldId="7024"/>
            <ac:spMk id="12" creationId="{0F387F71-5AE4-488F-A5CC-2027BBCF61AC}"/>
          </ac:spMkLst>
        </pc:spChg>
        <pc:spChg chg="mod">
          <ac:chgData name="Ugo MANTEL" userId="2d5b7065-31bb-4181-a7f8-a73bf0c30211" providerId="ADAL" clId="{F05BB0D5-3454-45DC-8378-DA45B79D9A06}" dt="2020-10-02T13:04:33.961" v="2861" actId="790"/>
          <ac:spMkLst>
            <pc:docMk/>
            <pc:sldMk cId="2784942929" sldId="7024"/>
            <ac:spMk id="13" creationId="{EE59AB04-B79E-4C6E-B6C7-D42B918A6E05}"/>
          </ac:spMkLst>
        </pc:spChg>
        <pc:spChg chg="mod">
          <ac:chgData name="Ugo MANTEL" userId="2d5b7065-31bb-4181-a7f8-a73bf0c30211" providerId="ADAL" clId="{F05BB0D5-3454-45DC-8378-DA45B79D9A06}" dt="2020-10-02T13:04:33.951" v="2847" actId="790"/>
          <ac:spMkLst>
            <pc:docMk/>
            <pc:sldMk cId="2784942929" sldId="7024"/>
            <ac:spMk id="46" creationId="{226E1622-D6BD-4579-BEED-F63395A1E100}"/>
          </ac:spMkLst>
        </pc:spChg>
        <pc:spChg chg="mod">
          <ac:chgData name="Ugo MANTEL" userId="2d5b7065-31bb-4181-a7f8-a73bf0c30211" providerId="ADAL" clId="{F05BB0D5-3454-45DC-8378-DA45B79D9A06}" dt="2020-10-02T13:04:33.950" v="2846" actId="790"/>
          <ac:spMkLst>
            <pc:docMk/>
            <pc:sldMk cId="2784942929" sldId="7024"/>
            <ac:spMk id="86" creationId="{ACE56A5D-72B2-46F1-B100-4883F6AE1D78}"/>
          </ac:spMkLst>
        </pc:spChg>
        <pc:spChg chg="mod">
          <ac:chgData name="Ugo MANTEL" userId="2d5b7065-31bb-4181-a7f8-a73bf0c30211" providerId="ADAL" clId="{F05BB0D5-3454-45DC-8378-DA45B79D9A06}" dt="2020-10-02T13:04:33.975" v="2877" actId="790"/>
          <ac:spMkLst>
            <pc:docMk/>
            <pc:sldMk cId="2784942929" sldId="7024"/>
            <ac:spMk id="88" creationId="{3D96B937-A45B-4D62-93D2-1DEA368625D9}"/>
          </ac:spMkLst>
        </pc:spChg>
        <pc:spChg chg="mod">
          <ac:chgData name="Ugo MANTEL" userId="2d5b7065-31bb-4181-a7f8-a73bf0c30211" providerId="ADAL" clId="{F05BB0D5-3454-45DC-8378-DA45B79D9A06}" dt="2020-10-02T13:04:33.976" v="2878" actId="790"/>
          <ac:spMkLst>
            <pc:docMk/>
            <pc:sldMk cId="2784942929" sldId="7024"/>
            <ac:spMk id="90" creationId="{2D88A610-A4A6-4C5C-85EF-7E18A40ACFEE}"/>
          </ac:spMkLst>
        </pc:spChg>
        <pc:spChg chg="mod">
          <ac:chgData name="Ugo MANTEL" userId="2d5b7065-31bb-4181-a7f8-a73bf0c30211" providerId="ADAL" clId="{F05BB0D5-3454-45DC-8378-DA45B79D9A06}" dt="2020-10-02T13:04:33.977" v="2879" actId="790"/>
          <ac:spMkLst>
            <pc:docMk/>
            <pc:sldMk cId="2784942929" sldId="7024"/>
            <ac:spMk id="95" creationId="{9D8CF3E7-6537-4A4C-8B3C-DC4694F2828B}"/>
          </ac:spMkLst>
        </pc:spChg>
        <pc:spChg chg="mod">
          <ac:chgData name="Ugo MANTEL" userId="2d5b7065-31bb-4181-a7f8-a73bf0c30211" providerId="ADAL" clId="{F05BB0D5-3454-45DC-8378-DA45B79D9A06}" dt="2020-10-02T13:04:33.978" v="2880" actId="790"/>
          <ac:spMkLst>
            <pc:docMk/>
            <pc:sldMk cId="2784942929" sldId="7024"/>
            <ac:spMk id="97" creationId="{AB09C6D3-9E25-46F1-BBC3-609892B914A5}"/>
          </ac:spMkLst>
        </pc:spChg>
        <pc:spChg chg="mod">
          <ac:chgData name="Ugo MANTEL" userId="2d5b7065-31bb-4181-a7f8-a73bf0c30211" providerId="ADAL" clId="{F05BB0D5-3454-45DC-8378-DA45B79D9A06}" dt="2020-10-02T13:04:33.957" v="2855" actId="790"/>
          <ac:spMkLst>
            <pc:docMk/>
            <pc:sldMk cId="2784942929" sldId="7024"/>
            <ac:spMk id="107" creationId="{AC004A85-476B-45DA-8E60-72A13D0009CE}"/>
          </ac:spMkLst>
        </pc:spChg>
        <pc:spChg chg="mod">
          <ac:chgData name="Ugo MANTEL" userId="2d5b7065-31bb-4181-a7f8-a73bf0c30211" providerId="ADAL" clId="{F05BB0D5-3454-45DC-8378-DA45B79D9A06}" dt="2020-10-02T13:04:33.957" v="2854" actId="790"/>
          <ac:spMkLst>
            <pc:docMk/>
            <pc:sldMk cId="2784942929" sldId="7024"/>
            <ac:spMk id="110" creationId="{69D3E9AD-8855-4592-B164-29330672FFCB}"/>
          </ac:spMkLst>
        </pc:spChg>
        <pc:spChg chg="mod">
          <ac:chgData name="Ugo MANTEL" userId="2d5b7065-31bb-4181-a7f8-a73bf0c30211" providerId="ADAL" clId="{F05BB0D5-3454-45DC-8378-DA45B79D9A06}" dt="2020-10-02T13:04:33.954" v="2850" actId="790"/>
          <ac:spMkLst>
            <pc:docMk/>
            <pc:sldMk cId="2784942929" sldId="7024"/>
            <ac:spMk id="111" creationId="{06612EB1-C8E2-4A40-BA14-2108AEF36B9B}"/>
          </ac:spMkLst>
        </pc:spChg>
        <pc:spChg chg="mod">
          <ac:chgData name="Ugo MANTEL" userId="2d5b7065-31bb-4181-a7f8-a73bf0c30211" providerId="ADAL" clId="{F05BB0D5-3454-45DC-8378-DA45B79D9A06}" dt="2020-10-02T13:04:33.955" v="2851" actId="790"/>
          <ac:spMkLst>
            <pc:docMk/>
            <pc:sldMk cId="2784942929" sldId="7024"/>
            <ac:spMk id="112" creationId="{8446021B-15A4-4308-A5A4-09D942148D72}"/>
          </ac:spMkLst>
        </pc:spChg>
        <pc:spChg chg="mod">
          <ac:chgData name="Ugo MANTEL" userId="2d5b7065-31bb-4181-a7f8-a73bf0c30211" providerId="ADAL" clId="{F05BB0D5-3454-45DC-8378-DA45B79D9A06}" dt="2020-10-02T13:04:33.970" v="2871" actId="790"/>
          <ac:spMkLst>
            <pc:docMk/>
            <pc:sldMk cId="2784942929" sldId="7024"/>
            <ac:spMk id="113" creationId="{10E135EE-D5AF-42D5-9E09-2C1BBA3D223C}"/>
          </ac:spMkLst>
        </pc:spChg>
        <pc:spChg chg="mod">
          <ac:chgData name="Ugo MANTEL" userId="2d5b7065-31bb-4181-a7f8-a73bf0c30211" providerId="ADAL" clId="{F05BB0D5-3454-45DC-8378-DA45B79D9A06}" dt="2020-10-02T13:04:33.971" v="2872" actId="790"/>
          <ac:spMkLst>
            <pc:docMk/>
            <pc:sldMk cId="2784942929" sldId="7024"/>
            <ac:spMk id="115" creationId="{5AB4B9AB-A62A-4C32-8597-D55EE4533259}"/>
          </ac:spMkLst>
        </pc:spChg>
        <pc:spChg chg="mod">
          <ac:chgData name="Ugo MANTEL" userId="2d5b7065-31bb-4181-a7f8-a73bf0c30211" providerId="ADAL" clId="{F05BB0D5-3454-45DC-8378-DA45B79D9A06}" dt="2020-10-02T13:04:33.971" v="2873" actId="790"/>
          <ac:spMkLst>
            <pc:docMk/>
            <pc:sldMk cId="2784942929" sldId="7024"/>
            <ac:spMk id="116" creationId="{2031CA87-87A7-4336-ADC1-6F888DEF3935}"/>
          </ac:spMkLst>
        </pc:spChg>
        <pc:spChg chg="mod">
          <ac:chgData name="Ugo MANTEL" userId="2d5b7065-31bb-4181-a7f8-a73bf0c30211" providerId="ADAL" clId="{F05BB0D5-3454-45DC-8378-DA45B79D9A06}" dt="2020-10-02T13:04:33.972" v="2874" actId="790"/>
          <ac:spMkLst>
            <pc:docMk/>
            <pc:sldMk cId="2784942929" sldId="7024"/>
            <ac:spMk id="119" creationId="{3A6F2CEE-83C2-41EB-8ED9-E2B51DB3B585}"/>
          </ac:spMkLst>
        </pc:spChg>
        <pc:spChg chg="mod">
          <ac:chgData name="Ugo MANTEL" userId="2d5b7065-31bb-4181-a7f8-a73bf0c30211" providerId="ADAL" clId="{F05BB0D5-3454-45DC-8378-DA45B79D9A06}" dt="2020-10-02T13:04:33.973" v="2875" actId="790"/>
          <ac:spMkLst>
            <pc:docMk/>
            <pc:sldMk cId="2784942929" sldId="7024"/>
            <ac:spMk id="120" creationId="{656FC391-89DD-4F05-89ED-B0EF1F1C190F}"/>
          </ac:spMkLst>
        </pc:spChg>
        <pc:spChg chg="mod">
          <ac:chgData name="Ugo MANTEL" userId="2d5b7065-31bb-4181-a7f8-a73bf0c30211" providerId="ADAL" clId="{F05BB0D5-3454-45DC-8378-DA45B79D9A06}" dt="2020-10-02T13:04:33.974" v="2876" actId="790"/>
          <ac:spMkLst>
            <pc:docMk/>
            <pc:sldMk cId="2784942929" sldId="7024"/>
            <ac:spMk id="121" creationId="{F508FBC2-2142-438E-9DF7-47FB20D19E47}"/>
          </ac:spMkLst>
        </pc:spChg>
        <pc:spChg chg="mod">
          <ac:chgData name="Ugo MANTEL" userId="2d5b7065-31bb-4181-a7f8-a73bf0c30211" providerId="ADAL" clId="{F05BB0D5-3454-45DC-8378-DA45B79D9A06}" dt="2020-10-02T13:04:33.963" v="2863" actId="790"/>
          <ac:spMkLst>
            <pc:docMk/>
            <pc:sldMk cId="2784942929" sldId="7024"/>
            <ac:spMk id="128" creationId="{4103655E-7A78-4447-B484-ED2E65C0013A}"/>
          </ac:spMkLst>
        </pc:spChg>
        <pc:spChg chg="mod">
          <ac:chgData name="Ugo MANTEL" userId="2d5b7065-31bb-4181-a7f8-a73bf0c30211" providerId="ADAL" clId="{F05BB0D5-3454-45DC-8378-DA45B79D9A06}" dt="2020-10-02T13:04:33.955" v="2852" actId="790"/>
          <ac:spMkLst>
            <pc:docMk/>
            <pc:sldMk cId="2784942929" sldId="7024"/>
            <ac:spMk id="133" creationId="{B5574400-C57E-435C-A73E-950604EEB583}"/>
          </ac:spMkLst>
        </pc:spChg>
        <pc:spChg chg="mod">
          <ac:chgData name="Ugo MANTEL" userId="2d5b7065-31bb-4181-a7f8-a73bf0c30211" providerId="ADAL" clId="{F05BB0D5-3454-45DC-8378-DA45B79D9A06}" dt="2020-10-02T13:04:33.956" v="2853" actId="790"/>
          <ac:spMkLst>
            <pc:docMk/>
            <pc:sldMk cId="2784942929" sldId="7024"/>
            <ac:spMk id="134" creationId="{067F4629-4D50-4AEF-B6FB-D143D8A47694}"/>
          </ac:spMkLst>
        </pc:spChg>
        <pc:spChg chg="mod">
          <ac:chgData name="Ugo MANTEL" userId="2d5b7065-31bb-4181-a7f8-a73bf0c30211" providerId="ADAL" clId="{F05BB0D5-3454-45DC-8378-DA45B79D9A06}" dt="2020-10-02T13:04:33.962" v="2862" actId="790"/>
          <ac:spMkLst>
            <pc:docMk/>
            <pc:sldMk cId="2784942929" sldId="7024"/>
            <ac:spMk id="159" creationId="{B9E766AB-88EC-4924-931D-7C82E76216C3}"/>
          </ac:spMkLst>
        </pc:spChg>
        <pc:spChg chg="mod">
          <ac:chgData name="Ugo MANTEL" userId="2d5b7065-31bb-4181-a7f8-a73bf0c30211" providerId="ADAL" clId="{F05BB0D5-3454-45DC-8378-DA45B79D9A06}" dt="2020-10-02T13:04:33.964" v="2864" actId="790"/>
          <ac:spMkLst>
            <pc:docMk/>
            <pc:sldMk cId="2784942929" sldId="7024"/>
            <ac:spMk id="166" creationId="{A7FC1931-9E96-48F0-A829-7E600DBE661D}"/>
          </ac:spMkLst>
        </pc:spChg>
        <pc:spChg chg="mod">
          <ac:chgData name="Ugo MANTEL" userId="2d5b7065-31bb-4181-a7f8-a73bf0c30211" providerId="ADAL" clId="{F05BB0D5-3454-45DC-8378-DA45B79D9A06}" dt="2020-10-02T13:04:33.958" v="2857" actId="790"/>
          <ac:spMkLst>
            <pc:docMk/>
            <pc:sldMk cId="2784942929" sldId="7024"/>
            <ac:spMk id="173" creationId="{8FC9CE27-2138-4BEB-A90D-3D95D8E7623D}"/>
          </ac:spMkLst>
        </pc:spChg>
        <pc:spChg chg="mod">
          <ac:chgData name="Ugo MANTEL" userId="2d5b7065-31bb-4181-a7f8-a73bf0c30211" providerId="ADAL" clId="{F05BB0D5-3454-45DC-8378-DA45B79D9A06}" dt="2020-10-02T13:04:33.959" v="2858" actId="790"/>
          <ac:spMkLst>
            <pc:docMk/>
            <pc:sldMk cId="2784942929" sldId="7024"/>
            <ac:spMk id="178" creationId="{2233FF39-74B8-44EE-BC1B-93F6D13F7D7F}"/>
          </ac:spMkLst>
        </pc:spChg>
        <pc:spChg chg="mod">
          <ac:chgData name="Ugo MANTEL" userId="2d5b7065-31bb-4181-a7f8-a73bf0c30211" providerId="ADAL" clId="{F05BB0D5-3454-45DC-8378-DA45B79D9A06}" dt="2020-10-02T13:04:33.966" v="2865" actId="790"/>
          <ac:spMkLst>
            <pc:docMk/>
            <pc:sldMk cId="2784942929" sldId="7024"/>
            <ac:spMk id="179" creationId="{A9DC4461-2CC7-435B-9D56-DA5A4BCDEE24}"/>
          </ac:spMkLst>
        </pc:spChg>
        <pc:spChg chg="mod">
          <ac:chgData name="Ugo MANTEL" userId="2d5b7065-31bb-4181-a7f8-a73bf0c30211" providerId="ADAL" clId="{F05BB0D5-3454-45DC-8378-DA45B79D9A06}" dt="2020-10-02T13:04:33.958" v="2856" actId="790"/>
          <ac:spMkLst>
            <pc:docMk/>
            <pc:sldMk cId="2784942929" sldId="7024"/>
            <ac:spMk id="186" creationId="{9602F915-12F9-4732-98A7-93165C58D332}"/>
          </ac:spMkLst>
        </pc:spChg>
        <pc:spChg chg="mod">
          <ac:chgData name="Ugo MANTEL" userId="2d5b7065-31bb-4181-a7f8-a73bf0c30211" providerId="ADAL" clId="{F05BB0D5-3454-45DC-8378-DA45B79D9A06}" dt="2020-10-02T13:04:33.967" v="2866" actId="790"/>
          <ac:spMkLst>
            <pc:docMk/>
            <pc:sldMk cId="2784942929" sldId="7024"/>
            <ac:spMk id="187" creationId="{FCC7AA0D-AA4E-4D49-B8AB-9B60A04E0B43}"/>
          </ac:spMkLst>
        </pc:spChg>
        <pc:spChg chg="mod">
          <ac:chgData name="Ugo MANTEL" userId="2d5b7065-31bb-4181-a7f8-a73bf0c30211" providerId="ADAL" clId="{F05BB0D5-3454-45DC-8378-DA45B79D9A06}" dt="2020-10-02T13:04:33.968" v="2867" actId="790"/>
          <ac:spMkLst>
            <pc:docMk/>
            <pc:sldMk cId="2784942929" sldId="7024"/>
            <ac:spMk id="219" creationId="{A23899F1-E5BD-4DCF-AAA2-7B60684383C0}"/>
          </ac:spMkLst>
        </pc:spChg>
        <pc:spChg chg="mod">
          <ac:chgData name="Ugo MANTEL" userId="2d5b7065-31bb-4181-a7f8-a73bf0c30211" providerId="ADAL" clId="{F05BB0D5-3454-45DC-8378-DA45B79D9A06}" dt="2020-10-02T13:04:33.968" v="2868" actId="790"/>
          <ac:spMkLst>
            <pc:docMk/>
            <pc:sldMk cId="2784942929" sldId="7024"/>
            <ac:spMk id="220" creationId="{9D9CFCAD-2507-4261-88A5-B39290F78E12}"/>
          </ac:spMkLst>
        </pc:spChg>
        <pc:spChg chg="mod">
          <ac:chgData name="Ugo MANTEL" userId="2d5b7065-31bb-4181-a7f8-a73bf0c30211" providerId="ADAL" clId="{F05BB0D5-3454-45DC-8378-DA45B79D9A06}" dt="2020-10-02T13:04:33.969" v="2869" actId="790"/>
          <ac:spMkLst>
            <pc:docMk/>
            <pc:sldMk cId="2784942929" sldId="7024"/>
            <ac:spMk id="222" creationId="{CB8FCE0F-EBE8-4483-A4F6-316F8E584AFA}"/>
          </ac:spMkLst>
        </pc:spChg>
        <pc:spChg chg="mod">
          <ac:chgData name="Ugo MANTEL" userId="2d5b7065-31bb-4181-a7f8-a73bf0c30211" providerId="ADAL" clId="{F05BB0D5-3454-45DC-8378-DA45B79D9A06}" dt="2020-10-02T13:04:33.969" v="2870" actId="790"/>
          <ac:spMkLst>
            <pc:docMk/>
            <pc:sldMk cId="2784942929" sldId="7024"/>
            <ac:spMk id="224" creationId="{215FE1BD-C7C5-48E1-8DD8-D1F86F414B27}"/>
          </ac:spMkLst>
        </pc:spChg>
      </pc:sldChg>
      <pc:sldChg chg="modSp mod">
        <pc:chgData name="Ugo MANTEL" userId="2d5b7065-31bb-4181-a7f8-a73bf0c30211" providerId="ADAL" clId="{F05BB0D5-3454-45DC-8378-DA45B79D9A06}" dt="2020-10-02T13:04:33.573" v="2508" actId="790"/>
        <pc:sldMkLst>
          <pc:docMk/>
          <pc:sldMk cId="3098173606" sldId="7033"/>
        </pc:sldMkLst>
        <pc:spChg chg="mod">
          <ac:chgData name="Ugo MANTEL" userId="2d5b7065-31bb-4181-a7f8-a73bf0c30211" providerId="ADAL" clId="{F05BB0D5-3454-45DC-8378-DA45B79D9A06}" dt="2020-10-02T13:04:33.541" v="2476" actId="790"/>
          <ac:spMkLst>
            <pc:docMk/>
            <pc:sldMk cId="3098173606" sldId="7033"/>
            <ac:spMk id="3" creationId="{AB991B0C-4759-4912-BA1F-94D2648EE44B}"/>
          </ac:spMkLst>
        </pc:spChg>
        <pc:spChg chg="mod">
          <ac:chgData name="Ugo MANTEL" userId="2d5b7065-31bb-4181-a7f8-a73bf0c30211" providerId="ADAL" clId="{F05BB0D5-3454-45DC-8378-DA45B79D9A06}" dt="2020-10-02T13:04:33.539" v="2475" actId="790"/>
          <ac:spMkLst>
            <pc:docMk/>
            <pc:sldMk cId="3098173606" sldId="7033"/>
            <ac:spMk id="4" creationId="{697007AF-84BE-44B3-8B54-7987D3018C1F}"/>
          </ac:spMkLst>
        </pc:spChg>
        <pc:spChg chg="mod">
          <ac:chgData name="Ugo MANTEL" userId="2d5b7065-31bb-4181-a7f8-a73bf0c30211" providerId="ADAL" clId="{F05BB0D5-3454-45DC-8378-DA45B79D9A06}" dt="2020-10-02T13:04:33.542" v="2477" actId="790"/>
          <ac:spMkLst>
            <pc:docMk/>
            <pc:sldMk cId="3098173606" sldId="7033"/>
            <ac:spMk id="7" creationId="{767C2802-91B5-4B33-9841-92779640D7EF}"/>
          </ac:spMkLst>
        </pc:spChg>
        <pc:spChg chg="mod">
          <ac:chgData name="Ugo MANTEL" userId="2d5b7065-31bb-4181-a7f8-a73bf0c30211" providerId="ADAL" clId="{F05BB0D5-3454-45DC-8378-DA45B79D9A06}" dt="2020-10-02T13:04:33.545" v="2482" actId="790"/>
          <ac:spMkLst>
            <pc:docMk/>
            <pc:sldMk cId="3098173606" sldId="7033"/>
            <ac:spMk id="10" creationId="{EC204460-32BD-4A29-A60E-314EDAD0D25F}"/>
          </ac:spMkLst>
        </pc:spChg>
        <pc:spChg chg="mod">
          <ac:chgData name="Ugo MANTEL" userId="2d5b7065-31bb-4181-a7f8-a73bf0c30211" providerId="ADAL" clId="{F05BB0D5-3454-45DC-8378-DA45B79D9A06}" dt="2020-10-02T13:04:33.543" v="2478" actId="790"/>
          <ac:spMkLst>
            <pc:docMk/>
            <pc:sldMk cId="3098173606" sldId="7033"/>
            <ac:spMk id="11" creationId="{2D2C1ABD-5F6F-40FC-98DE-FA6A4348A8D2}"/>
          </ac:spMkLst>
        </pc:spChg>
        <pc:spChg chg="mod">
          <ac:chgData name="Ugo MANTEL" userId="2d5b7065-31bb-4181-a7f8-a73bf0c30211" providerId="ADAL" clId="{F05BB0D5-3454-45DC-8378-DA45B79D9A06}" dt="2020-10-02T13:04:33.543" v="2479" actId="790"/>
          <ac:spMkLst>
            <pc:docMk/>
            <pc:sldMk cId="3098173606" sldId="7033"/>
            <ac:spMk id="12" creationId="{E1625D14-1F12-4C31-B39A-30BE52A5968F}"/>
          </ac:spMkLst>
        </pc:spChg>
        <pc:spChg chg="mod">
          <ac:chgData name="Ugo MANTEL" userId="2d5b7065-31bb-4181-a7f8-a73bf0c30211" providerId="ADAL" clId="{F05BB0D5-3454-45DC-8378-DA45B79D9A06}" dt="2020-10-02T13:04:33.544" v="2480" actId="790"/>
          <ac:spMkLst>
            <pc:docMk/>
            <pc:sldMk cId="3098173606" sldId="7033"/>
            <ac:spMk id="13" creationId="{23261024-6A94-4D52-8F0C-B36238D997F7}"/>
          </ac:spMkLst>
        </pc:spChg>
        <pc:spChg chg="mod">
          <ac:chgData name="Ugo MANTEL" userId="2d5b7065-31bb-4181-a7f8-a73bf0c30211" providerId="ADAL" clId="{F05BB0D5-3454-45DC-8378-DA45B79D9A06}" dt="2020-10-02T13:04:33.544" v="2481" actId="790"/>
          <ac:spMkLst>
            <pc:docMk/>
            <pc:sldMk cId="3098173606" sldId="7033"/>
            <ac:spMk id="14" creationId="{26D7BD10-6E7D-48A5-9BDD-549E23D6426A}"/>
          </ac:spMkLst>
        </pc:spChg>
        <pc:spChg chg="mod">
          <ac:chgData name="Ugo MANTEL" userId="2d5b7065-31bb-4181-a7f8-a73bf0c30211" providerId="ADAL" clId="{F05BB0D5-3454-45DC-8378-DA45B79D9A06}" dt="2020-10-02T13:04:33.546" v="2483" actId="790"/>
          <ac:spMkLst>
            <pc:docMk/>
            <pc:sldMk cId="3098173606" sldId="7033"/>
            <ac:spMk id="22" creationId="{717DC137-0221-4969-8A85-BFDC3C732AE6}"/>
          </ac:spMkLst>
        </pc:spChg>
        <pc:spChg chg="mod">
          <ac:chgData name="Ugo MANTEL" userId="2d5b7065-31bb-4181-a7f8-a73bf0c30211" providerId="ADAL" clId="{F05BB0D5-3454-45DC-8378-DA45B79D9A06}" dt="2020-10-02T13:04:33.546" v="2484" actId="790"/>
          <ac:spMkLst>
            <pc:docMk/>
            <pc:sldMk cId="3098173606" sldId="7033"/>
            <ac:spMk id="23" creationId="{E88123E5-EFF7-472C-A50B-2FA74413C0F6}"/>
          </ac:spMkLst>
        </pc:spChg>
        <pc:spChg chg="mod">
          <ac:chgData name="Ugo MANTEL" userId="2d5b7065-31bb-4181-a7f8-a73bf0c30211" providerId="ADAL" clId="{F05BB0D5-3454-45DC-8378-DA45B79D9A06}" dt="2020-10-02T13:04:33.547" v="2485" actId="790"/>
          <ac:spMkLst>
            <pc:docMk/>
            <pc:sldMk cId="3098173606" sldId="7033"/>
            <ac:spMk id="24" creationId="{B21C688A-2F91-4A20-A41B-BDEAE3C6598A}"/>
          </ac:spMkLst>
        </pc:spChg>
        <pc:spChg chg="mod">
          <ac:chgData name="Ugo MANTEL" userId="2d5b7065-31bb-4181-a7f8-a73bf0c30211" providerId="ADAL" clId="{F05BB0D5-3454-45DC-8378-DA45B79D9A06}" dt="2020-10-02T13:04:33.549" v="2486" actId="790"/>
          <ac:spMkLst>
            <pc:docMk/>
            <pc:sldMk cId="3098173606" sldId="7033"/>
            <ac:spMk id="32" creationId="{7341BFA6-2C10-457A-93B7-14F1708B8578}"/>
          </ac:spMkLst>
        </pc:spChg>
        <pc:spChg chg="mod">
          <ac:chgData name="Ugo MANTEL" userId="2d5b7065-31bb-4181-a7f8-a73bf0c30211" providerId="ADAL" clId="{F05BB0D5-3454-45DC-8378-DA45B79D9A06}" dt="2020-10-02T13:04:33.552" v="2487" actId="790"/>
          <ac:spMkLst>
            <pc:docMk/>
            <pc:sldMk cId="3098173606" sldId="7033"/>
            <ac:spMk id="33" creationId="{E92A8B96-B2C7-4F7C-B4D5-D533A1E82689}"/>
          </ac:spMkLst>
        </pc:spChg>
        <pc:spChg chg="mod">
          <ac:chgData name="Ugo MANTEL" userId="2d5b7065-31bb-4181-a7f8-a73bf0c30211" providerId="ADAL" clId="{F05BB0D5-3454-45DC-8378-DA45B79D9A06}" dt="2020-10-02T13:04:33.553" v="2488" actId="790"/>
          <ac:spMkLst>
            <pc:docMk/>
            <pc:sldMk cId="3098173606" sldId="7033"/>
            <ac:spMk id="34" creationId="{ED96FD68-1E8C-4635-94C1-1B84F0418FB8}"/>
          </ac:spMkLst>
        </pc:spChg>
        <pc:spChg chg="mod">
          <ac:chgData name="Ugo MANTEL" userId="2d5b7065-31bb-4181-a7f8-a73bf0c30211" providerId="ADAL" clId="{F05BB0D5-3454-45DC-8378-DA45B79D9A06}" dt="2020-10-02T13:04:33.555" v="2489" actId="790"/>
          <ac:spMkLst>
            <pc:docMk/>
            <pc:sldMk cId="3098173606" sldId="7033"/>
            <ac:spMk id="41" creationId="{69D14FEA-BD5D-4B7D-AF6A-DC92BC222D80}"/>
          </ac:spMkLst>
        </pc:spChg>
        <pc:spChg chg="mod">
          <ac:chgData name="Ugo MANTEL" userId="2d5b7065-31bb-4181-a7f8-a73bf0c30211" providerId="ADAL" clId="{F05BB0D5-3454-45DC-8378-DA45B79D9A06}" dt="2020-10-02T13:04:33.557" v="2490" actId="790"/>
          <ac:spMkLst>
            <pc:docMk/>
            <pc:sldMk cId="3098173606" sldId="7033"/>
            <ac:spMk id="42" creationId="{DB86F62E-8AB7-477A-AB43-E616AA746C4E}"/>
          </ac:spMkLst>
        </pc:spChg>
        <pc:spChg chg="mod">
          <ac:chgData name="Ugo MANTEL" userId="2d5b7065-31bb-4181-a7f8-a73bf0c30211" providerId="ADAL" clId="{F05BB0D5-3454-45DC-8378-DA45B79D9A06}" dt="2020-10-02T13:04:33.558" v="2491" actId="790"/>
          <ac:spMkLst>
            <pc:docMk/>
            <pc:sldMk cId="3098173606" sldId="7033"/>
            <ac:spMk id="49" creationId="{BAE3C161-1941-41C1-A0CA-0FE26243F4CE}"/>
          </ac:spMkLst>
        </pc:spChg>
        <pc:spChg chg="mod">
          <ac:chgData name="Ugo MANTEL" userId="2d5b7065-31bb-4181-a7f8-a73bf0c30211" providerId="ADAL" clId="{F05BB0D5-3454-45DC-8378-DA45B79D9A06}" dt="2020-10-02T13:04:33.559" v="2492" actId="790"/>
          <ac:spMkLst>
            <pc:docMk/>
            <pc:sldMk cId="3098173606" sldId="7033"/>
            <ac:spMk id="51" creationId="{09A43F8E-6591-411E-A022-E33CFC092652}"/>
          </ac:spMkLst>
        </pc:spChg>
        <pc:spChg chg="mod">
          <ac:chgData name="Ugo MANTEL" userId="2d5b7065-31bb-4181-a7f8-a73bf0c30211" providerId="ADAL" clId="{F05BB0D5-3454-45DC-8378-DA45B79D9A06}" dt="2020-10-02T13:04:33.560" v="2493" actId="790"/>
          <ac:spMkLst>
            <pc:docMk/>
            <pc:sldMk cId="3098173606" sldId="7033"/>
            <ac:spMk id="54" creationId="{52E43D50-9C49-43BE-B07D-023988BA0B47}"/>
          </ac:spMkLst>
        </pc:spChg>
        <pc:spChg chg="mod">
          <ac:chgData name="Ugo MANTEL" userId="2d5b7065-31bb-4181-a7f8-a73bf0c30211" providerId="ADAL" clId="{F05BB0D5-3454-45DC-8378-DA45B79D9A06}" dt="2020-10-02T13:04:33.561" v="2494" actId="790"/>
          <ac:spMkLst>
            <pc:docMk/>
            <pc:sldMk cId="3098173606" sldId="7033"/>
            <ac:spMk id="56" creationId="{39EAC2A5-F397-42A4-AB9F-A6FE59CD1673}"/>
          </ac:spMkLst>
        </pc:spChg>
        <pc:spChg chg="mod">
          <ac:chgData name="Ugo MANTEL" userId="2d5b7065-31bb-4181-a7f8-a73bf0c30211" providerId="ADAL" clId="{F05BB0D5-3454-45DC-8378-DA45B79D9A06}" dt="2020-10-02T13:04:33.561" v="2495" actId="790"/>
          <ac:spMkLst>
            <pc:docMk/>
            <pc:sldMk cId="3098173606" sldId="7033"/>
            <ac:spMk id="57" creationId="{0526F65E-9F44-45FE-90F3-79B3187F25D7}"/>
          </ac:spMkLst>
        </pc:spChg>
        <pc:spChg chg="mod">
          <ac:chgData name="Ugo MANTEL" userId="2d5b7065-31bb-4181-a7f8-a73bf0c30211" providerId="ADAL" clId="{F05BB0D5-3454-45DC-8378-DA45B79D9A06}" dt="2020-10-02T13:04:33.562" v="2496" actId="790"/>
          <ac:spMkLst>
            <pc:docMk/>
            <pc:sldMk cId="3098173606" sldId="7033"/>
            <ac:spMk id="59" creationId="{52733709-2D22-4DA2-B962-07511AD8C74F}"/>
          </ac:spMkLst>
        </pc:spChg>
        <pc:spChg chg="mod">
          <ac:chgData name="Ugo MANTEL" userId="2d5b7065-31bb-4181-a7f8-a73bf0c30211" providerId="ADAL" clId="{F05BB0D5-3454-45DC-8378-DA45B79D9A06}" dt="2020-10-02T13:04:33.563" v="2497" actId="790"/>
          <ac:spMkLst>
            <pc:docMk/>
            <pc:sldMk cId="3098173606" sldId="7033"/>
            <ac:spMk id="60" creationId="{506A2900-B305-4345-8FA7-427DC6CEA302}"/>
          </ac:spMkLst>
        </pc:spChg>
        <pc:spChg chg="mod">
          <ac:chgData name="Ugo MANTEL" userId="2d5b7065-31bb-4181-a7f8-a73bf0c30211" providerId="ADAL" clId="{F05BB0D5-3454-45DC-8378-DA45B79D9A06}" dt="2020-10-02T13:04:33.564" v="2498" actId="790"/>
          <ac:spMkLst>
            <pc:docMk/>
            <pc:sldMk cId="3098173606" sldId="7033"/>
            <ac:spMk id="62" creationId="{11163C37-79B7-4527-8D95-57F5E45E51AF}"/>
          </ac:spMkLst>
        </pc:spChg>
        <pc:spChg chg="mod">
          <ac:chgData name="Ugo MANTEL" userId="2d5b7065-31bb-4181-a7f8-a73bf0c30211" providerId="ADAL" clId="{F05BB0D5-3454-45DC-8378-DA45B79D9A06}" dt="2020-10-02T13:04:33.565" v="2499" actId="790"/>
          <ac:spMkLst>
            <pc:docMk/>
            <pc:sldMk cId="3098173606" sldId="7033"/>
            <ac:spMk id="65" creationId="{C7DC1DBB-186C-439E-AD0F-C5A629755E01}"/>
          </ac:spMkLst>
        </pc:spChg>
        <pc:spChg chg="mod">
          <ac:chgData name="Ugo MANTEL" userId="2d5b7065-31bb-4181-a7f8-a73bf0c30211" providerId="ADAL" clId="{F05BB0D5-3454-45DC-8378-DA45B79D9A06}" dt="2020-10-02T13:04:33.570" v="2505" actId="790"/>
          <ac:spMkLst>
            <pc:docMk/>
            <pc:sldMk cId="3098173606" sldId="7033"/>
            <ac:spMk id="67" creationId="{C0B67FB0-55A1-4CAF-A504-C04D694D084D}"/>
          </ac:spMkLst>
        </pc:spChg>
        <pc:spChg chg="mod">
          <ac:chgData name="Ugo MANTEL" userId="2d5b7065-31bb-4181-a7f8-a73bf0c30211" providerId="ADAL" clId="{F05BB0D5-3454-45DC-8378-DA45B79D9A06}" dt="2020-10-02T13:04:33.566" v="2500" actId="790"/>
          <ac:spMkLst>
            <pc:docMk/>
            <pc:sldMk cId="3098173606" sldId="7033"/>
            <ac:spMk id="68" creationId="{742248EF-ECF0-463E-93AD-8036E69C135A}"/>
          </ac:spMkLst>
        </pc:spChg>
        <pc:spChg chg="mod">
          <ac:chgData name="Ugo MANTEL" userId="2d5b7065-31bb-4181-a7f8-a73bf0c30211" providerId="ADAL" clId="{F05BB0D5-3454-45DC-8378-DA45B79D9A06}" dt="2020-10-02T13:04:33.567" v="2501" actId="790"/>
          <ac:spMkLst>
            <pc:docMk/>
            <pc:sldMk cId="3098173606" sldId="7033"/>
            <ac:spMk id="69" creationId="{D511B106-4C6C-4A02-B0EA-1D6877F534C5}"/>
          </ac:spMkLst>
        </pc:spChg>
        <pc:spChg chg="mod">
          <ac:chgData name="Ugo MANTEL" userId="2d5b7065-31bb-4181-a7f8-a73bf0c30211" providerId="ADAL" clId="{F05BB0D5-3454-45DC-8378-DA45B79D9A06}" dt="2020-10-02T13:04:33.568" v="2502" actId="790"/>
          <ac:spMkLst>
            <pc:docMk/>
            <pc:sldMk cId="3098173606" sldId="7033"/>
            <ac:spMk id="70" creationId="{640EEAB9-BD57-485B-A07F-A6D5ABEA2E8A}"/>
          </ac:spMkLst>
        </pc:spChg>
        <pc:spChg chg="mod">
          <ac:chgData name="Ugo MANTEL" userId="2d5b7065-31bb-4181-a7f8-a73bf0c30211" providerId="ADAL" clId="{F05BB0D5-3454-45DC-8378-DA45B79D9A06}" dt="2020-10-02T13:04:33.568" v="2503" actId="790"/>
          <ac:spMkLst>
            <pc:docMk/>
            <pc:sldMk cId="3098173606" sldId="7033"/>
            <ac:spMk id="71" creationId="{6EC0AA98-F65C-4D0E-AE50-60B772D25F0C}"/>
          </ac:spMkLst>
        </pc:spChg>
        <pc:spChg chg="mod">
          <ac:chgData name="Ugo MANTEL" userId="2d5b7065-31bb-4181-a7f8-a73bf0c30211" providerId="ADAL" clId="{F05BB0D5-3454-45DC-8378-DA45B79D9A06}" dt="2020-10-02T13:04:33.569" v="2504" actId="790"/>
          <ac:spMkLst>
            <pc:docMk/>
            <pc:sldMk cId="3098173606" sldId="7033"/>
            <ac:spMk id="72" creationId="{24CA2BFF-3CBB-4CAA-8383-368A942469E6}"/>
          </ac:spMkLst>
        </pc:spChg>
        <pc:spChg chg="mod">
          <ac:chgData name="Ugo MANTEL" userId="2d5b7065-31bb-4181-a7f8-a73bf0c30211" providerId="ADAL" clId="{F05BB0D5-3454-45DC-8378-DA45B79D9A06}" dt="2020-10-02T13:04:33.571" v="2507" actId="790"/>
          <ac:spMkLst>
            <pc:docMk/>
            <pc:sldMk cId="3098173606" sldId="7033"/>
            <ac:spMk id="73" creationId="{83DEF85A-01DB-4DC1-A04F-586C0417E22D}"/>
          </ac:spMkLst>
        </pc:spChg>
        <pc:spChg chg="mod">
          <ac:chgData name="Ugo MANTEL" userId="2d5b7065-31bb-4181-a7f8-a73bf0c30211" providerId="ADAL" clId="{F05BB0D5-3454-45DC-8378-DA45B79D9A06}" dt="2020-10-02T13:04:33.571" v="2506" actId="790"/>
          <ac:spMkLst>
            <pc:docMk/>
            <pc:sldMk cId="3098173606" sldId="7033"/>
            <ac:spMk id="75" creationId="{889C699B-5E9B-4D47-9530-E2188F628C68}"/>
          </ac:spMkLst>
        </pc:spChg>
        <pc:spChg chg="mod">
          <ac:chgData name="Ugo MANTEL" userId="2d5b7065-31bb-4181-a7f8-a73bf0c30211" providerId="ADAL" clId="{F05BB0D5-3454-45DC-8378-DA45B79D9A06}" dt="2020-10-02T13:04:33.573" v="2508" actId="790"/>
          <ac:spMkLst>
            <pc:docMk/>
            <pc:sldMk cId="3098173606" sldId="7033"/>
            <ac:spMk id="78" creationId="{26DDFBA2-BAA6-4131-98DA-FB704A1AF2E0}"/>
          </ac:spMkLst>
        </pc:spChg>
      </pc:sldChg>
      <pc:sldChg chg="modSp mod">
        <pc:chgData name="Ugo MANTEL" userId="2d5b7065-31bb-4181-a7f8-a73bf0c30211" providerId="ADAL" clId="{F05BB0D5-3454-45DC-8378-DA45B79D9A06}" dt="2020-10-02T13:04:33.946" v="2845" actId="790"/>
        <pc:sldMkLst>
          <pc:docMk/>
          <pc:sldMk cId="1591776323" sldId="7040"/>
        </pc:sldMkLst>
        <pc:spChg chg="mod">
          <ac:chgData name="Ugo MANTEL" userId="2d5b7065-31bb-4181-a7f8-a73bf0c30211" providerId="ADAL" clId="{F05BB0D5-3454-45DC-8378-DA45B79D9A06}" dt="2020-10-02T13:04:33.903" v="2811" actId="790"/>
          <ac:spMkLst>
            <pc:docMk/>
            <pc:sldMk cId="1591776323" sldId="7040"/>
            <ac:spMk id="4" creationId="{652BD196-CCFC-45B6-8952-495E696C9486}"/>
          </ac:spMkLst>
        </pc:spChg>
        <pc:spChg chg="mod">
          <ac:chgData name="Ugo MANTEL" userId="2d5b7065-31bb-4181-a7f8-a73bf0c30211" providerId="ADAL" clId="{F05BB0D5-3454-45DC-8378-DA45B79D9A06}" dt="2020-10-02T13:04:33.908" v="2812" actId="790"/>
          <ac:spMkLst>
            <pc:docMk/>
            <pc:sldMk cId="1591776323" sldId="7040"/>
            <ac:spMk id="7" creationId="{9CB584EF-B604-46D1-A29F-A002BE57050F}"/>
          </ac:spMkLst>
        </pc:spChg>
        <pc:spChg chg="mod">
          <ac:chgData name="Ugo MANTEL" userId="2d5b7065-31bb-4181-a7f8-a73bf0c30211" providerId="ADAL" clId="{F05BB0D5-3454-45DC-8378-DA45B79D9A06}" dt="2020-10-02T13:04:33.922" v="2830" actId="790"/>
          <ac:spMkLst>
            <pc:docMk/>
            <pc:sldMk cId="1591776323" sldId="7040"/>
            <ac:spMk id="8" creationId="{0391EC17-EAC3-4017-A607-4B62CF7DDA09}"/>
          </ac:spMkLst>
        </pc:spChg>
        <pc:spChg chg="mod">
          <ac:chgData name="Ugo MANTEL" userId="2d5b7065-31bb-4181-a7f8-a73bf0c30211" providerId="ADAL" clId="{F05BB0D5-3454-45DC-8378-DA45B79D9A06}" dt="2020-10-02T13:04:33.909" v="2813" actId="790"/>
          <ac:spMkLst>
            <pc:docMk/>
            <pc:sldMk cId="1591776323" sldId="7040"/>
            <ac:spMk id="10" creationId="{43FDD245-B3F6-4CFE-8335-FE8BC06FBEB3}"/>
          </ac:spMkLst>
        </pc:spChg>
        <pc:spChg chg="mod">
          <ac:chgData name="Ugo MANTEL" userId="2d5b7065-31bb-4181-a7f8-a73bf0c30211" providerId="ADAL" clId="{F05BB0D5-3454-45DC-8378-DA45B79D9A06}" dt="2020-10-02T13:04:33.910" v="2814" actId="790"/>
          <ac:spMkLst>
            <pc:docMk/>
            <pc:sldMk cId="1591776323" sldId="7040"/>
            <ac:spMk id="11" creationId="{6153293C-7868-4FB1-9492-06EC1E8A519B}"/>
          </ac:spMkLst>
        </pc:spChg>
        <pc:spChg chg="mod">
          <ac:chgData name="Ugo MANTEL" userId="2d5b7065-31bb-4181-a7f8-a73bf0c30211" providerId="ADAL" clId="{F05BB0D5-3454-45DC-8378-DA45B79D9A06}" dt="2020-10-02T13:04:33.912" v="2815" actId="790"/>
          <ac:spMkLst>
            <pc:docMk/>
            <pc:sldMk cId="1591776323" sldId="7040"/>
            <ac:spMk id="14" creationId="{D8EE5CD3-1EDD-4047-87A6-683DC9909C0A}"/>
          </ac:spMkLst>
        </pc:spChg>
        <pc:spChg chg="mod">
          <ac:chgData name="Ugo MANTEL" userId="2d5b7065-31bb-4181-a7f8-a73bf0c30211" providerId="ADAL" clId="{F05BB0D5-3454-45DC-8378-DA45B79D9A06}" dt="2020-10-02T13:04:33.912" v="2816" actId="790"/>
          <ac:spMkLst>
            <pc:docMk/>
            <pc:sldMk cId="1591776323" sldId="7040"/>
            <ac:spMk id="15" creationId="{7F68245D-27FD-41BE-8AB3-C9D44A00DF0B}"/>
          </ac:spMkLst>
        </pc:spChg>
        <pc:spChg chg="mod">
          <ac:chgData name="Ugo MANTEL" userId="2d5b7065-31bb-4181-a7f8-a73bf0c30211" providerId="ADAL" clId="{F05BB0D5-3454-45DC-8378-DA45B79D9A06}" dt="2020-10-02T13:04:33.913" v="2817" actId="790"/>
          <ac:spMkLst>
            <pc:docMk/>
            <pc:sldMk cId="1591776323" sldId="7040"/>
            <ac:spMk id="18" creationId="{AF8D4E09-ACC6-4653-A91B-8E63531B1A9D}"/>
          </ac:spMkLst>
        </pc:spChg>
        <pc:spChg chg="mod">
          <ac:chgData name="Ugo MANTEL" userId="2d5b7065-31bb-4181-a7f8-a73bf0c30211" providerId="ADAL" clId="{F05BB0D5-3454-45DC-8378-DA45B79D9A06}" dt="2020-10-02T13:04:33.914" v="2818" actId="790"/>
          <ac:spMkLst>
            <pc:docMk/>
            <pc:sldMk cId="1591776323" sldId="7040"/>
            <ac:spMk id="19" creationId="{A69B1348-5E42-4C35-944B-FAC0C0812335}"/>
          </ac:spMkLst>
        </pc:spChg>
        <pc:spChg chg="mod">
          <ac:chgData name="Ugo MANTEL" userId="2d5b7065-31bb-4181-a7f8-a73bf0c30211" providerId="ADAL" clId="{F05BB0D5-3454-45DC-8378-DA45B79D9A06}" dt="2020-10-02T13:04:33.915" v="2819" actId="790"/>
          <ac:spMkLst>
            <pc:docMk/>
            <pc:sldMk cId="1591776323" sldId="7040"/>
            <ac:spMk id="22" creationId="{36EDAD44-FE3F-4C07-8B8D-70C06F3D82B2}"/>
          </ac:spMkLst>
        </pc:spChg>
        <pc:spChg chg="mod">
          <ac:chgData name="Ugo MANTEL" userId="2d5b7065-31bb-4181-a7f8-a73bf0c30211" providerId="ADAL" clId="{F05BB0D5-3454-45DC-8378-DA45B79D9A06}" dt="2020-10-02T13:04:33.915" v="2820" actId="790"/>
          <ac:spMkLst>
            <pc:docMk/>
            <pc:sldMk cId="1591776323" sldId="7040"/>
            <ac:spMk id="23" creationId="{297577A1-79F4-4BD0-9390-4994317B6C73}"/>
          </ac:spMkLst>
        </pc:spChg>
        <pc:spChg chg="mod">
          <ac:chgData name="Ugo MANTEL" userId="2d5b7065-31bb-4181-a7f8-a73bf0c30211" providerId="ADAL" clId="{F05BB0D5-3454-45DC-8378-DA45B79D9A06}" dt="2020-10-02T13:04:33.916" v="2821" actId="790"/>
          <ac:spMkLst>
            <pc:docMk/>
            <pc:sldMk cId="1591776323" sldId="7040"/>
            <ac:spMk id="26" creationId="{622EAE0B-1E98-44A0-A8B3-BE1B692CD1F6}"/>
          </ac:spMkLst>
        </pc:spChg>
        <pc:spChg chg="mod">
          <ac:chgData name="Ugo MANTEL" userId="2d5b7065-31bb-4181-a7f8-a73bf0c30211" providerId="ADAL" clId="{F05BB0D5-3454-45DC-8378-DA45B79D9A06}" dt="2020-10-02T13:04:33.917" v="2822" actId="790"/>
          <ac:spMkLst>
            <pc:docMk/>
            <pc:sldMk cId="1591776323" sldId="7040"/>
            <ac:spMk id="27" creationId="{080856EB-84C7-4B4E-AB44-45F5F1243AE6}"/>
          </ac:spMkLst>
        </pc:spChg>
        <pc:spChg chg="mod">
          <ac:chgData name="Ugo MANTEL" userId="2d5b7065-31bb-4181-a7f8-a73bf0c30211" providerId="ADAL" clId="{F05BB0D5-3454-45DC-8378-DA45B79D9A06}" dt="2020-10-02T13:04:33.917" v="2823" actId="790"/>
          <ac:spMkLst>
            <pc:docMk/>
            <pc:sldMk cId="1591776323" sldId="7040"/>
            <ac:spMk id="30" creationId="{3637FE43-E48A-43E4-8240-C71E4F93D992}"/>
          </ac:spMkLst>
        </pc:spChg>
        <pc:spChg chg="mod">
          <ac:chgData name="Ugo MANTEL" userId="2d5b7065-31bb-4181-a7f8-a73bf0c30211" providerId="ADAL" clId="{F05BB0D5-3454-45DC-8378-DA45B79D9A06}" dt="2020-10-02T13:04:33.918" v="2824" actId="790"/>
          <ac:spMkLst>
            <pc:docMk/>
            <pc:sldMk cId="1591776323" sldId="7040"/>
            <ac:spMk id="31" creationId="{44BB7070-37BE-4722-99E0-8E8A3066AB68}"/>
          </ac:spMkLst>
        </pc:spChg>
        <pc:spChg chg="mod">
          <ac:chgData name="Ugo MANTEL" userId="2d5b7065-31bb-4181-a7f8-a73bf0c30211" providerId="ADAL" clId="{F05BB0D5-3454-45DC-8378-DA45B79D9A06}" dt="2020-10-02T13:04:33.919" v="2825" actId="790"/>
          <ac:spMkLst>
            <pc:docMk/>
            <pc:sldMk cId="1591776323" sldId="7040"/>
            <ac:spMk id="34" creationId="{758C3B00-E68D-4733-8CEA-6BFBB8A0F035}"/>
          </ac:spMkLst>
        </pc:spChg>
        <pc:spChg chg="mod">
          <ac:chgData name="Ugo MANTEL" userId="2d5b7065-31bb-4181-a7f8-a73bf0c30211" providerId="ADAL" clId="{F05BB0D5-3454-45DC-8378-DA45B79D9A06}" dt="2020-10-02T13:04:33.919" v="2826" actId="790"/>
          <ac:spMkLst>
            <pc:docMk/>
            <pc:sldMk cId="1591776323" sldId="7040"/>
            <ac:spMk id="37" creationId="{1740BBF9-D7EA-4521-A90A-B5FD0F5FC4BD}"/>
          </ac:spMkLst>
        </pc:spChg>
        <pc:spChg chg="mod">
          <ac:chgData name="Ugo MANTEL" userId="2d5b7065-31bb-4181-a7f8-a73bf0c30211" providerId="ADAL" clId="{F05BB0D5-3454-45DC-8378-DA45B79D9A06}" dt="2020-10-02T13:04:33.924" v="2831" actId="790"/>
          <ac:spMkLst>
            <pc:docMk/>
            <pc:sldMk cId="1591776323" sldId="7040"/>
            <ac:spMk id="38" creationId="{14FBFEAB-90C4-4F42-9B0E-D57625A29A15}"/>
          </ac:spMkLst>
        </pc:spChg>
        <pc:spChg chg="mod">
          <ac:chgData name="Ugo MANTEL" userId="2d5b7065-31bb-4181-a7f8-a73bf0c30211" providerId="ADAL" clId="{F05BB0D5-3454-45DC-8378-DA45B79D9A06}" dt="2020-10-02T13:04:33.920" v="2827" actId="790"/>
          <ac:spMkLst>
            <pc:docMk/>
            <pc:sldMk cId="1591776323" sldId="7040"/>
            <ac:spMk id="40" creationId="{6A877605-EBE2-4B86-A3EA-F91114DAC5B8}"/>
          </ac:spMkLst>
        </pc:spChg>
        <pc:spChg chg="mod">
          <ac:chgData name="Ugo MANTEL" userId="2d5b7065-31bb-4181-a7f8-a73bf0c30211" providerId="ADAL" clId="{F05BB0D5-3454-45DC-8378-DA45B79D9A06}" dt="2020-10-02T13:04:33.924" v="2832" actId="790"/>
          <ac:spMkLst>
            <pc:docMk/>
            <pc:sldMk cId="1591776323" sldId="7040"/>
            <ac:spMk id="43" creationId="{115BF6B6-903F-4BBF-B387-6183DE958A81}"/>
          </ac:spMkLst>
        </pc:spChg>
        <pc:spChg chg="mod">
          <ac:chgData name="Ugo MANTEL" userId="2d5b7065-31bb-4181-a7f8-a73bf0c30211" providerId="ADAL" clId="{F05BB0D5-3454-45DC-8378-DA45B79D9A06}" dt="2020-10-02T13:04:33.921" v="2828" actId="790"/>
          <ac:spMkLst>
            <pc:docMk/>
            <pc:sldMk cId="1591776323" sldId="7040"/>
            <ac:spMk id="44" creationId="{E0E04698-289D-41E1-8C3E-9FBD4EDBFA4C}"/>
          </ac:spMkLst>
        </pc:spChg>
        <pc:spChg chg="mod">
          <ac:chgData name="Ugo MANTEL" userId="2d5b7065-31bb-4181-a7f8-a73bf0c30211" providerId="ADAL" clId="{F05BB0D5-3454-45DC-8378-DA45B79D9A06}" dt="2020-10-02T13:04:33.922" v="2829" actId="790"/>
          <ac:spMkLst>
            <pc:docMk/>
            <pc:sldMk cId="1591776323" sldId="7040"/>
            <ac:spMk id="47" creationId="{E4EC9D6E-6845-40E4-9A50-B732E7288886}"/>
          </ac:spMkLst>
        </pc:spChg>
        <pc:spChg chg="mod">
          <ac:chgData name="Ugo MANTEL" userId="2d5b7065-31bb-4181-a7f8-a73bf0c30211" providerId="ADAL" clId="{F05BB0D5-3454-45DC-8378-DA45B79D9A06}" dt="2020-10-02T13:04:33.926" v="2833" actId="790"/>
          <ac:spMkLst>
            <pc:docMk/>
            <pc:sldMk cId="1591776323" sldId="7040"/>
            <ac:spMk id="51" creationId="{320EF676-DBD4-4705-A900-EBA6CEE5B90D}"/>
          </ac:spMkLst>
        </pc:spChg>
        <pc:spChg chg="mod">
          <ac:chgData name="Ugo MANTEL" userId="2d5b7065-31bb-4181-a7f8-a73bf0c30211" providerId="ADAL" clId="{F05BB0D5-3454-45DC-8378-DA45B79D9A06}" dt="2020-10-02T13:04:33.927" v="2834" actId="790"/>
          <ac:spMkLst>
            <pc:docMk/>
            <pc:sldMk cId="1591776323" sldId="7040"/>
            <ac:spMk id="52" creationId="{37303250-32B7-44DC-8A91-0E1431A81855}"/>
          </ac:spMkLst>
        </pc:spChg>
        <pc:spChg chg="mod">
          <ac:chgData name="Ugo MANTEL" userId="2d5b7065-31bb-4181-a7f8-a73bf0c30211" providerId="ADAL" clId="{F05BB0D5-3454-45DC-8378-DA45B79D9A06}" dt="2020-10-02T13:04:33.930" v="2839" actId="790"/>
          <ac:spMkLst>
            <pc:docMk/>
            <pc:sldMk cId="1591776323" sldId="7040"/>
            <ac:spMk id="55" creationId="{376F75AB-D0D8-42A0-9E41-35DCF9F840C0}"/>
          </ac:spMkLst>
        </pc:spChg>
        <pc:spChg chg="mod">
          <ac:chgData name="Ugo MANTEL" userId="2d5b7065-31bb-4181-a7f8-a73bf0c30211" providerId="ADAL" clId="{F05BB0D5-3454-45DC-8378-DA45B79D9A06}" dt="2020-10-02T13:04:33.928" v="2835" actId="790"/>
          <ac:spMkLst>
            <pc:docMk/>
            <pc:sldMk cId="1591776323" sldId="7040"/>
            <ac:spMk id="56" creationId="{778E0665-9E2F-4842-A579-D00F1CCF1357}"/>
          </ac:spMkLst>
        </pc:spChg>
        <pc:spChg chg="mod">
          <ac:chgData name="Ugo MANTEL" userId="2d5b7065-31bb-4181-a7f8-a73bf0c30211" providerId="ADAL" clId="{F05BB0D5-3454-45DC-8378-DA45B79D9A06}" dt="2020-10-02T13:04:33.928" v="2836" actId="790"/>
          <ac:spMkLst>
            <pc:docMk/>
            <pc:sldMk cId="1591776323" sldId="7040"/>
            <ac:spMk id="57" creationId="{182DBEB4-F497-4152-939F-0337DDEAAB2C}"/>
          </ac:spMkLst>
        </pc:spChg>
        <pc:spChg chg="mod">
          <ac:chgData name="Ugo MANTEL" userId="2d5b7065-31bb-4181-a7f8-a73bf0c30211" providerId="ADAL" clId="{F05BB0D5-3454-45DC-8378-DA45B79D9A06}" dt="2020-10-02T13:04:33.929" v="2837" actId="790"/>
          <ac:spMkLst>
            <pc:docMk/>
            <pc:sldMk cId="1591776323" sldId="7040"/>
            <ac:spMk id="58" creationId="{95A4939E-CA49-4D15-98F1-5A9C044F601C}"/>
          </ac:spMkLst>
        </pc:spChg>
        <pc:spChg chg="mod">
          <ac:chgData name="Ugo MANTEL" userId="2d5b7065-31bb-4181-a7f8-a73bf0c30211" providerId="ADAL" clId="{F05BB0D5-3454-45DC-8378-DA45B79D9A06}" dt="2020-10-02T13:04:33.929" v="2838" actId="790"/>
          <ac:spMkLst>
            <pc:docMk/>
            <pc:sldMk cId="1591776323" sldId="7040"/>
            <ac:spMk id="59" creationId="{18F0025A-EB3C-45AF-B495-FD98711CC37E}"/>
          </ac:spMkLst>
        </pc:spChg>
        <pc:spChg chg="mod">
          <ac:chgData name="Ugo MANTEL" userId="2d5b7065-31bb-4181-a7f8-a73bf0c30211" providerId="ADAL" clId="{F05BB0D5-3454-45DC-8378-DA45B79D9A06}" dt="2020-10-02T13:04:33.931" v="2840" actId="790"/>
          <ac:spMkLst>
            <pc:docMk/>
            <pc:sldMk cId="1591776323" sldId="7040"/>
            <ac:spMk id="67" creationId="{8A56E491-B66E-4523-8174-279BB1FC796B}"/>
          </ac:spMkLst>
        </pc:spChg>
        <pc:spChg chg="mod">
          <ac:chgData name="Ugo MANTEL" userId="2d5b7065-31bb-4181-a7f8-a73bf0c30211" providerId="ADAL" clId="{F05BB0D5-3454-45DC-8378-DA45B79D9A06}" dt="2020-10-02T13:04:33.946" v="2845" actId="790"/>
          <ac:spMkLst>
            <pc:docMk/>
            <pc:sldMk cId="1591776323" sldId="7040"/>
            <ac:spMk id="69" creationId="{77BDE803-4234-490E-8C34-2B3CA2EE78BD}"/>
          </ac:spMkLst>
        </pc:spChg>
        <pc:spChg chg="mod">
          <ac:chgData name="Ugo MANTEL" userId="2d5b7065-31bb-4181-a7f8-a73bf0c30211" providerId="ADAL" clId="{F05BB0D5-3454-45DC-8378-DA45B79D9A06}" dt="2020-10-02T13:04:33.932" v="2841" actId="790"/>
          <ac:spMkLst>
            <pc:docMk/>
            <pc:sldMk cId="1591776323" sldId="7040"/>
            <ac:spMk id="71" creationId="{1C52B6A7-FEEF-41C4-9341-227673D253F6}"/>
          </ac:spMkLst>
        </pc:spChg>
        <pc:spChg chg="mod">
          <ac:chgData name="Ugo MANTEL" userId="2d5b7065-31bb-4181-a7f8-a73bf0c30211" providerId="ADAL" clId="{F05BB0D5-3454-45DC-8378-DA45B79D9A06}" dt="2020-10-02T13:04:33.935" v="2842" actId="790"/>
          <ac:spMkLst>
            <pc:docMk/>
            <pc:sldMk cId="1591776323" sldId="7040"/>
            <ac:spMk id="72" creationId="{5FB0E373-B19B-4E53-87B1-21E1643C7A53}"/>
          </ac:spMkLst>
        </pc:spChg>
        <pc:spChg chg="mod">
          <ac:chgData name="Ugo MANTEL" userId="2d5b7065-31bb-4181-a7f8-a73bf0c30211" providerId="ADAL" clId="{F05BB0D5-3454-45DC-8378-DA45B79D9A06}" dt="2020-10-02T13:04:33.944" v="2843" actId="790"/>
          <ac:spMkLst>
            <pc:docMk/>
            <pc:sldMk cId="1591776323" sldId="7040"/>
            <ac:spMk id="74" creationId="{CF092BA7-2077-438B-8B3B-6D9A36B05732}"/>
          </ac:spMkLst>
        </pc:spChg>
        <pc:spChg chg="mod">
          <ac:chgData name="Ugo MANTEL" userId="2d5b7065-31bb-4181-a7f8-a73bf0c30211" providerId="ADAL" clId="{F05BB0D5-3454-45DC-8378-DA45B79D9A06}" dt="2020-10-02T13:04:33.945" v="2844" actId="790"/>
          <ac:spMkLst>
            <pc:docMk/>
            <pc:sldMk cId="1591776323" sldId="7040"/>
            <ac:spMk id="75" creationId="{8D30EF99-EDEB-4DDD-B2D4-160F6945BF4B}"/>
          </ac:spMkLst>
        </pc:spChg>
      </pc:sldChg>
      <pc:sldChg chg="modSp mod">
        <pc:chgData name="Ugo MANTEL" userId="2d5b7065-31bb-4181-a7f8-a73bf0c30211" providerId="ADAL" clId="{F05BB0D5-3454-45DC-8378-DA45B79D9A06}" dt="2020-10-07T08:35:11.069" v="10686"/>
        <pc:sldMkLst>
          <pc:docMk/>
          <pc:sldMk cId="3327230433" sldId="7041"/>
        </pc:sldMkLst>
        <pc:spChg chg="mod">
          <ac:chgData name="Ugo MANTEL" userId="2d5b7065-31bb-4181-a7f8-a73bf0c30211" providerId="ADAL" clId="{F05BB0D5-3454-45DC-8378-DA45B79D9A06}" dt="2020-10-02T13:04:36.414" v="5076" actId="790"/>
          <ac:spMkLst>
            <pc:docMk/>
            <pc:sldMk cId="3327230433" sldId="7041"/>
            <ac:spMk id="3" creationId="{75E3E576-7958-4305-BDD2-5F0234E73D64}"/>
          </ac:spMkLst>
        </pc:spChg>
        <pc:spChg chg="mod">
          <ac:chgData name="Ugo MANTEL" userId="2d5b7065-31bb-4181-a7f8-a73bf0c30211" providerId="ADAL" clId="{F05BB0D5-3454-45DC-8378-DA45B79D9A06}" dt="2020-10-02T13:04:36.411" v="5074" actId="790"/>
          <ac:spMkLst>
            <pc:docMk/>
            <pc:sldMk cId="3327230433" sldId="7041"/>
            <ac:spMk id="4" creationId="{843F30BC-9AB3-4D87-A517-960CAB0F7B16}"/>
          </ac:spMkLst>
        </pc:spChg>
        <pc:spChg chg="mod">
          <ac:chgData name="Ugo MANTEL" userId="2d5b7065-31bb-4181-a7f8-a73bf0c30211" providerId="ADAL" clId="{F05BB0D5-3454-45DC-8378-DA45B79D9A06}" dt="2020-10-02T13:04:36.415" v="5077" actId="790"/>
          <ac:spMkLst>
            <pc:docMk/>
            <pc:sldMk cId="3327230433" sldId="7041"/>
            <ac:spMk id="7" creationId="{631B331E-69CE-4C1E-B8E4-54155AAD05D5}"/>
          </ac:spMkLst>
        </pc:spChg>
        <pc:spChg chg="mod">
          <ac:chgData name="Ugo MANTEL" userId="2d5b7065-31bb-4181-a7f8-a73bf0c30211" providerId="ADAL" clId="{F05BB0D5-3454-45DC-8378-DA45B79D9A06}" dt="2020-10-02T13:04:36.415" v="5078" actId="790"/>
          <ac:spMkLst>
            <pc:docMk/>
            <pc:sldMk cId="3327230433" sldId="7041"/>
            <ac:spMk id="9" creationId="{5E69EAEF-5544-4BBA-88D1-78942FF428C4}"/>
          </ac:spMkLst>
        </pc:spChg>
        <pc:spChg chg="mod">
          <ac:chgData name="Ugo MANTEL" userId="2d5b7065-31bb-4181-a7f8-a73bf0c30211" providerId="ADAL" clId="{F05BB0D5-3454-45DC-8378-DA45B79D9A06}" dt="2020-10-02T13:04:36.415" v="5079" actId="790"/>
          <ac:spMkLst>
            <pc:docMk/>
            <pc:sldMk cId="3327230433" sldId="7041"/>
            <ac:spMk id="10" creationId="{59A4C8C0-A6EB-4A10-BE7F-4E7107CDB906}"/>
          </ac:spMkLst>
        </pc:spChg>
        <pc:spChg chg="mod">
          <ac:chgData name="Ugo MANTEL" userId="2d5b7065-31bb-4181-a7f8-a73bf0c30211" providerId="ADAL" clId="{F05BB0D5-3454-45DC-8378-DA45B79D9A06}" dt="2020-10-02T13:04:36.416" v="5080" actId="790"/>
          <ac:spMkLst>
            <pc:docMk/>
            <pc:sldMk cId="3327230433" sldId="7041"/>
            <ac:spMk id="11" creationId="{EE4E422B-6F8F-47E8-BBF9-59F48EDB0AF0}"/>
          </ac:spMkLst>
        </pc:spChg>
        <pc:spChg chg="mod">
          <ac:chgData name="Ugo MANTEL" userId="2d5b7065-31bb-4181-a7f8-a73bf0c30211" providerId="ADAL" clId="{F05BB0D5-3454-45DC-8378-DA45B79D9A06}" dt="2020-10-02T13:04:36.418" v="5081" actId="790"/>
          <ac:spMkLst>
            <pc:docMk/>
            <pc:sldMk cId="3327230433" sldId="7041"/>
            <ac:spMk id="12" creationId="{19C2AAFB-FD24-4B32-804F-789340BE72D9}"/>
          </ac:spMkLst>
        </pc:spChg>
        <pc:spChg chg="mod">
          <ac:chgData name="Ugo MANTEL" userId="2d5b7065-31bb-4181-a7f8-a73bf0c30211" providerId="ADAL" clId="{F05BB0D5-3454-45DC-8378-DA45B79D9A06}" dt="2020-10-02T13:04:36.419" v="5082" actId="790"/>
          <ac:spMkLst>
            <pc:docMk/>
            <pc:sldMk cId="3327230433" sldId="7041"/>
            <ac:spMk id="20" creationId="{9DF082B9-0FBC-45B9-922B-2AF9904D2EC6}"/>
          </ac:spMkLst>
        </pc:spChg>
        <pc:spChg chg="mod">
          <ac:chgData name="Ugo MANTEL" userId="2d5b7065-31bb-4181-a7f8-a73bf0c30211" providerId="ADAL" clId="{F05BB0D5-3454-45DC-8378-DA45B79D9A06}" dt="2020-10-02T13:04:36.411" v="5075" actId="790"/>
          <ac:spMkLst>
            <pc:docMk/>
            <pc:sldMk cId="3327230433" sldId="7041"/>
            <ac:spMk id="35" creationId="{36984989-6005-409B-8655-C19010C967EF}"/>
          </ac:spMkLst>
        </pc:spChg>
        <pc:spChg chg="mod">
          <ac:chgData name="Ugo MANTEL" userId="2d5b7065-31bb-4181-a7f8-a73bf0c30211" providerId="ADAL" clId="{F05BB0D5-3454-45DC-8378-DA45B79D9A06}" dt="2020-10-02T13:04:36.419" v="5083" actId="790"/>
          <ac:spMkLst>
            <pc:docMk/>
            <pc:sldMk cId="3327230433" sldId="7041"/>
            <ac:spMk id="36" creationId="{C6D0C044-C513-49E0-A4D4-0DCFA7C746D8}"/>
          </ac:spMkLst>
        </pc:spChg>
        <pc:spChg chg="mod">
          <ac:chgData name="Ugo MANTEL" userId="2d5b7065-31bb-4181-a7f8-a73bf0c30211" providerId="ADAL" clId="{F05BB0D5-3454-45DC-8378-DA45B79D9A06}" dt="2020-10-02T13:04:36.422" v="5084" actId="790"/>
          <ac:spMkLst>
            <pc:docMk/>
            <pc:sldMk cId="3327230433" sldId="7041"/>
            <ac:spMk id="37" creationId="{E5D214DF-5BB0-4D42-AB95-F5A04B871783}"/>
          </ac:spMkLst>
        </pc:spChg>
        <pc:spChg chg="mod">
          <ac:chgData name="Ugo MANTEL" userId="2d5b7065-31bb-4181-a7f8-a73bf0c30211" providerId="ADAL" clId="{F05BB0D5-3454-45DC-8378-DA45B79D9A06}" dt="2020-10-02T13:04:36.426" v="5085" actId="790"/>
          <ac:spMkLst>
            <pc:docMk/>
            <pc:sldMk cId="3327230433" sldId="7041"/>
            <ac:spMk id="43" creationId="{5FACF560-96C8-4030-95BB-E3729BFF0E35}"/>
          </ac:spMkLst>
        </pc:spChg>
        <pc:spChg chg="mod">
          <ac:chgData name="Ugo MANTEL" userId="2d5b7065-31bb-4181-a7f8-a73bf0c30211" providerId="ADAL" clId="{F05BB0D5-3454-45DC-8378-DA45B79D9A06}" dt="2020-10-02T13:04:36.427" v="5086" actId="790"/>
          <ac:spMkLst>
            <pc:docMk/>
            <pc:sldMk cId="3327230433" sldId="7041"/>
            <ac:spMk id="45" creationId="{626547E8-A4DC-4C4C-AE0D-FD68B53B6D3C}"/>
          </ac:spMkLst>
        </pc:spChg>
        <pc:spChg chg="mod">
          <ac:chgData name="Ugo MANTEL" userId="2d5b7065-31bb-4181-a7f8-a73bf0c30211" providerId="ADAL" clId="{F05BB0D5-3454-45DC-8378-DA45B79D9A06}" dt="2020-10-02T13:04:36.428" v="5087" actId="790"/>
          <ac:spMkLst>
            <pc:docMk/>
            <pc:sldMk cId="3327230433" sldId="7041"/>
            <ac:spMk id="46" creationId="{040F7C19-B6E5-4504-BF40-FD6794D2C55D}"/>
          </ac:spMkLst>
        </pc:spChg>
        <pc:spChg chg="mod">
          <ac:chgData name="Ugo MANTEL" userId="2d5b7065-31bb-4181-a7f8-a73bf0c30211" providerId="ADAL" clId="{F05BB0D5-3454-45DC-8378-DA45B79D9A06}" dt="2020-10-02T13:04:36.429" v="5088" actId="790"/>
          <ac:spMkLst>
            <pc:docMk/>
            <pc:sldMk cId="3327230433" sldId="7041"/>
            <ac:spMk id="47" creationId="{D245AD39-DD79-483A-ABB8-AB4C219FDFB3}"/>
          </ac:spMkLst>
        </pc:spChg>
        <pc:spChg chg="mod">
          <ac:chgData name="Ugo MANTEL" userId="2d5b7065-31bb-4181-a7f8-a73bf0c30211" providerId="ADAL" clId="{F05BB0D5-3454-45DC-8378-DA45B79D9A06}" dt="2020-10-02T13:04:36.430" v="5089" actId="790"/>
          <ac:spMkLst>
            <pc:docMk/>
            <pc:sldMk cId="3327230433" sldId="7041"/>
            <ac:spMk id="51" creationId="{A439F385-262C-43CC-8B5B-103F4E00F629}"/>
          </ac:spMkLst>
        </pc:spChg>
        <pc:spChg chg="mod">
          <ac:chgData name="Ugo MANTEL" userId="2d5b7065-31bb-4181-a7f8-a73bf0c30211" providerId="ADAL" clId="{F05BB0D5-3454-45DC-8378-DA45B79D9A06}" dt="2020-10-02T13:04:36.431" v="5090" actId="790"/>
          <ac:spMkLst>
            <pc:docMk/>
            <pc:sldMk cId="3327230433" sldId="7041"/>
            <ac:spMk id="53" creationId="{E9060B89-6A07-4ABE-9FF9-DC527628D151}"/>
          </ac:spMkLst>
        </pc:spChg>
        <pc:graphicFrameChg chg="modGraphic">
          <ac:chgData name="Ugo MANTEL" userId="2d5b7065-31bb-4181-a7f8-a73bf0c30211" providerId="ADAL" clId="{F05BB0D5-3454-45DC-8378-DA45B79D9A06}" dt="2020-10-07T08:34:38.683" v="10678"/>
          <ac:graphicFrameMkLst>
            <pc:docMk/>
            <pc:sldMk cId="3327230433" sldId="7041"/>
            <ac:graphicFrameMk id="26" creationId="{5BFB3E50-F2A9-4F5F-A5BC-D00511F09D28}"/>
          </ac:graphicFrameMkLst>
        </pc:graphicFrameChg>
        <pc:graphicFrameChg chg="modGraphic">
          <ac:chgData name="Ugo MANTEL" userId="2d5b7065-31bb-4181-a7f8-a73bf0c30211" providerId="ADAL" clId="{F05BB0D5-3454-45DC-8378-DA45B79D9A06}" dt="2020-10-07T08:35:11.069" v="10686"/>
          <ac:graphicFrameMkLst>
            <pc:docMk/>
            <pc:sldMk cId="3327230433" sldId="7041"/>
            <ac:graphicFrameMk id="49" creationId="{8440CECB-6BFF-4F9C-B59B-39F413B5FEDC}"/>
          </ac:graphicFrameMkLst>
        </pc:graphicFrameChg>
      </pc:sldChg>
      <pc:sldChg chg="modSp mod">
        <pc:chgData name="Ugo MANTEL" userId="2d5b7065-31bb-4181-a7f8-a73bf0c30211" providerId="ADAL" clId="{F05BB0D5-3454-45DC-8378-DA45B79D9A06}" dt="2020-10-02T13:04:36.640" v="5295" actId="790"/>
        <pc:sldMkLst>
          <pc:docMk/>
          <pc:sldMk cId="1680654699" sldId="7042"/>
        </pc:sldMkLst>
        <pc:spChg chg="mod">
          <ac:chgData name="Ugo MANTEL" userId="2d5b7065-31bb-4181-a7f8-a73bf0c30211" providerId="ADAL" clId="{F05BB0D5-3454-45DC-8378-DA45B79D9A06}" dt="2020-10-02T13:04:36.539" v="5186" actId="790"/>
          <ac:spMkLst>
            <pc:docMk/>
            <pc:sldMk cId="1680654699" sldId="7042"/>
            <ac:spMk id="3" creationId="{020DE023-1F2D-428C-ABA0-8C18A18672CA}"/>
          </ac:spMkLst>
        </pc:spChg>
        <pc:spChg chg="mod">
          <ac:chgData name="Ugo MANTEL" userId="2d5b7065-31bb-4181-a7f8-a73bf0c30211" providerId="ADAL" clId="{F05BB0D5-3454-45DC-8378-DA45B79D9A06}" dt="2020-10-02T13:04:36.539" v="5187" actId="790"/>
          <ac:spMkLst>
            <pc:docMk/>
            <pc:sldMk cId="1680654699" sldId="7042"/>
            <ac:spMk id="10" creationId="{10AD4337-CEEE-4700-A13A-7E78CBE8A2E5}"/>
          </ac:spMkLst>
        </pc:spChg>
        <pc:spChg chg="mod">
          <ac:chgData name="Ugo MANTEL" userId="2d5b7065-31bb-4181-a7f8-a73bf0c30211" providerId="ADAL" clId="{F05BB0D5-3454-45DC-8378-DA45B79D9A06}" dt="2020-10-02T13:04:36.525" v="5183" actId="790"/>
          <ac:spMkLst>
            <pc:docMk/>
            <pc:sldMk cId="1680654699" sldId="7042"/>
            <ac:spMk id="11" creationId="{31B515A2-E36D-4CE5-B75A-F43E65328BED}"/>
          </ac:spMkLst>
        </pc:spChg>
        <pc:spChg chg="mod">
          <ac:chgData name="Ugo MANTEL" userId="2d5b7065-31bb-4181-a7f8-a73bf0c30211" providerId="ADAL" clId="{F05BB0D5-3454-45DC-8378-DA45B79D9A06}" dt="2020-10-02T13:04:36.540" v="5188" actId="790"/>
          <ac:spMkLst>
            <pc:docMk/>
            <pc:sldMk cId="1680654699" sldId="7042"/>
            <ac:spMk id="14" creationId="{FAB51269-0F0F-451A-9AAB-523722E9CCD9}"/>
          </ac:spMkLst>
        </pc:spChg>
        <pc:spChg chg="mod">
          <ac:chgData name="Ugo MANTEL" userId="2d5b7065-31bb-4181-a7f8-a73bf0c30211" providerId="ADAL" clId="{F05BB0D5-3454-45DC-8378-DA45B79D9A06}" dt="2020-10-02T13:04:36.541" v="5189" actId="790"/>
          <ac:spMkLst>
            <pc:docMk/>
            <pc:sldMk cId="1680654699" sldId="7042"/>
            <ac:spMk id="15" creationId="{832770CF-CDE0-400E-A241-F5696C2EBBF1}"/>
          </ac:spMkLst>
        </pc:spChg>
        <pc:spChg chg="mod">
          <ac:chgData name="Ugo MANTEL" userId="2d5b7065-31bb-4181-a7f8-a73bf0c30211" providerId="ADAL" clId="{F05BB0D5-3454-45DC-8378-DA45B79D9A06}" dt="2020-10-02T13:04:36.541" v="5190" actId="790"/>
          <ac:spMkLst>
            <pc:docMk/>
            <pc:sldMk cId="1680654699" sldId="7042"/>
            <ac:spMk id="16" creationId="{9AB836E5-BC4A-46BB-88BC-C4B7012169B9}"/>
          </ac:spMkLst>
        </pc:spChg>
        <pc:spChg chg="mod">
          <ac:chgData name="Ugo MANTEL" userId="2d5b7065-31bb-4181-a7f8-a73bf0c30211" providerId="ADAL" clId="{F05BB0D5-3454-45DC-8378-DA45B79D9A06}" dt="2020-10-02T13:04:36.542" v="5191" actId="790"/>
          <ac:spMkLst>
            <pc:docMk/>
            <pc:sldMk cId="1680654699" sldId="7042"/>
            <ac:spMk id="17" creationId="{CC2EBF27-6661-44F6-A33C-09F21DC9CEDD}"/>
          </ac:spMkLst>
        </pc:spChg>
        <pc:spChg chg="mod">
          <ac:chgData name="Ugo MANTEL" userId="2d5b7065-31bb-4181-a7f8-a73bf0c30211" providerId="ADAL" clId="{F05BB0D5-3454-45DC-8378-DA45B79D9A06}" dt="2020-10-02T13:04:36.543" v="5192" actId="790"/>
          <ac:spMkLst>
            <pc:docMk/>
            <pc:sldMk cId="1680654699" sldId="7042"/>
            <ac:spMk id="25" creationId="{A32C5129-06FB-43BA-8345-18CB99BB650C}"/>
          </ac:spMkLst>
        </pc:spChg>
        <pc:spChg chg="mod">
          <ac:chgData name="Ugo MANTEL" userId="2d5b7065-31bb-4181-a7f8-a73bf0c30211" providerId="ADAL" clId="{F05BB0D5-3454-45DC-8378-DA45B79D9A06}" dt="2020-10-02T13:04:36.637" v="5291" actId="790"/>
          <ac:spMkLst>
            <pc:docMk/>
            <pc:sldMk cId="1680654699" sldId="7042"/>
            <ac:spMk id="28" creationId="{F7EAA871-DA13-4977-A936-68750B95574F}"/>
          </ac:spMkLst>
        </pc:spChg>
        <pc:spChg chg="mod">
          <ac:chgData name="Ugo MANTEL" userId="2d5b7065-31bb-4181-a7f8-a73bf0c30211" providerId="ADAL" clId="{F05BB0D5-3454-45DC-8378-DA45B79D9A06}" dt="2020-10-02T13:04:36.627" v="5282" actId="790"/>
          <ac:spMkLst>
            <pc:docMk/>
            <pc:sldMk cId="1680654699" sldId="7042"/>
            <ac:spMk id="52" creationId="{7BF02BA7-E407-4654-BB4D-2FEB82639948}"/>
          </ac:spMkLst>
        </pc:spChg>
        <pc:spChg chg="mod">
          <ac:chgData name="Ugo MANTEL" userId="2d5b7065-31bb-4181-a7f8-a73bf0c30211" providerId="ADAL" clId="{F05BB0D5-3454-45DC-8378-DA45B79D9A06}" dt="2020-10-02T13:04:36.628" v="5283" actId="790"/>
          <ac:spMkLst>
            <pc:docMk/>
            <pc:sldMk cId="1680654699" sldId="7042"/>
            <ac:spMk id="53" creationId="{A27222E1-43DA-411A-B232-D7689A1D7585}"/>
          </ac:spMkLst>
        </pc:spChg>
        <pc:spChg chg="mod">
          <ac:chgData name="Ugo MANTEL" userId="2d5b7065-31bb-4181-a7f8-a73bf0c30211" providerId="ADAL" clId="{F05BB0D5-3454-45DC-8378-DA45B79D9A06}" dt="2020-10-02T13:04:36.629" v="5284" actId="790"/>
          <ac:spMkLst>
            <pc:docMk/>
            <pc:sldMk cId="1680654699" sldId="7042"/>
            <ac:spMk id="54" creationId="{B101C335-45C6-48E9-A903-54831603929E}"/>
          </ac:spMkLst>
        </pc:spChg>
        <pc:spChg chg="mod">
          <ac:chgData name="Ugo MANTEL" userId="2d5b7065-31bb-4181-a7f8-a73bf0c30211" providerId="ADAL" clId="{F05BB0D5-3454-45DC-8378-DA45B79D9A06}" dt="2020-10-02T13:04:36.629" v="5285" actId="790"/>
          <ac:spMkLst>
            <pc:docMk/>
            <pc:sldMk cId="1680654699" sldId="7042"/>
            <ac:spMk id="55" creationId="{B065E010-93D9-41EE-9EE9-12C1EBCAE243}"/>
          </ac:spMkLst>
        </pc:spChg>
        <pc:spChg chg="mod">
          <ac:chgData name="Ugo MANTEL" userId="2d5b7065-31bb-4181-a7f8-a73bf0c30211" providerId="ADAL" clId="{F05BB0D5-3454-45DC-8378-DA45B79D9A06}" dt="2020-10-02T13:04:36.630" v="5286" actId="790"/>
          <ac:spMkLst>
            <pc:docMk/>
            <pc:sldMk cId="1680654699" sldId="7042"/>
            <ac:spMk id="56" creationId="{7D513FB1-0EF4-43E3-9561-913A5E889C11}"/>
          </ac:spMkLst>
        </pc:spChg>
        <pc:spChg chg="mod">
          <ac:chgData name="Ugo MANTEL" userId="2d5b7065-31bb-4181-a7f8-a73bf0c30211" providerId="ADAL" clId="{F05BB0D5-3454-45DC-8378-DA45B79D9A06}" dt="2020-10-02T13:04:36.631" v="5287" actId="790"/>
          <ac:spMkLst>
            <pc:docMk/>
            <pc:sldMk cId="1680654699" sldId="7042"/>
            <ac:spMk id="57" creationId="{A4656634-0383-4289-82BA-3A61315126D4}"/>
          </ac:spMkLst>
        </pc:spChg>
        <pc:spChg chg="mod">
          <ac:chgData name="Ugo MANTEL" userId="2d5b7065-31bb-4181-a7f8-a73bf0c30211" providerId="ADAL" clId="{F05BB0D5-3454-45DC-8378-DA45B79D9A06}" dt="2020-10-02T13:04:36.633" v="5288" actId="790"/>
          <ac:spMkLst>
            <pc:docMk/>
            <pc:sldMk cId="1680654699" sldId="7042"/>
            <ac:spMk id="59" creationId="{B5B3C23E-EF49-40EE-932B-F95BF5FD32AB}"/>
          </ac:spMkLst>
        </pc:spChg>
        <pc:spChg chg="mod">
          <ac:chgData name="Ugo MANTEL" userId="2d5b7065-31bb-4181-a7f8-a73bf0c30211" providerId="ADAL" clId="{F05BB0D5-3454-45DC-8378-DA45B79D9A06}" dt="2020-10-02T13:04:36.635" v="5289" actId="790"/>
          <ac:spMkLst>
            <pc:docMk/>
            <pc:sldMk cId="1680654699" sldId="7042"/>
            <ac:spMk id="61" creationId="{625C47C9-9FA0-46C9-AA93-27BDB6027695}"/>
          </ac:spMkLst>
        </pc:spChg>
        <pc:spChg chg="mod">
          <ac:chgData name="Ugo MANTEL" userId="2d5b7065-31bb-4181-a7f8-a73bf0c30211" providerId="ADAL" clId="{F05BB0D5-3454-45DC-8378-DA45B79D9A06}" dt="2020-10-02T13:04:36.636" v="5290" actId="790"/>
          <ac:spMkLst>
            <pc:docMk/>
            <pc:sldMk cId="1680654699" sldId="7042"/>
            <ac:spMk id="71" creationId="{7BB97F26-3145-4F02-AC8A-1BAB98D114CB}"/>
          </ac:spMkLst>
        </pc:spChg>
        <pc:spChg chg="mod">
          <ac:chgData name="Ugo MANTEL" userId="2d5b7065-31bb-4181-a7f8-a73bf0c30211" providerId="ADAL" clId="{F05BB0D5-3454-45DC-8378-DA45B79D9A06}" dt="2020-10-02T13:04:36.545" v="5193" actId="790"/>
          <ac:spMkLst>
            <pc:docMk/>
            <pc:sldMk cId="1680654699" sldId="7042"/>
            <ac:spMk id="80" creationId="{2DC61331-AAC6-4F24-A66D-A5C4D97DDC01}"/>
          </ac:spMkLst>
        </pc:spChg>
        <pc:spChg chg="mod">
          <ac:chgData name="Ugo MANTEL" userId="2d5b7065-31bb-4181-a7f8-a73bf0c30211" providerId="ADAL" clId="{F05BB0D5-3454-45DC-8378-DA45B79D9A06}" dt="2020-10-02T13:04:36.638" v="5292" actId="790"/>
          <ac:spMkLst>
            <pc:docMk/>
            <pc:sldMk cId="1680654699" sldId="7042"/>
            <ac:spMk id="142" creationId="{C1D3946A-626D-4FC0-BD92-D745D13030BB}"/>
          </ac:spMkLst>
        </pc:spChg>
        <pc:spChg chg="mod">
          <ac:chgData name="Ugo MANTEL" userId="2d5b7065-31bb-4181-a7f8-a73bf0c30211" providerId="ADAL" clId="{F05BB0D5-3454-45DC-8378-DA45B79D9A06}" dt="2020-10-02T13:04:36.639" v="5293" actId="790"/>
          <ac:spMkLst>
            <pc:docMk/>
            <pc:sldMk cId="1680654699" sldId="7042"/>
            <ac:spMk id="147" creationId="{0ECF5326-5920-4473-88B1-EDAE65E80751}"/>
          </ac:spMkLst>
        </pc:spChg>
        <pc:spChg chg="mod">
          <ac:chgData name="Ugo MANTEL" userId="2d5b7065-31bb-4181-a7f8-a73bf0c30211" providerId="ADAL" clId="{F05BB0D5-3454-45DC-8378-DA45B79D9A06}" dt="2020-10-02T13:04:36.639" v="5294" actId="790"/>
          <ac:spMkLst>
            <pc:docMk/>
            <pc:sldMk cId="1680654699" sldId="7042"/>
            <ac:spMk id="148" creationId="{DE44B919-1F42-4394-9918-3C0E2F9A07F3}"/>
          </ac:spMkLst>
        </pc:spChg>
        <pc:spChg chg="mod">
          <ac:chgData name="Ugo MANTEL" userId="2d5b7065-31bb-4181-a7f8-a73bf0c30211" providerId="ADAL" clId="{F05BB0D5-3454-45DC-8378-DA45B79D9A06}" dt="2020-10-02T13:04:36.640" v="5295" actId="790"/>
          <ac:spMkLst>
            <pc:docMk/>
            <pc:sldMk cId="1680654699" sldId="7042"/>
            <ac:spMk id="149" creationId="{49634BFD-08D2-431E-BE93-C114A08FD59E}"/>
          </ac:spMkLst>
        </pc:spChg>
        <pc:spChg chg="mod">
          <ac:chgData name="Ugo MANTEL" userId="2d5b7065-31bb-4181-a7f8-a73bf0c30211" providerId="ADAL" clId="{F05BB0D5-3454-45DC-8378-DA45B79D9A06}" dt="2020-10-02T13:04:36.525" v="5184" actId="790"/>
          <ac:spMkLst>
            <pc:docMk/>
            <pc:sldMk cId="1680654699" sldId="7042"/>
            <ac:spMk id="221" creationId="{8C2F5084-D87B-4F7A-AFBA-C35B3F83F572}"/>
          </ac:spMkLst>
        </pc:spChg>
        <pc:spChg chg="mod">
          <ac:chgData name="Ugo MANTEL" userId="2d5b7065-31bb-4181-a7f8-a73bf0c30211" providerId="ADAL" clId="{F05BB0D5-3454-45DC-8378-DA45B79D9A06}" dt="2020-10-02T13:04:36.536" v="5185" actId="790"/>
          <ac:spMkLst>
            <pc:docMk/>
            <pc:sldMk cId="1680654699" sldId="7042"/>
            <ac:spMk id="222" creationId="{A2A3E0E5-AC14-4486-A547-8AB651FC207B}"/>
          </ac:spMkLst>
        </pc:spChg>
        <pc:spChg chg="mod">
          <ac:chgData name="Ugo MANTEL" userId="2d5b7065-31bb-4181-a7f8-a73bf0c30211" providerId="ADAL" clId="{F05BB0D5-3454-45DC-8378-DA45B79D9A06}" dt="2020-10-02T13:04:36.546" v="5194" actId="790"/>
          <ac:spMkLst>
            <pc:docMk/>
            <pc:sldMk cId="1680654699" sldId="7042"/>
            <ac:spMk id="230" creationId="{2862CA9A-0DC5-4F89-A2AC-A71C9A6DF7F0}"/>
          </ac:spMkLst>
        </pc:spChg>
        <pc:spChg chg="mod">
          <ac:chgData name="Ugo MANTEL" userId="2d5b7065-31bb-4181-a7f8-a73bf0c30211" providerId="ADAL" clId="{F05BB0D5-3454-45DC-8378-DA45B79D9A06}" dt="2020-10-02T13:04:36.548" v="5195" actId="790"/>
          <ac:spMkLst>
            <pc:docMk/>
            <pc:sldMk cId="1680654699" sldId="7042"/>
            <ac:spMk id="231" creationId="{6031994B-6F7D-4F6C-B65C-5C482C2C20A9}"/>
          </ac:spMkLst>
        </pc:spChg>
        <pc:spChg chg="mod">
          <ac:chgData name="Ugo MANTEL" userId="2d5b7065-31bb-4181-a7f8-a73bf0c30211" providerId="ADAL" clId="{F05BB0D5-3454-45DC-8378-DA45B79D9A06}" dt="2020-10-02T13:04:36.550" v="5196" actId="790"/>
          <ac:spMkLst>
            <pc:docMk/>
            <pc:sldMk cId="1680654699" sldId="7042"/>
            <ac:spMk id="232" creationId="{087B148F-19A4-4D25-BA72-DFC5C6DA69F6}"/>
          </ac:spMkLst>
        </pc:spChg>
        <pc:spChg chg="mod">
          <ac:chgData name="Ugo MANTEL" userId="2d5b7065-31bb-4181-a7f8-a73bf0c30211" providerId="ADAL" clId="{F05BB0D5-3454-45DC-8378-DA45B79D9A06}" dt="2020-10-02T13:04:36.552" v="5197" actId="790"/>
          <ac:spMkLst>
            <pc:docMk/>
            <pc:sldMk cId="1680654699" sldId="7042"/>
            <ac:spMk id="233" creationId="{89F50210-22A9-44C8-AA14-AD786D159246}"/>
          </ac:spMkLst>
        </pc:spChg>
        <pc:spChg chg="mod">
          <ac:chgData name="Ugo MANTEL" userId="2d5b7065-31bb-4181-a7f8-a73bf0c30211" providerId="ADAL" clId="{F05BB0D5-3454-45DC-8378-DA45B79D9A06}" dt="2020-10-02T13:04:36.564" v="5206" actId="790"/>
          <ac:spMkLst>
            <pc:docMk/>
            <pc:sldMk cId="1680654699" sldId="7042"/>
            <ac:spMk id="236" creationId="{D99B8154-EA44-4EAD-8A7D-A880C02DBE32}"/>
          </ac:spMkLst>
        </pc:spChg>
        <pc:spChg chg="mod">
          <ac:chgData name="Ugo MANTEL" userId="2d5b7065-31bb-4181-a7f8-a73bf0c30211" providerId="ADAL" clId="{F05BB0D5-3454-45DC-8378-DA45B79D9A06}" dt="2020-10-02T13:04:36.565" v="5207" actId="790"/>
          <ac:spMkLst>
            <pc:docMk/>
            <pc:sldMk cId="1680654699" sldId="7042"/>
            <ac:spMk id="237" creationId="{6AB88EA4-5A85-45C4-977E-31FB41744671}"/>
          </ac:spMkLst>
        </pc:spChg>
        <pc:spChg chg="mod">
          <ac:chgData name="Ugo MANTEL" userId="2d5b7065-31bb-4181-a7f8-a73bf0c30211" providerId="ADAL" clId="{F05BB0D5-3454-45DC-8378-DA45B79D9A06}" dt="2020-10-02T13:04:36.566" v="5208" actId="790"/>
          <ac:spMkLst>
            <pc:docMk/>
            <pc:sldMk cId="1680654699" sldId="7042"/>
            <ac:spMk id="238" creationId="{9205B30F-00F6-482A-BA9A-567A852F8B5F}"/>
          </ac:spMkLst>
        </pc:spChg>
        <pc:spChg chg="mod">
          <ac:chgData name="Ugo MANTEL" userId="2d5b7065-31bb-4181-a7f8-a73bf0c30211" providerId="ADAL" clId="{F05BB0D5-3454-45DC-8378-DA45B79D9A06}" dt="2020-10-02T13:04:36.567" v="5209" actId="790"/>
          <ac:spMkLst>
            <pc:docMk/>
            <pc:sldMk cId="1680654699" sldId="7042"/>
            <ac:spMk id="239" creationId="{0C4F7528-6BF1-4652-B9B9-5B3A4001D3F2}"/>
          </ac:spMkLst>
        </pc:spChg>
        <pc:spChg chg="mod">
          <ac:chgData name="Ugo MANTEL" userId="2d5b7065-31bb-4181-a7f8-a73bf0c30211" providerId="ADAL" clId="{F05BB0D5-3454-45DC-8378-DA45B79D9A06}" dt="2020-10-02T13:04:36.568" v="5210" actId="790"/>
          <ac:spMkLst>
            <pc:docMk/>
            <pc:sldMk cId="1680654699" sldId="7042"/>
            <ac:spMk id="240" creationId="{F9959477-73E9-4D1A-935B-867BC1B8A11A}"/>
          </ac:spMkLst>
        </pc:spChg>
        <pc:spChg chg="mod">
          <ac:chgData name="Ugo MANTEL" userId="2d5b7065-31bb-4181-a7f8-a73bf0c30211" providerId="ADAL" clId="{F05BB0D5-3454-45DC-8378-DA45B79D9A06}" dt="2020-10-02T13:04:36.569" v="5211" actId="790"/>
          <ac:spMkLst>
            <pc:docMk/>
            <pc:sldMk cId="1680654699" sldId="7042"/>
            <ac:spMk id="241" creationId="{3AB62AC5-8196-4F8F-AB26-8748B3CE2F48}"/>
          </ac:spMkLst>
        </pc:spChg>
        <pc:spChg chg="mod">
          <ac:chgData name="Ugo MANTEL" userId="2d5b7065-31bb-4181-a7f8-a73bf0c30211" providerId="ADAL" clId="{F05BB0D5-3454-45DC-8378-DA45B79D9A06}" dt="2020-10-02T13:04:36.570" v="5212" actId="790"/>
          <ac:spMkLst>
            <pc:docMk/>
            <pc:sldMk cId="1680654699" sldId="7042"/>
            <ac:spMk id="242" creationId="{12F44CD9-C13B-48B5-AA44-9BF2C5DCA29E}"/>
          </ac:spMkLst>
        </pc:spChg>
        <pc:spChg chg="mod">
          <ac:chgData name="Ugo MANTEL" userId="2d5b7065-31bb-4181-a7f8-a73bf0c30211" providerId="ADAL" clId="{F05BB0D5-3454-45DC-8378-DA45B79D9A06}" dt="2020-10-02T13:04:36.570" v="5213" actId="790"/>
          <ac:spMkLst>
            <pc:docMk/>
            <pc:sldMk cId="1680654699" sldId="7042"/>
            <ac:spMk id="243" creationId="{362CFEE4-C6C5-4698-8919-4477AF71C448}"/>
          </ac:spMkLst>
        </pc:spChg>
        <pc:spChg chg="mod">
          <ac:chgData name="Ugo MANTEL" userId="2d5b7065-31bb-4181-a7f8-a73bf0c30211" providerId="ADAL" clId="{F05BB0D5-3454-45DC-8378-DA45B79D9A06}" dt="2020-10-02T13:04:36.571" v="5214" actId="790"/>
          <ac:spMkLst>
            <pc:docMk/>
            <pc:sldMk cId="1680654699" sldId="7042"/>
            <ac:spMk id="244" creationId="{185A526A-41BF-4B9C-B71A-F29B5B4A87FD}"/>
          </ac:spMkLst>
        </pc:spChg>
        <pc:spChg chg="mod">
          <ac:chgData name="Ugo MANTEL" userId="2d5b7065-31bb-4181-a7f8-a73bf0c30211" providerId="ADAL" clId="{F05BB0D5-3454-45DC-8378-DA45B79D9A06}" dt="2020-10-02T13:04:36.572" v="5215" actId="790"/>
          <ac:spMkLst>
            <pc:docMk/>
            <pc:sldMk cId="1680654699" sldId="7042"/>
            <ac:spMk id="245" creationId="{B15CB26C-D78B-4DD9-87E3-AA241685CC91}"/>
          </ac:spMkLst>
        </pc:spChg>
        <pc:spChg chg="mod">
          <ac:chgData name="Ugo MANTEL" userId="2d5b7065-31bb-4181-a7f8-a73bf0c30211" providerId="ADAL" clId="{F05BB0D5-3454-45DC-8378-DA45B79D9A06}" dt="2020-10-02T13:04:36.573" v="5216" actId="790"/>
          <ac:spMkLst>
            <pc:docMk/>
            <pc:sldMk cId="1680654699" sldId="7042"/>
            <ac:spMk id="246" creationId="{15D40090-291B-4DD4-B0C9-09687D96B3D0}"/>
          </ac:spMkLst>
        </pc:spChg>
        <pc:spChg chg="mod">
          <ac:chgData name="Ugo MANTEL" userId="2d5b7065-31bb-4181-a7f8-a73bf0c30211" providerId="ADAL" clId="{F05BB0D5-3454-45DC-8378-DA45B79D9A06}" dt="2020-10-02T13:04:36.574" v="5217" actId="790"/>
          <ac:spMkLst>
            <pc:docMk/>
            <pc:sldMk cId="1680654699" sldId="7042"/>
            <ac:spMk id="247" creationId="{1844E537-8E86-4149-AA3B-F7DDF260061E}"/>
          </ac:spMkLst>
        </pc:spChg>
        <pc:spChg chg="mod">
          <ac:chgData name="Ugo MANTEL" userId="2d5b7065-31bb-4181-a7f8-a73bf0c30211" providerId="ADAL" clId="{F05BB0D5-3454-45DC-8378-DA45B79D9A06}" dt="2020-10-02T13:04:36.575" v="5218" actId="790"/>
          <ac:spMkLst>
            <pc:docMk/>
            <pc:sldMk cId="1680654699" sldId="7042"/>
            <ac:spMk id="248" creationId="{3C6853C7-7230-4817-A74D-5EE7EDCCCA0B}"/>
          </ac:spMkLst>
        </pc:spChg>
        <pc:spChg chg="mod">
          <ac:chgData name="Ugo MANTEL" userId="2d5b7065-31bb-4181-a7f8-a73bf0c30211" providerId="ADAL" clId="{F05BB0D5-3454-45DC-8378-DA45B79D9A06}" dt="2020-10-02T13:04:36.575" v="5219" actId="790"/>
          <ac:spMkLst>
            <pc:docMk/>
            <pc:sldMk cId="1680654699" sldId="7042"/>
            <ac:spMk id="249" creationId="{AF09A0A3-EC40-4E6A-8244-39619E4AE361}"/>
          </ac:spMkLst>
        </pc:spChg>
        <pc:spChg chg="mod">
          <ac:chgData name="Ugo MANTEL" userId="2d5b7065-31bb-4181-a7f8-a73bf0c30211" providerId="ADAL" clId="{F05BB0D5-3454-45DC-8378-DA45B79D9A06}" dt="2020-10-02T13:04:36.576" v="5220" actId="790"/>
          <ac:spMkLst>
            <pc:docMk/>
            <pc:sldMk cId="1680654699" sldId="7042"/>
            <ac:spMk id="250" creationId="{D146D4AD-A02D-43FB-BD55-B96D86F96D45}"/>
          </ac:spMkLst>
        </pc:spChg>
        <pc:spChg chg="mod">
          <ac:chgData name="Ugo MANTEL" userId="2d5b7065-31bb-4181-a7f8-a73bf0c30211" providerId="ADAL" clId="{F05BB0D5-3454-45DC-8378-DA45B79D9A06}" dt="2020-10-02T13:04:36.577" v="5221" actId="790"/>
          <ac:spMkLst>
            <pc:docMk/>
            <pc:sldMk cId="1680654699" sldId="7042"/>
            <ac:spMk id="251" creationId="{786A7353-0FA9-4460-BF8F-4CEB1B8FEF51}"/>
          </ac:spMkLst>
        </pc:spChg>
        <pc:spChg chg="mod">
          <ac:chgData name="Ugo MANTEL" userId="2d5b7065-31bb-4181-a7f8-a73bf0c30211" providerId="ADAL" clId="{F05BB0D5-3454-45DC-8378-DA45B79D9A06}" dt="2020-10-02T13:04:36.578" v="5222" actId="790"/>
          <ac:spMkLst>
            <pc:docMk/>
            <pc:sldMk cId="1680654699" sldId="7042"/>
            <ac:spMk id="252" creationId="{313CBA57-466C-4E06-AB4C-E349B488D2F8}"/>
          </ac:spMkLst>
        </pc:spChg>
        <pc:spChg chg="mod">
          <ac:chgData name="Ugo MANTEL" userId="2d5b7065-31bb-4181-a7f8-a73bf0c30211" providerId="ADAL" clId="{F05BB0D5-3454-45DC-8378-DA45B79D9A06}" dt="2020-10-02T13:04:36.579" v="5223" actId="790"/>
          <ac:spMkLst>
            <pc:docMk/>
            <pc:sldMk cId="1680654699" sldId="7042"/>
            <ac:spMk id="253" creationId="{26C5D600-54D3-4902-87F6-7E8F580DACB0}"/>
          </ac:spMkLst>
        </pc:spChg>
        <pc:spChg chg="mod">
          <ac:chgData name="Ugo MANTEL" userId="2d5b7065-31bb-4181-a7f8-a73bf0c30211" providerId="ADAL" clId="{F05BB0D5-3454-45DC-8378-DA45B79D9A06}" dt="2020-10-02T13:04:36.579" v="5224" actId="790"/>
          <ac:spMkLst>
            <pc:docMk/>
            <pc:sldMk cId="1680654699" sldId="7042"/>
            <ac:spMk id="254" creationId="{29184351-E8AA-45A6-A8C8-A7F0E54D296A}"/>
          </ac:spMkLst>
        </pc:spChg>
        <pc:spChg chg="mod">
          <ac:chgData name="Ugo MANTEL" userId="2d5b7065-31bb-4181-a7f8-a73bf0c30211" providerId="ADAL" clId="{F05BB0D5-3454-45DC-8378-DA45B79D9A06}" dt="2020-10-02T13:04:36.580" v="5225" actId="790"/>
          <ac:spMkLst>
            <pc:docMk/>
            <pc:sldMk cId="1680654699" sldId="7042"/>
            <ac:spMk id="255" creationId="{80AE8692-D5F5-4EF1-8A36-8C13B62EF360}"/>
          </ac:spMkLst>
        </pc:spChg>
        <pc:spChg chg="mod">
          <ac:chgData name="Ugo MANTEL" userId="2d5b7065-31bb-4181-a7f8-a73bf0c30211" providerId="ADAL" clId="{F05BB0D5-3454-45DC-8378-DA45B79D9A06}" dt="2020-10-02T13:04:36.581" v="5226" actId="790"/>
          <ac:spMkLst>
            <pc:docMk/>
            <pc:sldMk cId="1680654699" sldId="7042"/>
            <ac:spMk id="256" creationId="{258C9C2D-0D88-43FD-B877-664D856CE7F0}"/>
          </ac:spMkLst>
        </pc:spChg>
        <pc:spChg chg="mod">
          <ac:chgData name="Ugo MANTEL" userId="2d5b7065-31bb-4181-a7f8-a73bf0c30211" providerId="ADAL" clId="{F05BB0D5-3454-45DC-8378-DA45B79D9A06}" dt="2020-10-02T13:04:36.582" v="5227" actId="790"/>
          <ac:spMkLst>
            <pc:docMk/>
            <pc:sldMk cId="1680654699" sldId="7042"/>
            <ac:spMk id="257" creationId="{15CAEE95-166D-48EB-A9AA-BEBE47594043}"/>
          </ac:spMkLst>
        </pc:spChg>
        <pc:spChg chg="mod">
          <ac:chgData name="Ugo MANTEL" userId="2d5b7065-31bb-4181-a7f8-a73bf0c30211" providerId="ADAL" clId="{F05BB0D5-3454-45DC-8378-DA45B79D9A06}" dt="2020-10-02T13:04:36.583" v="5228" actId="790"/>
          <ac:spMkLst>
            <pc:docMk/>
            <pc:sldMk cId="1680654699" sldId="7042"/>
            <ac:spMk id="258" creationId="{62EEF214-C2A0-46D7-9BAB-298DE0931B50}"/>
          </ac:spMkLst>
        </pc:spChg>
        <pc:spChg chg="mod">
          <ac:chgData name="Ugo MANTEL" userId="2d5b7065-31bb-4181-a7f8-a73bf0c30211" providerId="ADAL" clId="{F05BB0D5-3454-45DC-8378-DA45B79D9A06}" dt="2020-10-02T13:04:36.584" v="5229" actId="790"/>
          <ac:spMkLst>
            <pc:docMk/>
            <pc:sldMk cId="1680654699" sldId="7042"/>
            <ac:spMk id="259" creationId="{FB5861DF-625B-432B-A00E-E5484CD43B6D}"/>
          </ac:spMkLst>
        </pc:spChg>
        <pc:spChg chg="mod">
          <ac:chgData name="Ugo MANTEL" userId="2d5b7065-31bb-4181-a7f8-a73bf0c30211" providerId="ADAL" clId="{F05BB0D5-3454-45DC-8378-DA45B79D9A06}" dt="2020-10-02T13:04:36.585" v="5230" actId="790"/>
          <ac:spMkLst>
            <pc:docMk/>
            <pc:sldMk cId="1680654699" sldId="7042"/>
            <ac:spMk id="260" creationId="{DFDD7C4A-4741-43F6-9E80-785975CC8BBB}"/>
          </ac:spMkLst>
        </pc:spChg>
        <pc:spChg chg="mod">
          <ac:chgData name="Ugo MANTEL" userId="2d5b7065-31bb-4181-a7f8-a73bf0c30211" providerId="ADAL" clId="{F05BB0D5-3454-45DC-8378-DA45B79D9A06}" dt="2020-10-02T13:04:36.586" v="5231" actId="790"/>
          <ac:spMkLst>
            <pc:docMk/>
            <pc:sldMk cId="1680654699" sldId="7042"/>
            <ac:spMk id="261" creationId="{58411582-D5E0-4F04-B827-FE89BE5E3E05}"/>
          </ac:spMkLst>
        </pc:spChg>
        <pc:spChg chg="mod">
          <ac:chgData name="Ugo MANTEL" userId="2d5b7065-31bb-4181-a7f8-a73bf0c30211" providerId="ADAL" clId="{F05BB0D5-3454-45DC-8378-DA45B79D9A06}" dt="2020-10-02T13:04:36.586" v="5232" actId="790"/>
          <ac:spMkLst>
            <pc:docMk/>
            <pc:sldMk cId="1680654699" sldId="7042"/>
            <ac:spMk id="262" creationId="{A70796B0-6DF8-4416-8D4F-70FE78AFBE80}"/>
          </ac:spMkLst>
        </pc:spChg>
        <pc:spChg chg="mod">
          <ac:chgData name="Ugo MANTEL" userId="2d5b7065-31bb-4181-a7f8-a73bf0c30211" providerId="ADAL" clId="{F05BB0D5-3454-45DC-8378-DA45B79D9A06}" dt="2020-10-02T13:04:36.587" v="5233" actId="790"/>
          <ac:spMkLst>
            <pc:docMk/>
            <pc:sldMk cId="1680654699" sldId="7042"/>
            <ac:spMk id="263" creationId="{12852E12-833E-49F7-8F75-4B3393E0A31E}"/>
          </ac:spMkLst>
        </pc:spChg>
        <pc:spChg chg="mod">
          <ac:chgData name="Ugo MANTEL" userId="2d5b7065-31bb-4181-a7f8-a73bf0c30211" providerId="ADAL" clId="{F05BB0D5-3454-45DC-8378-DA45B79D9A06}" dt="2020-10-02T13:04:36.554" v="5198" actId="790"/>
          <ac:spMkLst>
            <pc:docMk/>
            <pc:sldMk cId="1680654699" sldId="7042"/>
            <ac:spMk id="316" creationId="{4F96669C-77DE-42CB-8127-49B7E45BA344}"/>
          </ac:spMkLst>
        </pc:spChg>
        <pc:spChg chg="mod">
          <ac:chgData name="Ugo MANTEL" userId="2d5b7065-31bb-4181-a7f8-a73bf0c30211" providerId="ADAL" clId="{F05BB0D5-3454-45DC-8378-DA45B79D9A06}" dt="2020-10-02T13:04:36.555" v="5199" actId="790"/>
          <ac:spMkLst>
            <pc:docMk/>
            <pc:sldMk cId="1680654699" sldId="7042"/>
            <ac:spMk id="318" creationId="{0B8BC33D-9FC3-43AB-80F4-E771C4A8D3B8}"/>
          </ac:spMkLst>
        </pc:spChg>
        <pc:spChg chg="mod">
          <ac:chgData name="Ugo MANTEL" userId="2d5b7065-31bb-4181-a7f8-a73bf0c30211" providerId="ADAL" clId="{F05BB0D5-3454-45DC-8378-DA45B79D9A06}" dt="2020-10-02T13:04:36.558" v="5200" actId="790"/>
          <ac:spMkLst>
            <pc:docMk/>
            <pc:sldMk cId="1680654699" sldId="7042"/>
            <ac:spMk id="320" creationId="{E793DE7E-3630-450B-96F0-912352FE13E6}"/>
          </ac:spMkLst>
        </pc:spChg>
        <pc:spChg chg="mod">
          <ac:chgData name="Ugo MANTEL" userId="2d5b7065-31bb-4181-a7f8-a73bf0c30211" providerId="ADAL" clId="{F05BB0D5-3454-45DC-8378-DA45B79D9A06}" dt="2020-10-02T13:04:36.558" v="5201" actId="790"/>
          <ac:spMkLst>
            <pc:docMk/>
            <pc:sldMk cId="1680654699" sldId="7042"/>
            <ac:spMk id="321" creationId="{41D11FF6-19F7-4187-825A-629FA70B5B2D}"/>
          </ac:spMkLst>
        </pc:spChg>
        <pc:spChg chg="mod">
          <ac:chgData name="Ugo MANTEL" userId="2d5b7065-31bb-4181-a7f8-a73bf0c30211" providerId="ADAL" clId="{F05BB0D5-3454-45DC-8378-DA45B79D9A06}" dt="2020-10-02T13:04:36.560" v="5202" actId="790"/>
          <ac:spMkLst>
            <pc:docMk/>
            <pc:sldMk cId="1680654699" sldId="7042"/>
            <ac:spMk id="324" creationId="{FCAEF018-0E99-43FD-8F60-7A41311B9A06}"/>
          </ac:spMkLst>
        </pc:spChg>
        <pc:spChg chg="mod">
          <ac:chgData name="Ugo MANTEL" userId="2d5b7065-31bb-4181-a7f8-a73bf0c30211" providerId="ADAL" clId="{F05BB0D5-3454-45DC-8378-DA45B79D9A06}" dt="2020-10-02T13:04:36.561" v="5203" actId="790"/>
          <ac:spMkLst>
            <pc:docMk/>
            <pc:sldMk cId="1680654699" sldId="7042"/>
            <ac:spMk id="325" creationId="{BA69060F-3F6D-4368-8568-02EC96F15B55}"/>
          </ac:spMkLst>
        </pc:spChg>
        <pc:spChg chg="mod">
          <ac:chgData name="Ugo MANTEL" userId="2d5b7065-31bb-4181-a7f8-a73bf0c30211" providerId="ADAL" clId="{F05BB0D5-3454-45DC-8378-DA45B79D9A06}" dt="2020-10-02T13:04:36.562" v="5204" actId="790"/>
          <ac:spMkLst>
            <pc:docMk/>
            <pc:sldMk cId="1680654699" sldId="7042"/>
            <ac:spMk id="326" creationId="{74DDE52F-A969-4988-BF27-02F47D182CB0}"/>
          </ac:spMkLst>
        </pc:spChg>
        <pc:spChg chg="mod">
          <ac:chgData name="Ugo MANTEL" userId="2d5b7065-31bb-4181-a7f8-a73bf0c30211" providerId="ADAL" clId="{F05BB0D5-3454-45DC-8378-DA45B79D9A06}" dt="2020-10-02T13:04:36.563" v="5205" actId="790"/>
          <ac:spMkLst>
            <pc:docMk/>
            <pc:sldMk cId="1680654699" sldId="7042"/>
            <ac:spMk id="327" creationId="{DA8627B7-0893-4D46-AAD7-2F3B4ED63523}"/>
          </ac:spMkLst>
        </pc:spChg>
        <pc:spChg chg="mod">
          <ac:chgData name="Ugo MANTEL" userId="2d5b7065-31bb-4181-a7f8-a73bf0c30211" providerId="ADAL" clId="{F05BB0D5-3454-45DC-8378-DA45B79D9A06}" dt="2020-10-02T13:04:36.588" v="5234" actId="790"/>
          <ac:spMkLst>
            <pc:docMk/>
            <pc:sldMk cId="1680654699" sldId="7042"/>
            <ac:spMk id="328" creationId="{C61647DB-4A52-47E2-AAB2-038A5695B410}"/>
          </ac:spMkLst>
        </pc:spChg>
        <pc:spChg chg="mod">
          <ac:chgData name="Ugo MANTEL" userId="2d5b7065-31bb-4181-a7f8-a73bf0c30211" providerId="ADAL" clId="{F05BB0D5-3454-45DC-8378-DA45B79D9A06}" dt="2020-10-02T13:04:36.589" v="5235" actId="790"/>
          <ac:spMkLst>
            <pc:docMk/>
            <pc:sldMk cId="1680654699" sldId="7042"/>
            <ac:spMk id="329" creationId="{0FE1B2E6-1D7E-4CB9-BA56-DE36A0856B2A}"/>
          </ac:spMkLst>
        </pc:spChg>
        <pc:spChg chg="mod">
          <ac:chgData name="Ugo MANTEL" userId="2d5b7065-31bb-4181-a7f8-a73bf0c30211" providerId="ADAL" clId="{F05BB0D5-3454-45DC-8378-DA45B79D9A06}" dt="2020-10-02T13:04:36.589" v="5236" actId="790"/>
          <ac:spMkLst>
            <pc:docMk/>
            <pc:sldMk cId="1680654699" sldId="7042"/>
            <ac:spMk id="330" creationId="{71A5ECF9-F577-472A-9FCA-0084881A97C8}"/>
          </ac:spMkLst>
        </pc:spChg>
        <pc:spChg chg="mod">
          <ac:chgData name="Ugo MANTEL" userId="2d5b7065-31bb-4181-a7f8-a73bf0c30211" providerId="ADAL" clId="{F05BB0D5-3454-45DC-8378-DA45B79D9A06}" dt="2020-10-02T13:04:36.590" v="5237" actId="790"/>
          <ac:spMkLst>
            <pc:docMk/>
            <pc:sldMk cId="1680654699" sldId="7042"/>
            <ac:spMk id="331" creationId="{0D499858-A281-4A40-B771-BB2F4699B0CE}"/>
          </ac:spMkLst>
        </pc:spChg>
        <pc:spChg chg="mod">
          <ac:chgData name="Ugo MANTEL" userId="2d5b7065-31bb-4181-a7f8-a73bf0c30211" providerId="ADAL" clId="{F05BB0D5-3454-45DC-8378-DA45B79D9A06}" dt="2020-10-02T13:04:36.591" v="5238" actId="790"/>
          <ac:spMkLst>
            <pc:docMk/>
            <pc:sldMk cId="1680654699" sldId="7042"/>
            <ac:spMk id="332" creationId="{FC36B08B-B414-4E84-A0EF-881E0C21020E}"/>
          </ac:spMkLst>
        </pc:spChg>
        <pc:spChg chg="mod">
          <ac:chgData name="Ugo MANTEL" userId="2d5b7065-31bb-4181-a7f8-a73bf0c30211" providerId="ADAL" clId="{F05BB0D5-3454-45DC-8378-DA45B79D9A06}" dt="2020-10-02T13:04:36.592" v="5239" actId="790"/>
          <ac:spMkLst>
            <pc:docMk/>
            <pc:sldMk cId="1680654699" sldId="7042"/>
            <ac:spMk id="333" creationId="{0CCD45EB-2A6B-4CF0-8ADA-33716CD5383C}"/>
          </ac:spMkLst>
        </pc:spChg>
        <pc:spChg chg="mod">
          <ac:chgData name="Ugo MANTEL" userId="2d5b7065-31bb-4181-a7f8-a73bf0c30211" providerId="ADAL" clId="{F05BB0D5-3454-45DC-8378-DA45B79D9A06}" dt="2020-10-02T13:04:36.592" v="5240" actId="790"/>
          <ac:spMkLst>
            <pc:docMk/>
            <pc:sldMk cId="1680654699" sldId="7042"/>
            <ac:spMk id="334" creationId="{41A8D6D9-8E1D-40EE-87E9-773E428B0704}"/>
          </ac:spMkLst>
        </pc:spChg>
        <pc:spChg chg="mod">
          <ac:chgData name="Ugo MANTEL" userId="2d5b7065-31bb-4181-a7f8-a73bf0c30211" providerId="ADAL" clId="{F05BB0D5-3454-45DC-8378-DA45B79D9A06}" dt="2020-10-02T13:04:36.593" v="5241" actId="790"/>
          <ac:spMkLst>
            <pc:docMk/>
            <pc:sldMk cId="1680654699" sldId="7042"/>
            <ac:spMk id="335" creationId="{894AC497-76CC-44E7-8CBE-77FC52A8A49B}"/>
          </ac:spMkLst>
        </pc:spChg>
        <pc:spChg chg="mod">
          <ac:chgData name="Ugo MANTEL" userId="2d5b7065-31bb-4181-a7f8-a73bf0c30211" providerId="ADAL" clId="{F05BB0D5-3454-45DC-8378-DA45B79D9A06}" dt="2020-10-02T13:04:36.594" v="5242" actId="790"/>
          <ac:spMkLst>
            <pc:docMk/>
            <pc:sldMk cId="1680654699" sldId="7042"/>
            <ac:spMk id="336" creationId="{6D2E8415-17A5-4E6A-B466-CFE14508DC0F}"/>
          </ac:spMkLst>
        </pc:spChg>
        <pc:spChg chg="mod">
          <ac:chgData name="Ugo MANTEL" userId="2d5b7065-31bb-4181-a7f8-a73bf0c30211" providerId="ADAL" clId="{F05BB0D5-3454-45DC-8378-DA45B79D9A06}" dt="2020-10-02T13:04:36.595" v="5243" actId="790"/>
          <ac:spMkLst>
            <pc:docMk/>
            <pc:sldMk cId="1680654699" sldId="7042"/>
            <ac:spMk id="337" creationId="{97255F83-76E6-4B4B-B11C-E91EE40DA3E0}"/>
          </ac:spMkLst>
        </pc:spChg>
        <pc:spChg chg="mod">
          <ac:chgData name="Ugo MANTEL" userId="2d5b7065-31bb-4181-a7f8-a73bf0c30211" providerId="ADAL" clId="{F05BB0D5-3454-45DC-8378-DA45B79D9A06}" dt="2020-10-02T13:04:36.596" v="5244" actId="790"/>
          <ac:spMkLst>
            <pc:docMk/>
            <pc:sldMk cId="1680654699" sldId="7042"/>
            <ac:spMk id="338" creationId="{3283381C-229C-450F-8F8C-B8DE01AA0B92}"/>
          </ac:spMkLst>
        </pc:spChg>
        <pc:spChg chg="mod">
          <ac:chgData name="Ugo MANTEL" userId="2d5b7065-31bb-4181-a7f8-a73bf0c30211" providerId="ADAL" clId="{F05BB0D5-3454-45DC-8378-DA45B79D9A06}" dt="2020-10-02T13:04:36.596" v="5245" actId="790"/>
          <ac:spMkLst>
            <pc:docMk/>
            <pc:sldMk cId="1680654699" sldId="7042"/>
            <ac:spMk id="339" creationId="{F58A4201-ADA0-44C0-9049-B34C736D791D}"/>
          </ac:spMkLst>
        </pc:spChg>
        <pc:spChg chg="mod">
          <ac:chgData name="Ugo MANTEL" userId="2d5b7065-31bb-4181-a7f8-a73bf0c30211" providerId="ADAL" clId="{F05BB0D5-3454-45DC-8378-DA45B79D9A06}" dt="2020-10-02T13:04:36.597" v="5246" actId="790"/>
          <ac:spMkLst>
            <pc:docMk/>
            <pc:sldMk cId="1680654699" sldId="7042"/>
            <ac:spMk id="340" creationId="{3F760A78-808A-47EC-B61E-FA893D927D93}"/>
          </ac:spMkLst>
        </pc:spChg>
        <pc:spChg chg="mod">
          <ac:chgData name="Ugo MANTEL" userId="2d5b7065-31bb-4181-a7f8-a73bf0c30211" providerId="ADAL" clId="{F05BB0D5-3454-45DC-8378-DA45B79D9A06}" dt="2020-10-02T13:04:36.598" v="5247" actId="790"/>
          <ac:spMkLst>
            <pc:docMk/>
            <pc:sldMk cId="1680654699" sldId="7042"/>
            <ac:spMk id="341" creationId="{5E79655B-800D-43F0-B3DD-4B2AC91C4469}"/>
          </ac:spMkLst>
        </pc:spChg>
        <pc:spChg chg="mod">
          <ac:chgData name="Ugo MANTEL" userId="2d5b7065-31bb-4181-a7f8-a73bf0c30211" providerId="ADAL" clId="{F05BB0D5-3454-45DC-8378-DA45B79D9A06}" dt="2020-10-02T13:04:36.599" v="5248" actId="790"/>
          <ac:spMkLst>
            <pc:docMk/>
            <pc:sldMk cId="1680654699" sldId="7042"/>
            <ac:spMk id="342" creationId="{E9BF3D23-6892-45E5-8D3B-C336832D9731}"/>
          </ac:spMkLst>
        </pc:spChg>
        <pc:spChg chg="mod">
          <ac:chgData name="Ugo MANTEL" userId="2d5b7065-31bb-4181-a7f8-a73bf0c30211" providerId="ADAL" clId="{F05BB0D5-3454-45DC-8378-DA45B79D9A06}" dt="2020-10-02T13:04:36.600" v="5249" actId="790"/>
          <ac:spMkLst>
            <pc:docMk/>
            <pc:sldMk cId="1680654699" sldId="7042"/>
            <ac:spMk id="343" creationId="{AB21E8F1-7EB5-425D-8559-D30934747E84}"/>
          </ac:spMkLst>
        </pc:spChg>
        <pc:spChg chg="mod">
          <ac:chgData name="Ugo MANTEL" userId="2d5b7065-31bb-4181-a7f8-a73bf0c30211" providerId="ADAL" clId="{F05BB0D5-3454-45DC-8378-DA45B79D9A06}" dt="2020-10-02T13:04:36.601" v="5250" actId="790"/>
          <ac:spMkLst>
            <pc:docMk/>
            <pc:sldMk cId="1680654699" sldId="7042"/>
            <ac:spMk id="344" creationId="{4F265C7B-FA06-48A5-BE21-9199D50CCDA2}"/>
          </ac:spMkLst>
        </pc:spChg>
        <pc:spChg chg="mod">
          <ac:chgData name="Ugo MANTEL" userId="2d5b7065-31bb-4181-a7f8-a73bf0c30211" providerId="ADAL" clId="{F05BB0D5-3454-45DC-8378-DA45B79D9A06}" dt="2020-10-02T13:04:36.601" v="5251" actId="790"/>
          <ac:spMkLst>
            <pc:docMk/>
            <pc:sldMk cId="1680654699" sldId="7042"/>
            <ac:spMk id="345" creationId="{AFB7CBDD-55ED-4424-8DDA-5CED3B335997}"/>
          </ac:spMkLst>
        </pc:spChg>
        <pc:spChg chg="mod">
          <ac:chgData name="Ugo MANTEL" userId="2d5b7065-31bb-4181-a7f8-a73bf0c30211" providerId="ADAL" clId="{F05BB0D5-3454-45DC-8378-DA45B79D9A06}" dt="2020-10-02T13:04:36.602" v="5252" actId="790"/>
          <ac:spMkLst>
            <pc:docMk/>
            <pc:sldMk cId="1680654699" sldId="7042"/>
            <ac:spMk id="346" creationId="{213676CD-97C6-4FFA-A009-8E32471CD306}"/>
          </ac:spMkLst>
        </pc:spChg>
        <pc:spChg chg="mod">
          <ac:chgData name="Ugo MANTEL" userId="2d5b7065-31bb-4181-a7f8-a73bf0c30211" providerId="ADAL" clId="{F05BB0D5-3454-45DC-8378-DA45B79D9A06}" dt="2020-10-02T13:04:36.603" v="5253" actId="790"/>
          <ac:spMkLst>
            <pc:docMk/>
            <pc:sldMk cId="1680654699" sldId="7042"/>
            <ac:spMk id="347" creationId="{D582EE05-B354-4D07-BD07-AF0B65DCA588}"/>
          </ac:spMkLst>
        </pc:spChg>
        <pc:spChg chg="mod">
          <ac:chgData name="Ugo MANTEL" userId="2d5b7065-31bb-4181-a7f8-a73bf0c30211" providerId="ADAL" clId="{F05BB0D5-3454-45DC-8378-DA45B79D9A06}" dt="2020-10-02T13:04:36.604" v="5254" actId="790"/>
          <ac:spMkLst>
            <pc:docMk/>
            <pc:sldMk cId="1680654699" sldId="7042"/>
            <ac:spMk id="348" creationId="{39A00A1F-0639-4B95-BA61-05282AFB786E}"/>
          </ac:spMkLst>
        </pc:spChg>
        <pc:spChg chg="mod">
          <ac:chgData name="Ugo MANTEL" userId="2d5b7065-31bb-4181-a7f8-a73bf0c30211" providerId="ADAL" clId="{F05BB0D5-3454-45DC-8378-DA45B79D9A06}" dt="2020-10-02T13:04:36.604" v="5255" actId="790"/>
          <ac:spMkLst>
            <pc:docMk/>
            <pc:sldMk cId="1680654699" sldId="7042"/>
            <ac:spMk id="349" creationId="{A466CF34-E461-4AD0-A895-95BEF572026C}"/>
          </ac:spMkLst>
        </pc:spChg>
        <pc:spChg chg="mod">
          <ac:chgData name="Ugo MANTEL" userId="2d5b7065-31bb-4181-a7f8-a73bf0c30211" providerId="ADAL" clId="{F05BB0D5-3454-45DC-8378-DA45B79D9A06}" dt="2020-10-02T13:04:36.605" v="5256" actId="790"/>
          <ac:spMkLst>
            <pc:docMk/>
            <pc:sldMk cId="1680654699" sldId="7042"/>
            <ac:spMk id="350" creationId="{D9E490C5-603F-42FB-AFE5-63155FA92242}"/>
          </ac:spMkLst>
        </pc:spChg>
        <pc:spChg chg="mod">
          <ac:chgData name="Ugo MANTEL" userId="2d5b7065-31bb-4181-a7f8-a73bf0c30211" providerId="ADAL" clId="{F05BB0D5-3454-45DC-8378-DA45B79D9A06}" dt="2020-10-02T13:04:36.606" v="5257" actId="790"/>
          <ac:spMkLst>
            <pc:docMk/>
            <pc:sldMk cId="1680654699" sldId="7042"/>
            <ac:spMk id="351" creationId="{F6DCE906-EB4E-4146-AA5D-925BB81BAF93}"/>
          </ac:spMkLst>
        </pc:spChg>
        <pc:spChg chg="mod">
          <ac:chgData name="Ugo MANTEL" userId="2d5b7065-31bb-4181-a7f8-a73bf0c30211" providerId="ADAL" clId="{F05BB0D5-3454-45DC-8378-DA45B79D9A06}" dt="2020-10-02T13:04:36.607" v="5258" actId="790"/>
          <ac:spMkLst>
            <pc:docMk/>
            <pc:sldMk cId="1680654699" sldId="7042"/>
            <ac:spMk id="352" creationId="{E2D119B3-D17F-4F14-B518-F56B04D6F030}"/>
          </ac:spMkLst>
        </pc:spChg>
        <pc:spChg chg="mod">
          <ac:chgData name="Ugo MANTEL" userId="2d5b7065-31bb-4181-a7f8-a73bf0c30211" providerId="ADAL" clId="{F05BB0D5-3454-45DC-8378-DA45B79D9A06}" dt="2020-10-02T13:04:36.607" v="5259" actId="790"/>
          <ac:spMkLst>
            <pc:docMk/>
            <pc:sldMk cId="1680654699" sldId="7042"/>
            <ac:spMk id="353" creationId="{35D53738-A37F-47C6-923C-4C663247791A}"/>
          </ac:spMkLst>
        </pc:spChg>
        <pc:spChg chg="mod">
          <ac:chgData name="Ugo MANTEL" userId="2d5b7065-31bb-4181-a7f8-a73bf0c30211" providerId="ADAL" clId="{F05BB0D5-3454-45DC-8378-DA45B79D9A06}" dt="2020-10-02T13:04:36.608" v="5260" actId="790"/>
          <ac:spMkLst>
            <pc:docMk/>
            <pc:sldMk cId="1680654699" sldId="7042"/>
            <ac:spMk id="354" creationId="{40712D97-D9EB-4596-91D1-9FC6202DBE5C}"/>
          </ac:spMkLst>
        </pc:spChg>
        <pc:spChg chg="mod">
          <ac:chgData name="Ugo MANTEL" userId="2d5b7065-31bb-4181-a7f8-a73bf0c30211" providerId="ADAL" clId="{F05BB0D5-3454-45DC-8378-DA45B79D9A06}" dt="2020-10-02T13:04:36.609" v="5261" actId="790"/>
          <ac:spMkLst>
            <pc:docMk/>
            <pc:sldMk cId="1680654699" sldId="7042"/>
            <ac:spMk id="355" creationId="{C06D1F35-6AA6-4B68-AF93-C8E452373FE2}"/>
          </ac:spMkLst>
        </pc:spChg>
        <pc:spChg chg="mod">
          <ac:chgData name="Ugo MANTEL" userId="2d5b7065-31bb-4181-a7f8-a73bf0c30211" providerId="ADAL" clId="{F05BB0D5-3454-45DC-8378-DA45B79D9A06}" dt="2020-10-02T13:04:36.610" v="5262" actId="790"/>
          <ac:spMkLst>
            <pc:docMk/>
            <pc:sldMk cId="1680654699" sldId="7042"/>
            <ac:spMk id="356" creationId="{F4E43580-8688-4E7F-A386-BEBA0F14B614}"/>
          </ac:spMkLst>
        </pc:spChg>
        <pc:spChg chg="mod">
          <ac:chgData name="Ugo MANTEL" userId="2d5b7065-31bb-4181-a7f8-a73bf0c30211" providerId="ADAL" clId="{F05BB0D5-3454-45DC-8378-DA45B79D9A06}" dt="2020-10-02T13:04:36.610" v="5263" actId="790"/>
          <ac:spMkLst>
            <pc:docMk/>
            <pc:sldMk cId="1680654699" sldId="7042"/>
            <ac:spMk id="357" creationId="{039E6506-E793-4617-89E4-1E14223BEDC7}"/>
          </ac:spMkLst>
        </pc:spChg>
        <pc:spChg chg="mod">
          <ac:chgData name="Ugo MANTEL" userId="2d5b7065-31bb-4181-a7f8-a73bf0c30211" providerId="ADAL" clId="{F05BB0D5-3454-45DC-8378-DA45B79D9A06}" dt="2020-10-02T13:04:36.611" v="5264" actId="790"/>
          <ac:spMkLst>
            <pc:docMk/>
            <pc:sldMk cId="1680654699" sldId="7042"/>
            <ac:spMk id="358" creationId="{422E011D-DC4B-4EEC-9FDD-6E075456CE92}"/>
          </ac:spMkLst>
        </pc:spChg>
        <pc:spChg chg="mod">
          <ac:chgData name="Ugo MANTEL" userId="2d5b7065-31bb-4181-a7f8-a73bf0c30211" providerId="ADAL" clId="{F05BB0D5-3454-45DC-8378-DA45B79D9A06}" dt="2020-10-02T13:04:36.612" v="5265" actId="790"/>
          <ac:spMkLst>
            <pc:docMk/>
            <pc:sldMk cId="1680654699" sldId="7042"/>
            <ac:spMk id="359" creationId="{B6514994-44C6-44A7-9491-A142EE5C4446}"/>
          </ac:spMkLst>
        </pc:spChg>
        <pc:spChg chg="mod">
          <ac:chgData name="Ugo MANTEL" userId="2d5b7065-31bb-4181-a7f8-a73bf0c30211" providerId="ADAL" clId="{F05BB0D5-3454-45DC-8378-DA45B79D9A06}" dt="2020-10-02T13:04:36.613" v="5266" actId="790"/>
          <ac:spMkLst>
            <pc:docMk/>
            <pc:sldMk cId="1680654699" sldId="7042"/>
            <ac:spMk id="360" creationId="{94CA31C4-30C6-43FD-89C8-7DAA9E87CC18}"/>
          </ac:spMkLst>
        </pc:spChg>
        <pc:spChg chg="mod">
          <ac:chgData name="Ugo MANTEL" userId="2d5b7065-31bb-4181-a7f8-a73bf0c30211" providerId="ADAL" clId="{F05BB0D5-3454-45DC-8378-DA45B79D9A06}" dt="2020-10-02T13:04:36.614" v="5267" actId="790"/>
          <ac:spMkLst>
            <pc:docMk/>
            <pc:sldMk cId="1680654699" sldId="7042"/>
            <ac:spMk id="361" creationId="{1D348B0E-0257-4B43-8B1E-502BA0652B4E}"/>
          </ac:spMkLst>
        </pc:spChg>
        <pc:spChg chg="mod">
          <ac:chgData name="Ugo MANTEL" userId="2d5b7065-31bb-4181-a7f8-a73bf0c30211" providerId="ADAL" clId="{F05BB0D5-3454-45DC-8378-DA45B79D9A06}" dt="2020-10-02T13:04:36.615" v="5268" actId="790"/>
          <ac:spMkLst>
            <pc:docMk/>
            <pc:sldMk cId="1680654699" sldId="7042"/>
            <ac:spMk id="362" creationId="{B983EB59-296D-49CA-B910-225A3B1DA96F}"/>
          </ac:spMkLst>
        </pc:spChg>
        <pc:spChg chg="mod">
          <ac:chgData name="Ugo MANTEL" userId="2d5b7065-31bb-4181-a7f8-a73bf0c30211" providerId="ADAL" clId="{F05BB0D5-3454-45DC-8378-DA45B79D9A06}" dt="2020-10-02T13:04:36.616" v="5269" actId="790"/>
          <ac:spMkLst>
            <pc:docMk/>
            <pc:sldMk cId="1680654699" sldId="7042"/>
            <ac:spMk id="363" creationId="{36F816A3-0DFB-4E14-9424-5165E336BF79}"/>
          </ac:spMkLst>
        </pc:spChg>
        <pc:spChg chg="mod">
          <ac:chgData name="Ugo MANTEL" userId="2d5b7065-31bb-4181-a7f8-a73bf0c30211" providerId="ADAL" clId="{F05BB0D5-3454-45DC-8378-DA45B79D9A06}" dt="2020-10-02T13:04:36.617" v="5270" actId="790"/>
          <ac:spMkLst>
            <pc:docMk/>
            <pc:sldMk cId="1680654699" sldId="7042"/>
            <ac:spMk id="364" creationId="{CA07A9D5-5EC0-428D-B8F9-851C6E344D14}"/>
          </ac:spMkLst>
        </pc:spChg>
        <pc:spChg chg="mod">
          <ac:chgData name="Ugo MANTEL" userId="2d5b7065-31bb-4181-a7f8-a73bf0c30211" providerId="ADAL" clId="{F05BB0D5-3454-45DC-8378-DA45B79D9A06}" dt="2020-10-02T13:04:36.618" v="5271" actId="790"/>
          <ac:spMkLst>
            <pc:docMk/>
            <pc:sldMk cId="1680654699" sldId="7042"/>
            <ac:spMk id="365" creationId="{0915ED46-F546-43A4-9AE2-8771F9861EBA}"/>
          </ac:spMkLst>
        </pc:spChg>
        <pc:spChg chg="mod">
          <ac:chgData name="Ugo MANTEL" userId="2d5b7065-31bb-4181-a7f8-a73bf0c30211" providerId="ADAL" clId="{F05BB0D5-3454-45DC-8378-DA45B79D9A06}" dt="2020-10-02T13:04:36.619" v="5272" actId="790"/>
          <ac:spMkLst>
            <pc:docMk/>
            <pc:sldMk cId="1680654699" sldId="7042"/>
            <ac:spMk id="366" creationId="{4C5D1C1D-6FA1-4B04-AE6B-50E856A931F4}"/>
          </ac:spMkLst>
        </pc:spChg>
        <pc:spChg chg="mod">
          <ac:chgData name="Ugo MANTEL" userId="2d5b7065-31bb-4181-a7f8-a73bf0c30211" providerId="ADAL" clId="{F05BB0D5-3454-45DC-8378-DA45B79D9A06}" dt="2020-10-02T13:04:36.620" v="5273" actId="790"/>
          <ac:spMkLst>
            <pc:docMk/>
            <pc:sldMk cId="1680654699" sldId="7042"/>
            <ac:spMk id="367" creationId="{87A7427A-6B1E-45D9-9307-C59DF2B895EC}"/>
          </ac:spMkLst>
        </pc:spChg>
        <pc:spChg chg="mod">
          <ac:chgData name="Ugo MANTEL" userId="2d5b7065-31bb-4181-a7f8-a73bf0c30211" providerId="ADAL" clId="{F05BB0D5-3454-45DC-8378-DA45B79D9A06}" dt="2020-10-02T13:04:36.621" v="5274" actId="790"/>
          <ac:spMkLst>
            <pc:docMk/>
            <pc:sldMk cId="1680654699" sldId="7042"/>
            <ac:spMk id="368" creationId="{F27FABC3-B8D4-4BC4-A9CD-4F3D2EE5F623}"/>
          </ac:spMkLst>
        </pc:spChg>
        <pc:spChg chg="mod">
          <ac:chgData name="Ugo MANTEL" userId="2d5b7065-31bb-4181-a7f8-a73bf0c30211" providerId="ADAL" clId="{F05BB0D5-3454-45DC-8378-DA45B79D9A06}" dt="2020-10-02T13:04:36.622" v="5275" actId="790"/>
          <ac:spMkLst>
            <pc:docMk/>
            <pc:sldMk cId="1680654699" sldId="7042"/>
            <ac:spMk id="369" creationId="{764B8BFB-C389-4607-850E-0A86EF6CB3D1}"/>
          </ac:spMkLst>
        </pc:spChg>
        <pc:spChg chg="mod">
          <ac:chgData name="Ugo MANTEL" userId="2d5b7065-31bb-4181-a7f8-a73bf0c30211" providerId="ADAL" clId="{F05BB0D5-3454-45DC-8378-DA45B79D9A06}" dt="2020-10-02T13:04:36.622" v="5276" actId="790"/>
          <ac:spMkLst>
            <pc:docMk/>
            <pc:sldMk cId="1680654699" sldId="7042"/>
            <ac:spMk id="370" creationId="{44612483-5B1A-48EA-BD96-7DF9C2A950B6}"/>
          </ac:spMkLst>
        </pc:spChg>
        <pc:spChg chg="mod">
          <ac:chgData name="Ugo MANTEL" userId="2d5b7065-31bb-4181-a7f8-a73bf0c30211" providerId="ADAL" clId="{F05BB0D5-3454-45DC-8378-DA45B79D9A06}" dt="2020-10-02T13:04:36.623" v="5277" actId="790"/>
          <ac:spMkLst>
            <pc:docMk/>
            <pc:sldMk cId="1680654699" sldId="7042"/>
            <ac:spMk id="371" creationId="{023D76F1-7EDB-4B2A-8903-DBFF7B3E4FE9}"/>
          </ac:spMkLst>
        </pc:spChg>
        <pc:spChg chg="mod">
          <ac:chgData name="Ugo MANTEL" userId="2d5b7065-31bb-4181-a7f8-a73bf0c30211" providerId="ADAL" clId="{F05BB0D5-3454-45DC-8378-DA45B79D9A06}" dt="2020-10-02T13:04:36.624" v="5278" actId="790"/>
          <ac:spMkLst>
            <pc:docMk/>
            <pc:sldMk cId="1680654699" sldId="7042"/>
            <ac:spMk id="372" creationId="{7E25AADB-D488-4136-8268-B82FA7D26805}"/>
          </ac:spMkLst>
        </pc:spChg>
        <pc:spChg chg="mod">
          <ac:chgData name="Ugo MANTEL" userId="2d5b7065-31bb-4181-a7f8-a73bf0c30211" providerId="ADAL" clId="{F05BB0D5-3454-45DC-8378-DA45B79D9A06}" dt="2020-10-02T13:04:36.625" v="5279" actId="790"/>
          <ac:spMkLst>
            <pc:docMk/>
            <pc:sldMk cId="1680654699" sldId="7042"/>
            <ac:spMk id="373" creationId="{D9AC2EDA-43CE-4713-BFE4-A4DD0FCE76FB}"/>
          </ac:spMkLst>
        </pc:spChg>
        <pc:spChg chg="mod">
          <ac:chgData name="Ugo MANTEL" userId="2d5b7065-31bb-4181-a7f8-a73bf0c30211" providerId="ADAL" clId="{F05BB0D5-3454-45DC-8378-DA45B79D9A06}" dt="2020-10-02T13:04:36.626" v="5280" actId="790"/>
          <ac:spMkLst>
            <pc:docMk/>
            <pc:sldMk cId="1680654699" sldId="7042"/>
            <ac:spMk id="374" creationId="{7489F35C-B8DE-4CCB-8899-CEF1974DCEBC}"/>
          </ac:spMkLst>
        </pc:spChg>
        <pc:spChg chg="mod">
          <ac:chgData name="Ugo MANTEL" userId="2d5b7065-31bb-4181-a7f8-a73bf0c30211" providerId="ADAL" clId="{F05BB0D5-3454-45DC-8378-DA45B79D9A06}" dt="2020-10-02T13:04:36.627" v="5281" actId="790"/>
          <ac:spMkLst>
            <pc:docMk/>
            <pc:sldMk cId="1680654699" sldId="7042"/>
            <ac:spMk id="375" creationId="{C076E9BB-5A79-41EE-97ED-7C7C63D4A5AE}"/>
          </ac:spMkLst>
        </pc:spChg>
      </pc:sldChg>
      <pc:sldChg chg="addSp delSp modSp mod">
        <pc:chgData name="Ugo MANTEL" userId="2d5b7065-31bb-4181-a7f8-a73bf0c30211" providerId="ADAL" clId="{F05BB0D5-3454-45DC-8378-DA45B79D9A06}" dt="2020-10-05T12:21:49.893" v="9665" actId="14100"/>
        <pc:sldMkLst>
          <pc:docMk/>
          <pc:sldMk cId="1994795878" sldId="7046"/>
        </pc:sldMkLst>
        <pc:spChg chg="mod">
          <ac:chgData name="Ugo MANTEL" userId="2d5b7065-31bb-4181-a7f8-a73bf0c30211" providerId="ADAL" clId="{F05BB0D5-3454-45DC-8378-DA45B79D9A06}" dt="2020-10-05T09:21:04.818" v="8359"/>
          <ac:spMkLst>
            <pc:docMk/>
            <pc:sldMk cId="1994795878" sldId="7046"/>
            <ac:spMk id="2" creationId="{32453F35-4569-47F3-AC8E-A57F914E3AA8}"/>
          </ac:spMkLst>
        </pc:spChg>
        <pc:spChg chg="mod ord">
          <ac:chgData name="Ugo MANTEL" userId="2d5b7065-31bb-4181-a7f8-a73bf0c30211" providerId="ADAL" clId="{F05BB0D5-3454-45DC-8378-DA45B79D9A06}" dt="2020-10-05T09:21:04.818" v="8361"/>
          <ac:spMkLst>
            <pc:docMk/>
            <pc:sldMk cId="1994795878" sldId="7046"/>
            <ac:spMk id="3" creationId="{F333C5C0-2D3F-4ACC-B88E-992BE24032E5}"/>
          </ac:spMkLst>
        </pc:spChg>
        <pc:spChg chg="mod ord">
          <ac:chgData name="Ugo MANTEL" userId="2d5b7065-31bb-4181-a7f8-a73bf0c30211" providerId="ADAL" clId="{F05BB0D5-3454-45DC-8378-DA45B79D9A06}" dt="2020-10-05T09:21:04.810" v="8356"/>
          <ac:spMkLst>
            <pc:docMk/>
            <pc:sldMk cId="1994795878" sldId="7046"/>
            <ac:spMk id="4" creationId="{56A18673-ABA4-4D8E-8AB8-7DA4208DCD47}"/>
          </ac:spMkLst>
        </pc:spChg>
        <pc:spChg chg="add del mod ord">
          <ac:chgData name="Ugo MANTEL" userId="2d5b7065-31bb-4181-a7f8-a73bf0c30211" providerId="ADAL" clId="{F05BB0D5-3454-45DC-8378-DA45B79D9A06}" dt="2020-10-05T09:16:21.493" v="8176" actId="478"/>
          <ac:spMkLst>
            <pc:docMk/>
            <pc:sldMk cId="1994795878" sldId="7046"/>
            <ac:spMk id="6" creationId="{0409E8B4-E7D7-4E05-90BD-5E22D68B31B2}"/>
          </ac:spMkLst>
        </pc:spChg>
        <pc:spChg chg="del mod">
          <ac:chgData name="Ugo MANTEL" userId="2d5b7065-31bb-4181-a7f8-a73bf0c30211" providerId="ADAL" clId="{F05BB0D5-3454-45DC-8378-DA45B79D9A06}" dt="2020-10-02T15:44:04.360" v="7501" actId="478"/>
          <ac:spMkLst>
            <pc:docMk/>
            <pc:sldMk cId="1994795878" sldId="7046"/>
            <ac:spMk id="6" creationId="{652FB3AF-53CC-437B-879C-39DFECEE7DEF}"/>
          </ac:spMkLst>
        </pc:spChg>
        <pc:spChg chg="mod ord">
          <ac:chgData name="Ugo MANTEL" userId="2d5b7065-31bb-4181-a7f8-a73bf0c30211" providerId="ADAL" clId="{F05BB0D5-3454-45DC-8378-DA45B79D9A06}" dt="2020-10-05T09:21:04.926" v="8427"/>
          <ac:spMkLst>
            <pc:docMk/>
            <pc:sldMk cId="1994795878" sldId="7046"/>
            <ac:spMk id="7" creationId="{975274F2-756A-4D52-A87D-7979645FF2DF}"/>
          </ac:spMkLst>
        </pc:spChg>
        <pc:spChg chg="mod ord">
          <ac:chgData name="Ugo MANTEL" userId="2d5b7065-31bb-4181-a7f8-a73bf0c30211" providerId="ADAL" clId="{F05BB0D5-3454-45DC-8378-DA45B79D9A06}" dt="2020-10-05T09:21:04.884" v="8403"/>
          <ac:spMkLst>
            <pc:docMk/>
            <pc:sldMk cId="1994795878" sldId="7046"/>
            <ac:spMk id="8" creationId="{99DCBEBE-0D2F-4356-BF6B-8C656442C96D}"/>
          </ac:spMkLst>
        </pc:spChg>
        <pc:spChg chg="mod ord">
          <ac:chgData name="Ugo MANTEL" userId="2d5b7065-31bb-4181-a7f8-a73bf0c30211" providerId="ADAL" clId="{F05BB0D5-3454-45DC-8378-DA45B79D9A06}" dt="2020-10-05T09:21:04.814" v="8358"/>
          <ac:spMkLst>
            <pc:docMk/>
            <pc:sldMk cId="1994795878" sldId="7046"/>
            <ac:spMk id="13" creationId="{0EA36691-38F8-4EDA-B0BA-DFA2ABEA506A}"/>
          </ac:spMkLst>
        </pc:spChg>
        <pc:spChg chg="mod ord">
          <ac:chgData name="Ugo MANTEL" userId="2d5b7065-31bb-4181-a7f8-a73bf0c30211" providerId="ADAL" clId="{F05BB0D5-3454-45DC-8378-DA45B79D9A06}" dt="2020-10-05T09:21:04.926" v="8429"/>
          <ac:spMkLst>
            <pc:docMk/>
            <pc:sldMk cId="1994795878" sldId="7046"/>
            <ac:spMk id="14" creationId="{0F0196F5-98A8-4179-87C3-1F36BC555C8C}"/>
          </ac:spMkLst>
        </pc:spChg>
        <pc:spChg chg="mod ord">
          <ac:chgData name="Ugo MANTEL" userId="2d5b7065-31bb-4181-a7f8-a73bf0c30211" providerId="ADAL" clId="{F05BB0D5-3454-45DC-8378-DA45B79D9A06}" dt="2020-10-05T09:21:04.853" v="8383"/>
          <ac:spMkLst>
            <pc:docMk/>
            <pc:sldMk cId="1994795878" sldId="7046"/>
            <ac:spMk id="15" creationId="{C6A888CB-1E18-4529-842D-C8380587EF4A}"/>
          </ac:spMkLst>
        </pc:spChg>
        <pc:spChg chg="mod ord">
          <ac:chgData name="Ugo MANTEL" userId="2d5b7065-31bb-4181-a7f8-a73bf0c30211" providerId="ADAL" clId="{F05BB0D5-3454-45DC-8378-DA45B79D9A06}" dt="2020-10-05T09:21:04.798" v="8348"/>
          <ac:spMkLst>
            <pc:docMk/>
            <pc:sldMk cId="1994795878" sldId="7046"/>
            <ac:spMk id="16" creationId="{606C6640-A7FF-4D6D-9A77-0E17AA66E69D}"/>
          </ac:spMkLst>
        </pc:spChg>
        <pc:spChg chg="mod ord">
          <ac:chgData name="Ugo MANTEL" userId="2d5b7065-31bb-4181-a7f8-a73bf0c30211" providerId="ADAL" clId="{F05BB0D5-3454-45DC-8378-DA45B79D9A06}" dt="2020-10-05T09:21:04.827" v="8365"/>
          <ac:spMkLst>
            <pc:docMk/>
            <pc:sldMk cId="1994795878" sldId="7046"/>
            <ac:spMk id="19" creationId="{4120F4F5-190D-4FA5-876F-3502F6DE7268}"/>
          </ac:spMkLst>
        </pc:spChg>
        <pc:spChg chg="mod ord">
          <ac:chgData name="Ugo MANTEL" userId="2d5b7065-31bb-4181-a7f8-a73bf0c30211" providerId="ADAL" clId="{F05BB0D5-3454-45DC-8378-DA45B79D9A06}" dt="2020-10-05T09:21:04.827" v="8367"/>
          <ac:spMkLst>
            <pc:docMk/>
            <pc:sldMk cId="1994795878" sldId="7046"/>
            <ac:spMk id="20" creationId="{D72337E2-A2D1-4366-AC81-C58EC0E49EBC}"/>
          </ac:spMkLst>
        </pc:spChg>
        <pc:spChg chg="mod ord">
          <ac:chgData name="Ugo MANTEL" userId="2d5b7065-31bb-4181-a7f8-a73bf0c30211" providerId="ADAL" clId="{F05BB0D5-3454-45DC-8378-DA45B79D9A06}" dt="2020-10-05T09:21:04.831" v="8369"/>
          <ac:spMkLst>
            <pc:docMk/>
            <pc:sldMk cId="1994795878" sldId="7046"/>
            <ac:spMk id="21" creationId="{FF893FF4-BF2B-4223-9757-FF999419F039}"/>
          </ac:spMkLst>
        </pc:spChg>
        <pc:spChg chg="add mod">
          <ac:chgData name="Ugo MANTEL" userId="2d5b7065-31bb-4181-a7f8-a73bf0c30211" providerId="ADAL" clId="{F05BB0D5-3454-45DC-8378-DA45B79D9A06}" dt="2020-10-05T12:21:49.893" v="9665" actId="14100"/>
          <ac:spMkLst>
            <pc:docMk/>
            <pc:sldMk cId="1994795878" sldId="7046"/>
            <ac:spMk id="22" creationId="{B9E99B41-30E9-454D-A29F-FC1B9E7412E9}"/>
          </ac:spMkLst>
        </pc:spChg>
        <pc:spChg chg="mod ord">
          <ac:chgData name="Ugo MANTEL" userId="2d5b7065-31bb-4181-a7f8-a73bf0c30211" providerId="ADAL" clId="{F05BB0D5-3454-45DC-8378-DA45B79D9A06}" dt="2020-10-05T09:21:04.835" v="8371"/>
          <ac:spMkLst>
            <pc:docMk/>
            <pc:sldMk cId="1994795878" sldId="7046"/>
            <ac:spMk id="25" creationId="{C4CA90A0-06E5-4702-B6EF-08E5CF4625CB}"/>
          </ac:spMkLst>
        </pc:spChg>
        <pc:spChg chg="mod ord">
          <ac:chgData name="Ugo MANTEL" userId="2d5b7065-31bb-4181-a7f8-a73bf0c30211" providerId="ADAL" clId="{F05BB0D5-3454-45DC-8378-DA45B79D9A06}" dt="2020-10-05T09:21:04.850" v="8381"/>
          <ac:spMkLst>
            <pc:docMk/>
            <pc:sldMk cId="1994795878" sldId="7046"/>
            <ac:spMk id="34" creationId="{2AF19A3E-3AB8-443A-A5EA-036D979FB0A5}"/>
          </ac:spMkLst>
        </pc:spChg>
        <pc:spChg chg="mod ord">
          <ac:chgData name="Ugo MANTEL" userId="2d5b7065-31bb-4181-a7f8-a73bf0c30211" providerId="ADAL" clId="{F05BB0D5-3454-45DC-8378-DA45B79D9A06}" dt="2020-10-05T09:21:04.856" v="8385"/>
          <ac:spMkLst>
            <pc:docMk/>
            <pc:sldMk cId="1994795878" sldId="7046"/>
            <ac:spMk id="43" creationId="{48F07BE0-0131-46D6-B7F9-D08E1D65C642}"/>
          </ac:spMkLst>
        </pc:spChg>
        <pc:spChg chg="mod ord">
          <ac:chgData name="Ugo MANTEL" userId="2d5b7065-31bb-4181-a7f8-a73bf0c30211" providerId="ADAL" clId="{F05BB0D5-3454-45DC-8378-DA45B79D9A06}" dt="2020-10-05T09:21:04.874" v="8397"/>
          <ac:spMkLst>
            <pc:docMk/>
            <pc:sldMk cId="1994795878" sldId="7046"/>
            <ac:spMk id="49" creationId="{B843729F-24AD-4AB8-8C2F-29D9F7B89A31}"/>
          </ac:spMkLst>
        </pc:spChg>
        <pc:spChg chg="mod">
          <ac:chgData name="Ugo MANTEL" userId="2d5b7065-31bb-4181-a7f8-a73bf0c30211" providerId="ADAL" clId="{F05BB0D5-3454-45DC-8378-DA45B79D9A06}" dt="2020-10-02T13:04:32.497" v="1423" actId="790"/>
          <ac:spMkLst>
            <pc:docMk/>
            <pc:sldMk cId="1994795878" sldId="7046"/>
            <ac:spMk id="51" creationId="{BF70027C-1984-40CB-8929-AF1E2321F654}"/>
          </ac:spMkLst>
        </pc:spChg>
        <pc:spChg chg="mod">
          <ac:chgData name="Ugo MANTEL" userId="2d5b7065-31bb-4181-a7f8-a73bf0c30211" providerId="ADAL" clId="{F05BB0D5-3454-45DC-8378-DA45B79D9A06}" dt="2020-10-02T13:04:32.496" v="1422" actId="790"/>
          <ac:spMkLst>
            <pc:docMk/>
            <pc:sldMk cId="1994795878" sldId="7046"/>
            <ac:spMk id="53" creationId="{C0593DC9-6A7E-4375-AFC7-8C1366D362DC}"/>
          </ac:spMkLst>
        </pc:spChg>
        <pc:spChg chg="mod">
          <ac:chgData name="Ugo MANTEL" userId="2d5b7065-31bb-4181-a7f8-a73bf0c30211" providerId="ADAL" clId="{F05BB0D5-3454-45DC-8378-DA45B79D9A06}" dt="2020-10-02T13:04:32.496" v="1421" actId="790"/>
          <ac:spMkLst>
            <pc:docMk/>
            <pc:sldMk cId="1994795878" sldId="7046"/>
            <ac:spMk id="55" creationId="{E1183EAE-225F-4800-A179-E5A901C2391B}"/>
          </ac:spMkLst>
        </pc:spChg>
        <pc:spChg chg="mod">
          <ac:chgData name="Ugo MANTEL" userId="2d5b7065-31bb-4181-a7f8-a73bf0c30211" providerId="ADAL" clId="{F05BB0D5-3454-45DC-8378-DA45B79D9A06}" dt="2020-10-02T13:04:32.495" v="1420" actId="790"/>
          <ac:spMkLst>
            <pc:docMk/>
            <pc:sldMk cId="1994795878" sldId="7046"/>
            <ac:spMk id="57" creationId="{90DF471E-BD71-49EC-BBD8-A3FD0E848E8F}"/>
          </ac:spMkLst>
        </pc:spChg>
        <pc:spChg chg="mod">
          <ac:chgData name="Ugo MANTEL" userId="2d5b7065-31bb-4181-a7f8-a73bf0c30211" providerId="ADAL" clId="{F05BB0D5-3454-45DC-8378-DA45B79D9A06}" dt="2020-10-02T13:04:32.494" v="1419" actId="790"/>
          <ac:spMkLst>
            <pc:docMk/>
            <pc:sldMk cId="1994795878" sldId="7046"/>
            <ac:spMk id="59" creationId="{05C3C10C-88F6-4D15-8688-1D2FE88AABA9}"/>
          </ac:spMkLst>
        </pc:spChg>
        <pc:spChg chg="mod ord">
          <ac:chgData name="Ugo MANTEL" userId="2d5b7065-31bb-4181-a7f8-a73bf0c30211" providerId="ADAL" clId="{F05BB0D5-3454-45DC-8378-DA45B79D9A06}" dt="2020-10-05T09:21:04.902" v="8413"/>
          <ac:spMkLst>
            <pc:docMk/>
            <pc:sldMk cId="1994795878" sldId="7046"/>
            <ac:spMk id="61" creationId="{73F804CB-2413-45A0-AC42-A6E95CC1DCD5}"/>
          </ac:spMkLst>
        </pc:spChg>
        <pc:spChg chg="mod ord">
          <ac:chgData name="Ugo MANTEL" userId="2d5b7065-31bb-4181-a7f8-a73bf0c30211" providerId="ADAL" clId="{F05BB0D5-3454-45DC-8378-DA45B79D9A06}" dt="2020-10-05T09:21:04.905" v="8415"/>
          <ac:spMkLst>
            <pc:docMk/>
            <pc:sldMk cId="1994795878" sldId="7046"/>
            <ac:spMk id="62" creationId="{3BBCE49C-B734-48AA-AF2C-B092FC5A4606}"/>
          </ac:spMkLst>
        </pc:spChg>
        <pc:spChg chg="del mod ord">
          <ac:chgData name="Ugo MANTEL" userId="2d5b7065-31bb-4181-a7f8-a73bf0c30211" providerId="ADAL" clId="{F05BB0D5-3454-45DC-8378-DA45B79D9A06}" dt="2020-10-05T09:16:21.493" v="8176" actId="478"/>
          <ac:spMkLst>
            <pc:docMk/>
            <pc:sldMk cId="1994795878" sldId="7046"/>
            <ac:spMk id="63" creationId="{B6122666-8394-4E89-A95F-D00B8EF6066A}"/>
          </ac:spMkLst>
        </pc:spChg>
        <pc:spChg chg="add del mod ord topLvl">
          <ac:chgData name="Ugo MANTEL" userId="2d5b7065-31bb-4181-a7f8-a73bf0c30211" providerId="ADAL" clId="{F05BB0D5-3454-45DC-8378-DA45B79D9A06}" dt="2020-10-05T09:44:06.731" v="8564" actId="478"/>
          <ac:spMkLst>
            <pc:docMk/>
            <pc:sldMk cId="1994795878" sldId="7046"/>
            <ac:spMk id="65" creationId="{DD6691C4-47CE-4559-AB8A-29842BADB892}"/>
          </ac:spMkLst>
        </pc:spChg>
        <pc:spChg chg="add del mod topLvl">
          <ac:chgData name="Ugo MANTEL" userId="2d5b7065-31bb-4181-a7f8-a73bf0c30211" providerId="ADAL" clId="{F05BB0D5-3454-45DC-8378-DA45B79D9A06}" dt="2020-10-05T09:04:45.451" v="7833" actId="478"/>
          <ac:spMkLst>
            <pc:docMk/>
            <pc:sldMk cId="1994795878" sldId="7046"/>
            <ac:spMk id="66" creationId="{743A45B2-741C-4E00-AD78-1CA7BBCF2223}"/>
          </ac:spMkLst>
        </pc:spChg>
        <pc:spChg chg="mod ord">
          <ac:chgData name="Ugo MANTEL" userId="2d5b7065-31bb-4181-a7f8-a73bf0c30211" providerId="ADAL" clId="{F05BB0D5-3454-45DC-8378-DA45B79D9A06}" dt="2020-10-05T09:21:04.909" v="8417"/>
          <ac:spMkLst>
            <pc:docMk/>
            <pc:sldMk cId="1994795878" sldId="7046"/>
            <ac:spMk id="67" creationId="{EE06F1EB-588C-414D-804F-6338DC331E1A}"/>
          </ac:spMkLst>
        </pc:spChg>
        <pc:spChg chg="add del mod ord topLvl">
          <ac:chgData name="Ugo MANTEL" userId="2d5b7065-31bb-4181-a7f8-a73bf0c30211" providerId="ADAL" clId="{F05BB0D5-3454-45DC-8378-DA45B79D9A06}" dt="2020-10-05T09:44:06.731" v="8564" actId="478"/>
          <ac:spMkLst>
            <pc:docMk/>
            <pc:sldMk cId="1994795878" sldId="7046"/>
            <ac:spMk id="68" creationId="{8D4D4883-EADB-4525-8E59-540B26D1EC1C}"/>
          </ac:spMkLst>
        </pc:spChg>
        <pc:spChg chg="add del mod topLvl">
          <ac:chgData name="Ugo MANTEL" userId="2d5b7065-31bb-4181-a7f8-a73bf0c30211" providerId="ADAL" clId="{F05BB0D5-3454-45DC-8378-DA45B79D9A06}" dt="2020-10-05T09:04:45.451" v="7833" actId="478"/>
          <ac:spMkLst>
            <pc:docMk/>
            <pc:sldMk cId="1994795878" sldId="7046"/>
            <ac:spMk id="69" creationId="{A1FF617B-8E41-4AFC-A413-A653728BB229}"/>
          </ac:spMkLst>
        </pc:spChg>
        <pc:spChg chg="add del mod topLvl">
          <ac:chgData name="Ugo MANTEL" userId="2d5b7065-31bb-4181-a7f8-a73bf0c30211" providerId="ADAL" clId="{F05BB0D5-3454-45DC-8378-DA45B79D9A06}" dt="2020-10-05T09:04:45.451" v="7833" actId="478"/>
          <ac:spMkLst>
            <pc:docMk/>
            <pc:sldMk cId="1994795878" sldId="7046"/>
            <ac:spMk id="70" creationId="{8507EBCD-ACC0-481B-BBBD-8078F0361576}"/>
          </ac:spMkLst>
        </pc:spChg>
        <pc:spChg chg="add del mod ord topLvl">
          <ac:chgData name="Ugo MANTEL" userId="2d5b7065-31bb-4181-a7f8-a73bf0c30211" providerId="ADAL" clId="{F05BB0D5-3454-45DC-8378-DA45B79D9A06}" dt="2020-10-05T09:44:06.731" v="8564" actId="478"/>
          <ac:spMkLst>
            <pc:docMk/>
            <pc:sldMk cId="1994795878" sldId="7046"/>
            <ac:spMk id="71" creationId="{D050C2FC-637D-41A5-91B0-AC9AD936FA6C}"/>
          </ac:spMkLst>
        </pc:spChg>
        <pc:spChg chg="add del mod topLvl">
          <ac:chgData name="Ugo MANTEL" userId="2d5b7065-31bb-4181-a7f8-a73bf0c30211" providerId="ADAL" clId="{F05BB0D5-3454-45DC-8378-DA45B79D9A06}" dt="2020-10-05T09:04:45.451" v="7833" actId="478"/>
          <ac:spMkLst>
            <pc:docMk/>
            <pc:sldMk cId="1994795878" sldId="7046"/>
            <ac:spMk id="72" creationId="{71B9FFA4-81C1-4257-97C2-2AC18B1D2845}"/>
          </ac:spMkLst>
        </pc:spChg>
        <pc:spChg chg="add del mod topLvl">
          <ac:chgData name="Ugo MANTEL" userId="2d5b7065-31bb-4181-a7f8-a73bf0c30211" providerId="ADAL" clId="{F05BB0D5-3454-45DC-8378-DA45B79D9A06}" dt="2020-10-05T09:04:45.451" v="7833" actId="478"/>
          <ac:spMkLst>
            <pc:docMk/>
            <pc:sldMk cId="1994795878" sldId="7046"/>
            <ac:spMk id="73" creationId="{456A4D69-3CEE-4336-B4A3-FEC3DC055572}"/>
          </ac:spMkLst>
        </pc:spChg>
        <pc:spChg chg="mod">
          <ac:chgData name="Ugo MANTEL" userId="2d5b7065-31bb-4181-a7f8-a73bf0c30211" providerId="ADAL" clId="{F05BB0D5-3454-45DC-8378-DA45B79D9A06}" dt="2020-10-05T08:50:24.045" v="7650" actId="404"/>
          <ac:spMkLst>
            <pc:docMk/>
            <pc:sldMk cId="1994795878" sldId="7046"/>
            <ac:spMk id="75" creationId="{A43FE25E-768B-4812-86ED-A0B06C9EEE84}"/>
          </ac:spMkLst>
        </pc:spChg>
        <pc:spChg chg="mod">
          <ac:chgData name="Ugo MANTEL" userId="2d5b7065-31bb-4181-a7f8-a73bf0c30211" providerId="ADAL" clId="{F05BB0D5-3454-45DC-8378-DA45B79D9A06}" dt="2020-10-05T08:50:24.045" v="7650" actId="404"/>
          <ac:spMkLst>
            <pc:docMk/>
            <pc:sldMk cId="1994795878" sldId="7046"/>
            <ac:spMk id="76" creationId="{F0FC7577-BB9A-438B-90F1-3F37EB520612}"/>
          </ac:spMkLst>
        </pc:spChg>
        <pc:spChg chg="mod">
          <ac:chgData name="Ugo MANTEL" userId="2d5b7065-31bb-4181-a7f8-a73bf0c30211" providerId="ADAL" clId="{F05BB0D5-3454-45DC-8378-DA45B79D9A06}" dt="2020-10-05T08:50:24.045" v="7650" actId="404"/>
          <ac:spMkLst>
            <pc:docMk/>
            <pc:sldMk cId="1994795878" sldId="7046"/>
            <ac:spMk id="78" creationId="{57C27D3F-D11F-491C-9CFC-EB7293FC6B7F}"/>
          </ac:spMkLst>
        </pc:spChg>
        <pc:spChg chg="mod ord">
          <ac:chgData name="Ugo MANTEL" userId="2d5b7065-31bb-4181-a7f8-a73bf0c30211" providerId="ADAL" clId="{F05BB0D5-3454-45DC-8378-DA45B79D9A06}" dt="2020-10-05T09:21:04.877" v="8399"/>
          <ac:spMkLst>
            <pc:docMk/>
            <pc:sldMk cId="1994795878" sldId="7046"/>
            <ac:spMk id="79" creationId="{2E6E3095-6ED4-425A-AF2A-08EBD6553314}"/>
          </ac:spMkLst>
        </pc:spChg>
        <pc:spChg chg="mod">
          <ac:chgData name="Ugo MANTEL" userId="2d5b7065-31bb-4181-a7f8-a73bf0c30211" providerId="ADAL" clId="{F05BB0D5-3454-45DC-8378-DA45B79D9A06}" dt="2020-10-05T08:50:24.045" v="7650" actId="404"/>
          <ac:spMkLst>
            <pc:docMk/>
            <pc:sldMk cId="1994795878" sldId="7046"/>
            <ac:spMk id="80" creationId="{770BA7F5-CC3E-4ECE-A15E-7A4710428D95}"/>
          </ac:spMkLst>
        </pc:spChg>
        <pc:spChg chg="add mod ord">
          <ac:chgData name="Ugo MANTEL" userId="2d5b7065-31bb-4181-a7f8-a73bf0c30211" providerId="ADAL" clId="{F05BB0D5-3454-45DC-8378-DA45B79D9A06}" dt="2020-10-05T09:23:50.457" v="8492" actId="12788"/>
          <ac:spMkLst>
            <pc:docMk/>
            <pc:sldMk cId="1994795878" sldId="7046"/>
            <ac:spMk id="81" creationId="{38B52457-17B0-4D94-B02E-42587CB5D6CC}"/>
          </ac:spMkLst>
        </pc:spChg>
        <pc:spChg chg="add mod ord">
          <ac:chgData name="Ugo MANTEL" userId="2d5b7065-31bb-4181-a7f8-a73bf0c30211" providerId="ADAL" clId="{F05BB0D5-3454-45DC-8378-DA45B79D9A06}" dt="2020-10-05T09:23:50.457" v="8492" actId="12788"/>
          <ac:spMkLst>
            <pc:docMk/>
            <pc:sldMk cId="1994795878" sldId="7046"/>
            <ac:spMk id="82" creationId="{CD274915-BAA4-49F8-85C8-E3B568C6D2C4}"/>
          </ac:spMkLst>
        </pc:spChg>
        <pc:spChg chg="add mod ord">
          <ac:chgData name="Ugo MANTEL" userId="2d5b7065-31bb-4181-a7f8-a73bf0c30211" providerId="ADAL" clId="{F05BB0D5-3454-45DC-8378-DA45B79D9A06}" dt="2020-10-05T09:23:50.457" v="8492" actId="12788"/>
          <ac:spMkLst>
            <pc:docMk/>
            <pc:sldMk cId="1994795878" sldId="7046"/>
            <ac:spMk id="83" creationId="{0146F679-44A4-43D8-9AA5-B765465EC810}"/>
          </ac:spMkLst>
        </pc:spChg>
        <pc:spChg chg="mod ord topLvl">
          <ac:chgData name="Ugo MANTEL" userId="2d5b7065-31bb-4181-a7f8-a73bf0c30211" providerId="ADAL" clId="{F05BB0D5-3454-45DC-8378-DA45B79D9A06}" dt="2020-10-05T09:23:50.457" v="8492" actId="12788"/>
          <ac:spMkLst>
            <pc:docMk/>
            <pc:sldMk cId="1994795878" sldId="7046"/>
            <ac:spMk id="85" creationId="{CCFFBC1B-64D9-422C-BAB2-2BA1BAD665CB}"/>
          </ac:spMkLst>
        </pc:spChg>
        <pc:spChg chg="del mod topLvl">
          <ac:chgData name="Ugo MANTEL" userId="2d5b7065-31bb-4181-a7f8-a73bf0c30211" providerId="ADAL" clId="{F05BB0D5-3454-45DC-8378-DA45B79D9A06}" dt="2020-10-05T09:00:46.709" v="7724" actId="478"/>
          <ac:spMkLst>
            <pc:docMk/>
            <pc:sldMk cId="1994795878" sldId="7046"/>
            <ac:spMk id="86" creationId="{A42D5C57-6912-433C-93FA-4FCA7EB60747}"/>
          </ac:spMkLst>
        </pc:spChg>
        <pc:spChg chg="add del mod ord">
          <ac:chgData name="Ugo MANTEL" userId="2d5b7065-31bb-4181-a7f8-a73bf0c30211" providerId="ADAL" clId="{F05BB0D5-3454-45DC-8378-DA45B79D9A06}" dt="2020-10-05T09:44:06.731" v="8564" actId="478"/>
          <ac:spMkLst>
            <pc:docMk/>
            <pc:sldMk cId="1994795878" sldId="7046"/>
            <ac:spMk id="87" creationId="{DBF70414-0260-4574-8AF4-8B676316210F}"/>
          </ac:spMkLst>
        </pc:spChg>
        <pc:spChg chg="add del mod ord">
          <ac:chgData name="Ugo MANTEL" userId="2d5b7065-31bb-4181-a7f8-a73bf0c30211" providerId="ADAL" clId="{F05BB0D5-3454-45DC-8378-DA45B79D9A06}" dt="2020-10-05T09:07:44.570" v="8003" actId="478"/>
          <ac:spMkLst>
            <pc:docMk/>
            <pc:sldMk cId="1994795878" sldId="7046"/>
            <ac:spMk id="89" creationId="{7ADFDBFE-7891-49A0-B4EC-BC9EB2C7DF55}"/>
          </ac:spMkLst>
        </pc:spChg>
        <pc:spChg chg="mod ord">
          <ac:chgData name="Ugo MANTEL" userId="2d5b7065-31bb-4181-a7f8-a73bf0c30211" providerId="ADAL" clId="{F05BB0D5-3454-45DC-8378-DA45B79D9A06}" dt="2020-10-05T09:21:04.888" v="8405"/>
          <ac:spMkLst>
            <pc:docMk/>
            <pc:sldMk cId="1994795878" sldId="7046"/>
            <ac:spMk id="98" creationId="{7B0454E6-6E5F-4475-9961-FDCBF9A39515}"/>
          </ac:spMkLst>
        </pc:spChg>
        <pc:spChg chg="mod ord">
          <ac:chgData name="Ugo MANTEL" userId="2d5b7065-31bb-4181-a7f8-a73bf0c30211" providerId="ADAL" clId="{F05BB0D5-3454-45DC-8378-DA45B79D9A06}" dt="2020-10-05T09:45:31.291" v="8583" actId="1076"/>
          <ac:spMkLst>
            <pc:docMk/>
            <pc:sldMk cId="1994795878" sldId="7046"/>
            <ac:spMk id="103" creationId="{E7CC2369-D145-4906-B0C6-9E32818B2F35}"/>
          </ac:spMkLst>
        </pc:spChg>
        <pc:spChg chg="mod ord">
          <ac:chgData name="Ugo MANTEL" userId="2d5b7065-31bb-4181-a7f8-a73bf0c30211" providerId="ADAL" clId="{F05BB0D5-3454-45DC-8378-DA45B79D9A06}" dt="2020-10-05T09:45:38.169" v="8584" actId="408"/>
          <ac:spMkLst>
            <pc:docMk/>
            <pc:sldMk cId="1994795878" sldId="7046"/>
            <ac:spMk id="104" creationId="{9960EBBB-F185-4FBF-A9DD-CDED1CEE8D04}"/>
          </ac:spMkLst>
        </pc:spChg>
        <pc:spChg chg="mod ord">
          <ac:chgData name="Ugo MANTEL" userId="2d5b7065-31bb-4181-a7f8-a73bf0c30211" providerId="ADAL" clId="{F05BB0D5-3454-45DC-8378-DA45B79D9A06}" dt="2020-10-05T09:45:38.169" v="8584" actId="408"/>
          <ac:spMkLst>
            <pc:docMk/>
            <pc:sldMk cId="1994795878" sldId="7046"/>
            <ac:spMk id="105" creationId="{35202EA5-0390-4841-9605-EC6579E9EC26}"/>
          </ac:spMkLst>
        </pc:spChg>
        <pc:spChg chg="mod ord">
          <ac:chgData name="Ugo MANTEL" userId="2d5b7065-31bb-4181-a7f8-a73bf0c30211" providerId="ADAL" clId="{F05BB0D5-3454-45DC-8378-DA45B79D9A06}" dt="2020-10-05T09:21:04.921" v="8425"/>
          <ac:spMkLst>
            <pc:docMk/>
            <pc:sldMk cId="1994795878" sldId="7046"/>
            <ac:spMk id="106" creationId="{B34EE8BA-FD88-42D4-B084-A96D490A2DE9}"/>
          </ac:spMkLst>
        </pc:spChg>
        <pc:spChg chg="mod ord">
          <ac:chgData name="Ugo MANTEL" userId="2d5b7065-31bb-4181-a7f8-a73bf0c30211" providerId="ADAL" clId="{F05BB0D5-3454-45DC-8378-DA45B79D9A06}" dt="2020-10-05T09:21:04.895" v="8409"/>
          <ac:spMkLst>
            <pc:docMk/>
            <pc:sldMk cId="1994795878" sldId="7046"/>
            <ac:spMk id="108" creationId="{52B1E940-DAAD-4E9A-B70B-326F1BE1AF1A}"/>
          </ac:spMkLst>
        </pc:spChg>
        <pc:grpChg chg="add del mod">
          <ac:chgData name="Ugo MANTEL" userId="2d5b7065-31bb-4181-a7f8-a73bf0c30211" providerId="ADAL" clId="{F05BB0D5-3454-45DC-8378-DA45B79D9A06}" dt="2020-10-05T08:53:54.948" v="7651" actId="165"/>
          <ac:grpSpMkLst>
            <pc:docMk/>
            <pc:sldMk cId="1994795878" sldId="7046"/>
            <ac:grpSpMk id="9" creationId="{00625636-093F-453B-8449-313B3A23ED99}"/>
          </ac:grpSpMkLst>
        </pc:grpChg>
        <pc:grpChg chg="add del mod">
          <ac:chgData name="Ugo MANTEL" userId="2d5b7065-31bb-4181-a7f8-a73bf0c30211" providerId="ADAL" clId="{F05BB0D5-3454-45DC-8378-DA45B79D9A06}" dt="2020-10-05T09:44:06.731" v="8564" actId="478"/>
          <ac:grpSpMkLst>
            <pc:docMk/>
            <pc:sldMk cId="1994795878" sldId="7046"/>
            <ac:grpSpMk id="18" creationId="{75BC170D-73EB-4076-965D-E811823D8660}"/>
          </ac:grpSpMkLst>
        </pc:grpChg>
        <pc:grpChg chg="mod ord">
          <ac:chgData name="Ugo MANTEL" userId="2d5b7065-31bb-4181-a7f8-a73bf0c30211" providerId="ADAL" clId="{F05BB0D5-3454-45DC-8378-DA45B79D9A06}" dt="2020-10-05T09:21:04.859" v="8387"/>
          <ac:grpSpMkLst>
            <pc:docMk/>
            <pc:sldMk cId="1994795878" sldId="7046"/>
            <ac:grpSpMk id="44" creationId="{FB9ACACC-A730-459C-A2D4-F887CEB1ABA3}"/>
          </ac:grpSpMkLst>
        </pc:grpChg>
        <pc:grpChg chg="mod ord">
          <ac:chgData name="Ugo MANTEL" userId="2d5b7065-31bb-4181-a7f8-a73bf0c30211" providerId="ADAL" clId="{F05BB0D5-3454-45DC-8378-DA45B79D9A06}" dt="2020-10-05T09:21:04.862" v="8389"/>
          <ac:grpSpMkLst>
            <pc:docMk/>
            <pc:sldMk cId="1994795878" sldId="7046"/>
            <ac:grpSpMk id="45" creationId="{FD66F46C-BA07-45B0-86C5-0A0A0F5B94C7}"/>
          </ac:grpSpMkLst>
        </pc:grpChg>
        <pc:grpChg chg="mod ord">
          <ac:chgData name="Ugo MANTEL" userId="2d5b7065-31bb-4181-a7f8-a73bf0c30211" providerId="ADAL" clId="{F05BB0D5-3454-45DC-8378-DA45B79D9A06}" dt="2020-10-05T09:21:04.865" v="8391"/>
          <ac:grpSpMkLst>
            <pc:docMk/>
            <pc:sldMk cId="1994795878" sldId="7046"/>
            <ac:grpSpMk id="46" creationId="{566A7B35-CDF0-4397-BFEF-D958CBFC6368}"/>
          </ac:grpSpMkLst>
        </pc:grpChg>
        <pc:grpChg chg="mod ord">
          <ac:chgData name="Ugo MANTEL" userId="2d5b7065-31bb-4181-a7f8-a73bf0c30211" providerId="ADAL" clId="{F05BB0D5-3454-45DC-8378-DA45B79D9A06}" dt="2020-10-05T09:21:04.867" v="8393"/>
          <ac:grpSpMkLst>
            <pc:docMk/>
            <pc:sldMk cId="1994795878" sldId="7046"/>
            <ac:grpSpMk id="47" creationId="{569D3FA4-7DFE-4F64-B45D-F78BD7A7DFCC}"/>
          </ac:grpSpMkLst>
        </pc:grpChg>
        <pc:grpChg chg="mod ord">
          <ac:chgData name="Ugo MANTEL" userId="2d5b7065-31bb-4181-a7f8-a73bf0c30211" providerId="ADAL" clId="{F05BB0D5-3454-45DC-8378-DA45B79D9A06}" dt="2020-10-05T09:21:04.871" v="8395"/>
          <ac:grpSpMkLst>
            <pc:docMk/>
            <pc:sldMk cId="1994795878" sldId="7046"/>
            <ac:grpSpMk id="48" creationId="{6A2E85C4-B0F3-4CBE-8126-1C774F3A18DC}"/>
          </ac:grpSpMkLst>
        </pc:grpChg>
        <pc:grpChg chg="add del mod topLvl">
          <ac:chgData name="Ugo MANTEL" userId="2d5b7065-31bb-4181-a7f8-a73bf0c30211" providerId="ADAL" clId="{F05BB0D5-3454-45DC-8378-DA45B79D9A06}" dt="2020-10-05T09:04:45.451" v="7833" actId="478"/>
          <ac:grpSpMkLst>
            <pc:docMk/>
            <pc:sldMk cId="1994795878" sldId="7046"/>
            <ac:grpSpMk id="74" creationId="{2A5A85B5-F383-4CC9-8761-6BAAAE73885E}"/>
          </ac:grpSpMkLst>
        </pc:grpChg>
        <pc:grpChg chg="add del mod topLvl">
          <ac:chgData name="Ugo MANTEL" userId="2d5b7065-31bb-4181-a7f8-a73bf0c30211" providerId="ADAL" clId="{F05BB0D5-3454-45DC-8378-DA45B79D9A06}" dt="2020-10-05T09:04:36.138" v="7832" actId="478"/>
          <ac:grpSpMkLst>
            <pc:docMk/>
            <pc:sldMk cId="1994795878" sldId="7046"/>
            <ac:grpSpMk id="77" creationId="{88E8343E-A6C4-4927-9DDD-072D65242C9E}"/>
          </ac:grpSpMkLst>
        </pc:grpChg>
        <pc:grpChg chg="add del mod">
          <ac:chgData name="Ugo MANTEL" userId="2d5b7065-31bb-4181-a7f8-a73bf0c30211" providerId="ADAL" clId="{F05BB0D5-3454-45DC-8378-DA45B79D9A06}" dt="2020-10-05T09:00:11.987" v="7717" actId="165"/>
          <ac:grpSpMkLst>
            <pc:docMk/>
            <pc:sldMk cId="1994795878" sldId="7046"/>
            <ac:grpSpMk id="84" creationId="{D1A5DA50-9684-4550-9A75-F936CACC763E}"/>
          </ac:grpSpMkLst>
        </pc:grpChg>
        <pc:graphicFrameChg chg="mod ord">
          <ac:chgData name="Ugo MANTEL" userId="2d5b7065-31bb-4181-a7f8-a73bf0c30211" providerId="ADAL" clId="{F05BB0D5-3454-45DC-8378-DA45B79D9A06}" dt="2020-10-05T09:21:04.959" v="8445"/>
          <ac:graphicFrameMkLst>
            <pc:docMk/>
            <pc:sldMk cId="1994795878" sldId="7046"/>
            <ac:graphicFrameMk id="17" creationId="{EB4F6558-37C4-4AAF-840F-170E104DDF1E}"/>
          </ac:graphicFrameMkLst>
        </pc:graphicFrameChg>
        <pc:graphicFrameChg chg="del mod ord">
          <ac:chgData name="Ugo MANTEL" userId="2d5b7065-31bb-4181-a7f8-a73bf0c30211" providerId="ADAL" clId="{F05BB0D5-3454-45DC-8378-DA45B79D9A06}" dt="2020-10-05T09:06:38.048" v="7989" actId="478"/>
          <ac:graphicFrameMkLst>
            <pc:docMk/>
            <pc:sldMk cId="1994795878" sldId="7046"/>
            <ac:graphicFrameMk id="40" creationId="{515BF1AC-56C0-44ED-B7DE-67FFA44C0EBE}"/>
          </ac:graphicFrameMkLst>
        </pc:graphicFrameChg>
        <pc:graphicFrameChg chg="mod ord">
          <ac:chgData name="Ugo MANTEL" userId="2d5b7065-31bb-4181-a7f8-a73bf0c30211" providerId="ADAL" clId="{F05BB0D5-3454-45DC-8378-DA45B79D9A06}" dt="2020-10-05T09:21:04.898" v="8411"/>
          <ac:graphicFrameMkLst>
            <pc:docMk/>
            <pc:sldMk cId="1994795878" sldId="7046"/>
            <ac:graphicFrameMk id="60" creationId="{12A28C36-BA84-4CF8-893D-17B8E2D7D1C5}"/>
          </ac:graphicFrameMkLst>
        </pc:graphicFrameChg>
        <pc:graphicFrameChg chg="del mod ord">
          <ac:chgData name="Ugo MANTEL" userId="2d5b7065-31bb-4181-a7f8-a73bf0c30211" providerId="ADAL" clId="{F05BB0D5-3454-45DC-8378-DA45B79D9A06}" dt="2020-10-05T09:15:11.301" v="8142" actId="478"/>
          <ac:graphicFrameMkLst>
            <pc:docMk/>
            <pc:sldMk cId="1994795878" sldId="7046"/>
            <ac:graphicFrameMk id="64" creationId="{7EA718C6-6500-471A-A668-95BB351C244F}"/>
          </ac:graphicFrameMkLst>
        </pc:graphicFrameChg>
        <pc:graphicFrameChg chg="add mod ord">
          <ac:chgData name="Ugo MANTEL" userId="2d5b7065-31bb-4181-a7f8-a73bf0c30211" providerId="ADAL" clId="{F05BB0D5-3454-45DC-8378-DA45B79D9A06}" dt="2020-10-05T09:22:48.214" v="8477" actId="14100"/>
          <ac:graphicFrameMkLst>
            <pc:docMk/>
            <pc:sldMk cId="1994795878" sldId="7046"/>
            <ac:graphicFrameMk id="90" creationId="{80E50A01-A768-4112-A8AB-7E00B35426AD}"/>
          </ac:graphicFrameMkLst>
        </pc:graphicFrameChg>
        <pc:graphicFrameChg chg="add del mod">
          <ac:chgData name="Ugo MANTEL" userId="2d5b7065-31bb-4181-a7f8-a73bf0c30211" providerId="ADAL" clId="{F05BB0D5-3454-45DC-8378-DA45B79D9A06}" dt="2020-10-05T09:08:26.763" v="8005" actId="478"/>
          <ac:graphicFrameMkLst>
            <pc:docMk/>
            <pc:sldMk cId="1994795878" sldId="7046"/>
            <ac:graphicFrameMk id="91" creationId="{851616EE-E7C0-4D67-889C-C76A7CFC7F2C}"/>
          </ac:graphicFrameMkLst>
        </pc:graphicFrameChg>
        <pc:graphicFrameChg chg="add mod ord">
          <ac:chgData name="Ugo MANTEL" userId="2d5b7065-31bb-4181-a7f8-a73bf0c30211" providerId="ADAL" clId="{F05BB0D5-3454-45DC-8378-DA45B79D9A06}" dt="2020-10-05T09:21:04.805" v="8352"/>
          <ac:graphicFrameMkLst>
            <pc:docMk/>
            <pc:sldMk cId="1994795878" sldId="7046"/>
            <ac:graphicFrameMk id="92" creationId="{A5E2EAAC-F1DB-4E02-BCD9-15F6F2418CC3}"/>
          </ac:graphicFrameMkLst>
        </pc:graphicFrameChg>
        <pc:picChg chg="add del mod">
          <ac:chgData name="Ugo MANTEL" userId="2d5b7065-31bb-4181-a7f8-a73bf0c30211" providerId="ADAL" clId="{F05BB0D5-3454-45DC-8378-DA45B79D9A06}" dt="2020-10-05T12:21:45.505" v="9664" actId="478"/>
          <ac:picMkLst>
            <pc:docMk/>
            <pc:sldMk cId="1994795878" sldId="7046"/>
            <ac:picMk id="24" creationId="{C759A596-B928-45CA-B9FA-C21505CE6B52}"/>
          </ac:picMkLst>
        </pc:picChg>
        <pc:picChg chg="mod ord">
          <ac:chgData name="Ugo MANTEL" userId="2d5b7065-31bb-4181-a7f8-a73bf0c30211" providerId="ADAL" clId="{F05BB0D5-3454-45DC-8378-DA45B79D9A06}" dt="2020-10-05T09:21:04.835" v="8373"/>
          <ac:picMkLst>
            <pc:docMk/>
            <pc:sldMk cId="1994795878" sldId="7046"/>
            <ac:picMk id="26" creationId="{4F6DEA17-DBC0-4552-B534-4E0E14484B5B}"/>
          </ac:picMkLst>
        </pc:picChg>
        <pc:picChg chg="mod ord">
          <ac:chgData name="Ugo MANTEL" userId="2d5b7065-31bb-4181-a7f8-a73bf0c30211" providerId="ADAL" clId="{F05BB0D5-3454-45DC-8378-DA45B79D9A06}" dt="2020-10-05T09:21:04.881" v="8401"/>
          <ac:picMkLst>
            <pc:docMk/>
            <pc:sldMk cId="1994795878" sldId="7046"/>
            <ac:picMk id="27" creationId="{32F4106D-AEEB-4DE5-8CA9-D0A14A1D4DFD}"/>
          </ac:picMkLst>
        </pc:picChg>
        <pc:picChg chg="mod ord">
          <ac:chgData name="Ugo MANTEL" userId="2d5b7065-31bb-4181-a7f8-a73bf0c30211" providerId="ADAL" clId="{F05BB0D5-3454-45DC-8378-DA45B79D9A06}" dt="2020-10-05T09:21:04.840" v="8375"/>
          <ac:picMkLst>
            <pc:docMk/>
            <pc:sldMk cId="1994795878" sldId="7046"/>
            <ac:picMk id="28" creationId="{0A76F6EC-287A-484C-94C5-4DB89CF06273}"/>
          </ac:picMkLst>
        </pc:picChg>
        <pc:picChg chg="mod ord">
          <ac:chgData name="Ugo MANTEL" userId="2d5b7065-31bb-4181-a7f8-a73bf0c30211" providerId="ADAL" clId="{F05BB0D5-3454-45DC-8378-DA45B79D9A06}" dt="2020-10-05T09:21:04.845" v="8377"/>
          <ac:picMkLst>
            <pc:docMk/>
            <pc:sldMk cId="1994795878" sldId="7046"/>
            <ac:picMk id="29" creationId="{7F8C1226-70DC-4841-ADCB-D4B3E85586BF}"/>
          </ac:picMkLst>
        </pc:picChg>
        <pc:picChg chg="mod ord">
          <ac:chgData name="Ugo MANTEL" userId="2d5b7065-31bb-4181-a7f8-a73bf0c30211" providerId="ADAL" clId="{F05BB0D5-3454-45DC-8378-DA45B79D9A06}" dt="2020-10-05T09:21:04.846" v="8379"/>
          <ac:picMkLst>
            <pc:docMk/>
            <pc:sldMk cId="1994795878" sldId="7046"/>
            <ac:picMk id="30" creationId="{A6724232-9824-4F1B-8FB1-21DA6D7C5CDF}"/>
          </ac:picMkLst>
        </pc:picChg>
        <pc:cxnChg chg="mod ord">
          <ac:chgData name="Ugo MANTEL" userId="2d5b7065-31bb-4181-a7f8-a73bf0c30211" providerId="ADAL" clId="{F05BB0D5-3454-45DC-8378-DA45B79D9A06}" dt="2020-10-05T09:21:04.822" v="8363"/>
          <ac:cxnSpMkLst>
            <pc:docMk/>
            <pc:sldMk cId="1994795878" sldId="7046"/>
            <ac:cxnSpMk id="5" creationId="{D5AEA529-A8B8-42C5-AA73-D90233EEBDC1}"/>
          </ac:cxnSpMkLst>
        </pc:cxnChg>
        <pc:cxnChg chg="add del mod ord">
          <ac:chgData name="Ugo MANTEL" userId="2d5b7065-31bb-4181-a7f8-a73bf0c30211" providerId="ADAL" clId="{F05BB0D5-3454-45DC-8378-DA45B79D9A06}" dt="2020-10-05T09:07:44.570" v="8003" actId="478"/>
          <ac:cxnSpMkLst>
            <pc:docMk/>
            <pc:sldMk cId="1994795878" sldId="7046"/>
            <ac:cxnSpMk id="88" creationId="{80A13804-CCF9-432E-9F9C-2D9270ECD161}"/>
          </ac:cxnSpMkLst>
        </pc:cxnChg>
        <pc:cxnChg chg="mod ord">
          <ac:chgData name="Ugo MANTEL" userId="2d5b7065-31bb-4181-a7f8-a73bf0c30211" providerId="ADAL" clId="{F05BB0D5-3454-45DC-8378-DA45B79D9A06}" dt="2020-10-05T09:23:08.029" v="8483" actId="14100"/>
          <ac:cxnSpMkLst>
            <pc:docMk/>
            <pc:sldMk cId="1994795878" sldId="7046"/>
            <ac:cxnSpMk id="107" creationId="{0D10C5DE-8909-4DCC-9AB5-CFAEA8B46EF9}"/>
          </ac:cxnSpMkLst>
        </pc:cxnChg>
      </pc:sldChg>
      <pc:sldChg chg="addSp delSp modSp mod">
        <pc:chgData name="Ugo MANTEL" userId="2d5b7065-31bb-4181-a7f8-a73bf0c30211" providerId="ADAL" clId="{F05BB0D5-3454-45DC-8378-DA45B79D9A06}" dt="2020-10-07T08:20:26.481" v="10573" actId="6549"/>
        <pc:sldMkLst>
          <pc:docMk/>
          <pc:sldMk cId="2517844644" sldId="7047"/>
        </pc:sldMkLst>
        <pc:spChg chg="mod ord">
          <ac:chgData name="Ugo MANTEL" userId="2d5b7065-31bb-4181-a7f8-a73bf0c30211" providerId="ADAL" clId="{F05BB0D5-3454-45DC-8378-DA45B79D9A06}" dt="2020-10-05T09:51:37.501" v="8725"/>
          <ac:spMkLst>
            <pc:docMk/>
            <pc:sldMk cId="2517844644" sldId="7047"/>
            <ac:spMk id="3" creationId="{F333C5C0-2D3F-4ACC-B88E-992BE24032E5}"/>
          </ac:spMkLst>
        </pc:spChg>
        <pc:spChg chg="mod ord">
          <ac:chgData name="Ugo MANTEL" userId="2d5b7065-31bb-4181-a7f8-a73bf0c30211" providerId="ADAL" clId="{F05BB0D5-3454-45DC-8378-DA45B79D9A06}" dt="2020-10-05T09:51:37.484" v="8715"/>
          <ac:spMkLst>
            <pc:docMk/>
            <pc:sldMk cId="2517844644" sldId="7047"/>
            <ac:spMk id="4" creationId="{56A18673-ABA4-4D8E-8AB8-7DA4208DCD47}"/>
          </ac:spMkLst>
        </pc:spChg>
        <pc:spChg chg="mod ord">
          <ac:chgData name="Ugo MANTEL" userId="2d5b7065-31bb-4181-a7f8-a73bf0c30211" providerId="ADAL" clId="{F05BB0D5-3454-45DC-8378-DA45B79D9A06}" dt="2020-10-05T09:51:37.534" v="8747"/>
          <ac:spMkLst>
            <pc:docMk/>
            <pc:sldMk cId="2517844644" sldId="7047"/>
            <ac:spMk id="8" creationId="{99DCBEBE-0D2F-4356-BF6B-8C656442C96D}"/>
          </ac:spMkLst>
        </pc:spChg>
        <pc:spChg chg="mod ord">
          <ac:chgData name="Ugo MANTEL" userId="2d5b7065-31bb-4181-a7f8-a73bf0c30211" providerId="ADAL" clId="{F05BB0D5-3454-45DC-8378-DA45B79D9A06}" dt="2020-10-05T09:51:37.496" v="8723"/>
          <ac:spMkLst>
            <pc:docMk/>
            <pc:sldMk cId="2517844644" sldId="7047"/>
            <ac:spMk id="13" creationId="{0EA36691-38F8-4EDA-B0BA-DFA2ABEA506A}"/>
          </ac:spMkLst>
        </pc:spChg>
        <pc:spChg chg="mod ord">
          <ac:chgData name="Ugo MANTEL" userId="2d5b7065-31bb-4181-a7f8-a73bf0c30211" providerId="ADAL" clId="{F05BB0D5-3454-45DC-8378-DA45B79D9A06}" dt="2020-10-05T09:51:37.506" v="8729"/>
          <ac:spMkLst>
            <pc:docMk/>
            <pc:sldMk cId="2517844644" sldId="7047"/>
            <ac:spMk id="15" creationId="{C6A888CB-1E18-4529-842D-C8380587EF4A}"/>
          </ac:spMkLst>
        </pc:spChg>
        <pc:spChg chg="mod ord">
          <ac:chgData name="Ugo MANTEL" userId="2d5b7065-31bb-4181-a7f8-a73bf0c30211" providerId="ADAL" clId="{F05BB0D5-3454-45DC-8378-DA45B79D9A06}" dt="2020-10-05T09:51:37.475" v="8711"/>
          <ac:spMkLst>
            <pc:docMk/>
            <pc:sldMk cId="2517844644" sldId="7047"/>
            <ac:spMk id="16" creationId="{606C6640-A7FF-4D6D-9A77-0E17AA66E69D}"/>
          </ac:spMkLst>
        </pc:spChg>
        <pc:spChg chg="mod ord">
          <ac:chgData name="Ugo MANTEL" userId="2d5b7065-31bb-4181-a7f8-a73bf0c30211" providerId="ADAL" clId="{F05BB0D5-3454-45DC-8378-DA45B79D9A06}" dt="2020-10-05T09:51:37.510" v="8731"/>
          <ac:spMkLst>
            <pc:docMk/>
            <pc:sldMk cId="2517844644" sldId="7047"/>
            <ac:spMk id="43" creationId="{48F07BE0-0131-46D6-B7F9-D08E1D65C642}"/>
          </ac:spMkLst>
        </pc:spChg>
        <pc:spChg chg="mod ord">
          <ac:chgData name="Ugo MANTEL" userId="2d5b7065-31bb-4181-a7f8-a73bf0c30211" providerId="ADAL" clId="{F05BB0D5-3454-45DC-8378-DA45B79D9A06}" dt="2020-10-05T09:51:37.526" v="8741"/>
          <ac:spMkLst>
            <pc:docMk/>
            <pc:sldMk cId="2517844644" sldId="7047"/>
            <ac:spMk id="49" creationId="{B843729F-24AD-4AB8-8C2F-29D9F7B89A31}"/>
          </ac:spMkLst>
        </pc:spChg>
        <pc:spChg chg="mod">
          <ac:chgData name="Ugo MANTEL" userId="2d5b7065-31bb-4181-a7f8-a73bf0c30211" providerId="ADAL" clId="{F05BB0D5-3454-45DC-8378-DA45B79D9A06}" dt="2020-10-02T13:04:32.536" v="1446" actId="790"/>
          <ac:spMkLst>
            <pc:docMk/>
            <pc:sldMk cId="2517844644" sldId="7047"/>
            <ac:spMk id="51" creationId="{BF70027C-1984-40CB-8929-AF1E2321F654}"/>
          </ac:spMkLst>
        </pc:spChg>
        <pc:spChg chg="mod">
          <ac:chgData name="Ugo MANTEL" userId="2d5b7065-31bb-4181-a7f8-a73bf0c30211" providerId="ADAL" clId="{F05BB0D5-3454-45DC-8378-DA45B79D9A06}" dt="2020-10-02T13:04:32.544" v="1458" actId="790"/>
          <ac:spMkLst>
            <pc:docMk/>
            <pc:sldMk cId="2517844644" sldId="7047"/>
            <ac:spMk id="53" creationId="{E27C8F25-B669-439F-9C09-18B474C8D747}"/>
          </ac:spMkLst>
        </pc:spChg>
        <pc:spChg chg="mod">
          <ac:chgData name="Ugo MANTEL" userId="2d5b7065-31bb-4181-a7f8-a73bf0c30211" providerId="ADAL" clId="{F05BB0D5-3454-45DC-8378-DA45B79D9A06}" dt="2020-10-02T13:04:32.535" v="1445" actId="790"/>
          <ac:spMkLst>
            <pc:docMk/>
            <pc:sldMk cId="2517844644" sldId="7047"/>
            <ac:spMk id="55" creationId="{E1183EAE-225F-4800-A179-E5A901C2391B}"/>
          </ac:spMkLst>
        </pc:spChg>
        <pc:spChg chg="mod">
          <ac:chgData name="Ugo MANTEL" userId="2d5b7065-31bb-4181-a7f8-a73bf0c30211" providerId="ADAL" clId="{F05BB0D5-3454-45DC-8378-DA45B79D9A06}" dt="2020-10-02T13:04:32.534" v="1444" actId="790"/>
          <ac:spMkLst>
            <pc:docMk/>
            <pc:sldMk cId="2517844644" sldId="7047"/>
            <ac:spMk id="57" creationId="{90DF471E-BD71-49EC-BBD8-A3FD0E848E8F}"/>
          </ac:spMkLst>
        </pc:spChg>
        <pc:spChg chg="mod">
          <ac:chgData name="Ugo MANTEL" userId="2d5b7065-31bb-4181-a7f8-a73bf0c30211" providerId="ADAL" clId="{F05BB0D5-3454-45DC-8378-DA45B79D9A06}" dt="2020-10-02T13:04:32.533" v="1443" actId="790"/>
          <ac:spMkLst>
            <pc:docMk/>
            <pc:sldMk cId="2517844644" sldId="7047"/>
            <ac:spMk id="59" creationId="{05C3C10C-88F6-4D15-8688-1D2FE88AABA9}"/>
          </ac:spMkLst>
        </pc:spChg>
        <pc:spChg chg="mod">
          <ac:chgData name="Ugo MANTEL" userId="2d5b7065-31bb-4181-a7f8-a73bf0c30211" providerId="ADAL" clId="{F05BB0D5-3454-45DC-8378-DA45B79D9A06}" dt="2020-10-02T13:04:32.545" v="1459" actId="790"/>
          <ac:spMkLst>
            <pc:docMk/>
            <pc:sldMk cId="2517844644" sldId="7047"/>
            <ac:spMk id="60" creationId="{1E8543E4-EA2D-4D90-9C36-D461A800E813}"/>
          </ac:spMkLst>
        </pc:spChg>
        <pc:spChg chg="mod ord">
          <ac:chgData name="Ugo MANTEL" userId="2d5b7065-31bb-4181-a7f8-a73bf0c30211" providerId="ADAL" clId="{F05BB0D5-3454-45DC-8378-DA45B79D9A06}" dt="2020-10-05T09:51:37.542" v="8751"/>
          <ac:spMkLst>
            <pc:docMk/>
            <pc:sldMk cId="2517844644" sldId="7047"/>
            <ac:spMk id="61" creationId="{73F804CB-2413-45A0-AC42-A6E95CC1DCD5}"/>
          </ac:spMkLst>
        </pc:spChg>
        <pc:spChg chg="mod">
          <ac:chgData name="Ugo MANTEL" userId="2d5b7065-31bb-4181-a7f8-a73bf0c30211" providerId="ADAL" clId="{F05BB0D5-3454-45DC-8378-DA45B79D9A06}" dt="2020-10-02T13:04:32.546" v="1460" actId="790"/>
          <ac:spMkLst>
            <pc:docMk/>
            <pc:sldMk cId="2517844644" sldId="7047"/>
            <ac:spMk id="62" creationId="{CB1756EF-BA12-4D51-8208-22BDC64548C8}"/>
          </ac:spMkLst>
        </pc:spChg>
        <pc:spChg chg="mod">
          <ac:chgData name="Ugo MANTEL" userId="2d5b7065-31bb-4181-a7f8-a73bf0c30211" providerId="ADAL" clId="{F05BB0D5-3454-45DC-8378-DA45B79D9A06}" dt="2020-10-02T13:04:32.546" v="1461" actId="790"/>
          <ac:spMkLst>
            <pc:docMk/>
            <pc:sldMk cId="2517844644" sldId="7047"/>
            <ac:spMk id="63" creationId="{14BA00DD-60B6-4F8B-88BD-0A95102B24EC}"/>
          </ac:spMkLst>
        </pc:spChg>
        <pc:spChg chg="mod">
          <ac:chgData name="Ugo MANTEL" userId="2d5b7065-31bb-4181-a7f8-a73bf0c30211" providerId="ADAL" clId="{F05BB0D5-3454-45DC-8378-DA45B79D9A06}" dt="2020-10-05T09:51:37.546" v="8754"/>
          <ac:spMkLst>
            <pc:docMk/>
            <pc:sldMk cId="2517844644" sldId="7047"/>
            <ac:spMk id="65" creationId="{766BF357-E9E8-419A-BF37-D07CE983ABEA}"/>
          </ac:spMkLst>
        </pc:spChg>
        <pc:spChg chg="mod ord">
          <ac:chgData name="Ugo MANTEL" userId="2d5b7065-31bb-4181-a7f8-a73bf0c30211" providerId="ADAL" clId="{F05BB0D5-3454-45DC-8378-DA45B79D9A06}" dt="2020-10-05T09:51:37.550" v="8756"/>
          <ac:spMkLst>
            <pc:docMk/>
            <pc:sldMk cId="2517844644" sldId="7047"/>
            <ac:spMk id="66" creationId="{E2BE804C-3BB8-46F7-B34A-A7BC574B5950}"/>
          </ac:spMkLst>
        </pc:spChg>
        <pc:spChg chg="mod ord">
          <ac:chgData name="Ugo MANTEL" userId="2d5b7065-31bb-4181-a7f8-a73bf0c30211" providerId="ADAL" clId="{F05BB0D5-3454-45DC-8378-DA45B79D9A06}" dt="2020-10-05T14:50:02.865" v="10232" actId="1076"/>
          <ac:spMkLst>
            <pc:docMk/>
            <pc:sldMk cId="2517844644" sldId="7047"/>
            <ac:spMk id="67" creationId="{EE06F1EB-588C-414D-804F-6338DC331E1A}"/>
          </ac:spMkLst>
        </pc:spChg>
        <pc:spChg chg="mod ord">
          <ac:chgData name="Ugo MANTEL" userId="2d5b7065-31bb-4181-a7f8-a73bf0c30211" providerId="ADAL" clId="{F05BB0D5-3454-45DC-8378-DA45B79D9A06}" dt="2020-10-05T09:51:37.556" v="8760"/>
          <ac:spMkLst>
            <pc:docMk/>
            <pc:sldMk cId="2517844644" sldId="7047"/>
            <ac:spMk id="70" creationId="{3EA19F5A-A161-4C7F-849F-CFF6CDE0DE33}"/>
          </ac:spMkLst>
        </pc:spChg>
        <pc:spChg chg="mod ord">
          <ac:chgData name="Ugo MANTEL" userId="2d5b7065-31bb-4181-a7f8-a73bf0c30211" providerId="ADAL" clId="{F05BB0D5-3454-45DC-8378-DA45B79D9A06}" dt="2020-10-05T14:51:07.382" v="10239" actId="1076"/>
          <ac:spMkLst>
            <pc:docMk/>
            <pc:sldMk cId="2517844644" sldId="7047"/>
            <ac:spMk id="73" creationId="{EF9751AD-9E68-4516-9068-CD0E1728B19F}"/>
          </ac:spMkLst>
        </pc:spChg>
        <pc:spChg chg="mod ord">
          <ac:chgData name="Ugo MANTEL" userId="2d5b7065-31bb-4181-a7f8-a73bf0c30211" providerId="ADAL" clId="{F05BB0D5-3454-45DC-8378-DA45B79D9A06}" dt="2020-10-05T14:51:14.720" v="10241" actId="408"/>
          <ac:spMkLst>
            <pc:docMk/>
            <pc:sldMk cId="2517844644" sldId="7047"/>
            <ac:spMk id="74" creationId="{2093B9B0-E411-47D1-A64F-CE397B8699C2}"/>
          </ac:spMkLst>
        </pc:spChg>
        <pc:spChg chg="mod ord">
          <ac:chgData name="Ugo MANTEL" userId="2d5b7065-31bb-4181-a7f8-a73bf0c30211" providerId="ADAL" clId="{F05BB0D5-3454-45DC-8378-DA45B79D9A06}" dt="2020-10-05T14:51:10.955" v="10240" actId="1076"/>
          <ac:spMkLst>
            <pc:docMk/>
            <pc:sldMk cId="2517844644" sldId="7047"/>
            <ac:spMk id="75" creationId="{8BC10959-D61E-49CE-A781-A13404CCC349}"/>
          </ac:spMkLst>
        </pc:spChg>
        <pc:spChg chg="mod ord">
          <ac:chgData name="Ugo MANTEL" userId="2d5b7065-31bb-4181-a7f8-a73bf0c30211" providerId="ADAL" clId="{F05BB0D5-3454-45DC-8378-DA45B79D9A06}" dt="2020-10-07T08:20:26.481" v="10573" actId="6549"/>
          <ac:spMkLst>
            <pc:docMk/>
            <pc:sldMk cId="2517844644" sldId="7047"/>
            <ac:spMk id="78" creationId="{508212BC-E494-41E0-A327-C262D672C486}"/>
          </ac:spMkLst>
        </pc:spChg>
        <pc:spChg chg="mod ord">
          <ac:chgData name="Ugo MANTEL" userId="2d5b7065-31bb-4181-a7f8-a73bf0c30211" providerId="ADAL" clId="{F05BB0D5-3454-45DC-8378-DA45B79D9A06}" dt="2020-10-05T09:51:37.530" v="8743"/>
          <ac:spMkLst>
            <pc:docMk/>
            <pc:sldMk cId="2517844644" sldId="7047"/>
            <ac:spMk id="79" creationId="{2E6E3095-6ED4-425A-AF2A-08EBD6553314}"/>
          </ac:spMkLst>
        </pc:spChg>
        <pc:spChg chg="mod">
          <ac:chgData name="Ugo MANTEL" userId="2d5b7065-31bb-4181-a7f8-a73bf0c30211" providerId="ADAL" clId="{F05BB0D5-3454-45DC-8378-DA45B79D9A06}" dt="2020-10-02T13:04:32.547" v="1462" actId="790"/>
          <ac:spMkLst>
            <pc:docMk/>
            <pc:sldMk cId="2517844644" sldId="7047"/>
            <ac:spMk id="83" creationId="{BDBEBCD5-4DF0-41AD-B894-47FC784F4851}"/>
          </ac:spMkLst>
        </pc:spChg>
        <pc:spChg chg="mod ord">
          <ac:chgData name="Ugo MANTEL" userId="2d5b7065-31bb-4181-a7f8-a73bf0c30211" providerId="ADAL" clId="{F05BB0D5-3454-45DC-8378-DA45B79D9A06}" dt="2020-10-05T09:51:37.569" v="8772"/>
          <ac:spMkLst>
            <pc:docMk/>
            <pc:sldMk cId="2517844644" sldId="7047"/>
            <ac:spMk id="84" creationId="{0B8BE03D-788C-4517-899A-9DDC9BE3E5D5}"/>
          </ac:spMkLst>
        </pc:spChg>
        <pc:spChg chg="del mod ord">
          <ac:chgData name="Ugo MANTEL" userId="2d5b7065-31bb-4181-a7f8-a73bf0c30211" providerId="ADAL" clId="{F05BB0D5-3454-45DC-8378-DA45B79D9A06}" dt="2020-10-05T09:51:47.868" v="8778" actId="478"/>
          <ac:spMkLst>
            <pc:docMk/>
            <pc:sldMk cId="2517844644" sldId="7047"/>
            <ac:spMk id="85" creationId="{462B6909-4394-4470-8BBA-DFFFC3E5C0F2}"/>
          </ac:spMkLst>
        </pc:spChg>
        <pc:spChg chg="add mod">
          <ac:chgData name="Ugo MANTEL" userId="2d5b7065-31bb-4181-a7f8-a73bf0c30211" providerId="ADAL" clId="{F05BB0D5-3454-45DC-8378-DA45B79D9A06}" dt="2020-10-05T14:51:03.681" v="10238" actId="571"/>
          <ac:spMkLst>
            <pc:docMk/>
            <pc:sldMk cId="2517844644" sldId="7047"/>
            <ac:spMk id="87" creationId="{D6D0D592-A5A1-48F4-8CAC-2DF7202E9B7D}"/>
          </ac:spMkLst>
        </pc:spChg>
        <pc:spChg chg="add mod">
          <ac:chgData name="Ugo MANTEL" userId="2d5b7065-31bb-4181-a7f8-a73bf0c30211" providerId="ADAL" clId="{F05BB0D5-3454-45DC-8378-DA45B79D9A06}" dt="2020-10-05T15:02:42.623" v="10289" actId="14100"/>
          <ac:spMkLst>
            <pc:docMk/>
            <pc:sldMk cId="2517844644" sldId="7047"/>
            <ac:spMk id="88" creationId="{FA8F9F2F-7970-436F-811A-E8DA24FDC5FE}"/>
          </ac:spMkLst>
        </pc:spChg>
        <pc:spChg chg="add mod">
          <ac:chgData name="Ugo MANTEL" userId="2d5b7065-31bb-4181-a7f8-a73bf0c30211" providerId="ADAL" clId="{F05BB0D5-3454-45DC-8378-DA45B79D9A06}" dt="2020-10-05T15:03:24.486" v="10293" actId="12788"/>
          <ac:spMkLst>
            <pc:docMk/>
            <pc:sldMk cId="2517844644" sldId="7047"/>
            <ac:spMk id="89" creationId="{E995632E-D7BD-4CA6-9402-36B1F2DDD5C7}"/>
          </ac:spMkLst>
        </pc:spChg>
        <pc:spChg chg="add del mod">
          <ac:chgData name="Ugo MANTEL" userId="2d5b7065-31bb-4181-a7f8-a73bf0c30211" providerId="ADAL" clId="{F05BB0D5-3454-45DC-8378-DA45B79D9A06}" dt="2020-10-05T15:01:32.125" v="10253" actId="478"/>
          <ac:spMkLst>
            <pc:docMk/>
            <pc:sldMk cId="2517844644" sldId="7047"/>
            <ac:spMk id="90" creationId="{E05FD89A-FEC7-4E05-B357-521F277A390A}"/>
          </ac:spMkLst>
        </pc:spChg>
        <pc:spChg chg="add del mod">
          <ac:chgData name="Ugo MANTEL" userId="2d5b7065-31bb-4181-a7f8-a73bf0c30211" providerId="ADAL" clId="{F05BB0D5-3454-45DC-8378-DA45B79D9A06}" dt="2020-10-05T15:01:24.174" v="10251" actId="478"/>
          <ac:spMkLst>
            <pc:docMk/>
            <pc:sldMk cId="2517844644" sldId="7047"/>
            <ac:spMk id="92" creationId="{28CE6437-15E5-4AC0-BE98-5A9A356F28AF}"/>
          </ac:spMkLst>
        </pc:spChg>
        <pc:spChg chg="add del mod">
          <ac:chgData name="Ugo MANTEL" userId="2d5b7065-31bb-4181-a7f8-a73bf0c30211" providerId="ADAL" clId="{F05BB0D5-3454-45DC-8378-DA45B79D9A06}" dt="2020-10-05T15:01:24.174" v="10251" actId="478"/>
          <ac:spMkLst>
            <pc:docMk/>
            <pc:sldMk cId="2517844644" sldId="7047"/>
            <ac:spMk id="93" creationId="{9C6BC48C-B7E2-44AE-81BC-F8D2B15DECED}"/>
          </ac:spMkLst>
        </pc:spChg>
        <pc:spChg chg="add del mod">
          <ac:chgData name="Ugo MANTEL" userId="2d5b7065-31bb-4181-a7f8-a73bf0c30211" providerId="ADAL" clId="{F05BB0D5-3454-45DC-8378-DA45B79D9A06}" dt="2020-10-05T15:01:24.174" v="10251" actId="478"/>
          <ac:spMkLst>
            <pc:docMk/>
            <pc:sldMk cId="2517844644" sldId="7047"/>
            <ac:spMk id="94" creationId="{A7207EC6-4F2E-4706-900F-F514241E0DAD}"/>
          </ac:spMkLst>
        </pc:spChg>
        <pc:spChg chg="add del mod">
          <ac:chgData name="Ugo MANTEL" userId="2d5b7065-31bb-4181-a7f8-a73bf0c30211" providerId="ADAL" clId="{F05BB0D5-3454-45DC-8378-DA45B79D9A06}" dt="2020-10-05T15:01:24.174" v="10251" actId="478"/>
          <ac:spMkLst>
            <pc:docMk/>
            <pc:sldMk cId="2517844644" sldId="7047"/>
            <ac:spMk id="95" creationId="{5E182DC3-1192-4946-978B-55EA18590568}"/>
          </ac:spMkLst>
        </pc:spChg>
        <pc:spChg chg="add mod">
          <ac:chgData name="Ugo MANTEL" userId="2d5b7065-31bb-4181-a7f8-a73bf0c30211" providerId="ADAL" clId="{F05BB0D5-3454-45DC-8378-DA45B79D9A06}" dt="2020-10-05T15:03:25.894" v="10294" actId="465"/>
          <ac:spMkLst>
            <pc:docMk/>
            <pc:sldMk cId="2517844644" sldId="7047"/>
            <ac:spMk id="96" creationId="{90E103C2-FF62-4752-ABA3-02129B448B0B}"/>
          </ac:spMkLst>
        </pc:spChg>
        <pc:spChg chg="add mod">
          <ac:chgData name="Ugo MANTEL" userId="2d5b7065-31bb-4181-a7f8-a73bf0c30211" providerId="ADAL" clId="{F05BB0D5-3454-45DC-8378-DA45B79D9A06}" dt="2020-10-05T15:03:24.486" v="10293" actId="12788"/>
          <ac:spMkLst>
            <pc:docMk/>
            <pc:sldMk cId="2517844644" sldId="7047"/>
            <ac:spMk id="97" creationId="{34319CD3-4F43-47D4-A96F-3DE7FF61CA2A}"/>
          </ac:spMkLst>
        </pc:spChg>
        <pc:spChg chg="mod ord">
          <ac:chgData name="Ugo MANTEL" userId="2d5b7065-31bb-4181-a7f8-a73bf0c30211" providerId="ADAL" clId="{F05BB0D5-3454-45DC-8378-DA45B79D9A06}" dt="2020-10-05T09:51:37.538" v="8749"/>
          <ac:spMkLst>
            <pc:docMk/>
            <pc:sldMk cId="2517844644" sldId="7047"/>
            <ac:spMk id="98" creationId="{7B0454E6-6E5F-4475-9961-FDCBF9A39515}"/>
          </ac:spMkLst>
        </pc:spChg>
        <pc:grpChg chg="mod ord">
          <ac:chgData name="Ugo MANTEL" userId="2d5b7065-31bb-4181-a7f8-a73bf0c30211" providerId="ADAL" clId="{F05BB0D5-3454-45DC-8378-DA45B79D9A06}" dt="2020-10-05T09:51:37.514" v="8733"/>
          <ac:grpSpMkLst>
            <pc:docMk/>
            <pc:sldMk cId="2517844644" sldId="7047"/>
            <ac:grpSpMk id="44" creationId="{FB9ACACC-A730-459C-A2D4-F887CEB1ABA3}"/>
          </ac:grpSpMkLst>
        </pc:grpChg>
        <pc:grpChg chg="mod ord">
          <ac:chgData name="Ugo MANTEL" userId="2d5b7065-31bb-4181-a7f8-a73bf0c30211" providerId="ADAL" clId="{F05BB0D5-3454-45DC-8378-DA45B79D9A06}" dt="2020-10-05T09:51:37.515" v="8735"/>
          <ac:grpSpMkLst>
            <pc:docMk/>
            <pc:sldMk cId="2517844644" sldId="7047"/>
            <ac:grpSpMk id="45" creationId="{FD66F46C-BA07-45B0-86C5-0A0A0F5B94C7}"/>
          </ac:grpSpMkLst>
        </pc:grpChg>
        <pc:grpChg chg="mod ord">
          <ac:chgData name="Ugo MANTEL" userId="2d5b7065-31bb-4181-a7f8-a73bf0c30211" providerId="ADAL" clId="{F05BB0D5-3454-45DC-8378-DA45B79D9A06}" dt="2020-10-05T09:51:37.521" v="8737"/>
          <ac:grpSpMkLst>
            <pc:docMk/>
            <pc:sldMk cId="2517844644" sldId="7047"/>
            <ac:grpSpMk id="46" creationId="{566A7B35-CDF0-4397-BFEF-D958CBFC6368}"/>
          </ac:grpSpMkLst>
        </pc:grpChg>
        <pc:grpChg chg="mod ord">
          <ac:chgData name="Ugo MANTEL" userId="2d5b7065-31bb-4181-a7f8-a73bf0c30211" providerId="ADAL" clId="{F05BB0D5-3454-45DC-8378-DA45B79D9A06}" dt="2020-10-05T09:51:37.521" v="8739"/>
          <ac:grpSpMkLst>
            <pc:docMk/>
            <pc:sldMk cId="2517844644" sldId="7047"/>
            <ac:grpSpMk id="48" creationId="{6A2E85C4-B0F3-4CBE-8126-1C774F3A18DC}"/>
          </ac:grpSpMkLst>
        </pc:grpChg>
        <pc:grpChg chg="mod ord">
          <ac:chgData name="Ugo MANTEL" userId="2d5b7065-31bb-4181-a7f8-a73bf0c30211" providerId="ADAL" clId="{F05BB0D5-3454-45DC-8378-DA45B79D9A06}" dt="2020-10-05T09:51:37.565" v="8768"/>
          <ac:grpSpMkLst>
            <pc:docMk/>
            <pc:sldMk cId="2517844644" sldId="7047"/>
            <ac:grpSpMk id="52" creationId="{C2E46B3A-7639-40C8-A4E0-D71E9D172F8B}"/>
          </ac:grpSpMkLst>
        </pc:grpChg>
        <pc:graphicFrameChg chg="mod ord">
          <ac:chgData name="Ugo MANTEL" userId="2d5b7065-31bb-4181-a7f8-a73bf0c30211" providerId="ADAL" clId="{F05BB0D5-3454-45DC-8378-DA45B79D9A06}" dt="2020-10-05T09:51:37.582" v="8776"/>
          <ac:graphicFrameMkLst>
            <pc:docMk/>
            <pc:sldMk cId="2517844644" sldId="7047"/>
            <ac:graphicFrameMk id="17" creationId="{EB4F6558-37C4-4AAF-840F-170E104DDF1E}"/>
          </ac:graphicFrameMkLst>
        </pc:graphicFrameChg>
        <pc:graphicFrameChg chg="mod ord">
          <ac:chgData name="Ugo MANTEL" userId="2d5b7065-31bb-4181-a7f8-a73bf0c30211" providerId="ADAL" clId="{F05BB0D5-3454-45DC-8378-DA45B79D9A06}" dt="2020-10-05T14:27:22.073" v="10214" actId="14100"/>
          <ac:graphicFrameMkLst>
            <pc:docMk/>
            <pc:sldMk cId="2517844644" sldId="7047"/>
            <ac:graphicFrameMk id="68" creationId="{C9F43CFE-150F-43BC-9CB7-A1E85D7AF190}"/>
          </ac:graphicFrameMkLst>
        </pc:graphicFrameChg>
        <pc:graphicFrameChg chg="mod ord">
          <ac:chgData name="Ugo MANTEL" userId="2d5b7065-31bb-4181-a7f8-a73bf0c30211" providerId="ADAL" clId="{F05BB0D5-3454-45DC-8378-DA45B79D9A06}" dt="2020-10-05T09:51:37.485" v="8717"/>
          <ac:graphicFrameMkLst>
            <pc:docMk/>
            <pc:sldMk cId="2517844644" sldId="7047"/>
            <ac:graphicFrameMk id="71" creationId="{0DB5D8CF-2B82-4513-975B-AC5FEC862DD5}"/>
          </ac:graphicFrameMkLst>
        </pc:graphicFrameChg>
        <pc:graphicFrameChg chg="del mod ord">
          <ac:chgData name="Ugo MANTEL" userId="2d5b7065-31bb-4181-a7f8-a73bf0c30211" providerId="ADAL" clId="{F05BB0D5-3454-45DC-8378-DA45B79D9A06}" dt="2020-10-05T09:51:43.222" v="8777" actId="478"/>
          <ac:graphicFrameMkLst>
            <pc:docMk/>
            <pc:sldMk cId="2517844644" sldId="7047"/>
            <ac:graphicFrameMk id="72" creationId="{3FE81594-554B-4995-8BAD-1878E4F686F5}"/>
          </ac:graphicFrameMkLst>
        </pc:graphicFrameChg>
        <pc:graphicFrameChg chg="add mod ord modGraphic">
          <ac:chgData name="Ugo MANTEL" userId="2d5b7065-31bb-4181-a7f8-a73bf0c30211" providerId="ADAL" clId="{F05BB0D5-3454-45DC-8378-DA45B79D9A06}" dt="2020-10-05T14:50:49.286" v="10234" actId="1076"/>
          <ac:graphicFrameMkLst>
            <pc:docMk/>
            <pc:sldMk cId="2517844644" sldId="7047"/>
            <ac:graphicFrameMk id="86" creationId="{BA2AF189-1E67-45EF-99C7-DC394435859A}"/>
          </ac:graphicFrameMkLst>
        </pc:graphicFrameChg>
        <pc:picChg chg="mod ord">
          <ac:chgData name="Ugo MANTEL" userId="2d5b7065-31bb-4181-a7f8-a73bf0c30211" providerId="ADAL" clId="{F05BB0D5-3454-45DC-8378-DA45B79D9A06}" dt="2020-10-05T09:51:37.530" v="8745"/>
          <ac:picMkLst>
            <pc:docMk/>
            <pc:sldMk cId="2517844644" sldId="7047"/>
            <ac:picMk id="27" creationId="{32F4106D-AEEB-4DE5-8CA9-D0A14A1D4DFD}"/>
          </ac:picMkLst>
        </pc:picChg>
        <pc:cxnChg chg="mod ord">
          <ac:chgData name="Ugo MANTEL" userId="2d5b7065-31bb-4181-a7f8-a73bf0c30211" providerId="ADAL" clId="{F05BB0D5-3454-45DC-8378-DA45B79D9A06}" dt="2020-10-05T09:51:37.502" v="8727"/>
          <ac:cxnSpMkLst>
            <pc:docMk/>
            <pc:sldMk cId="2517844644" sldId="7047"/>
            <ac:cxnSpMk id="5" creationId="{D5AEA529-A8B8-42C5-AA73-D90233EEBDC1}"/>
          </ac:cxnSpMkLst>
        </pc:cxnChg>
        <pc:cxnChg chg="mod ord">
          <ac:chgData name="Ugo MANTEL" userId="2d5b7065-31bb-4181-a7f8-a73bf0c30211" providerId="ADAL" clId="{F05BB0D5-3454-45DC-8378-DA45B79D9A06}" dt="2020-10-05T09:51:37.550" v="8758"/>
          <ac:cxnSpMkLst>
            <pc:docMk/>
            <pc:sldMk cId="2517844644" sldId="7047"/>
            <ac:cxnSpMk id="69" creationId="{54CE423B-879F-4A29-BDF0-27D4A17E9E96}"/>
          </ac:cxnSpMkLst>
        </pc:cxnChg>
        <pc:cxnChg chg="add mod">
          <ac:chgData name="Ugo MANTEL" userId="2d5b7065-31bb-4181-a7f8-a73bf0c30211" providerId="ADAL" clId="{F05BB0D5-3454-45DC-8378-DA45B79D9A06}" dt="2020-10-05T15:03:24.486" v="10293" actId="12788"/>
          <ac:cxnSpMkLst>
            <pc:docMk/>
            <pc:sldMk cId="2517844644" sldId="7047"/>
            <ac:cxnSpMk id="91" creationId="{FB4141CE-60B3-43A2-9A6B-F9ACCFA12A59}"/>
          </ac:cxnSpMkLst>
        </pc:cxnChg>
      </pc:sldChg>
      <pc:sldChg chg="modSp mod">
        <pc:chgData name="Ugo MANTEL" userId="2d5b7065-31bb-4181-a7f8-a73bf0c30211" providerId="ADAL" clId="{F05BB0D5-3454-45DC-8378-DA45B79D9A06}" dt="2020-10-02T13:04:32.900" v="1791" actId="790"/>
        <pc:sldMkLst>
          <pc:docMk/>
          <pc:sldMk cId="3357989335" sldId="7051"/>
        </pc:sldMkLst>
        <pc:spChg chg="mod">
          <ac:chgData name="Ugo MANTEL" userId="2d5b7065-31bb-4181-a7f8-a73bf0c30211" providerId="ADAL" clId="{F05BB0D5-3454-45DC-8378-DA45B79D9A06}" dt="2020-10-02T13:04:32.865" v="1750" actId="790"/>
          <ac:spMkLst>
            <pc:docMk/>
            <pc:sldMk cId="3357989335" sldId="7051"/>
            <ac:spMk id="3" creationId="{EE562520-AE05-45DC-86C8-4773408518C0}"/>
          </ac:spMkLst>
        </pc:spChg>
        <pc:spChg chg="mod">
          <ac:chgData name="Ugo MANTEL" userId="2d5b7065-31bb-4181-a7f8-a73bf0c30211" providerId="ADAL" clId="{F05BB0D5-3454-45DC-8378-DA45B79D9A06}" dt="2020-10-02T13:04:32.880" v="1771" actId="790"/>
          <ac:spMkLst>
            <pc:docMk/>
            <pc:sldMk cId="3357989335" sldId="7051"/>
            <ac:spMk id="4" creationId="{1769F871-8B2E-445A-BD09-BAFAFE505D49}"/>
          </ac:spMkLst>
        </pc:spChg>
        <pc:spChg chg="mod">
          <ac:chgData name="Ugo MANTEL" userId="2d5b7065-31bb-4181-a7f8-a73bf0c30211" providerId="ADAL" clId="{F05BB0D5-3454-45DC-8378-DA45B79D9A06}" dt="2020-10-02T13:04:32.880" v="1772" actId="790"/>
          <ac:spMkLst>
            <pc:docMk/>
            <pc:sldMk cId="3357989335" sldId="7051"/>
            <ac:spMk id="5" creationId="{1EA5CD55-EE2E-4832-AC40-CEDFD622217D}"/>
          </ac:spMkLst>
        </pc:spChg>
        <pc:spChg chg="mod">
          <ac:chgData name="Ugo MANTEL" userId="2d5b7065-31bb-4181-a7f8-a73bf0c30211" providerId="ADAL" clId="{F05BB0D5-3454-45DC-8378-DA45B79D9A06}" dt="2020-10-02T13:04:32.881" v="1773" actId="790"/>
          <ac:spMkLst>
            <pc:docMk/>
            <pc:sldMk cId="3357989335" sldId="7051"/>
            <ac:spMk id="6" creationId="{3F29675B-5805-49FA-BA92-1A11B633D877}"/>
          </ac:spMkLst>
        </pc:spChg>
        <pc:spChg chg="mod">
          <ac:chgData name="Ugo MANTEL" userId="2d5b7065-31bb-4181-a7f8-a73bf0c30211" providerId="ADAL" clId="{F05BB0D5-3454-45DC-8378-DA45B79D9A06}" dt="2020-10-02T13:04:32.873" v="1762" actId="790"/>
          <ac:spMkLst>
            <pc:docMk/>
            <pc:sldMk cId="3357989335" sldId="7051"/>
            <ac:spMk id="8" creationId="{E0384457-C418-477F-BB45-C66BE5AC97AA}"/>
          </ac:spMkLst>
        </pc:spChg>
        <pc:spChg chg="mod">
          <ac:chgData name="Ugo MANTEL" userId="2d5b7065-31bb-4181-a7f8-a73bf0c30211" providerId="ADAL" clId="{F05BB0D5-3454-45DC-8378-DA45B79D9A06}" dt="2020-10-02T13:04:32.882" v="1774" actId="790"/>
          <ac:spMkLst>
            <pc:docMk/>
            <pc:sldMk cId="3357989335" sldId="7051"/>
            <ac:spMk id="10" creationId="{18947DD1-81A4-4A04-A5E8-870882608D9B}"/>
          </ac:spMkLst>
        </pc:spChg>
        <pc:spChg chg="mod">
          <ac:chgData name="Ugo MANTEL" userId="2d5b7065-31bb-4181-a7f8-a73bf0c30211" providerId="ADAL" clId="{F05BB0D5-3454-45DC-8378-DA45B79D9A06}" dt="2020-10-02T13:04:32.878" v="1769" actId="790"/>
          <ac:spMkLst>
            <pc:docMk/>
            <pc:sldMk cId="3357989335" sldId="7051"/>
            <ac:spMk id="26" creationId="{0E92E948-7C54-4125-A61C-DE37D0920822}"/>
          </ac:spMkLst>
        </pc:spChg>
        <pc:spChg chg="mod">
          <ac:chgData name="Ugo MANTEL" userId="2d5b7065-31bb-4181-a7f8-a73bf0c30211" providerId="ADAL" clId="{F05BB0D5-3454-45DC-8378-DA45B79D9A06}" dt="2020-10-02T13:04:32.867" v="1754" actId="790"/>
          <ac:spMkLst>
            <pc:docMk/>
            <pc:sldMk cId="3357989335" sldId="7051"/>
            <ac:spMk id="53" creationId="{7B1B944E-EA5B-4AE1-9528-949A1A0C5920}"/>
          </ac:spMkLst>
        </pc:spChg>
        <pc:spChg chg="mod">
          <ac:chgData name="Ugo MANTEL" userId="2d5b7065-31bb-4181-a7f8-a73bf0c30211" providerId="ADAL" clId="{F05BB0D5-3454-45DC-8378-DA45B79D9A06}" dt="2020-10-02T13:04:32.874" v="1763" actId="790"/>
          <ac:spMkLst>
            <pc:docMk/>
            <pc:sldMk cId="3357989335" sldId="7051"/>
            <ac:spMk id="61" creationId="{C9B059BF-D299-4C61-AB4C-16AC34780315}"/>
          </ac:spMkLst>
        </pc:spChg>
        <pc:spChg chg="mod">
          <ac:chgData name="Ugo MANTEL" userId="2d5b7065-31bb-4181-a7f8-a73bf0c30211" providerId="ADAL" clId="{F05BB0D5-3454-45DC-8378-DA45B79D9A06}" dt="2020-10-02T13:04:32.877" v="1767" actId="790"/>
          <ac:spMkLst>
            <pc:docMk/>
            <pc:sldMk cId="3357989335" sldId="7051"/>
            <ac:spMk id="63" creationId="{9BA37649-E45D-4D10-AFEA-95D895A5583F}"/>
          </ac:spMkLst>
        </pc:spChg>
        <pc:spChg chg="mod">
          <ac:chgData name="Ugo MANTEL" userId="2d5b7065-31bb-4181-a7f8-a73bf0c30211" providerId="ADAL" clId="{F05BB0D5-3454-45DC-8378-DA45B79D9A06}" dt="2020-10-02T13:04:32.866" v="1751" actId="790"/>
          <ac:spMkLst>
            <pc:docMk/>
            <pc:sldMk cId="3357989335" sldId="7051"/>
            <ac:spMk id="69" creationId="{7DEC9FAE-77A5-44C7-8F96-8BF6BDBBFA8E}"/>
          </ac:spMkLst>
        </pc:spChg>
        <pc:spChg chg="mod">
          <ac:chgData name="Ugo MANTEL" userId="2d5b7065-31bb-4181-a7f8-a73bf0c30211" providerId="ADAL" clId="{F05BB0D5-3454-45DC-8378-DA45B79D9A06}" dt="2020-10-02T13:04:32.882" v="1775" actId="790"/>
          <ac:spMkLst>
            <pc:docMk/>
            <pc:sldMk cId="3357989335" sldId="7051"/>
            <ac:spMk id="72" creationId="{7ED8CEDC-8765-41B6-A34E-5E7F88FFC7ED}"/>
          </ac:spMkLst>
        </pc:spChg>
        <pc:spChg chg="mod">
          <ac:chgData name="Ugo MANTEL" userId="2d5b7065-31bb-4181-a7f8-a73bf0c30211" providerId="ADAL" clId="{F05BB0D5-3454-45DC-8378-DA45B79D9A06}" dt="2020-10-02T13:04:32.879" v="1770" actId="790"/>
          <ac:spMkLst>
            <pc:docMk/>
            <pc:sldMk cId="3357989335" sldId="7051"/>
            <ac:spMk id="81" creationId="{4F1E6CCC-F5B5-4C99-8640-CC6FDDEE1E91}"/>
          </ac:spMkLst>
        </pc:spChg>
        <pc:spChg chg="mod">
          <ac:chgData name="Ugo MANTEL" userId="2d5b7065-31bb-4181-a7f8-a73bf0c30211" providerId="ADAL" clId="{F05BB0D5-3454-45DC-8378-DA45B79D9A06}" dt="2020-10-02T13:04:32.872" v="1760" actId="790"/>
          <ac:spMkLst>
            <pc:docMk/>
            <pc:sldMk cId="3357989335" sldId="7051"/>
            <ac:spMk id="82" creationId="{E57E42BD-359D-49BC-9898-5C3A143B4275}"/>
          </ac:spMkLst>
        </pc:spChg>
        <pc:spChg chg="mod">
          <ac:chgData name="Ugo MANTEL" userId="2d5b7065-31bb-4181-a7f8-a73bf0c30211" providerId="ADAL" clId="{F05BB0D5-3454-45DC-8378-DA45B79D9A06}" dt="2020-10-02T13:04:32.873" v="1761" actId="790"/>
          <ac:spMkLst>
            <pc:docMk/>
            <pc:sldMk cId="3357989335" sldId="7051"/>
            <ac:spMk id="83" creationId="{5328B39B-B86B-48B9-8D71-F09533A0A716}"/>
          </ac:spMkLst>
        </pc:spChg>
        <pc:spChg chg="mod">
          <ac:chgData name="Ugo MANTEL" userId="2d5b7065-31bb-4181-a7f8-a73bf0c30211" providerId="ADAL" clId="{F05BB0D5-3454-45DC-8378-DA45B79D9A06}" dt="2020-10-02T13:04:32.886" v="1779" actId="790"/>
          <ac:spMkLst>
            <pc:docMk/>
            <pc:sldMk cId="3357989335" sldId="7051"/>
            <ac:spMk id="85" creationId="{8C277912-D391-45B9-9B4A-B7082FB05D18}"/>
          </ac:spMkLst>
        </pc:spChg>
        <pc:spChg chg="mod">
          <ac:chgData name="Ugo MANTEL" userId="2d5b7065-31bb-4181-a7f8-a73bf0c30211" providerId="ADAL" clId="{F05BB0D5-3454-45DC-8378-DA45B79D9A06}" dt="2020-10-02T13:04:32.887" v="1780" actId="790"/>
          <ac:spMkLst>
            <pc:docMk/>
            <pc:sldMk cId="3357989335" sldId="7051"/>
            <ac:spMk id="88" creationId="{E6DDC46B-7748-4935-B180-4705B6A872B3}"/>
          </ac:spMkLst>
        </pc:spChg>
        <pc:spChg chg="mod">
          <ac:chgData name="Ugo MANTEL" userId="2d5b7065-31bb-4181-a7f8-a73bf0c30211" providerId="ADAL" clId="{F05BB0D5-3454-45DC-8378-DA45B79D9A06}" dt="2020-10-02T13:04:32.898" v="1788" actId="790"/>
          <ac:spMkLst>
            <pc:docMk/>
            <pc:sldMk cId="3357989335" sldId="7051"/>
            <ac:spMk id="89" creationId="{88307EE7-5D2D-49EF-AE46-80E1324263C0}"/>
          </ac:spMkLst>
        </pc:spChg>
        <pc:spChg chg="mod">
          <ac:chgData name="Ugo MANTEL" userId="2d5b7065-31bb-4181-a7f8-a73bf0c30211" providerId="ADAL" clId="{F05BB0D5-3454-45DC-8378-DA45B79D9A06}" dt="2020-10-02T13:04:32.887" v="1781" actId="790"/>
          <ac:spMkLst>
            <pc:docMk/>
            <pc:sldMk cId="3357989335" sldId="7051"/>
            <ac:spMk id="90" creationId="{76CDCAC3-E573-4933-A873-C953696FB512}"/>
          </ac:spMkLst>
        </pc:spChg>
        <pc:spChg chg="mod">
          <ac:chgData name="Ugo MANTEL" userId="2d5b7065-31bb-4181-a7f8-a73bf0c30211" providerId="ADAL" clId="{F05BB0D5-3454-45DC-8378-DA45B79D9A06}" dt="2020-10-02T13:04:32.898" v="1789" actId="790"/>
          <ac:spMkLst>
            <pc:docMk/>
            <pc:sldMk cId="3357989335" sldId="7051"/>
            <ac:spMk id="100" creationId="{F343EEEA-DA3B-4276-B135-A47F1DB66145}"/>
          </ac:spMkLst>
        </pc:spChg>
        <pc:spChg chg="mod">
          <ac:chgData name="Ugo MANTEL" userId="2d5b7065-31bb-4181-a7f8-a73bf0c30211" providerId="ADAL" clId="{F05BB0D5-3454-45DC-8378-DA45B79D9A06}" dt="2020-10-02T13:04:32.890" v="1783" actId="790"/>
          <ac:spMkLst>
            <pc:docMk/>
            <pc:sldMk cId="3357989335" sldId="7051"/>
            <ac:spMk id="102" creationId="{AD0F52B8-C6D8-49CF-A1B7-E2780DD4C6C1}"/>
          </ac:spMkLst>
        </pc:spChg>
        <pc:spChg chg="mod">
          <ac:chgData name="Ugo MANTEL" userId="2d5b7065-31bb-4181-a7f8-a73bf0c30211" providerId="ADAL" clId="{F05BB0D5-3454-45DC-8378-DA45B79D9A06}" dt="2020-10-02T13:04:32.894" v="1784" actId="790"/>
          <ac:spMkLst>
            <pc:docMk/>
            <pc:sldMk cId="3357989335" sldId="7051"/>
            <ac:spMk id="103" creationId="{C8A52D54-9E96-4855-BF97-88907E41C19C}"/>
          </ac:spMkLst>
        </pc:spChg>
        <pc:spChg chg="mod">
          <ac:chgData name="Ugo MANTEL" userId="2d5b7065-31bb-4181-a7f8-a73bf0c30211" providerId="ADAL" clId="{F05BB0D5-3454-45DC-8378-DA45B79D9A06}" dt="2020-10-02T13:04:32.895" v="1785" actId="790"/>
          <ac:spMkLst>
            <pc:docMk/>
            <pc:sldMk cId="3357989335" sldId="7051"/>
            <ac:spMk id="105" creationId="{4A998605-7ECD-4304-B9D2-9AEA65D2298F}"/>
          </ac:spMkLst>
        </pc:spChg>
        <pc:spChg chg="mod">
          <ac:chgData name="Ugo MANTEL" userId="2d5b7065-31bb-4181-a7f8-a73bf0c30211" providerId="ADAL" clId="{F05BB0D5-3454-45DC-8378-DA45B79D9A06}" dt="2020-10-02T13:04:32.876" v="1765" actId="790"/>
          <ac:spMkLst>
            <pc:docMk/>
            <pc:sldMk cId="3357989335" sldId="7051"/>
            <ac:spMk id="107" creationId="{BD458A23-9E88-4881-956E-29AFB82B1C38}"/>
          </ac:spMkLst>
        </pc:spChg>
        <pc:spChg chg="mod">
          <ac:chgData name="Ugo MANTEL" userId="2d5b7065-31bb-4181-a7f8-a73bf0c30211" providerId="ADAL" clId="{F05BB0D5-3454-45DC-8378-DA45B79D9A06}" dt="2020-10-02T13:04:32.895" v="1786" actId="790"/>
          <ac:spMkLst>
            <pc:docMk/>
            <pc:sldMk cId="3357989335" sldId="7051"/>
            <ac:spMk id="108" creationId="{FFAC3459-DE3C-4EB5-BBCB-E6078F310C00}"/>
          </ac:spMkLst>
        </pc:spChg>
        <pc:spChg chg="mod">
          <ac:chgData name="Ugo MANTEL" userId="2d5b7065-31bb-4181-a7f8-a73bf0c30211" providerId="ADAL" clId="{F05BB0D5-3454-45DC-8378-DA45B79D9A06}" dt="2020-10-02T13:04:32.866" v="1752" actId="790"/>
          <ac:spMkLst>
            <pc:docMk/>
            <pc:sldMk cId="3357989335" sldId="7051"/>
            <ac:spMk id="109" creationId="{E130BA1D-EB13-46D8-9E88-8EF15AA3C022}"/>
          </ac:spMkLst>
        </pc:spChg>
        <pc:spChg chg="mod">
          <ac:chgData name="Ugo MANTEL" userId="2d5b7065-31bb-4181-a7f8-a73bf0c30211" providerId="ADAL" clId="{F05BB0D5-3454-45DC-8378-DA45B79D9A06}" dt="2020-10-02T13:04:32.896" v="1787" actId="790"/>
          <ac:spMkLst>
            <pc:docMk/>
            <pc:sldMk cId="3357989335" sldId="7051"/>
            <ac:spMk id="112" creationId="{FA3C3630-2358-4A47-B775-D001EFC95E1E}"/>
          </ac:spMkLst>
        </pc:spChg>
        <pc:spChg chg="mod">
          <ac:chgData name="Ugo MANTEL" userId="2d5b7065-31bb-4181-a7f8-a73bf0c30211" providerId="ADAL" clId="{F05BB0D5-3454-45DC-8378-DA45B79D9A06}" dt="2020-10-02T13:04:32.855" v="1738" actId="790"/>
          <ac:spMkLst>
            <pc:docMk/>
            <pc:sldMk cId="3357989335" sldId="7051"/>
            <ac:spMk id="113" creationId="{65F9577C-E65E-4DF1-BBD9-D0503617D710}"/>
          </ac:spMkLst>
        </pc:spChg>
        <pc:spChg chg="mod">
          <ac:chgData name="Ugo MANTEL" userId="2d5b7065-31bb-4181-a7f8-a73bf0c30211" providerId="ADAL" clId="{F05BB0D5-3454-45DC-8378-DA45B79D9A06}" dt="2020-10-02T13:04:32.899" v="1790" actId="790"/>
          <ac:spMkLst>
            <pc:docMk/>
            <pc:sldMk cId="3357989335" sldId="7051"/>
            <ac:spMk id="116" creationId="{4ACE5FC1-CB48-4769-93E8-294A8D02849A}"/>
          </ac:spMkLst>
        </pc:spChg>
        <pc:spChg chg="mod">
          <ac:chgData name="Ugo MANTEL" userId="2d5b7065-31bb-4181-a7f8-a73bf0c30211" providerId="ADAL" clId="{F05BB0D5-3454-45DC-8378-DA45B79D9A06}" dt="2020-10-02T13:04:32.900" v="1791" actId="790"/>
          <ac:spMkLst>
            <pc:docMk/>
            <pc:sldMk cId="3357989335" sldId="7051"/>
            <ac:spMk id="119" creationId="{A7B0B63C-5E8E-4EC3-9E99-CE723D6BE6F1}"/>
          </ac:spMkLst>
        </pc:spChg>
        <pc:spChg chg="mod">
          <ac:chgData name="Ugo MANTEL" userId="2d5b7065-31bb-4181-a7f8-a73bf0c30211" providerId="ADAL" clId="{F05BB0D5-3454-45DC-8378-DA45B79D9A06}" dt="2020-10-02T13:04:32.856" v="1739" actId="790"/>
          <ac:spMkLst>
            <pc:docMk/>
            <pc:sldMk cId="3357989335" sldId="7051"/>
            <ac:spMk id="130" creationId="{44FD085B-EE2C-473A-B053-657F8A64679F}"/>
          </ac:spMkLst>
        </pc:spChg>
        <pc:spChg chg="mod">
          <ac:chgData name="Ugo MANTEL" userId="2d5b7065-31bb-4181-a7f8-a73bf0c30211" providerId="ADAL" clId="{F05BB0D5-3454-45DC-8378-DA45B79D9A06}" dt="2020-10-02T13:04:32.857" v="1740" actId="790"/>
          <ac:spMkLst>
            <pc:docMk/>
            <pc:sldMk cId="3357989335" sldId="7051"/>
            <ac:spMk id="131" creationId="{D9F0D4CE-C753-409A-888A-8BA68FE8A19A}"/>
          </ac:spMkLst>
        </pc:spChg>
        <pc:spChg chg="mod">
          <ac:chgData name="Ugo MANTEL" userId="2d5b7065-31bb-4181-a7f8-a73bf0c30211" providerId="ADAL" clId="{F05BB0D5-3454-45DC-8378-DA45B79D9A06}" dt="2020-10-02T13:04:32.884" v="1776" actId="790"/>
          <ac:spMkLst>
            <pc:docMk/>
            <pc:sldMk cId="3357989335" sldId="7051"/>
            <ac:spMk id="137" creationId="{3A4BBA4A-35A4-446D-9CBE-B5F06DD9BADB}"/>
          </ac:spMkLst>
        </pc:spChg>
        <pc:spChg chg="mod">
          <ac:chgData name="Ugo MANTEL" userId="2d5b7065-31bb-4181-a7f8-a73bf0c30211" providerId="ADAL" clId="{F05BB0D5-3454-45DC-8378-DA45B79D9A06}" dt="2020-10-02T13:04:32.885" v="1777" actId="790"/>
          <ac:spMkLst>
            <pc:docMk/>
            <pc:sldMk cId="3357989335" sldId="7051"/>
            <ac:spMk id="144" creationId="{ECEE62FD-5541-4B53-B3BC-C37BB925B102}"/>
          </ac:spMkLst>
        </pc:spChg>
        <pc:spChg chg="mod">
          <ac:chgData name="Ugo MANTEL" userId="2d5b7065-31bb-4181-a7f8-a73bf0c30211" providerId="ADAL" clId="{F05BB0D5-3454-45DC-8378-DA45B79D9A06}" dt="2020-10-02T13:04:32.886" v="1778" actId="790"/>
          <ac:spMkLst>
            <pc:docMk/>
            <pc:sldMk cId="3357989335" sldId="7051"/>
            <ac:spMk id="145" creationId="{FF36A1D0-0768-4618-B6D5-1BC61A898E42}"/>
          </ac:spMkLst>
        </pc:spChg>
        <pc:spChg chg="mod">
          <ac:chgData name="Ugo MANTEL" userId="2d5b7065-31bb-4181-a7f8-a73bf0c30211" providerId="ADAL" clId="{F05BB0D5-3454-45DC-8378-DA45B79D9A06}" dt="2020-10-02T13:04:32.888" v="1782" actId="790"/>
          <ac:spMkLst>
            <pc:docMk/>
            <pc:sldMk cId="3357989335" sldId="7051"/>
            <ac:spMk id="146" creationId="{4491C46B-90F0-40A3-8169-DEDD6E65C300}"/>
          </ac:spMkLst>
        </pc:spChg>
        <pc:spChg chg="mod">
          <ac:chgData name="Ugo MANTEL" userId="2d5b7065-31bb-4181-a7f8-a73bf0c30211" providerId="ADAL" clId="{F05BB0D5-3454-45DC-8378-DA45B79D9A06}" dt="2020-10-02T13:04:32.857" v="1741" actId="790"/>
          <ac:spMkLst>
            <pc:docMk/>
            <pc:sldMk cId="3357989335" sldId="7051"/>
            <ac:spMk id="147" creationId="{1207F7EA-2443-4583-9EFB-2395071D1412}"/>
          </ac:spMkLst>
        </pc:spChg>
        <pc:spChg chg="mod">
          <ac:chgData name="Ugo MANTEL" userId="2d5b7065-31bb-4181-a7f8-a73bf0c30211" providerId="ADAL" clId="{F05BB0D5-3454-45DC-8378-DA45B79D9A06}" dt="2020-10-02T13:04:32.858" v="1742" actId="790"/>
          <ac:spMkLst>
            <pc:docMk/>
            <pc:sldMk cId="3357989335" sldId="7051"/>
            <ac:spMk id="149" creationId="{420E297B-940C-4D83-9526-9FAE9CED8D13}"/>
          </ac:spMkLst>
        </pc:spChg>
        <pc:spChg chg="mod">
          <ac:chgData name="Ugo MANTEL" userId="2d5b7065-31bb-4181-a7f8-a73bf0c30211" providerId="ADAL" clId="{F05BB0D5-3454-45DC-8378-DA45B79D9A06}" dt="2020-10-02T13:04:32.875" v="1764" actId="790"/>
          <ac:spMkLst>
            <pc:docMk/>
            <pc:sldMk cId="3357989335" sldId="7051"/>
            <ac:spMk id="150" creationId="{B5009B96-6A4D-4884-90E4-52ED2EB0E4B4}"/>
          </ac:spMkLst>
        </pc:spChg>
        <pc:spChg chg="mod">
          <ac:chgData name="Ugo MANTEL" userId="2d5b7065-31bb-4181-a7f8-a73bf0c30211" providerId="ADAL" clId="{F05BB0D5-3454-45DC-8378-DA45B79D9A06}" dt="2020-10-02T13:04:32.876" v="1766" actId="790"/>
          <ac:spMkLst>
            <pc:docMk/>
            <pc:sldMk cId="3357989335" sldId="7051"/>
            <ac:spMk id="151" creationId="{C5FB69E2-C78D-42AB-843F-297843A83A1E}"/>
          </ac:spMkLst>
        </pc:spChg>
        <pc:spChg chg="mod">
          <ac:chgData name="Ugo MANTEL" userId="2d5b7065-31bb-4181-a7f8-a73bf0c30211" providerId="ADAL" clId="{F05BB0D5-3454-45DC-8378-DA45B79D9A06}" dt="2020-10-02T13:04:32.859" v="1743" actId="790"/>
          <ac:spMkLst>
            <pc:docMk/>
            <pc:sldMk cId="3357989335" sldId="7051"/>
            <ac:spMk id="152" creationId="{FAD52475-A338-4645-B07B-E2CB9AA98F81}"/>
          </ac:spMkLst>
        </pc:spChg>
        <pc:spChg chg="mod">
          <ac:chgData name="Ugo MANTEL" userId="2d5b7065-31bb-4181-a7f8-a73bf0c30211" providerId="ADAL" clId="{F05BB0D5-3454-45DC-8378-DA45B79D9A06}" dt="2020-10-02T13:04:32.859" v="1744" actId="790"/>
          <ac:spMkLst>
            <pc:docMk/>
            <pc:sldMk cId="3357989335" sldId="7051"/>
            <ac:spMk id="153" creationId="{618C0019-C91A-4993-AD40-23120B36D19C}"/>
          </ac:spMkLst>
        </pc:spChg>
        <pc:spChg chg="mod">
          <ac:chgData name="Ugo MANTEL" userId="2d5b7065-31bb-4181-a7f8-a73bf0c30211" providerId="ADAL" clId="{F05BB0D5-3454-45DC-8378-DA45B79D9A06}" dt="2020-10-02T13:04:32.860" v="1745" actId="790"/>
          <ac:spMkLst>
            <pc:docMk/>
            <pc:sldMk cId="3357989335" sldId="7051"/>
            <ac:spMk id="154" creationId="{CA99DFC2-1824-434F-8C58-50BBD3DB8274}"/>
          </ac:spMkLst>
        </pc:spChg>
        <pc:spChg chg="mod">
          <ac:chgData name="Ugo MANTEL" userId="2d5b7065-31bb-4181-a7f8-a73bf0c30211" providerId="ADAL" clId="{F05BB0D5-3454-45DC-8378-DA45B79D9A06}" dt="2020-10-02T13:04:32.866" v="1753" actId="790"/>
          <ac:spMkLst>
            <pc:docMk/>
            <pc:sldMk cId="3357989335" sldId="7051"/>
            <ac:spMk id="155" creationId="{C25FAC6F-DC9C-4F09-ADD2-707E924CC830}"/>
          </ac:spMkLst>
        </pc:spChg>
        <pc:spChg chg="mod">
          <ac:chgData name="Ugo MANTEL" userId="2d5b7065-31bb-4181-a7f8-a73bf0c30211" providerId="ADAL" clId="{F05BB0D5-3454-45DC-8378-DA45B79D9A06}" dt="2020-10-02T13:04:32.878" v="1768" actId="790"/>
          <ac:spMkLst>
            <pc:docMk/>
            <pc:sldMk cId="3357989335" sldId="7051"/>
            <ac:spMk id="156" creationId="{E8B4B5F8-ED28-4DBA-A8BA-C0FA94F1E630}"/>
          </ac:spMkLst>
        </pc:spChg>
        <pc:spChg chg="mod">
          <ac:chgData name="Ugo MANTEL" userId="2d5b7065-31bb-4181-a7f8-a73bf0c30211" providerId="ADAL" clId="{F05BB0D5-3454-45DC-8378-DA45B79D9A06}" dt="2020-10-02T13:04:32.860" v="1746" actId="790"/>
          <ac:spMkLst>
            <pc:docMk/>
            <pc:sldMk cId="3357989335" sldId="7051"/>
            <ac:spMk id="157" creationId="{B320A6B7-229B-4EF7-A57E-93AD27CB44F5}"/>
          </ac:spMkLst>
        </pc:spChg>
        <pc:spChg chg="mod">
          <ac:chgData name="Ugo MANTEL" userId="2d5b7065-31bb-4181-a7f8-a73bf0c30211" providerId="ADAL" clId="{F05BB0D5-3454-45DC-8378-DA45B79D9A06}" dt="2020-10-02T13:04:32.861" v="1747" actId="790"/>
          <ac:spMkLst>
            <pc:docMk/>
            <pc:sldMk cId="3357989335" sldId="7051"/>
            <ac:spMk id="158" creationId="{4C5F9036-3FC9-40B6-8CEA-7E0B7DDF0E05}"/>
          </ac:spMkLst>
        </pc:spChg>
        <pc:spChg chg="mod">
          <ac:chgData name="Ugo MANTEL" userId="2d5b7065-31bb-4181-a7f8-a73bf0c30211" providerId="ADAL" clId="{F05BB0D5-3454-45DC-8378-DA45B79D9A06}" dt="2020-10-02T13:04:32.862" v="1748" actId="790"/>
          <ac:spMkLst>
            <pc:docMk/>
            <pc:sldMk cId="3357989335" sldId="7051"/>
            <ac:spMk id="159" creationId="{9F41F73E-C318-4941-A123-E61C1F006186}"/>
          </ac:spMkLst>
        </pc:spChg>
        <pc:spChg chg="mod">
          <ac:chgData name="Ugo MANTEL" userId="2d5b7065-31bb-4181-a7f8-a73bf0c30211" providerId="ADAL" clId="{F05BB0D5-3454-45DC-8378-DA45B79D9A06}" dt="2020-10-02T13:04:32.862" v="1749" actId="790"/>
          <ac:spMkLst>
            <pc:docMk/>
            <pc:sldMk cId="3357989335" sldId="7051"/>
            <ac:spMk id="160" creationId="{936EAC5F-C475-485D-B80F-1AFBB397D2B4}"/>
          </ac:spMkLst>
        </pc:spChg>
        <pc:spChg chg="mod">
          <ac:chgData name="Ugo MANTEL" userId="2d5b7065-31bb-4181-a7f8-a73bf0c30211" providerId="ADAL" clId="{F05BB0D5-3454-45DC-8378-DA45B79D9A06}" dt="2020-10-02T13:04:32.868" v="1755" actId="790"/>
          <ac:spMkLst>
            <pc:docMk/>
            <pc:sldMk cId="3357989335" sldId="7051"/>
            <ac:spMk id="174" creationId="{8B76AD98-FB6B-40A6-B97F-5731DBDDCCAB}"/>
          </ac:spMkLst>
        </pc:spChg>
        <pc:spChg chg="mod">
          <ac:chgData name="Ugo MANTEL" userId="2d5b7065-31bb-4181-a7f8-a73bf0c30211" providerId="ADAL" clId="{F05BB0D5-3454-45DC-8378-DA45B79D9A06}" dt="2020-10-02T13:04:32.869" v="1756" actId="790"/>
          <ac:spMkLst>
            <pc:docMk/>
            <pc:sldMk cId="3357989335" sldId="7051"/>
            <ac:spMk id="178" creationId="{3A303B09-561C-4BC8-8BF2-0390E64A499C}"/>
          </ac:spMkLst>
        </pc:spChg>
        <pc:spChg chg="mod">
          <ac:chgData name="Ugo MANTEL" userId="2d5b7065-31bb-4181-a7f8-a73bf0c30211" providerId="ADAL" clId="{F05BB0D5-3454-45DC-8378-DA45B79D9A06}" dt="2020-10-02T13:04:32.869" v="1757" actId="790"/>
          <ac:spMkLst>
            <pc:docMk/>
            <pc:sldMk cId="3357989335" sldId="7051"/>
            <ac:spMk id="182" creationId="{AED717AD-68D5-4CAD-883D-EBB76A531546}"/>
          </ac:spMkLst>
        </pc:spChg>
        <pc:spChg chg="mod">
          <ac:chgData name="Ugo MANTEL" userId="2d5b7065-31bb-4181-a7f8-a73bf0c30211" providerId="ADAL" clId="{F05BB0D5-3454-45DC-8378-DA45B79D9A06}" dt="2020-10-02T13:04:32.870" v="1758" actId="790"/>
          <ac:spMkLst>
            <pc:docMk/>
            <pc:sldMk cId="3357989335" sldId="7051"/>
            <ac:spMk id="190" creationId="{F2AAA5DC-E287-49B0-8082-93972B70424F}"/>
          </ac:spMkLst>
        </pc:spChg>
        <pc:spChg chg="mod">
          <ac:chgData name="Ugo MANTEL" userId="2d5b7065-31bb-4181-a7f8-a73bf0c30211" providerId="ADAL" clId="{F05BB0D5-3454-45DC-8378-DA45B79D9A06}" dt="2020-10-02T13:04:32.871" v="1759" actId="790"/>
          <ac:spMkLst>
            <pc:docMk/>
            <pc:sldMk cId="3357989335" sldId="7051"/>
            <ac:spMk id="191" creationId="{3AF10328-ED58-4997-9DCD-35E7E3022CDB}"/>
          </ac:spMkLst>
        </pc:spChg>
      </pc:sldChg>
      <pc:sldChg chg="modSp mod">
        <pc:chgData name="Ugo MANTEL" userId="2d5b7065-31bb-4181-a7f8-a73bf0c30211" providerId="ADAL" clId="{F05BB0D5-3454-45DC-8378-DA45B79D9A06}" dt="2020-10-02T13:04:33.048" v="1965" actId="790"/>
        <pc:sldMkLst>
          <pc:docMk/>
          <pc:sldMk cId="3989485105" sldId="7052"/>
        </pc:sldMkLst>
        <pc:spChg chg="mod">
          <ac:chgData name="Ugo MANTEL" userId="2d5b7065-31bb-4181-a7f8-a73bf0c30211" providerId="ADAL" clId="{F05BB0D5-3454-45DC-8378-DA45B79D9A06}" dt="2020-10-02T13:04:33.013" v="1931" actId="790"/>
          <ac:spMkLst>
            <pc:docMk/>
            <pc:sldMk cId="3989485105" sldId="7052"/>
            <ac:spMk id="3" creationId="{0AA036DD-C883-4F76-839C-44FD6E23C870}"/>
          </ac:spMkLst>
        </pc:spChg>
        <pc:spChg chg="mod">
          <ac:chgData name="Ugo MANTEL" userId="2d5b7065-31bb-4181-a7f8-a73bf0c30211" providerId="ADAL" clId="{F05BB0D5-3454-45DC-8378-DA45B79D9A06}" dt="2020-10-02T13:04:33.011" v="1929" actId="790"/>
          <ac:spMkLst>
            <pc:docMk/>
            <pc:sldMk cId="3989485105" sldId="7052"/>
            <ac:spMk id="4" creationId="{D2B35E67-E779-422A-ADE1-988B1343A323}"/>
          </ac:spMkLst>
        </pc:spChg>
        <pc:spChg chg="mod">
          <ac:chgData name="Ugo MANTEL" userId="2d5b7065-31bb-4181-a7f8-a73bf0c30211" providerId="ADAL" clId="{F05BB0D5-3454-45DC-8378-DA45B79D9A06}" dt="2020-10-02T13:04:33.027" v="1942" actId="790"/>
          <ac:spMkLst>
            <pc:docMk/>
            <pc:sldMk cId="3989485105" sldId="7052"/>
            <ac:spMk id="6" creationId="{B4F9AFAE-14FB-4CB5-8697-6113594D2EF7}"/>
          </ac:spMkLst>
        </pc:spChg>
        <pc:spChg chg="mod">
          <ac:chgData name="Ugo MANTEL" userId="2d5b7065-31bb-4181-a7f8-a73bf0c30211" providerId="ADAL" clId="{F05BB0D5-3454-45DC-8378-DA45B79D9A06}" dt="2020-10-02T13:04:33.023" v="1937" actId="790"/>
          <ac:spMkLst>
            <pc:docMk/>
            <pc:sldMk cId="3989485105" sldId="7052"/>
            <ac:spMk id="8" creationId="{F6B9CFB1-F526-41B6-9B4A-BB67962AA701}"/>
          </ac:spMkLst>
        </pc:spChg>
        <pc:spChg chg="mod">
          <ac:chgData name="Ugo MANTEL" userId="2d5b7065-31bb-4181-a7f8-a73bf0c30211" providerId="ADAL" clId="{F05BB0D5-3454-45DC-8378-DA45B79D9A06}" dt="2020-10-02T13:04:33.024" v="1938" actId="790"/>
          <ac:spMkLst>
            <pc:docMk/>
            <pc:sldMk cId="3989485105" sldId="7052"/>
            <ac:spMk id="9" creationId="{9E859635-F25E-4307-B762-EA130FF1E5B0}"/>
          </ac:spMkLst>
        </pc:spChg>
        <pc:spChg chg="mod">
          <ac:chgData name="Ugo MANTEL" userId="2d5b7065-31bb-4181-a7f8-a73bf0c30211" providerId="ADAL" clId="{F05BB0D5-3454-45DC-8378-DA45B79D9A06}" dt="2020-10-02T13:04:33.027" v="1943" actId="790"/>
          <ac:spMkLst>
            <pc:docMk/>
            <pc:sldMk cId="3989485105" sldId="7052"/>
            <ac:spMk id="11" creationId="{26388885-1D7D-4764-BE87-5CF5BF80DBA2}"/>
          </ac:spMkLst>
        </pc:spChg>
        <pc:spChg chg="mod">
          <ac:chgData name="Ugo MANTEL" userId="2d5b7065-31bb-4181-a7f8-a73bf0c30211" providerId="ADAL" clId="{F05BB0D5-3454-45DC-8378-DA45B79D9A06}" dt="2020-10-02T13:04:33.024" v="1939" actId="790"/>
          <ac:spMkLst>
            <pc:docMk/>
            <pc:sldMk cId="3989485105" sldId="7052"/>
            <ac:spMk id="13" creationId="{9565A9C2-2FD8-478C-B717-FB8EE6325CAE}"/>
          </ac:spMkLst>
        </pc:spChg>
        <pc:spChg chg="mod">
          <ac:chgData name="Ugo MANTEL" userId="2d5b7065-31bb-4181-a7f8-a73bf0c30211" providerId="ADAL" clId="{F05BB0D5-3454-45DC-8378-DA45B79D9A06}" dt="2020-10-02T13:04:33.028" v="1944" actId="790"/>
          <ac:spMkLst>
            <pc:docMk/>
            <pc:sldMk cId="3989485105" sldId="7052"/>
            <ac:spMk id="14" creationId="{F20B7311-A110-4087-B383-B2A6FC2291FC}"/>
          </ac:spMkLst>
        </pc:spChg>
        <pc:spChg chg="mod">
          <ac:chgData name="Ugo MANTEL" userId="2d5b7065-31bb-4181-a7f8-a73bf0c30211" providerId="ADAL" clId="{F05BB0D5-3454-45DC-8378-DA45B79D9A06}" dt="2020-10-02T13:04:33.022" v="1936" actId="790"/>
          <ac:spMkLst>
            <pc:docMk/>
            <pc:sldMk cId="3989485105" sldId="7052"/>
            <ac:spMk id="17" creationId="{28F6B2CE-5062-4E93-973A-37A8106A4FDE}"/>
          </ac:spMkLst>
        </pc:spChg>
        <pc:spChg chg="mod">
          <ac:chgData name="Ugo MANTEL" userId="2d5b7065-31bb-4181-a7f8-a73bf0c30211" providerId="ADAL" clId="{F05BB0D5-3454-45DC-8378-DA45B79D9A06}" dt="2020-10-02T13:04:33.025" v="1940" actId="790"/>
          <ac:spMkLst>
            <pc:docMk/>
            <pc:sldMk cId="3989485105" sldId="7052"/>
            <ac:spMk id="18" creationId="{E21B9AD8-0E0C-4846-8A4F-A50CF643E8BA}"/>
          </ac:spMkLst>
        </pc:spChg>
        <pc:spChg chg="mod">
          <ac:chgData name="Ugo MANTEL" userId="2d5b7065-31bb-4181-a7f8-a73bf0c30211" providerId="ADAL" clId="{F05BB0D5-3454-45DC-8378-DA45B79D9A06}" dt="2020-10-02T13:04:33.033" v="1950" actId="790"/>
          <ac:spMkLst>
            <pc:docMk/>
            <pc:sldMk cId="3989485105" sldId="7052"/>
            <ac:spMk id="21" creationId="{E6341D1C-01C1-4623-97B3-30EEF1A9DEC0}"/>
          </ac:spMkLst>
        </pc:spChg>
        <pc:spChg chg="mod">
          <ac:chgData name="Ugo MANTEL" userId="2d5b7065-31bb-4181-a7f8-a73bf0c30211" providerId="ADAL" clId="{F05BB0D5-3454-45DC-8378-DA45B79D9A06}" dt="2020-10-02T13:04:33.030" v="1946" actId="790"/>
          <ac:spMkLst>
            <pc:docMk/>
            <pc:sldMk cId="3989485105" sldId="7052"/>
            <ac:spMk id="32" creationId="{CA3A4E67-16A2-4D94-BB9D-BA9E569154F7}"/>
          </ac:spMkLst>
        </pc:spChg>
        <pc:spChg chg="mod">
          <ac:chgData name="Ugo MANTEL" userId="2d5b7065-31bb-4181-a7f8-a73bf0c30211" providerId="ADAL" clId="{F05BB0D5-3454-45DC-8378-DA45B79D9A06}" dt="2020-10-02T13:04:33.034" v="1951" actId="790"/>
          <ac:spMkLst>
            <pc:docMk/>
            <pc:sldMk cId="3989485105" sldId="7052"/>
            <ac:spMk id="55" creationId="{94FD4810-78DD-4418-89F1-B391F203F328}"/>
          </ac:spMkLst>
        </pc:spChg>
        <pc:spChg chg="mod">
          <ac:chgData name="Ugo MANTEL" userId="2d5b7065-31bb-4181-a7f8-a73bf0c30211" providerId="ADAL" clId="{F05BB0D5-3454-45DC-8378-DA45B79D9A06}" dt="2020-10-02T13:04:33.035" v="1952" actId="790"/>
          <ac:spMkLst>
            <pc:docMk/>
            <pc:sldMk cId="3989485105" sldId="7052"/>
            <ac:spMk id="56" creationId="{9095BC5E-A314-459F-A2F4-8A465457C569}"/>
          </ac:spMkLst>
        </pc:spChg>
        <pc:spChg chg="mod">
          <ac:chgData name="Ugo MANTEL" userId="2d5b7065-31bb-4181-a7f8-a73bf0c30211" providerId="ADAL" clId="{F05BB0D5-3454-45DC-8378-DA45B79D9A06}" dt="2020-10-02T13:04:33.036" v="1953" actId="790"/>
          <ac:spMkLst>
            <pc:docMk/>
            <pc:sldMk cId="3989485105" sldId="7052"/>
            <ac:spMk id="57" creationId="{52A88395-F427-4D51-91E6-C494DECFFCE7}"/>
          </ac:spMkLst>
        </pc:spChg>
        <pc:spChg chg="mod">
          <ac:chgData name="Ugo MANTEL" userId="2d5b7065-31bb-4181-a7f8-a73bf0c30211" providerId="ADAL" clId="{F05BB0D5-3454-45DC-8378-DA45B79D9A06}" dt="2020-10-02T13:04:33.037" v="1954" actId="790"/>
          <ac:spMkLst>
            <pc:docMk/>
            <pc:sldMk cId="3989485105" sldId="7052"/>
            <ac:spMk id="58" creationId="{8F449D3F-282A-4C8E-8B72-5568F3F1FD67}"/>
          </ac:spMkLst>
        </pc:spChg>
        <pc:spChg chg="mod">
          <ac:chgData name="Ugo MANTEL" userId="2d5b7065-31bb-4181-a7f8-a73bf0c30211" providerId="ADAL" clId="{F05BB0D5-3454-45DC-8378-DA45B79D9A06}" dt="2020-10-02T13:04:33.016" v="1935" actId="790"/>
          <ac:spMkLst>
            <pc:docMk/>
            <pc:sldMk cId="3989485105" sldId="7052"/>
            <ac:spMk id="61" creationId="{6ED1D969-D34C-4557-9A0A-8B46B39C3FC1}"/>
          </ac:spMkLst>
        </pc:spChg>
        <pc:spChg chg="mod">
          <ac:chgData name="Ugo MANTEL" userId="2d5b7065-31bb-4181-a7f8-a73bf0c30211" providerId="ADAL" clId="{F05BB0D5-3454-45DC-8378-DA45B79D9A06}" dt="2020-10-02T13:04:33.038" v="1955" actId="790"/>
          <ac:spMkLst>
            <pc:docMk/>
            <pc:sldMk cId="3989485105" sldId="7052"/>
            <ac:spMk id="62" creationId="{F0FBE6A4-FA16-42D9-A59F-299921BD22E9}"/>
          </ac:spMkLst>
        </pc:spChg>
        <pc:spChg chg="mod">
          <ac:chgData name="Ugo MANTEL" userId="2d5b7065-31bb-4181-a7f8-a73bf0c30211" providerId="ADAL" clId="{F05BB0D5-3454-45DC-8378-DA45B79D9A06}" dt="2020-10-02T13:04:33.044" v="1960" actId="790"/>
          <ac:spMkLst>
            <pc:docMk/>
            <pc:sldMk cId="3989485105" sldId="7052"/>
            <ac:spMk id="64" creationId="{36C26947-885E-4CF2-9380-E2E5974FEEF4}"/>
          </ac:spMkLst>
        </pc:spChg>
        <pc:spChg chg="mod">
          <ac:chgData name="Ugo MANTEL" userId="2d5b7065-31bb-4181-a7f8-a73bf0c30211" providerId="ADAL" clId="{F05BB0D5-3454-45DC-8378-DA45B79D9A06}" dt="2020-10-02T13:04:33.040" v="1956" actId="790"/>
          <ac:spMkLst>
            <pc:docMk/>
            <pc:sldMk cId="3989485105" sldId="7052"/>
            <ac:spMk id="65" creationId="{C275C88D-1ABF-4963-A280-2C8561BBCF60}"/>
          </ac:spMkLst>
        </pc:spChg>
        <pc:spChg chg="mod">
          <ac:chgData name="Ugo MANTEL" userId="2d5b7065-31bb-4181-a7f8-a73bf0c30211" providerId="ADAL" clId="{F05BB0D5-3454-45DC-8378-DA45B79D9A06}" dt="2020-10-02T13:04:33.040" v="1957" actId="790"/>
          <ac:spMkLst>
            <pc:docMk/>
            <pc:sldMk cId="3989485105" sldId="7052"/>
            <ac:spMk id="69" creationId="{51CC9843-8661-47BA-A054-1FE9A931C2E5}"/>
          </ac:spMkLst>
        </pc:spChg>
        <pc:spChg chg="mod">
          <ac:chgData name="Ugo MANTEL" userId="2d5b7065-31bb-4181-a7f8-a73bf0c30211" providerId="ADAL" clId="{F05BB0D5-3454-45DC-8378-DA45B79D9A06}" dt="2020-10-02T13:04:33.045" v="1962" actId="790"/>
          <ac:spMkLst>
            <pc:docMk/>
            <pc:sldMk cId="3989485105" sldId="7052"/>
            <ac:spMk id="70" creationId="{CA5CD320-21C2-49AF-A0EE-FA684D495C2F}"/>
          </ac:spMkLst>
        </pc:spChg>
        <pc:spChg chg="mod">
          <ac:chgData name="Ugo MANTEL" userId="2d5b7065-31bb-4181-a7f8-a73bf0c30211" providerId="ADAL" clId="{F05BB0D5-3454-45DC-8378-DA45B79D9A06}" dt="2020-10-02T13:04:33.043" v="1959" actId="790"/>
          <ac:spMkLst>
            <pc:docMk/>
            <pc:sldMk cId="3989485105" sldId="7052"/>
            <ac:spMk id="71" creationId="{AF65E28F-923D-47F4-9CFA-35F436C51AC1}"/>
          </ac:spMkLst>
        </pc:spChg>
        <pc:spChg chg="mod">
          <ac:chgData name="Ugo MANTEL" userId="2d5b7065-31bb-4181-a7f8-a73bf0c30211" providerId="ADAL" clId="{F05BB0D5-3454-45DC-8378-DA45B79D9A06}" dt="2020-10-02T13:04:33.046" v="1963" actId="790"/>
          <ac:spMkLst>
            <pc:docMk/>
            <pc:sldMk cId="3989485105" sldId="7052"/>
            <ac:spMk id="72" creationId="{4B75DDA7-E54C-49BD-802D-232FA1BF75C8}"/>
          </ac:spMkLst>
        </pc:spChg>
        <pc:spChg chg="mod">
          <ac:chgData name="Ugo MANTEL" userId="2d5b7065-31bb-4181-a7f8-a73bf0c30211" providerId="ADAL" clId="{F05BB0D5-3454-45DC-8378-DA45B79D9A06}" dt="2020-10-02T13:04:33.047" v="1964" actId="790"/>
          <ac:spMkLst>
            <pc:docMk/>
            <pc:sldMk cId="3989485105" sldId="7052"/>
            <ac:spMk id="73" creationId="{56C81D2A-FAF9-4FBF-8AB4-870F849663A9}"/>
          </ac:spMkLst>
        </pc:spChg>
        <pc:spChg chg="mod">
          <ac:chgData name="Ugo MANTEL" userId="2d5b7065-31bb-4181-a7f8-a73bf0c30211" providerId="ADAL" clId="{F05BB0D5-3454-45DC-8378-DA45B79D9A06}" dt="2020-10-02T13:04:33.048" v="1965" actId="790"/>
          <ac:spMkLst>
            <pc:docMk/>
            <pc:sldMk cId="3989485105" sldId="7052"/>
            <ac:spMk id="75" creationId="{3E7AC06B-133A-45F3-9312-8D53624D5C3B}"/>
          </ac:spMkLst>
        </pc:spChg>
        <pc:spChg chg="mod">
          <ac:chgData name="Ugo MANTEL" userId="2d5b7065-31bb-4181-a7f8-a73bf0c30211" providerId="ADAL" clId="{F05BB0D5-3454-45DC-8378-DA45B79D9A06}" dt="2020-10-02T13:04:33.045" v="1961" actId="790"/>
          <ac:spMkLst>
            <pc:docMk/>
            <pc:sldMk cId="3989485105" sldId="7052"/>
            <ac:spMk id="84" creationId="{67890DD4-AFCD-4274-867A-19E4B9E5F4C1}"/>
          </ac:spMkLst>
        </pc:spChg>
        <pc:spChg chg="mod">
          <ac:chgData name="Ugo MANTEL" userId="2d5b7065-31bb-4181-a7f8-a73bf0c30211" providerId="ADAL" clId="{F05BB0D5-3454-45DC-8378-DA45B79D9A06}" dt="2020-10-02T13:04:33.031" v="1947" actId="790"/>
          <ac:spMkLst>
            <pc:docMk/>
            <pc:sldMk cId="3989485105" sldId="7052"/>
            <ac:spMk id="93" creationId="{EA6C355F-6456-4DF3-9E22-F6954A58D7FE}"/>
          </ac:spMkLst>
        </pc:spChg>
        <pc:spChg chg="mod">
          <ac:chgData name="Ugo MANTEL" userId="2d5b7065-31bb-4181-a7f8-a73bf0c30211" providerId="ADAL" clId="{F05BB0D5-3454-45DC-8378-DA45B79D9A06}" dt="2020-10-02T13:04:33.031" v="1948" actId="790"/>
          <ac:spMkLst>
            <pc:docMk/>
            <pc:sldMk cId="3989485105" sldId="7052"/>
            <ac:spMk id="101" creationId="{856C16A3-D462-44F7-8476-44F7D55BC75F}"/>
          </ac:spMkLst>
        </pc:spChg>
        <pc:spChg chg="mod">
          <ac:chgData name="Ugo MANTEL" userId="2d5b7065-31bb-4181-a7f8-a73bf0c30211" providerId="ADAL" clId="{F05BB0D5-3454-45DC-8378-DA45B79D9A06}" dt="2020-10-02T13:04:33.032" v="1949" actId="790"/>
          <ac:spMkLst>
            <pc:docMk/>
            <pc:sldMk cId="3989485105" sldId="7052"/>
            <ac:spMk id="107" creationId="{6C184948-049B-49AF-B064-DE29FFAFA836}"/>
          </ac:spMkLst>
        </pc:spChg>
        <pc:spChg chg="mod">
          <ac:chgData name="Ugo MANTEL" userId="2d5b7065-31bb-4181-a7f8-a73bf0c30211" providerId="ADAL" clId="{F05BB0D5-3454-45DC-8378-DA45B79D9A06}" dt="2020-10-02T13:04:33.029" v="1945" actId="790"/>
          <ac:spMkLst>
            <pc:docMk/>
            <pc:sldMk cId="3989485105" sldId="7052"/>
            <ac:spMk id="119" creationId="{53C583FD-2AF6-4047-97FD-3891A280B3EA}"/>
          </ac:spMkLst>
        </pc:spChg>
        <pc:spChg chg="mod">
          <ac:chgData name="Ugo MANTEL" userId="2d5b7065-31bb-4181-a7f8-a73bf0c30211" providerId="ADAL" clId="{F05BB0D5-3454-45DC-8378-DA45B79D9A06}" dt="2020-10-02T13:04:33.014" v="1932" actId="790"/>
          <ac:spMkLst>
            <pc:docMk/>
            <pc:sldMk cId="3989485105" sldId="7052"/>
            <ac:spMk id="121" creationId="{C4436ADD-20DF-4625-A001-4D9DB1B540E8}"/>
          </ac:spMkLst>
        </pc:spChg>
        <pc:spChg chg="mod">
          <ac:chgData name="Ugo MANTEL" userId="2d5b7065-31bb-4181-a7f8-a73bf0c30211" providerId="ADAL" clId="{F05BB0D5-3454-45DC-8378-DA45B79D9A06}" dt="2020-10-02T13:04:33.026" v="1941" actId="790"/>
          <ac:spMkLst>
            <pc:docMk/>
            <pc:sldMk cId="3989485105" sldId="7052"/>
            <ac:spMk id="125" creationId="{E322760F-5E2A-4E10-8F1A-B75329FA02A7}"/>
          </ac:spMkLst>
        </pc:spChg>
        <pc:spChg chg="mod">
          <ac:chgData name="Ugo MANTEL" userId="2d5b7065-31bb-4181-a7f8-a73bf0c30211" providerId="ADAL" clId="{F05BB0D5-3454-45DC-8378-DA45B79D9A06}" dt="2020-10-02T13:04:33.014" v="1933" actId="790"/>
          <ac:spMkLst>
            <pc:docMk/>
            <pc:sldMk cId="3989485105" sldId="7052"/>
            <ac:spMk id="128" creationId="{1B8C62D3-A2EB-4543-9D36-CA6830BD83F8}"/>
          </ac:spMkLst>
        </pc:spChg>
        <pc:spChg chg="mod">
          <ac:chgData name="Ugo MANTEL" userId="2d5b7065-31bb-4181-a7f8-a73bf0c30211" providerId="ADAL" clId="{F05BB0D5-3454-45DC-8378-DA45B79D9A06}" dt="2020-10-02T13:04:33.015" v="1934" actId="790"/>
          <ac:spMkLst>
            <pc:docMk/>
            <pc:sldMk cId="3989485105" sldId="7052"/>
            <ac:spMk id="129" creationId="{CC254C3E-D7B2-4658-AD8A-BEA831411C4D}"/>
          </ac:spMkLst>
        </pc:spChg>
        <pc:spChg chg="mod">
          <ac:chgData name="Ugo MANTEL" userId="2d5b7065-31bb-4181-a7f8-a73bf0c30211" providerId="ADAL" clId="{F05BB0D5-3454-45DC-8378-DA45B79D9A06}" dt="2020-10-02T13:04:33.011" v="1930" actId="790"/>
          <ac:spMkLst>
            <pc:docMk/>
            <pc:sldMk cId="3989485105" sldId="7052"/>
            <ac:spMk id="137" creationId="{F03136AD-763F-4D0B-9C02-89D15EAE83F3}"/>
          </ac:spMkLst>
        </pc:spChg>
        <pc:spChg chg="mod">
          <ac:chgData name="Ugo MANTEL" userId="2d5b7065-31bb-4181-a7f8-a73bf0c30211" providerId="ADAL" clId="{F05BB0D5-3454-45DC-8378-DA45B79D9A06}" dt="2020-10-02T13:04:33.042" v="1958" actId="790"/>
          <ac:spMkLst>
            <pc:docMk/>
            <pc:sldMk cId="3989485105" sldId="7052"/>
            <ac:spMk id="139" creationId="{75CC1791-0479-40C3-B805-4CB0F788187D}"/>
          </ac:spMkLst>
        </pc:spChg>
      </pc:sldChg>
      <pc:sldChg chg="modSp mod">
        <pc:chgData name="Ugo MANTEL" userId="2d5b7065-31bb-4181-a7f8-a73bf0c30211" providerId="ADAL" clId="{F05BB0D5-3454-45DC-8378-DA45B79D9A06}" dt="2020-10-02T13:04:34.489" v="3376" actId="790"/>
        <pc:sldMkLst>
          <pc:docMk/>
          <pc:sldMk cId="659755073" sldId="7059"/>
        </pc:sldMkLst>
        <pc:spChg chg="mod">
          <ac:chgData name="Ugo MANTEL" userId="2d5b7065-31bb-4181-a7f8-a73bf0c30211" providerId="ADAL" clId="{F05BB0D5-3454-45DC-8378-DA45B79D9A06}" dt="2020-10-02T13:04:34.441" v="3320" actId="790"/>
          <ac:spMkLst>
            <pc:docMk/>
            <pc:sldMk cId="659755073" sldId="7059"/>
            <ac:spMk id="21" creationId="{FCCE2A74-0914-49FA-A9F8-4CA92AF47D8B}"/>
          </ac:spMkLst>
        </pc:spChg>
        <pc:spChg chg="mod">
          <ac:chgData name="Ugo MANTEL" userId="2d5b7065-31bb-4181-a7f8-a73bf0c30211" providerId="ADAL" clId="{F05BB0D5-3454-45DC-8378-DA45B79D9A06}" dt="2020-10-02T13:04:34.444" v="3322" actId="790"/>
          <ac:spMkLst>
            <pc:docMk/>
            <pc:sldMk cId="659755073" sldId="7059"/>
            <ac:spMk id="23" creationId="{4BE70A14-B636-4FD0-B19E-A770980674ED}"/>
          </ac:spMkLst>
        </pc:spChg>
        <pc:spChg chg="mod">
          <ac:chgData name="Ugo MANTEL" userId="2d5b7065-31bb-4181-a7f8-a73bf0c30211" providerId="ADAL" clId="{F05BB0D5-3454-45DC-8378-DA45B79D9A06}" dt="2020-10-02T13:04:34.444" v="3323" actId="790"/>
          <ac:spMkLst>
            <pc:docMk/>
            <pc:sldMk cId="659755073" sldId="7059"/>
            <ac:spMk id="104" creationId="{8DA05D07-A81B-4298-8931-F5808D6DF974}"/>
          </ac:spMkLst>
        </pc:spChg>
        <pc:spChg chg="mod">
          <ac:chgData name="Ugo MANTEL" userId="2d5b7065-31bb-4181-a7f8-a73bf0c30211" providerId="ADAL" clId="{F05BB0D5-3454-45DC-8378-DA45B79D9A06}" dt="2020-10-02T13:04:34.445" v="3324" actId="790"/>
          <ac:spMkLst>
            <pc:docMk/>
            <pc:sldMk cId="659755073" sldId="7059"/>
            <ac:spMk id="106" creationId="{59E42056-3687-4C97-A3AE-0D9D74AA79C7}"/>
          </ac:spMkLst>
        </pc:spChg>
        <pc:spChg chg="mod">
          <ac:chgData name="Ugo MANTEL" userId="2d5b7065-31bb-4181-a7f8-a73bf0c30211" providerId="ADAL" clId="{F05BB0D5-3454-45DC-8378-DA45B79D9A06}" dt="2020-10-02T13:04:34.446" v="3325" actId="790"/>
          <ac:spMkLst>
            <pc:docMk/>
            <pc:sldMk cId="659755073" sldId="7059"/>
            <ac:spMk id="107" creationId="{42FBE62F-77E8-46F8-B7DB-1B7A003D1AD4}"/>
          </ac:spMkLst>
        </pc:spChg>
        <pc:spChg chg="mod">
          <ac:chgData name="Ugo MANTEL" userId="2d5b7065-31bb-4181-a7f8-a73bf0c30211" providerId="ADAL" clId="{F05BB0D5-3454-45DC-8378-DA45B79D9A06}" dt="2020-10-02T13:04:34.446" v="3326" actId="790"/>
          <ac:spMkLst>
            <pc:docMk/>
            <pc:sldMk cId="659755073" sldId="7059"/>
            <ac:spMk id="110" creationId="{DFE2EF42-FB90-4D20-9B70-F11751A84D8E}"/>
          </ac:spMkLst>
        </pc:spChg>
        <pc:spChg chg="mod">
          <ac:chgData name="Ugo MANTEL" userId="2d5b7065-31bb-4181-a7f8-a73bf0c30211" providerId="ADAL" clId="{F05BB0D5-3454-45DC-8378-DA45B79D9A06}" dt="2020-10-02T13:04:34.447" v="3327" actId="790"/>
          <ac:spMkLst>
            <pc:docMk/>
            <pc:sldMk cId="659755073" sldId="7059"/>
            <ac:spMk id="127" creationId="{40000148-3F71-485A-AEE8-E959B8F20C7E}"/>
          </ac:spMkLst>
        </pc:spChg>
        <pc:spChg chg="mod">
          <ac:chgData name="Ugo MANTEL" userId="2d5b7065-31bb-4181-a7f8-a73bf0c30211" providerId="ADAL" clId="{F05BB0D5-3454-45DC-8378-DA45B79D9A06}" dt="2020-10-02T13:04:34.443" v="3321" actId="790"/>
          <ac:spMkLst>
            <pc:docMk/>
            <pc:sldMk cId="659755073" sldId="7059"/>
            <ac:spMk id="157" creationId="{3D863372-F95F-4691-81AA-E536D07E16E4}"/>
          </ac:spMkLst>
        </pc:spChg>
        <pc:spChg chg="mod">
          <ac:chgData name="Ugo MANTEL" userId="2d5b7065-31bb-4181-a7f8-a73bf0c30211" providerId="ADAL" clId="{F05BB0D5-3454-45DC-8378-DA45B79D9A06}" dt="2020-10-02T13:04:34.448" v="3328" actId="790"/>
          <ac:spMkLst>
            <pc:docMk/>
            <pc:sldMk cId="659755073" sldId="7059"/>
            <ac:spMk id="158" creationId="{F016CF25-8CC8-459E-B156-914C2BE45E7A}"/>
          </ac:spMkLst>
        </pc:spChg>
        <pc:spChg chg="mod">
          <ac:chgData name="Ugo MANTEL" userId="2d5b7065-31bb-4181-a7f8-a73bf0c30211" providerId="ADAL" clId="{F05BB0D5-3454-45DC-8378-DA45B79D9A06}" dt="2020-10-02T13:04:34.449" v="3329" actId="790"/>
          <ac:spMkLst>
            <pc:docMk/>
            <pc:sldMk cId="659755073" sldId="7059"/>
            <ac:spMk id="159" creationId="{5D2C67CC-C3A2-46F3-BF08-3DBB3494BA53}"/>
          </ac:spMkLst>
        </pc:spChg>
        <pc:spChg chg="mod">
          <ac:chgData name="Ugo MANTEL" userId="2d5b7065-31bb-4181-a7f8-a73bf0c30211" providerId="ADAL" clId="{F05BB0D5-3454-45DC-8378-DA45B79D9A06}" dt="2020-10-02T13:04:34.450" v="3330" actId="790"/>
          <ac:spMkLst>
            <pc:docMk/>
            <pc:sldMk cId="659755073" sldId="7059"/>
            <ac:spMk id="160" creationId="{890CEDBF-2ECB-48B3-BCBB-614CBEEEBB7F}"/>
          </ac:spMkLst>
        </pc:spChg>
        <pc:spChg chg="mod">
          <ac:chgData name="Ugo MANTEL" userId="2d5b7065-31bb-4181-a7f8-a73bf0c30211" providerId="ADAL" clId="{F05BB0D5-3454-45DC-8378-DA45B79D9A06}" dt="2020-10-02T13:04:34.450" v="3331" actId="790"/>
          <ac:spMkLst>
            <pc:docMk/>
            <pc:sldMk cId="659755073" sldId="7059"/>
            <ac:spMk id="162" creationId="{6F7F3001-4DD6-4B40-867B-914FB1AFDE49}"/>
          </ac:spMkLst>
        </pc:spChg>
        <pc:spChg chg="mod">
          <ac:chgData name="Ugo MANTEL" userId="2d5b7065-31bb-4181-a7f8-a73bf0c30211" providerId="ADAL" clId="{F05BB0D5-3454-45DC-8378-DA45B79D9A06}" dt="2020-10-02T13:04:34.451" v="3332" actId="790"/>
          <ac:spMkLst>
            <pc:docMk/>
            <pc:sldMk cId="659755073" sldId="7059"/>
            <ac:spMk id="165" creationId="{3ED1EF23-FF28-4018-8935-0E0BCD70837C}"/>
          </ac:spMkLst>
        </pc:spChg>
        <pc:spChg chg="mod">
          <ac:chgData name="Ugo MANTEL" userId="2d5b7065-31bb-4181-a7f8-a73bf0c30211" providerId="ADAL" clId="{F05BB0D5-3454-45DC-8378-DA45B79D9A06}" dt="2020-10-02T13:04:34.452" v="3333" actId="790"/>
          <ac:spMkLst>
            <pc:docMk/>
            <pc:sldMk cId="659755073" sldId="7059"/>
            <ac:spMk id="166" creationId="{14EB90AA-B852-4AFB-BB8D-033D1E85EBE5}"/>
          </ac:spMkLst>
        </pc:spChg>
        <pc:spChg chg="mod">
          <ac:chgData name="Ugo MANTEL" userId="2d5b7065-31bb-4181-a7f8-a73bf0c30211" providerId="ADAL" clId="{F05BB0D5-3454-45DC-8378-DA45B79D9A06}" dt="2020-10-02T13:04:34.453" v="3334" actId="790"/>
          <ac:spMkLst>
            <pc:docMk/>
            <pc:sldMk cId="659755073" sldId="7059"/>
            <ac:spMk id="167" creationId="{613313A8-E708-4D42-9E15-825671A67BE3}"/>
          </ac:spMkLst>
        </pc:spChg>
        <pc:spChg chg="mod">
          <ac:chgData name="Ugo MANTEL" userId="2d5b7065-31bb-4181-a7f8-a73bf0c30211" providerId="ADAL" clId="{F05BB0D5-3454-45DC-8378-DA45B79D9A06}" dt="2020-10-02T13:04:34.453" v="3335" actId="790"/>
          <ac:spMkLst>
            <pc:docMk/>
            <pc:sldMk cId="659755073" sldId="7059"/>
            <ac:spMk id="168" creationId="{E78B2D07-637C-45D6-8C53-1C1581B05C75}"/>
          </ac:spMkLst>
        </pc:spChg>
        <pc:spChg chg="mod">
          <ac:chgData name="Ugo MANTEL" userId="2d5b7065-31bb-4181-a7f8-a73bf0c30211" providerId="ADAL" clId="{F05BB0D5-3454-45DC-8378-DA45B79D9A06}" dt="2020-10-02T13:04:34.454" v="3336" actId="790"/>
          <ac:spMkLst>
            <pc:docMk/>
            <pc:sldMk cId="659755073" sldId="7059"/>
            <ac:spMk id="170" creationId="{F513C6F0-0468-4C94-A7A5-26390218C174}"/>
          </ac:spMkLst>
        </pc:spChg>
        <pc:spChg chg="mod">
          <ac:chgData name="Ugo MANTEL" userId="2d5b7065-31bb-4181-a7f8-a73bf0c30211" providerId="ADAL" clId="{F05BB0D5-3454-45DC-8378-DA45B79D9A06}" dt="2020-10-02T13:04:34.455" v="3337" actId="790"/>
          <ac:spMkLst>
            <pc:docMk/>
            <pc:sldMk cId="659755073" sldId="7059"/>
            <ac:spMk id="171" creationId="{6C89E003-BD7D-4EC9-A2BB-40B78756FC71}"/>
          </ac:spMkLst>
        </pc:spChg>
        <pc:spChg chg="mod">
          <ac:chgData name="Ugo MANTEL" userId="2d5b7065-31bb-4181-a7f8-a73bf0c30211" providerId="ADAL" clId="{F05BB0D5-3454-45DC-8378-DA45B79D9A06}" dt="2020-10-02T13:04:34.455" v="3338" actId="790"/>
          <ac:spMkLst>
            <pc:docMk/>
            <pc:sldMk cId="659755073" sldId="7059"/>
            <ac:spMk id="172" creationId="{93131F15-BE34-4169-8C79-FD23C8878B54}"/>
          </ac:spMkLst>
        </pc:spChg>
        <pc:spChg chg="mod">
          <ac:chgData name="Ugo MANTEL" userId="2d5b7065-31bb-4181-a7f8-a73bf0c30211" providerId="ADAL" clId="{F05BB0D5-3454-45DC-8378-DA45B79D9A06}" dt="2020-10-02T13:04:34.456" v="3339" actId="790"/>
          <ac:spMkLst>
            <pc:docMk/>
            <pc:sldMk cId="659755073" sldId="7059"/>
            <ac:spMk id="173" creationId="{3BBE6BD2-6F33-4885-B26F-0087F7DB4869}"/>
          </ac:spMkLst>
        </pc:spChg>
        <pc:spChg chg="mod">
          <ac:chgData name="Ugo MANTEL" userId="2d5b7065-31bb-4181-a7f8-a73bf0c30211" providerId="ADAL" clId="{F05BB0D5-3454-45DC-8378-DA45B79D9A06}" dt="2020-10-02T13:04:34.457" v="3340" actId="790"/>
          <ac:spMkLst>
            <pc:docMk/>
            <pc:sldMk cId="659755073" sldId="7059"/>
            <ac:spMk id="174" creationId="{DA4EA8DF-640F-426F-B82D-DD8111BA3FB0}"/>
          </ac:spMkLst>
        </pc:spChg>
        <pc:spChg chg="mod">
          <ac:chgData name="Ugo MANTEL" userId="2d5b7065-31bb-4181-a7f8-a73bf0c30211" providerId="ADAL" clId="{F05BB0D5-3454-45DC-8378-DA45B79D9A06}" dt="2020-10-02T13:04:34.457" v="3341" actId="790"/>
          <ac:spMkLst>
            <pc:docMk/>
            <pc:sldMk cId="659755073" sldId="7059"/>
            <ac:spMk id="175" creationId="{AB4AF1B1-C3C6-48A9-AEFA-B85186A5C1BE}"/>
          </ac:spMkLst>
        </pc:spChg>
        <pc:spChg chg="mod">
          <ac:chgData name="Ugo MANTEL" userId="2d5b7065-31bb-4181-a7f8-a73bf0c30211" providerId="ADAL" clId="{F05BB0D5-3454-45DC-8378-DA45B79D9A06}" dt="2020-10-02T13:04:34.458" v="3342" actId="790"/>
          <ac:spMkLst>
            <pc:docMk/>
            <pc:sldMk cId="659755073" sldId="7059"/>
            <ac:spMk id="177" creationId="{EB5611B2-2F34-483A-BE61-4A770A1CD7EC}"/>
          </ac:spMkLst>
        </pc:spChg>
        <pc:spChg chg="mod">
          <ac:chgData name="Ugo MANTEL" userId="2d5b7065-31bb-4181-a7f8-a73bf0c30211" providerId="ADAL" clId="{F05BB0D5-3454-45DC-8378-DA45B79D9A06}" dt="2020-10-02T13:04:34.459" v="3343" actId="790"/>
          <ac:spMkLst>
            <pc:docMk/>
            <pc:sldMk cId="659755073" sldId="7059"/>
            <ac:spMk id="179" creationId="{3FD2ABFD-0B90-435F-94EF-0385B7B82E07}"/>
          </ac:spMkLst>
        </pc:spChg>
        <pc:spChg chg="mod">
          <ac:chgData name="Ugo MANTEL" userId="2d5b7065-31bb-4181-a7f8-a73bf0c30211" providerId="ADAL" clId="{F05BB0D5-3454-45DC-8378-DA45B79D9A06}" dt="2020-10-02T13:04:34.460" v="3344" actId="790"/>
          <ac:spMkLst>
            <pc:docMk/>
            <pc:sldMk cId="659755073" sldId="7059"/>
            <ac:spMk id="180" creationId="{F3C144A8-6716-4ACA-A484-0EAE7975A119}"/>
          </ac:spMkLst>
        </pc:spChg>
        <pc:spChg chg="mod">
          <ac:chgData name="Ugo MANTEL" userId="2d5b7065-31bb-4181-a7f8-a73bf0c30211" providerId="ADAL" clId="{F05BB0D5-3454-45DC-8378-DA45B79D9A06}" dt="2020-10-02T13:04:34.460" v="3345" actId="790"/>
          <ac:spMkLst>
            <pc:docMk/>
            <pc:sldMk cId="659755073" sldId="7059"/>
            <ac:spMk id="181" creationId="{AC4DB34B-E653-4712-9D86-FEA1C552574B}"/>
          </ac:spMkLst>
        </pc:spChg>
        <pc:spChg chg="mod">
          <ac:chgData name="Ugo MANTEL" userId="2d5b7065-31bb-4181-a7f8-a73bf0c30211" providerId="ADAL" clId="{F05BB0D5-3454-45DC-8378-DA45B79D9A06}" dt="2020-10-02T13:04:34.461" v="3346" actId="790"/>
          <ac:spMkLst>
            <pc:docMk/>
            <pc:sldMk cId="659755073" sldId="7059"/>
            <ac:spMk id="183" creationId="{DED03CFB-700D-4E36-BFC3-D2A2E1F7C800}"/>
          </ac:spMkLst>
        </pc:spChg>
        <pc:spChg chg="mod">
          <ac:chgData name="Ugo MANTEL" userId="2d5b7065-31bb-4181-a7f8-a73bf0c30211" providerId="ADAL" clId="{F05BB0D5-3454-45DC-8378-DA45B79D9A06}" dt="2020-10-02T13:04:34.462" v="3347" actId="790"/>
          <ac:spMkLst>
            <pc:docMk/>
            <pc:sldMk cId="659755073" sldId="7059"/>
            <ac:spMk id="184" creationId="{16927871-EF96-451A-9248-C43162CF8DB3}"/>
          </ac:spMkLst>
        </pc:spChg>
        <pc:spChg chg="mod">
          <ac:chgData name="Ugo MANTEL" userId="2d5b7065-31bb-4181-a7f8-a73bf0c30211" providerId="ADAL" clId="{F05BB0D5-3454-45DC-8378-DA45B79D9A06}" dt="2020-10-02T13:04:34.462" v="3348" actId="790"/>
          <ac:spMkLst>
            <pc:docMk/>
            <pc:sldMk cId="659755073" sldId="7059"/>
            <ac:spMk id="185" creationId="{3B72AEEA-7E25-456E-9E7D-5018D86BA01A}"/>
          </ac:spMkLst>
        </pc:spChg>
        <pc:spChg chg="mod">
          <ac:chgData name="Ugo MANTEL" userId="2d5b7065-31bb-4181-a7f8-a73bf0c30211" providerId="ADAL" clId="{F05BB0D5-3454-45DC-8378-DA45B79D9A06}" dt="2020-10-02T13:04:34.463" v="3349" actId="790"/>
          <ac:spMkLst>
            <pc:docMk/>
            <pc:sldMk cId="659755073" sldId="7059"/>
            <ac:spMk id="186" creationId="{4D05203C-5ADA-4160-8AE5-A820A1C25BD6}"/>
          </ac:spMkLst>
        </pc:spChg>
        <pc:spChg chg="mod">
          <ac:chgData name="Ugo MANTEL" userId="2d5b7065-31bb-4181-a7f8-a73bf0c30211" providerId="ADAL" clId="{F05BB0D5-3454-45DC-8378-DA45B79D9A06}" dt="2020-10-02T13:04:34.463" v="3350" actId="790"/>
          <ac:spMkLst>
            <pc:docMk/>
            <pc:sldMk cId="659755073" sldId="7059"/>
            <ac:spMk id="190" creationId="{EFB54921-E92A-46BA-BF59-94022EEB94C4}"/>
          </ac:spMkLst>
        </pc:spChg>
        <pc:spChg chg="mod">
          <ac:chgData name="Ugo MANTEL" userId="2d5b7065-31bb-4181-a7f8-a73bf0c30211" providerId="ADAL" clId="{F05BB0D5-3454-45DC-8378-DA45B79D9A06}" dt="2020-10-02T13:04:34.464" v="3351" actId="790"/>
          <ac:spMkLst>
            <pc:docMk/>
            <pc:sldMk cId="659755073" sldId="7059"/>
            <ac:spMk id="193" creationId="{3FEB43FF-FAF8-46CC-A3A3-25F606EC794A}"/>
          </ac:spMkLst>
        </pc:spChg>
        <pc:spChg chg="mod">
          <ac:chgData name="Ugo MANTEL" userId="2d5b7065-31bb-4181-a7f8-a73bf0c30211" providerId="ADAL" clId="{F05BB0D5-3454-45DC-8378-DA45B79D9A06}" dt="2020-10-02T13:04:34.465" v="3352" actId="790"/>
          <ac:spMkLst>
            <pc:docMk/>
            <pc:sldMk cId="659755073" sldId="7059"/>
            <ac:spMk id="194" creationId="{D60BE7F1-F429-4B66-BF08-CB1CA77FCA3D}"/>
          </ac:spMkLst>
        </pc:spChg>
        <pc:spChg chg="mod">
          <ac:chgData name="Ugo MANTEL" userId="2d5b7065-31bb-4181-a7f8-a73bf0c30211" providerId="ADAL" clId="{F05BB0D5-3454-45DC-8378-DA45B79D9A06}" dt="2020-10-02T13:04:34.469" v="3353" actId="790"/>
          <ac:spMkLst>
            <pc:docMk/>
            <pc:sldMk cId="659755073" sldId="7059"/>
            <ac:spMk id="212" creationId="{824D6491-4EAF-4928-93E2-11792B5EDF54}"/>
          </ac:spMkLst>
        </pc:spChg>
        <pc:spChg chg="mod">
          <ac:chgData name="Ugo MANTEL" userId="2d5b7065-31bb-4181-a7f8-a73bf0c30211" providerId="ADAL" clId="{F05BB0D5-3454-45DC-8378-DA45B79D9A06}" dt="2020-10-02T13:04:34.470" v="3354" actId="790"/>
          <ac:spMkLst>
            <pc:docMk/>
            <pc:sldMk cId="659755073" sldId="7059"/>
            <ac:spMk id="215" creationId="{C3CDEC37-22A8-49B9-9685-E3C57534E2EE}"/>
          </ac:spMkLst>
        </pc:spChg>
        <pc:spChg chg="mod">
          <ac:chgData name="Ugo MANTEL" userId="2d5b7065-31bb-4181-a7f8-a73bf0c30211" providerId="ADAL" clId="{F05BB0D5-3454-45DC-8378-DA45B79D9A06}" dt="2020-10-02T13:04:34.470" v="3355" actId="790"/>
          <ac:spMkLst>
            <pc:docMk/>
            <pc:sldMk cId="659755073" sldId="7059"/>
            <ac:spMk id="218" creationId="{275C9947-B21E-4431-8FDF-58D67AA835B7}"/>
          </ac:spMkLst>
        </pc:spChg>
        <pc:spChg chg="mod">
          <ac:chgData name="Ugo MANTEL" userId="2d5b7065-31bb-4181-a7f8-a73bf0c30211" providerId="ADAL" clId="{F05BB0D5-3454-45DC-8378-DA45B79D9A06}" dt="2020-10-02T13:04:34.471" v="3356" actId="790"/>
          <ac:spMkLst>
            <pc:docMk/>
            <pc:sldMk cId="659755073" sldId="7059"/>
            <ac:spMk id="220" creationId="{6CA62E96-D2CE-4E36-B548-E66F8EC39ACE}"/>
          </ac:spMkLst>
        </pc:spChg>
        <pc:spChg chg="mod">
          <ac:chgData name="Ugo MANTEL" userId="2d5b7065-31bb-4181-a7f8-a73bf0c30211" providerId="ADAL" clId="{F05BB0D5-3454-45DC-8378-DA45B79D9A06}" dt="2020-10-02T13:04:34.472" v="3357" actId="790"/>
          <ac:spMkLst>
            <pc:docMk/>
            <pc:sldMk cId="659755073" sldId="7059"/>
            <ac:spMk id="221" creationId="{784B5EEC-96F9-4B35-B967-5D8534E691AB}"/>
          </ac:spMkLst>
        </pc:spChg>
        <pc:spChg chg="mod">
          <ac:chgData name="Ugo MANTEL" userId="2d5b7065-31bb-4181-a7f8-a73bf0c30211" providerId="ADAL" clId="{F05BB0D5-3454-45DC-8378-DA45B79D9A06}" dt="2020-10-02T13:04:34.472" v="3358" actId="790"/>
          <ac:spMkLst>
            <pc:docMk/>
            <pc:sldMk cId="659755073" sldId="7059"/>
            <ac:spMk id="222" creationId="{FA8966E5-B684-448C-9F4E-ADDFD7FBBAD0}"/>
          </ac:spMkLst>
        </pc:spChg>
        <pc:spChg chg="mod">
          <ac:chgData name="Ugo MANTEL" userId="2d5b7065-31bb-4181-a7f8-a73bf0c30211" providerId="ADAL" clId="{F05BB0D5-3454-45DC-8378-DA45B79D9A06}" dt="2020-10-02T13:04:34.473" v="3359" actId="790"/>
          <ac:spMkLst>
            <pc:docMk/>
            <pc:sldMk cId="659755073" sldId="7059"/>
            <ac:spMk id="223" creationId="{4E07C692-306B-4EF6-B26A-7DEBE84F53FC}"/>
          </ac:spMkLst>
        </pc:spChg>
        <pc:spChg chg="mod">
          <ac:chgData name="Ugo MANTEL" userId="2d5b7065-31bb-4181-a7f8-a73bf0c30211" providerId="ADAL" clId="{F05BB0D5-3454-45DC-8378-DA45B79D9A06}" dt="2020-10-02T13:04:34.474" v="3360" actId="790"/>
          <ac:spMkLst>
            <pc:docMk/>
            <pc:sldMk cId="659755073" sldId="7059"/>
            <ac:spMk id="224" creationId="{70C80ECF-BCAD-4094-8BE3-2C42DC8D660F}"/>
          </ac:spMkLst>
        </pc:spChg>
        <pc:spChg chg="mod">
          <ac:chgData name="Ugo MANTEL" userId="2d5b7065-31bb-4181-a7f8-a73bf0c30211" providerId="ADAL" clId="{F05BB0D5-3454-45DC-8378-DA45B79D9A06}" dt="2020-10-02T13:04:34.474" v="3361" actId="790"/>
          <ac:spMkLst>
            <pc:docMk/>
            <pc:sldMk cId="659755073" sldId="7059"/>
            <ac:spMk id="225" creationId="{46A17EF3-BF25-42FD-AE94-68E9A76B3E6F}"/>
          </ac:spMkLst>
        </pc:spChg>
        <pc:spChg chg="mod">
          <ac:chgData name="Ugo MANTEL" userId="2d5b7065-31bb-4181-a7f8-a73bf0c30211" providerId="ADAL" clId="{F05BB0D5-3454-45DC-8378-DA45B79D9A06}" dt="2020-10-02T13:04:34.475" v="3362" actId="790"/>
          <ac:spMkLst>
            <pc:docMk/>
            <pc:sldMk cId="659755073" sldId="7059"/>
            <ac:spMk id="226" creationId="{437394EA-E0E0-414A-A443-C8713F711338}"/>
          </ac:spMkLst>
        </pc:spChg>
        <pc:spChg chg="mod">
          <ac:chgData name="Ugo MANTEL" userId="2d5b7065-31bb-4181-a7f8-a73bf0c30211" providerId="ADAL" clId="{F05BB0D5-3454-45DC-8378-DA45B79D9A06}" dt="2020-10-02T13:04:34.476" v="3363" actId="790"/>
          <ac:spMkLst>
            <pc:docMk/>
            <pc:sldMk cId="659755073" sldId="7059"/>
            <ac:spMk id="227" creationId="{59C3D538-3BB2-4AE8-84F7-B2F720C2968D}"/>
          </ac:spMkLst>
        </pc:spChg>
        <pc:spChg chg="mod">
          <ac:chgData name="Ugo MANTEL" userId="2d5b7065-31bb-4181-a7f8-a73bf0c30211" providerId="ADAL" clId="{F05BB0D5-3454-45DC-8378-DA45B79D9A06}" dt="2020-10-02T13:04:34.476" v="3364" actId="790"/>
          <ac:spMkLst>
            <pc:docMk/>
            <pc:sldMk cId="659755073" sldId="7059"/>
            <ac:spMk id="230" creationId="{ECB1F766-EE25-4434-9A0B-BAAEAA3AB6FC}"/>
          </ac:spMkLst>
        </pc:spChg>
        <pc:spChg chg="mod">
          <ac:chgData name="Ugo MANTEL" userId="2d5b7065-31bb-4181-a7f8-a73bf0c30211" providerId="ADAL" clId="{F05BB0D5-3454-45DC-8378-DA45B79D9A06}" dt="2020-10-02T13:04:34.477" v="3365" actId="790"/>
          <ac:spMkLst>
            <pc:docMk/>
            <pc:sldMk cId="659755073" sldId="7059"/>
            <ac:spMk id="231" creationId="{67A90DF4-CA11-47CE-880B-47A55CACEE52}"/>
          </ac:spMkLst>
        </pc:spChg>
        <pc:spChg chg="mod">
          <ac:chgData name="Ugo MANTEL" userId="2d5b7065-31bb-4181-a7f8-a73bf0c30211" providerId="ADAL" clId="{F05BB0D5-3454-45DC-8378-DA45B79D9A06}" dt="2020-10-02T13:04:34.478" v="3366" actId="790"/>
          <ac:spMkLst>
            <pc:docMk/>
            <pc:sldMk cId="659755073" sldId="7059"/>
            <ac:spMk id="233" creationId="{C2905768-456D-4588-A84A-97ECF5F1E111}"/>
          </ac:spMkLst>
        </pc:spChg>
        <pc:spChg chg="mod">
          <ac:chgData name="Ugo MANTEL" userId="2d5b7065-31bb-4181-a7f8-a73bf0c30211" providerId="ADAL" clId="{F05BB0D5-3454-45DC-8378-DA45B79D9A06}" dt="2020-10-02T13:04:34.478" v="3367" actId="790"/>
          <ac:spMkLst>
            <pc:docMk/>
            <pc:sldMk cId="659755073" sldId="7059"/>
            <ac:spMk id="234" creationId="{571C786D-2DAE-4A3B-8D5C-8D3CB56E55D3}"/>
          </ac:spMkLst>
        </pc:spChg>
        <pc:spChg chg="mod">
          <ac:chgData name="Ugo MANTEL" userId="2d5b7065-31bb-4181-a7f8-a73bf0c30211" providerId="ADAL" clId="{F05BB0D5-3454-45DC-8378-DA45B79D9A06}" dt="2020-10-02T13:04:34.479" v="3368" actId="790"/>
          <ac:spMkLst>
            <pc:docMk/>
            <pc:sldMk cId="659755073" sldId="7059"/>
            <ac:spMk id="239" creationId="{8BB0FC62-D1FC-449E-8E04-7D24C920B5E4}"/>
          </ac:spMkLst>
        </pc:spChg>
        <pc:spChg chg="mod">
          <ac:chgData name="Ugo MANTEL" userId="2d5b7065-31bb-4181-a7f8-a73bf0c30211" providerId="ADAL" clId="{F05BB0D5-3454-45DC-8378-DA45B79D9A06}" dt="2020-10-02T13:04:34.480" v="3369" actId="790"/>
          <ac:spMkLst>
            <pc:docMk/>
            <pc:sldMk cId="659755073" sldId="7059"/>
            <ac:spMk id="247" creationId="{7E402868-D58F-4E16-81D9-87D15AAB7A41}"/>
          </ac:spMkLst>
        </pc:spChg>
        <pc:spChg chg="mod">
          <ac:chgData name="Ugo MANTEL" userId="2d5b7065-31bb-4181-a7f8-a73bf0c30211" providerId="ADAL" clId="{F05BB0D5-3454-45DC-8378-DA45B79D9A06}" dt="2020-10-02T13:04:34.482" v="3370" actId="790"/>
          <ac:spMkLst>
            <pc:docMk/>
            <pc:sldMk cId="659755073" sldId="7059"/>
            <ac:spMk id="248" creationId="{A8E1AE40-657F-41DB-B827-601C9890CCB5}"/>
          </ac:spMkLst>
        </pc:spChg>
        <pc:spChg chg="mod">
          <ac:chgData name="Ugo MANTEL" userId="2d5b7065-31bb-4181-a7f8-a73bf0c30211" providerId="ADAL" clId="{F05BB0D5-3454-45DC-8378-DA45B79D9A06}" dt="2020-10-02T13:04:34.483" v="3371" actId="790"/>
          <ac:spMkLst>
            <pc:docMk/>
            <pc:sldMk cId="659755073" sldId="7059"/>
            <ac:spMk id="249" creationId="{46FA2988-C248-4387-8D81-CFF0FA5696FB}"/>
          </ac:spMkLst>
        </pc:spChg>
        <pc:spChg chg="mod">
          <ac:chgData name="Ugo MANTEL" userId="2d5b7065-31bb-4181-a7f8-a73bf0c30211" providerId="ADAL" clId="{F05BB0D5-3454-45DC-8378-DA45B79D9A06}" dt="2020-10-02T13:04:34.484" v="3372" actId="790"/>
          <ac:spMkLst>
            <pc:docMk/>
            <pc:sldMk cId="659755073" sldId="7059"/>
            <ac:spMk id="250" creationId="{01A2F0C1-3330-4E8A-AE52-E90EDC972A50}"/>
          </ac:spMkLst>
        </pc:spChg>
        <pc:spChg chg="mod">
          <ac:chgData name="Ugo MANTEL" userId="2d5b7065-31bb-4181-a7f8-a73bf0c30211" providerId="ADAL" clId="{F05BB0D5-3454-45DC-8378-DA45B79D9A06}" dt="2020-10-02T13:04:34.485" v="3373" actId="790"/>
          <ac:spMkLst>
            <pc:docMk/>
            <pc:sldMk cId="659755073" sldId="7059"/>
            <ac:spMk id="251" creationId="{4455E638-E9EF-4F3C-B119-B048BF292A0F}"/>
          </ac:spMkLst>
        </pc:spChg>
        <pc:spChg chg="mod">
          <ac:chgData name="Ugo MANTEL" userId="2d5b7065-31bb-4181-a7f8-a73bf0c30211" providerId="ADAL" clId="{F05BB0D5-3454-45DC-8378-DA45B79D9A06}" dt="2020-10-02T13:04:34.486" v="3374" actId="790"/>
          <ac:spMkLst>
            <pc:docMk/>
            <pc:sldMk cId="659755073" sldId="7059"/>
            <ac:spMk id="252" creationId="{53C71C90-2C71-4091-A1EB-1E0D051FE238}"/>
          </ac:spMkLst>
        </pc:spChg>
        <pc:spChg chg="mod">
          <ac:chgData name="Ugo MANTEL" userId="2d5b7065-31bb-4181-a7f8-a73bf0c30211" providerId="ADAL" clId="{F05BB0D5-3454-45DC-8378-DA45B79D9A06}" dt="2020-10-02T13:04:34.487" v="3375" actId="790"/>
          <ac:spMkLst>
            <pc:docMk/>
            <pc:sldMk cId="659755073" sldId="7059"/>
            <ac:spMk id="253" creationId="{C707FA94-E038-4709-BC8A-FA31C6B4C5D1}"/>
          </ac:spMkLst>
        </pc:spChg>
        <pc:spChg chg="mod">
          <ac:chgData name="Ugo MANTEL" userId="2d5b7065-31bb-4181-a7f8-a73bf0c30211" providerId="ADAL" clId="{F05BB0D5-3454-45DC-8378-DA45B79D9A06}" dt="2020-10-02T13:04:34.489" v="3376" actId="790"/>
          <ac:spMkLst>
            <pc:docMk/>
            <pc:sldMk cId="659755073" sldId="7059"/>
            <ac:spMk id="257" creationId="{91A1B468-D5F2-47EF-B72B-1A21B947381E}"/>
          </ac:spMkLst>
        </pc:spChg>
      </pc:sldChg>
      <pc:sldChg chg="modSp mod">
        <pc:chgData name="Ugo MANTEL" userId="2d5b7065-31bb-4181-a7f8-a73bf0c30211" providerId="ADAL" clId="{F05BB0D5-3454-45DC-8378-DA45B79D9A06}" dt="2020-10-02T13:04:34.944" v="3889" actId="790"/>
        <pc:sldMkLst>
          <pc:docMk/>
          <pc:sldMk cId="3758819461" sldId="7062"/>
        </pc:sldMkLst>
        <pc:spChg chg="mod">
          <ac:chgData name="Ugo MANTEL" userId="2d5b7065-31bb-4181-a7f8-a73bf0c30211" providerId="ADAL" clId="{F05BB0D5-3454-45DC-8378-DA45B79D9A06}" dt="2020-10-02T13:04:34.868" v="3769" actId="790"/>
          <ac:spMkLst>
            <pc:docMk/>
            <pc:sldMk cId="3758819461" sldId="7062"/>
            <ac:spMk id="2" creationId="{D4764F8F-42C5-4348-8DF2-6E21334FCBB8}"/>
          </ac:spMkLst>
        </pc:spChg>
        <pc:spChg chg="mod">
          <ac:chgData name="Ugo MANTEL" userId="2d5b7065-31bb-4181-a7f8-a73bf0c30211" providerId="ADAL" clId="{F05BB0D5-3454-45DC-8378-DA45B79D9A06}" dt="2020-10-02T13:04:34.865" v="3767" actId="790"/>
          <ac:spMkLst>
            <pc:docMk/>
            <pc:sldMk cId="3758819461" sldId="7062"/>
            <ac:spMk id="3" creationId="{E9385B8F-9BE1-4E76-BB14-24714B10F2EA}"/>
          </ac:spMkLst>
        </pc:spChg>
        <pc:spChg chg="mod">
          <ac:chgData name="Ugo MANTEL" userId="2d5b7065-31bb-4181-a7f8-a73bf0c30211" providerId="ADAL" clId="{F05BB0D5-3454-45DC-8378-DA45B79D9A06}" dt="2020-10-02T13:04:34.924" v="3857" actId="790"/>
          <ac:spMkLst>
            <pc:docMk/>
            <pc:sldMk cId="3758819461" sldId="7062"/>
            <ac:spMk id="4" creationId="{FCB82714-5C70-45D1-B89C-71AB1D8A6E5D}"/>
          </ac:spMkLst>
        </pc:spChg>
        <pc:spChg chg="mod">
          <ac:chgData name="Ugo MANTEL" userId="2d5b7065-31bb-4181-a7f8-a73bf0c30211" providerId="ADAL" clId="{F05BB0D5-3454-45DC-8378-DA45B79D9A06}" dt="2020-10-02T13:04:34.924" v="3858" actId="790"/>
          <ac:spMkLst>
            <pc:docMk/>
            <pc:sldMk cId="3758819461" sldId="7062"/>
            <ac:spMk id="5" creationId="{636BD95F-7BE4-4362-92F7-EDF7D249DC79}"/>
          </ac:spMkLst>
        </pc:spChg>
        <pc:spChg chg="mod">
          <ac:chgData name="Ugo MANTEL" userId="2d5b7065-31bb-4181-a7f8-a73bf0c30211" providerId="ADAL" clId="{F05BB0D5-3454-45DC-8378-DA45B79D9A06}" dt="2020-10-02T13:04:34.869" v="3770" actId="790"/>
          <ac:spMkLst>
            <pc:docMk/>
            <pc:sldMk cId="3758819461" sldId="7062"/>
            <ac:spMk id="9" creationId="{90F5C331-5229-44DC-8968-9742E0B316F3}"/>
          </ac:spMkLst>
        </pc:spChg>
        <pc:spChg chg="mod">
          <ac:chgData name="Ugo MANTEL" userId="2d5b7065-31bb-4181-a7f8-a73bf0c30211" providerId="ADAL" clId="{F05BB0D5-3454-45DC-8378-DA45B79D9A06}" dt="2020-10-02T13:04:34.873" v="3771" actId="790"/>
          <ac:spMkLst>
            <pc:docMk/>
            <pc:sldMk cId="3758819461" sldId="7062"/>
            <ac:spMk id="46" creationId="{0DCA7B07-46A8-4103-8735-35697202D62C}"/>
          </ac:spMkLst>
        </pc:spChg>
        <pc:spChg chg="mod">
          <ac:chgData name="Ugo MANTEL" userId="2d5b7065-31bb-4181-a7f8-a73bf0c30211" providerId="ADAL" clId="{F05BB0D5-3454-45DC-8378-DA45B79D9A06}" dt="2020-10-02T13:04:34.875" v="3773" actId="790"/>
          <ac:spMkLst>
            <pc:docMk/>
            <pc:sldMk cId="3758819461" sldId="7062"/>
            <ac:spMk id="50" creationId="{946767F7-2747-4F24-9D17-D647A04B1F46}"/>
          </ac:spMkLst>
        </pc:spChg>
        <pc:spChg chg="mod">
          <ac:chgData name="Ugo MANTEL" userId="2d5b7065-31bb-4181-a7f8-a73bf0c30211" providerId="ADAL" clId="{F05BB0D5-3454-45DC-8378-DA45B79D9A06}" dt="2020-10-02T13:04:34.875" v="3774" actId="790"/>
          <ac:spMkLst>
            <pc:docMk/>
            <pc:sldMk cId="3758819461" sldId="7062"/>
            <ac:spMk id="51" creationId="{02AAC6E0-7E57-4294-9519-7A2F13D37716}"/>
          </ac:spMkLst>
        </pc:spChg>
        <pc:spChg chg="mod">
          <ac:chgData name="Ugo MANTEL" userId="2d5b7065-31bb-4181-a7f8-a73bf0c30211" providerId="ADAL" clId="{F05BB0D5-3454-45DC-8378-DA45B79D9A06}" dt="2020-10-02T13:04:34.874" v="3772" actId="790"/>
          <ac:spMkLst>
            <pc:docMk/>
            <pc:sldMk cId="3758819461" sldId="7062"/>
            <ac:spMk id="52" creationId="{677C3747-81D6-4D0C-A4EA-E280686663CC}"/>
          </ac:spMkLst>
        </pc:spChg>
        <pc:spChg chg="mod">
          <ac:chgData name="Ugo MANTEL" userId="2d5b7065-31bb-4181-a7f8-a73bf0c30211" providerId="ADAL" clId="{F05BB0D5-3454-45DC-8378-DA45B79D9A06}" dt="2020-10-02T13:04:34.864" v="3766" actId="790"/>
          <ac:spMkLst>
            <pc:docMk/>
            <pc:sldMk cId="3758819461" sldId="7062"/>
            <ac:spMk id="53" creationId="{41F7CDCC-5BCE-4CBD-B748-8AB787583F1D}"/>
          </ac:spMkLst>
        </pc:spChg>
        <pc:spChg chg="mod">
          <ac:chgData name="Ugo MANTEL" userId="2d5b7065-31bb-4181-a7f8-a73bf0c30211" providerId="ADAL" clId="{F05BB0D5-3454-45DC-8378-DA45B79D9A06}" dt="2020-10-02T13:04:34.876" v="3775" actId="790"/>
          <ac:spMkLst>
            <pc:docMk/>
            <pc:sldMk cId="3758819461" sldId="7062"/>
            <ac:spMk id="54" creationId="{297558A3-6EF5-4551-92F4-AA12589B0C5D}"/>
          </ac:spMkLst>
        </pc:spChg>
        <pc:spChg chg="mod">
          <ac:chgData name="Ugo MANTEL" userId="2d5b7065-31bb-4181-a7f8-a73bf0c30211" providerId="ADAL" clId="{F05BB0D5-3454-45DC-8378-DA45B79D9A06}" dt="2020-10-02T13:04:34.877" v="3776" actId="790"/>
          <ac:spMkLst>
            <pc:docMk/>
            <pc:sldMk cId="3758819461" sldId="7062"/>
            <ac:spMk id="57" creationId="{A15CF46A-75B8-4035-869E-396AB432C1B2}"/>
          </ac:spMkLst>
        </pc:spChg>
        <pc:spChg chg="mod">
          <ac:chgData name="Ugo MANTEL" userId="2d5b7065-31bb-4181-a7f8-a73bf0c30211" providerId="ADAL" clId="{F05BB0D5-3454-45DC-8378-DA45B79D9A06}" dt="2020-10-02T13:04:34.877" v="3777" actId="790"/>
          <ac:spMkLst>
            <pc:docMk/>
            <pc:sldMk cId="3758819461" sldId="7062"/>
            <ac:spMk id="67" creationId="{766714FA-3DEA-425B-8135-B68A03542343}"/>
          </ac:spMkLst>
        </pc:spChg>
        <pc:spChg chg="mod">
          <ac:chgData name="Ugo MANTEL" userId="2d5b7065-31bb-4181-a7f8-a73bf0c30211" providerId="ADAL" clId="{F05BB0D5-3454-45DC-8378-DA45B79D9A06}" dt="2020-10-02T13:04:34.878" v="3778" actId="790"/>
          <ac:spMkLst>
            <pc:docMk/>
            <pc:sldMk cId="3758819461" sldId="7062"/>
            <ac:spMk id="78" creationId="{2509B51C-1745-406C-AD18-D077967705AF}"/>
          </ac:spMkLst>
        </pc:spChg>
        <pc:spChg chg="mod">
          <ac:chgData name="Ugo MANTEL" userId="2d5b7065-31bb-4181-a7f8-a73bf0c30211" providerId="ADAL" clId="{F05BB0D5-3454-45DC-8378-DA45B79D9A06}" dt="2020-10-02T13:04:34.879" v="3779" actId="790"/>
          <ac:spMkLst>
            <pc:docMk/>
            <pc:sldMk cId="3758819461" sldId="7062"/>
            <ac:spMk id="79" creationId="{C5D59DBC-2F73-4260-9117-7CD08E27A613}"/>
          </ac:spMkLst>
        </pc:spChg>
        <pc:spChg chg="mod">
          <ac:chgData name="Ugo MANTEL" userId="2d5b7065-31bb-4181-a7f8-a73bf0c30211" providerId="ADAL" clId="{F05BB0D5-3454-45DC-8378-DA45B79D9A06}" dt="2020-10-02T13:04:34.879" v="3780" actId="790"/>
          <ac:spMkLst>
            <pc:docMk/>
            <pc:sldMk cId="3758819461" sldId="7062"/>
            <ac:spMk id="80" creationId="{DD3BF237-1C89-461E-9C54-262670FAEE51}"/>
          </ac:spMkLst>
        </pc:spChg>
        <pc:spChg chg="mod">
          <ac:chgData name="Ugo MANTEL" userId="2d5b7065-31bb-4181-a7f8-a73bf0c30211" providerId="ADAL" clId="{F05BB0D5-3454-45DC-8378-DA45B79D9A06}" dt="2020-10-02T13:04:34.880" v="3781" actId="790"/>
          <ac:spMkLst>
            <pc:docMk/>
            <pc:sldMk cId="3758819461" sldId="7062"/>
            <ac:spMk id="81" creationId="{E9F34570-3927-4B5C-A0E3-B95DF81321C1}"/>
          </ac:spMkLst>
        </pc:spChg>
        <pc:spChg chg="mod">
          <ac:chgData name="Ugo MANTEL" userId="2d5b7065-31bb-4181-a7f8-a73bf0c30211" providerId="ADAL" clId="{F05BB0D5-3454-45DC-8378-DA45B79D9A06}" dt="2020-10-02T13:04:34.881" v="3782" actId="790"/>
          <ac:spMkLst>
            <pc:docMk/>
            <pc:sldMk cId="3758819461" sldId="7062"/>
            <ac:spMk id="82" creationId="{1694F4F3-8C04-41FD-860C-A5D34D8FC88C}"/>
          </ac:spMkLst>
        </pc:spChg>
        <pc:spChg chg="mod">
          <ac:chgData name="Ugo MANTEL" userId="2d5b7065-31bb-4181-a7f8-a73bf0c30211" providerId="ADAL" clId="{F05BB0D5-3454-45DC-8378-DA45B79D9A06}" dt="2020-10-02T13:04:34.882" v="3783" actId="790"/>
          <ac:spMkLst>
            <pc:docMk/>
            <pc:sldMk cId="3758819461" sldId="7062"/>
            <ac:spMk id="83" creationId="{C32A1E68-0D36-4A9A-861B-89677EBC5F04}"/>
          </ac:spMkLst>
        </pc:spChg>
        <pc:spChg chg="mod">
          <ac:chgData name="Ugo MANTEL" userId="2d5b7065-31bb-4181-a7f8-a73bf0c30211" providerId="ADAL" clId="{F05BB0D5-3454-45DC-8378-DA45B79D9A06}" dt="2020-10-02T13:04:34.883" v="3784" actId="790"/>
          <ac:spMkLst>
            <pc:docMk/>
            <pc:sldMk cId="3758819461" sldId="7062"/>
            <ac:spMk id="84" creationId="{29FA8C9E-1AA5-4FF7-90C4-F828BEF892A7}"/>
          </ac:spMkLst>
        </pc:spChg>
        <pc:spChg chg="mod">
          <ac:chgData name="Ugo MANTEL" userId="2d5b7065-31bb-4181-a7f8-a73bf0c30211" providerId="ADAL" clId="{F05BB0D5-3454-45DC-8378-DA45B79D9A06}" dt="2020-10-02T13:04:34.883" v="3785" actId="790"/>
          <ac:spMkLst>
            <pc:docMk/>
            <pc:sldMk cId="3758819461" sldId="7062"/>
            <ac:spMk id="85" creationId="{441783E1-C63C-413C-80A0-E1476D1D7D9B}"/>
          </ac:spMkLst>
        </pc:spChg>
        <pc:spChg chg="mod">
          <ac:chgData name="Ugo MANTEL" userId="2d5b7065-31bb-4181-a7f8-a73bf0c30211" providerId="ADAL" clId="{F05BB0D5-3454-45DC-8378-DA45B79D9A06}" dt="2020-10-02T13:04:34.884" v="3786" actId="790"/>
          <ac:spMkLst>
            <pc:docMk/>
            <pc:sldMk cId="3758819461" sldId="7062"/>
            <ac:spMk id="86" creationId="{1BDDBE1A-EE27-4088-9346-64903104833E}"/>
          </ac:spMkLst>
        </pc:spChg>
        <pc:spChg chg="mod">
          <ac:chgData name="Ugo MANTEL" userId="2d5b7065-31bb-4181-a7f8-a73bf0c30211" providerId="ADAL" clId="{F05BB0D5-3454-45DC-8378-DA45B79D9A06}" dt="2020-10-02T13:04:34.885" v="3787" actId="790"/>
          <ac:spMkLst>
            <pc:docMk/>
            <pc:sldMk cId="3758819461" sldId="7062"/>
            <ac:spMk id="87" creationId="{0C90581B-9658-4AD5-B44F-FDEA44E5630E}"/>
          </ac:spMkLst>
        </pc:spChg>
        <pc:spChg chg="mod">
          <ac:chgData name="Ugo MANTEL" userId="2d5b7065-31bb-4181-a7f8-a73bf0c30211" providerId="ADAL" clId="{F05BB0D5-3454-45DC-8378-DA45B79D9A06}" dt="2020-10-02T13:04:34.885" v="3788" actId="790"/>
          <ac:spMkLst>
            <pc:docMk/>
            <pc:sldMk cId="3758819461" sldId="7062"/>
            <ac:spMk id="88" creationId="{A8F36ADF-A776-4132-8CA3-B2F8F7DC03CC}"/>
          </ac:spMkLst>
        </pc:spChg>
        <pc:spChg chg="mod">
          <ac:chgData name="Ugo MANTEL" userId="2d5b7065-31bb-4181-a7f8-a73bf0c30211" providerId="ADAL" clId="{F05BB0D5-3454-45DC-8378-DA45B79D9A06}" dt="2020-10-02T13:04:34.886" v="3789" actId="790"/>
          <ac:spMkLst>
            <pc:docMk/>
            <pc:sldMk cId="3758819461" sldId="7062"/>
            <ac:spMk id="89" creationId="{9F2FDE29-38A7-4146-B511-94F3CCB9DF20}"/>
          </ac:spMkLst>
        </pc:spChg>
        <pc:spChg chg="mod">
          <ac:chgData name="Ugo MANTEL" userId="2d5b7065-31bb-4181-a7f8-a73bf0c30211" providerId="ADAL" clId="{F05BB0D5-3454-45DC-8378-DA45B79D9A06}" dt="2020-10-02T13:04:34.887" v="3790" actId="790"/>
          <ac:spMkLst>
            <pc:docMk/>
            <pc:sldMk cId="3758819461" sldId="7062"/>
            <ac:spMk id="90" creationId="{6F980140-8D53-4ED4-B095-95CC6C9FBA21}"/>
          </ac:spMkLst>
        </pc:spChg>
        <pc:spChg chg="mod">
          <ac:chgData name="Ugo MANTEL" userId="2d5b7065-31bb-4181-a7f8-a73bf0c30211" providerId="ADAL" clId="{F05BB0D5-3454-45DC-8378-DA45B79D9A06}" dt="2020-10-02T13:04:34.887" v="3791" actId="790"/>
          <ac:spMkLst>
            <pc:docMk/>
            <pc:sldMk cId="3758819461" sldId="7062"/>
            <ac:spMk id="91" creationId="{BDB0401F-7592-442E-B782-8FD0B10FDDB5}"/>
          </ac:spMkLst>
        </pc:spChg>
        <pc:spChg chg="mod">
          <ac:chgData name="Ugo MANTEL" userId="2d5b7065-31bb-4181-a7f8-a73bf0c30211" providerId="ADAL" clId="{F05BB0D5-3454-45DC-8378-DA45B79D9A06}" dt="2020-10-02T13:04:34.888" v="3792" actId="790"/>
          <ac:spMkLst>
            <pc:docMk/>
            <pc:sldMk cId="3758819461" sldId="7062"/>
            <ac:spMk id="92" creationId="{BCD2E6D5-066D-4DB2-9830-0027A3C8AE52}"/>
          </ac:spMkLst>
        </pc:spChg>
        <pc:spChg chg="mod">
          <ac:chgData name="Ugo MANTEL" userId="2d5b7065-31bb-4181-a7f8-a73bf0c30211" providerId="ADAL" clId="{F05BB0D5-3454-45DC-8378-DA45B79D9A06}" dt="2020-10-02T13:04:34.888" v="3793" actId="790"/>
          <ac:spMkLst>
            <pc:docMk/>
            <pc:sldMk cId="3758819461" sldId="7062"/>
            <ac:spMk id="93" creationId="{44E83C73-2BE8-46AB-A89F-27F220F2A319}"/>
          </ac:spMkLst>
        </pc:spChg>
        <pc:spChg chg="mod">
          <ac:chgData name="Ugo MANTEL" userId="2d5b7065-31bb-4181-a7f8-a73bf0c30211" providerId="ADAL" clId="{F05BB0D5-3454-45DC-8378-DA45B79D9A06}" dt="2020-10-02T13:04:34.889" v="3794" actId="790"/>
          <ac:spMkLst>
            <pc:docMk/>
            <pc:sldMk cId="3758819461" sldId="7062"/>
            <ac:spMk id="94" creationId="{A2D22674-0B31-4DCB-BE04-7CD8890F3C06}"/>
          </ac:spMkLst>
        </pc:spChg>
        <pc:spChg chg="mod">
          <ac:chgData name="Ugo MANTEL" userId="2d5b7065-31bb-4181-a7f8-a73bf0c30211" providerId="ADAL" clId="{F05BB0D5-3454-45DC-8378-DA45B79D9A06}" dt="2020-10-02T13:04:34.889" v="3795" actId="790"/>
          <ac:spMkLst>
            <pc:docMk/>
            <pc:sldMk cId="3758819461" sldId="7062"/>
            <ac:spMk id="95" creationId="{AE00B634-D3DD-4293-B37A-711D5CC6CF08}"/>
          </ac:spMkLst>
        </pc:spChg>
        <pc:spChg chg="mod">
          <ac:chgData name="Ugo MANTEL" userId="2d5b7065-31bb-4181-a7f8-a73bf0c30211" providerId="ADAL" clId="{F05BB0D5-3454-45DC-8378-DA45B79D9A06}" dt="2020-10-02T13:04:34.890" v="3796" actId="790"/>
          <ac:spMkLst>
            <pc:docMk/>
            <pc:sldMk cId="3758819461" sldId="7062"/>
            <ac:spMk id="96" creationId="{584A357A-3210-42A7-A7F0-DF3A7932AB41}"/>
          </ac:spMkLst>
        </pc:spChg>
        <pc:spChg chg="mod">
          <ac:chgData name="Ugo MANTEL" userId="2d5b7065-31bb-4181-a7f8-a73bf0c30211" providerId="ADAL" clId="{F05BB0D5-3454-45DC-8378-DA45B79D9A06}" dt="2020-10-02T13:04:34.890" v="3797" actId="790"/>
          <ac:spMkLst>
            <pc:docMk/>
            <pc:sldMk cId="3758819461" sldId="7062"/>
            <ac:spMk id="97" creationId="{AB55166B-9A3A-4A0F-ADFA-2D10B909D1B3}"/>
          </ac:spMkLst>
        </pc:spChg>
        <pc:spChg chg="mod">
          <ac:chgData name="Ugo MANTEL" userId="2d5b7065-31bb-4181-a7f8-a73bf0c30211" providerId="ADAL" clId="{F05BB0D5-3454-45DC-8378-DA45B79D9A06}" dt="2020-10-02T13:04:34.891" v="3798" actId="790"/>
          <ac:spMkLst>
            <pc:docMk/>
            <pc:sldMk cId="3758819461" sldId="7062"/>
            <ac:spMk id="98" creationId="{9380FA17-BF1E-478B-9A33-C0EA5CF564D7}"/>
          </ac:spMkLst>
        </pc:spChg>
        <pc:spChg chg="mod">
          <ac:chgData name="Ugo MANTEL" userId="2d5b7065-31bb-4181-a7f8-a73bf0c30211" providerId="ADAL" clId="{F05BB0D5-3454-45DC-8378-DA45B79D9A06}" dt="2020-10-02T13:04:34.891" v="3799" actId="790"/>
          <ac:spMkLst>
            <pc:docMk/>
            <pc:sldMk cId="3758819461" sldId="7062"/>
            <ac:spMk id="99" creationId="{1BD840B9-39D7-4F47-A052-D19160215576}"/>
          </ac:spMkLst>
        </pc:spChg>
        <pc:spChg chg="mod">
          <ac:chgData name="Ugo MANTEL" userId="2d5b7065-31bb-4181-a7f8-a73bf0c30211" providerId="ADAL" clId="{F05BB0D5-3454-45DC-8378-DA45B79D9A06}" dt="2020-10-02T13:04:34.892" v="3800" actId="790"/>
          <ac:spMkLst>
            <pc:docMk/>
            <pc:sldMk cId="3758819461" sldId="7062"/>
            <ac:spMk id="100" creationId="{57BD191D-457F-4329-A3CC-7C981E5B5F42}"/>
          </ac:spMkLst>
        </pc:spChg>
        <pc:spChg chg="mod">
          <ac:chgData name="Ugo MANTEL" userId="2d5b7065-31bb-4181-a7f8-a73bf0c30211" providerId="ADAL" clId="{F05BB0D5-3454-45DC-8378-DA45B79D9A06}" dt="2020-10-02T13:04:34.892" v="3801" actId="790"/>
          <ac:spMkLst>
            <pc:docMk/>
            <pc:sldMk cId="3758819461" sldId="7062"/>
            <ac:spMk id="101" creationId="{CCC567B5-98F9-4B75-A1F5-45DABE4D13A7}"/>
          </ac:spMkLst>
        </pc:spChg>
        <pc:spChg chg="mod">
          <ac:chgData name="Ugo MANTEL" userId="2d5b7065-31bb-4181-a7f8-a73bf0c30211" providerId="ADAL" clId="{F05BB0D5-3454-45DC-8378-DA45B79D9A06}" dt="2020-10-02T13:04:34.893" v="3802" actId="790"/>
          <ac:spMkLst>
            <pc:docMk/>
            <pc:sldMk cId="3758819461" sldId="7062"/>
            <ac:spMk id="102" creationId="{B9F5A4D6-2A03-4196-A68F-C8CCB5897758}"/>
          </ac:spMkLst>
        </pc:spChg>
        <pc:spChg chg="mod">
          <ac:chgData name="Ugo MANTEL" userId="2d5b7065-31bb-4181-a7f8-a73bf0c30211" providerId="ADAL" clId="{F05BB0D5-3454-45DC-8378-DA45B79D9A06}" dt="2020-10-02T13:04:34.894" v="3803" actId="790"/>
          <ac:spMkLst>
            <pc:docMk/>
            <pc:sldMk cId="3758819461" sldId="7062"/>
            <ac:spMk id="103" creationId="{84EF0CE2-F122-4A04-AE81-AE849FEA9686}"/>
          </ac:spMkLst>
        </pc:spChg>
        <pc:spChg chg="mod">
          <ac:chgData name="Ugo MANTEL" userId="2d5b7065-31bb-4181-a7f8-a73bf0c30211" providerId="ADAL" clId="{F05BB0D5-3454-45DC-8378-DA45B79D9A06}" dt="2020-10-02T13:04:34.894" v="3804" actId="790"/>
          <ac:spMkLst>
            <pc:docMk/>
            <pc:sldMk cId="3758819461" sldId="7062"/>
            <ac:spMk id="104" creationId="{55F1E868-83E1-4CF3-AABF-47D3D7333404}"/>
          </ac:spMkLst>
        </pc:spChg>
        <pc:spChg chg="mod">
          <ac:chgData name="Ugo MANTEL" userId="2d5b7065-31bb-4181-a7f8-a73bf0c30211" providerId="ADAL" clId="{F05BB0D5-3454-45DC-8378-DA45B79D9A06}" dt="2020-10-02T13:04:34.895" v="3805" actId="790"/>
          <ac:spMkLst>
            <pc:docMk/>
            <pc:sldMk cId="3758819461" sldId="7062"/>
            <ac:spMk id="105" creationId="{7090CDC1-C5CE-4FF7-B2CE-4AC40E11636B}"/>
          </ac:spMkLst>
        </pc:spChg>
        <pc:spChg chg="mod">
          <ac:chgData name="Ugo MANTEL" userId="2d5b7065-31bb-4181-a7f8-a73bf0c30211" providerId="ADAL" clId="{F05BB0D5-3454-45DC-8378-DA45B79D9A06}" dt="2020-10-02T13:04:34.895" v="3806" actId="790"/>
          <ac:spMkLst>
            <pc:docMk/>
            <pc:sldMk cId="3758819461" sldId="7062"/>
            <ac:spMk id="106" creationId="{CB5FDB34-4A9C-48C7-9E1C-B5E4AD7BD364}"/>
          </ac:spMkLst>
        </pc:spChg>
        <pc:spChg chg="mod">
          <ac:chgData name="Ugo MANTEL" userId="2d5b7065-31bb-4181-a7f8-a73bf0c30211" providerId="ADAL" clId="{F05BB0D5-3454-45DC-8378-DA45B79D9A06}" dt="2020-10-02T13:04:34.896" v="3807" actId="790"/>
          <ac:spMkLst>
            <pc:docMk/>
            <pc:sldMk cId="3758819461" sldId="7062"/>
            <ac:spMk id="107" creationId="{0F19A227-45BF-420C-AC61-1505FEA43FE8}"/>
          </ac:spMkLst>
        </pc:spChg>
        <pc:spChg chg="mod">
          <ac:chgData name="Ugo MANTEL" userId="2d5b7065-31bb-4181-a7f8-a73bf0c30211" providerId="ADAL" clId="{F05BB0D5-3454-45DC-8378-DA45B79D9A06}" dt="2020-10-02T13:04:34.934" v="3873" actId="790"/>
          <ac:spMkLst>
            <pc:docMk/>
            <pc:sldMk cId="3758819461" sldId="7062"/>
            <ac:spMk id="108" creationId="{EC6D0E24-59E8-4460-9BAB-724A2AEB9B00}"/>
          </ac:spMkLst>
        </pc:spChg>
        <pc:spChg chg="mod">
          <ac:chgData name="Ugo MANTEL" userId="2d5b7065-31bb-4181-a7f8-a73bf0c30211" providerId="ADAL" clId="{F05BB0D5-3454-45DC-8378-DA45B79D9A06}" dt="2020-10-02T13:04:34.896" v="3808" actId="790"/>
          <ac:spMkLst>
            <pc:docMk/>
            <pc:sldMk cId="3758819461" sldId="7062"/>
            <ac:spMk id="109" creationId="{F59F3DEE-B834-4D7C-8A30-3D619C52E678}"/>
          </ac:spMkLst>
        </pc:spChg>
        <pc:spChg chg="mod">
          <ac:chgData name="Ugo MANTEL" userId="2d5b7065-31bb-4181-a7f8-a73bf0c30211" providerId="ADAL" clId="{F05BB0D5-3454-45DC-8378-DA45B79D9A06}" dt="2020-10-02T13:04:34.897" v="3809" actId="790"/>
          <ac:spMkLst>
            <pc:docMk/>
            <pc:sldMk cId="3758819461" sldId="7062"/>
            <ac:spMk id="110" creationId="{FA9678FF-3376-4695-A502-9958B765A46C}"/>
          </ac:spMkLst>
        </pc:spChg>
        <pc:spChg chg="mod">
          <ac:chgData name="Ugo MANTEL" userId="2d5b7065-31bb-4181-a7f8-a73bf0c30211" providerId="ADAL" clId="{F05BB0D5-3454-45DC-8378-DA45B79D9A06}" dt="2020-10-02T13:04:34.897" v="3810" actId="790"/>
          <ac:spMkLst>
            <pc:docMk/>
            <pc:sldMk cId="3758819461" sldId="7062"/>
            <ac:spMk id="111" creationId="{E3352E18-F823-49F4-AE5D-0C83F4C62552}"/>
          </ac:spMkLst>
        </pc:spChg>
        <pc:spChg chg="mod">
          <ac:chgData name="Ugo MANTEL" userId="2d5b7065-31bb-4181-a7f8-a73bf0c30211" providerId="ADAL" clId="{F05BB0D5-3454-45DC-8378-DA45B79D9A06}" dt="2020-10-02T13:04:34.898" v="3811" actId="790"/>
          <ac:spMkLst>
            <pc:docMk/>
            <pc:sldMk cId="3758819461" sldId="7062"/>
            <ac:spMk id="112" creationId="{6A1378CD-7599-494D-846D-003EC324E218}"/>
          </ac:spMkLst>
        </pc:spChg>
        <pc:spChg chg="mod">
          <ac:chgData name="Ugo MANTEL" userId="2d5b7065-31bb-4181-a7f8-a73bf0c30211" providerId="ADAL" clId="{F05BB0D5-3454-45DC-8378-DA45B79D9A06}" dt="2020-10-02T13:04:34.898" v="3812" actId="790"/>
          <ac:spMkLst>
            <pc:docMk/>
            <pc:sldMk cId="3758819461" sldId="7062"/>
            <ac:spMk id="113" creationId="{ECCC20D4-201C-4E27-BA60-57550E938559}"/>
          </ac:spMkLst>
        </pc:spChg>
        <pc:spChg chg="mod">
          <ac:chgData name="Ugo MANTEL" userId="2d5b7065-31bb-4181-a7f8-a73bf0c30211" providerId="ADAL" clId="{F05BB0D5-3454-45DC-8378-DA45B79D9A06}" dt="2020-10-02T13:04:34.899" v="3813" actId="790"/>
          <ac:spMkLst>
            <pc:docMk/>
            <pc:sldMk cId="3758819461" sldId="7062"/>
            <ac:spMk id="114" creationId="{53360E40-A773-4F6E-91CC-313B64594DCB}"/>
          </ac:spMkLst>
        </pc:spChg>
        <pc:spChg chg="mod">
          <ac:chgData name="Ugo MANTEL" userId="2d5b7065-31bb-4181-a7f8-a73bf0c30211" providerId="ADAL" clId="{F05BB0D5-3454-45DC-8378-DA45B79D9A06}" dt="2020-10-02T13:04:34.900" v="3814" actId="790"/>
          <ac:spMkLst>
            <pc:docMk/>
            <pc:sldMk cId="3758819461" sldId="7062"/>
            <ac:spMk id="115" creationId="{34CF9451-1955-4336-B1F2-D15E7538AC1A}"/>
          </ac:spMkLst>
        </pc:spChg>
        <pc:spChg chg="mod">
          <ac:chgData name="Ugo MANTEL" userId="2d5b7065-31bb-4181-a7f8-a73bf0c30211" providerId="ADAL" clId="{F05BB0D5-3454-45DC-8378-DA45B79D9A06}" dt="2020-10-02T13:04:34.900" v="3815" actId="790"/>
          <ac:spMkLst>
            <pc:docMk/>
            <pc:sldMk cId="3758819461" sldId="7062"/>
            <ac:spMk id="116" creationId="{0C7F937E-3677-419D-82FE-10F7C672FB7F}"/>
          </ac:spMkLst>
        </pc:spChg>
        <pc:spChg chg="mod">
          <ac:chgData name="Ugo MANTEL" userId="2d5b7065-31bb-4181-a7f8-a73bf0c30211" providerId="ADAL" clId="{F05BB0D5-3454-45DC-8378-DA45B79D9A06}" dt="2020-10-02T13:04:34.901" v="3816" actId="790"/>
          <ac:spMkLst>
            <pc:docMk/>
            <pc:sldMk cId="3758819461" sldId="7062"/>
            <ac:spMk id="117" creationId="{DB53495B-B21C-45D0-848E-00AC4F837723}"/>
          </ac:spMkLst>
        </pc:spChg>
        <pc:spChg chg="mod">
          <ac:chgData name="Ugo MANTEL" userId="2d5b7065-31bb-4181-a7f8-a73bf0c30211" providerId="ADAL" clId="{F05BB0D5-3454-45DC-8378-DA45B79D9A06}" dt="2020-10-02T13:04:34.901" v="3817" actId="790"/>
          <ac:spMkLst>
            <pc:docMk/>
            <pc:sldMk cId="3758819461" sldId="7062"/>
            <ac:spMk id="118" creationId="{86F9FB78-1880-4A14-9981-A007C074C178}"/>
          </ac:spMkLst>
        </pc:spChg>
        <pc:spChg chg="mod">
          <ac:chgData name="Ugo MANTEL" userId="2d5b7065-31bb-4181-a7f8-a73bf0c30211" providerId="ADAL" clId="{F05BB0D5-3454-45DC-8378-DA45B79D9A06}" dt="2020-10-02T13:04:34.902" v="3818" actId="790"/>
          <ac:spMkLst>
            <pc:docMk/>
            <pc:sldMk cId="3758819461" sldId="7062"/>
            <ac:spMk id="119" creationId="{070AEA3B-8144-46DB-A635-47CDF3057206}"/>
          </ac:spMkLst>
        </pc:spChg>
        <pc:spChg chg="mod">
          <ac:chgData name="Ugo MANTEL" userId="2d5b7065-31bb-4181-a7f8-a73bf0c30211" providerId="ADAL" clId="{F05BB0D5-3454-45DC-8378-DA45B79D9A06}" dt="2020-10-02T13:04:34.902" v="3819" actId="790"/>
          <ac:spMkLst>
            <pc:docMk/>
            <pc:sldMk cId="3758819461" sldId="7062"/>
            <ac:spMk id="120" creationId="{E7B1E6E7-5F25-47A3-AD0F-21BD422BA7E4}"/>
          </ac:spMkLst>
        </pc:spChg>
        <pc:spChg chg="mod">
          <ac:chgData name="Ugo MANTEL" userId="2d5b7065-31bb-4181-a7f8-a73bf0c30211" providerId="ADAL" clId="{F05BB0D5-3454-45DC-8378-DA45B79D9A06}" dt="2020-10-02T13:04:34.903" v="3820" actId="790"/>
          <ac:spMkLst>
            <pc:docMk/>
            <pc:sldMk cId="3758819461" sldId="7062"/>
            <ac:spMk id="121" creationId="{B40310BB-CAB3-443C-8428-2C65CCA42980}"/>
          </ac:spMkLst>
        </pc:spChg>
        <pc:spChg chg="mod">
          <ac:chgData name="Ugo MANTEL" userId="2d5b7065-31bb-4181-a7f8-a73bf0c30211" providerId="ADAL" clId="{F05BB0D5-3454-45DC-8378-DA45B79D9A06}" dt="2020-10-02T13:04:34.904" v="3821" actId="790"/>
          <ac:spMkLst>
            <pc:docMk/>
            <pc:sldMk cId="3758819461" sldId="7062"/>
            <ac:spMk id="122" creationId="{DB5CBFF7-89E8-4F1D-90EC-9E022C2DC85A}"/>
          </ac:spMkLst>
        </pc:spChg>
        <pc:spChg chg="mod">
          <ac:chgData name="Ugo MANTEL" userId="2d5b7065-31bb-4181-a7f8-a73bf0c30211" providerId="ADAL" clId="{F05BB0D5-3454-45DC-8378-DA45B79D9A06}" dt="2020-10-02T13:04:34.904" v="3822" actId="790"/>
          <ac:spMkLst>
            <pc:docMk/>
            <pc:sldMk cId="3758819461" sldId="7062"/>
            <ac:spMk id="123" creationId="{A7A27F42-9D7C-4441-B0A3-D212345FFC2E}"/>
          </ac:spMkLst>
        </pc:spChg>
        <pc:spChg chg="mod">
          <ac:chgData name="Ugo MANTEL" userId="2d5b7065-31bb-4181-a7f8-a73bf0c30211" providerId="ADAL" clId="{F05BB0D5-3454-45DC-8378-DA45B79D9A06}" dt="2020-10-02T13:04:34.905" v="3823" actId="790"/>
          <ac:spMkLst>
            <pc:docMk/>
            <pc:sldMk cId="3758819461" sldId="7062"/>
            <ac:spMk id="124" creationId="{39E2FD2F-854C-4C7A-BBEC-9AA8E744B150}"/>
          </ac:spMkLst>
        </pc:spChg>
        <pc:spChg chg="mod">
          <ac:chgData name="Ugo MANTEL" userId="2d5b7065-31bb-4181-a7f8-a73bf0c30211" providerId="ADAL" clId="{F05BB0D5-3454-45DC-8378-DA45B79D9A06}" dt="2020-10-02T13:04:34.905" v="3824" actId="790"/>
          <ac:spMkLst>
            <pc:docMk/>
            <pc:sldMk cId="3758819461" sldId="7062"/>
            <ac:spMk id="125" creationId="{9DDA9993-602B-416F-85F8-2E8C31D7EE02}"/>
          </ac:spMkLst>
        </pc:spChg>
        <pc:spChg chg="mod">
          <ac:chgData name="Ugo MANTEL" userId="2d5b7065-31bb-4181-a7f8-a73bf0c30211" providerId="ADAL" clId="{F05BB0D5-3454-45DC-8378-DA45B79D9A06}" dt="2020-10-02T13:04:34.906" v="3825" actId="790"/>
          <ac:spMkLst>
            <pc:docMk/>
            <pc:sldMk cId="3758819461" sldId="7062"/>
            <ac:spMk id="126" creationId="{329E5DB1-B5C2-42C0-BE08-C0229197997D}"/>
          </ac:spMkLst>
        </pc:spChg>
        <pc:spChg chg="mod">
          <ac:chgData name="Ugo MANTEL" userId="2d5b7065-31bb-4181-a7f8-a73bf0c30211" providerId="ADAL" clId="{F05BB0D5-3454-45DC-8378-DA45B79D9A06}" dt="2020-10-02T13:04:34.906" v="3826" actId="790"/>
          <ac:spMkLst>
            <pc:docMk/>
            <pc:sldMk cId="3758819461" sldId="7062"/>
            <ac:spMk id="127" creationId="{E65C1320-CBBB-419E-9C31-54E27A16DA71}"/>
          </ac:spMkLst>
        </pc:spChg>
        <pc:spChg chg="mod">
          <ac:chgData name="Ugo MANTEL" userId="2d5b7065-31bb-4181-a7f8-a73bf0c30211" providerId="ADAL" clId="{F05BB0D5-3454-45DC-8378-DA45B79D9A06}" dt="2020-10-02T13:04:34.907" v="3827" actId="790"/>
          <ac:spMkLst>
            <pc:docMk/>
            <pc:sldMk cId="3758819461" sldId="7062"/>
            <ac:spMk id="128" creationId="{805667D0-ED7C-483D-AF90-1A65E6F9E433}"/>
          </ac:spMkLst>
        </pc:spChg>
        <pc:spChg chg="mod">
          <ac:chgData name="Ugo MANTEL" userId="2d5b7065-31bb-4181-a7f8-a73bf0c30211" providerId="ADAL" clId="{F05BB0D5-3454-45DC-8378-DA45B79D9A06}" dt="2020-10-02T13:04:34.907" v="3828" actId="790"/>
          <ac:spMkLst>
            <pc:docMk/>
            <pc:sldMk cId="3758819461" sldId="7062"/>
            <ac:spMk id="129" creationId="{D94FF7B5-C305-48D9-807D-A1EEA93A1E6E}"/>
          </ac:spMkLst>
        </pc:spChg>
        <pc:spChg chg="mod">
          <ac:chgData name="Ugo MANTEL" userId="2d5b7065-31bb-4181-a7f8-a73bf0c30211" providerId="ADAL" clId="{F05BB0D5-3454-45DC-8378-DA45B79D9A06}" dt="2020-10-02T13:04:34.908" v="3829" actId="790"/>
          <ac:spMkLst>
            <pc:docMk/>
            <pc:sldMk cId="3758819461" sldId="7062"/>
            <ac:spMk id="130" creationId="{6CF8A8B2-5C40-4694-BE2D-B2A3C0C18878}"/>
          </ac:spMkLst>
        </pc:spChg>
        <pc:spChg chg="mod">
          <ac:chgData name="Ugo MANTEL" userId="2d5b7065-31bb-4181-a7f8-a73bf0c30211" providerId="ADAL" clId="{F05BB0D5-3454-45DC-8378-DA45B79D9A06}" dt="2020-10-02T13:04:34.908" v="3830" actId="790"/>
          <ac:spMkLst>
            <pc:docMk/>
            <pc:sldMk cId="3758819461" sldId="7062"/>
            <ac:spMk id="131" creationId="{635FAAD8-3615-42FC-9249-9F5093EB2BE2}"/>
          </ac:spMkLst>
        </pc:spChg>
        <pc:spChg chg="mod">
          <ac:chgData name="Ugo MANTEL" userId="2d5b7065-31bb-4181-a7f8-a73bf0c30211" providerId="ADAL" clId="{F05BB0D5-3454-45DC-8378-DA45B79D9A06}" dt="2020-10-02T13:04:34.909" v="3831" actId="790"/>
          <ac:spMkLst>
            <pc:docMk/>
            <pc:sldMk cId="3758819461" sldId="7062"/>
            <ac:spMk id="132" creationId="{83BC5FB7-A6B7-4354-B625-CBE18BFA2C5F}"/>
          </ac:spMkLst>
        </pc:spChg>
        <pc:spChg chg="mod">
          <ac:chgData name="Ugo MANTEL" userId="2d5b7065-31bb-4181-a7f8-a73bf0c30211" providerId="ADAL" clId="{F05BB0D5-3454-45DC-8378-DA45B79D9A06}" dt="2020-10-02T13:04:34.909" v="3832" actId="790"/>
          <ac:spMkLst>
            <pc:docMk/>
            <pc:sldMk cId="3758819461" sldId="7062"/>
            <ac:spMk id="133" creationId="{50E4C611-10E1-4ED9-A2BE-7DE3C2E09BB0}"/>
          </ac:spMkLst>
        </pc:spChg>
        <pc:spChg chg="mod">
          <ac:chgData name="Ugo MANTEL" userId="2d5b7065-31bb-4181-a7f8-a73bf0c30211" providerId="ADAL" clId="{F05BB0D5-3454-45DC-8378-DA45B79D9A06}" dt="2020-10-02T13:04:34.910" v="3833" actId="790"/>
          <ac:spMkLst>
            <pc:docMk/>
            <pc:sldMk cId="3758819461" sldId="7062"/>
            <ac:spMk id="134" creationId="{C72BB0BA-BF32-4E4A-AE99-5F302B646E59}"/>
          </ac:spMkLst>
        </pc:spChg>
        <pc:spChg chg="mod">
          <ac:chgData name="Ugo MANTEL" userId="2d5b7065-31bb-4181-a7f8-a73bf0c30211" providerId="ADAL" clId="{F05BB0D5-3454-45DC-8378-DA45B79D9A06}" dt="2020-10-02T13:04:34.910" v="3834" actId="790"/>
          <ac:spMkLst>
            <pc:docMk/>
            <pc:sldMk cId="3758819461" sldId="7062"/>
            <ac:spMk id="135" creationId="{5F7517F0-6509-4B85-B22A-38A19A8FE9DA}"/>
          </ac:spMkLst>
        </pc:spChg>
        <pc:spChg chg="mod">
          <ac:chgData name="Ugo MANTEL" userId="2d5b7065-31bb-4181-a7f8-a73bf0c30211" providerId="ADAL" clId="{F05BB0D5-3454-45DC-8378-DA45B79D9A06}" dt="2020-10-02T13:04:34.911" v="3835" actId="790"/>
          <ac:spMkLst>
            <pc:docMk/>
            <pc:sldMk cId="3758819461" sldId="7062"/>
            <ac:spMk id="136" creationId="{0011444F-C1AB-4F34-9760-C18B0C8FF5DF}"/>
          </ac:spMkLst>
        </pc:spChg>
        <pc:spChg chg="mod">
          <ac:chgData name="Ugo MANTEL" userId="2d5b7065-31bb-4181-a7f8-a73bf0c30211" providerId="ADAL" clId="{F05BB0D5-3454-45DC-8378-DA45B79D9A06}" dt="2020-10-02T13:04:34.911" v="3836" actId="790"/>
          <ac:spMkLst>
            <pc:docMk/>
            <pc:sldMk cId="3758819461" sldId="7062"/>
            <ac:spMk id="137" creationId="{12F02A66-2198-448A-900C-C360A5A300D8}"/>
          </ac:spMkLst>
        </pc:spChg>
        <pc:spChg chg="mod">
          <ac:chgData name="Ugo MANTEL" userId="2d5b7065-31bb-4181-a7f8-a73bf0c30211" providerId="ADAL" clId="{F05BB0D5-3454-45DC-8378-DA45B79D9A06}" dt="2020-10-02T13:04:34.912" v="3837" actId="790"/>
          <ac:spMkLst>
            <pc:docMk/>
            <pc:sldMk cId="3758819461" sldId="7062"/>
            <ac:spMk id="138" creationId="{D7F59C8A-56FC-4C8D-98F7-A92E12352BEE}"/>
          </ac:spMkLst>
        </pc:spChg>
        <pc:spChg chg="mod">
          <ac:chgData name="Ugo MANTEL" userId="2d5b7065-31bb-4181-a7f8-a73bf0c30211" providerId="ADAL" clId="{F05BB0D5-3454-45DC-8378-DA45B79D9A06}" dt="2020-10-02T13:04:34.912" v="3838" actId="790"/>
          <ac:spMkLst>
            <pc:docMk/>
            <pc:sldMk cId="3758819461" sldId="7062"/>
            <ac:spMk id="139" creationId="{FF93EB92-7264-48D3-98A5-FF47D6259ECC}"/>
          </ac:spMkLst>
        </pc:spChg>
        <pc:spChg chg="mod">
          <ac:chgData name="Ugo MANTEL" userId="2d5b7065-31bb-4181-a7f8-a73bf0c30211" providerId="ADAL" clId="{F05BB0D5-3454-45DC-8378-DA45B79D9A06}" dt="2020-10-02T13:04:34.913" v="3839" actId="790"/>
          <ac:spMkLst>
            <pc:docMk/>
            <pc:sldMk cId="3758819461" sldId="7062"/>
            <ac:spMk id="140" creationId="{E396F238-94A1-4D30-AA0C-CC5DA7B02901}"/>
          </ac:spMkLst>
        </pc:spChg>
        <pc:spChg chg="mod">
          <ac:chgData name="Ugo MANTEL" userId="2d5b7065-31bb-4181-a7f8-a73bf0c30211" providerId="ADAL" clId="{F05BB0D5-3454-45DC-8378-DA45B79D9A06}" dt="2020-10-02T13:04:34.914" v="3840" actId="790"/>
          <ac:spMkLst>
            <pc:docMk/>
            <pc:sldMk cId="3758819461" sldId="7062"/>
            <ac:spMk id="141" creationId="{F719B23B-6852-4D5E-BD9D-6A1DF5F7DF26}"/>
          </ac:spMkLst>
        </pc:spChg>
        <pc:spChg chg="mod">
          <ac:chgData name="Ugo MANTEL" userId="2d5b7065-31bb-4181-a7f8-a73bf0c30211" providerId="ADAL" clId="{F05BB0D5-3454-45DC-8378-DA45B79D9A06}" dt="2020-10-02T13:04:34.914" v="3841" actId="790"/>
          <ac:spMkLst>
            <pc:docMk/>
            <pc:sldMk cId="3758819461" sldId="7062"/>
            <ac:spMk id="142" creationId="{6F11CD3D-6AC7-4F15-AFD0-0CEAEC83C6C0}"/>
          </ac:spMkLst>
        </pc:spChg>
        <pc:spChg chg="mod">
          <ac:chgData name="Ugo MANTEL" userId="2d5b7065-31bb-4181-a7f8-a73bf0c30211" providerId="ADAL" clId="{F05BB0D5-3454-45DC-8378-DA45B79D9A06}" dt="2020-10-02T13:04:34.915" v="3842" actId="790"/>
          <ac:spMkLst>
            <pc:docMk/>
            <pc:sldMk cId="3758819461" sldId="7062"/>
            <ac:spMk id="143" creationId="{4F99769C-4CBA-45AB-A24B-D795CD50CCF6}"/>
          </ac:spMkLst>
        </pc:spChg>
        <pc:spChg chg="mod">
          <ac:chgData name="Ugo MANTEL" userId="2d5b7065-31bb-4181-a7f8-a73bf0c30211" providerId="ADAL" clId="{F05BB0D5-3454-45DC-8378-DA45B79D9A06}" dt="2020-10-02T13:04:34.915" v="3843" actId="790"/>
          <ac:spMkLst>
            <pc:docMk/>
            <pc:sldMk cId="3758819461" sldId="7062"/>
            <ac:spMk id="144" creationId="{B1EF91F0-1B63-45FD-8628-DA978BE79194}"/>
          </ac:spMkLst>
        </pc:spChg>
        <pc:spChg chg="mod">
          <ac:chgData name="Ugo MANTEL" userId="2d5b7065-31bb-4181-a7f8-a73bf0c30211" providerId="ADAL" clId="{F05BB0D5-3454-45DC-8378-DA45B79D9A06}" dt="2020-10-02T13:04:34.916" v="3844" actId="790"/>
          <ac:spMkLst>
            <pc:docMk/>
            <pc:sldMk cId="3758819461" sldId="7062"/>
            <ac:spMk id="145" creationId="{E4063130-3FE3-4A8C-9EED-B72F52B660B3}"/>
          </ac:spMkLst>
        </pc:spChg>
        <pc:spChg chg="mod">
          <ac:chgData name="Ugo MANTEL" userId="2d5b7065-31bb-4181-a7f8-a73bf0c30211" providerId="ADAL" clId="{F05BB0D5-3454-45DC-8378-DA45B79D9A06}" dt="2020-10-02T13:04:34.917" v="3845" actId="790"/>
          <ac:spMkLst>
            <pc:docMk/>
            <pc:sldMk cId="3758819461" sldId="7062"/>
            <ac:spMk id="146" creationId="{7EA7144C-044B-4934-8005-3779E22ACC04}"/>
          </ac:spMkLst>
        </pc:spChg>
        <pc:spChg chg="mod">
          <ac:chgData name="Ugo MANTEL" userId="2d5b7065-31bb-4181-a7f8-a73bf0c30211" providerId="ADAL" clId="{F05BB0D5-3454-45DC-8378-DA45B79D9A06}" dt="2020-10-02T13:04:34.917" v="3846" actId="790"/>
          <ac:spMkLst>
            <pc:docMk/>
            <pc:sldMk cId="3758819461" sldId="7062"/>
            <ac:spMk id="147" creationId="{7DBF1D44-1EAE-4A9C-A94A-9B45D06CB19E}"/>
          </ac:spMkLst>
        </pc:spChg>
        <pc:spChg chg="mod">
          <ac:chgData name="Ugo MANTEL" userId="2d5b7065-31bb-4181-a7f8-a73bf0c30211" providerId="ADAL" clId="{F05BB0D5-3454-45DC-8378-DA45B79D9A06}" dt="2020-10-02T13:04:34.918" v="3847" actId="790"/>
          <ac:spMkLst>
            <pc:docMk/>
            <pc:sldMk cId="3758819461" sldId="7062"/>
            <ac:spMk id="148" creationId="{757A0E37-E359-4B39-A7A9-8C95C4FBA9F0}"/>
          </ac:spMkLst>
        </pc:spChg>
        <pc:spChg chg="mod">
          <ac:chgData name="Ugo MANTEL" userId="2d5b7065-31bb-4181-a7f8-a73bf0c30211" providerId="ADAL" clId="{F05BB0D5-3454-45DC-8378-DA45B79D9A06}" dt="2020-10-02T13:04:34.918" v="3848" actId="790"/>
          <ac:spMkLst>
            <pc:docMk/>
            <pc:sldMk cId="3758819461" sldId="7062"/>
            <ac:spMk id="149" creationId="{6C3788DA-E448-4741-97EE-2A34B4751891}"/>
          </ac:spMkLst>
        </pc:spChg>
        <pc:spChg chg="mod">
          <ac:chgData name="Ugo MANTEL" userId="2d5b7065-31bb-4181-a7f8-a73bf0c30211" providerId="ADAL" clId="{F05BB0D5-3454-45DC-8378-DA45B79D9A06}" dt="2020-10-02T13:04:34.919" v="3849" actId="790"/>
          <ac:spMkLst>
            <pc:docMk/>
            <pc:sldMk cId="3758819461" sldId="7062"/>
            <ac:spMk id="150" creationId="{B5E8EFEF-153B-4C1B-81C5-ABCC7A2D159C}"/>
          </ac:spMkLst>
        </pc:spChg>
        <pc:spChg chg="mod">
          <ac:chgData name="Ugo MANTEL" userId="2d5b7065-31bb-4181-a7f8-a73bf0c30211" providerId="ADAL" clId="{F05BB0D5-3454-45DC-8378-DA45B79D9A06}" dt="2020-10-02T13:04:34.919" v="3850" actId="790"/>
          <ac:spMkLst>
            <pc:docMk/>
            <pc:sldMk cId="3758819461" sldId="7062"/>
            <ac:spMk id="151" creationId="{EB4A6F82-20E3-4F4B-84AB-27BA04B7BF7A}"/>
          </ac:spMkLst>
        </pc:spChg>
        <pc:spChg chg="mod">
          <ac:chgData name="Ugo MANTEL" userId="2d5b7065-31bb-4181-a7f8-a73bf0c30211" providerId="ADAL" clId="{F05BB0D5-3454-45DC-8378-DA45B79D9A06}" dt="2020-10-02T13:04:34.920" v="3851" actId="790"/>
          <ac:spMkLst>
            <pc:docMk/>
            <pc:sldMk cId="3758819461" sldId="7062"/>
            <ac:spMk id="152" creationId="{900F16BF-0CFC-44A5-9CED-6534BF504AA2}"/>
          </ac:spMkLst>
        </pc:spChg>
        <pc:spChg chg="mod">
          <ac:chgData name="Ugo MANTEL" userId="2d5b7065-31bb-4181-a7f8-a73bf0c30211" providerId="ADAL" clId="{F05BB0D5-3454-45DC-8378-DA45B79D9A06}" dt="2020-10-02T13:04:34.920" v="3852" actId="790"/>
          <ac:spMkLst>
            <pc:docMk/>
            <pc:sldMk cId="3758819461" sldId="7062"/>
            <ac:spMk id="153" creationId="{DB3E5B88-59E5-46D2-84D5-E0B872B7FF8D}"/>
          </ac:spMkLst>
        </pc:spChg>
        <pc:spChg chg="mod">
          <ac:chgData name="Ugo MANTEL" userId="2d5b7065-31bb-4181-a7f8-a73bf0c30211" providerId="ADAL" clId="{F05BB0D5-3454-45DC-8378-DA45B79D9A06}" dt="2020-10-02T13:04:34.921" v="3853" actId="790"/>
          <ac:spMkLst>
            <pc:docMk/>
            <pc:sldMk cId="3758819461" sldId="7062"/>
            <ac:spMk id="154" creationId="{EA5552C7-D80E-4A3C-9847-6E2B0F6A650D}"/>
          </ac:spMkLst>
        </pc:spChg>
        <pc:spChg chg="mod">
          <ac:chgData name="Ugo MANTEL" userId="2d5b7065-31bb-4181-a7f8-a73bf0c30211" providerId="ADAL" clId="{F05BB0D5-3454-45DC-8378-DA45B79D9A06}" dt="2020-10-02T13:04:34.922" v="3854" actId="790"/>
          <ac:spMkLst>
            <pc:docMk/>
            <pc:sldMk cId="3758819461" sldId="7062"/>
            <ac:spMk id="155" creationId="{338670DF-699D-4741-A938-26DD1628B0E4}"/>
          </ac:spMkLst>
        </pc:spChg>
        <pc:spChg chg="mod">
          <ac:chgData name="Ugo MANTEL" userId="2d5b7065-31bb-4181-a7f8-a73bf0c30211" providerId="ADAL" clId="{F05BB0D5-3454-45DC-8378-DA45B79D9A06}" dt="2020-10-02T13:04:34.922" v="3855" actId="790"/>
          <ac:spMkLst>
            <pc:docMk/>
            <pc:sldMk cId="3758819461" sldId="7062"/>
            <ac:spMk id="156" creationId="{EB3E7A06-414E-4B18-8B94-A52A030E6CD6}"/>
          </ac:spMkLst>
        </pc:spChg>
        <pc:spChg chg="mod">
          <ac:chgData name="Ugo MANTEL" userId="2d5b7065-31bb-4181-a7f8-a73bf0c30211" providerId="ADAL" clId="{F05BB0D5-3454-45DC-8378-DA45B79D9A06}" dt="2020-10-02T13:04:34.923" v="3856" actId="790"/>
          <ac:spMkLst>
            <pc:docMk/>
            <pc:sldMk cId="3758819461" sldId="7062"/>
            <ac:spMk id="157" creationId="{ADEED683-9573-4F11-843C-66FCFCBE2CB1}"/>
          </ac:spMkLst>
        </pc:spChg>
        <pc:spChg chg="mod">
          <ac:chgData name="Ugo MANTEL" userId="2d5b7065-31bb-4181-a7f8-a73bf0c30211" providerId="ADAL" clId="{F05BB0D5-3454-45DC-8378-DA45B79D9A06}" dt="2020-10-02T13:04:34.934" v="3874" actId="790"/>
          <ac:spMkLst>
            <pc:docMk/>
            <pc:sldMk cId="3758819461" sldId="7062"/>
            <ac:spMk id="159" creationId="{52FCBAC7-DB45-468D-8B3C-E5AE241C52D6}"/>
          </ac:spMkLst>
        </pc:spChg>
        <pc:spChg chg="mod">
          <ac:chgData name="Ugo MANTEL" userId="2d5b7065-31bb-4181-a7f8-a73bf0c30211" providerId="ADAL" clId="{F05BB0D5-3454-45DC-8378-DA45B79D9A06}" dt="2020-10-02T13:04:34.935" v="3875" actId="790"/>
          <ac:spMkLst>
            <pc:docMk/>
            <pc:sldMk cId="3758819461" sldId="7062"/>
            <ac:spMk id="160" creationId="{F079BDDA-6156-4C2B-BAD2-0A0A39A4ADE3}"/>
          </ac:spMkLst>
        </pc:spChg>
        <pc:spChg chg="mod">
          <ac:chgData name="Ugo MANTEL" userId="2d5b7065-31bb-4181-a7f8-a73bf0c30211" providerId="ADAL" clId="{F05BB0D5-3454-45DC-8378-DA45B79D9A06}" dt="2020-10-02T13:04:34.925" v="3859" actId="790"/>
          <ac:spMkLst>
            <pc:docMk/>
            <pc:sldMk cId="3758819461" sldId="7062"/>
            <ac:spMk id="163" creationId="{8C10E192-6509-4A42-8B23-F546A10C12CA}"/>
          </ac:spMkLst>
        </pc:spChg>
        <pc:spChg chg="mod">
          <ac:chgData name="Ugo MANTEL" userId="2d5b7065-31bb-4181-a7f8-a73bf0c30211" providerId="ADAL" clId="{F05BB0D5-3454-45DC-8378-DA45B79D9A06}" dt="2020-10-02T13:04:34.926" v="3860" actId="790"/>
          <ac:spMkLst>
            <pc:docMk/>
            <pc:sldMk cId="3758819461" sldId="7062"/>
            <ac:spMk id="164" creationId="{BB5162FE-DC2A-4FDA-811E-942ED31466EF}"/>
          </ac:spMkLst>
        </pc:spChg>
        <pc:spChg chg="mod">
          <ac:chgData name="Ugo MANTEL" userId="2d5b7065-31bb-4181-a7f8-a73bf0c30211" providerId="ADAL" clId="{F05BB0D5-3454-45DC-8378-DA45B79D9A06}" dt="2020-10-02T13:04:34.926" v="3861" actId="790"/>
          <ac:spMkLst>
            <pc:docMk/>
            <pc:sldMk cId="3758819461" sldId="7062"/>
            <ac:spMk id="166" creationId="{D2D4E721-2A81-4A9F-8737-3F02C2309B27}"/>
          </ac:spMkLst>
        </pc:spChg>
        <pc:spChg chg="mod">
          <ac:chgData name="Ugo MANTEL" userId="2d5b7065-31bb-4181-a7f8-a73bf0c30211" providerId="ADAL" clId="{F05BB0D5-3454-45DC-8378-DA45B79D9A06}" dt="2020-10-02T13:04:34.927" v="3862" actId="790"/>
          <ac:spMkLst>
            <pc:docMk/>
            <pc:sldMk cId="3758819461" sldId="7062"/>
            <ac:spMk id="167" creationId="{7030BF9B-67A5-42D2-82A8-FB956C568940}"/>
          </ac:spMkLst>
        </pc:spChg>
        <pc:spChg chg="mod">
          <ac:chgData name="Ugo MANTEL" userId="2d5b7065-31bb-4181-a7f8-a73bf0c30211" providerId="ADAL" clId="{F05BB0D5-3454-45DC-8378-DA45B79D9A06}" dt="2020-10-02T13:04:34.927" v="3863" actId="790"/>
          <ac:spMkLst>
            <pc:docMk/>
            <pc:sldMk cId="3758819461" sldId="7062"/>
            <ac:spMk id="169" creationId="{DDF419EF-196D-4127-8822-5150864C51A2}"/>
          </ac:spMkLst>
        </pc:spChg>
        <pc:spChg chg="mod">
          <ac:chgData name="Ugo MANTEL" userId="2d5b7065-31bb-4181-a7f8-a73bf0c30211" providerId="ADAL" clId="{F05BB0D5-3454-45DC-8378-DA45B79D9A06}" dt="2020-10-02T13:04:34.928" v="3864" actId="790"/>
          <ac:spMkLst>
            <pc:docMk/>
            <pc:sldMk cId="3758819461" sldId="7062"/>
            <ac:spMk id="170" creationId="{79D23F5B-18F7-4D51-AC07-12F6297C6374}"/>
          </ac:spMkLst>
        </pc:spChg>
        <pc:spChg chg="mod">
          <ac:chgData name="Ugo MANTEL" userId="2d5b7065-31bb-4181-a7f8-a73bf0c30211" providerId="ADAL" clId="{F05BB0D5-3454-45DC-8378-DA45B79D9A06}" dt="2020-10-02T13:04:34.928" v="3865" actId="790"/>
          <ac:spMkLst>
            <pc:docMk/>
            <pc:sldMk cId="3758819461" sldId="7062"/>
            <ac:spMk id="172" creationId="{2B3A83D2-17CA-4B2B-8BE9-80CFE1219E80}"/>
          </ac:spMkLst>
        </pc:spChg>
        <pc:spChg chg="mod">
          <ac:chgData name="Ugo MANTEL" userId="2d5b7065-31bb-4181-a7f8-a73bf0c30211" providerId="ADAL" clId="{F05BB0D5-3454-45DC-8378-DA45B79D9A06}" dt="2020-10-02T13:04:34.929" v="3866" actId="790"/>
          <ac:spMkLst>
            <pc:docMk/>
            <pc:sldMk cId="3758819461" sldId="7062"/>
            <ac:spMk id="173" creationId="{9E0D91C1-9394-40C2-8031-748ED7385352}"/>
          </ac:spMkLst>
        </pc:spChg>
        <pc:spChg chg="mod">
          <ac:chgData name="Ugo MANTEL" userId="2d5b7065-31bb-4181-a7f8-a73bf0c30211" providerId="ADAL" clId="{F05BB0D5-3454-45DC-8378-DA45B79D9A06}" dt="2020-10-02T13:04:34.930" v="3867" actId="790"/>
          <ac:spMkLst>
            <pc:docMk/>
            <pc:sldMk cId="3758819461" sldId="7062"/>
            <ac:spMk id="175" creationId="{DF54A37B-92CA-463D-A320-B636DCB82002}"/>
          </ac:spMkLst>
        </pc:spChg>
        <pc:spChg chg="mod">
          <ac:chgData name="Ugo MANTEL" userId="2d5b7065-31bb-4181-a7f8-a73bf0c30211" providerId="ADAL" clId="{F05BB0D5-3454-45DC-8378-DA45B79D9A06}" dt="2020-10-02T13:04:34.930" v="3868" actId="790"/>
          <ac:spMkLst>
            <pc:docMk/>
            <pc:sldMk cId="3758819461" sldId="7062"/>
            <ac:spMk id="176" creationId="{CEF3078C-0320-4112-A90B-5D8D8DEAF5BF}"/>
          </ac:spMkLst>
        </pc:spChg>
        <pc:spChg chg="mod">
          <ac:chgData name="Ugo MANTEL" userId="2d5b7065-31bb-4181-a7f8-a73bf0c30211" providerId="ADAL" clId="{F05BB0D5-3454-45DC-8378-DA45B79D9A06}" dt="2020-10-02T13:04:34.936" v="3876" actId="790"/>
          <ac:spMkLst>
            <pc:docMk/>
            <pc:sldMk cId="3758819461" sldId="7062"/>
            <ac:spMk id="177" creationId="{650E31D6-A5EA-4FFA-8BA9-76A62ADFC3C0}"/>
          </ac:spMkLst>
        </pc:spChg>
        <pc:spChg chg="mod">
          <ac:chgData name="Ugo MANTEL" userId="2d5b7065-31bb-4181-a7f8-a73bf0c30211" providerId="ADAL" clId="{F05BB0D5-3454-45DC-8378-DA45B79D9A06}" dt="2020-10-02T13:04:34.936" v="3877" actId="790"/>
          <ac:spMkLst>
            <pc:docMk/>
            <pc:sldMk cId="3758819461" sldId="7062"/>
            <ac:spMk id="178" creationId="{E0152863-39D1-4FB5-BA22-A1DCD2F59E5A}"/>
          </ac:spMkLst>
        </pc:spChg>
        <pc:spChg chg="mod">
          <ac:chgData name="Ugo MANTEL" userId="2d5b7065-31bb-4181-a7f8-a73bf0c30211" providerId="ADAL" clId="{F05BB0D5-3454-45DC-8378-DA45B79D9A06}" dt="2020-10-02T13:04:34.931" v="3869" actId="790"/>
          <ac:spMkLst>
            <pc:docMk/>
            <pc:sldMk cId="3758819461" sldId="7062"/>
            <ac:spMk id="181" creationId="{4FD6C715-17FA-40B5-8A2C-730F71B00925}"/>
          </ac:spMkLst>
        </pc:spChg>
        <pc:spChg chg="mod">
          <ac:chgData name="Ugo MANTEL" userId="2d5b7065-31bb-4181-a7f8-a73bf0c30211" providerId="ADAL" clId="{F05BB0D5-3454-45DC-8378-DA45B79D9A06}" dt="2020-10-02T13:04:34.931" v="3870" actId="790"/>
          <ac:spMkLst>
            <pc:docMk/>
            <pc:sldMk cId="3758819461" sldId="7062"/>
            <ac:spMk id="182" creationId="{2C721DFD-C910-4716-A6DC-8D05D366C44A}"/>
          </ac:spMkLst>
        </pc:spChg>
        <pc:spChg chg="mod">
          <ac:chgData name="Ugo MANTEL" userId="2d5b7065-31bb-4181-a7f8-a73bf0c30211" providerId="ADAL" clId="{F05BB0D5-3454-45DC-8378-DA45B79D9A06}" dt="2020-10-02T13:04:34.932" v="3871" actId="790"/>
          <ac:spMkLst>
            <pc:docMk/>
            <pc:sldMk cId="3758819461" sldId="7062"/>
            <ac:spMk id="184" creationId="{347CD8A5-5C71-4C79-A2AD-8F717845CC4F}"/>
          </ac:spMkLst>
        </pc:spChg>
        <pc:spChg chg="mod">
          <ac:chgData name="Ugo MANTEL" userId="2d5b7065-31bb-4181-a7f8-a73bf0c30211" providerId="ADAL" clId="{F05BB0D5-3454-45DC-8378-DA45B79D9A06}" dt="2020-10-02T13:04:34.933" v="3872" actId="790"/>
          <ac:spMkLst>
            <pc:docMk/>
            <pc:sldMk cId="3758819461" sldId="7062"/>
            <ac:spMk id="185" creationId="{A99F4FC1-5AC2-4BFC-BF2B-A801B2973CF5}"/>
          </ac:spMkLst>
        </pc:spChg>
        <pc:spChg chg="mod">
          <ac:chgData name="Ugo MANTEL" userId="2d5b7065-31bb-4181-a7f8-a73bf0c30211" providerId="ADAL" clId="{F05BB0D5-3454-45DC-8378-DA45B79D9A06}" dt="2020-10-02T13:04:34.866" v="3768" actId="790"/>
          <ac:spMkLst>
            <pc:docMk/>
            <pc:sldMk cId="3758819461" sldId="7062"/>
            <ac:spMk id="186" creationId="{4B897969-7E48-40AD-9AB3-04C2EB1C600D}"/>
          </ac:spMkLst>
        </pc:spChg>
        <pc:spChg chg="mod">
          <ac:chgData name="Ugo MANTEL" userId="2d5b7065-31bb-4181-a7f8-a73bf0c30211" providerId="ADAL" clId="{F05BB0D5-3454-45DC-8378-DA45B79D9A06}" dt="2020-10-02T13:04:34.937" v="3878" actId="790"/>
          <ac:spMkLst>
            <pc:docMk/>
            <pc:sldMk cId="3758819461" sldId="7062"/>
            <ac:spMk id="187" creationId="{D2F6C7A7-91AD-4F91-8AFD-7AE3E0EBAA90}"/>
          </ac:spMkLst>
        </pc:spChg>
        <pc:spChg chg="mod">
          <ac:chgData name="Ugo MANTEL" userId="2d5b7065-31bb-4181-a7f8-a73bf0c30211" providerId="ADAL" clId="{F05BB0D5-3454-45DC-8378-DA45B79D9A06}" dt="2020-10-02T13:04:34.938" v="3879" actId="790"/>
          <ac:spMkLst>
            <pc:docMk/>
            <pc:sldMk cId="3758819461" sldId="7062"/>
            <ac:spMk id="188" creationId="{064FE43A-4076-4FAA-A23E-EDDC53C8E4E1}"/>
          </ac:spMkLst>
        </pc:spChg>
        <pc:spChg chg="mod">
          <ac:chgData name="Ugo MANTEL" userId="2d5b7065-31bb-4181-a7f8-a73bf0c30211" providerId="ADAL" clId="{F05BB0D5-3454-45DC-8378-DA45B79D9A06}" dt="2020-10-02T13:04:34.938" v="3880" actId="790"/>
          <ac:spMkLst>
            <pc:docMk/>
            <pc:sldMk cId="3758819461" sldId="7062"/>
            <ac:spMk id="190" creationId="{2A44CCA5-BE5C-457D-A6AD-D94F18905182}"/>
          </ac:spMkLst>
        </pc:spChg>
        <pc:spChg chg="mod">
          <ac:chgData name="Ugo MANTEL" userId="2d5b7065-31bb-4181-a7f8-a73bf0c30211" providerId="ADAL" clId="{F05BB0D5-3454-45DC-8378-DA45B79D9A06}" dt="2020-10-02T13:04:34.939" v="3881" actId="790"/>
          <ac:spMkLst>
            <pc:docMk/>
            <pc:sldMk cId="3758819461" sldId="7062"/>
            <ac:spMk id="191" creationId="{5C70BE64-58A9-43EF-B0FC-5B0C797EF80C}"/>
          </ac:spMkLst>
        </pc:spChg>
        <pc:spChg chg="mod">
          <ac:chgData name="Ugo MANTEL" userId="2d5b7065-31bb-4181-a7f8-a73bf0c30211" providerId="ADAL" clId="{F05BB0D5-3454-45DC-8378-DA45B79D9A06}" dt="2020-10-02T13:04:34.939" v="3882" actId="790"/>
          <ac:spMkLst>
            <pc:docMk/>
            <pc:sldMk cId="3758819461" sldId="7062"/>
            <ac:spMk id="193" creationId="{F5D48394-7623-4763-9F62-5A4CDB43D540}"/>
          </ac:spMkLst>
        </pc:spChg>
        <pc:spChg chg="mod">
          <ac:chgData name="Ugo MANTEL" userId="2d5b7065-31bb-4181-a7f8-a73bf0c30211" providerId="ADAL" clId="{F05BB0D5-3454-45DC-8378-DA45B79D9A06}" dt="2020-10-02T13:04:34.940" v="3883" actId="790"/>
          <ac:spMkLst>
            <pc:docMk/>
            <pc:sldMk cId="3758819461" sldId="7062"/>
            <ac:spMk id="194" creationId="{5E7BE32B-E9AA-4EF5-9547-37321578EB73}"/>
          </ac:spMkLst>
        </pc:spChg>
        <pc:spChg chg="mod">
          <ac:chgData name="Ugo MANTEL" userId="2d5b7065-31bb-4181-a7f8-a73bf0c30211" providerId="ADAL" clId="{F05BB0D5-3454-45DC-8378-DA45B79D9A06}" dt="2020-10-02T13:04:34.941" v="3884" actId="790"/>
          <ac:spMkLst>
            <pc:docMk/>
            <pc:sldMk cId="3758819461" sldId="7062"/>
            <ac:spMk id="196" creationId="{995B103C-28DA-4096-9328-BBAB44CCA4EA}"/>
          </ac:spMkLst>
        </pc:spChg>
        <pc:spChg chg="mod">
          <ac:chgData name="Ugo MANTEL" userId="2d5b7065-31bb-4181-a7f8-a73bf0c30211" providerId="ADAL" clId="{F05BB0D5-3454-45DC-8378-DA45B79D9A06}" dt="2020-10-02T13:04:34.941" v="3885" actId="790"/>
          <ac:spMkLst>
            <pc:docMk/>
            <pc:sldMk cId="3758819461" sldId="7062"/>
            <ac:spMk id="197" creationId="{15437E17-57AD-4D04-9504-FB231D79FB53}"/>
          </ac:spMkLst>
        </pc:spChg>
        <pc:spChg chg="mod">
          <ac:chgData name="Ugo MANTEL" userId="2d5b7065-31bb-4181-a7f8-a73bf0c30211" providerId="ADAL" clId="{F05BB0D5-3454-45DC-8378-DA45B79D9A06}" dt="2020-10-02T13:04:34.942" v="3886" actId="790"/>
          <ac:spMkLst>
            <pc:docMk/>
            <pc:sldMk cId="3758819461" sldId="7062"/>
            <ac:spMk id="199" creationId="{5B73425F-D0F3-4C69-B449-DDD0EF77F83F}"/>
          </ac:spMkLst>
        </pc:spChg>
        <pc:spChg chg="mod">
          <ac:chgData name="Ugo MANTEL" userId="2d5b7065-31bb-4181-a7f8-a73bf0c30211" providerId="ADAL" clId="{F05BB0D5-3454-45DC-8378-DA45B79D9A06}" dt="2020-10-02T13:04:34.942" v="3887" actId="790"/>
          <ac:spMkLst>
            <pc:docMk/>
            <pc:sldMk cId="3758819461" sldId="7062"/>
            <ac:spMk id="200" creationId="{2E94C22F-D805-41F9-9FD4-C585F9FD3059}"/>
          </ac:spMkLst>
        </pc:spChg>
        <pc:spChg chg="mod">
          <ac:chgData name="Ugo MANTEL" userId="2d5b7065-31bb-4181-a7f8-a73bf0c30211" providerId="ADAL" clId="{F05BB0D5-3454-45DC-8378-DA45B79D9A06}" dt="2020-10-02T13:04:34.943" v="3888" actId="790"/>
          <ac:spMkLst>
            <pc:docMk/>
            <pc:sldMk cId="3758819461" sldId="7062"/>
            <ac:spMk id="202" creationId="{C43D9678-22FC-46FA-8C6A-3D03A3980F0F}"/>
          </ac:spMkLst>
        </pc:spChg>
        <pc:spChg chg="mod">
          <ac:chgData name="Ugo MANTEL" userId="2d5b7065-31bb-4181-a7f8-a73bf0c30211" providerId="ADAL" clId="{F05BB0D5-3454-45DC-8378-DA45B79D9A06}" dt="2020-10-02T13:04:34.944" v="3889" actId="790"/>
          <ac:spMkLst>
            <pc:docMk/>
            <pc:sldMk cId="3758819461" sldId="7062"/>
            <ac:spMk id="203" creationId="{54F38626-557B-4B78-AF83-A6BA0799ABC5}"/>
          </ac:spMkLst>
        </pc:spChg>
      </pc:sldChg>
      <pc:sldChg chg="modSp mod">
        <pc:chgData name="Ugo MANTEL" userId="2d5b7065-31bb-4181-a7f8-a73bf0c30211" providerId="ADAL" clId="{F05BB0D5-3454-45DC-8378-DA45B79D9A06}" dt="2020-10-02T13:04:36.354" v="5014" actId="790"/>
        <pc:sldMkLst>
          <pc:docMk/>
          <pc:sldMk cId="1160709454" sldId="7063"/>
        </pc:sldMkLst>
        <pc:spChg chg="mod">
          <ac:chgData name="Ugo MANTEL" userId="2d5b7065-31bb-4181-a7f8-a73bf0c30211" providerId="ADAL" clId="{F05BB0D5-3454-45DC-8378-DA45B79D9A06}" dt="2020-10-02T13:04:36.294" v="4960" actId="790"/>
          <ac:spMkLst>
            <pc:docMk/>
            <pc:sldMk cId="1160709454" sldId="7063"/>
            <ac:spMk id="3" creationId="{FD70D31D-826B-4734-9BA5-6BF9E1B35CD7}"/>
          </ac:spMkLst>
        </pc:spChg>
        <pc:spChg chg="mod">
          <ac:chgData name="Ugo MANTEL" userId="2d5b7065-31bb-4181-a7f8-a73bf0c30211" providerId="ADAL" clId="{F05BB0D5-3454-45DC-8378-DA45B79D9A06}" dt="2020-10-02T13:04:36.291" v="4959" actId="790"/>
          <ac:spMkLst>
            <pc:docMk/>
            <pc:sldMk cId="1160709454" sldId="7063"/>
            <ac:spMk id="4" creationId="{223137E0-84BC-457F-ADEC-D1DD35CBCB0D}"/>
          </ac:spMkLst>
        </pc:spChg>
        <pc:spChg chg="mod">
          <ac:chgData name="Ugo MANTEL" userId="2d5b7065-31bb-4181-a7f8-a73bf0c30211" providerId="ADAL" clId="{F05BB0D5-3454-45DC-8378-DA45B79D9A06}" dt="2020-10-02T13:04:36.295" v="4961" actId="790"/>
          <ac:spMkLst>
            <pc:docMk/>
            <pc:sldMk cId="1160709454" sldId="7063"/>
            <ac:spMk id="7" creationId="{166E8B48-84F4-4BB2-8C10-6B31FD3F9165}"/>
          </ac:spMkLst>
        </pc:spChg>
        <pc:spChg chg="mod">
          <ac:chgData name="Ugo MANTEL" userId="2d5b7065-31bb-4181-a7f8-a73bf0c30211" providerId="ADAL" clId="{F05BB0D5-3454-45DC-8378-DA45B79D9A06}" dt="2020-10-02T13:04:36.295" v="4962" actId="790"/>
          <ac:spMkLst>
            <pc:docMk/>
            <pc:sldMk cId="1160709454" sldId="7063"/>
            <ac:spMk id="8" creationId="{CFFED150-F15E-4143-9A54-4334562F3086}"/>
          </ac:spMkLst>
        </pc:spChg>
        <pc:spChg chg="mod">
          <ac:chgData name="Ugo MANTEL" userId="2d5b7065-31bb-4181-a7f8-a73bf0c30211" providerId="ADAL" clId="{F05BB0D5-3454-45DC-8378-DA45B79D9A06}" dt="2020-10-02T13:04:36.296" v="4963" actId="790"/>
          <ac:spMkLst>
            <pc:docMk/>
            <pc:sldMk cId="1160709454" sldId="7063"/>
            <ac:spMk id="9" creationId="{E64F1C6A-D4E8-4CA6-BC8E-B78F6A10EFB8}"/>
          </ac:spMkLst>
        </pc:spChg>
        <pc:spChg chg="mod">
          <ac:chgData name="Ugo MANTEL" userId="2d5b7065-31bb-4181-a7f8-a73bf0c30211" providerId="ADAL" clId="{F05BB0D5-3454-45DC-8378-DA45B79D9A06}" dt="2020-10-02T13:04:36.297" v="4964" actId="790"/>
          <ac:spMkLst>
            <pc:docMk/>
            <pc:sldMk cId="1160709454" sldId="7063"/>
            <ac:spMk id="10" creationId="{233EB8B1-7421-469B-8E66-23F345C414E5}"/>
          </ac:spMkLst>
        </pc:spChg>
        <pc:spChg chg="mod">
          <ac:chgData name="Ugo MANTEL" userId="2d5b7065-31bb-4181-a7f8-a73bf0c30211" providerId="ADAL" clId="{F05BB0D5-3454-45DC-8378-DA45B79D9A06}" dt="2020-10-02T13:04:36.298" v="4965" actId="790"/>
          <ac:spMkLst>
            <pc:docMk/>
            <pc:sldMk cId="1160709454" sldId="7063"/>
            <ac:spMk id="18" creationId="{9969ECDB-6980-4E23-9B5E-F2FE792421C5}"/>
          </ac:spMkLst>
        </pc:spChg>
        <pc:spChg chg="mod">
          <ac:chgData name="Ugo MANTEL" userId="2d5b7065-31bb-4181-a7f8-a73bf0c30211" providerId="ADAL" clId="{F05BB0D5-3454-45DC-8378-DA45B79D9A06}" dt="2020-10-02T13:04:36.300" v="4966" actId="790"/>
          <ac:spMkLst>
            <pc:docMk/>
            <pc:sldMk cId="1160709454" sldId="7063"/>
            <ac:spMk id="21" creationId="{D68A4DA9-A92E-492F-9ED1-2909B0CC95D8}"/>
          </ac:spMkLst>
        </pc:spChg>
        <pc:spChg chg="mod">
          <ac:chgData name="Ugo MANTEL" userId="2d5b7065-31bb-4181-a7f8-a73bf0c30211" providerId="ADAL" clId="{F05BB0D5-3454-45DC-8378-DA45B79D9A06}" dt="2020-10-02T13:04:36.303" v="4967" actId="790"/>
          <ac:spMkLst>
            <pc:docMk/>
            <pc:sldMk cId="1160709454" sldId="7063"/>
            <ac:spMk id="22" creationId="{D4A4AAF7-56FA-4289-8AB4-67B49180FC64}"/>
          </ac:spMkLst>
        </pc:spChg>
        <pc:spChg chg="mod">
          <ac:chgData name="Ugo MANTEL" userId="2d5b7065-31bb-4181-a7f8-a73bf0c30211" providerId="ADAL" clId="{F05BB0D5-3454-45DC-8378-DA45B79D9A06}" dt="2020-10-02T13:04:36.304" v="4968" actId="790"/>
          <ac:spMkLst>
            <pc:docMk/>
            <pc:sldMk cId="1160709454" sldId="7063"/>
            <ac:spMk id="23" creationId="{A6FA59C3-6710-4DA9-81C9-AC8EF4BA8627}"/>
          </ac:spMkLst>
        </pc:spChg>
        <pc:spChg chg="mod">
          <ac:chgData name="Ugo MANTEL" userId="2d5b7065-31bb-4181-a7f8-a73bf0c30211" providerId="ADAL" clId="{F05BB0D5-3454-45DC-8378-DA45B79D9A06}" dt="2020-10-02T13:04:36.305" v="4969" actId="790"/>
          <ac:spMkLst>
            <pc:docMk/>
            <pc:sldMk cId="1160709454" sldId="7063"/>
            <ac:spMk id="24" creationId="{EC250146-B3B8-48A4-BC10-4530768778F0}"/>
          </ac:spMkLst>
        </pc:spChg>
        <pc:spChg chg="mod">
          <ac:chgData name="Ugo MANTEL" userId="2d5b7065-31bb-4181-a7f8-a73bf0c30211" providerId="ADAL" clId="{F05BB0D5-3454-45DC-8378-DA45B79D9A06}" dt="2020-10-02T13:04:36.307" v="4970" actId="790"/>
          <ac:spMkLst>
            <pc:docMk/>
            <pc:sldMk cId="1160709454" sldId="7063"/>
            <ac:spMk id="25" creationId="{D2973020-4BB7-43DA-AC10-2EF4DD677F41}"/>
          </ac:spMkLst>
        </pc:spChg>
        <pc:spChg chg="mod">
          <ac:chgData name="Ugo MANTEL" userId="2d5b7065-31bb-4181-a7f8-a73bf0c30211" providerId="ADAL" clId="{F05BB0D5-3454-45DC-8378-DA45B79D9A06}" dt="2020-10-02T13:04:36.308" v="4971" actId="790"/>
          <ac:spMkLst>
            <pc:docMk/>
            <pc:sldMk cId="1160709454" sldId="7063"/>
            <ac:spMk id="26" creationId="{78DBA9BC-FC4F-449D-B8D1-CB529D218209}"/>
          </ac:spMkLst>
        </pc:spChg>
        <pc:spChg chg="mod">
          <ac:chgData name="Ugo MANTEL" userId="2d5b7065-31bb-4181-a7f8-a73bf0c30211" providerId="ADAL" clId="{F05BB0D5-3454-45DC-8378-DA45B79D9A06}" dt="2020-10-02T13:04:36.308" v="4972" actId="790"/>
          <ac:spMkLst>
            <pc:docMk/>
            <pc:sldMk cId="1160709454" sldId="7063"/>
            <ac:spMk id="27" creationId="{37AD1E10-AFBF-4BFB-8066-344CED349E0E}"/>
          </ac:spMkLst>
        </pc:spChg>
        <pc:spChg chg="mod">
          <ac:chgData name="Ugo MANTEL" userId="2d5b7065-31bb-4181-a7f8-a73bf0c30211" providerId="ADAL" clId="{F05BB0D5-3454-45DC-8378-DA45B79D9A06}" dt="2020-10-02T13:04:36.317" v="4973" actId="790"/>
          <ac:spMkLst>
            <pc:docMk/>
            <pc:sldMk cId="1160709454" sldId="7063"/>
            <ac:spMk id="28" creationId="{7CC63C13-7527-4D11-ABFC-8390AB107757}"/>
          </ac:spMkLst>
        </pc:spChg>
        <pc:spChg chg="mod">
          <ac:chgData name="Ugo MANTEL" userId="2d5b7065-31bb-4181-a7f8-a73bf0c30211" providerId="ADAL" clId="{F05BB0D5-3454-45DC-8378-DA45B79D9A06}" dt="2020-10-02T13:04:36.318" v="4974" actId="790"/>
          <ac:spMkLst>
            <pc:docMk/>
            <pc:sldMk cId="1160709454" sldId="7063"/>
            <ac:spMk id="29" creationId="{8124831C-DC17-4B6E-9170-9F7244CC2000}"/>
          </ac:spMkLst>
        </pc:spChg>
        <pc:spChg chg="mod">
          <ac:chgData name="Ugo MANTEL" userId="2d5b7065-31bb-4181-a7f8-a73bf0c30211" providerId="ADAL" clId="{F05BB0D5-3454-45DC-8378-DA45B79D9A06}" dt="2020-10-02T13:04:36.321" v="4977" actId="790"/>
          <ac:spMkLst>
            <pc:docMk/>
            <pc:sldMk cId="1160709454" sldId="7063"/>
            <ac:spMk id="32" creationId="{B7C86EBA-143B-4210-90E0-DE5F940156C8}"/>
          </ac:spMkLst>
        </pc:spChg>
        <pc:spChg chg="mod">
          <ac:chgData name="Ugo MANTEL" userId="2d5b7065-31bb-4181-a7f8-a73bf0c30211" providerId="ADAL" clId="{F05BB0D5-3454-45DC-8378-DA45B79D9A06}" dt="2020-10-02T13:04:36.322" v="4978" actId="790"/>
          <ac:spMkLst>
            <pc:docMk/>
            <pc:sldMk cId="1160709454" sldId="7063"/>
            <ac:spMk id="33" creationId="{9A92DEFC-3820-4FCB-85B7-14981A6780C1}"/>
          </ac:spMkLst>
        </pc:spChg>
        <pc:spChg chg="mod">
          <ac:chgData name="Ugo MANTEL" userId="2d5b7065-31bb-4181-a7f8-a73bf0c30211" providerId="ADAL" clId="{F05BB0D5-3454-45DC-8378-DA45B79D9A06}" dt="2020-10-02T13:04:36.319" v="4975" actId="790"/>
          <ac:spMkLst>
            <pc:docMk/>
            <pc:sldMk cId="1160709454" sldId="7063"/>
            <ac:spMk id="34" creationId="{75EB829A-5700-43B0-93D5-CC9ED2F73FFE}"/>
          </ac:spMkLst>
        </pc:spChg>
        <pc:spChg chg="mod">
          <ac:chgData name="Ugo MANTEL" userId="2d5b7065-31bb-4181-a7f8-a73bf0c30211" providerId="ADAL" clId="{F05BB0D5-3454-45DC-8378-DA45B79D9A06}" dt="2020-10-02T13:04:36.320" v="4976" actId="790"/>
          <ac:spMkLst>
            <pc:docMk/>
            <pc:sldMk cId="1160709454" sldId="7063"/>
            <ac:spMk id="35" creationId="{3654122D-CE5E-4DF0-A904-684C07442176}"/>
          </ac:spMkLst>
        </pc:spChg>
        <pc:spChg chg="mod">
          <ac:chgData name="Ugo MANTEL" userId="2d5b7065-31bb-4181-a7f8-a73bf0c30211" providerId="ADAL" clId="{F05BB0D5-3454-45DC-8378-DA45B79D9A06}" dt="2020-10-02T13:04:36.324" v="4981" actId="790"/>
          <ac:spMkLst>
            <pc:docMk/>
            <pc:sldMk cId="1160709454" sldId="7063"/>
            <ac:spMk id="38" creationId="{7EB6C535-9F2D-4DA5-B441-835903F55E11}"/>
          </ac:spMkLst>
        </pc:spChg>
        <pc:spChg chg="mod">
          <ac:chgData name="Ugo MANTEL" userId="2d5b7065-31bb-4181-a7f8-a73bf0c30211" providerId="ADAL" clId="{F05BB0D5-3454-45DC-8378-DA45B79D9A06}" dt="2020-10-02T13:04:36.325" v="4982" actId="790"/>
          <ac:spMkLst>
            <pc:docMk/>
            <pc:sldMk cId="1160709454" sldId="7063"/>
            <ac:spMk id="39" creationId="{E96E5A6A-123D-4956-AB9A-816F640AAA75}"/>
          </ac:spMkLst>
        </pc:spChg>
        <pc:spChg chg="mod">
          <ac:chgData name="Ugo MANTEL" userId="2d5b7065-31bb-4181-a7f8-a73bf0c30211" providerId="ADAL" clId="{F05BB0D5-3454-45DC-8378-DA45B79D9A06}" dt="2020-10-02T13:04:36.323" v="4979" actId="790"/>
          <ac:spMkLst>
            <pc:docMk/>
            <pc:sldMk cId="1160709454" sldId="7063"/>
            <ac:spMk id="40" creationId="{43DD4B0A-4BFA-4431-A95E-8C7169B60544}"/>
          </ac:spMkLst>
        </pc:spChg>
        <pc:spChg chg="mod">
          <ac:chgData name="Ugo MANTEL" userId="2d5b7065-31bb-4181-a7f8-a73bf0c30211" providerId="ADAL" clId="{F05BB0D5-3454-45DC-8378-DA45B79D9A06}" dt="2020-10-02T13:04:36.323" v="4980" actId="790"/>
          <ac:spMkLst>
            <pc:docMk/>
            <pc:sldMk cId="1160709454" sldId="7063"/>
            <ac:spMk id="41" creationId="{4731E603-EE8E-491D-A974-BBE3E048F2CB}"/>
          </ac:spMkLst>
        </pc:spChg>
        <pc:spChg chg="mod">
          <ac:chgData name="Ugo MANTEL" userId="2d5b7065-31bb-4181-a7f8-a73bf0c30211" providerId="ADAL" clId="{F05BB0D5-3454-45DC-8378-DA45B79D9A06}" dt="2020-10-02T13:04:36.326" v="4985" actId="790"/>
          <ac:spMkLst>
            <pc:docMk/>
            <pc:sldMk cId="1160709454" sldId="7063"/>
            <ac:spMk id="44" creationId="{260CB0AE-BDAA-443C-BAAD-5A3CBDC3174F}"/>
          </ac:spMkLst>
        </pc:spChg>
        <pc:spChg chg="mod">
          <ac:chgData name="Ugo MANTEL" userId="2d5b7065-31bb-4181-a7f8-a73bf0c30211" providerId="ADAL" clId="{F05BB0D5-3454-45DC-8378-DA45B79D9A06}" dt="2020-10-02T13:04:36.327" v="4986" actId="790"/>
          <ac:spMkLst>
            <pc:docMk/>
            <pc:sldMk cId="1160709454" sldId="7063"/>
            <ac:spMk id="45" creationId="{932FD890-7B0E-49C7-84AC-52DCCC82037F}"/>
          </ac:spMkLst>
        </pc:spChg>
        <pc:spChg chg="mod">
          <ac:chgData name="Ugo MANTEL" userId="2d5b7065-31bb-4181-a7f8-a73bf0c30211" providerId="ADAL" clId="{F05BB0D5-3454-45DC-8378-DA45B79D9A06}" dt="2020-10-02T13:04:36.325" v="4983" actId="790"/>
          <ac:spMkLst>
            <pc:docMk/>
            <pc:sldMk cId="1160709454" sldId="7063"/>
            <ac:spMk id="46" creationId="{70BF0199-DE35-4862-AB7A-EA6E55405E07}"/>
          </ac:spMkLst>
        </pc:spChg>
        <pc:spChg chg="mod">
          <ac:chgData name="Ugo MANTEL" userId="2d5b7065-31bb-4181-a7f8-a73bf0c30211" providerId="ADAL" clId="{F05BB0D5-3454-45DC-8378-DA45B79D9A06}" dt="2020-10-02T13:04:36.326" v="4984" actId="790"/>
          <ac:spMkLst>
            <pc:docMk/>
            <pc:sldMk cId="1160709454" sldId="7063"/>
            <ac:spMk id="47" creationId="{024A274A-0113-44DF-AD83-CCD6627AF420}"/>
          </ac:spMkLst>
        </pc:spChg>
        <pc:spChg chg="mod">
          <ac:chgData name="Ugo MANTEL" userId="2d5b7065-31bb-4181-a7f8-a73bf0c30211" providerId="ADAL" clId="{F05BB0D5-3454-45DC-8378-DA45B79D9A06}" dt="2020-10-02T13:04:36.328" v="4987" actId="790"/>
          <ac:spMkLst>
            <pc:docMk/>
            <pc:sldMk cId="1160709454" sldId="7063"/>
            <ac:spMk id="48" creationId="{713F9A58-1391-46A3-B003-3FED744FB669}"/>
          </ac:spMkLst>
        </pc:spChg>
        <pc:spChg chg="mod">
          <ac:chgData name="Ugo MANTEL" userId="2d5b7065-31bb-4181-a7f8-a73bf0c30211" providerId="ADAL" clId="{F05BB0D5-3454-45DC-8378-DA45B79D9A06}" dt="2020-10-02T13:04:36.328" v="4988" actId="790"/>
          <ac:spMkLst>
            <pc:docMk/>
            <pc:sldMk cId="1160709454" sldId="7063"/>
            <ac:spMk id="49" creationId="{00CB6C50-6B34-4AEC-84C9-3216ED620A23}"/>
          </ac:spMkLst>
        </pc:spChg>
        <pc:spChg chg="mod">
          <ac:chgData name="Ugo MANTEL" userId="2d5b7065-31bb-4181-a7f8-a73bf0c30211" providerId="ADAL" clId="{F05BB0D5-3454-45DC-8378-DA45B79D9A06}" dt="2020-10-02T13:04:36.329" v="4989" actId="790"/>
          <ac:spMkLst>
            <pc:docMk/>
            <pc:sldMk cId="1160709454" sldId="7063"/>
            <ac:spMk id="52" creationId="{B6F5F523-4BDC-46E2-A2DC-348B00782EBB}"/>
          </ac:spMkLst>
        </pc:spChg>
        <pc:spChg chg="mod">
          <ac:chgData name="Ugo MANTEL" userId="2d5b7065-31bb-4181-a7f8-a73bf0c30211" providerId="ADAL" clId="{F05BB0D5-3454-45DC-8378-DA45B79D9A06}" dt="2020-10-02T13:04:36.330" v="4990" actId="790"/>
          <ac:spMkLst>
            <pc:docMk/>
            <pc:sldMk cId="1160709454" sldId="7063"/>
            <ac:spMk id="53" creationId="{8776A789-E5D0-4573-84CC-568F6EC3F8EB}"/>
          </ac:spMkLst>
        </pc:spChg>
        <pc:spChg chg="mod">
          <ac:chgData name="Ugo MANTEL" userId="2d5b7065-31bb-4181-a7f8-a73bf0c30211" providerId="ADAL" clId="{F05BB0D5-3454-45DC-8378-DA45B79D9A06}" dt="2020-10-02T13:04:36.331" v="4991" actId="790"/>
          <ac:spMkLst>
            <pc:docMk/>
            <pc:sldMk cId="1160709454" sldId="7063"/>
            <ac:spMk id="55" creationId="{D8FAEAE8-4DBF-41E4-8861-819BB1899EE8}"/>
          </ac:spMkLst>
        </pc:spChg>
        <pc:spChg chg="mod">
          <ac:chgData name="Ugo MANTEL" userId="2d5b7065-31bb-4181-a7f8-a73bf0c30211" providerId="ADAL" clId="{F05BB0D5-3454-45DC-8378-DA45B79D9A06}" dt="2020-10-02T13:04:36.331" v="4992" actId="790"/>
          <ac:spMkLst>
            <pc:docMk/>
            <pc:sldMk cId="1160709454" sldId="7063"/>
            <ac:spMk id="56" creationId="{3B5A7B43-EFCD-41F7-AF8B-F6CAE3A15B86}"/>
          </ac:spMkLst>
        </pc:spChg>
        <pc:spChg chg="mod">
          <ac:chgData name="Ugo MANTEL" userId="2d5b7065-31bb-4181-a7f8-a73bf0c30211" providerId="ADAL" clId="{F05BB0D5-3454-45DC-8378-DA45B79D9A06}" dt="2020-10-02T13:04:36.333" v="4993" actId="790"/>
          <ac:spMkLst>
            <pc:docMk/>
            <pc:sldMk cId="1160709454" sldId="7063"/>
            <ac:spMk id="57" creationId="{2E6CA91C-019B-48A6-B9CA-68F121D64DF3}"/>
          </ac:spMkLst>
        </pc:spChg>
        <pc:spChg chg="mod">
          <ac:chgData name="Ugo MANTEL" userId="2d5b7065-31bb-4181-a7f8-a73bf0c30211" providerId="ADAL" clId="{F05BB0D5-3454-45DC-8378-DA45B79D9A06}" dt="2020-10-02T13:04:36.334" v="4994" actId="790"/>
          <ac:spMkLst>
            <pc:docMk/>
            <pc:sldMk cId="1160709454" sldId="7063"/>
            <ac:spMk id="58" creationId="{46F9E5A2-4D43-4CF2-A589-9190DE1A0E0A}"/>
          </ac:spMkLst>
        </pc:spChg>
        <pc:spChg chg="mod">
          <ac:chgData name="Ugo MANTEL" userId="2d5b7065-31bb-4181-a7f8-a73bf0c30211" providerId="ADAL" clId="{F05BB0D5-3454-45DC-8378-DA45B79D9A06}" dt="2020-10-02T13:04:36.335" v="4995" actId="790"/>
          <ac:spMkLst>
            <pc:docMk/>
            <pc:sldMk cId="1160709454" sldId="7063"/>
            <ac:spMk id="60" creationId="{86018B54-279D-4A3E-8A88-00142AF3E690}"/>
          </ac:spMkLst>
        </pc:spChg>
        <pc:spChg chg="mod">
          <ac:chgData name="Ugo MANTEL" userId="2d5b7065-31bb-4181-a7f8-a73bf0c30211" providerId="ADAL" clId="{F05BB0D5-3454-45DC-8378-DA45B79D9A06}" dt="2020-10-02T13:04:36.335" v="4996" actId="790"/>
          <ac:spMkLst>
            <pc:docMk/>
            <pc:sldMk cId="1160709454" sldId="7063"/>
            <ac:spMk id="61" creationId="{E75CCEA0-CEE7-4A9E-A1D9-50805DCB49CA}"/>
          </ac:spMkLst>
        </pc:spChg>
        <pc:spChg chg="mod">
          <ac:chgData name="Ugo MANTEL" userId="2d5b7065-31bb-4181-a7f8-a73bf0c30211" providerId="ADAL" clId="{F05BB0D5-3454-45DC-8378-DA45B79D9A06}" dt="2020-10-02T13:04:36.336" v="4997" actId="790"/>
          <ac:spMkLst>
            <pc:docMk/>
            <pc:sldMk cId="1160709454" sldId="7063"/>
            <ac:spMk id="62" creationId="{761CABC1-5B64-4A7F-B6A8-459BAFD4AC55}"/>
          </ac:spMkLst>
        </pc:spChg>
        <pc:spChg chg="mod">
          <ac:chgData name="Ugo MANTEL" userId="2d5b7065-31bb-4181-a7f8-a73bf0c30211" providerId="ADAL" clId="{F05BB0D5-3454-45DC-8378-DA45B79D9A06}" dt="2020-10-02T13:04:36.337" v="4998" actId="790"/>
          <ac:spMkLst>
            <pc:docMk/>
            <pc:sldMk cId="1160709454" sldId="7063"/>
            <ac:spMk id="63" creationId="{4FC3ABB7-8925-4633-9543-8FC5348A6D31}"/>
          </ac:spMkLst>
        </pc:spChg>
        <pc:spChg chg="mod">
          <ac:chgData name="Ugo MANTEL" userId="2d5b7065-31bb-4181-a7f8-a73bf0c30211" providerId="ADAL" clId="{F05BB0D5-3454-45DC-8378-DA45B79D9A06}" dt="2020-10-02T13:04:36.337" v="4999" actId="790"/>
          <ac:spMkLst>
            <pc:docMk/>
            <pc:sldMk cId="1160709454" sldId="7063"/>
            <ac:spMk id="64" creationId="{F4FD71B2-D7BC-43A0-8DB4-61678CD3D3D6}"/>
          </ac:spMkLst>
        </pc:spChg>
        <pc:spChg chg="mod">
          <ac:chgData name="Ugo MANTEL" userId="2d5b7065-31bb-4181-a7f8-a73bf0c30211" providerId="ADAL" clId="{F05BB0D5-3454-45DC-8378-DA45B79D9A06}" dt="2020-10-02T13:04:36.338" v="5000" actId="790"/>
          <ac:spMkLst>
            <pc:docMk/>
            <pc:sldMk cId="1160709454" sldId="7063"/>
            <ac:spMk id="65" creationId="{0864AB09-8ECD-4C9D-A121-4BB10A10D1EB}"/>
          </ac:spMkLst>
        </pc:spChg>
        <pc:spChg chg="mod">
          <ac:chgData name="Ugo MANTEL" userId="2d5b7065-31bb-4181-a7f8-a73bf0c30211" providerId="ADAL" clId="{F05BB0D5-3454-45DC-8378-DA45B79D9A06}" dt="2020-10-02T13:04:36.338" v="5001" actId="790"/>
          <ac:spMkLst>
            <pc:docMk/>
            <pc:sldMk cId="1160709454" sldId="7063"/>
            <ac:spMk id="66" creationId="{0CB4E9D3-9094-4E9C-A8A1-2EA581E85E26}"/>
          </ac:spMkLst>
        </pc:spChg>
        <pc:spChg chg="mod">
          <ac:chgData name="Ugo MANTEL" userId="2d5b7065-31bb-4181-a7f8-a73bf0c30211" providerId="ADAL" clId="{F05BB0D5-3454-45DC-8378-DA45B79D9A06}" dt="2020-10-02T13:04:36.339" v="5002" actId="790"/>
          <ac:spMkLst>
            <pc:docMk/>
            <pc:sldMk cId="1160709454" sldId="7063"/>
            <ac:spMk id="67" creationId="{E5474CD6-C49D-4422-802A-FA0FAD72C1D4}"/>
          </ac:spMkLst>
        </pc:spChg>
        <pc:spChg chg="mod">
          <ac:chgData name="Ugo MANTEL" userId="2d5b7065-31bb-4181-a7f8-a73bf0c30211" providerId="ADAL" clId="{F05BB0D5-3454-45DC-8378-DA45B79D9A06}" dt="2020-10-02T13:04:36.340" v="5003" actId="790"/>
          <ac:spMkLst>
            <pc:docMk/>
            <pc:sldMk cId="1160709454" sldId="7063"/>
            <ac:spMk id="68" creationId="{CE359F2A-5F5D-49E6-A890-CB8DFE7AAA7B}"/>
          </ac:spMkLst>
        </pc:spChg>
        <pc:spChg chg="mod">
          <ac:chgData name="Ugo MANTEL" userId="2d5b7065-31bb-4181-a7f8-a73bf0c30211" providerId="ADAL" clId="{F05BB0D5-3454-45DC-8378-DA45B79D9A06}" dt="2020-10-02T13:04:36.342" v="5004" actId="790"/>
          <ac:spMkLst>
            <pc:docMk/>
            <pc:sldMk cId="1160709454" sldId="7063"/>
            <ac:spMk id="72" creationId="{695BFABD-5173-4026-9D07-196E7D495D61}"/>
          </ac:spMkLst>
        </pc:spChg>
        <pc:spChg chg="mod">
          <ac:chgData name="Ugo MANTEL" userId="2d5b7065-31bb-4181-a7f8-a73bf0c30211" providerId="ADAL" clId="{F05BB0D5-3454-45DC-8378-DA45B79D9A06}" dt="2020-10-02T13:04:36.345" v="5005" actId="790"/>
          <ac:spMkLst>
            <pc:docMk/>
            <pc:sldMk cId="1160709454" sldId="7063"/>
            <ac:spMk id="79" creationId="{17F935CD-D131-42AF-B469-629B78D05EC1}"/>
          </ac:spMkLst>
        </pc:spChg>
        <pc:spChg chg="mod">
          <ac:chgData name="Ugo MANTEL" userId="2d5b7065-31bb-4181-a7f8-a73bf0c30211" providerId="ADAL" clId="{F05BB0D5-3454-45DC-8378-DA45B79D9A06}" dt="2020-10-02T13:04:36.348" v="5006" actId="790"/>
          <ac:spMkLst>
            <pc:docMk/>
            <pc:sldMk cId="1160709454" sldId="7063"/>
            <ac:spMk id="87" creationId="{23277937-F653-41BA-B206-0963A35EA040}"/>
          </ac:spMkLst>
        </pc:spChg>
        <pc:spChg chg="mod">
          <ac:chgData name="Ugo MANTEL" userId="2d5b7065-31bb-4181-a7f8-a73bf0c30211" providerId="ADAL" clId="{F05BB0D5-3454-45DC-8378-DA45B79D9A06}" dt="2020-10-02T13:04:36.349" v="5007" actId="790"/>
          <ac:spMkLst>
            <pc:docMk/>
            <pc:sldMk cId="1160709454" sldId="7063"/>
            <ac:spMk id="88" creationId="{7480E918-FAA0-4AAB-B928-27C975F97CF5}"/>
          </ac:spMkLst>
        </pc:spChg>
        <pc:spChg chg="mod">
          <ac:chgData name="Ugo MANTEL" userId="2d5b7065-31bb-4181-a7f8-a73bf0c30211" providerId="ADAL" clId="{F05BB0D5-3454-45DC-8378-DA45B79D9A06}" dt="2020-10-02T13:04:36.350" v="5008" actId="790"/>
          <ac:spMkLst>
            <pc:docMk/>
            <pc:sldMk cId="1160709454" sldId="7063"/>
            <ac:spMk id="89" creationId="{EAF4890B-9F48-46A7-AE20-3C86EC55542A}"/>
          </ac:spMkLst>
        </pc:spChg>
        <pc:spChg chg="mod">
          <ac:chgData name="Ugo MANTEL" userId="2d5b7065-31bb-4181-a7f8-a73bf0c30211" providerId="ADAL" clId="{F05BB0D5-3454-45DC-8378-DA45B79D9A06}" dt="2020-10-02T13:04:36.350" v="5009" actId="790"/>
          <ac:spMkLst>
            <pc:docMk/>
            <pc:sldMk cId="1160709454" sldId="7063"/>
            <ac:spMk id="90" creationId="{5F5954CE-42C9-412C-8FC5-6FF3AF7926B0}"/>
          </ac:spMkLst>
        </pc:spChg>
        <pc:spChg chg="mod">
          <ac:chgData name="Ugo MANTEL" userId="2d5b7065-31bb-4181-a7f8-a73bf0c30211" providerId="ADAL" clId="{F05BB0D5-3454-45DC-8378-DA45B79D9A06}" dt="2020-10-02T13:04:36.353" v="5012" actId="790"/>
          <ac:spMkLst>
            <pc:docMk/>
            <pc:sldMk cId="1160709454" sldId="7063"/>
            <ac:spMk id="96" creationId="{488D9CFA-7290-4A6F-A685-1B9C3ECD09BB}"/>
          </ac:spMkLst>
        </pc:spChg>
        <pc:spChg chg="mod">
          <ac:chgData name="Ugo MANTEL" userId="2d5b7065-31bb-4181-a7f8-a73bf0c30211" providerId="ADAL" clId="{F05BB0D5-3454-45DC-8378-DA45B79D9A06}" dt="2020-10-02T13:04:36.354" v="5013" actId="790"/>
          <ac:spMkLst>
            <pc:docMk/>
            <pc:sldMk cId="1160709454" sldId="7063"/>
            <ac:spMk id="97" creationId="{B8EFD8F8-DB4E-42CF-B9B9-7CAC0D154678}"/>
          </ac:spMkLst>
        </pc:spChg>
        <pc:spChg chg="mod">
          <ac:chgData name="Ugo MANTEL" userId="2d5b7065-31bb-4181-a7f8-a73bf0c30211" providerId="ADAL" clId="{F05BB0D5-3454-45DC-8378-DA45B79D9A06}" dt="2020-10-02T13:04:36.352" v="5010" actId="790"/>
          <ac:spMkLst>
            <pc:docMk/>
            <pc:sldMk cId="1160709454" sldId="7063"/>
            <ac:spMk id="98" creationId="{9B6EBB00-D203-4D23-8D98-7515CBA82413}"/>
          </ac:spMkLst>
        </pc:spChg>
        <pc:spChg chg="mod">
          <ac:chgData name="Ugo MANTEL" userId="2d5b7065-31bb-4181-a7f8-a73bf0c30211" providerId="ADAL" clId="{F05BB0D5-3454-45DC-8378-DA45B79D9A06}" dt="2020-10-02T13:04:36.353" v="5011" actId="790"/>
          <ac:spMkLst>
            <pc:docMk/>
            <pc:sldMk cId="1160709454" sldId="7063"/>
            <ac:spMk id="99" creationId="{F296BDC9-BC18-4931-9C79-07DC0BA48FBC}"/>
          </ac:spMkLst>
        </pc:spChg>
        <pc:spChg chg="mod">
          <ac:chgData name="Ugo MANTEL" userId="2d5b7065-31bb-4181-a7f8-a73bf0c30211" providerId="ADAL" clId="{F05BB0D5-3454-45DC-8378-DA45B79D9A06}" dt="2020-10-02T13:04:36.354" v="5014" actId="790"/>
          <ac:spMkLst>
            <pc:docMk/>
            <pc:sldMk cId="1160709454" sldId="7063"/>
            <ac:spMk id="100" creationId="{55676CC8-D331-499B-B564-C92E1F706A87}"/>
          </ac:spMkLst>
        </pc:spChg>
      </pc:sldChg>
      <pc:sldChg chg="modSp mod">
        <pc:chgData name="Ugo MANTEL" userId="2d5b7065-31bb-4181-a7f8-a73bf0c30211" providerId="ADAL" clId="{F05BB0D5-3454-45DC-8378-DA45B79D9A06}" dt="2020-10-02T13:04:34.581" v="3470" actId="790"/>
        <pc:sldMkLst>
          <pc:docMk/>
          <pc:sldMk cId="1880852289" sldId="7066"/>
        </pc:sldMkLst>
        <pc:spChg chg="mod">
          <ac:chgData name="Ugo MANTEL" userId="2d5b7065-31bb-4181-a7f8-a73bf0c30211" providerId="ADAL" clId="{F05BB0D5-3454-45DC-8378-DA45B79D9A06}" dt="2020-10-02T13:04:34.560" v="3445" actId="790"/>
          <ac:spMkLst>
            <pc:docMk/>
            <pc:sldMk cId="1880852289" sldId="7066"/>
            <ac:spMk id="4" creationId="{1587BF20-F9F6-40A8-89A8-3274D4B11622}"/>
          </ac:spMkLst>
        </pc:spChg>
        <pc:spChg chg="mod">
          <ac:chgData name="Ugo MANTEL" userId="2d5b7065-31bb-4181-a7f8-a73bf0c30211" providerId="ADAL" clId="{F05BB0D5-3454-45DC-8378-DA45B79D9A06}" dt="2020-10-02T13:04:34.557" v="3440" actId="790"/>
          <ac:spMkLst>
            <pc:docMk/>
            <pc:sldMk cId="1880852289" sldId="7066"/>
            <ac:spMk id="5" creationId="{F5E08D33-C2B1-4B95-8C79-77FE396B5EBF}"/>
          </ac:spMkLst>
        </pc:spChg>
        <pc:spChg chg="mod">
          <ac:chgData name="Ugo MANTEL" userId="2d5b7065-31bb-4181-a7f8-a73bf0c30211" providerId="ADAL" clId="{F05BB0D5-3454-45DC-8378-DA45B79D9A06}" dt="2020-10-02T13:04:34.550" v="3434" actId="790"/>
          <ac:spMkLst>
            <pc:docMk/>
            <pc:sldMk cId="1880852289" sldId="7066"/>
            <ac:spMk id="6" creationId="{7BB59633-86D0-4B3A-8BFB-35A6ECF6D9DF}"/>
          </ac:spMkLst>
        </pc:spChg>
        <pc:spChg chg="mod">
          <ac:chgData name="Ugo MANTEL" userId="2d5b7065-31bb-4181-a7f8-a73bf0c30211" providerId="ADAL" clId="{F05BB0D5-3454-45DC-8378-DA45B79D9A06}" dt="2020-10-02T13:04:34.538" v="3417" actId="790"/>
          <ac:spMkLst>
            <pc:docMk/>
            <pc:sldMk cId="1880852289" sldId="7066"/>
            <ac:spMk id="8" creationId="{08A59771-940F-4947-9BC4-234C966D900A}"/>
          </ac:spMkLst>
        </pc:spChg>
        <pc:spChg chg="mod">
          <ac:chgData name="Ugo MANTEL" userId="2d5b7065-31bb-4181-a7f8-a73bf0c30211" providerId="ADAL" clId="{F05BB0D5-3454-45DC-8378-DA45B79D9A06}" dt="2020-10-02T13:04:34.538" v="3418" actId="790"/>
          <ac:spMkLst>
            <pc:docMk/>
            <pc:sldMk cId="1880852289" sldId="7066"/>
            <ac:spMk id="11" creationId="{9A9AA558-8A68-48E6-89A9-7B5BBD912D78}"/>
          </ac:spMkLst>
        </pc:spChg>
        <pc:spChg chg="mod">
          <ac:chgData name="Ugo MANTEL" userId="2d5b7065-31bb-4181-a7f8-a73bf0c30211" providerId="ADAL" clId="{F05BB0D5-3454-45DC-8378-DA45B79D9A06}" dt="2020-10-02T13:04:34.564" v="3449" actId="790"/>
          <ac:spMkLst>
            <pc:docMk/>
            <pc:sldMk cId="1880852289" sldId="7066"/>
            <ac:spMk id="16" creationId="{9B336C78-5DBD-40C8-9AC8-494C7DD260D5}"/>
          </ac:spMkLst>
        </pc:spChg>
        <pc:spChg chg="mod">
          <ac:chgData name="Ugo MANTEL" userId="2d5b7065-31bb-4181-a7f8-a73bf0c30211" providerId="ADAL" clId="{F05BB0D5-3454-45DC-8378-DA45B79D9A06}" dt="2020-10-02T13:04:34.576" v="3465" actId="790"/>
          <ac:spMkLst>
            <pc:docMk/>
            <pc:sldMk cId="1880852289" sldId="7066"/>
            <ac:spMk id="17" creationId="{0183C7F9-3FF3-4AA2-AD9D-E03AB41A08FF}"/>
          </ac:spMkLst>
        </pc:spChg>
        <pc:spChg chg="mod">
          <ac:chgData name="Ugo MANTEL" userId="2d5b7065-31bb-4181-a7f8-a73bf0c30211" providerId="ADAL" clId="{F05BB0D5-3454-45DC-8378-DA45B79D9A06}" dt="2020-10-02T13:04:34.539" v="3419" actId="790"/>
          <ac:spMkLst>
            <pc:docMk/>
            <pc:sldMk cId="1880852289" sldId="7066"/>
            <ac:spMk id="18" creationId="{3992A575-5EC4-4369-8234-E7B51A40DD28}"/>
          </ac:spMkLst>
        </pc:spChg>
        <pc:spChg chg="mod">
          <ac:chgData name="Ugo MANTEL" userId="2d5b7065-31bb-4181-a7f8-a73bf0c30211" providerId="ADAL" clId="{F05BB0D5-3454-45DC-8378-DA45B79D9A06}" dt="2020-10-02T13:04:34.540" v="3420" actId="790"/>
          <ac:spMkLst>
            <pc:docMk/>
            <pc:sldMk cId="1880852289" sldId="7066"/>
            <ac:spMk id="19" creationId="{446B4D6A-743E-486C-8601-3CF1614D77DE}"/>
          </ac:spMkLst>
        </pc:spChg>
        <pc:spChg chg="mod">
          <ac:chgData name="Ugo MANTEL" userId="2d5b7065-31bb-4181-a7f8-a73bf0c30211" providerId="ADAL" clId="{F05BB0D5-3454-45DC-8378-DA45B79D9A06}" dt="2020-10-02T13:04:34.541" v="3421" actId="790"/>
          <ac:spMkLst>
            <pc:docMk/>
            <pc:sldMk cId="1880852289" sldId="7066"/>
            <ac:spMk id="20" creationId="{861A9D13-056A-4A8E-8ABC-6E2B7F20B947}"/>
          </ac:spMkLst>
        </pc:spChg>
        <pc:spChg chg="mod">
          <ac:chgData name="Ugo MANTEL" userId="2d5b7065-31bb-4181-a7f8-a73bf0c30211" providerId="ADAL" clId="{F05BB0D5-3454-45DC-8378-DA45B79D9A06}" dt="2020-10-02T13:04:34.542" v="3422" actId="790"/>
          <ac:spMkLst>
            <pc:docMk/>
            <pc:sldMk cId="1880852289" sldId="7066"/>
            <ac:spMk id="21" creationId="{C251F508-F368-4319-83DC-10224F3D5723}"/>
          </ac:spMkLst>
        </pc:spChg>
        <pc:spChg chg="mod">
          <ac:chgData name="Ugo MANTEL" userId="2d5b7065-31bb-4181-a7f8-a73bf0c30211" providerId="ADAL" clId="{F05BB0D5-3454-45DC-8378-DA45B79D9A06}" dt="2020-10-02T13:04:34.542" v="3423" actId="790"/>
          <ac:spMkLst>
            <pc:docMk/>
            <pc:sldMk cId="1880852289" sldId="7066"/>
            <ac:spMk id="23" creationId="{23916C8C-3F55-4A36-A502-BC634182F15D}"/>
          </ac:spMkLst>
        </pc:spChg>
        <pc:spChg chg="mod">
          <ac:chgData name="Ugo MANTEL" userId="2d5b7065-31bb-4181-a7f8-a73bf0c30211" providerId="ADAL" clId="{F05BB0D5-3454-45DC-8378-DA45B79D9A06}" dt="2020-10-02T13:04:34.543" v="3424" actId="790"/>
          <ac:spMkLst>
            <pc:docMk/>
            <pc:sldMk cId="1880852289" sldId="7066"/>
            <ac:spMk id="24" creationId="{F2DE0C74-8C4B-4216-A598-4BA77C26A899}"/>
          </ac:spMkLst>
        </pc:spChg>
        <pc:spChg chg="mod">
          <ac:chgData name="Ugo MANTEL" userId="2d5b7065-31bb-4181-a7f8-a73bf0c30211" providerId="ADAL" clId="{F05BB0D5-3454-45DC-8378-DA45B79D9A06}" dt="2020-10-02T13:04:34.544" v="3425" actId="790"/>
          <ac:spMkLst>
            <pc:docMk/>
            <pc:sldMk cId="1880852289" sldId="7066"/>
            <ac:spMk id="25" creationId="{B3B3CAE5-A8BE-4552-9EB2-015E84A720AB}"/>
          </ac:spMkLst>
        </pc:spChg>
        <pc:spChg chg="mod">
          <ac:chgData name="Ugo MANTEL" userId="2d5b7065-31bb-4181-a7f8-a73bf0c30211" providerId="ADAL" clId="{F05BB0D5-3454-45DC-8378-DA45B79D9A06}" dt="2020-10-02T13:04:34.544" v="3426" actId="790"/>
          <ac:spMkLst>
            <pc:docMk/>
            <pc:sldMk cId="1880852289" sldId="7066"/>
            <ac:spMk id="26" creationId="{912A5BFC-1E59-4AEA-8C15-3DC1715C252A}"/>
          </ac:spMkLst>
        </pc:spChg>
        <pc:spChg chg="mod">
          <ac:chgData name="Ugo MANTEL" userId="2d5b7065-31bb-4181-a7f8-a73bf0c30211" providerId="ADAL" clId="{F05BB0D5-3454-45DC-8378-DA45B79D9A06}" dt="2020-10-02T13:04:34.534" v="3414" actId="790"/>
          <ac:spMkLst>
            <pc:docMk/>
            <pc:sldMk cId="1880852289" sldId="7066"/>
            <ac:spMk id="27" creationId="{1D7F3D26-07F2-43F1-A878-6697359CB881}"/>
          </ac:spMkLst>
        </pc:spChg>
        <pc:spChg chg="mod">
          <ac:chgData name="Ugo MANTEL" userId="2d5b7065-31bb-4181-a7f8-a73bf0c30211" providerId="ADAL" clId="{F05BB0D5-3454-45DC-8378-DA45B79D9A06}" dt="2020-10-02T13:04:34.545" v="3427" actId="790"/>
          <ac:spMkLst>
            <pc:docMk/>
            <pc:sldMk cId="1880852289" sldId="7066"/>
            <ac:spMk id="29" creationId="{68D3E6BB-722F-421E-ABAC-8D8002D4291A}"/>
          </ac:spMkLst>
        </pc:spChg>
        <pc:spChg chg="mod">
          <ac:chgData name="Ugo MANTEL" userId="2d5b7065-31bb-4181-a7f8-a73bf0c30211" providerId="ADAL" clId="{F05BB0D5-3454-45DC-8378-DA45B79D9A06}" dt="2020-10-02T13:04:34.546" v="3428" actId="790"/>
          <ac:spMkLst>
            <pc:docMk/>
            <pc:sldMk cId="1880852289" sldId="7066"/>
            <ac:spMk id="30" creationId="{9EFD046E-124A-402E-9542-DD3EAC8266AD}"/>
          </ac:spMkLst>
        </pc:spChg>
        <pc:spChg chg="mod">
          <ac:chgData name="Ugo MANTEL" userId="2d5b7065-31bb-4181-a7f8-a73bf0c30211" providerId="ADAL" clId="{F05BB0D5-3454-45DC-8378-DA45B79D9A06}" dt="2020-10-02T13:04:34.546" v="3429" actId="790"/>
          <ac:spMkLst>
            <pc:docMk/>
            <pc:sldMk cId="1880852289" sldId="7066"/>
            <ac:spMk id="31" creationId="{C7B6E0F4-A44B-44FC-8DA7-11CC3DF89AF9}"/>
          </ac:spMkLst>
        </pc:spChg>
        <pc:spChg chg="mod">
          <ac:chgData name="Ugo MANTEL" userId="2d5b7065-31bb-4181-a7f8-a73bf0c30211" providerId="ADAL" clId="{F05BB0D5-3454-45DC-8378-DA45B79D9A06}" dt="2020-10-02T13:04:34.547" v="3430" actId="790"/>
          <ac:spMkLst>
            <pc:docMk/>
            <pc:sldMk cId="1880852289" sldId="7066"/>
            <ac:spMk id="33" creationId="{84FBD09D-BFEA-440E-8591-AA50BC1D792E}"/>
          </ac:spMkLst>
        </pc:spChg>
        <pc:spChg chg="mod">
          <ac:chgData name="Ugo MANTEL" userId="2d5b7065-31bb-4181-a7f8-a73bf0c30211" providerId="ADAL" clId="{F05BB0D5-3454-45DC-8378-DA45B79D9A06}" dt="2020-10-02T13:04:34.548" v="3431" actId="790"/>
          <ac:spMkLst>
            <pc:docMk/>
            <pc:sldMk cId="1880852289" sldId="7066"/>
            <ac:spMk id="35" creationId="{388CDE67-420A-49C4-8B0A-D6C2142A684C}"/>
          </ac:spMkLst>
        </pc:spChg>
        <pc:spChg chg="mod">
          <ac:chgData name="Ugo MANTEL" userId="2d5b7065-31bb-4181-a7f8-a73bf0c30211" providerId="ADAL" clId="{F05BB0D5-3454-45DC-8378-DA45B79D9A06}" dt="2020-10-02T13:04:34.548" v="3432" actId="790"/>
          <ac:spMkLst>
            <pc:docMk/>
            <pc:sldMk cId="1880852289" sldId="7066"/>
            <ac:spMk id="36" creationId="{236938A4-846D-483B-9BB2-45AB7BD63B50}"/>
          </ac:spMkLst>
        </pc:spChg>
        <pc:spChg chg="mod">
          <ac:chgData name="Ugo MANTEL" userId="2d5b7065-31bb-4181-a7f8-a73bf0c30211" providerId="ADAL" clId="{F05BB0D5-3454-45DC-8378-DA45B79D9A06}" dt="2020-10-02T13:04:34.549" v="3433" actId="790"/>
          <ac:spMkLst>
            <pc:docMk/>
            <pc:sldMk cId="1880852289" sldId="7066"/>
            <ac:spMk id="37" creationId="{0C493F4D-B61E-4002-8723-8E051757A953}"/>
          </ac:spMkLst>
        </pc:spChg>
        <pc:spChg chg="mod">
          <ac:chgData name="Ugo MANTEL" userId="2d5b7065-31bb-4181-a7f8-a73bf0c30211" providerId="ADAL" clId="{F05BB0D5-3454-45DC-8378-DA45B79D9A06}" dt="2020-10-02T13:04:34.535" v="3415" actId="790"/>
          <ac:spMkLst>
            <pc:docMk/>
            <pc:sldMk cId="1880852289" sldId="7066"/>
            <ac:spMk id="38" creationId="{CD8FC77E-A683-4A2C-948F-EAB5094928EA}"/>
          </ac:spMkLst>
        </pc:spChg>
        <pc:spChg chg="mod">
          <ac:chgData name="Ugo MANTEL" userId="2d5b7065-31bb-4181-a7f8-a73bf0c30211" providerId="ADAL" clId="{F05BB0D5-3454-45DC-8378-DA45B79D9A06}" dt="2020-10-02T13:04:34.551" v="3435" actId="790"/>
          <ac:spMkLst>
            <pc:docMk/>
            <pc:sldMk cId="1880852289" sldId="7066"/>
            <ac:spMk id="39" creationId="{22AC24FA-ACB8-4173-ADA7-6264FB581D69}"/>
          </ac:spMkLst>
        </pc:spChg>
        <pc:spChg chg="mod">
          <ac:chgData name="Ugo MANTEL" userId="2d5b7065-31bb-4181-a7f8-a73bf0c30211" providerId="ADAL" clId="{F05BB0D5-3454-45DC-8378-DA45B79D9A06}" dt="2020-10-02T13:04:34.576" v="3466" actId="790"/>
          <ac:spMkLst>
            <pc:docMk/>
            <pc:sldMk cId="1880852289" sldId="7066"/>
            <ac:spMk id="41" creationId="{3F716E39-0FCC-493D-8DCF-3DE96DA325BC}"/>
          </ac:spMkLst>
        </pc:spChg>
        <pc:spChg chg="mod">
          <ac:chgData name="Ugo MANTEL" userId="2d5b7065-31bb-4181-a7f8-a73bf0c30211" providerId="ADAL" clId="{F05BB0D5-3454-45DC-8378-DA45B79D9A06}" dt="2020-10-02T13:04:34.553" v="3436" actId="790"/>
          <ac:spMkLst>
            <pc:docMk/>
            <pc:sldMk cId="1880852289" sldId="7066"/>
            <ac:spMk id="43" creationId="{27DE2BD2-975A-4C81-8EF4-27C15FFB98D5}"/>
          </ac:spMkLst>
        </pc:spChg>
        <pc:spChg chg="mod">
          <ac:chgData name="Ugo MANTEL" userId="2d5b7065-31bb-4181-a7f8-a73bf0c30211" providerId="ADAL" clId="{F05BB0D5-3454-45DC-8378-DA45B79D9A06}" dt="2020-10-02T13:04:34.554" v="3437" actId="790"/>
          <ac:spMkLst>
            <pc:docMk/>
            <pc:sldMk cId="1880852289" sldId="7066"/>
            <ac:spMk id="48" creationId="{F7B9E4EE-3070-40C8-9730-E95024B1B999}"/>
          </ac:spMkLst>
        </pc:spChg>
        <pc:spChg chg="mod">
          <ac:chgData name="Ugo MANTEL" userId="2d5b7065-31bb-4181-a7f8-a73bf0c30211" providerId="ADAL" clId="{F05BB0D5-3454-45DC-8378-DA45B79D9A06}" dt="2020-10-02T13:04:34.555" v="3438" actId="790"/>
          <ac:spMkLst>
            <pc:docMk/>
            <pc:sldMk cId="1880852289" sldId="7066"/>
            <ac:spMk id="51" creationId="{D852B236-F2BA-4AE1-80CF-56F4C6B56B0A}"/>
          </ac:spMkLst>
        </pc:spChg>
        <pc:spChg chg="mod">
          <ac:chgData name="Ugo MANTEL" userId="2d5b7065-31bb-4181-a7f8-a73bf0c30211" providerId="ADAL" clId="{F05BB0D5-3454-45DC-8378-DA45B79D9A06}" dt="2020-10-02T13:04:34.556" v="3439" actId="790"/>
          <ac:spMkLst>
            <pc:docMk/>
            <pc:sldMk cId="1880852289" sldId="7066"/>
            <ac:spMk id="53" creationId="{5F711663-2E08-4363-B036-6AB5E688636B}"/>
          </ac:spMkLst>
        </pc:spChg>
        <pc:spChg chg="mod">
          <ac:chgData name="Ugo MANTEL" userId="2d5b7065-31bb-4181-a7f8-a73bf0c30211" providerId="ADAL" clId="{F05BB0D5-3454-45DC-8378-DA45B79D9A06}" dt="2020-10-02T13:04:34.557" v="3441" actId="790"/>
          <ac:spMkLst>
            <pc:docMk/>
            <pc:sldMk cId="1880852289" sldId="7066"/>
            <ac:spMk id="55" creationId="{A4795C3C-11F3-4084-823B-801EDAFFC3E2}"/>
          </ac:spMkLst>
        </pc:spChg>
        <pc:spChg chg="mod">
          <ac:chgData name="Ugo MANTEL" userId="2d5b7065-31bb-4181-a7f8-a73bf0c30211" providerId="ADAL" clId="{F05BB0D5-3454-45DC-8378-DA45B79D9A06}" dt="2020-10-02T13:04:34.533" v="3413" actId="790"/>
          <ac:spMkLst>
            <pc:docMk/>
            <pc:sldMk cId="1880852289" sldId="7066"/>
            <ac:spMk id="57" creationId="{3ECB88E8-1B93-4BAB-BA24-86C3DF0ACFFF}"/>
          </ac:spMkLst>
        </pc:spChg>
        <pc:spChg chg="mod">
          <ac:chgData name="Ugo MANTEL" userId="2d5b7065-31bb-4181-a7f8-a73bf0c30211" providerId="ADAL" clId="{F05BB0D5-3454-45DC-8378-DA45B79D9A06}" dt="2020-10-02T13:04:34.558" v="3442" actId="790"/>
          <ac:spMkLst>
            <pc:docMk/>
            <pc:sldMk cId="1880852289" sldId="7066"/>
            <ac:spMk id="58" creationId="{8B757A5D-D613-4DF5-A2D4-054A6A31B2D3}"/>
          </ac:spMkLst>
        </pc:spChg>
        <pc:spChg chg="mod">
          <ac:chgData name="Ugo MANTEL" userId="2d5b7065-31bb-4181-a7f8-a73bf0c30211" providerId="ADAL" clId="{F05BB0D5-3454-45DC-8378-DA45B79D9A06}" dt="2020-10-02T13:04:34.578" v="3467" actId="790"/>
          <ac:spMkLst>
            <pc:docMk/>
            <pc:sldMk cId="1880852289" sldId="7066"/>
            <ac:spMk id="62" creationId="{30516081-4318-430F-8C16-385169FF1F60}"/>
          </ac:spMkLst>
        </pc:spChg>
        <pc:spChg chg="mod">
          <ac:chgData name="Ugo MANTEL" userId="2d5b7065-31bb-4181-a7f8-a73bf0c30211" providerId="ADAL" clId="{F05BB0D5-3454-45DC-8378-DA45B79D9A06}" dt="2020-10-02T13:04:34.564" v="3450" actId="790"/>
          <ac:spMkLst>
            <pc:docMk/>
            <pc:sldMk cId="1880852289" sldId="7066"/>
            <ac:spMk id="63" creationId="{5A90B661-335C-4669-A917-5FD2A90CC0CA}"/>
          </ac:spMkLst>
        </pc:spChg>
        <pc:spChg chg="mod">
          <ac:chgData name="Ugo MANTEL" userId="2d5b7065-31bb-4181-a7f8-a73bf0c30211" providerId="ADAL" clId="{F05BB0D5-3454-45DC-8378-DA45B79D9A06}" dt="2020-10-02T13:04:34.559" v="3443" actId="790"/>
          <ac:spMkLst>
            <pc:docMk/>
            <pc:sldMk cId="1880852289" sldId="7066"/>
            <ac:spMk id="66" creationId="{8590DC32-2E11-4972-9382-E7510FAC9535}"/>
          </ac:spMkLst>
        </pc:spChg>
        <pc:spChg chg="mod">
          <ac:chgData name="Ugo MANTEL" userId="2d5b7065-31bb-4181-a7f8-a73bf0c30211" providerId="ADAL" clId="{F05BB0D5-3454-45DC-8378-DA45B79D9A06}" dt="2020-10-02T13:04:34.559" v="3444" actId="790"/>
          <ac:spMkLst>
            <pc:docMk/>
            <pc:sldMk cId="1880852289" sldId="7066"/>
            <ac:spMk id="69" creationId="{E92E48CB-1B4A-4B7E-B667-C2315221E1D2}"/>
          </ac:spMkLst>
        </pc:spChg>
        <pc:spChg chg="mod">
          <ac:chgData name="Ugo MANTEL" userId="2d5b7065-31bb-4181-a7f8-a73bf0c30211" providerId="ADAL" clId="{F05BB0D5-3454-45DC-8378-DA45B79D9A06}" dt="2020-10-02T13:04:34.568" v="3454" actId="790"/>
          <ac:spMkLst>
            <pc:docMk/>
            <pc:sldMk cId="1880852289" sldId="7066"/>
            <ac:spMk id="70" creationId="{B6828285-4FF5-44AF-B1B9-7EFE71FA18BA}"/>
          </ac:spMkLst>
        </pc:spChg>
        <pc:spChg chg="mod">
          <ac:chgData name="Ugo MANTEL" userId="2d5b7065-31bb-4181-a7f8-a73bf0c30211" providerId="ADAL" clId="{F05BB0D5-3454-45DC-8378-DA45B79D9A06}" dt="2020-10-02T13:04:34.569" v="3455" actId="790"/>
          <ac:spMkLst>
            <pc:docMk/>
            <pc:sldMk cId="1880852289" sldId="7066"/>
            <ac:spMk id="71" creationId="{C6C89233-A223-4D3F-86E1-43C16884A6E7}"/>
          </ac:spMkLst>
        </pc:spChg>
        <pc:spChg chg="mod">
          <ac:chgData name="Ugo MANTEL" userId="2d5b7065-31bb-4181-a7f8-a73bf0c30211" providerId="ADAL" clId="{F05BB0D5-3454-45DC-8378-DA45B79D9A06}" dt="2020-10-02T13:04:34.571" v="3458" actId="790"/>
          <ac:spMkLst>
            <pc:docMk/>
            <pc:sldMk cId="1880852289" sldId="7066"/>
            <ac:spMk id="89" creationId="{A2B3D9DB-4C40-41B6-9295-C7402404EE1D}"/>
          </ac:spMkLst>
        </pc:spChg>
        <pc:spChg chg="mod">
          <ac:chgData name="Ugo MANTEL" userId="2d5b7065-31bb-4181-a7f8-a73bf0c30211" providerId="ADAL" clId="{F05BB0D5-3454-45DC-8378-DA45B79D9A06}" dt="2020-10-02T13:04:34.536" v="3416" actId="790"/>
          <ac:spMkLst>
            <pc:docMk/>
            <pc:sldMk cId="1880852289" sldId="7066"/>
            <ac:spMk id="92" creationId="{A6EFD337-5888-41CA-A81B-31A1039BB2F6}"/>
          </ac:spMkLst>
        </pc:spChg>
        <pc:spChg chg="mod">
          <ac:chgData name="Ugo MANTEL" userId="2d5b7065-31bb-4181-a7f8-a73bf0c30211" providerId="ADAL" clId="{F05BB0D5-3454-45DC-8378-DA45B79D9A06}" dt="2020-10-02T13:04:34.572" v="3459" actId="790"/>
          <ac:spMkLst>
            <pc:docMk/>
            <pc:sldMk cId="1880852289" sldId="7066"/>
            <ac:spMk id="94" creationId="{3AC71FCD-2240-4ED1-8435-001FEEB6E57B}"/>
          </ac:spMkLst>
        </pc:spChg>
        <pc:spChg chg="mod">
          <ac:chgData name="Ugo MANTEL" userId="2d5b7065-31bb-4181-a7f8-a73bf0c30211" providerId="ADAL" clId="{F05BB0D5-3454-45DC-8378-DA45B79D9A06}" dt="2020-10-02T13:04:34.572" v="3460" actId="790"/>
          <ac:spMkLst>
            <pc:docMk/>
            <pc:sldMk cId="1880852289" sldId="7066"/>
            <ac:spMk id="96" creationId="{AB539CFB-DDB4-41AD-8007-87ADD956E406}"/>
          </ac:spMkLst>
        </pc:spChg>
        <pc:spChg chg="mod">
          <ac:chgData name="Ugo MANTEL" userId="2d5b7065-31bb-4181-a7f8-a73bf0c30211" providerId="ADAL" clId="{F05BB0D5-3454-45DC-8378-DA45B79D9A06}" dt="2020-10-02T13:04:34.573" v="3461" actId="790"/>
          <ac:spMkLst>
            <pc:docMk/>
            <pc:sldMk cId="1880852289" sldId="7066"/>
            <ac:spMk id="97" creationId="{B909216A-348F-4E0F-929F-FC7856EFCE48}"/>
          </ac:spMkLst>
        </pc:spChg>
        <pc:spChg chg="mod">
          <ac:chgData name="Ugo MANTEL" userId="2d5b7065-31bb-4181-a7f8-a73bf0c30211" providerId="ADAL" clId="{F05BB0D5-3454-45DC-8378-DA45B79D9A06}" dt="2020-10-02T13:04:34.574" v="3462" actId="790"/>
          <ac:spMkLst>
            <pc:docMk/>
            <pc:sldMk cId="1880852289" sldId="7066"/>
            <ac:spMk id="98" creationId="{6C57EDF8-AF22-4DFA-A637-FBBC487D91FB}"/>
          </ac:spMkLst>
        </pc:spChg>
        <pc:spChg chg="mod">
          <ac:chgData name="Ugo MANTEL" userId="2d5b7065-31bb-4181-a7f8-a73bf0c30211" providerId="ADAL" clId="{F05BB0D5-3454-45DC-8378-DA45B79D9A06}" dt="2020-10-02T13:04:34.574" v="3463" actId="790"/>
          <ac:spMkLst>
            <pc:docMk/>
            <pc:sldMk cId="1880852289" sldId="7066"/>
            <ac:spMk id="99" creationId="{2D791A71-C7B2-423C-8A7A-88E454778BF4}"/>
          </ac:spMkLst>
        </pc:spChg>
        <pc:spChg chg="mod">
          <ac:chgData name="Ugo MANTEL" userId="2d5b7065-31bb-4181-a7f8-a73bf0c30211" providerId="ADAL" clId="{F05BB0D5-3454-45DC-8378-DA45B79D9A06}" dt="2020-10-02T13:04:34.575" v="3464" actId="790"/>
          <ac:spMkLst>
            <pc:docMk/>
            <pc:sldMk cId="1880852289" sldId="7066"/>
            <ac:spMk id="107" creationId="{33CFA47D-F073-4861-84A2-04387F7DE049}"/>
          </ac:spMkLst>
        </pc:spChg>
        <pc:spChg chg="mod">
          <ac:chgData name="Ugo MANTEL" userId="2d5b7065-31bb-4181-a7f8-a73bf0c30211" providerId="ADAL" clId="{F05BB0D5-3454-45DC-8378-DA45B79D9A06}" dt="2020-10-02T13:04:34.581" v="3469" actId="790"/>
          <ac:spMkLst>
            <pc:docMk/>
            <pc:sldMk cId="1880852289" sldId="7066"/>
            <ac:spMk id="108" creationId="{4B6D73F7-F12F-427C-BFC4-676ED1BE4232}"/>
          </ac:spMkLst>
        </pc:spChg>
        <pc:spChg chg="mod">
          <ac:chgData name="Ugo MANTEL" userId="2d5b7065-31bb-4181-a7f8-a73bf0c30211" providerId="ADAL" clId="{F05BB0D5-3454-45DC-8378-DA45B79D9A06}" dt="2020-10-02T13:04:34.580" v="3468" actId="790"/>
          <ac:spMkLst>
            <pc:docMk/>
            <pc:sldMk cId="1880852289" sldId="7066"/>
            <ac:spMk id="109" creationId="{2CF84F12-3576-4C8C-BC81-76765AED3804}"/>
          </ac:spMkLst>
        </pc:spChg>
        <pc:spChg chg="mod">
          <ac:chgData name="Ugo MANTEL" userId="2d5b7065-31bb-4181-a7f8-a73bf0c30211" providerId="ADAL" clId="{F05BB0D5-3454-45DC-8378-DA45B79D9A06}" dt="2020-10-02T13:04:34.561" v="3446" actId="790"/>
          <ac:spMkLst>
            <pc:docMk/>
            <pc:sldMk cId="1880852289" sldId="7066"/>
            <ac:spMk id="111" creationId="{C3292A45-E203-4D92-A0E9-634CFAB0B314}"/>
          </ac:spMkLst>
        </pc:spChg>
        <pc:spChg chg="mod">
          <ac:chgData name="Ugo MANTEL" userId="2d5b7065-31bb-4181-a7f8-a73bf0c30211" providerId="ADAL" clId="{F05BB0D5-3454-45DC-8378-DA45B79D9A06}" dt="2020-10-02T13:04:34.562" v="3447" actId="790"/>
          <ac:spMkLst>
            <pc:docMk/>
            <pc:sldMk cId="1880852289" sldId="7066"/>
            <ac:spMk id="112" creationId="{F145C666-4226-4C9C-8175-9043933B97D8}"/>
          </ac:spMkLst>
        </pc:spChg>
        <pc:spChg chg="mod">
          <ac:chgData name="Ugo MANTEL" userId="2d5b7065-31bb-4181-a7f8-a73bf0c30211" providerId="ADAL" clId="{F05BB0D5-3454-45DC-8378-DA45B79D9A06}" dt="2020-10-02T13:04:34.581" v="3470" actId="790"/>
          <ac:spMkLst>
            <pc:docMk/>
            <pc:sldMk cId="1880852289" sldId="7066"/>
            <ac:spMk id="113" creationId="{F6E625FF-664F-4EAC-A4AA-2056644711D0}"/>
          </ac:spMkLst>
        </pc:spChg>
        <pc:spChg chg="mod">
          <ac:chgData name="Ugo MANTEL" userId="2d5b7065-31bb-4181-a7f8-a73bf0c30211" providerId="ADAL" clId="{F05BB0D5-3454-45DC-8378-DA45B79D9A06}" dt="2020-10-02T13:04:34.563" v="3448" actId="790"/>
          <ac:spMkLst>
            <pc:docMk/>
            <pc:sldMk cId="1880852289" sldId="7066"/>
            <ac:spMk id="115" creationId="{5223CCC7-089F-4991-9F8E-B63B01E0BF43}"/>
          </ac:spMkLst>
        </pc:spChg>
        <pc:spChg chg="mod">
          <ac:chgData name="Ugo MANTEL" userId="2d5b7065-31bb-4181-a7f8-a73bf0c30211" providerId="ADAL" clId="{F05BB0D5-3454-45DC-8378-DA45B79D9A06}" dt="2020-10-02T13:04:34.565" v="3451" actId="790"/>
          <ac:spMkLst>
            <pc:docMk/>
            <pc:sldMk cId="1880852289" sldId="7066"/>
            <ac:spMk id="117" creationId="{33DD92DE-3999-4D61-A8D8-28DE4B28A103}"/>
          </ac:spMkLst>
        </pc:spChg>
        <pc:spChg chg="mod">
          <ac:chgData name="Ugo MANTEL" userId="2d5b7065-31bb-4181-a7f8-a73bf0c30211" providerId="ADAL" clId="{F05BB0D5-3454-45DC-8378-DA45B79D9A06}" dt="2020-10-02T13:04:34.566" v="3452" actId="790"/>
          <ac:spMkLst>
            <pc:docMk/>
            <pc:sldMk cId="1880852289" sldId="7066"/>
            <ac:spMk id="118" creationId="{967FDE0F-79E9-44E7-BDE6-8E893770A233}"/>
          </ac:spMkLst>
        </pc:spChg>
        <pc:spChg chg="mod">
          <ac:chgData name="Ugo MANTEL" userId="2d5b7065-31bb-4181-a7f8-a73bf0c30211" providerId="ADAL" clId="{F05BB0D5-3454-45DC-8378-DA45B79D9A06}" dt="2020-10-02T13:04:34.566" v="3453" actId="790"/>
          <ac:spMkLst>
            <pc:docMk/>
            <pc:sldMk cId="1880852289" sldId="7066"/>
            <ac:spMk id="120" creationId="{F73A6482-4C37-4753-BB21-FAF06B2FB91D}"/>
          </ac:spMkLst>
        </pc:spChg>
        <pc:spChg chg="mod">
          <ac:chgData name="Ugo MANTEL" userId="2d5b7065-31bb-4181-a7f8-a73bf0c30211" providerId="ADAL" clId="{F05BB0D5-3454-45DC-8378-DA45B79D9A06}" dt="2020-10-02T13:04:34.569" v="3456" actId="790"/>
          <ac:spMkLst>
            <pc:docMk/>
            <pc:sldMk cId="1880852289" sldId="7066"/>
            <ac:spMk id="128" creationId="{A94C2AB4-DC6D-4F70-9FE1-A4E215E82D6A}"/>
          </ac:spMkLst>
        </pc:spChg>
        <pc:spChg chg="mod">
          <ac:chgData name="Ugo MANTEL" userId="2d5b7065-31bb-4181-a7f8-a73bf0c30211" providerId="ADAL" clId="{F05BB0D5-3454-45DC-8378-DA45B79D9A06}" dt="2020-10-02T13:04:34.570" v="3457" actId="790"/>
          <ac:spMkLst>
            <pc:docMk/>
            <pc:sldMk cId="1880852289" sldId="7066"/>
            <ac:spMk id="130" creationId="{A6A405E0-FBF6-4BF8-BA37-5A0B26C9B8D1}"/>
          </ac:spMkLst>
        </pc:spChg>
      </pc:sldChg>
      <pc:sldChg chg="modSp mod">
        <pc:chgData name="Ugo MANTEL" userId="2d5b7065-31bb-4181-a7f8-a73bf0c30211" providerId="ADAL" clId="{F05BB0D5-3454-45DC-8378-DA45B79D9A06}" dt="2020-10-02T13:04:34.745" v="3654" actId="790"/>
        <pc:sldMkLst>
          <pc:docMk/>
          <pc:sldMk cId="4012805871" sldId="7067"/>
        </pc:sldMkLst>
        <pc:spChg chg="mod">
          <ac:chgData name="Ugo MANTEL" userId="2d5b7065-31bb-4181-a7f8-a73bf0c30211" providerId="ADAL" clId="{F05BB0D5-3454-45DC-8378-DA45B79D9A06}" dt="2020-10-02T13:04:34.737" v="3647" actId="790"/>
          <ac:spMkLst>
            <pc:docMk/>
            <pc:sldMk cId="4012805871" sldId="7067"/>
            <ac:spMk id="3" creationId="{399A593E-CFB5-4E6F-81ED-F69A5821C01C}"/>
          </ac:spMkLst>
        </pc:spChg>
        <pc:spChg chg="mod">
          <ac:chgData name="Ugo MANTEL" userId="2d5b7065-31bb-4181-a7f8-a73bf0c30211" providerId="ADAL" clId="{F05BB0D5-3454-45DC-8378-DA45B79D9A06}" dt="2020-10-02T13:04:34.728" v="3644" actId="790"/>
          <ac:spMkLst>
            <pc:docMk/>
            <pc:sldMk cId="4012805871" sldId="7067"/>
            <ac:spMk id="4" creationId="{ABB7249C-F65F-4168-8232-CDD4A72FB302}"/>
          </ac:spMkLst>
        </pc:spChg>
        <pc:spChg chg="mod">
          <ac:chgData name="Ugo MANTEL" userId="2d5b7065-31bb-4181-a7f8-a73bf0c30211" providerId="ADAL" clId="{F05BB0D5-3454-45DC-8378-DA45B79D9A06}" dt="2020-10-02T13:04:34.738" v="3648" actId="790"/>
          <ac:spMkLst>
            <pc:docMk/>
            <pc:sldMk cId="4012805871" sldId="7067"/>
            <ac:spMk id="6" creationId="{4002F52B-3495-415A-B262-7FFC832AAF2F}"/>
          </ac:spMkLst>
        </pc:spChg>
        <pc:spChg chg="mod">
          <ac:chgData name="Ugo MANTEL" userId="2d5b7065-31bb-4181-a7f8-a73bf0c30211" providerId="ADAL" clId="{F05BB0D5-3454-45DC-8378-DA45B79D9A06}" dt="2020-10-02T13:04:34.742" v="3649" actId="790"/>
          <ac:spMkLst>
            <pc:docMk/>
            <pc:sldMk cId="4012805871" sldId="7067"/>
            <ac:spMk id="25" creationId="{322FC9F4-C242-449C-973A-4B1B0A5E41D6}"/>
          </ac:spMkLst>
        </pc:spChg>
        <pc:spChg chg="mod">
          <ac:chgData name="Ugo MANTEL" userId="2d5b7065-31bb-4181-a7f8-a73bf0c30211" providerId="ADAL" clId="{F05BB0D5-3454-45DC-8378-DA45B79D9A06}" dt="2020-10-02T13:04:34.742" v="3650" actId="790"/>
          <ac:spMkLst>
            <pc:docMk/>
            <pc:sldMk cId="4012805871" sldId="7067"/>
            <ac:spMk id="27" creationId="{BB81EB03-5466-4FCB-8898-2F6E8991A5DE}"/>
          </ac:spMkLst>
        </pc:spChg>
        <pc:spChg chg="mod">
          <ac:chgData name="Ugo MANTEL" userId="2d5b7065-31bb-4181-a7f8-a73bf0c30211" providerId="ADAL" clId="{F05BB0D5-3454-45DC-8378-DA45B79D9A06}" dt="2020-10-02T13:04:34.743" v="3651" actId="790"/>
          <ac:spMkLst>
            <pc:docMk/>
            <pc:sldMk cId="4012805871" sldId="7067"/>
            <ac:spMk id="28" creationId="{DDCE7BCE-20E3-4132-A7E6-1F073518DD18}"/>
          </ac:spMkLst>
        </pc:spChg>
        <pc:spChg chg="mod">
          <ac:chgData name="Ugo MANTEL" userId="2d5b7065-31bb-4181-a7f8-a73bf0c30211" providerId="ADAL" clId="{F05BB0D5-3454-45DC-8378-DA45B79D9A06}" dt="2020-10-02T13:04:34.744" v="3652" actId="790"/>
          <ac:spMkLst>
            <pc:docMk/>
            <pc:sldMk cId="4012805871" sldId="7067"/>
            <ac:spMk id="29" creationId="{1BA1E3D6-CF12-4DC4-B109-507C21E528E8}"/>
          </ac:spMkLst>
        </pc:spChg>
        <pc:spChg chg="mod">
          <ac:chgData name="Ugo MANTEL" userId="2d5b7065-31bb-4181-a7f8-a73bf0c30211" providerId="ADAL" clId="{F05BB0D5-3454-45DC-8378-DA45B79D9A06}" dt="2020-10-02T13:04:34.744" v="3653" actId="790"/>
          <ac:spMkLst>
            <pc:docMk/>
            <pc:sldMk cId="4012805871" sldId="7067"/>
            <ac:spMk id="37" creationId="{40CEF885-D595-4E40-9DEA-EF2839D6729B}"/>
          </ac:spMkLst>
        </pc:spChg>
        <pc:spChg chg="mod">
          <ac:chgData name="Ugo MANTEL" userId="2d5b7065-31bb-4181-a7f8-a73bf0c30211" providerId="ADAL" clId="{F05BB0D5-3454-45DC-8378-DA45B79D9A06}" dt="2020-10-02T13:04:34.732" v="3645" actId="790"/>
          <ac:spMkLst>
            <pc:docMk/>
            <pc:sldMk cId="4012805871" sldId="7067"/>
            <ac:spMk id="38" creationId="{40582762-A04E-4AD0-8292-1867E94D5C16}"/>
          </ac:spMkLst>
        </pc:spChg>
        <pc:spChg chg="mod">
          <ac:chgData name="Ugo MANTEL" userId="2d5b7065-31bb-4181-a7f8-a73bf0c30211" providerId="ADAL" clId="{F05BB0D5-3454-45DC-8378-DA45B79D9A06}" dt="2020-10-02T13:04:34.735" v="3646" actId="790"/>
          <ac:spMkLst>
            <pc:docMk/>
            <pc:sldMk cId="4012805871" sldId="7067"/>
            <ac:spMk id="39" creationId="{B6D2A71D-15F8-4868-8A22-57E5A307A840}"/>
          </ac:spMkLst>
        </pc:spChg>
        <pc:spChg chg="mod">
          <ac:chgData name="Ugo MANTEL" userId="2d5b7065-31bb-4181-a7f8-a73bf0c30211" providerId="ADAL" clId="{F05BB0D5-3454-45DC-8378-DA45B79D9A06}" dt="2020-10-02T13:04:34.745" v="3654" actId="790"/>
          <ac:spMkLst>
            <pc:docMk/>
            <pc:sldMk cId="4012805871" sldId="7067"/>
            <ac:spMk id="52" creationId="{8939AD18-2DA3-4875-BCD3-0051055BBDF8}"/>
          </ac:spMkLst>
        </pc:spChg>
      </pc:sldChg>
      <pc:sldChg chg="modSp mod">
        <pc:chgData name="Ugo MANTEL" userId="2d5b7065-31bb-4181-a7f8-a73bf0c30211" providerId="ADAL" clId="{F05BB0D5-3454-45DC-8378-DA45B79D9A06}" dt="2020-10-02T13:04:34.770" v="3679" actId="790"/>
        <pc:sldMkLst>
          <pc:docMk/>
          <pc:sldMk cId="1409974748" sldId="7068"/>
        </pc:sldMkLst>
        <pc:spChg chg="mod">
          <ac:chgData name="Ugo MANTEL" userId="2d5b7065-31bb-4181-a7f8-a73bf0c30211" providerId="ADAL" clId="{F05BB0D5-3454-45DC-8378-DA45B79D9A06}" dt="2020-10-02T13:04:34.752" v="3659" actId="790"/>
          <ac:spMkLst>
            <pc:docMk/>
            <pc:sldMk cId="1409974748" sldId="7068"/>
            <ac:spMk id="3" creationId="{30953E26-7813-417B-AC0B-7AC74C77D79F}"/>
          </ac:spMkLst>
        </pc:spChg>
        <pc:spChg chg="mod">
          <ac:chgData name="Ugo MANTEL" userId="2d5b7065-31bb-4181-a7f8-a73bf0c30211" providerId="ADAL" clId="{F05BB0D5-3454-45DC-8378-DA45B79D9A06}" dt="2020-10-02T13:04:34.746" v="3655" actId="790"/>
          <ac:spMkLst>
            <pc:docMk/>
            <pc:sldMk cId="1409974748" sldId="7068"/>
            <ac:spMk id="4" creationId="{CFDA14E9-D9F6-4D44-A466-BF298653DD71}"/>
          </ac:spMkLst>
        </pc:spChg>
        <pc:spChg chg="mod">
          <ac:chgData name="Ugo MANTEL" userId="2d5b7065-31bb-4181-a7f8-a73bf0c30211" providerId="ADAL" clId="{F05BB0D5-3454-45DC-8378-DA45B79D9A06}" dt="2020-10-02T13:04:34.746" v="3656" actId="790"/>
          <ac:spMkLst>
            <pc:docMk/>
            <pc:sldMk cId="1409974748" sldId="7068"/>
            <ac:spMk id="14" creationId="{92FC6C6C-155F-4C1A-890E-114863D14568}"/>
          </ac:spMkLst>
        </pc:spChg>
        <pc:spChg chg="mod">
          <ac:chgData name="Ugo MANTEL" userId="2d5b7065-31bb-4181-a7f8-a73bf0c30211" providerId="ADAL" clId="{F05BB0D5-3454-45DC-8378-DA45B79D9A06}" dt="2020-10-02T13:04:34.756" v="3661" actId="790"/>
          <ac:spMkLst>
            <pc:docMk/>
            <pc:sldMk cId="1409974748" sldId="7068"/>
            <ac:spMk id="33" creationId="{A1FDEDE9-E5E2-4EBC-A5B8-4EEF0C822E21}"/>
          </ac:spMkLst>
        </pc:spChg>
        <pc:spChg chg="mod">
          <ac:chgData name="Ugo MANTEL" userId="2d5b7065-31bb-4181-a7f8-a73bf0c30211" providerId="ADAL" clId="{F05BB0D5-3454-45DC-8378-DA45B79D9A06}" dt="2020-10-02T13:04:34.757" v="3662" actId="790"/>
          <ac:spMkLst>
            <pc:docMk/>
            <pc:sldMk cId="1409974748" sldId="7068"/>
            <ac:spMk id="43" creationId="{A7331F05-FF74-4FA1-B865-A812ECE4F24C}"/>
          </ac:spMkLst>
        </pc:spChg>
        <pc:spChg chg="mod">
          <ac:chgData name="Ugo MANTEL" userId="2d5b7065-31bb-4181-a7f8-a73bf0c30211" providerId="ADAL" clId="{F05BB0D5-3454-45DC-8378-DA45B79D9A06}" dt="2020-10-02T13:04:34.755" v="3660" actId="790"/>
          <ac:spMkLst>
            <pc:docMk/>
            <pc:sldMk cId="1409974748" sldId="7068"/>
            <ac:spMk id="47" creationId="{C85B0421-5BDB-4848-914A-867C2D466E74}"/>
          </ac:spMkLst>
        </pc:spChg>
        <pc:spChg chg="mod">
          <ac:chgData name="Ugo MANTEL" userId="2d5b7065-31bb-4181-a7f8-a73bf0c30211" providerId="ADAL" clId="{F05BB0D5-3454-45DC-8378-DA45B79D9A06}" dt="2020-10-02T13:04:34.749" v="3657" actId="790"/>
          <ac:spMkLst>
            <pc:docMk/>
            <pc:sldMk cId="1409974748" sldId="7068"/>
            <ac:spMk id="57" creationId="{BB6FD7F9-F8DD-4E65-ACE1-215FCC72E034}"/>
          </ac:spMkLst>
        </pc:spChg>
        <pc:spChg chg="mod">
          <ac:chgData name="Ugo MANTEL" userId="2d5b7065-31bb-4181-a7f8-a73bf0c30211" providerId="ADAL" clId="{F05BB0D5-3454-45DC-8378-DA45B79D9A06}" dt="2020-10-02T13:04:34.751" v="3658" actId="790"/>
          <ac:spMkLst>
            <pc:docMk/>
            <pc:sldMk cId="1409974748" sldId="7068"/>
            <ac:spMk id="58" creationId="{58DFB556-E206-431A-9120-341385B2445B}"/>
          </ac:spMkLst>
        </pc:spChg>
        <pc:spChg chg="mod">
          <ac:chgData name="Ugo MANTEL" userId="2d5b7065-31bb-4181-a7f8-a73bf0c30211" providerId="ADAL" clId="{F05BB0D5-3454-45DC-8378-DA45B79D9A06}" dt="2020-10-02T13:04:34.757" v="3663" actId="790"/>
          <ac:spMkLst>
            <pc:docMk/>
            <pc:sldMk cId="1409974748" sldId="7068"/>
            <ac:spMk id="60" creationId="{AD24FD99-5D7D-4EF3-932A-CA786F84EC1C}"/>
          </ac:spMkLst>
        </pc:spChg>
        <pc:spChg chg="mod">
          <ac:chgData name="Ugo MANTEL" userId="2d5b7065-31bb-4181-a7f8-a73bf0c30211" providerId="ADAL" clId="{F05BB0D5-3454-45DC-8378-DA45B79D9A06}" dt="2020-10-02T13:04:34.763" v="3672" actId="790"/>
          <ac:spMkLst>
            <pc:docMk/>
            <pc:sldMk cId="1409974748" sldId="7068"/>
            <ac:spMk id="61" creationId="{2A880444-8716-49C6-96B9-5D4E2DCF3C58}"/>
          </ac:spMkLst>
        </pc:spChg>
        <pc:spChg chg="mod">
          <ac:chgData name="Ugo MANTEL" userId="2d5b7065-31bb-4181-a7f8-a73bf0c30211" providerId="ADAL" clId="{F05BB0D5-3454-45DC-8378-DA45B79D9A06}" dt="2020-10-02T13:04:34.764" v="3673" actId="790"/>
          <ac:spMkLst>
            <pc:docMk/>
            <pc:sldMk cId="1409974748" sldId="7068"/>
            <ac:spMk id="62" creationId="{A8EB407D-5D39-4AFE-9BFE-F49B1F2F997C}"/>
          </ac:spMkLst>
        </pc:spChg>
        <pc:spChg chg="mod">
          <ac:chgData name="Ugo MANTEL" userId="2d5b7065-31bb-4181-a7f8-a73bf0c30211" providerId="ADAL" clId="{F05BB0D5-3454-45DC-8378-DA45B79D9A06}" dt="2020-10-02T13:04:34.760" v="3667" actId="790"/>
          <ac:spMkLst>
            <pc:docMk/>
            <pc:sldMk cId="1409974748" sldId="7068"/>
            <ac:spMk id="64" creationId="{AF4FDE51-BB44-4095-ADD9-5CA5D871EB35}"/>
          </ac:spMkLst>
        </pc:spChg>
        <pc:spChg chg="mod">
          <ac:chgData name="Ugo MANTEL" userId="2d5b7065-31bb-4181-a7f8-a73bf0c30211" providerId="ADAL" clId="{F05BB0D5-3454-45DC-8378-DA45B79D9A06}" dt="2020-10-02T13:04:34.759" v="3666" actId="790"/>
          <ac:spMkLst>
            <pc:docMk/>
            <pc:sldMk cId="1409974748" sldId="7068"/>
            <ac:spMk id="66" creationId="{8BBFD341-BA2D-4BA0-B764-CC42F998C7B6}"/>
          </ac:spMkLst>
        </pc:spChg>
        <pc:spChg chg="mod">
          <ac:chgData name="Ugo MANTEL" userId="2d5b7065-31bb-4181-a7f8-a73bf0c30211" providerId="ADAL" clId="{F05BB0D5-3454-45DC-8378-DA45B79D9A06}" dt="2020-10-02T13:04:34.759" v="3665" actId="790"/>
          <ac:spMkLst>
            <pc:docMk/>
            <pc:sldMk cId="1409974748" sldId="7068"/>
            <ac:spMk id="68" creationId="{EEBAE851-4C0C-4B21-AF31-FA78FA108B7B}"/>
          </ac:spMkLst>
        </pc:spChg>
        <pc:spChg chg="mod">
          <ac:chgData name="Ugo MANTEL" userId="2d5b7065-31bb-4181-a7f8-a73bf0c30211" providerId="ADAL" clId="{F05BB0D5-3454-45DC-8378-DA45B79D9A06}" dt="2020-10-02T13:04:34.758" v="3664" actId="790"/>
          <ac:spMkLst>
            <pc:docMk/>
            <pc:sldMk cId="1409974748" sldId="7068"/>
            <ac:spMk id="70" creationId="{0F1995F5-5C8E-414F-B55C-6025A2645F61}"/>
          </ac:spMkLst>
        </pc:spChg>
        <pc:spChg chg="mod">
          <ac:chgData name="Ugo MANTEL" userId="2d5b7065-31bb-4181-a7f8-a73bf0c30211" providerId="ADAL" clId="{F05BB0D5-3454-45DC-8378-DA45B79D9A06}" dt="2020-10-02T13:04:34.765" v="3674" actId="790"/>
          <ac:spMkLst>
            <pc:docMk/>
            <pc:sldMk cId="1409974748" sldId="7068"/>
            <ac:spMk id="72" creationId="{EC87F7AD-A864-4372-8E14-B495BEE2C0B3}"/>
          </ac:spMkLst>
        </pc:spChg>
        <pc:spChg chg="mod">
          <ac:chgData name="Ugo MANTEL" userId="2d5b7065-31bb-4181-a7f8-a73bf0c30211" providerId="ADAL" clId="{F05BB0D5-3454-45DC-8378-DA45B79D9A06}" dt="2020-10-02T13:04:34.765" v="3675" actId="790"/>
          <ac:spMkLst>
            <pc:docMk/>
            <pc:sldMk cId="1409974748" sldId="7068"/>
            <ac:spMk id="73" creationId="{F002D2FA-D69B-401A-AEB9-B8356CC19408}"/>
          </ac:spMkLst>
        </pc:spChg>
        <pc:spChg chg="mod">
          <ac:chgData name="Ugo MANTEL" userId="2d5b7065-31bb-4181-a7f8-a73bf0c30211" providerId="ADAL" clId="{F05BB0D5-3454-45DC-8378-DA45B79D9A06}" dt="2020-10-02T13:04:34.761" v="3668" actId="790"/>
          <ac:spMkLst>
            <pc:docMk/>
            <pc:sldMk cId="1409974748" sldId="7068"/>
            <ac:spMk id="75" creationId="{CE2342FA-B38A-43DF-98EE-FDBD9BF9990B}"/>
          </ac:spMkLst>
        </pc:spChg>
        <pc:spChg chg="mod">
          <ac:chgData name="Ugo MANTEL" userId="2d5b7065-31bb-4181-a7f8-a73bf0c30211" providerId="ADAL" clId="{F05BB0D5-3454-45DC-8378-DA45B79D9A06}" dt="2020-10-02T13:04:34.761" v="3669" actId="790"/>
          <ac:spMkLst>
            <pc:docMk/>
            <pc:sldMk cId="1409974748" sldId="7068"/>
            <ac:spMk id="77" creationId="{A5C5824D-BD72-4964-AA10-3D669932076E}"/>
          </ac:spMkLst>
        </pc:spChg>
        <pc:spChg chg="mod">
          <ac:chgData name="Ugo MANTEL" userId="2d5b7065-31bb-4181-a7f8-a73bf0c30211" providerId="ADAL" clId="{F05BB0D5-3454-45DC-8378-DA45B79D9A06}" dt="2020-10-02T13:04:34.762" v="3670" actId="790"/>
          <ac:spMkLst>
            <pc:docMk/>
            <pc:sldMk cId="1409974748" sldId="7068"/>
            <ac:spMk id="79" creationId="{CB527A27-001E-4869-BAEB-A088928FB751}"/>
          </ac:spMkLst>
        </pc:spChg>
        <pc:spChg chg="mod">
          <ac:chgData name="Ugo MANTEL" userId="2d5b7065-31bb-4181-a7f8-a73bf0c30211" providerId="ADAL" clId="{F05BB0D5-3454-45DC-8378-DA45B79D9A06}" dt="2020-10-02T13:04:34.763" v="3671" actId="790"/>
          <ac:spMkLst>
            <pc:docMk/>
            <pc:sldMk cId="1409974748" sldId="7068"/>
            <ac:spMk id="81" creationId="{7C32DA22-74C9-4D73-A6E5-984D5312A1E7}"/>
          </ac:spMkLst>
        </pc:spChg>
        <pc:spChg chg="mod">
          <ac:chgData name="Ugo MANTEL" userId="2d5b7065-31bb-4181-a7f8-a73bf0c30211" providerId="ADAL" clId="{F05BB0D5-3454-45DC-8378-DA45B79D9A06}" dt="2020-10-02T13:04:34.766" v="3676" actId="790"/>
          <ac:spMkLst>
            <pc:docMk/>
            <pc:sldMk cId="1409974748" sldId="7068"/>
            <ac:spMk id="82" creationId="{2D4199B3-3A4E-45D7-A2F1-65B98C8BCAB7}"/>
          </ac:spMkLst>
        </pc:spChg>
        <pc:spChg chg="mod">
          <ac:chgData name="Ugo MANTEL" userId="2d5b7065-31bb-4181-a7f8-a73bf0c30211" providerId="ADAL" clId="{F05BB0D5-3454-45DC-8378-DA45B79D9A06}" dt="2020-10-02T13:04:34.767" v="3677" actId="790"/>
          <ac:spMkLst>
            <pc:docMk/>
            <pc:sldMk cId="1409974748" sldId="7068"/>
            <ac:spMk id="85" creationId="{7CE12BC3-9545-40F7-8DAD-9CA7FB2E2ECF}"/>
          </ac:spMkLst>
        </pc:spChg>
        <pc:spChg chg="mod">
          <ac:chgData name="Ugo MANTEL" userId="2d5b7065-31bb-4181-a7f8-a73bf0c30211" providerId="ADAL" clId="{F05BB0D5-3454-45DC-8378-DA45B79D9A06}" dt="2020-10-02T13:04:34.768" v="3678" actId="790"/>
          <ac:spMkLst>
            <pc:docMk/>
            <pc:sldMk cId="1409974748" sldId="7068"/>
            <ac:spMk id="93" creationId="{7C963906-3647-40F3-87C3-DDCECED4FA44}"/>
          </ac:spMkLst>
        </pc:spChg>
        <pc:spChg chg="mod">
          <ac:chgData name="Ugo MANTEL" userId="2d5b7065-31bb-4181-a7f8-a73bf0c30211" providerId="ADAL" clId="{F05BB0D5-3454-45DC-8378-DA45B79D9A06}" dt="2020-10-02T13:04:34.770" v="3679" actId="790"/>
          <ac:spMkLst>
            <pc:docMk/>
            <pc:sldMk cId="1409974748" sldId="7068"/>
            <ac:spMk id="95" creationId="{B22B5A8A-1749-4BA1-8BBC-91343ACD3B26}"/>
          </ac:spMkLst>
        </pc:spChg>
      </pc:sldChg>
      <pc:sldChg chg="delSp modSp mod">
        <pc:chgData name="Ugo MANTEL" userId="2d5b7065-31bb-4181-a7f8-a73bf0c30211" providerId="ADAL" clId="{F05BB0D5-3454-45DC-8378-DA45B79D9A06}" dt="2020-10-02T13:04:34.796" v="3708" actId="790"/>
        <pc:sldMkLst>
          <pc:docMk/>
          <pc:sldMk cId="1376864738" sldId="7069"/>
        </pc:sldMkLst>
        <pc:spChg chg="del mod">
          <ac:chgData name="Ugo MANTEL" userId="2d5b7065-31bb-4181-a7f8-a73bf0c30211" providerId="ADAL" clId="{F05BB0D5-3454-45DC-8378-DA45B79D9A06}" dt="2020-10-02T12:25:50.745" v="655" actId="478"/>
          <ac:spMkLst>
            <pc:docMk/>
            <pc:sldMk cId="1376864738" sldId="7069"/>
            <ac:spMk id="2" creationId="{351B8235-C62D-4709-90E3-2682B61A25D1}"/>
          </ac:spMkLst>
        </pc:spChg>
        <pc:spChg chg="mod">
          <ac:chgData name="Ugo MANTEL" userId="2d5b7065-31bb-4181-a7f8-a73bf0c30211" providerId="ADAL" clId="{F05BB0D5-3454-45DC-8378-DA45B79D9A06}" dt="2020-10-02T13:04:34.772" v="3682" actId="790"/>
          <ac:spMkLst>
            <pc:docMk/>
            <pc:sldMk cId="1376864738" sldId="7069"/>
            <ac:spMk id="3" creationId="{30953E26-7813-417B-AC0B-7AC74C77D79F}"/>
          </ac:spMkLst>
        </pc:spChg>
        <pc:spChg chg="mod">
          <ac:chgData name="Ugo MANTEL" userId="2d5b7065-31bb-4181-a7f8-a73bf0c30211" providerId="ADAL" clId="{F05BB0D5-3454-45DC-8378-DA45B79D9A06}" dt="2020-10-02T13:04:34.770" v="3680" actId="790"/>
          <ac:spMkLst>
            <pc:docMk/>
            <pc:sldMk cId="1376864738" sldId="7069"/>
            <ac:spMk id="4" creationId="{CFDA14E9-D9F6-4D44-A466-BF298653DD71}"/>
          </ac:spMkLst>
        </pc:spChg>
        <pc:spChg chg="mod">
          <ac:chgData name="Ugo MANTEL" userId="2d5b7065-31bb-4181-a7f8-a73bf0c30211" providerId="ADAL" clId="{F05BB0D5-3454-45DC-8378-DA45B79D9A06}" dt="2020-10-02T13:04:34.771" v="3681" actId="790"/>
          <ac:spMkLst>
            <pc:docMk/>
            <pc:sldMk cId="1376864738" sldId="7069"/>
            <ac:spMk id="14" creationId="{92FC6C6C-155F-4C1A-890E-114863D14568}"/>
          </ac:spMkLst>
        </pc:spChg>
        <pc:spChg chg="mod">
          <ac:chgData name="Ugo MANTEL" userId="2d5b7065-31bb-4181-a7f8-a73bf0c30211" providerId="ADAL" clId="{F05BB0D5-3454-45DC-8378-DA45B79D9A06}" dt="2020-10-02T13:04:34.774" v="3684" actId="790"/>
          <ac:spMkLst>
            <pc:docMk/>
            <pc:sldMk cId="1376864738" sldId="7069"/>
            <ac:spMk id="33" creationId="{A1FDEDE9-E5E2-4EBC-A5B8-4EEF0C822E21}"/>
          </ac:spMkLst>
        </pc:spChg>
        <pc:spChg chg="mod">
          <ac:chgData name="Ugo MANTEL" userId="2d5b7065-31bb-4181-a7f8-a73bf0c30211" providerId="ADAL" clId="{F05BB0D5-3454-45DC-8378-DA45B79D9A06}" dt="2020-10-02T13:04:34.781" v="3687" actId="790"/>
          <ac:spMkLst>
            <pc:docMk/>
            <pc:sldMk cId="1376864738" sldId="7069"/>
            <ac:spMk id="43" creationId="{A7331F05-FF74-4FA1-B865-A812ECE4F24C}"/>
          </ac:spMkLst>
        </pc:spChg>
        <pc:spChg chg="mod">
          <ac:chgData name="Ugo MANTEL" userId="2d5b7065-31bb-4181-a7f8-a73bf0c30211" providerId="ADAL" clId="{F05BB0D5-3454-45DC-8378-DA45B79D9A06}" dt="2020-10-02T13:04:34.772" v="3683" actId="790"/>
          <ac:spMkLst>
            <pc:docMk/>
            <pc:sldMk cId="1376864738" sldId="7069"/>
            <ac:spMk id="47" creationId="{C85B0421-5BDB-4848-914A-867C2D466E74}"/>
          </ac:spMkLst>
        </pc:spChg>
        <pc:spChg chg="mod">
          <ac:chgData name="Ugo MANTEL" userId="2d5b7065-31bb-4181-a7f8-a73bf0c30211" providerId="ADAL" clId="{F05BB0D5-3454-45DC-8378-DA45B79D9A06}" dt="2020-10-02T13:04:34.784" v="3690" actId="790"/>
          <ac:spMkLst>
            <pc:docMk/>
            <pc:sldMk cId="1376864738" sldId="7069"/>
            <ac:spMk id="48" creationId="{D12D5E80-9750-458B-889B-2619482F75B3}"/>
          </ac:spMkLst>
        </pc:spChg>
        <pc:spChg chg="mod">
          <ac:chgData name="Ugo MANTEL" userId="2d5b7065-31bb-4181-a7f8-a73bf0c30211" providerId="ADAL" clId="{F05BB0D5-3454-45DC-8378-DA45B79D9A06}" dt="2020-10-02T13:04:34.782" v="3688" actId="790"/>
          <ac:spMkLst>
            <pc:docMk/>
            <pc:sldMk cId="1376864738" sldId="7069"/>
            <ac:spMk id="64" creationId="{AF4FDE51-BB44-4095-ADD9-5CA5D871EB35}"/>
          </ac:spMkLst>
        </pc:spChg>
        <pc:spChg chg="mod">
          <ac:chgData name="Ugo MANTEL" userId="2d5b7065-31bb-4181-a7f8-a73bf0c30211" providerId="ADAL" clId="{F05BB0D5-3454-45DC-8378-DA45B79D9A06}" dt="2020-10-02T13:04:34.788" v="3696" actId="790"/>
          <ac:spMkLst>
            <pc:docMk/>
            <pc:sldMk cId="1376864738" sldId="7069"/>
            <ac:spMk id="66" creationId="{8BBFD341-BA2D-4BA0-B764-CC42F998C7B6}"/>
          </ac:spMkLst>
        </pc:spChg>
        <pc:spChg chg="mod">
          <ac:chgData name="Ugo MANTEL" userId="2d5b7065-31bb-4181-a7f8-a73bf0c30211" providerId="ADAL" clId="{F05BB0D5-3454-45DC-8378-DA45B79D9A06}" dt="2020-10-02T13:04:34.785" v="3692" actId="790"/>
          <ac:spMkLst>
            <pc:docMk/>
            <pc:sldMk cId="1376864738" sldId="7069"/>
            <ac:spMk id="68" creationId="{EEBAE851-4C0C-4B21-AF31-FA78FA108B7B}"/>
          </ac:spMkLst>
        </pc:spChg>
        <pc:spChg chg="mod">
          <ac:chgData name="Ugo MANTEL" userId="2d5b7065-31bb-4181-a7f8-a73bf0c30211" providerId="ADAL" clId="{F05BB0D5-3454-45DC-8378-DA45B79D9A06}" dt="2020-10-02T13:04:34.784" v="3691" actId="790"/>
          <ac:spMkLst>
            <pc:docMk/>
            <pc:sldMk cId="1376864738" sldId="7069"/>
            <ac:spMk id="70" creationId="{0F1995F5-5C8E-414F-B55C-6025A2645F61}"/>
          </ac:spMkLst>
        </pc:spChg>
        <pc:spChg chg="mod">
          <ac:chgData name="Ugo MANTEL" userId="2d5b7065-31bb-4181-a7f8-a73bf0c30211" providerId="ADAL" clId="{F05BB0D5-3454-45DC-8378-DA45B79D9A06}" dt="2020-10-02T13:04:34.786" v="3693" actId="790"/>
          <ac:spMkLst>
            <pc:docMk/>
            <pc:sldMk cId="1376864738" sldId="7069"/>
            <ac:spMk id="75" creationId="{CE2342FA-B38A-43DF-98EE-FDBD9BF9990B}"/>
          </ac:spMkLst>
        </pc:spChg>
        <pc:spChg chg="mod">
          <ac:chgData name="Ugo MANTEL" userId="2d5b7065-31bb-4181-a7f8-a73bf0c30211" providerId="ADAL" clId="{F05BB0D5-3454-45DC-8378-DA45B79D9A06}" dt="2020-10-02T13:04:34.786" v="3694" actId="790"/>
          <ac:spMkLst>
            <pc:docMk/>
            <pc:sldMk cId="1376864738" sldId="7069"/>
            <ac:spMk id="77" creationId="{A5C5824D-BD72-4964-AA10-3D669932076E}"/>
          </ac:spMkLst>
        </pc:spChg>
        <pc:spChg chg="mod">
          <ac:chgData name="Ugo MANTEL" userId="2d5b7065-31bb-4181-a7f8-a73bf0c30211" providerId="ADAL" clId="{F05BB0D5-3454-45DC-8378-DA45B79D9A06}" dt="2020-10-02T13:04:34.787" v="3695" actId="790"/>
          <ac:spMkLst>
            <pc:docMk/>
            <pc:sldMk cId="1376864738" sldId="7069"/>
            <ac:spMk id="79" creationId="{CB527A27-001E-4869-BAEB-A088928FB751}"/>
          </ac:spMkLst>
        </pc:spChg>
        <pc:spChg chg="mod">
          <ac:chgData name="Ugo MANTEL" userId="2d5b7065-31bb-4181-a7f8-a73bf0c30211" providerId="ADAL" clId="{F05BB0D5-3454-45DC-8378-DA45B79D9A06}" dt="2020-10-02T13:04:34.783" v="3689" actId="790"/>
          <ac:spMkLst>
            <pc:docMk/>
            <pc:sldMk cId="1376864738" sldId="7069"/>
            <ac:spMk id="80" creationId="{DFB8602C-728A-4C8C-A7F2-2B654B27BE87}"/>
          </ac:spMkLst>
        </pc:spChg>
        <pc:spChg chg="mod">
          <ac:chgData name="Ugo MANTEL" userId="2d5b7065-31bb-4181-a7f8-a73bf0c30211" providerId="ADAL" clId="{F05BB0D5-3454-45DC-8378-DA45B79D9A06}" dt="2020-10-02T13:04:34.795" v="3707" actId="790"/>
          <ac:spMkLst>
            <pc:docMk/>
            <pc:sldMk cId="1376864738" sldId="7069"/>
            <ac:spMk id="82" creationId="{853C9803-0051-4AC3-96FD-D3DB89940DB3}"/>
          </ac:spMkLst>
        </pc:spChg>
        <pc:spChg chg="mod">
          <ac:chgData name="Ugo MANTEL" userId="2d5b7065-31bb-4181-a7f8-a73bf0c30211" providerId="ADAL" clId="{F05BB0D5-3454-45DC-8378-DA45B79D9A06}" dt="2020-10-02T13:04:34.796" v="3708" actId="790"/>
          <ac:spMkLst>
            <pc:docMk/>
            <pc:sldMk cId="1376864738" sldId="7069"/>
            <ac:spMk id="83" creationId="{84743DD9-366B-4B62-B75D-78AD12F309D6}"/>
          </ac:spMkLst>
        </pc:spChg>
        <pc:spChg chg="mod">
          <ac:chgData name="Ugo MANTEL" userId="2d5b7065-31bb-4181-a7f8-a73bf0c30211" providerId="ADAL" clId="{F05BB0D5-3454-45DC-8378-DA45B79D9A06}" dt="2020-10-02T13:04:34.790" v="3700" actId="790"/>
          <ac:spMkLst>
            <pc:docMk/>
            <pc:sldMk cId="1376864738" sldId="7069"/>
            <ac:spMk id="85" creationId="{A8F01BA5-C6E3-4352-A2E1-ED4CA8CD7B85}"/>
          </ac:spMkLst>
        </pc:spChg>
        <pc:spChg chg="mod">
          <ac:chgData name="Ugo MANTEL" userId="2d5b7065-31bb-4181-a7f8-a73bf0c30211" providerId="ADAL" clId="{F05BB0D5-3454-45DC-8378-DA45B79D9A06}" dt="2020-10-02T13:04:34.791" v="3701" actId="790"/>
          <ac:spMkLst>
            <pc:docMk/>
            <pc:sldMk cId="1376864738" sldId="7069"/>
            <ac:spMk id="89" creationId="{4D648B5A-B248-4C39-AA7A-466658D7877F}"/>
          </ac:spMkLst>
        </pc:spChg>
        <pc:spChg chg="mod">
          <ac:chgData name="Ugo MANTEL" userId="2d5b7065-31bb-4181-a7f8-a73bf0c30211" providerId="ADAL" clId="{F05BB0D5-3454-45DC-8378-DA45B79D9A06}" dt="2020-10-02T13:04:34.788" v="3697" actId="790"/>
          <ac:spMkLst>
            <pc:docMk/>
            <pc:sldMk cId="1376864738" sldId="7069"/>
            <ac:spMk id="91" creationId="{577BE9AF-9AE9-46E4-8453-D0770B696043}"/>
          </ac:spMkLst>
        </pc:spChg>
        <pc:spChg chg="mod">
          <ac:chgData name="Ugo MANTEL" userId="2d5b7065-31bb-4181-a7f8-a73bf0c30211" providerId="ADAL" clId="{F05BB0D5-3454-45DC-8378-DA45B79D9A06}" dt="2020-10-02T13:04:34.789" v="3698" actId="790"/>
          <ac:spMkLst>
            <pc:docMk/>
            <pc:sldMk cId="1376864738" sldId="7069"/>
            <ac:spMk id="93" creationId="{D340A8FA-D825-4F99-83F6-78AF581933BE}"/>
          </ac:spMkLst>
        </pc:spChg>
        <pc:spChg chg="mod">
          <ac:chgData name="Ugo MANTEL" userId="2d5b7065-31bb-4181-a7f8-a73bf0c30211" providerId="ADAL" clId="{F05BB0D5-3454-45DC-8378-DA45B79D9A06}" dt="2020-10-02T13:04:34.790" v="3699" actId="790"/>
          <ac:spMkLst>
            <pc:docMk/>
            <pc:sldMk cId="1376864738" sldId="7069"/>
            <ac:spMk id="95" creationId="{624B5D0A-8B13-4DB6-A8C3-24A5D4BA9BF4}"/>
          </ac:spMkLst>
        </pc:spChg>
        <pc:spChg chg="mod">
          <ac:chgData name="Ugo MANTEL" userId="2d5b7065-31bb-4181-a7f8-a73bf0c30211" providerId="ADAL" clId="{F05BB0D5-3454-45DC-8378-DA45B79D9A06}" dt="2020-10-02T13:04:34.792" v="3702" actId="790"/>
          <ac:spMkLst>
            <pc:docMk/>
            <pc:sldMk cId="1376864738" sldId="7069"/>
            <ac:spMk id="117" creationId="{9BC0B343-DC1A-496C-A41B-EDEF84CFACED}"/>
          </ac:spMkLst>
        </pc:spChg>
        <pc:spChg chg="mod">
          <ac:chgData name="Ugo MANTEL" userId="2d5b7065-31bb-4181-a7f8-a73bf0c30211" providerId="ADAL" clId="{F05BB0D5-3454-45DC-8378-DA45B79D9A06}" dt="2020-10-02T13:04:34.792" v="3703" actId="790"/>
          <ac:spMkLst>
            <pc:docMk/>
            <pc:sldMk cId="1376864738" sldId="7069"/>
            <ac:spMk id="118" creationId="{7AC68D76-10A7-4544-A8E9-5C8DAF647A27}"/>
          </ac:spMkLst>
        </pc:spChg>
        <pc:spChg chg="mod">
          <ac:chgData name="Ugo MANTEL" userId="2d5b7065-31bb-4181-a7f8-a73bf0c30211" providerId="ADAL" clId="{F05BB0D5-3454-45DC-8378-DA45B79D9A06}" dt="2020-10-02T13:04:34.793" v="3704" actId="790"/>
          <ac:spMkLst>
            <pc:docMk/>
            <pc:sldMk cId="1376864738" sldId="7069"/>
            <ac:spMk id="119" creationId="{26886C10-A68C-418D-9588-30FDBBCEA9D5}"/>
          </ac:spMkLst>
        </pc:spChg>
        <pc:spChg chg="mod">
          <ac:chgData name="Ugo MANTEL" userId="2d5b7065-31bb-4181-a7f8-a73bf0c30211" providerId="ADAL" clId="{F05BB0D5-3454-45DC-8378-DA45B79D9A06}" dt="2020-10-02T13:04:34.794" v="3705" actId="790"/>
          <ac:spMkLst>
            <pc:docMk/>
            <pc:sldMk cId="1376864738" sldId="7069"/>
            <ac:spMk id="120" creationId="{CCB67412-0A92-4AE4-9E48-9F7AB70B6108}"/>
          </ac:spMkLst>
        </pc:spChg>
        <pc:spChg chg="mod">
          <ac:chgData name="Ugo MANTEL" userId="2d5b7065-31bb-4181-a7f8-a73bf0c30211" providerId="ADAL" clId="{F05BB0D5-3454-45DC-8378-DA45B79D9A06}" dt="2020-10-02T13:04:34.794" v="3706" actId="790"/>
          <ac:spMkLst>
            <pc:docMk/>
            <pc:sldMk cId="1376864738" sldId="7069"/>
            <ac:spMk id="128" creationId="{9DBE7F3F-C910-41F1-BBED-7E0860D6AA4D}"/>
          </ac:spMkLst>
        </pc:spChg>
        <pc:spChg chg="mod">
          <ac:chgData name="Ugo MANTEL" userId="2d5b7065-31bb-4181-a7f8-a73bf0c30211" providerId="ADAL" clId="{F05BB0D5-3454-45DC-8378-DA45B79D9A06}" dt="2020-10-02T13:04:34.777" v="3685" actId="790"/>
          <ac:spMkLst>
            <pc:docMk/>
            <pc:sldMk cId="1376864738" sldId="7069"/>
            <ac:spMk id="188" creationId="{C5BDDC62-1520-4FE8-A457-FD055F57896B}"/>
          </ac:spMkLst>
        </pc:spChg>
        <pc:spChg chg="mod">
          <ac:chgData name="Ugo MANTEL" userId="2d5b7065-31bb-4181-a7f8-a73bf0c30211" providerId="ADAL" clId="{F05BB0D5-3454-45DC-8378-DA45B79D9A06}" dt="2020-10-02T13:04:34.781" v="3686" actId="790"/>
          <ac:spMkLst>
            <pc:docMk/>
            <pc:sldMk cId="1376864738" sldId="7069"/>
            <ac:spMk id="194" creationId="{D2F9D774-2CB5-45E6-8AEE-E74405319A23}"/>
          </ac:spMkLst>
        </pc:spChg>
        <pc:graphicFrameChg chg="mod">
          <ac:chgData name="Ugo MANTEL" userId="2d5b7065-31bb-4181-a7f8-a73bf0c30211" providerId="ADAL" clId="{F05BB0D5-3454-45DC-8378-DA45B79D9A06}" dt="2020-10-02T12:25:43.306" v="654" actId="207"/>
          <ac:graphicFrameMkLst>
            <pc:docMk/>
            <pc:sldMk cId="1376864738" sldId="7069"/>
            <ac:graphicFrameMk id="61" creationId="{5930B959-BF0B-4173-934E-6EF0FE0A13EA}"/>
          </ac:graphicFrameMkLst>
        </pc:graphicFrameChg>
      </pc:sldChg>
      <pc:sldChg chg="modSp mod">
        <pc:chgData name="Ugo MANTEL" userId="2d5b7065-31bb-4181-a7f8-a73bf0c30211" providerId="ADAL" clId="{F05BB0D5-3454-45DC-8378-DA45B79D9A06}" dt="2020-10-05T11:39:15.611" v="8910" actId="554"/>
        <pc:sldMkLst>
          <pc:docMk/>
          <pc:sldMk cId="2075179110" sldId="7070"/>
        </pc:sldMkLst>
        <pc:spChg chg="mod">
          <ac:chgData name="Ugo MANTEL" userId="2d5b7065-31bb-4181-a7f8-a73bf0c30211" providerId="ADAL" clId="{F05BB0D5-3454-45DC-8378-DA45B79D9A06}" dt="2020-10-02T13:04:34.797" v="3711" actId="790"/>
          <ac:spMkLst>
            <pc:docMk/>
            <pc:sldMk cId="2075179110" sldId="7070"/>
            <ac:spMk id="3" creationId="{30953E26-7813-417B-AC0B-7AC74C77D79F}"/>
          </ac:spMkLst>
        </pc:spChg>
        <pc:spChg chg="mod">
          <ac:chgData name="Ugo MANTEL" userId="2d5b7065-31bb-4181-a7f8-a73bf0c30211" providerId="ADAL" clId="{F05BB0D5-3454-45DC-8378-DA45B79D9A06}" dt="2020-10-02T13:04:34.796" v="3709" actId="790"/>
          <ac:spMkLst>
            <pc:docMk/>
            <pc:sldMk cId="2075179110" sldId="7070"/>
            <ac:spMk id="4" creationId="{CFDA14E9-D9F6-4D44-A466-BF298653DD71}"/>
          </ac:spMkLst>
        </pc:spChg>
        <pc:spChg chg="mod">
          <ac:chgData name="Ugo MANTEL" userId="2d5b7065-31bb-4181-a7f8-a73bf0c30211" providerId="ADAL" clId="{F05BB0D5-3454-45DC-8378-DA45B79D9A06}" dt="2020-10-02T13:04:34.820" v="3733" actId="790"/>
          <ac:spMkLst>
            <pc:docMk/>
            <pc:sldMk cId="2075179110" sldId="7070"/>
            <ac:spMk id="8" creationId="{53FB619D-0F4A-48B2-A015-9406AFBA5E42}"/>
          </ac:spMkLst>
        </pc:spChg>
        <pc:spChg chg="mod">
          <ac:chgData name="Ugo MANTEL" userId="2d5b7065-31bb-4181-a7f8-a73bf0c30211" providerId="ADAL" clId="{F05BB0D5-3454-45DC-8378-DA45B79D9A06}" dt="2020-10-02T13:04:34.797" v="3710" actId="790"/>
          <ac:spMkLst>
            <pc:docMk/>
            <pc:sldMk cId="2075179110" sldId="7070"/>
            <ac:spMk id="14" creationId="{92FC6C6C-155F-4C1A-890E-114863D14568}"/>
          </ac:spMkLst>
        </pc:spChg>
        <pc:spChg chg="mod">
          <ac:chgData name="Ugo MANTEL" userId="2d5b7065-31bb-4181-a7f8-a73bf0c30211" providerId="ADAL" clId="{F05BB0D5-3454-45DC-8378-DA45B79D9A06}" dt="2020-10-02T13:04:34.800" v="3712" actId="790"/>
          <ac:spMkLst>
            <pc:docMk/>
            <pc:sldMk cId="2075179110" sldId="7070"/>
            <ac:spMk id="16" creationId="{EACE795C-C806-425F-8AA4-8EFA6F2CB1B5}"/>
          </ac:spMkLst>
        </pc:spChg>
        <pc:spChg chg="mod">
          <ac:chgData name="Ugo MANTEL" userId="2d5b7065-31bb-4181-a7f8-a73bf0c30211" providerId="ADAL" clId="{F05BB0D5-3454-45DC-8378-DA45B79D9A06}" dt="2020-10-05T11:39:15.611" v="8910" actId="554"/>
          <ac:spMkLst>
            <pc:docMk/>
            <pc:sldMk cId="2075179110" sldId="7070"/>
            <ac:spMk id="33" creationId="{A1FDEDE9-E5E2-4EBC-A5B8-4EEF0C822E21}"/>
          </ac:spMkLst>
        </pc:spChg>
        <pc:spChg chg="mod">
          <ac:chgData name="Ugo MANTEL" userId="2d5b7065-31bb-4181-a7f8-a73bf0c30211" providerId="ADAL" clId="{F05BB0D5-3454-45DC-8378-DA45B79D9A06}" dt="2020-10-02T13:04:34.805" v="3714" actId="790"/>
          <ac:spMkLst>
            <pc:docMk/>
            <pc:sldMk cId="2075179110" sldId="7070"/>
            <ac:spMk id="37" creationId="{BC332233-14DF-4C73-AB17-88C3B9382411}"/>
          </ac:spMkLst>
        </pc:spChg>
        <pc:spChg chg="mod">
          <ac:chgData name="Ugo MANTEL" userId="2d5b7065-31bb-4181-a7f8-a73bf0c30211" providerId="ADAL" clId="{F05BB0D5-3454-45DC-8378-DA45B79D9A06}" dt="2020-10-02T13:04:34.806" v="3715" actId="790"/>
          <ac:spMkLst>
            <pc:docMk/>
            <pc:sldMk cId="2075179110" sldId="7070"/>
            <ac:spMk id="38" creationId="{DD62F214-64DE-4187-B2E0-D1194D3A3DC8}"/>
          </ac:spMkLst>
        </pc:spChg>
        <pc:spChg chg="mod">
          <ac:chgData name="Ugo MANTEL" userId="2d5b7065-31bb-4181-a7f8-a73bf0c30211" providerId="ADAL" clId="{F05BB0D5-3454-45DC-8378-DA45B79D9A06}" dt="2020-10-02T13:04:34.806" v="3716" actId="790"/>
          <ac:spMkLst>
            <pc:docMk/>
            <pc:sldMk cId="2075179110" sldId="7070"/>
            <ac:spMk id="39" creationId="{C3A976AD-14C4-4ABE-A934-7E27BBE85C1C}"/>
          </ac:spMkLst>
        </pc:spChg>
        <pc:spChg chg="mod">
          <ac:chgData name="Ugo MANTEL" userId="2d5b7065-31bb-4181-a7f8-a73bf0c30211" providerId="ADAL" clId="{F05BB0D5-3454-45DC-8378-DA45B79D9A06}" dt="2020-10-02T13:04:34.811" v="3721" actId="790"/>
          <ac:spMkLst>
            <pc:docMk/>
            <pc:sldMk cId="2075179110" sldId="7070"/>
            <ac:spMk id="43" creationId="{A7331F05-FF74-4FA1-B865-A812ECE4F24C}"/>
          </ac:spMkLst>
        </pc:spChg>
        <pc:spChg chg="mod">
          <ac:chgData name="Ugo MANTEL" userId="2d5b7065-31bb-4181-a7f8-a73bf0c30211" providerId="ADAL" clId="{F05BB0D5-3454-45DC-8378-DA45B79D9A06}" dt="2020-10-02T13:04:34.807" v="3717" actId="790"/>
          <ac:spMkLst>
            <pc:docMk/>
            <pc:sldMk cId="2075179110" sldId="7070"/>
            <ac:spMk id="46" creationId="{9FB5FA0A-66DB-4991-8669-D703061FDE44}"/>
          </ac:spMkLst>
        </pc:spChg>
        <pc:spChg chg="mod">
          <ac:chgData name="Ugo MANTEL" userId="2d5b7065-31bb-4181-a7f8-a73bf0c30211" providerId="ADAL" clId="{F05BB0D5-3454-45DC-8378-DA45B79D9A06}" dt="2020-10-05T11:39:15.611" v="8910" actId="554"/>
          <ac:spMkLst>
            <pc:docMk/>
            <pc:sldMk cId="2075179110" sldId="7070"/>
            <ac:spMk id="47" creationId="{C85B0421-5BDB-4848-914A-867C2D466E74}"/>
          </ac:spMkLst>
        </pc:spChg>
        <pc:spChg chg="mod">
          <ac:chgData name="Ugo MANTEL" userId="2d5b7065-31bb-4181-a7f8-a73bf0c30211" providerId="ADAL" clId="{F05BB0D5-3454-45DC-8378-DA45B79D9A06}" dt="2020-10-02T13:04:34.808" v="3718" actId="790"/>
          <ac:spMkLst>
            <pc:docMk/>
            <pc:sldMk cId="2075179110" sldId="7070"/>
            <ac:spMk id="56" creationId="{47F1C37A-47CF-4B73-B59D-BF4C343FCB28}"/>
          </ac:spMkLst>
        </pc:spChg>
        <pc:spChg chg="mod">
          <ac:chgData name="Ugo MANTEL" userId="2d5b7065-31bb-4181-a7f8-a73bf0c30211" providerId="ADAL" clId="{F05BB0D5-3454-45DC-8378-DA45B79D9A06}" dt="2020-10-02T13:04:34.813" v="3723" actId="790"/>
          <ac:spMkLst>
            <pc:docMk/>
            <pc:sldMk cId="2075179110" sldId="7070"/>
            <ac:spMk id="66" creationId="{5DD1B974-10AB-4A19-BDD3-3F856BCAF01A}"/>
          </ac:spMkLst>
        </pc:spChg>
        <pc:spChg chg="mod">
          <ac:chgData name="Ugo MANTEL" userId="2d5b7065-31bb-4181-a7f8-a73bf0c30211" providerId="ADAL" clId="{F05BB0D5-3454-45DC-8378-DA45B79D9A06}" dt="2020-10-02T13:04:34.812" v="3722" actId="790"/>
          <ac:spMkLst>
            <pc:docMk/>
            <pc:sldMk cId="2075179110" sldId="7070"/>
            <ac:spMk id="67" creationId="{D404C0A4-E0C4-4876-ADCB-BD3CA4322544}"/>
          </ac:spMkLst>
        </pc:spChg>
        <pc:spChg chg="mod">
          <ac:chgData name="Ugo MANTEL" userId="2d5b7065-31bb-4181-a7f8-a73bf0c30211" providerId="ADAL" clId="{F05BB0D5-3454-45DC-8378-DA45B79D9A06}" dt="2020-10-02T13:04:34.821" v="3734" actId="790"/>
          <ac:spMkLst>
            <pc:docMk/>
            <pc:sldMk cId="2075179110" sldId="7070"/>
            <ac:spMk id="77" creationId="{A6F9909A-6F0E-43DC-806F-8DC6EC6E91A2}"/>
          </ac:spMkLst>
        </pc:spChg>
        <pc:spChg chg="mod">
          <ac:chgData name="Ugo MANTEL" userId="2d5b7065-31bb-4181-a7f8-a73bf0c30211" providerId="ADAL" clId="{F05BB0D5-3454-45DC-8378-DA45B79D9A06}" dt="2020-10-02T13:04:34.821" v="3735" actId="790"/>
          <ac:spMkLst>
            <pc:docMk/>
            <pc:sldMk cId="2075179110" sldId="7070"/>
            <ac:spMk id="78" creationId="{697155C0-992A-4CC4-8585-36298359035D}"/>
          </ac:spMkLst>
        </pc:spChg>
        <pc:spChg chg="mod">
          <ac:chgData name="Ugo MANTEL" userId="2d5b7065-31bb-4181-a7f8-a73bf0c30211" providerId="ADAL" clId="{F05BB0D5-3454-45DC-8378-DA45B79D9A06}" dt="2020-10-02T13:04:34.811" v="3720" actId="790"/>
          <ac:spMkLst>
            <pc:docMk/>
            <pc:sldMk cId="2075179110" sldId="7070"/>
            <ac:spMk id="83" creationId="{09711A59-19BF-4193-B3D8-CF704E6665A4}"/>
          </ac:spMkLst>
        </pc:spChg>
        <pc:spChg chg="mod">
          <ac:chgData name="Ugo MANTEL" userId="2d5b7065-31bb-4181-a7f8-a73bf0c30211" providerId="ADAL" clId="{F05BB0D5-3454-45DC-8378-DA45B79D9A06}" dt="2020-10-02T13:04:34.813" v="3724" actId="790"/>
          <ac:spMkLst>
            <pc:docMk/>
            <pc:sldMk cId="2075179110" sldId="7070"/>
            <ac:spMk id="90" creationId="{19303C3A-5AE4-4EA0-A1FA-4B7D8590A926}"/>
          </ac:spMkLst>
        </pc:spChg>
        <pc:spChg chg="mod">
          <ac:chgData name="Ugo MANTEL" userId="2d5b7065-31bb-4181-a7f8-a73bf0c30211" providerId="ADAL" clId="{F05BB0D5-3454-45DC-8378-DA45B79D9A06}" dt="2020-10-02T13:04:34.814" v="3725" actId="790"/>
          <ac:spMkLst>
            <pc:docMk/>
            <pc:sldMk cId="2075179110" sldId="7070"/>
            <ac:spMk id="93" creationId="{502873FC-04DA-4875-8AF3-02F2AF1AF33D}"/>
          </ac:spMkLst>
        </pc:spChg>
        <pc:spChg chg="mod">
          <ac:chgData name="Ugo MANTEL" userId="2d5b7065-31bb-4181-a7f8-a73bf0c30211" providerId="ADAL" clId="{F05BB0D5-3454-45DC-8378-DA45B79D9A06}" dt="2020-10-02T13:04:34.815" v="3726" actId="790"/>
          <ac:spMkLst>
            <pc:docMk/>
            <pc:sldMk cId="2075179110" sldId="7070"/>
            <ac:spMk id="96" creationId="{9701400A-0644-448C-9CC5-FDA70DBF5798}"/>
          </ac:spMkLst>
        </pc:spChg>
        <pc:spChg chg="mod">
          <ac:chgData name="Ugo MANTEL" userId="2d5b7065-31bb-4181-a7f8-a73bf0c30211" providerId="ADAL" clId="{F05BB0D5-3454-45DC-8378-DA45B79D9A06}" dt="2020-10-02T13:04:34.815" v="3727" actId="790"/>
          <ac:spMkLst>
            <pc:docMk/>
            <pc:sldMk cId="2075179110" sldId="7070"/>
            <ac:spMk id="99" creationId="{4718EE55-3C39-4BA4-901E-713BA1815145}"/>
          </ac:spMkLst>
        </pc:spChg>
        <pc:spChg chg="mod">
          <ac:chgData name="Ugo MANTEL" userId="2d5b7065-31bb-4181-a7f8-a73bf0c30211" providerId="ADAL" clId="{F05BB0D5-3454-45DC-8378-DA45B79D9A06}" dt="2020-10-02T13:04:34.816" v="3728" actId="790"/>
          <ac:spMkLst>
            <pc:docMk/>
            <pc:sldMk cId="2075179110" sldId="7070"/>
            <ac:spMk id="102" creationId="{64B09D7C-3158-4F2A-BB55-9DC2DE1E36A1}"/>
          </ac:spMkLst>
        </pc:spChg>
        <pc:spChg chg="mod">
          <ac:chgData name="Ugo MANTEL" userId="2d5b7065-31bb-4181-a7f8-a73bf0c30211" providerId="ADAL" clId="{F05BB0D5-3454-45DC-8378-DA45B79D9A06}" dt="2020-10-02T13:04:34.817" v="3729" actId="790"/>
          <ac:spMkLst>
            <pc:docMk/>
            <pc:sldMk cId="2075179110" sldId="7070"/>
            <ac:spMk id="105" creationId="{D5A9A91B-F9B6-4B6A-B8D0-C653F41FFDFA}"/>
          </ac:spMkLst>
        </pc:spChg>
        <pc:spChg chg="mod">
          <ac:chgData name="Ugo MANTEL" userId="2d5b7065-31bb-4181-a7f8-a73bf0c30211" providerId="ADAL" clId="{F05BB0D5-3454-45DC-8378-DA45B79D9A06}" dt="2020-10-02T13:04:34.818" v="3730" actId="790"/>
          <ac:spMkLst>
            <pc:docMk/>
            <pc:sldMk cId="2075179110" sldId="7070"/>
            <ac:spMk id="108" creationId="{CDBBA658-27F9-4347-8A97-6421F8ED8014}"/>
          </ac:spMkLst>
        </pc:spChg>
        <pc:spChg chg="mod">
          <ac:chgData name="Ugo MANTEL" userId="2d5b7065-31bb-4181-a7f8-a73bf0c30211" providerId="ADAL" clId="{F05BB0D5-3454-45DC-8378-DA45B79D9A06}" dt="2020-10-02T13:04:34.818" v="3731" actId="790"/>
          <ac:spMkLst>
            <pc:docMk/>
            <pc:sldMk cId="2075179110" sldId="7070"/>
            <ac:spMk id="110" creationId="{CC5D8E0F-5769-4F5D-AC32-5CE6E1851892}"/>
          </ac:spMkLst>
        </pc:spChg>
        <pc:spChg chg="mod">
          <ac:chgData name="Ugo MANTEL" userId="2d5b7065-31bb-4181-a7f8-a73bf0c30211" providerId="ADAL" clId="{F05BB0D5-3454-45DC-8378-DA45B79D9A06}" dt="2020-10-02T13:04:34.819" v="3732" actId="790"/>
          <ac:spMkLst>
            <pc:docMk/>
            <pc:sldMk cId="2075179110" sldId="7070"/>
            <ac:spMk id="111" creationId="{0AFDA080-B837-4755-BE66-604904FD9C99}"/>
          </ac:spMkLst>
        </pc:spChg>
      </pc:sldChg>
      <pc:sldChg chg="addSp delSp modSp mod">
        <pc:chgData name="Ugo MANTEL" userId="2d5b7065-31bb-4181-a7f8-a73bf0c30211" providerId="ADAL" clId="{F05BB0D5-3454-45DC-8378-DA45B79D9A06}" dt="2020-10-07T08:25:07.217" v="10647" actId="207"/>
        <pc:sldMkLst>
          <pc:docMk/>
          <pc:sldMk cId="1492206073" sldId="7071"/>
        </pc:sldMkLst>
        <pc:spChg chg="mod ord">
          <ac:chgData name="Ugo MANTEL" userId="2d5b7065-31bb-4181-a7f8-a73bf0c30211" providerId="ADAL" clId="{F05BB0D5-3454-45DC-8378-DA45B79D9A06}" dt="2020-10-07T07:25:44.771" v="10465" actId="1035"/>
          <ac:spMkLst>
            <pc:docMk/>
            <pc:sldMk cId="1492206073" sldId="7071"/>
            <ac:spMk id="2" creationId="{AB387DAE-7DC9-49A2-A7FA-8D5E9B1A2704}"/>
          </ac:spMkLst>
        </pc:spChg>
        <pc:spChg chg="mod ord">
          <ac:chgData name="Ugo MANTEL" userId="2d5b7065-31bb-4181-a7f8-a73bf0c30211" providerId="ADAL" clId="{F05BB0D5-3454-45DC-8378-DA45B79D9A06}" dt="2020-10-05T12:19:50.703" v="9656" actId="20577"/>
          <ac:spMkLst>
            <pc:docMk/>
            <pc:sldMk cId="1492206073" sldId="7071"/>
            <ac:spMk id="3" creationId="{30953E26-7813-417B-AC0B-7AC74C77D79F}"/>
          </ac:spMkLst>
        </pc:spChg>
        <pc:spChg chg="mod ord">
          <ac:chgData name="Ugo MANTEL" userId="2d5b7065-31bb-4181-a7f8-a73bf0c30211" providerId="ADAL" clId="{F05BB0D5-3454-45DC-8378-DA45B79D9A06}" dt="2020-10-05T12:17:05.781" v="9443"/>
          <ac:spMkLst>
            <pc:docMk/>
            <pc:sldMk cId="1492206073" sldId="7071"/>
            <ac:spMk id="4" creationId="{CFDA14E9-D9F6-4D44-A466-BF298653DD71}"/>
          </ac:spMkLst>
        </pc:spChg>
        <pc:spChg chg="mod">
          <ac:chgData name="Ugo MANTEL" userId="2d5b7065-31bb-4181-a7f8-a73bf0c30211" providerId="ADAL" clId="{F05BB0D5-3454-45DC-8378-DA45B79D9A06}" dt="2020-10-02T13:04:34.852" v="3761" actId="790"/>
          <ac:spMkLst>
            <pc:docMk/>
            <pc:sldMk cId="1492206073" sldId="7071"/>
            <ac:spMk id="7" creationId="{2B40F955-758D-4A83-974E-CB44947260A0}"/>
          </ac:spMkLst>
        </pc:spChg>
        <pc:spChg chg="del mod">
          <ac:chgData name="Ugo MANTEL" userId="2d5b7065-31bb-4181-a7f8-a73bf0c30211" providerId="ADAL" clId="{F05BB0D5-3454-45DC-8378-DA45B79D9A06}" dt="2020-10-05T11:40:33.687" v="8918" actId="478"/>
          <ac:spMkLst>
            <pc:docMk/>
            <pc:sldMk cId="1492206073" sldId="7071"/>
            <ac:spMk id="7" creationId="{E0B8D098-2263-4E44-810B-DF97E1D986BD}"/>
          </ac:spMkLst>
        </pc:spChg>
        <pc:spChg chg="mod ord">
          <ac:chgData name="Ugo MANTEL" userId="2d5b7065-31bb-4181-a7f8-a73bf0c30211" providerId="ADAL" clId="{F05BB0D5-3454-45DC-8378-DA45B79D9A06}" dt="2020-10-05T12:17:05.782" v="9445"/>
          <ac:spMkLst>
            <pc:docMk/>
            <pc:sldMk cId="1492206073" sldId="7071"/>
            <ac:spMk id="14" creationId="{92FC6C6C-155F-4C1A-890E-114863D14568}"/>
          </ac:spMkLst>
        </pc:spChg>
        <pc:spChg chg="mod ord">
          <ac:chgData name="Ugo MANTEL" userId="2d5b7065-31bb-4181-a7f8-a73bf0c30211" providerId="ADAL" clId="{F05BB0D5-3454-45DC-8378-DA45B79D9A06}" dt="2020-10-07T08:25:07.217" v="10647" actId="207"/>
          <ac:spMkLst>
            <pc:docMk/>
            <pc:sldMk cId="1492206073" sldId="7071"/>
            <ac:spMk id="16" creationId="{EACE795C-C806-425F-8AA4-8EFA6F2CB1B5}"/>
          </ac:spMkLst>
        </pc:spChg>
        <pc:spChg chg="mod">
          <ac:chgData name="Ugo MANTEL" userId="2d5b7065-31bb-4181-a7f8-a73bf0c30211" providerId="ADAL" clId="{F05BB0D5-3454-45DC-8378-DA45B79D9A06}" dt="2020-10-05T11:49:49.064" v="9194" actId="1076"/>
          <ac:spMkLst>
            <pc:docMk/>
            <pc:sldMk cId="1492206073" sldId="7071"/>
            <ac:spMk id="19" creationId="{1E5A6A0B-C611-4574-A42C-FC5B912BEDB8}"/>
          </ac:spMkLst>
        </pc:spChg>
        <pc:spChg chg="mod">
          <ac:chgData name="Ugo MANTEL" userId="2d5b7065-31bb-4181-a7f8-a73bf0c30211" providerId="ADAL" clId="{F05BB0D5-3454-45DC-8378-DA45B79D9A06}" dt="2020-10-05T11:49:49.064" v="9194" actId="1076"/>
          <ac:spMkLst>
            <pc:docMk/>
            <pc:sldMk cId="1492206073" sldId="7071"/>
            <ac:spMk id="21" creationId="{2B045855-D60A-44F7-853B-2AD3EFFF9916}"/>
          </ac:spMkLst>
        </pc:spChg>
        <pc:spChg chg="mod">
          <ac:chgData name="Ugo MANTEL" userId="2d5b7065-31bb-4181-a7f8-a73bf0c30211" providerId="ADAL" clId="{F05BB0D5-3454-45DC-8378-DA45B79D9A06}" dt="2020-10-05T11:49:49.064" v="9194" actId="1076"/>
          <ac:spMkLst>
            <pc:docMk/>
            <pc:sldMk cId="1492206073" sldId="7071"/>
            <ac:spMk id="22" creationId="{2770970A-9962-4B09-8003-0F94CAB261A4}"/>
          </ac:spMkLst>
        </pc:spChg>
        <pc:spChg chg="mod">
          <ac:chgData name="Ugo MANTEL" userId="2d5b7065-31bb-4181-a7f8-a73bf0c30211" providerId="ADAL" clId="{F05BB0D5-3454-45DC-8378-DA45B79D9A06}" dt="2020-10-05T11:49:49.064" v="9194" actId="1076"/>
          <ac:spMkLst>
            <pc:docMk/>
            <pc:sldMk cId="1492206073" sldId="7071"/>
            <ac:spMk id="25" creationId="{351CE059-D7C3-45A1-AEB5-43B53CC4A74B}"/>
          </ac:spMkLst>
        </pc:spChg>
        <pc:spChg chg="mod ord">
          <ac:chgData name="Ugo MANTEL" userId="2d5b7065-31bb-4181-a7f8-a73bf0c30211" providerId="ADAL" clId="{F05BB0D5-3454-45DC-8378-DA45B79D9A06}" dt="2020-10-05T12:19:46.152" v="9655" actId="20577"/>
          <ac:spMkLst>
            <pc:docMk/>
            <pc:sldMk cId="1492206073" sldId="7071"/>
            <ac:spMk id="33" creationId="{A1FDEDE9-E5E2-4EBC-A5B8-4EEF0C822E21}"/>
          </ac:spMkLst>
        </pc:spChg>
        <pc:spChg chg="del mod">
          <ac:chgData name="Ugo MANTEL" userId="2d5b7065-31bb-4181-a7f8-a73bf0c30211" providerId="ADAL" clId="{F05BB0D5-3454-45DC-8378-DA45B79D9A06}" dt="2020-10-07T07:28:09.684" v="10480" actId="478"/>
          <ac:spMkLst>
            <pc:docMk/>
            <pc:sldMk cId="1492206073" sldId="7071"/>
            <ac:spMk id="34" creationId="{E4C834B3-8C96-4B4D-A3B2-401C953956D3}"/>
          </ac:spMkLst>
        </pc:spChg>
        <pc:spChg chg="mod ord">
          <ac:chgData name="Ugo MANTEL" userId="2d5b7065-31bb-4181-a7f8-a73bf0c30211" providerId="ADAL" clId="{F05BB0D5-3454-45DC-8378-DA45B79D9A06}" dt="2020-10-05T12:17:05.788" v="9459"/>
          <ac:spMkLst>
            <pc:docMk/>
            <pc:sldMk cId="1492206073" sldId="7071"/>
            <ac:spMk id="37" creationId="{BC332233-14DF-4C73-AB17-88C3B9382411}"/>
          </ac:spMkLst>
        </pc:spChg>
        <pc:spChg chg="mod ord">
          <ac:chgData name="Ugo MANTEL" userId="2d5b7065-31bb-4181-a7f8-a73bf0c30211" providerId="ADAL" clId="{F05BB0D5-3454-45DC-8378-DA45B79D9A06}" dt="2020-10-05T12:17:05.789" v="9461"/>
          <ac:spMkLst>
            <pc:docMk/>
            <pc:sldMk cId="1492206073" sldId="7071"/>
            <ac:spMk id="38" creationId="{DD62F214-64DE-4187-B2E0-D1194D3A3DC8}"/>
          </ac:spMkLst>
        </pc:spChg>
        <pc:spChg chg="mod ord">
          <ac:chgData name="Ugo MANTEL" userId="2d5b7065-31bb-4181-a7f8-a73bf0c30211" providerId="ADAL" clId="{F05BB0D5-3454-45DC-8378-DA45B79D9A06}" dt="2020-10-05T12:17:05.790" v="9463"/>
          <ac:spMkLst>
            <pc:docMk/>
            <pc:sldMk cId="1492206073" sldId="7071"/>
            <ac:spMk id="39" creationId="{C3A976AD-14C4-4ABE-A934-7E27BBE85C1C}"/>
          </ac:spMkLst>
        </pc:spChg>
        <pc:spChg chg="mod">
          <ac:chgData name="Ugo MANTEL" userId="2d5b7065-31bb-4181-a7f8-a73bf0c30211" providerId="ADAL" clId="{F05BB0D5-3454-45DC-8378-DA45B79D9A06}" dt="2020-10-02T13:04:34.837" v="3748" actId="790"/>
          <ac:spMkLst>
            <pc:docMk/>
            <pc:sldMk cId="1492206073" sldId="7071"/>
            <ac:spMk id="43" creationId="{A7331F05-FF74-4FA1-B865-A812ECE4F24C}"/>
          </ac:spMkLst>
        </pc:spChg>
        <pc:spChg chg="mod ord">
          <ac:chgData name="Ugo MANTEL" userId="2d5b7065-31bb-4181-a7f8-a73bf0c30211" providerId="ADAL" clId="{F05BB0D5-3454-45DC-8378-DA45B79D9A06}" dt="2020-10-05T12:17:05.791" v="9465"/>
          <ac:spMkLst>
            <pc:docMk/>
            <pc:sldMk cId="1492206073" sldId="7071"/>
            <ac:spMk id="46" creationId="{9FB5FA0A-66DB-4991-8669-D703061FDE44}"/>
          </ac:spMkLst>
        </pc:spChg>
        <pc:spChg chg="mod ord">
          <ac:chgData name="Ugo MANTEL" userId="2d5b7065-31bb-4181-a7f8-a73bf0c30211" providerId="ADAL" clId="{F05BB0D5-3454-45DC-8378-DA45B79D9A06}" dt="2020-10-05T12:19:55.179" v="9658" actId="313"/>
          <ac:spMkLst>
            <pc:docMk/>
            <pc:sldMk cId="1492206073" sldId="7071"/>
            <ac:spMk id="47" creationId="{C85B0421-5BDB-4848-914A-867C2D466E74}"/>
          </ac:spMkLst>
        </pc:spChg>
        <pc:spChg chg="mod ord">
          <ac:chgData name="Ugo MANTEL" userId="2d5b7065-31bb-4181-a7f8-a73bf0c30211" providerId="ADAL" clId="{F05BB0D5-3454-45DC-8378-DA45B79D9A06}" dt="2020-10-05T12:17:05.800" v="9481"/>
          <ac:spMkLst>
            <pc:docMk/>
            <pc:sldMk cId="1492206073" sldId="7071"/>
            <ac:spMk id="56" creationId="{47F1C37A-47CF-4B73-B59D-BF4C343FCB28}"/>
          </ac:spMkLst>
        </pc:spChg>
        <pc:spChg chg="mod">
          <ac:chgData name="Ugo MANTEL" userId="2d5b7065-31bb-4181-a7f8-a73bf0c30211" providerId="ADAL" clId="{F05BB0D5-3454-45DC-8378-DA45B79D9A06}" dt="2020-10-02T13:04:34.839" v="3751" actId="790"/>
          <ac:spMkLst>
            <pc:docMk/>
            <pc:sldMk cId="1492206073" sldId="7071"/>
            <ac:spMk id="64" creationId="{AF4FDE51-BB44-4095-ADD9-5CA5D871EB35}"/>
          </ac:spMkLst>
        </pc:spChg>
        <pc:spChg chg="mod">
          <ac:chgData name="Ugo MANTEL" userId="2d5b7065-31bb-4181-a7f8-a73bf0c30211" providerId="ADAL" clId="{F05BB0D5-3454-45DC-8378-DA45B79D9A06}" dt="2020-10-02T13:04:34.838" v="3750" actId="790"/>
          <ac:spMkLst>
            <pc:docMk/>
            <pc:sldMk cId="1492206073" sldId="7071"/>
            <ac:spMk id="66" creationId="{8BBFD341-BA2D-4BA0-B764-CC42F998C7B6}"/>
          </ac:spMkLst>
        </pc:spChg>
        <pc:spChg chg="mod">
          <ac:chgData name="Ugo MANTEL" userId="2d5b7065-31bb-4181-a7f8-a73bf0c30211" providerId="ADAL" clId="{F05BB0D5-3454-45DC-8378-DA45B79D9A06}" dt="2020-10-02T13:04:34.837" v="3749" actId="790"/>
          <ac:spMkLst>
            <pc:docMk/>
            <pc:sldMk cId="1492206073" sldId="7071"/>
            <ac:spMk id="68" creationId="{EEBAE851-4C0C-4B21-AF31-FA78FA108B7B}"/>
          </ac:spMkLst>
        </pc:spChg>
        <pc:spChg chg="mod ord">
          <ac:chgData name="Ugo MANTEL" userId="2d5b7065-31bb-4181-a7f8-a73bf0c30211" providerId="ADAL" clId="{F05BB0D5-3454-45DC-8378-DA45B79D9A06}" dt="2020-10-07T07:25:44.771" v="10465" actId="1035"/>
          <ac:spMkLst>
            <pc:docMk/>
            <pc:sldMk cId="1492206073" sldId="7071"/>
            <ac:spMk id="70" creationId="{A7155E95-C09C-4921-B36A-61DBD70182D1}"/>
          </ac:spMkLst>
        </pc:spChg>
        <pc:spChg chg="mod">
          <ac:chgData name="Ugo MANTEL" userId="2d5b7065-31bb-4181-a7f8-a73bf0c30211" providerId="ADAL" clId="{F05BB0D5-3454-45DC-8378-DA45B79D9A06}" dt="2020-10-02T13:04:34.839" v="3752" actId="790"/>
          <ac:spMkLst>
            <pc:docMk/>
            <pc:sldMk cId="1492206073" sldId="7071"/>
            <ac:spMk id="75" creationId="{CE2342FA-B38A-43DF-98EE-FDBD9BF9990B}"/>
          </ac:spMkLst>
        </pc:spChg>
        <pc:spChg chg="mod">
          <ac:chgData name="Ugo MANTEL" userId="2d5b7065-31bb-4181-a7f8-a73bf0c30211" providerId="ADAL" clId="{F05BB0D5-3454-45DC-8378-DA45B79D9A06}" dt="2020-10-02T13:04:34.840" v="3753" actId="790"/>
          <ac:spMkLst>
            <pc:docMk/>
            <pc:sldMk cId="1492206073" sldId="7071"/>
            <ac:spMk id="77" creationId="{A5C5824D-BD72-4964-AA10-3D669932076E}"/>
          </ac:spMkLst>
        </pc:spChg>
        <pc:spChg chg="mod ord">
          <ac:chgData name="Ugo MANTEL" userId="2d5b7065-31bb-4181-a7f8-a73bf0c30211" providerId="ADAL" clId="{F05BB0D5-3454-45DC-8378-DA45B79D9A06}" dt="2020-10-05T12:17:05.802" v="9485"/>
          <ac:spMkLst>
            <pc:docMk/>
            <pc:sldMk cId="1492206073" sldId="7071"/>
            <ac:spMk id="83" creationId="{09711A59-19BF-4193-B3D8-CF704E6665A4}"/>
          </ac:spMkLst>
        </pc:spChg>
        <pc:spChg chg="mod">
          <ac:chgData name="Ugo MANTEL" userId="2d5b7065-31bb-4181-a7f8-a73bf0c30211" providerId="ADAL" clId="{F05BB0D5-3454-45DC-8378-DA45B79D9A06}" dt="2020-10-02T13:04:34.841" v="3754" actId="790"/>
          <ac:spMkLst>
            <pc:docMk/>
            <pc:sldMk cId="1492206073" sldId="7071"/>
            <ac:spMk id="85" creationId="{03CA45C1-9CA3-45C4-A191-8242AB33781F}"/>
          </ac:spMkLst>
        </pc:spChg>
        <pc:spChg chg="add del mod">
          <ac:chgData name="Ugo MANTEL" userId="2d5b7065-31bb-4181-a7f8-a73bf0c30211" providerId="ADAL" clId="{F05BB0D5-3454-45DC-8378-DA45B79D9A06}" dt="2020-10-07T07:24:14.207" v="10420" actId="478"/>
          <ac:spMkLst>
            <pc:docMk/>
            <pc:sldMk cId="1492206073" sldId="7071"/>
            <ac:spMk id="85" creationId="{BD20BB5E-8F40-48A0-9262-748573D999ED}"/>
          </ac:spMkLst>
        </pc:spChg>
        <pc:spChg chg="mod">
          <ac:chgData name="Ugo MANTEL" userId="2d5b7065-31bb-4181-a7f8-a73bf0c30211" providerId="ADAL" clId="{F05BB0D5-3454-45DC-8378-DA45B79D9A06}" dt="2020-10-02T13:04:34.842" v="3755" actId="790"/>
          <ac:spMkLst>
            <pc:docMk/>
            <pc:sldMk cId="1492206073" sldId="7071"/>
            <ac:spMk id="86" creationId="{54DA49F4-A44A-46CB-AAC9-E8C800DF59C5}"/>
          </ac:spMkLst>
        </pc:spChg>
        <pc:spChg chg="mod ord">
          <ac:chgData name="Ugo MANTEL" userId="2d5b7065-31bb-4181-a7f8-a73bf0c30211" providerId="ADAL" clId="{F05BB0D5-3454-45DC-8378-DA45B79D9A06}" dt="2020-10-07T07:26:08.640" v="10470" actId="1036"/>
          <ac:spMkLst>
            <pc:docMk/>
            <pc:sldMk cId="1492206073" sldId="7071"/>
            <ac:spMk id="87" creationId="{3135A921-2813-475E-9841-C4B3846CE2F4}"/>
          </ac:spMkLst>
        </pc:spChg>
        <pc:spChg chg="mod ord">
          <ac:chgData name="Ugo MANTEL" userId="2d5b7065-31bb-4181-a7f8-a73bf0c30211" providerId="ADAL" clId="{F05BB0D5-3454-45DC-8378-DA45B79D9A06}" dt="2020-10-07T07:26:08.640" v="10470" actId="1036"/>
          <ac:spMkLst>
            <pc:docMk/>
            <pc:sldMk cId="1492206073" sldId="7071"/>
            <ac:spMk id="88" creationId="{FD33D527-5FE9-486F-A08C-C72CC17D8B82}"/>
          </ac:spMkLst>
        </pc:spChg>
        <pc:spChg chg="del mod ord topLvl">
          <ac:chgData name="Ugo MANTEL" userId="2d5b7065-31bb-4181-a7f8-a73bf0c30211" providerId="ADAL" clId="{F05BB0D5-3454-45DC-8378-DA45B79D9A06}" dt="2020-10-05T11:48:02.240" v="9169" actId="478"/>
          <ac:spMkLst>
            <pc:docMk/>
            <pc:sldMk cId="1492206073" sldId="7071"/>
            <ac:spMk id="90" creationId="{0A8A184D-A9A0-44FA-9EE1-2CC3B14FB661}"/>
          </ac:spMkLst>
        </pc:spChg>
        <pc:spChg chg="mod">
          <ac:chgData name="Ugo MANTEL" userId="2d5b7065-31bb-4181-a7f8-a73bf0c30211" providerId="ADAL" clId="{F05BB0D5-3454-45DC-8378-DA45B79D9A06}" dt="2020-10-07T07:22:59.372" v="10409"/>
          <ac:spMkLst>
            <pc:docMk/>
            <pc:sldMk cId="1492206073" sldId="7071"/>
            <ac:spMk id="90" creationId="{C4DACC93-B3D5-4CDE-943B-FE79BA06B393}"/>
          </ac:spMkLst>
        </pc:spChg>
        <pc:spChg chg="mod">
          <ac:chgData name="Ugo MANTEL" userId="2d5b7065-31bb-4181-a7f8-a73bf0c30211" providerId="ADAL" clId="{F05BB0D5-3454-45DC-8378-DA45B79D9A06}" dt="2020-10-07T07:22:59.372" v="10409"/>
          <ac:spMkLst>
            <pc:docMk/>
            <pc:sldMk cId="1492206073" sldId="7071"/>
            <ac:spMk id="93" creationId="{80DB4F76-DD6A-4493-A166-1C748A72C07E}"/>
          </ac:spMkLst>
        </pc:spChg>
        <pc:spChg chg="mod">
          <ac:chgData name="Ugo MANTEL" userId="2d5b7065-31bb-4181-a7f8-a73bf0c30211" providerId="ADAL" clId="{F05BB0D5-3454-45DC-8378-DA45B79D9A06}" dt="2020-10-02T13:04:34.844" v="3756" actId="790"/>
          <ac:spMkLst>
            <pc:docMk/>
            <pc:sldMk cId="1492206073" sldId="7071"/>
            <ac:spMk id="93" creationId="{CB71A033-4BC7-4F85-9EDA-E8921BBC8CC5}"/>
          </ac:spMkLst>
        </pc:spChg>
        <pc:spChg chg="del mod topLvl">
          <ac:chgData name="Ugo MANTEL" userId="2d5b7065-31bb-4181-a7f8-a73bf0c30211" providerId="ADAL" clId="{F05BB0D5-3454-45DC-8378-DA45B79D9A06}" dt="2020-10-05T11:39:58.656" v="8914" actId="478"/>
          <ac:spMkLst>
            <pc:docMk/>
            <pc:sldMk cId="1492206073" sldId="7071"/>
            <ac:spMk id="94" creationId="{722ED431-69C1-4824-B3F7-0A6CC8579F92}"/>
          </ac:spMkLst>
        </pc:spChg>
        <pc:spChg chg="del mod topLvl">
          <ac:chgData name="Ugo MANTEL" userId="2d5b7065-31bb-4181-a7f8-a73bf0c30211" providerId="ADAL" clId="{F05BB0D5-3454-45DC-8378-DA45B79D9A06}" dt="2020-10-05T11:40:05.080" v="8915" actId="478"/>
          <ac:spMkLst>
            <pc:docMk/>
            <pc:sldMk cId="1492206073" sldId="7071"/>
            <ac:spMk id="95" creationId="{EB137988-B86B-41D9-8324-EFA70E194FDF}"/>
          </ac:spMkLst>
        </pc:spChg>
        <pc:spChg chg="mod">
          <ac:chgData name="Ugo MANTEL" userId="2d5b7065-31bb-4181-a7f8-a73bf0c30211" providerId="ADAL" clId="{F05BB0D5-3454-45DC-8378-DA45B79D9A06}" dt="2020-10-07T07:22:59.372" v="10409"/>
          <ac:spMkLst>
            <pc:docMk/>
            <pc:sldMk cId="1492206073" sldId="7071"/>
            <ac:spMk id="96" creationId="{218173A7-B23F-4E96-80D3-80F59316D4D5}"/>
          </ac:spMkLst>
        </pc:spChg>
        <pc:spChg chg="mod">
          <ac:chgData name="Ugo MANTEL" userId="2d5b7065-31bb-4181-a7f8-a73bf0c30211" providerId="ADAL" clId="{F05BB0D5-3454-45DC-8378-DA45B79D9A06}" dt="2020-10-07T07:22:59.372" v="10409"/>
          <ac:spMkLst>
            <pc:docMk/>
            <pc:sldMk cId="1492206073" sldId="7071"/>
            <ac:spMk id="101" creationId="{DD7A7491-9893-49D3-B200-1E4DF23E5F0D}"/>
          </ac:spMkLst>
        </pc:spChg>
        <pc:spChg chg="del mod topLvl">
          <ac:chgData name="Ugo MANTEL" userId="2d5b7065-31bb-4181-a7f8-a73bf0c30211" providerId="ADAL" clId="{F05BB0D5-3454-45DC-8378-DA45B79D9A06}" dt="2020-10-07T07:19:43.910" v="10387" actId="478"/>
          <ac:spMkLst>
            <pc:docMk/>
            <pc:sldMk cId="1492206073" sldId="7071"/>
            <ac:spMk id="104" creationId="{53154A02-5D95-4531-868F-FAA5F862F876}"/>
          </ac:spMkLst>
        </pc:spChg>
        <pc:spChg chg="mod topLvl">
          <ac:chgData name="Ugo MANTEL" userId="2d5b7065-31bb-4181-a7f8-a73bf0c30211" providerId="ADAL" clId="{F05BB0D5-3454-45DC-8378-DA45B79D9A06}" dt="2020-10-05T15:20:50.203" v="10352" actId="6549"/>
          <ac:spMkLst>
            <pc:docMk/>
            <pc:sldMk cId="1492206073" sldId="7071"/>
            <ac:spMk id="106" creationId="{9F110E81-C4C4-4390-8245-0AB320204C3A}"/>
          </ac:spMkLst>
        </pc:spChg>
        <pc:spChg chg="mod">
          <ac:chgData name="Ugo MANTEL" userId="2d5b7065-31bb-4181-a7f8-a73bf0c30211" providerId="ADAL" clId="{F05BB0D5-3454-45DC-8378-DA45B79D9A06}" dt="2020-10-07T07:27:45.051" v="10479" actId="12789"/>
          <ac:spMkLst>
            <pc:docMk/>
            <pc:sldMk cId="1492206073" sldId="7071"/>
            <ac:spMk id="108" creationId="{BB6FF532-7FB3-4936-96EF-CCF5EA0457E1}"/>
          </ac:spMkLst>
        </pc:spChg>
        <pc:spChg chg="mod">
          <ac:chgData name="Ugo MANTEL" userId="2d5b7065-31bb-4181-a7f8-a73bf0c30211" providerId="ADAL" clId="{F05BB0D5-3454-45DC-8378-DA45B79D9A06}" dt="2020-10-07T07:19:14.350" v="10376" actId="20577"/>
          <ac:spMkLst>
            <pc:docMk/>
            <pc:sldMk cId="1492206073" sldId="7071"/>
            <ac:spMk id="110" creationId="{E953AF84-49AC-4C9C-AD1D-6B49E69CBB12}"/>
          </ac:spMkLst>
        </pc:spChg>
        <pc:spChg chg="mod">
          <ac:chgData name="Ugo MANTEL" userId="2d5b7065-31bb-4181-a7f8-a73bf0c30211" providerId="ADAL" clId="{F05BB0D5-3454-45DC-8378-DA45B79D9A06}" dt="2020-10-05T11:39:29.753" v="8911"/>
          <ac:spMkLst>
            <pc:docMk/>
            <pc:sldMk cId="1492206073" sldId="7071"/>
            <ac:spMk id="112" creationId="{02B4954B-C8C4-49A9-8583-09B7DE54E4A3}"/>
          </ac:spMkLst>
        </pc:spChg>
        <pc:spChg chg="mod">
          <ac:chgData name="Ugo MANTEL" userId="2d5b7065-31bb-4181-a7f8-a73bf0c30211" providerId="ADAL" clId="{F05BB0D5-3454-45DC-8378-DA45B79D9A06}" dt="2020-10-07T07:22:59.372" v="10409"/>
          <ac:spMkLst>
            <pc:docMk/>
            <pc:sldMk cId="1492206073" sldId="7071"/>
            <ac:spMk id="112" creationId="{A1DFA474-5DAF-472C-A5E7-FC9F8FE7743D}"/>
          </ac:spMkLst>
        </pc:spChg>
        <pc:spChg chg="mod">
          <ac:chgData name="Ugo MANTEL" userId="2d5b7065-31bb-4181-a7f8-a73bf0c30211" providerId="ADAL" clId="{F05BB0D5-3454-45DC-8378-DA45B79D9A06}" dt="2020-10-05T11:39:29.753" v="8911"/>
          <ac:spMkLst>
            <pc:docMk/>
            <pc:sldMk cId="1492206073" sldId="7071"/>
            <ac:spMk id="114" creationId="{E7296BD8-939A-4EAA-A367-0678661E88FA}"/>
          </ac:spMkLst>
        </pc:spChg>
        <pc:spChg chg="mod">
          <ac:chgData name="Ugo MANTEL" userId="2d5b7065-31bb-4181-a7f8-a73bf0c30211" providerId="ADAL" clId="{F05BB0D5-3454-45DC-8378-DA45B79D9A06}" dt="2020-10-07T07:22:59.372" v="10409"/>
          <ac:spMkLst>
            <pc:docMk/>
            <pc:sldMk cId="1492206073" sldId="7071"/>
            <ac:spMk id="115" creationId="{53B4B857-7DA8-40A3-9D00-0EE8EB1521A7}"/>
          </ac:spMkLst>
        </pc:spChg>
        <pc:spChg chg="mod">
          <ac:chgData name="Ugo MANTEL" userId="2d5b7065-31bb-4181-a7f8-a73bf0c30211" providerId="ADAL" clId="{F05BB0D5-3454-45DC-8378-DA45B79D9A06}" dt="2020-10-05T11:39:29.753" v="8911"/>
          <ac:spMkLst>
            <pc:docMk/>
            <pc:sldMk cId="1492206073" sldId="7071"/>
            <ac:spMk id="116" creationId="{B2379EF6-CFB2-4A6E-AC6E-E7428B776672}"/>
          </ac:spMkLst>
        </pc:spChg>
        <pc:spChg chg="mod ord topLvl">
          <ac:chgData name="Ugo MANTEL" userId="2d5b7065-31bb-4181-a7f8-a73bf0c30211" providerId="ADAL" clId="{F05BB0D5-3454-45DC-8378-DA45B79D9A06}" dt="2020-10-07T07:25:55.788" v="10466" actId="14100"/>
          <ac:spMkLst>
            <pc:docMk/>
            <pc:sldMk cId="1492206073" sldId="7071"/>
            <ac:spMk id="118" creationId="{A9EA9FDD-69FA-4F76-A3EE-9A711810EF9A}"/>
          </ac:spMkLst>
        </pc:spChg>
        <pc:spChg chg="mod">
          <ac:chgData name="Ugo MANTEL" userId="2d5b7065-31bb-4181-a7f8-a73bf0c30211" providerId="ADAL" clId="{F05BB0D5-3454-45DC-8378-DA45B79D9A06}" dt="2020-10-05T11:48:48.412" v="9179" actId="408"/>
          <ac:spMkLst>
            <pc:docMk/>
            <pc:sldMk cId="1492206073" sldId="7071"/>
            <ac:spMk id="128" creationId="{A74FEF23-8C64-434D-A072-9DA1D63A8BA3}"/>
          </ac:spMkLst>
        </pc:spChg>
        <pc:spChg chg="mod">
          <ac:chgData name="Ugo MANTEL" userId="2d5b7065-31bb-4181-a7f8-a73bf0c30211" providerId="ADAL" clId="{F05BB0D5-3454-45DC-8378-DA45B79D9A06}" dt="2020-10-05T11:48:48.412" v="9179" actId="408"/>
          <ac:spMkLst>
            <pc:docMk/>
            <pc:sldMk cId="1492206073" sldId="7071"/>
            <ac:spMk id="130" creationId="{DEE58D52-5545-43DC-92AA-EF33BD6F0275}"/>
          </ac:spMkLst>
        </pc:spChg>
        <pc:spChg chg="mod">
          <ac:chgData name="Ugo MANTEL" userId="2d5b7065-31bb-4181-a7f8-a73bf0c30211" providerId="ADAL" clId="{F05BB0D5-3454-45DC-8378-DA45B79D9A06}" dt="2020-10-07T07:27:39.765" v="10478" actId="12789"/>
          <ac:spMkLst>
            <pc:docMk/>
            <pc:sldMk cId="1492206073" sldId="7071"/>
            <ac:spMk id="132" creationId="{D0EFA135-5384-409A-A385-9D4FBF0F5B8C}"/>
          </ac:spMkLst>
        </pc:spChg>
        <pc:spChg chg="mod">
          <ac:chgData name="Ugo MANTEL" userId="2d5b7065-31bb-4181-a7f8-a73bf0c30211" providerId="ADAL" clId="{F05BB0D5-3454-45DC-8378-DA45B79D9A06}" dt="2020-10-05T11:48:48.412" v="9179" actId="408"/>
          <ac:spMkLst>
            <pc:docMk/>
            <pc:sldMk cId="1492206073" sldId="7071"/>
            <ac:spMk id="134" creationId="{37A1DB06-4B4C-497E-B249-A48784182DBA}"/>
          </ac:spMkLst>
        </pc:spChg>
        <pc:spChg chg="mod">
          <ac:chgData name="Ugo MANTEL" userId="2d5b7065-31bb-4181-a7f8-a73bf0c30211" providerId="ADAL" clId="{F05BB0D5-3454-45DC-8378-DA45B79D9A06}" dt="2020-10-05T11:48:48.412" v="9179" actId="408"/>
          <ac:spMkLst>
            <pc:docMk/>
            <pc:sldMk cId="1492206073" sldId="7071"/>
            <ac:spMk id="136" creationId="{9439AF07-9178-45E1-9D81-0F2E431B0F7F}"/>
          </ac:spMkLst>
        </pc:spChg>
        <pc:spChg chg="mod">
          <ac:chgData name="Ugo MANTEL" userId="2d5b7065-31bb-4181-a7f8-a73bf0c30211" providerId="ADAL" clId="{F05BB0D5-3454-45DC-8378-DA45B79D9A06}" dt="2020-10-05T11:48:48.412" v="9179" actId="408"/>
          <ac:spMkLst>
            <pc:docMk/>
            <pc:sldMk cId="1492206073" sldId="7071"/>
            <ac:spMk id="138" creationId="{55153472-7EC8-4AE9-A97E-F8499EBCABBF}"/>
          </ac:spMkLst>
        </pc:spChg>
        <pc:spChg chg="mod">
          <ac:chgData name="Ugo MANTEL" userId="2d5b7065-31bb-4181-a7f8-a73bf0c30211" providerId="ADAL" clId="{F05BB0D5-3454-45DC-8378-DA45B79D9A06}" dt="2020-10-05T11:48:48.412" v="9179" actId="408"/>
          <ac:spMkLst>
            <pc:docMk/>
            <pc:sldMk cId="1492206073" sldId="7071"/>
            <ac:spMk id="140" creationId="{D24B3E8A-D4F3-443E-A3D1-76CA0FDEEECF}"/>
          </ac:spMkLst>
        </pc:spChg>
        <pc:spChg chg="mod">
          <ac:chgData name="Ugo MANTEL" userId="2d5b7065-31bb-4181-a7f8-a73bf0c30211" providerId="ADAL" clId="{F05BB0D5-3454-45DC-8378-DA45B79D9A06}" dt="2020-10-05T11:48:48.412" v="9179" actId="408"/>
          <ac:spMkLst>
            <pc:docMk/>
            <pc:sldMk cId="1492206073" sldId="7071"/>
            <ac:spMk id="142" creationId="{049644E9-DD13-49D9-BA1C-546C08F21883}"/>
          </ac:spMkLst>
        </pc:spChg>
        <pc:spChg chg="mod">
          <ac:chgData name="Ugo MANTEL" userId="2d5b7065-31bb-4181-a7f8-a73bf0c30211" providerId="ADAL" clId="{F05BB0D5-3454-45DC-8378-DA45B79D9A06}" dt="2020-10-07T07:22:59.372" v="10409"/>
          <ac:spMkLst>
            <pc:docMk/>
            <pc:sldMk cId="1492206073" sldId="7071"/>
            <ac:spMk id="143" creationId="{584217EA-A5D8-444A-A98E-79ADB2A5D4F0}"/>
          </ac:spMkLst>
        </pc:spChg>
        <pc:spChg chg="del mod topLvl">
          <ac:chgData name="Ugo MANTEL" userId="2d5b7065-31bb-4181-a7f8-a73bf0c30211" providerId="ADAL" clId="{F05BB0D5-3454-45DC-8378-DA45B79D9A06}" dt="2020-10-07T07:20:03.649" v="10398" actId="478"/>
          <ac:spMkLst>
            <pc:docMk/>
            <pc:sldMk cId="1492206073" sldId="7071"/>
            <ac:spMk id="145" creationId="{4EC86E9F-8491-42E4-A8E5-DF42AAADF59A}"/>
          </ac:spMkLst>
        </pc:spChg>
        <pc:spChg chg="mod">
          <ac:chgData name="Ugo MANTEL" userId="2d5b7065-31bb-4181-a7f8-a73bf0c30211" providerId="ADAL" clId="{F05BB0D5-3454-45DC-8378-DA45B79D9A06}" dt="2020-10-07T07:22:59.372" v="10409"/>
          <ac:spMkLst>
            <pc:docMk/>
            <pc:sldMk cId="1492206073" sldId="7071"/>
            <ac:spMk id="147" creationId="{1BA6251F-0A0A-48B3-9A51-D523FBB3D9F1}"/>
          </ac:spMkLst>
        </pc:spChg>
        <pc:spChg chg="add mod ord topLvl">
          <ac:chgData name="Ugo MANTEL" userId="2d5b7065-31bb-4181-a7f8-a73bf0c30211" providerId="ADAL" clId="{F05BB0D5-3454-45DC-8378-DA45B79D9A06}" dt="2020-10-07T07:27:20.731" v="10476" actId="207"/>
          <ac:spMkLst>
            <pc:docMk/>
            <pc:sldMk cId="1492206073" sldId="7071"/>
            <ac:spMk id="153" creationId="{F4110848-3570-49D0-A047-433787E59B7C}"/>
          </ac:spMkLst>
        </pc:spChg>
        <pc:spChg chg="add mod">
          <ac:chgData name="Ugo MANTEL" userId="2d5b7065-31bb-4181-a7f8-a73bf0c30211" providerId="ADAL" clId="{F05BB0D5-3454-45DC-8378-DA45B79D9A06}" dt="2020-10-07T07:27:25.922" v="10477" actId="108"/>
          <ac:spMkLst>
            <pc:docMk/>
            <pc:sldMk cId="1492206073" sldId="7071"/>
            <ac:spMk id="154" creationId="{96A43AD6-2486-463F-9E9A-7525B89C3D2B}"/>
          </ac:spMkLst>
        </pc:spChg>
        <pc:spChg chg="add mod">
          <ac:chgData name="Ugo MANTEL" userId="2d5b7065-31bb-4181-a7f8-a73bf0c30211" providerId="ADAL" clId="{F05BB0D5-3454-45DC-8378-DA45B79D9A06}" dt="2020-10-07T07:25:44.771" v="10465" actId="1035"/>
          <ac:spMkLst>
            <pc:docMk/>
            <pc:sldMk cId="1492206073" sldId="7071"/>
            <ac:spMk id="155" creationId="{DC679D19-7F2E-45B1-AE81-E01BC1E9553E}"/>
          </ac:spMkLst>
        </pc:spChg>
        <pc:spChg chg="mod">
          <ac:chgData name="Ugo MANTEL" userId="2d5b7065-31bb-4181-a7f8-a73bf0c30211" providerId="ADAL" clId="{F05BB0D5-3454-45DC-8378-DA45B79D9A06}" dt="2020-10-07T07:22:59.372" v="10409"/>
          <ac:spMkLst>
            <pc:docMk/>
            <pc:sldMk cId="1492206073" sldId="7071"/>
            <ac:spMk id="158" creationId="{B0A833BF-7987-46A5-967A-1D287078E217}"/>
          </ac:spMkLst>
        </pc:spChg>
        <pc:spChg chg="mod">
          <ac:chgData name="Ugo MANTEL" userId="2d5b7065-31bb-4181-a7f8-a73bf0c30211" providerId="ADAL" clId="{F05BB0D5-3454-45DC-8378-DA45B79D9A06}" dt="2020-10-07T07:22:59.372" v="10409"/>
          <ac:spMkLst>
            <pc:docMk/>
            <pc:sldMk cId="1492206073" sldId="7071"/>
            <ac:spMk id="160" creationId="{F65EBADB-CD8D-4FE1-9327-2554228A30D4}"/>
          </ac:spMkLst>
        </pc:spChg>
        <pc:spChg chg="mod">
          <ac:chgData name="Ugo MANTEL" userId="2d5b7065-31bb-4181-a7f8-a73bf0c30211" providerId="ADAL" clId="{F05BB0D5-3454-45DC-8378-DA45B79D9A06}" dt="2020-10-07T07:22:59.372" v="10409"/>
          <ac:spMkLst>
            <pc:docMk/>
            <pc:sldMk cId="1492206073" sldId="7071"/>
            <ac:spMk id="162" creationId="{E7F9DC40-EF92-4CC0-9CDC-FADA0CDBDA6C}"/>
          </ac:spMkLst>
        </pc:spChg>
        <pc:spChg chg="mod">
          <ac:chgData name="Ugo MANTEL" userId="2d5b7065-31bb-4181-a7f8-a73bf0c30211" providerId="ADAL" clId="{F05BB0D5-3454-45DC-8378-DA45B79D9A06}" dt="2020-10-07T07:22:59.372" v="10409"/>
          <ac:spMkLst>
            <pc:docMk/>
            <pc:sldMk cId="1492206073" sldId="7071"/>
            <ac:spMk id="164" creationId="{E9E03C3B-6D8E-4559-8A1D-5BBD37604582}"/>
          </ac:spMkLst>
        </pc:spChg>
        <pc:spChg chg="add mod">
          <ac:chgData name="Ugo MANTEL" userId="2d5b7065-31bb-4181-a7f8-a73bf0c30211" providerId="ADAL" clId="{F05BB0D5-3454-45DC-8378-DA45B79D9A06}" dt="2020-10-07T07:41:16.574" v="10557" actId="207"/>
          <ac:spMkLst>
            <pc:docMk/>
            <pc:sldMk cId="1492206073" sldId="7071"/>
            <ac:spMk id="165" creationId="{25F32F07-38D7-4C34-8FA5-4E314FC50468}"/>
          </ac:spMkLst>
        </pc:spChg>
        <pc:grpChg chg="del mod ord">
          <ac:chgData name="Ugo MANTEL" userId="2d5b7065-31bb-4181-a7f8-a73bf0c30211" providerId="ADAL" clId="{F05BB0D5-3454-45DC-8378-DA45B79D9A06}" dt="2020-10-05T11:53:32.229" v="9215" actId="478"/>
          <ac:grpSpMkLst>
            <pc:docMk/>
            <pc:sldMk cId="1492206073" sldId="7071"/>
            <ac:grpSpMk id="6" creationId="{58988214-2382-4B3C-B0C1-13325BB50D0E}"/>
          </ac:grpSpMkLst>
        </pc:grpChg>
        <pc:grpChg chg="mod">
          <ac:chgData name="Ugo MANTEL" userId="2d5b7065-31bb-4181-a7f8-a73bf0c30211" providerId="ADAL" clId="{F05BB0D5-3454-45DC-8378-DA45B79D9A06}" dt="2020-10-05T12:17:05.786" v="9454"/>
          <ac:grpSpMkLst>
            <pc:docMk/>
            <pc:sldMk cId="1492206073" sldId="7071"/>
            <ac:grpSpMk id="18" creationId="{60180F31-0B5B-4FD3-810E-B4A5CF9DE2B5}"/>
          </ac:grpSpMkLst>
        </pc:grpChg>
        <pc:grpChg chg="add del mod">
          <ac:chgData name="Ugo MANTEL" userId="2d5b7065-31bb-4181-a7f8-a73bf0c30211" providerId="ADAL" clId="{F05BB0D5-3454-45DC-8378-DA45B79D9A06}" dt="2020-10-05T11:42:01.989" v="8956" actId="165"/>
          <ac:grpSpMkLst>
            <pc:docMk/>
            <pc:sldMk cId="1492206073" sldId="7071"/>
            <ac:grpSpMk id="29" creationId="{FF3C746F-A479-4C6D-BA0B-F75D3B245539}"/>
          </ac:grpSpMkLst>
        </pc:grpChg>
        <pc:grpChg chg="add del mod ord topLvl">
          <ac:chgData name="Ugo MANTEL" userId="2d5b7065-31bb-4181-a7f8-a73bf0c30211" providerId="ADAL" clId="{F05BB0D5-3454-45DC-8378-DA45B79D9A06}" dt="2020-10-07T07:20:03.649" v="10398" actId="478"/>
          <ac:grpSpMkLst>
            <pc:docMk/>
            <pc:sldMk cId="1492206073" sldId="7071"/>
            <ac:grpSpMk id="31" creationId="{2CA85C6A-2B17-4C79-B408-E447A1764DB7}"/>
          </ac:grpSpMkLst>
        </pc:grpChg>
        <pc:grpChg chg="add mod ord topLvl">
          <ac:chgData name="Ugo MANTEL" userId="2d5b7065-31bb-4181-a7f8-a73bf0c30211" providerId="ADAL" clId="{F05BB0D5-3454-45DC-8378-DA45B79D9A06}" dt="2020-10-07T07:25:44.771" v="10465" actId="1035"/>
          <ac:grpSpMkLst>
            <pc:docMk/>
            <pc:sldMk cId="1492206073" sldId="7071"/>
            <ac:grpSpMk id="32" creationId="{919E2B8A-960C-4FA3-B3CA-BFC0F7B1E907}"/>
          </ac:grpSpMkLst>
        </pc:grpChg>
        <pc:grpChg chg="add del mod ord topLvl">
          <ac:chgData name="Ugo MANTEL" userId="2d5b7065-31bb-4181-a7f8-a73bf0c30211" providerId="ADAL" clId="{F05BB0D5-3454-45DC-8378-DA45B79D9A06}" dt="2020-10-07T07:19:43.910" v="10387" actId="478"/>
          <ac:grpSpMkLst>
            <pc:docMk/>
            <pc:sldMk cId="1492206073" sldId="7071"/>
            <ac:grpSpMk id="36" creationId="{3FF3BA37-44E7-4A99-BA42-7C7C74938CEE}"/>
          </ac:grpSpMkLst>
        </pc:grpChg>
        <pc:grpChg chg="add del mod">
          <ac:chgData name="Ugo MANTEL" userId="2d5b7065-31bb-4181-a7f8-a73bf0c30211" providerId="ADAL" clId="{F05BB0D5-3454-45DC-8378-DA45B79D9A06}" dt="2020-10-05T12:13:53.986" v="9333" actId="165"/>
          <ac:grpSpMkLst>
            <pc:docMk/>
            <pc:sldMk cId="1492206073" sldId="7071"/>
            <ac:grpSpMk id="40" creationId="{C747CB8D-4050-4D34-985D-6DB2C4AB8C64}"/>
          </ac:grpSpMkLst>
        </pc:grpChg>
        <pc:grpChg chg="add del mod">
          <ac:chgData name="Ugo MANTEL" userId="2d5b7065-31bb-4181-a7f8-a73bf0c30211" providerId="ADAL" clId="{F05BB0D5-3454-45DC-8378-DA45B79D9A06}" dt="2020-10-07T07:24:14.207" v="10420" actId="478"/>
          <ac:grpSpMkLst>
            <pc:docMk/>
            <pc:sldMk cId="1492206073" sldId="7071"/>
            <ac:grpSpMk id="86" creationId="{2262A8F6-8E87-4CB2-90DA-2A49D5C682E4}"/>
          </ac:grpSpMkLst>
        </pc:grpChg>
        <pc:grpChg chg="add del mod">
          <ac:chgData name="Ugo MANTEL" userId="2d5b7065-31bb-4181-a7f8-a73bf0c30211" providerId="ADAL" clId="{F05BB0D5-3454-45DC-8378-DA45B79D9A06}" dt="2020-10-05T11:39:34.435" v="8913" actId="165"/>
          <ac:grpSpMkLst>
            <pc:docMk/>
            <pc:sldMk cId="1492206073" sldId="7071"/>
            <ac:grpSpMk id="89" creationId="{9ECC85D2-310F-4D71-89D2-5CE7B0780CF8}"/>
          </ac:grpSpMkLst>
        </pc:grpChg>
        <pc:grpChg chg="add del mod">
          <ac:chgData name="Ugo MANTEL" userId="2d5b7065-31bb-4181-a7f8-a73bf0c30211" providerId="ADAL" clId="{F05BB0D5-3454-45DC-8378-DA45B79D9A06}" dt="2020-10-07T07:24:14.207" v="10420" actId="478"/>
          <ac:grpSpMkLst>
            <pc:docMk/>
            <pc:sldMk cId="1492206073" sldId="7071"/>
            <ac:grpSpMk id="91" creationId="{0E43A7DC-C91F-48AC-8391-69396B858BF5}"/>
          </ac:grpSpMkLst>
        </pc:grpChg>
        <pc:grpChg chg="add del mod">
          <ac:chgData name="Ugo MANTEL" userId="2d5b7065-31bb-4181-a7f8-a73bf0c30211" providerId="ADAL" clId="{F05BB0D5-3454-45DC-8378-DA45B79D9A06}" dt="2020-10-07T07:24:14.207" v="10420" actId="478"/>
          <ac:grpSpMkLst>
            <pc:docMk/>
            <pc:sldMk cId="1492206073" sldId="7071"/>
            <ac:grpSpMk id="94" creationId="{DF477951-B396-4D24-A02E-ABBE974CD121}"/>
          </ac:grpSpMkLst>
        </pc:grpChg>
        <pc:grpChg chg="del mod ord topLvl">
          <ac:chgData name="Ugo MANTEL" userId="2d5b7065-31bb-4181-a7f8-a73bf0c30211" providerId="ADAL" clId="{F05BB0D5-3454-45DC-8378-DA45B79D9A06}" dt="2020-10-05T11:48:02.240" v="9169" actId="478"/>
          <ac:grpSpMkLst>
            <pc:docMk/>
            <pc:sldMk cId="1492206073" sldId="7071"/>
            <ac:grpSpMk id="96" creationId="{D30E96E5-004D-49FE-8785-10D5B304BBD3}"/>
          </ac:grpSpMkLst>
        </pc:grpChg>
        <pc:grpChg chg="del mod ord topLvl">
          <ac:chgData name="Ugo MANTEL" userId="2d5b7065-31bb-4181-a7f8-a73bf0c30211" providerId="ADAL" clId="{F05BB0D5-3454-45DC-8378-DA45B79D9A06}" dt="2020-10-05T11:48:02.240" v="9169" actId="478"/>
          <ac:grpSpMkLst>
            <pc:docMk/>
            <pc:sldMk cId="1492206073" sldId="7071"/>
            <ac:grpSpMk id="97" creationId="{18E57BA6-E722-46EF-AD90-8633A379A96D}"/>
          </ac:grpSpMkLst>
        </pc:grpChg>
        <pc:grpChg chg="add del mod">
          <ac:chgData name="Ugo MANTEL" userId="2d5b7065-31bb-4181-a7f8-a73bf0c30211" providerId="ADAL" clId="{F05BB0D5-3454-45DC-8378-DA45B79D9A06}" dt="2020-10-07T07:24:14.207" v="10420" actId="478"/>
          <ac:grpSpMkLst>
            <pc:docMk/>
            <pc:sldMk cId="1492206073" sldId="7071"/>
            <ac:grpSpMk id="97" creationId="{4170B23B-1664-4E53-B628-F17D14F8AE20}"/>
          </ac:grpSpMkLst>
        </pc:grpChg>
        <pc:grpChg chg="del mod ord topLvl">
          <ac:chgData name="Ugo MANTEL" userId="2d5b7065-31bb-4181-a7f8-a73bf0c30211" providerId="ADAL" clId="{F05BB0D5-3454-45DC-8378-DA45B79D9A06}" dt="2020-10-05T11:48:02.240" v="9169" actId="478"/>
          <ac:grpSpMkLst>
            <pc:docMk/>
            <pc:sldMk cId="1492206073" sldId="7071"/>
            <ac:grpSpMk id="98" creationId="{07925947-C55D-4BCF-8AAD-6E8529EB6C86}"/>
          </ac:grpSpMkLst>
        </pc:grpChg>
        <pc:grpChg chg="mod ord topLvl">
          <ac:chgData name="Ugo MANTEL" userId="2d5b7065-31bb-4181-a7f8-a73bf0c30211" providerId="ADAL" clId="{F05BB0D5-3454-45DC-8378-DA45B79D9A06}" dt="2020-10-07T07:25:44.771" v="10465" actId="1035"/>
          <ac:grpSpMkLst>
            <pc:docMk/>
            <pc:sldMk cId="1492206073" sldId="7071"/>
            <ac:grpSpMk id="99" creationId="{678BA6BA-F654-4923-82C7-DA319D25663C}"/>
          </ac:grpSpMkLst>
        </pc:grpChg>
        <pc:grpChg chg="mod ord topLvl">
          <ac:chgData name="Ugo MANTEL" userId="2d5b7065-31bb-4181-a7f8-a73bf0c30211" providerId="ADAL" clId="{F05BB0D5-3454-45DC-8378-DA45B79D9A06}" dt="2020-10-07T07:25:44.771" v="10465" actId="1035"/>
          <ac:grpSpMkLst>
            <pc:docMk/>
            <pc:sldMk cId="1492206073" sldId="7071"/>
            <ac:grpSpMk id="100" creationId="{52469BEE-6026-4982-A0C0-48CBA2C144B8}"/>
          </ac:grpSpMkLst>
        </pc:grpChg>
        <pc:grpChg chg="del mod topLvl">
          <ac:chgData name="Ugo MANTEL" userId="2d5b7065-31bb-4181-a7f8-a73bf0c30211" providerId="ADAL" clId="{F05BB0D5-3454-45DC-8378-DA45B79D9A06}" dt="2020-10-05T11:44:35.583" v="9001" actId="165"/>
          <ac:grpSpMkLst>
            <pc:docMk/>
            <pc:sldMk cId="1492206073" sldId="7071"/>
            <ac:grpSpMk id="101" creationId="{87838FBD-5E57-47A5-B421-8BB29F6FBC78}"/>
          </ac:grpSpMkLst>
        </pc:grpChg>
        <pc:grpChg chg="add del mod">
          <ac:chgData name="Ugo MANTEL" userId="2d5b7065-31bb-4181-a7f8-a73bf0c30211" providerId="ADAL" clId="{F05BB0D5-3454-45DC-8378-DA45B79D9A06}" dt="2020-10-07T07:24:14.207" v="10420" actId="478"/>
          <ac:grpSpMkLst>
            <pc:docMk/>
            <pc:sldMk cId="1492206073" sldId="7071"/>
            <ac:grpSpMk id="102" creationId="{9FC68E9F-293C-4E11-8921-DA7F38B72CA5}"/>
          </ac:grpSpMkLst>
        </pc:grpChg>
        <pc:grpChg chg="del mod topLvl">
          <ac:chgData name="Ugo MANTEL" userId="2d5b7065-31bb-4181-a7f8-a73bf0c30211" providerId="ADAL" clId="{F05BB0D5-3454-45DC-8378-DA45B79D9A06}" dt="2020-10-05T11:44:52.339" v="9025" actId="165"/>
          <ac:grpSpMkLst>
            <pc:docMk/>
            <pc:sldMk cId="1492206073" sldId="7071"/>
            <ac:grpSpMk id="102" creationId="{F35EF9C6-CB9F-4C7A-9849-19E72471DF28}"/>
          </ac:grpSpMkLst>
        </pc:grpChg>
        <pc:grpChg chg="add del mod">
          <ac:chgData name="Ugo MANTEL" userId="2d5b7065-31bb-4181-a7f8-a73bf0c30211" providerId="ADAL" clId="{F05BB0D5-3454-45DC-8378-DA45B79D9A06}" dt="2020-10-07T07:24:14.207" v="10420" actId="478"/>
          <ac:grpSpMkLst>
            <pc:docMk/>
            <pc:sldMk cId="1492206073" sldId="7071"/>
            <ac:grpSpMk id="113" creationId="{B073758E-5F6A-4D6F-8EF1-1BE4A19DDB7C}"/>
          </ac:grpSpMkLst>
        </pc:grpChg>
        <pc:grpChg chg="add del mod">
          <ac:chgData name="Ugo MANTEL" userId="2d5b7065-31bb-4181-a7f8-a73bf0c30211" providerId="ADAL" clId="{F05BB0D5-3454-45DC-8378-DA45B79D9A06}" dt="2020-10-07T07:24:14.207" v="10420" actId="478"/>
          <ac:grpSpMkLst>
            <pc:docMk/>
            <pc:sldMk cId="1492206073" sldId="7071"/>
            <ac:grpSpMk id="116" creationId="{7CDBF748-6040-4F45-9D00-741E93FEEE79}"/>
          </ac:grpSpMkLst>
        </pc:grpChg>
        <pc:grpChg chg="add del mod">
          <ac:chgData name="Ugo MANTEL" userId="2d5b7065-31bb-4181-a7f8-a73bf0c30211" providerId="ADAL" clId="{F05BB0D5-3454-45DC-8378-DA45B79D9A06}" dt="2020-10-05T11:40:37.847" v="8919" actId="165"/>
          <ac:grpSpMkLst>
            <pc:docMk/>
            <pc:sldMk cId="1492206073" sldId="7071"/>
            <ac:grpSpMk id="117" creationId="{6BE746BC-C9A8-45AB-99B9-8CA1709DADB1}"/>
          </ac:grpSpMkLst>
        </pc:grpChg>
        <pc:grpChg chg="mod ord topLvl">
          <ac:chgData name="Ugo MANTEL" userId="2d5b7065-31bb-4181-a7f8-a73bf0c30211" providerId="ADAL" clId="{F05BB0D5-3454-45DC-8378-DA45B79D9A06}" dt="2020-10-07T07:25:44.771" v="10465" actId="1035"/>
          <ac:grpSpMkLst>
            <pc:docMk/>
            <pc:sldMk cId="1492206073" sldId="7071"/>
            <ac:grpSpMk id="119" creationId="{80D4C045-E3FF-48DD-9E62-AC3E7069A32B}"/>
          </ac:grpSpMkLst>
        </pc:grpChg>
        <pc:grpChg chg="mod ord topLvl">
          <ac:chgData name="Ugo MANTEL" userId="2d5b7065-31bb-4181-a7f8-a73bf0c30211" providerId="ADAL" clId="{F05BB0D5-3454-45DC-8378-DA45B79D9A06}" dt="2020-10-07T07:25:44.771" v="10465" actId="1035"/>
          <ac:grpSpMkLst>
            <pc:docMk/>
            <pc:sldMk cId="1492206073" sldId="7071"/>
            <ac:grpSpMk id="120" creationId="{C9F42869-B5BA-4875-A29C-B746E9C27B53}"/>
          </ac:grpSpMkLst>
        </pc:grpChg>
        <pc:grpChg chg="mod ord topLvl">
          <ac:chgData name="Ugo MANTEL" userId="2d5b7065-31bb-4181-a7f8-a73bf0c30211" providerId="ADAL" clId="{F05BB0D5-3454-45DC-8378-DA45B79D9A06}" dt="2020-10-07T07:25:44.771" v="10465" actId="1035"/>
          <ac:grpSpMkLst>
            <pc:docMk/>
            <pc:sldMk cId="1492206073" sldId="7071"/>
            <ac:grpSpMk id="121" creationId="{CCF07DB7-970D-4E7E-8FAC-7F0878A542BA}"/>
          </ac:grpSpMkLst>
        </pc:grpChg>
        <pc:grpChg chg="mod ord topLvl">
          <ac:chgData name="Ugo MANTEL" userId="2d5b7065-31bb-4181-a7f8-a73bf0c30211" providerId="ADAL" clId="{F05BB0D5-3454-45DC-8378-DA45B79D9A06}" dt="2020-10-07T07:25:44.771" v="10465" actId="1035"/>
          <ac:grpSpMkLst>
            <pc:docMk/>
            <pc:sldMk cId="1492206073" sldId="7071"/>
            <ac:grpSpMk id="122" creationId="{74F78D43-DA75-4068-98E2-27145E24C681}"/>
          </ac:grpSpMkLst>
        </pc:grpChg>
        <pc:grpChg chg="mod ord topLvl">
          <ac:chgData name="Ugo MANTEL" userId="2d5b7065-31bb-4181-a7f8-a73bf0c30211" providerId="ADAL" clId="{F05BB0D5-3454-45DC-8378-DA45B79D9A06}" dt="2020-10-07T07:25:44.771" v="10465" actId="1035"/>
          <ac:grpSpMkLst>
            <pc:docMk/>
            <pc:sldMk cId="1492206073" sldId="7071"/>
            <ac:grpSpMk id="123" creationId="{931D3758-9BF0-4A52-8BD6-CB533F5BA72D}"/>
          </ac:grpSpMkLst>
        </pc:grpChg>
        <pc:grpChg chg="mod ord topLvl">
          <ac:chgData name="Ugo MANTEL" userId="2d5b7065-31bb-4181-a7f8-a73bf0c30211" providerId="ADAL" clId="{F05BB0D5-3454-45DC-8378-DA45B79D9A06}" dt="2020-10-07T07:25:44.771" v="10465" actId="1035"/>
          <ac:grpSpMkLst>
            <pc:docMk/>
            <pc:sldMk cId="1492206073" sldId="7071"/>
            <ac:grpSpMk id="124" creationId="{43F2471C-2F0F-405E-A55C-E575F836F430}"/>
          </ac:grpSpMkLst>
        </pc:grpChg>
        <pc:grpChg chg="mod ord topLvl">
          <ac:chgData name="Ugo MANTEL" userId="2d5b7065-31bb-4181-a7f8-a73bf0c30211" providerId="ADAL" clId="{F05BB0D5-3454-45DC-8378-DA45B79D9A06}" dt="2020-10-07T07:25:44.771" v="10465" actId="1035"/>
          <ac:grpSpMkLst>
            <pc:docMk/>
            <pc:sldMk cId="1492206073" sldId="7071"/>
            <ac:grpSpMk id="125" creationId="{28F01B21-4F49-4CF2-9276-D00EB11D0EDF}"/>
          </ac:grpSpMkLst>
        </pc:grpChg>
        <pc:grpChg chg="mod ord topLvl">
          <ac:chgData name="Ugo MANTEL" userId="2d5b7065-31bb-4181-a7f8-a73bf0c30211" providerId="ADAL" clId="{F05BB0D5-3454-45DC-8378-DA45B79D9A06}" dt="2020-10-07T07:25:44.771" v="10465" actId="1035"/>
          <ac:grpSpMkLst>
            <pc:docMk/>
            <pc:sldMk cId="1492206073" sldId="7071"/>
            <ac:grpSpMk id="126" creationId="{3AD9FA27-57C3-420C-93AF-EE7D21A07833}"/>
          </ac:grpSpMkLst>
        </pc:grpChg>
        <pc:grpChg chg="add del mod">
          <ac:chgData name="Ugo MANTEL" userId="2d5b7065-31bb-4181-a7f8-a73bf0c30211" providerId="ADAL" clId="{F05BB0D5-3454-45DC-8378-DA45B79D9A06}" dt="2020-10-05T11:41:18.002" v="8949" actId="165"/>
          <ac:grpSpMkLst>
            <pc:docMk/>
            <pc:sldMk cId="1492206073" sldId="7071"/>
            <ac:grpSpMk id="143" creationId="{5765FDF0-7183-461E-9AE8-FD512E4353F1}"/>
          </ac:grpSpMkLst>
        </pc:grpChg>
        <pc:grpChg chg="add del mod">
          <ac:chgData name="Ugo MANTEL" userId="2d5b7065-31bb-4181-a7f8-a73bf0c30211" providerId="ADAL" clId="{F05BB0D5-3454-45DC-8378-DA45B79D9A06}" dt="2020-10-07T07:24:14.207" v="10420" actId="478"/>
          <ac:grpSpMkLst>
            <pc:docMk/>
            <pc:sldMk cId="1492206073" sldId="7071"/>
            <ac:grpSpMk id="146" creationId="{D259C54E-9711-45CA-BE03-7F84A1A8BA37}"/>
          </ac:grpSpMkLst>
        </pc:grpChg>
        <pc:grpChg chg="mod">
          <ac:chgData name="Ugo MANTEL" userId="2d5b7065-31bb-4181-a7f8-a73bf0c30211" providerId="ADAL" clId="{F05BB0D5-3454-45DC-8378-DA45B79D9A06}" dt="2020-10-07T07:22:59.372" v="10409"/>
          <ac:grpSpMkLst>
            <pc:docMk/>
            <pc:sldMk cId="1492206073" sldId="7071"/>
            <ac:grpSpMk id="149" creationId="{56B93BC2-FA8A-48AC-8EBA-C1846E9ED437}"/>
          </ac:grpSpMkLst>
        </pc:grpChg>
        <pc:grpChg chg="mod">
          <ac:chgData name="Ugo MANTEL" userId="2d5b7065-31bb-4181-a7f8-a73bf0c30211" providerId="ADAL" clId="{F05BB0D5-3454-45DC-8378-DA45B79D9A06}" dt="2020-10-07T07:22:59.372" v="10409"/>
          <ac:grpSpMkLst>
            <pc:docMk/>
            <pc:sldMk cId="1492206073" sldId="7071"/>
            <ac:grpSpMk id="150" creationId="{FAB258BB-2984-4D67-AA28-AAAB99914D3F}"/>
          </ac:grpSpMkLst>
        </pc:grpChg>
        <pc:grpChg chg="mod">
          <ac:chgData name="Ugo MANTEL" userId="2d5b7065-31bb-4181-a7f8-a73bf0c30211" providerId="ADAL" clId="{F05BB0D5-3454-45DC-8378-DA45B79D9A06}" dt="2020-10-07T07:22:59.372" v="10409"/>
          <ac:grpSpMkLst>
            <pc:docMk/>
            <pc:sldMk cId="1492206073" sldId="7071"/>
            <ac:grpSpMk id="151" creationId="{CF41A68D-9987-4C7E-965C-FA037BA46F69}"/>
          </ac:grpSpMkLst>
        </pc:grpChg>
        <pc:grpChg chg="mod">
          <ac:chgData name="Ugo MANTEL" userId="2d5b7065-31bb-4181-a7f8-a73bf0c30211" providerId="ADAL" clId="{F05BB0D5-3454-45DC-8378-DA45B79D9A06}" dt="2020-10-07T07:22:59.372" v="10409"/>
          <ac:grpSpMkLst>
            <pc:docMk/>
            <pc:sldMk cId="1492206073" sldId="7071"/>
            <ac:grpSpMk id="152" creationId="{4F0D245F-295F-4606-ABCE-2BE89A87E51C}"/>
          </ac:grpSpMkLst>
        </pc:grpChg>
        <pc:grpChg chg="add del mod">
          <ac:chgData name="Ugo MANTEL" userId="2d5b7065-31bb-4181-a7f8-a73bf0c30211" providerId="ADAL" clId="{F05BB0D5-3454-45DC-8378-DA45B79D9A06}" dt="2020-10-07T07:23:52.871" v="10417" actId="165"/>
          <ac:grpSpMkLst>
            <pc:docMk/>
            <pc:sldMk cId="1492206073" sldId="7071"/>
            <ac:grpSpMk id="156" creationId="{7D2038EB-B505-4016-B58F-6F2920F3F5F2}"/>
          </ac:grpSpMkLst>
        </pc:grpChg>
        <pc:graphicFrameChg chg="mod ord">
          <ac:chgData name="Ugo MANTEL" userId="2d5b7065-31bb-4181-a7f8-a73bf0c30211" providerId="ADAL" clId="{F05BB0D5-3454-45DC-8378-DA45B79D9A06}" dt="2020-10-05T12:17:05.829" v="9539"/>
          <ac:graphicFrameMkLst>
            <pc:docMk/>
            <pc:sldMk cId="1492206073" sldId="7071"/>
            <ac:graphicFrameMk id="5" creationId="{EAAA3A35-C6B3-4EE6-9406-A3DBC2CB7256}"/>
          </ac:graphicFrameMkLst>
        </pc:graphicFrameChg>
        <pc:graphicFrameChg chg="add del mod">
          <ac:chgData name="Ugo MANTEL" userId="2d5b7065-31bb-4181-a7f8-a73bf0c30211" providerId="ADAL" clId="{F05BB0D5-3454-45DC-8378-DA45B79D9A06}" dt="2020-10-05T11:12:50.138" v="8808" actId="478"/>
          <ac:graphicFrameMkLst>
            <pc:docMk/>
            <pc:sldMk cId="1492206073" sldId="7071"/>
            <ac:graphicFrameMk id="23" creationId="{4314B2D0-2DD2-426D-B9AB-F838C41D3DD5}"/>
          </ac:graphicFrameMkLst>
        </pc:graphicFrameChg>
        <pc:graphicFrameChg chg="add mod ord">
          <ac:chgData name="Ugo MANTEL" userId="2d5b7065-31bb-4181-a7f8-a73bf0c30211" providerId="ADAL" clId="{F05BB0D5-3454-45DC-8378-DA45B79D9A06}" dt="2020-10-07T07:38:28.070" v="10524"/>
          <ac:graphicFrameMkLst>
            <pc:docMk/>
            <pc:sldMk cId="1492206073" sldId="7071"/>
            <ac:graphicFrameMk id="28" creationId="{22FD1987-B3A4-4D58-9A6A-1598091B84AA}"/>
          </ac:graphicFrameMkLst>
        </pc:graphicFrameChg>
        <pc:graphicFrameChg chg="del mod ord">
          <ac:chgData name="Ugo MANTEL" userId="2d5b7065-31bb-4181-a7f8-a73bf0c30211" providerId="ADAL" clId="{F05BB0D5-3454-45DC-8378-DA45B79D9A06}" dt="2020-10-05T12:13:22.136" v="9332" actId="478"/>
          <ac:graphicFrameMkLst>
            <pc:docMk/>
            <pc:sldMk cId="1492206073" sldId="7071"/>
            <ac:graphicFrameMk id="58" creationId="{02C688B9-59B0-49D5-88CD-C1FC23B6E8B8}"/>
          </ac:graphicFrameMkLst>
        </pc:graphicFrameChg>
        <pc:graphicFrameChg chg="mod ord">
          <ac:chgData name="Ugo MANTEL" userId="2d5b7065-31bb-4181-a7f8-a73bf0c30211" providerId="ADAL" clId="{F05BB0D5-3454-45DC-8378-DA45B79D9A06}" dt="2020-10-05T15:18:22.905" v="10338" actId="113"/>
          <ac:graphicFrameMkLst>
            <pc:docMk/>
            <pc:sldMk cId="1492206073" sldId="7071"/>
            <ac:graphicFrameMk id="71" creationId="{7A1CB4DF-8092-4BCC-A155-061DA4EA9BA4}"/>
          </ac:graphicFrameMkLst>
        </pc:graphicFrameChg>
        <pc:picChg chg="mod ord">
          <ac:chgData name="Ugo MANTEL" userId="2d5b7065-31bb-4181-a7f8-a73bf0c30211" providerId="ADAL" clId="{F05BB0D5-3454-45DC-8378-DA45B79D9A06}" dt="2020-10-05T12:17:05.792" v="9467"/>
          <ac:picMkLst>
            <pc:docMk/>
            <pc:sldMk cId="1492206073" sldId="7071"/>
            <ac:picMk id="49" creationId="{7DA24090-1963-45FE-A4B2-528485027E5D}"/>
          </ac:picMkLst>
        </pc:picChg>
        <pc:picChg chg="mod ord">
          <ac:chgData name="Ugo MANTEL" userId="2d5b7065-31bb-4181-a7f8-a73bf0c30211" providerId="ADAL" clId="{F05BB0D5-3454-45DC-8378-DA45B79D9A06}" dt="2020-10-05T12:17:05.793" v="9469"/>
          <ac:picMkLst>
            <pc:docMk/>
            <pc:sldMk cId="1492206073" sldId="7071"/>
            <ac:picMk id="50" creationId="{10B3DF77-4263-42D4-B525-91A3C7E05B33}"/>
          </ac:picMkLst>
        </pc:picChg>
        <pc:picChg chg="mod ord">
          <ac:chgData name="Ugo MANTEL" userId="2d5b7065-31bb-4181-a7f8-a73bf0c30211" providerId="ADAL" clId="{F05BB0D5-3454-45DC-8378-DA45B79D9A06}" dt="2020-10-05T12:17:05.794" v="9471"/>
          <ac:picMkLst>
            <pc:docMk/>
            <pc:sldMk cId="1492206073" sldId="7071"/>
            <ac:picMk id="51" creationId="{398D8ED9-C5E8-48D7-AEF3-A48C00E52EC6}"/>
          </ac:picMkLst>
        </pc:picChg>
        <pc:picChg chg="mod ord">
          <ac:chgData name="Ugo MANTEL" userId="2d5b7065-31bb-4181-a7f8-a73bf0c30211" providerId="ADAL" clId="{F05BB0D5-3454-45DC-8378-DA45B79D9A06}" dt="2020-10-05T12:17:05.796" v="9473"/>
          <ac:picMkLst>
            <pc:docMk/>
            <pc:sldMk cId="1492206073" sldId="7071"/>
            <ac:picMk id="52" creationId="{CBB9C241-D669-483B-A3FF-0B8C9E58BD1E}"/>
          </ac:picMkLst>
        </pc:picChg>
        <pc:picChg chg="mod ord">
          <ac:chgData name="Ugo MANTEL" userId="2d5b7065-31bb-4181-a7f8-a73bf0c30211" providerId="ADAL" clId="{F05BB0D5-3454-45DC-8378-DA45B79D9A06}" dt="2020-10-05T12:17:05.797" v="9475"/>
          <ac:picMkLst>
            <pc:docMk/>
            <pc:sldMk cId="1492206073" sldId="7071"/>
            <ac:picMk id="53" creationId="{EF70B876-7006-481B-892C-D06722D595C9}"/>
          </ac:picMkLst>
        </pc:picChg>
        <pc:picChg chg="mod ord">
          <ac:chgData name="Ugo MANTEL" userId="2d5b7065-31bb-4181-a7f8-a73bf0c30211" providerId="ADAL" clId="{F05BB0D5-3454-45DC-8378-DA45B79D9A06}" dt="2020-10-05T12:17:05.798" v="9477"/>
          <ac:picMkLst>
            <pc:docMk/>
            <pc:sldMk cId="1492206073" sldId="7071"/>
            <ac:picMk id="54" creationId="{9D54CB9F-4432-4D7E-93C7-5F22510243B9}"/>
          </ac:picMkLst>
        </pc:picChg>
        <pc:picChg chg="mod ord">
          <ac:chgData name="Ugo MANTEL" userId="2d5b7065-31bb-4181-a7f8-a73bf0c30211" providerId="ADAL" clId="{F05BB0D5-3454-45DC-8378-DA45B79D9A06}" dt="2020-10-05T12:17:05.799" v="9479"/>
          <ac:picMkLst>
            <pc:docMk/>
            <pc:sldMk cId="1492206073" sldId="7071"/>
            <ac:picMk id="55" creationId="{3670457D-A209-4646-9548-17C9C0DE44A9}"/>
          </ac:picMkLst>
        </pc:picChg>
        <pc:picChg chg="mod ord">
          <ac:chgData name="Ugo MANTEL" userId="2d5b7065-31bb-4181-a7f8-a73bf0c30211" providerId="ADAL" clId="{F05BB0D5-3454-45DC-8378-DA45B79D9A06}" dt="2020-10-05T12:17:05.807" v="9495"/>
          <ac:picMkLst>
            <pc:docMk/>
            <pc:sldMk cId="1492206073" sldId="7071"/>
            <ac:picMk id="69" creationId="{B18B7AEF-D958-4029-BCD3-2CB8391D23C4}"/>
          </ac:picMkLst>
        </pc:picChg>
        <pc:picChg chg="mod ord">
          <ac:chgData name="Ugo MANTEL" userId="2d5b7065-31bb-4181-a7f8-a73bf0c30211" providerId="ADAL" clId="{F05BB0D5-3454-45DC-8378-DA45B79D9A06}" dt="2020-10-05T12:17:05.808" v="9497"/>
          <ac:picMkLst>
            <pc:docMk/>
            <pc:sldMk cId="1492206073" sldId="7071"/>
            <ac:picMk id="72" creationId="{9ED01FE6-2CC6-4E3A-8CAA-CAB0D74280FB}"/>
          </ac:picMkLst>
        </pc:picChg>
        <pc:picChg chg="mod ord">
          <ac:chgData name="Ugo MANTEL" userId="2d5b7065-31bb-4181-a7f8-a73bf0c30211" providerId="ADAL" clId="{F05BB0D5-3454-45DC-8378-DA45B79D9A06}" dt="2020-10-05T12:17:05.808" v="9499"/>
          <ac:picMkLst>
            <pc:docMk/>
            <pc:sldMk cId="1492206073" sldId="7071"/>
            <ac:picMk id="73" creationId="{2714B55A-45B0-4AD3-8BD1-FFB5DC3BF13F}"/>
          </ac:picMkLst>
        </pc:picChg>
        <pc:picChg chg="mod ord">
          <ac:chgData name="Ugo MANTEL" userId="2d5b7065-31bb-4181-a7f8-a73bf0c30211" providerId="ADAL" clId="{F05BB0D5-3454-45DC-8378-DA45B79D9A06}" dt="2020-10-05T12:17:05.809" v="9501"/>
          <ac:picMkLst>
            <pc:docMk/>
            <pc:sldMk cId="1492206073" sldId="7071"/>
            <ac:picMk id="78" creationId="{ECC0377F-08AF-4755-9E3C-A7F108E566FB}"/>
          </ac:picMkLst>
        </pc:picChg>
        <pc:picChg chg="mod ord">
          <ac:chgData name="Ugo MANTEL" userId="2d5b7065-31bb-4181-a7f8-a73bf0c30211" providerId="ADAL" clId="{F05BB0D5-3454-45DC-8378-DA45B79D9A06}" dt="2020-10-05T12:17:05.803" v="9487"/>
          <ac:picMkLst>
            <pc:docMk/>
            <pc:sldMk cId="1492206073" sldId="7071"/>
            <ac:picMk id="84" creationId="{7E4D4335-0C3B-4325-A934-11835CB615BF}"/>
          </ac:picMkLst>
        </pc:picChg>
        <pc:cxnChg chg="del mod ord">
          <ac:chgData name="Ugo MANTEL" userId="2d5b7065-31bb-4181-a7f8-a73bf0c30211" providerId="ADAL" clId="{F05BB0D5-3454-45DC-8378-DA45B79D9A06}" dt="2020-10-05T11:53:32.229" v="9215" actId="478"/>
          <ac:cxnSpMkLst>
            <pc:docMk/>
            <pc:sldMk cId="1492206073" sldId="7071"/>
            <ac:cxnSpMk id="13" creationId="{7CEB59DA-E5B5-4E00-B7B1-8C2902ED1BF8}"/>
          </ac:cxnSpMkLst>
        </pc:cxnChg>
        <pc:cxnChg chg="add mod ord">
          <ac:chgData name="Ugo MANTEL" userId="2d5b7065-31bb-4181-a7f8-a73bf0c30211" providerId="ADAL" clId="{F05BB0D5-3454-45DC-8378-DA45B79D9A06}" dt="2020-10-07T07:25:44.771" v="10465" actId="1035"/>
          <ac:cxnSpMkLst>
            <pc:docMk/>
            <pc:sldMk cId="1492206073" sldId="7071"/>
            <ac:cxnSpMk id="59" creationId="{C2957944-6598-4E2C-B288-B15A7081DE81}"/>
          </ac:cxnSpMkLst>
        </pc:cxnChg>
        <pc:cxnChg chg="del mod ord">
          <ac:chgData name="Ugo MANTEL" userId="2d5b7065-31bb-4181-a7f8-a73bf0c30211" providerId="ADAL" clId="{F05BB0D5-3454-45DC-8378-DA45B79D9A06}" dt="2020-10-05T11:53:32.229" v="9215" actId="478"/>
          <ac:cxnSpMkLst>
            <pc:docMk/>
            <pc:sldMk cId="1492206073" sldId="7071"/>
            <ac:cxnSpMk id="79" creationId="{5EE737A2-AAC4-4341-8AB3-BB434DAAAE05}"/>
          </ac:cxnSpMkLst>
        </pc:cxnChg>
        <pc:cxnChg chg="add del mod ord">
          <ac:chgData name="Ugo MANTEL" userId="2d5b7065-31bb-4181-a7f8-a73bf0c30211" providerId="ADAL" clId="{F05BB0D5-3454-45DC-8378-DA45B79D9A06}" dt="2020-10-05T11:48:02.240" v="9169" actId="478"/>
          <ac:cxnSpMkLst>
            <pc:docMk/>
            <pc:sldMk cId="1492206073" sldId="7071"/>
            <ac:cxnSpMk id="80" creationId="{6898C195-0F85-4108-A63E-76588B7A19E6}"/>
          </ac:cxnSpMkLst>
        </pc:cxnChg>
        <pc:cxnChg chg="mod">
          <ac:chgData name="Ugo MANTEL" userId="2d5b7065-31bb-4181-a7f8-a73bf0c30211" providerId="ADAL" clId="{F05BB0D5-3454-45DC-8378-DA45B79D9A06}" dt="2020-10-07T07:22:59.372" v="10409"/>
          <ac:cxnSpMkLst>
            <pc:docMk/>
            <pc:sldMk cId="1492206073" sldId="7071"/>
            <ac:cxnSpMk id="89" creationId="{77E1EA38-50FC-47BF-9B07-E14BA506F806}"/>
          </ac:cxnSpMkLst>
        </pc:cxnChg>
        <pc:cxnChg chg="mod">
          <ac:chgData name="Ugo MANTEL" userId="2d5b7065-31bb-4181-a7f8-a73bf0c30211" providerId="ADAL" clId="{F05BB0D5-3454-45DC-8378-DA45B79D9A06}" dt="2020-10-07T07:22:59.372" v="10409"/>
          <ac:cxnSpMkLst>
            <pc:docMk/>
            <pc:sldMk cId="1492206073" sldId="7071"/>
            <ac:cxnSpMk id="92" creationId="{1AE740CB-5A5D-40B1-B795-61FB56E14C37}"/>
          </ac:cxnSpMkLst>
        </pc:cxnChg>
        <pc:cxnChg chg="mod">
          <ac:chgData name="Ugo MANTEL" userId="2d5b7065-31bb-4181-a7f8-a73bf0c30211" providerId="ADAL" clId="{F05BB0D5-3454-45DC-8378-DA45B79D9A06}" dt="2020-10-07T07:22:59.372" v="10409"/>
          <ac:cxnSpMkLst>
            <pc:docMk/>
            <pc:sldMk cId="1492206073" sldId="7071"/>
            <ac:cxnSpMk id="95" creationId="{7F4E03FF-F28E-4433-BA77-CA1EE36C0A2A}"/>
          </ac:cxnSpMkLst>
        </pc:cxnChg>
        <pc:cxnChg chg="mod">
          <ac:chgData name="Ugo MANTEL" userId="2d5b7065-31bb-4181-a7f8-a73bf0c30211" providerId="ADAL" clId="{F05BB0D5-3454-45DC-8378-DA45B79D9A06}" dt="2020-10-07T07:22:59.372" v="10409"/>
          <ac:cxnSpMkLst>
            <pc:docMk/>
            <pc:sldMk cId="1492206073" sldId="7071"/>
            <ac:cxnSpMk id="98" creationId="{D4380E7C-547D-4088-AEE4-1A6E4C74A80E}"/>
          </ac:cxnSpMkLst>
        </pc:cxnChg>
        <pc:cxnChg chg="del mod topLvl">
          <ac:chgData name="Ugo MANTEL" userId="2d5b7065-31bb-4181-a7f8-a73bf0c30211" providerId="ADAL" clId="{F05BB0D5-3454-45DC-8378-DA45B79D9A06}" dt="2020-10-07T07:19:48.325" v="10388" actId="478"/>
          <ac:cxnSpMkLst>
            <pc:docMk/>
            <pc:sldMk cId="1492206073" sldId="7071"/>
            <ac:cxnSpMk id="103" creationId="{A680B8E1-72BD-4A55-9ABD-2685DD25EA05}"/>
          </ac:cxnSpMkLst>
        </pc:cxnChg>
        <pc:cxnChg chg="mod topLvl">
          <ac:chgData name="Ugo MANTEL" userId="2d5b7065-31bb-4181-a7f8-a73bf0c30211" providerId="ADAL" clId="{F05BB0D5-3454-45DC-8378-DA45B79D9A06}" dt="2020-10-05T11:48:48.412" v="9179" actId="408"/>
          <ac:cxnSpMkLst>
            <pc:docMk/>
            <pc:sldMk cId="1492206073" sldId="7071"/>
            <ac:cxnSpMk id="105" creationId="{F03C883C-474E-440F-BCA7-8A07CDE09D4B}"/>
          </ac:cxnSpMkLst>
        </pc:cxnChg>
        <pc:cxnChg chg="mod">
          <ac:chgData name="Ugo MANTEL" userId="2d5b7065-31bb-4181-a7f8-a73bf0c30211" providerId="ADAL" clId="{F05BB0D5-3454-45DC-8378-DA45B79D9A06}" dt="2020-10-07T07:27:45.051" v="10479" actId="12789"/>
          <ac:cxnSpMkLst>
            <pc:docMk/>
            <pc:sldMk cId="1492206073" sldId="7071"/>
            <ac:cxnSpMk id="107" creationId="{96DD5135-2A1F-46A2-9BC6-7989F6ADA3F6}"/>
          </ac:cxnSpMkLst>
        </pc:cxnChg>
        <pc:cxnChg chg="mod">
          <ac:chgData name="Ugo MANTEL" userId="2d5b7065-31bb-4181-a7f8-a73bf0c30211" providerId="ADAL" clId="{F05BB0D5-3454-45DC-8378-DA45B79D9A06}" dt="2020-10-05T11:48:48.412" v="9179" actId="408"/>
          <ac:cxnSpMkLst>
            <pc:docMk/>
            <pc:sldMk cId="1492206073" sldId="7071"/>
            <ac:cxnSpMk id="109" creationId="{6B7D0182-7F73-4297-B1A4-3162153D8002}"/>
          </ac:cxnSpMkLst>
        </pc:cxnChg>
        <pc:cxnChg chg="mod">
          <ac:chgData name="Ugo MANTEL" userId="2d5b7065-31bb-4181-a7f8-a73bf0c30211" providerId="ADAL" clId="{F05BB0D5-3454-45DC-8378-DA45B79D9A06}" dt="2020-10-07T07:22:59.372" v="10409"/>
          <ac:cxnSpMkLst>
            <pc:docMk/>
            <pc:sldMk cId="1492206073" sldId="7071"/>
            <ac:cxnSpMk id="111" creationId="{02C398DA-6F03-47DB-AE18-8B52463DD56C}"/>
          </ac:cxnSpMkLst>
        </pc:cxnChg>
        <pc:cxnChg chg="mod">
          <ac:chgData name="Ugo MANTEL" userId="2d5b7065-31bb-4181-a7f8-a73bf0c30211" providerId="ADAL" clId="{F05BB0D5-3454-45DC-8378-DA45B79D9A06}" dt="2020-10-05T11:39:29.753" v="8911"/>
          <ac:cxnSpMkLst>
            <pc:docMk/>
            <pc:sldMk cId="1492206073" sldId="7071"/>
            <ac:cxnSpMk id="111" creationId="{1E8F7E9B-789C-4B2B-B928-D18465332E69}"/>
          </ac:cxnSpMkLst>
        </pc:cxnChg>
        <pc:cxnChg chg="mod">
          <ac:chgData name="Ugo MANTEL" userId="2d5b7065-31bb-4181-a7f8-a73bf0c30211" providerId="ADAL" clId="{F05BB0D5-3454-45DC-8378-DA45B79D9A06}" dt="2020-10-05T11:39:29.753" v="8911"/>
          <ac:cxnSpMkLst>
            <pc:docMk/>
            <pc:sldMk cId="1492206073" sldId="7071"/>
            <ac:cxnSpMk id="113" creationId="{AE0D63D9-C512-47FA-836F-0B08F5D4BCBC}"/>
          </ac:cxnSpMkLst>
        </pc:cxnChg>
        <pc:cxnChg chg="mod">
          <ac:chgData name="Ugo MANTEL" userId="2d5b7065-31bb-4181-a7f8-a73bf0c30211" providerId="ADAL" clId="{F05BB0D5-3454-45DC-8378-DA45B79D9A06}" dt="2020-10-07T07:22:59.372" v="10409"/>
          <ac:cxnSpMkLst>
            <pc:docMk/>
            <pc:sldMk cId="1492206073" sldId="7071"/>
            <ac:cxnSpMk id="114" creationId="{B3BB8CD3-14E7-4828-86DC-3FC2E018AB76}"/>
          </ac:cxnSpMkLst>
        </pc:cxnChg>
        <pc:cxnChg chg="mod">
          <ac:chgData name="Ugo MANTEL" userId="2d5b7065-31bb-4181-a7f8-a73bf0c30211" providerId="ADAL" clId="{F05BB0D5-3454-45DC-8378-DA45B79D9A06}" dt="2020-10-05T11:39:29.753" v="8911"/>
          <ac:cxnSpMkLst>
            <pc:docMk/>
            <pc:sldMk cId="1492206073" sldId="7071"/>
            <ac:cxnSpMk id="115" creationId="{A9C11495-583E-4718-AD8C-354EBAEB330F}"/>
          </ac:cxnSpMkLst>
        </pc:cxnChg>
        <pc:cxnChg chg="mod">
          <ac:chgData name="Ugo MANTEL" userId="2d5b7065-31bb-4181-a7f8-a73bf0c30211" providerId="ADAL" clId="{F05BB0D5-3454-45DC-8378-DA45B79D9A06}" dt="2020-10-07T07:22:59.372" v="10409"/>
          <ac:cxnSpMkLst>
            <pc:docMk/>
            <pc:sldMk cId="1492206073" sldId="7071"/>
            <ac:cxnSpMk id="117" creationId="{643B553D-4622-48D1-B83E-AC5975A57554}"/>
          </ac:cxnSpMkLst>
        </pc:cxnChg>
        <pc:cxnChg chg="mod">
          <ac:chgData name="Ugo MANTEL" userId="2d5b7065-31bb-4181-a7f8-a73bf0c30211" providerId="ADAL" clId="{F05BB0D5-3454-45DC-8378-DA45B79D9A06}" dt="2020-10-05T11:48:48.412" v="9179" actId="408"/>
          <ac:cxnSpMkLst>
            <pc:docMk/>
            <pc:sldMk cId="1492206073" sldId="7071"/>
            <ac:cxnSpMk id="127" creationId="{AB3F0940-76E6-4BB8-BD24-E1AFC2AA4C83}"/>
          </ac:cxnSpMkLst>
        </pc:cxnChg>
        <pc:cxnChg chg="mod">
          <ac:chgData name="Ugo MANTEL" userId="2d5b7065-31bb-4181-a7f8-a73bf0c30211" providerId="ADAL" clId="{F05BB0D5-3454-45DC-8378-DA45B79D9A06}" dt="2020-10-05T11:48:48.412" v="9179" actId="408"/>
          <ac:cxnSpMkLst>
            <pc:docMk/>
            <pc:sldMk cId="1492206073" sldId="7071"/>
            <ac:cxnSpMk id="129" creationId="{0B3058B7-7A05-45CD-A4B8-F99897EDE147}"/>
          </ac:cxnSpMkLst>
        </pc:cxnChg>
        <pc:cxnChg chg="mod">
          <ac:chgData name="Ugo MANTEL" userId="2d5b7065-31bb-4181-a7f8-a73bf0c30211" providerId="ADAL" clId="{F05BB0D5-3454-45DC-8378-DA45B79D9A06}" dt="2020-10-07T07:27:39.765" v="10478" actId="12789"/>
          <ac:cxnSpMkLst>
            <pc:docMk/>
            <pc:sldMk cId="1492206073" sldId="7071"/>
            <ac:cxnSpMk id="131" creationId="{CF5F5E26-DC98-4013-8326-08B72965F001}"/>
          </ac:cxnSpMkLst>
        </pc:cxnChg>
        <pc:cxnChg chg="mod">
          <ac:chgData name="Ugo MANTEL" userId="2d5b7065-31bb-4181-a7f8-a73bf0c30211" providerId="ADAL" clId="{F05BB0D5-3454-45DC-8378-DA45B79D9A06}" dt="2020-10-05T11:48:48.412" v="9179" actId="408"/>
          <ac:cxnSpMkLst>
            <pc:docMk/>
            <pc:sldMk cId="1492206073" sldId="7071"/>
            <ac:cxnSpMk id="133" creationId="{33D8A32A-0B40-459E-9357-8E0F35F7EBC4}"/>
          </ac:cxnSpMkLst>
        </pc:cxnChg>
        <pc:cxnChg chg="mod">
          <ac:chgData name="Ugo MANTEL" userId="2d5b7065-31bb-4181-a7f8-a73bf0c30211" providerId="ADAL" clId="{F05BB0D5-3454-45DC-8378-DA45B79D9A06}" dt="2020-10-05T11:48:48.412" v="9179" actId="408"/>
          <ac:cxnSpMkLst>
            <pc:docMk/>
            <pc:sldMk cId="1492206073" sldId="7071"/>
            <ac:cxnSpMk id="135" creationId="{56F26EFF-875B-46D3-9796-441CC4935304}"/>
          </ac:cxnSpMkLst>
        </pc:cxnChg>
        <pc:cxnChg chg="mod">
          <ac:chgData name="Ugo MANTEL" userId="2d5b7065-31bb-4181-a7f8-a73bf0c30211" providerId="ADAL" clId="{F05BB0D5-3454-45DC-8378-DA45B79D9A06}" dt="2020-10-05T11:48:48.412" v="9179" actId="408"/>
          <ac:cxnSpMkLst>
            <pc:docMk/>
            <pc:sldMk cId="1492206073" sldId="7071"/>
            <ac:cxnSpMk id="137" creationId="{FFF27064-9A06-4516-BFA9-2F29DEFC2B54}"/>
          </ac:cxnSpMkLst>
        </pc:cxnChg>
        <pc:cxnChg chg="mod">
          <ac:chgData name="Ugo MANTEL" userId="2d5b7065-31bb-4181-a7f8-a73bf0c30211" providerId="ADAL" clId="{F05BB0D5-3454-45DC-8378-DA45B79D9A06}" dt="2020-10-05T11:48:48.412" v="9179" actId="408"/>
          <ac:cxnSpMkLst>
            <pc:docMk/>
            <pc:sldMk cId="1492206073" sldId="7071"/>
            <ac:cxnSpMk id="139" creationId="{25246646-F546-42FF-A8C2-E355CF3D9F96}"/>
          </ac:cxnSpMkLst>
        </pc:cxnChg>
        <pc:cxnChg chg="mod">
          <ac:chgData name="Ugo MANTEL" userId="2d5b7065-31bb-4181-a7f8-a73bf0c30211" providerId="ADAL" clId="{F05BB0D5-3454-45DC-8378-DA45B79D9A06}" dt="2020-10-05T11:48:48.412" v="9179" actId="408"/>
          <ac:cxnSpMkLst>
            <pc:docMk/>
            <pc:sldMk cId="1492206073" sldId="7071"/>
            <ac:cxnSpMk id="141" creationId="{04A16EDB-1B8F-46AD-A43D-F47C3724892A}"/>
          </ac:cxnSpMkLst>
        </pc:cxnChg>
        <pc:cxnChg chg="del mod topLvl">
          <ac:chgData name="Ugo MANTEL" userId="2d5b7065-31bb-4181-a7f8-a73bf0c30211" providerId="ADAL" clId="{F05BB0D5-3454-45DC-8378-DA45B79D9A06}" dt="2020-10-07T07:20:03.649" v="10398" actId="478"/>
          <ac:cxnSpMkLst>
            <pc:docMk/>
            <pc:sldMk cId="1492206073" sldId="7071"/>
            <ac:cxnSpMk id="144" creationId="{10E9E3B6-A63F-4DCB-B03F-469447E60200}"/>
          </ac:cxnSpMkLst>
        </pc:cxnChg>
        <pc:cxnChg chg="add mod ord">
          <ac:chgData name="Ugo MANTEL" userId="2d5b7065-31bb-4181-a7f8-a73bf0c30211" providerId="ADAL" clId="{F05BB0D5-3454-45DC-8378-DA45B79D9A06}" dt="2020-10-07T07:26:08.640" v="10470" actId="1036"/>
          <ac:cxnSpMkLst>
            <pc:docMk/>
            <pc:sldMk cId="1492206073" sldId="7071"/>
            <ac:cxnSpMk id="148" creationId="{043FBC9C-3421-46E8-AB2D-02D1F944ABA4}"/>
          </ac:cxnSpMkLst>
        </pc:cxnChg>
        <pc:cxnChg chg="mod">
          <ac:chgData name="Ugo MANTEL" userId="2d5b7065-31bb-4181-a7f8-a73bf0c30211" providerId="ADAL" clId="{F05BB0D5-3454-45DC-8378-DA45B79D9A06}" dt="2020-10-07T07:22:59.372" v="10409"/>
          <ac:cxnSpMkLst>
            <pc:docMk/>
            <pc:sldMk cId="1492206073" sldId="7071"/>
            <ac:cxnSpMk id="157" creationId="{AFDAE1E5-E8AE-463B-8E2F-A0F372A34970}"/>
          </ac:cxnSpMkLst>
        </pc:cxnChg>
        <pc:cxnChg chg="mod">
          <ac:chgData name="Ugo MANTEL" userId="2d5b7065-31bb-4181-a7f8-a73bf0c30211" providerId="ADAL" clId="{F05BB0D5-3454-45DC-8378-DA45B79D9A06}" dt="2020-10-07T07:22:59.372" v="10409"/>
          <ac:cxnSpMkLst>
            <pc:docMk/>
            <pc:sldMk cId="1492206073" sldId="7071"/>
            <ac:cxnSpMk id="159" creationId="{7742AD87-B421-456F-89DA-69136553A1EE}"/>
          </ac:cxnSpMkLst>
        </pc:cxnChg>
        <pc:cxnChg chg="mod">
          <ac:chgData name="Ugo MANTEL" userId="2d5b7065-31bb-4181-a7f8-a73bf0c30211" providerId="ADAL" clId="{F05BB0D5-3454-45DC-8378-DA45B79D9A06}" dt="2020-10-07T07:22:59.372" v="10409"/>
          <ac:cxnSpMkLst>
            <pc:docMk/>
            <pc:sldMk cId="1492206073" sldId="7071"/>
            <ac:cxnSpMk id="161" creationId="{B98AE992-117D-4F14-B866-EDE51A3FB4C3}"/>
          </ac:cxnSpMkLst>
        </pc:cxnChg>
        <pc:cxnChg chg="mod">
          <ac:chgData name="Ugo MANTEL" userId="2d5b7065-31bb-4181-a7f8-a73bf0c30211" providerId="ADAL" clId="{F05BB0D5-3454-45DC-8378-DA45B79D9A06}" dt="2020-10-07T07:22:59.372" v="10409"/>
          <ac:cxnSpMkLst>
            <pc:docMk/>
            <pc:sldMk cId="1492206073" sldId="7071"/>
            <ac:cxnSpMk id="163" creationId="{63715A24-B7EC-40DF-81AF-6ED8B119FCAA}"/>
          </ac:cxnSpMkLst>
        </pc:cxnChg>
      </pc:sldChg>
      <pc:sldChg chg="modSp mod">
        <pc:chgData name="Ugo MANTEL" userId="2d5b7065-31bb-4181-a7f8-a73bf0c30211" providerId="ADAL" clId="{F05BB0D5-3454-45DC-8378-DA45B79D9A06}" dt="2020-10-02T13:04:37.030" v="5643" actId="790"/>
        <pc:sldMkLst>
          <pc:docMk/>
          <pc:sldMk cId="631260809" sldId="7081"/>
        </pc:sldMkLst>
        <pc:spChg chg="mod">
          <ac:chgData name="Ugo MANTEL" userId="2d5b7065-31bb-4181-a7f8-a73bf0c30211" providerId="ADAL" clId="{F05BB0D5-3454-45DC-8378-DA45B79D9A06}" dt="2020-10-02T13:04:37.005" v="5623" actId="790"/>
          <ac:spMkLst>
            <pc:docMk/>
            <pc:sldMk cId="631260809" sldId="7081"/>
            <ac:spMk id="3" creationId="{E5010DA3-233A-4C0B-9142-F7481F6191F9}"/>
          </ac:spMkLst>
        </pc:spChg>
        <pc:spChg chg="mod">
          <ac:chgData name="Ugo MANTEL" userId="2d5b7065-31bb-4181-a7f8-a73bf0c30211" providerId="ADAL" clId="{F05BB0D5-3454-45DC-8378-DA45B79D9A06}" dt="2020-10-02T13:04:37.006" v="5624" actId="790"/>
          <ac:spMkLst>
            <pc:docMk/>
            <pc:sldMk cId="631260809" sldId="7081"/>
            <ac:spMk id="5" creationId="{29D997DC-0DA8-4DA4-89F2-4DBD2D59A052}"/>
          </ac:spMkLst>
        </pc:spChg>
        <pc:spChg chg="mod">
          <ac:chgData name="Ugo MANTEL" userId="2d5b7065-31bb-4181-a7f8-a73bf0c30211" providerId="ADAL" clId="{F05BB0D5-3454-45DC-8378-DA45B79D9A06}" dt="2020-10-02T13:04:37.007" v="5625" actId="790"/>
          <ac:spMkLst>
            <pc:docMk/>
            <pc:sldMk cId="631260809" sldId="7081"/>
            <ac:spMk id="6" creationId="{4409088A-28BB-4727-A153-86FAD7EB84FC}"/>
          </ac:spMkLst>
        </pc:spChg>
        <pc:spChg chg="mod">
          <ac:chgData name="Ugo MANTEL" userId="2d5b7065-31bb-4181-a7f8-a73bf0c30211" providerId="ADAL" clId="{F05BB0D5-3454-45DC-8378-DA45B79D9A06}" dt="2020-10-02T13:04:37.007" v="5626" actId="790"/>
          <ac:spMkLst>
            <pc:docMk/>
            <pc:sldMk cId="631260809" sldId="7081"/>
            <ac:spMk id="7" creationId="{0685641D-9463-4A9F-842A-5FD43CB54C3D}"/>
          </ac:spMkLst>
        </pc:spChg>
        <pc:spChg chg="mod">
          <ac:chgData name="Ugo MANTEL" userId="2d5b7065-31bb-4181-a7f8-a73bf0c30211" providerId="ADAL" clId="{F05BB0D5-3454-45DC-8378-DA45B79D9A06}" dt="2020-10-02T13:04:37.008" v="5627" actId="790"/>
          <ac:spMkLst>
            <pc:docMk/>
            <pc:sldMk cId="631260809" sldId="7081"/>
            <ac:spMk id="8" creationId="{C057BD74-C78B-4AC3-94E8-18486BF32FD1}"/>
          </ac:spMkLst>
        </pc:spChg>
        <pc:spChg chg="mod">
          <ac:chgData name="Ugo MANTEL" userId="2d5b7065-31bb-4181-a7f8-a73bf0c30211" providerId="ADAL" clId="{F05BB0D5-3454-45DC-8378-DA45B79D9A06}" dt="2020-10-02T13:04:37.009" v="5628" actId="790"/>
          <ac:spMkLst>
            <pc:docMk/>
            <pc:sldMk cId="631260809" sldId="7081"/>
            <ac:spMk id="13" creationId="{58290E5D-BAFF-46AF-A116-D469701951CF}"/>
          </ac:spMkLst>
        </pc:spChg>
        <pc:spChg chg="mod">
          <ac:chgData name="Ugo MANTEL" userId="2d5b7065-31bb-4181-a7f8-a73bf0c30211" providerId="ADAL" clId="{F05BB0D5-3454-45DC-8378-DA45B79D9A06}" dt="2020-10-02T13:04:37.010" v="5629" actId="790"/>
          <ac:spMkLst>
            <pc:docMk/>
            <pc:sldMk cId="631260809" sldId="7081"/>
            <ac:spMk id="16" creationId="{C559AF43-BD4F-4D4D-B32D-CC291C49FEA2}"/>
          </ac:spMkLst>
        </pc:spChg>
        <pc:spChg chg="mod">
          <ac:chgData name="Ugo MANTEL" userId="2d5b7065-31bb-4181-a7f8-a73bf0c30211" providerId="ADAL" clId="{F05BB0D5-3454-45DC-8378-DA45B79D9A06}" dt="2020-10-02T13:04:37.011" v="5630" actId="790"/>
          <ac:spMkLst>
            <pc:docMk/>
            <pc:sldMk cId="631260809" sldId="7081"/>
            <ac:spMk id="17" creationId="{85D65150-60A3-4C47-88CD-107E3DDF8567}"/>
          </ac:spMkLst>
        </pc:spChg>
        <pc:spChg chg="mod">
          <ac:chgData name="Ugo MANTEL" userId="2d5b7065-31bb-4181-a7f8-a73bf0c30211" providerId="ADAL" clId="{F05BB0D5-3454-45DC-8378-DA45B79D9A06}" dt="2020-10-02T13:04:37.012" v="5631" actId="790"/>
          <ac:spMkLst>
            <pc:docMk/>
            <pc:sldMk cId="631260809" sldId="7081"/>
            <ac:spMk id="18" creationId="{FF2A3E71-F790-43F9-895F-DA4FB88A640C}"/>
          </ac:spMkLst>
        </pc:spChg>
        <pc:spChg chg="mod">
          <ac:chgData name="Ugo MANTEL" userId="2d5b7065-31bb-4181-a7f8-a73bf0c30211" providerId="ADAL" clId="{F05BB0D5-3454-45DC-8378-DA45B79D9A06}" dt="2020-10-02T13:04:37.013" v="5632" actId="790"/>
          <ac:spMkLst>
            <pc:docMk/>
            <pc:sldMk cId="631260809" sldId="7081"/>
            <ac:spMk id="19" creationId="{02B34D9D-CAB9-4FC1-90D5-197DB49855F0}"/>
          </ac:spMkLst>
        </pc:spChg>
        <pc:spChg chg="mod">
          <ac:chgData name="Ugo MANTEL" userId="2d5b7065-31bb-4181-a7f8-a73bf0c30211" providerId="ADAL" clId="{F05BB0D5-3454-45DC-8378-DA45B79D9A06}" dt="2020-10-02T13:04:37.003" v="5622" actId="790"/>
          <ac:spMkLst>
            <pc:docMk/>
            <pc:sldMk cId="631260809" sldId="7081"/>
            <ac:spMk id="20" creationId="{D7D998A4-C0A2-4344-97DF-ADA1A0B20363}"/>
          </ac:spMkLst>
        </pc:spChg>
        <pc:spChg chg="mod">
          <ac:chgData name="Ugo MANTEL" userId="2d5b7065-31bb-4181-a7f8-a73bf0c30211" providerId="ADAL" clId="{F05BB0D5-3454-45DC-8378-DA45B79D9A06}" dt="2020-10-02T13:04:37.020" v="5633" actId="790"/>
          <ac:spMkLst>
            <pc:docMk/>
            <pc:sldMk cId="631260809" sldId="7081"/>
            <ac:spMk id="21" creationId="{F639CB13-89E0-4076-8B02-146C16F07D20}"/>
          </ac:spMkLst>
        </pc:spChg>
        <pc:spChg chg="mod">
          <ac:chgData name="Ugo MANTEL" userId="2d5b7065-31bb-4181-a7f8-a73bf0c30211" providerId="ADAL" clId="{F05BB0D5-3454-45DC-8378-DA45B79D9A06}" dt="2020-10-02T13:04:37.021" v="5634" actId="790"/>
          <ac:spMkLst>
            <pc:docMk/>
            <pc:sldMk cId="631260809" sldId="7081"/>
            <ac:spMk id="23" creationId="{D037B4D8-E38E-4A63-A9F9-F205C8EB8855}"/>
          </ac:spMkLst>
        </pc:spChg>
        <pc:spChg chg="mod">
          <ac:chgData name="Ugo MANTEL" userId="2d5b7065-31bb-4181-a7f8-a73bf0c30211" providerId="ADAL" clId="{F05BB0D5-3454-45DC-8378-DA45B79D9A06}" dt="2020-10-02T13:04:37.023" v="5635" actId="790"/>
          <ac:spMkLst>
            <pc:docMk/>
            <pc:sldMk cId="631260809" sldId="7081"/>
            <ac:spMk id="25" creationId="{E26FA33F-F3AE-4A65-95BC-96B0BF1092AD}"/>
          </ac:spMkLst>
        </pc:spChg>
        <pc:spChg chg="mod">
          <ac:chgData name="Ugo MANTEL" userId="2d5b7065-31bb-4181-a7f8-a73bf0c30211" providerId="ADAL" clId="{F05BB0D5-3454-45DC-8378-DA45B79D9A06}" dt="2020-10-02T13:04:37.024" v="5636" actId="790"/>
          <ac:spMkLst>
            <pc:docMk/>
            <pc:sldMk cId="631260809" sldId="7081"/>
            <ac:spMk id="27" creationId="{252F2B65-13E9-40FD-865F-0F2555922003}"/>
          </ac:spMkLst>
        </pc:spChg>
        <pc:spChg chg="mod">
          <ac:chgData name="Ugo MANTEL" userId="2d5b7065-31bb-4181-a7f8-a73bf0c30211" providerId="ADAL" clId="{F05BB0D5-3454-45DC-8378-DA45B79D9A06}" dt="2020-10-02T13:04:37.025" v="5637" actId="790"/>
          <ac:spMkLst>
            <pc:docMk/>
            <pc:sldMk cId="631260809" sldId="7081"/>
            <ac:spMk id="29" creationId="{3C5181C2-2E85-491C-BF41-2741A5460214}"/>
          </ac:spMkLst>
        </pc:spChg>
        <pc:spChg chg="mod">
          <ac:chgData name="Ugo MANTEL" userId="2d5b7065-31bb-4181-a7f8-a73bf0c30211" providerId="ADAL" clId="{F05BB0D5-3454-45DC-8378-DA45B79D9A06}" dt="2020-10-02T13:04:37.030" v="5643" actId="790"/>
          <ac:spMkLst>
            <pc:docMk/>
            <pc:sldMk cId="631260809" sldId="7081"/>
            <ac:spMk id="35" creationId="{F1F125EF-28EF-4823-846E-700E1955F7CC}"/>
          </ac:spMkLst>
        </pc:spChg>
        <pc:spChg chg="mod">
          <ac:chgData name="Ugo MANTEL" userId="2d5b7065-31bb-4181-a7f8-a73bf0c30211" providerId="ADAL" clId="{F05BB0D5-3454-45DC-8378-DA45B79D9A06}" dt="2020-10-02T13:04:37.029" v="5642" actId="790"/>
          <ac:spMkLst>
            <pc:docMk/>
            <pc:sldMk cId="631260809" sldId="7081"/>
            <ac:spMk id="37" creationId="{ACDB6B17-385D-4BDC-B93B-8B86D75F42AF}"/>
          </ac:spMkLst>
        </pc:spChg>
        <pc:spChg chg="mod">
          <ac:chgData name="Ugo MANTEL" userId="2d5b7065-31bb-4181-a7f8-a73bf0c30211" providerId="ADAL" clId="{F05BB0D5-3454-45DC-8378-DA45B79D9A06}" dt="2020-10-02T13:04:37.028" v="5641" actId="790"/>
          <ac:spMkLst>
            <pc:docMk/>
            <pc:sldMk cId="631260809" sldId="7081"/>
            <ac:spMk id="39" creationId="{42A8625C-ABBF-4869-B32E-43FCF797709B}"/>
          </ac:spMkLst>
        </pc:spChg>
        <pc:spChg chg="mod">
          <ac:chgData name="Ugo MANTEL" userId="2d5b7065-31bb-4181-a7f8-a73bf0c30211" providerId="ADAL" clId="{F05BB0D5-3454-45DC-8378-DA45B79D9A06}" dt="2020-10-02T13:04:37.027" v="5640" actId="790"/>
          <ac:spMkLst>
            <pc:docMk/>
            <pc:sldMk cId="631260809" sldId="7081"/>
            <ac:spMk id="41" creationId="{8D1E6891-C16C-4539-B544-F6E069EFCDFC}"/>
          </ac:spMkLst>
        </pc:spChg>
        <pc:spChg chg="mod">
          <ac:chgData name="Ugo MANTEL" userId="2d5b7065-31bb-4181-a7f8-a73bf0c30211" providerId="ADAL" clId="{F05BB0D5-3454-45DC-8378-DA45B79D9A06}" dt="2020-10-02T13:04:37.027" v="5639" actId="790"/>
          <ac:spMkLst>
            <pc:docMk/>
            <pc:sldMk cId="631260809" sldId="7081"/>
            <ac:spMk id="43" creationId="{C9A91F9C-033D-4938-893D-EBF4D827C001}"/>
          </ac:spMkLst>
        </pc:spChg>
        <pc:spChg chg="mod">
          <ac:chgData name="Ugo MANTEL" userId="2d5b7065-31bb-4181-a7f8-a73bf0c30211" providerId="ADAL" clId="{F05BB0D5-3454-45DC-8378-DA45B79D9A06}" dt="2020-10-02T13:04:37.026" v="5638" actId="790"/>
          <ac:spMkLst>
            <pc:docMk/>
            <pc:sldMk cId="631260809" sldId="7081"/>
            <ac:spMk id="45" creationId="{F8498DD2-2422-4F4A-AE0C-792C4F653E7E}"/>
          </ac:spMkLst>
        </pc:spChg>
      </pc:sldChg>
      <pc:sldChg chg="modSp mod">
        <pc:chgData name="Ugo MANTEL" userId="2d5b7065-31bb-4181-a7f8-a73bf0c30211" providerId="ADAL" clId="{F05BB0D5-3454-45DC-8378-DA45B79D9A06}" dt="2020-10-02T13:04:37.179" v="5732" actId="790"/>
        <pc:sldMkLst>
          <pc:docMk/>
          <pc:sldMk cId="4019796020" sldId="7082"/>
        </pc:sldMkLst>
        <pc:spChg chg="mod">
          <ac:chgData name="Ugo MANTEL" userId="2d5b7065-31bb-4181-a7f8-a73bf0c30211" providerId="ADAL" clId="{F05BB0D5-3454-45DC-8378-DA45B79D9A06}" dt="2020-10-02T13:04:37.142" v="5716" actId="790"/>
          <ac:spMkLst>
            <pc:docMk/>
            <pc:sldMk cId="4019796020" sldId="7082"/>
            <ac:spMk id="3" creationId="{E5010DA3-233A-4C0B-9142-F7481F6191F9}"/>
          </ac:spMkLst>
        </pc:spChg>
        <pc:spChg chg="mod">
          <ac:chgData name="Ugo MANTEL" userId="2d5b7065-31bb-4181-a7f8-a73bf0c30211" providerId="ADAL" clId="{F05BB0D5-3454-45DC-8378-DA45B79D9A06}" dt="2020-10-02T13:04:37.143" v="5717" actId="790"/>
          <ac:spMkLst>
            <pc:docMk/>
            <pc:sldMk cId="4019796020" sldId="7082"/>
            <ac:spMk id="16" creationId="{C559AF43-BD4F-4D4D-B32D-CC291C49FEA2}"/>
          </ac:spMkLst>
        </pc:spChg>
        <pc:spChg chg="mod">
          <ac:chgData name="Ugo MANTEL" userId="2d5b7065-31bb-4181-a7f8-a73bf0c30211" providerId="ADAL" clId="{F05BB0D5-3454-45DC-8378-DA45B79D9A06}" dt="2020-10-02T13:04:37.144" v="5718" actId="790"/>
          <ac:spMkLst>
            <pc:docMk/>
            <pc:sldMk cId="4019796020" sldId="7082"/>
            <ac:spMk id="17" creationId="{85D65150-60A3-4C47-88CD-107E3DDF8567}"/>
          </ac:spMkLst>
        </pc:spChg>
        <pc:spChg chg="mod">
          <ac:chgData name="Ugo MANTEL" userId="2d5b7065-31bb-4181-a7f8-a73bf0c30211" providerId="ADAL" clId="{F05BB0D5-3454-45DC-8378-DA45B79D9A06}" dt="2020-10-02T13:04:37.146" v="5719" actId="790"/>
          <ac:spMkLst>
            <pc:docMk/>
            <pc:sldMk cId="4019796020" sldId="7082"/>
            <ac:spMk id="18" creationId="{FF2A3E71-F790-43F9-895F-DA4FB88A640C}"/>
          </ac:spMkLst>
        </pc:spChg>
        <pc:spChg chg="mod">
          <ac:chgData name="Ugo MANTEL" userId="2d5b7065-31bb-4181-a7f8-a73bf0c30211" providerId="ADAL" clId="{F05BB0D5-3454-45DC-8378-DA45B79D9A06}" dt="2020-10-02T13:04:37.147" v="5720" actId="790"/>
          <ac:spMkLst>
            <pc:docMk/>
            <pc:sldMk cId="4019796020" sldId="7082"/>
            <ac:spMk id="19" creationId="{02B34D9D-CAB9-4FC1-90D5-197DB49855F0}"/>
          </ac:spMkLst>
        </pc:spChg>
        <pc:spChg chg="mod">
          <ac:chgData name="Ugo MANTEL" userId="2d5b7065-31bb-4181-a7f8-a73bf0c30211" providerId="ADAL" clId="{F05BB0D5-3454-45DC-8378-DA45B79D9A06}" dt="2020-10-02T13:04:37.139" v="5715" actId="790"/>
          <ac:spMkLst>
            <pc:docMk/>
            <pc:sldMk cId="4019796020" sldId="7082"/>
            <ac:spMk id="20" creationId="{D7D998A4-C0A2-4344-97DF-ADA1A0B20363}"/>
          </ac:spMkLst>
        </pc:spChg>
        <pc:spChg chg="mod">
          <ac:chgData name="Ugo MANTEL" userId="2d5b7065-31bb-4181-a7f8-a73bf0c30211" providerId="ADAL" clId="{F05BB0D5-3454-45DC-8378-DA45B79D9A06}" dt="2020-10-02T13:04:37.155" v="5721" actId="790"/>
          <ac:spMkLst>
            <pc:docMk/>
            <pc:sldMk cId="4019796020" sldId="7082"/>
            <ac:spMk id="21" creationId="{F639CB13-89E0-4076-8B02-146C16F07D20}"/>
          </ac:spMkLst>
        </pc:spChg>
        <pc:spChg chg="mod">
          <ac:chgData name="Ugo MANTEL" userId="2d5b7065-31bb-4181-a7f8-a73bf0c30211" providerId="ADAL" clId="{F05BB0D5-3454-45DC-8378-DA45B79D9A06}" dt="2020-10-02T13:04:37.158" v="5722" actId="790"/>
          <ac:spMkLst>
            <pc:docMk/>
            <pc:sldMk cId="4019796020" sldId="7082"/>
            <ac:spMk id="23" creationId="{D037B4D8-E38E-4A63-A9F9-F205C8EB8855}"/>
          </ac:spMkLst>
        </pc:spChg>
        <pc:spChg chg="mod">
          <ac:chgData name="Ugo MANTEL" userId="2d5b7065-31bb-4181-a7f8-a73bf0c30211" providerId="ADAL" clId="{F05BB0D5-3454-45DC-8378-DA45B79D9A06}" dt="2020-10-02T13:04:37.160" v="5723" actId="790"/>
          <ac:spMkLst>
            <pc:docMk/>
            <pc:sldMk cId="4019796020" sldId="7082"/>
            <ac:spMk id="25" creationId="{E26FA33F-F3AE-4A65-95BC-96B0BF1092AD}"/>
          </ac:spMkLst>
        </pc:spChg>
        <pc:spChg chg="mod">
          <ac:chgData name="Ugo MANTEL" userId="2d5b7065-31bb-4181-a7f8-a73bf0c30211" providerId="ADAL" clId="{F05BB0D5-3454-45DC-8378-DA45B79D9A06}" dt="2020-10-02T13:04:37.160" v="5724" actId="790"/>
          <ac:spMkLst>
            <pc:docMk/>
            <pc:sldMk cId="4019796020" sldId="7082"/>
            <ac:spMk id="41" creationId="{57FAD347-7765-4AC9-AAFB-71F4E2695161}"/>
          </ac:spMkLst>
        </pc:spChg>
        <pc:spChg chg="mod">
          <ac:chgData name="Ugo MANTEL" userId="2d5b7065-31bb-4181-a7f8-a73bf0c30211" providerId="ADAL" clId="{F05BB0D5-3454-45DC-8378-DA45B79D9A06}" dt="2020-10-02T13:04:37.161" v="5725" actId="790"/>
          <ac:spMkLst>
            <pc:docMk/>
            <pc:sldMk cId="4019796020" sldId="7082"/>
            <ac:spMk id="42" creationId="{5F629B99-01EE-46E7-8762-68B039E51D99}"/>
          </ac:spMkLst>
        </pc:spChg>
        <pc:spChg chg="mod">
          <ac:chgData name="Ugo MANTEL" userId="2d5b7065-31bb-4181-a7f8-a73bf0c30211" providerId="ADAL" clId="{F05BB0D5-3454-45DC-8378-DA45B79D9A06}" dt="2020-10-02T13:04:37.162" v="5726" actId="790"/>
          <ac:spMkLst>
            <pc:docMk/>
            <pc:sldMk cId="4019796020" sldId="7082"/>
            <ac:spMk id="43" creationId="{9765D66E-D23C-4481-AEBA-6839A65505B8}"/>
          </ac:spMkLst>
        </pc:spChg>
        <pc:spChg chg="mod">
          <ac:chgData name="Ugo MANTEL" userId="2d5b7065-31bb-4181-a7f8-a73bf0c30211" providerId="ADAL" clId="{F05BB0D5-3454-45DC-8378-DA45B79D9A06}" dt="2020-10-02T13:04:37.163" v="5727" actId="790"/>
          <ac:spMkLst>
            <pc:docMk/>
            <pc:sldMk cId="4019796020" sldId="7082"/>
            <ac:spMk id="44" creationId="{9D5C9C2E-8965-4D28-8000-7B0F61B23A99}"/>
          </ac:spMkLst>
        </pc:spChg>
        <pc:spChg chg="mod">
          <ac:chgData name="Ugo MANTEL" userId="2d5b7065-31bb-4181-a7f8-a73bf0c30211" providerId="ADAL" clId="{F05BB0D5-3454-45DC-8378-DA45B79D9A06}" dt="2020-10-02T13:04:37.165" v="5728" actId="790"/>
          <ac:spMkLst>
            <pc:docMk/>
            <pc:sldMk cId="4019796020" sldId="7082"/>
            <ac:spMk id="51" creationId="{C53A25D0-CAE9-40B7-A557-D9640482982A}"/>
          </ac:spMkLst>
        </pc:spChg>
        <pc:spChg chg="mod">
          <ac:chgData name="Ugo MANTEL" userId="2d5b7065-31bb-4181-a7f8-a73bf0c30211" providerId="ADAL" clId="{F05BB0D5-3454-45DC-8378-DA45B79D9A06}" dt="2020-10-02T13:04:37.171" v="5729" actId="790"/>
          <ac:spMkLst>
            <pc:docMk/>
            <pc:sldMk cId="4019796020" sldId="7082"/>
            <ac:spMk id="61" creationId="{E0328125-A5B4-47B2-82A9-CDF6C2312BF8}"/>
          </ac:spMkLst>
        </pc:spChg>
        <pc:spChg chg="mod">
          <ac:chgData name="Ugo MANTEL" userId="2d5b7065-31bb-4181-a7f8-a73bf0c30211" providerId="ADAL" clId="{F05BB0D5-3454-45DC-8378-DA45B79D9A06}" dt="2020-10-02T13:04:37.174" v="5730" actId="790"/>
          <ac:spMkLst>
            <pc:docMk/>
            <pc:sldMk cId="4019796020" sldId="7082"/>
            <ac:spMk id="62" creationId="{B341CA65-C063-4919-9EC6-41030EBEDFB6}"/>
          </ac:spMkLst>
        </pc:spChg>
        <pc:spChg chg="mod">
          <ac:chgData name="Ugo MANTEL" userId="2d5b7065-31bb-4181-a7f8-a73bf0c30211" providerId="ADAL" clId="{F05BB0D5-3454-45DC-8378-DA45B79D9A06}" dt="2020-10-02T13:04:37.176" v="5731" actId="790"/>
          <ac:spMkLst>
            <pc:docMk/>
            <pc:sldMk cId="4019796020" sldId="7082"/>
            <ac:spMk id="63" creationId="{B02E129F-2FAE-4578-85CA-E7936F93F306}"/>
          </ac:spMkLst>
        </pc:spChg>
        <pc:spChg chg="mod">
          <ac:chgData name="Ugo MANTEL" userId="2d5b7065-31bb-4181-a7f8-a73bf0c30211" providerId="ADAL" clId="{F05BB0D5-3454-45DC-8378-DA45B79D9A06}" dt="2020-10-02T13:04:37.179" v="5732" actId="790"/>
          <ac:spMkLst>
            <pc:docMk/>
            <pc:sldMk cId="4019796020" sldId="7082"/>
            <ac:spMk id="64" creationId="{612E8BA6-9007-42F9-A6D9-61863B78288F}"/>
          </ac:spMkLst>
        </pc:spChg>
      </pc:sldChg>
      <pc:sldChg chg="modSp mod">
        <pc:chgData name="Ugo MANTEL" userId="2d5b7065-31bb-4181-a7f8-a73bf0c30211" providerId="ADAL" clId="{F05BB0D5-3454-45DC-8378-DA45B79D9A06}" dt="2020-10-02T13:04:37.137" v="5714" actId="790"/>
        <pc:sldMkLst>
          <pc:docMk/>
          <pc:sldMk cId="1230945878" sldId="7083"/>
        </pc:sldMkLst>
        <pc:spChg chg="mod">
          <ac:chgData name="Ugo MANTEL" userId="2d5b7065-31bb-4181-a7f8-a73bf0c30211" providerId="ADAL" clId="{F05BB0D5-3454-45DC-8378-DA45B79D9A06}" dt="2020-10-02T13:04:37.042" v="5648" actId="790"/>
          <ac:spMkLst>
            <pc:docMk/>
            <pc:sldMk cId="1230945878" sldId="7083"/>
            <ac:spMk id="3" creationId="{E5010DA3-233A-4C0B-9142-F7481F6191F9}"/>
          </ac:spMkLst>
        </pc:spChg>
        <pc:spChg chg="mod">
          <ac:chgData name="Ugo MANTEL" userId="2d5b7065-31bb-4181-a7f8-a73bf0c30211" providerId="ADAL" clId="{F05BB0D5-3454-45DC-8378-DA45B79D9A06}" dt="2020-10-02T13:04:37.044" v="5649" actId="790"/>
          <ac:spMkLst>
            <pc:docMk/>
            <pc:sldMk cId="1230945878" sldId="7083"/>
            <ac:spMk id="5" creationId="{29D997DC-0DA8-4DA4-89F2-4DBD2D59A052}"/>
          </ac:spMkLst>
        </pc:spChg>
        <pc:spChg chg="mod">
          <ac:chgData name="Ugo MANTEL" userId="2d5b7065-31bb-4181-a7f8-a73bf0c30211" providerId="ADAL" clId="{F05BB0D5-3454-45DC-8378-DA45B79D9A06}" dt="2020-10-02T13:04:37.045" v="5650" actId="790"/>
          <ac:spMkLst>
            <pc:docMk/>
            <pc:sldMk cId="1230945878" sldId="7083"/>
            <ac:spMk id="6" creationId="{4409088A-28BB-4727-A153-86FAD7EB84FC}"/>
          </ac:spMkLst>
        </pc:spChg>
        <pc:spChg chg="mod">
          <ac:chgData name="Ugo MANTEL" userId="2d5b7065-31bb-4181-a7f8-a73bf0c30211" providerId="ADAL" clId="{F05BB0D5-3454-45DC-8378-DA45B79D9A06}" dt="2020-10-02T13:04:37.046" v="5651" actId="790"/>
          <ac:spMkLst>
            <pc:docMk/>
            <pc:sldMk cId="1230945878" sldId="7083"/>
            <ac:spMk id="7" creationId="{0685641D-9463-4A9F-842A-5FD43CB54C3D}"/>
          </ac:spMkLst>
        </pc:spChg>
        <pc:spChg chg="mod">
          <ac:chgData name="Ugo MANTEL" userId="2d5b7065-31bb-4181-a7f8-a73bf0c30211" providerId="ADAL" clId="{F05BB0D5-3454-45DC-8378-DA45B79D9A06}" dt="2020-10-02T13:04:37.048" v="5652" actId="790"/>
          <ac:spMkLst>
            <pc:docMk/>
            <pc:sldMk cId="1230945878" sldId="7083"/>
            <ac:spMk id="8" creationId="{C057BD74-C78B-4AC3-94E8-18486BF32FD1}"/>
          </ac:spMkLst>
        </pc:spChg>
        <pc:spChg chg="mod">
          <ac:chgData name="Ugo MANTEL" userId="2d5b7065-31bb-4181-a7f8-a73bf0c30211" providerId="ADAL" clId="{F05BB0D5-3454-45DC-8378-DA45B79D9A06}" dt="2020-10-02T13:04:37.050" v="5653" actId="790"/>
          <ac:spMkLst>
            <pc:docMk/>
            <pc:sldMk cId="1230945878" sldId="7083"/>
            <ac:spMk id="13" creationId="{58290E5D-BAFF-46AF-A116-D469701951CF}"/>
          </ac:spMkLst>
        </pc:spChg>
        <pc:spChg chg="mod">
          <ac:chgData name="Ugo MANTEL" userId="2d5b7065-31bb-4181-a7f8-a73bf0c30211" providerId="ADAL" clId="{F05BB0D5-3454-45DC-8378-DA45B79D9A06}" dt="2020-10-02T13:04:37.051" v="5654" actId="790"/>
          <ac:spMkLst>
            <pc:docMk/>
            <pc:sldMk cId="1230945878" sldId="7083"/>
            <ac:spMk id="16" creationId="{C559AF43-BD4F-4D4D-B32D-CC291C49FEA2}"/>
          </ac:spMkLst>
        </pc:spChg>
        <pc:spChg chg="mod">
          <ac:chgData name="Ugo MANTEL" userId="2d5b7065-31bb-4181-a7f8-a73bf0c30211" providerId="ADAL" clId="{F05BB0D5-3454-45DC-8378-DA45B79D9A06}" dt="2020-10-02T13:04:37.052" v="5655" actId="790"/>
          <ac:spMkLst>
            <pc:docMk/>
            <pc:sldMk cId="1230945878" sldId="7083"/>
            <ac:spMk id="17" creationId="{85D65150-60A3-4C47-88CD-107E3DDF8567}"/>
          </ac:spMkLst>
        </pc:spChg>
        <pc:spChg chg="mod">
          <ac:chgData name="Ugo MANTEL" userId="2d5b7065-31bb-4181-a7f8-a73bf0c30211" providerId="ADAL" clId="{F05BB0D5-3454-45DC-8378-DA45B79D9A06}" dt="2020-10-02T13:04:37.053" v="5656" actId="790"/>
          <ac:spMkLst>
            <pc:docMk/>
            <pc:sldMk cId="1230945878" sldId="7083"/>
            <ac:spMk id="18" creationId="{FF2A3E71-F790-43F9-895F-DA4FB88A640C}"/>
          </ac:spMkLst>
        </pc:spChg>
        <pc:spChg chg="mod">
          <ac:chgData name="Ugo MANTEL" userId="2d5b7065-31bb-4181-a7f8-a73bf0c30211" providerId="ADAL" clId="{F05BB0D5-3454-45DC-8378-DA45B79D9A06}" dt="2020-10-02T13:04:37.032" v="5645" actId="790"/>
          <ac:spMkLst>
            <pc:docMk/>
            <pc:sldMk cId="1230945878" sldId="7083"/>
            <ac:spMk id="19" creationId="{02B34D9D-CAB9-4FC1-90D5-197DB49855F0}"/>
          </ac:spMkLst>
        </pc:spChg>
        <pc:spChg chg="mod">
          <ac:chgData name="Ugo MANTEL" userId="2d5b7065-31bb-4181-a7f8-a73bf0c30211" providerId="ADAL" clId="{F05BB0D5-3454-45DC-8378-DA45B79D9A06}" dt="2020-10-02T13:04:37.031" v="5644" actId="790"/>
          <ac:spMkLst>
            <pc:docMk/>
            <pc:sldMk cId="1230945878" sldId="7083"/>
            <ac:spMk id="20" creationId="{D7D998A4-C0A2-4344-97DF-ADA1A0B20363}"/>
          </ac:spMkLst>
        </pc:spChg>
        <pc:spChg chg="mod">
          <ac:chgData name="Ugo MANTEL" userId="2d5b7065-31bb-4181-a7f8-a73bf0c30211" providerId="ADAL" clId="{F05BB0D5-3454-45DC-8378-DA45B79D9A06}" dt="2020-10-02T13:04:37.061" v="5657" actId="790"/>
          <ac:spMkLst>
            <pc:docMk/>
            <pc:sldMk cId="1230945878" sldId="7083"/>
            <ac:spMk id="21" creationId="{F639CB13-89E0-4076-8B02-146C16F07D20}"/>
          </ac:spMkLst>
        </pc:spChg>
        <pc:spChg chg="mod">
          <ac:chgData name="Ugo MANTEL" userId="2d5b7065-31bb-4181-a7f8-a73bf0c30211" providerId="ADAL" clId="{F05BB0D5-3454-45DC-8378-DA45B79D9A06}" dt="2020-10-02T13:04:37.063" v="5658" actId="790"/>
          <ac:spMkLst>
            <pc:docMk/>
            <pc:sldMk cId="1230945878" sldId="7083"/>
            <ac:spMk id="23" creationId="{D037B4D8-E38E-4A63-A9F9-F205C8EB8855}"/>
          </ac:spMkLst>
        </pc:spChg>
        <pc:spChg chg="mod">
          <ac:chgData name="Ugo MANTEL" userId="2d5b7065-31bb-4181-a7f8-a73bf0c30211" providerId="ADAL" clId="{F05BB0D5-3454-45DC-8378-DA45B79D9A06}" dt="2020-10-02T13:04:37.033" v="5646" actId="790"/>
          <ac:spMkLst>
            <pc:docMk/>
            <pc:sldMk cId="1230945878" sldId="7083"/>
            <ac:spMk id="24" creationId="{CD353C21-01C9-4399-A6BB-EA89F502FFC0}"/>
          </ac:spMkLst>
        </pc:spChg>
        <pc:spChg chg="mod">
          <ac:chgData name="Ugo MANTEL" userId="2d5b7065-31bb-4181-a7f8-a73bf0c30211" providerId="ADAL" clId="{F05BB0D5-3454-45DC-8378-DA45B79D9A06}" dt="2020-10-02T13:04:37.097" v="5688" actId="790"/>
          <ac:spMkLst>
            <pc:docMk/>
            <pc:sldMk cId="1230945878" sldId="7083"/>
            <ac:spMk id="30" creationId="{96C19850-09C7-4540-88D6-8149EB9F1111}"/>
          </ac:spMkLst>
        </pc:spChg>
        <pc:spChg chg="mod">
          <ac:chgData name="Ugo MANTEL" userId="2d5b7065-31bb-4181-a7f8-a73bf0c30211" providerId="ADAL" clId="{F05BB0D5-3454-45DC-8378-DA45B79D9A06}" dt="2020-10-02T13:04:37.098" v="5689" actId="790"/>
          <ac:spMkLst>
            <pc:docMk/>
            <pc:sldMk cId="1230945878" sldId="7083"/>
            <ac:spMk id="31" creationId="{B84BF017-6243-4405-B51B-B18A953ECDA9}"/>
          </ac:spMkLst>
        </pc:spChg>
        <pc:spChg chg="mod">
          <ac:chgData name="Ugo MANTEL" userId="2d5b7065-31bb-4181-a7f8-a73bf0c30211" providerId="ADAL" clId="{F05BB0D5-3454-45DC-8378-DA45B79D9A06}" dt="2020-10-02T13:04:37.100" v="5690" actId="790"/>
          <ac:spMkLst>
            <pc:docMk/>
            <pc:sldMk cId="1230945878" sldId="7083"/>
            <ac:spMk id="32" creationId="{DA94E698-D739-4395-A890-776BCF3C6113}"/>
          </ac:spMkLst>
        </pc:spChg>
        <pc:spChg chg="mod">
          <ac:chgData name="Ugo MANTEL" userId="2d5b7065-31bb-4181-a7f8-a73bf0c30211" providerId="ADAL" clId="{F05BB0D5-3454-45DC-8378-DA45B79D9A06}" dt="2020-10-02T13:04:37.102" v="5691" actId="790"/>
          <ac:spMkLst>
            <pc:docMk/>
            <pc:sldMk cId="1230945878" sldId="7083"/>
            <ac:spMk id="33" creationId="{0357B74A-28A5-4B51-BBE4-5E83C4BF19A2}"/>
          </ac:spMkLst>
        </pc:spChg>
        <pc:spChg chg="mod">
          <ac:chgData name="Ugo MANTEL" userId="2d5b7065-31bb-4181-a7f8-a73bf0c30211" providerId="ADAL" clId="{F05BB0D5-3454-45DC-8378-DA45B79D9A06}" dt="2020-10-02T13:04:37.103" v="5692" actId="790"/>
          <ac:spMkLst>
            <pc:docMk/>
            <pc:sldMk cId="1230945878" sldId="7083"/>
            <ac:spMk id="34" creationId="{8036142C-7DB2-444C-9096-E2CA27F95128}"/>
          </ac:spMkLst>
        </pc:spChg>
        <pc:spChg chg="mod">
          <ac:chgData name="Ugo MANTEL" userId="2d5b7065-31bb-4181-a7f8-a73bf0c30211" providerId="ADAL" clId="{F05BB0D5-3454-45DC-8378-DA45B79D9A06}" dt="2020-10-02T13:04:37.105" v="5693" actId="790"/>
          <ac:spMkLst>
            <pc:docMk/>
            <pc:sldMk cId="1230945878" sldId="7083"/>
            <ac:spMk id="35" creationId="{75A6ECC9-5F19-46A2-8FD8-8091BE8C46A9}"/>
          </ac:spMkLst>
        </pc:spChg>
        <pc:spChg chg="mod">
          <ac:chgData name="Ugo MANTEL" userId="2d5b7065-31bb-4181-a7f8-a73bf0c30211" providerId="ADAL" clId="{F05BB0D5-3454-45DC-8378-DA45B79D9A06}" dt="2020-10-02T13:04:37.107" v="5694" actId="790"/>
          <ac:spMkLst>
            <pc:docMk/>
            <pc:sldMk cId="1230945878" sldId="7083"/>
            <ac:spMk id="36" creationId="{E7557A86-4993-465D-8E67-26F1B5F733DF}"/>
          </ac:spMkLst>
        </pc:spChg>
        <pc:spChg chg="mod">
          <ac:chgData name="Ugo MANTEL" userId="2d5b7065-31bb-4181-a7f8-a73bf0c30211" providerId="ADAL" clId="{F05BB0D5-3454-45DC-8378-DA45B79D9A06}" dt="2020-10-02T13:04:37.108" v="5695" actId="790"/>
          <ac:spMkLst>
            <pc:docMk/>
            <pc:sldMk cId="1230945878" sldId="7083"/>
            <ac:spMk id="37" creationId="{5C4078C9-844A-4188-A1A2-9D4D171BAF9E}"/>
          </ac:spMkLst>
        </pc:spChg>
        <pc:spChg chg="mod">
          <ac:chgData name="Ugo MANTEL" userId="2d5b7065-31bb-4181-a7f8-a73bf0c30211" providerId="ADAL" clId="{F05BB0D5-3454-45DC-8378-DA45B79D9A06}" dt="2020-10-02T13:04:37.110" v="5696" actId="790"/>
          <ac:spMkLst>
            <pc:docMk/>
            <pc:sldMk cId="1230945878" sldId="7083"/>
            <ac:spMk id="38" creationId="{19D8ED1D-FCCB-4001-A60C-C84578C56780}"/>
          </ac:spMkLst>
        </pc:spChg>
        <pc:spChg chg="mod">
          <ac:chgData name="Ugo MANTEL" userId="2d5b7065-31bb-4181-a7f8-a73bf0c30211" providerId="ADAL" clId="{F05BB0D5-3454-45DC-8378-DA45B79D9A06}" dt="2020-10-02T13:04:37.111" v="5697" actId="790"/>
          <ac:spMkLst>
            <pc:docMk/>
            <pc:sldMk cId="1230945878" sldId="7083"/>
            <ac:spMk id="39" creationId="{ED712118-645F-42F9-B526-2F899D8C93AF}"/>
          </ac:spMkLst>
        </pc:spChg>
        <pc:spChg chg="mod">
          <ac:chgData name="Ugo MANTEL" userId="2d5b7065-31bb-4181-a7f8-a73bf0c30211" providerId="ADAL" clId="{F05BB0D5-3454-45DC-8378-DA45B79D9A06}" dt="2020-10-02T13:04:37.113" v="5698" actId="790"/>
          <ac:spMkLst>
            <pc:docMk/>
            <pc:sldMk cId="1230945878" sldId="7083"/>
            <ac:spMk id="40" creationId="{CF5B4DB8-C09D-4244-A70D-1797F34FA953}"/>
          </ac:spMkLst>
        </pc:spChg>
        <pc:spChg chg="mod">
          <ac:chgData name="Ugo MANTEL" userId="2d5b7065-31bb-4181-a7f8-a73bf0c30211" providerId="ADAL" clId="{F05BB0D5-3454-45DC-8378-DA45B79D9A06}" dt="2020-10-02T13:04:37.115" v="5699" actId="790"/>
          <ac:spMkLst>
            <pc:docMk/>
            <pc:sldMk cId="1230945878" sldId="7083"/>
            <ac:spMk id="41" creationId="{2BA25D03-7734-40BA-A9A8-A4243F4C39C4}"/>
          </ac:spMkLst>
        </pc:spChg>
        <pc:spChg chg="mod">
          <ac:chgData name="Ugo MANTEL" userId="2d5b7065-31bb-4181-a7f8-a73bf0c30211" providerId="ADAL" clId="{F05BB0D5-3454-45DC-8378-DA45B79D9A06}" dt="2020-10-02T13:04:37.117" v="5700" actId="790"/>
          <ac:spMkLst>
            <pc:docMk/>
            <pc:sldMk cId="1230945878" sldId="7083"/>
            <ac:spMk id="42" creationId="{B008E371-AAA6-45B3-97AB-AEA7A6B1C03B}"/>
          </ac:spMkLst>
        </pc:spChg>
        <pc:spChg chg="mod">
          <ac:chgData name="Ugo MANTEL" userId="2d5b7065-31bb-4181-a7f8-a73bf0c30211" providerId="ADAL" clId="{F05BB0D5-3454-45DC-8378-DA45B79D9A06}" dt="2020-10-02T13:04:37.064" v="5659" actId="790"/>
          <ac:spMkLst>
            <pc:docMk/>
            <pc:sldMk cId="1230945878" sldId="7083"/>
            <ac:spMk id="43" creationId="{42F26C4F-F569-4725-98FA-1136F535CD84}"/>
          </ac:spMkLst>
        </pc:spChg>
        <pc:spChg chg="mod">
          <ac:chgData name="Ugo MANTEL" userId="2d5b7065-31bb-4181-a7f8-a73bf0c30211" providerId="ADAL" clId="{F05BB0D5-3454-45DC-8378-DA45B79D9A06}" dt="2020-10-02T13:04:37.065" v="5660" actId="790"/>
          <ac:spMkLst>
            <pc:docMk/>
            <pc:sldMk cId="1230945878" sldId="7083"/>
            <ac:spMk id="44" creationId="{7D237357-BB3E-453F-93E3-410AE319678B}"/>
          </ac:spMkLst>
        </pc:spChg>
        <pc:spChg chg="mod">
          <ac:chgData name="Ugo MANTEL" userId="2d5b7065-31bb-4181-a7f8-a73bf0c30211" providerId="ADAL" clId="{F05BB0D5-3454-45DC-8378-DA45B79D9A06}" dt="2020-10-02T13:04:37.067" v="5661" actId="790"/>
          <ac:spMkLst>
            <pc:docMk/>
            <pc:sldMk cId="1230945878" sldId="7083"/>
            <ac:spMk id="45" creationId="{0D97F9E2-644D-4A98-AAD0-549F5B74A02F}"/>
          </ac:spMkLst>
        </pc:spChg>
        <pc:spChg chg="mod">
          <ac:chgData name="Ugo MANTEL" userId="2d5b7065-31bb-4181-a7f8-a73bf0c30211" providerId="ADAL" clId="{F05BB0D5-3454-45DC-8378-DA45B79D9A06}" dt="2020-10-02T13:04:37.068" v="5662" actId="790"/>
          <ac:spMkLst>
            <pc:docMk/>
            <pc:sldMk cId="1230945878" sldId="7083"/>
            <ac:spMk id="46" creationId="{C4DC5AD8-019B-499D-88BF-CD277D9D71DB}"/>
          </ac:spMkLst>
        </pc:spChg>
        <pc:spChg chg="mod">
          <ac:chgData name="Ugo MANTEL" userId="2d5b7065-31bb-4181-a7f8-a73bf0c30211" providerId="ADAL" clId="{F05BB0D5-3454-45DC-8378-DA45B79D9A06}" dt="2020-10-02T13:04:37.069" v="5663" actId="790"/>
          <ac:spMkLst>
            <pc:docMk/>
            <pc:sldMk cId="1230945878" sldId="7083"/>
            <ac:spMk id="47" creationId="{D1398ABB-1C0C-420A-8C6F-B41B0655FF5A}"/>
          </ac:spMkLst>
        </pc:spChg>
        <pc:spChg chg="mod">
          <ac:chgData name="Ugo MANTEL" userId="2d5b7065-31bb-4181-a7f8-a73bf0c30211" providerId="ADAL" clId="{F05BB0D5-3454-45DC-8378-DA45B79D9A06}" dt="2020-10-02T13:04:37.070" v="5664" actId="790"/>
          <ac:spMkLst>
            <pc:docMk/>
            <pc:sldMk cId="1230945878" sldId="7083"/>
            <ac:spMk id="48" creationId="{B8DD0E2E-7231-499C-B9CE-D359410C4797}"/>
          </ac:spMkLst>
        </pc:spChg>
        <pc:spChg chg="mod">
          <ac:chgData name="Ugo MANTEL" userId="2d5b7065-31bb-4181-a7f8-a73bf0c30211" providerId="ADAL" clId="{F05BB0D5-3454-45DC-8378-DA45B79D9A06}" dt="2020-10-02T13:04:37.071" v="5665" actId="790"/>
          <ac:spMkLst>
            <pc:docMk/>
            <pc:sldMk cId="1230945878" sldId="7083"/>
            <ac:spMk id="49" creationId="{040A561D-5765-4F79-8074-2E1DC359DF3E}"/>
          </ac:spMkLst>
        </pc:spChg>
        <pc:spChg chg="mod">
          <ac:chgData name="Ugo MANTEL" userId="2d5b7065-31bb-4181-a7f8-a73bf0c30211" providerId="ADAL" clId="{F05BB0D5-3454-45DC-8378-DA45B79D9A06}" dt="2020-10-02T13:04:37.072" v="5666" actId="790"/>
          <ac:spMkLst>
            <pc:docMk/>
            <pc:sldMk cId="1230945878" sldId="7083"/>
            <ac:spMk id="50" creationId="{F14B5734-5166-466A-A0A3-56A3B9ED5367}"/>
          </ac:spMkLst>
        </pc:spChg>
        <pc:spChg chg="mod">
          <ac:chgData name="Ugo MANTEL" userId="2d5b7065-31bb-4181-a7f8-a73bf0c30211" providerId="ADAL" clId="{F05BB0D5-3454-45DC-8378-DA45B79D9A06}" dt="2020-10-02T13:04:37.073" v="5667" actId="790"/>
          <ac:spMkLst>
            <pc:docMk/>
            <pc:sldMk cId="1230945878" sldId="7083"/>
            <ac:spMk id="51" creationId="{9ED1A2B6-F1FC-4ECE-A00C-76387C7A7578}"/>
          </ac:spMkLst>
        </pc:spChg>
        <pc:spChg chg="mod">
          <ac:chgData name="Ugo MANTEL" userId="2d5b7065-31bb-4181-a7f8-a73bf0c30211" providerId="ADAL" clId="{F05BB0D5-3454-45DC-8378-DA45B79D9A06}" dt="2020-10-02T13:04:37.074" v="5668" actId="790"/>
          <ac:spMkLst>
            <pc:docMk/>
            <pc:sldMk cId="1230945878" sldId="7083"/>
            <ac:spMk id="52" creationId="{2A890BFB-A386-4C32-9F67-57D4755B7B01}"/>
          </ac:spMkLst>
        </pc:spChg>
        <pc:spChg chg="mod">
          <ac:chgData name="Ugo MANTEL" userId="2d5b7065-31bb-4181-a7f8-a73bf0c30211" providerId="ADAL" clId="{F05BB0D5-3454-45DC-8378-DA45B79D9A06}" dt="2020-10-02T13:04:37.075" v="5669" actId="790"/>
          <ac:spMkLst>
            <pc:docMk/>
            <pc:sldMk cId="1230945878" sldId="7083"/>
            <ac:spMk id="53" creationId="{16B407CA-22B9-4059-B64A-020D274CCB64}"/>
          </ac:spMkLst>
        </pc:spChg>
        <pc:spChg chg="mod">
          <ac:chgData name="Ugo MANTEL" userId="2d5b7065-31bb-4181-a7f8-a73bf0c30211" providerId="ADAL" clId="{F05BB0D5-3454-45DC-8378-DA45B79D9A06}" dt="2020-10-02T13:04:37.076" v="5670" actId="790"/>
          <ac:spMkLst>
            <pc:docMk/>
            <pc:sldMk cId="1230945878" sldId="7083"/>
            <ac:spMk id="54" creationId="{67298A90-269E-48F2-AED2-AD501B184835}"/>
          </ac:spMkLst>
        </pc:spChg>
        <pc:spChg chg="mod">
          <ac:chgData name="Ugo MANTEL" userId="2d5b7065-31bb-4181-a7f8-a73bf0c30211" providerId="ADAL" clId="{F05BB0D5-3454-45DC-8378-DA45B79D9A06}" dt="2020-10-02T13:04:37.077" v="5671" actId="790"/>
          <ac:spMkLst>
            <pc:docMk/>
            <pc:sldMk cId="1230945878" sldId="7083"/>
            <ac:spMk id="55" creationId="{C257F22A-ED6A-40E7-85A0-5A65710DD0C0}"/>
          </ac:spMkLst>
        </pc:spChg>
        <pc:spChg chg="mod">
          <ac:chgData name="Ugo MANTEL" userId="2d5b7065-31bb-4181-a7f8-a73bf0c30211" providerId="ADAL" clId="{F05BB0D5-3454-45DC-8378-DA45B79D9A06}" dt="2020-10-02T13:04:37.079" v="5672" actId="790"/>
          <ac:spMkLst>
            <pc:docMk/>
            <pc:sldMk cId="1230945878" sldId="7083"/>
            <ac:spMk id="56" creationId="{7037BADD-D00E-4859-875D-2BA05B6B8888}"/>
          </ac:spMkLst>
        </pc:spChg>
        <pc:spChg chg="mod">
          <ac:chgData name="Ugo MANTEL" userId="2d5b7065-31bb-4181-a7f8-a73bf0c30211" providerId="ADAL" clId="{F05BB0D5-3454-45DC-8378-DA45B79D9A06}" dt="2020-10-02T13:04:37.080" v="5673" actId="790"/>
          <ac:spMkLst>
            <pc:docMk/>
            <pc:sldMk cId="1230945878" sldId="7083"/>
            <ac:spMk id="57" creationId="{F777F927-F172-44F7-80A8-701252FFA1ED}"/>
          </ac:spMkLst>
        </pc:spChg>
        <pc:spChg chg="mod">
          <ac:chgData name="Ugo MANTEL" userId="2d5b7065-31bb-4181-a7f8-a73bf0c30211" providerId="ADAL" clId="{F05BB0D5-3454-45DC-8378-DA45B79D9A06}" dt="2020-10-02T13:04:37.082" v="5674" actId="790"/>
          <ac:spMkLst>
            <pc:docMk/>
            <pc:sldMk cId="1230945878" sldId="7083"/>
            <ac:spMk id="58" creationId="{2BED5A5C-E47A-4173-B510-1D70DC0D5093}"/>
          </ac:spMkLst>
        </pc:spChg>
        <pc:spChg chg="mod">
          <ac:chgData name="Ugo MANTEL" userId="2d5b7065-31bb-4181-a7f8-a73bf0c30211" providerId="ADAL" clId="{F05BB0D5-3454-45DC-8378-DA45B79D9A06}" dt="2020-10-02T13:04:37.083" v="5675" actId="790"/>
          <ac:spMkLst>
            <pc:docMk/>
            <pc:sldMk cId="1230945878" sldId="7083"/>
            <ac:spMk id="59" creationId="{8CE197A8-44E2-438D-B96B-60B97A4A4B9A}"/>
          </ac:spMkLst>
        </pc:spChg>
        <pc:spChg chg="mod">
          <ac:chgData name="Ugo MANTEL" userId="2d5b7065-31bb-4181-a7f8-a73bf0c30211" providerId="ADAL" clId="{F05BB0D5-3454-45DC-8378-DA45B79D9A06}" dt="2020-10-02T13:04:37.084" v="5676" actId="790"/>
          <ac:spMkLst>
            <pc:docMk/>
            <pc:sldMk cId="1230945878" sldId="7083"/>
            <ac:spMk id="60" creationId="{0E2DC8F2-D4D7-498F-9594-F6A17837E2F2}"/>
          </ac:spMkLst>
        </pc:spChg>
        <pc:spChg chg="mod">
          <ac:chgData name="Ugo MANTEL" userId="2d5b7065-31bb-4181-a7f8-a73bf0c30211" providerId="ADAL" clId="{F05BB0D5-3454-45DC-8378-DA45B79D9A06}" dt="2020-10-02T13:04:37.085" v="5677" actId="790"/>
          <ac:spMkLst>
            <pc:docMk/>
            <pc:sldMk cId="1230945878" sldId="7083"/>
            <ac:spMk id="61" creationId="{4BC89956-9F24-4ED8-98D9-720B63A70BF8}"/>
          </ac:spMkLst>
        </pc:spChg>
        <pc:spChg chg="mod">
          <ac:chgData name="Ugo MANTEL" userId="2d5b7065-31bb-4181-a7f8-a73bf0c30211" providerId="ADAL" clId="{F05BB0D5-3454-45DC-8378-DA45B79D9A06}" dt="2020-10-02T13:04:37.086" v="5678" actId="790"/>
          <ac:spMkLst>
            <pc:docMk/>
            <pc:sldMk cId="1230945878" sldId="7083"/>
            <ac:spMk id="62" creationId="{EB50DCD6-A4F8-4209-B5CE-BF21AFB4BEC5}"/>
          </ac:spMkLst>
        </pc:spChg>
        <pc:spChg chg="mod">
          <ac:chgData name="Ugo MANTEL" userId="2d5b7065-31bb-4181-a7f8-a73bf0c30211" providerId="ADAL" clId="{F05BB0D5-3454-45DC-8378-DA45B79D9A06}" dt="2020-10-02T13:04:37.087" v="5679" actId="790"/>
          <ac:spMkLst>
            <pc:docMk/>
            <pc:sldMk cId="1230945878" sldId="7083"/>
            <ac:spMk id="63" creationId="{C4052FDC-E7D2-4FDC-8664-CE27059A4CB1}"/>
          </ac:spMkLst>
        </pc:spChg>
        <pc:spChg chg="mod">
          <ac:chgData name="Ugo MANTEL" userId="2d5b7065-31bb-4181-a7f8-a73bf0c30211" providerId="ADAL" clId="{F05BB0D5-3454-45DC-8378-DA45B79D9A06}" dt="2020-10-02T13:04:37.088" v="5680" actId="790"/>
          <ac:spMkLst>
            <pc:docMk/>
            <pc:sldMk cId="1230945878" sldId="7083"/>
            <ac:spMk id="64" creationId="{5245A553-8DFE-4646-81B3-C57C79965EEF}"/>
          </ac:spMkLst>
        </pc:spChg>
        <pc:spChg chg="mod">
          <ac:chgData name="Ugo MANTEL" userId="2d5b7065-31bb-4181-a7f8-a73bf0c30211" providerId="ADAL" clId="{F05BB0D5-3454-45DC-8378-DA45B79D9A06}" dt="2020-10-02T13:04:37.089" v="5681" actId="790"/>
          <ac:spMkLst>
            <pc:docMk/>
            <pc:sldMk cId="1230945878" sldId="7083"/>
            <ac:spMk id="65" creationId="{9BD77EC5-A002-4677-96C3-F99B3898D8E4}"/>
          </ac:spMkLst>
        </pc:spChg>
        <pc:spChg chg="mod">
          <ac:chgData name="Ugo MANTEL" userId="2d5b7065-31bb-4181-a7f8-a73bf0c30211" providerId="ADAL" clId="{F05BB0D5-3454-45DC-8378-DA45B79D9A06}" dt="2020-10-02T13:04:37.090" v="5682" actId="790"/>
          <ac:spMkLst>
            <pc:docMk/>
            <pc:sldMk cId="1230945878" sldId="7083"/>
            <ac:spMk id="66" creationId="{B04503B2-E0CF-4769-9786-9D12EE93CEBE}"/>
          </ac:spMkLst>
        </pc:spChg>
        <pc:spChg chg="mod">
          <ac:chgData name="Ugo MANTEL" userId="2d5b7065-31bb-4181-a7f8-a73bf0c30211" providerId="ADAL" clId="{F05BB0D5-3454-45DC-8378-DA45B79D9A06}" dt="2020-10-02T13:04:37.091" v="5683" actId="790"/>
          <ac:spMkLst>
            <pc:docMk/>
            <pc:sldMk cId="1230945878" sldId="7083"/>
            <ac:spMk id="67" creationId="{D1D29072-DEB6-44B7-8C9D-76A4C57F499C}"/>
          </ac:spMkLst>
        </pc:spChg>
        <pc:spChg chg="mod">
          <ac:chgData name="Ugo MANTEL" userId="2d5b7065-31bb-4181-a7f8-a73bf0c30211" providerId="ADAL" clId="{F05BB0D5-3454-45DC-8378-DA45B79D9A06}" dt="2020-10-02T13:04:37.092" v="5684" actId="790"/>
          <ac:spMkLst>
            <pc:docMk/>
            <pc:sldMk cId="1230945878" sldId="7083"/>
            <ac:spMk id="68" creationId="{92E221CC-69D8-4BEB-A6C8-A8BBEA3B1C33}"/>
          </ac:spMkLst>
        </pc:spChg>
        <pc:spChg chg="mod">
          <ac:chgData name="Ugo MANTEL" userId="2d5b7065-31bb-4181-a7f8-a73bf0c30211" providerId="ADAL" clId="{F05BB0D5-3454-45DC-8378-DA45B79D9A06}" dt="2020-10-02T13:04:37.093" v="5685" actId="790"/>
          <ac:spMkLst>
            <pc:docMk/>
            <pc:sldMk cId="1230945878" sldId="7083"/>
            <ac:spMk id="69" creationId="{EECEB342-53A0-4873-BF21-ED0182F74FDE}"/>
          </ac:spMkLst>
        </pc:spChg>
        <pc:spChg chg="mod">
          <ac:chgData name="Ugo MANTEL" userId="2d5b7065-31bb-4181-a7f8-a73bf0c30211" providerId="ADAL" clId="{F05BB0D5-3454-45DC-8378-DA45B79D9A06}" dt="2020-10-02T13:04:37.094" v="5686" actId="790"/>
          <ac:spMkLst>
            <pc:docMk/>
            <pc:sldMk cId="1230945878" sldId="7083"/>
            <ac:spMk id="70" creationId="{4F74C6BA-B8EE-467A-85B8-B4614F8D7237}"/>
          </ac:spMkLst>
        </pc:spChg>
        <pc:spChg chg="mod">
          <ac:chgData name="Ugo MANTEL" userId="2d5b7065-31bb-4181-a7f8-a73bf0c30211" providerId="ADAL" clId="{F05BB0D5-3454-45DC-8378-DA45B79D9A06}" dt="2020-10-02T13:04:37.095" v="5687" actId="790"/>
          <ac:spMkLst>
            <pc:docMk/>
            <pc:sldMk cId="1230945878" sldId="7083"/>
            <ac:spMk id="71" creationId="{FFD6B83A-2BEE-4BF7-AFCE-E6EE9C188FC2}"/>
          </ac:spMkLst>
        </pc:spChg>
        <pc:spChg chg="mod">
          <ac:chgData name="Ugo MANTEL" userId="2d5b7065-31bb-4181-a7f8-a73bf0c30211" providerId="ADAL" clId="{F05BB0D5-3454-45DC-8378-DA45B79D9A06}" dt="2020-10-02T13:04:37.118" v="5701" actId="790"/>
          <ac:spMkLst>
            <pc:docMk/>
            <pc:sldMk cId="1230945878" sldId="7083"/>
            <ac:spMk id="72" creationId="{791C3CD1-81B9-4CAF-9784-7C8FA285B71E}"/>
          </ac:spMkLst>
        </pc:spChg>
        <pc:spChg chg="mod">
          <ac:chgData name="Ugo MANTEL" userId="2d5b7065-31bb-4181-a7f8-a73bf0c30211" providerId="ADAL" clId="{F05BB0D5-3454-45DC-8378-DA45B79D9A06}" dt="2020-10-02T13:04:37.119" v="5702" actId="790"/>
          <ac:spMkLst>
            <pc:docMk/>
            <pc:sldMk cId="1230945878" sldId="7083"/>
            <ac:spMk id="73" creationId="{3CEF53FF-5CF5-4210-A323-FBEA44F8D5B9}"/>
          </ac:spMkLst>
        </pc:spChg>
        <pc:spChg chg="mod">
          <ac:chgData name="Ugo MANTEL" userId="2d5b7065-31bb-4181-a7f8-a73bf0c30211" providerId="ADAL" clId="{F05BB0D5-3454-45DC-8378-DA45B79D9A06}" dt="2020-10-02T13:04:37.120" v="5703" actId="790"/>
          <ac:spMkLst>
            <pc:docMk/>
            <pc:sldMk cId="1230945878" sldId="7083"/>
            <ac:spMk id="74" creationId="{5E8D12D3-7235-4FEA-BAF9-E45A6851492D}"/>
          </ac:spMkLst>
        </pc:spChg>
        <pc:spChg chg="mod">
          <ac:chgData name="Ugo MANTEL" userId="2d5b7065-31bb-4181-a7f8-a73bf0c30211" providerId="ADAL" clId="{F05BB0D5-3454-45DC-8378-DA45B79D9A06}" dt="2020-10-02T13:04:37.120" v="5704" actId="790"/>
          <ac:spMkLst>
            <pc:docMk/>
            <pc:sldMk cId="1230945878" sldId="7083"/>
            <ac:spMk id="75" creationId="{A5B4E975-533B-4AB1-9B68-BBF7641DE415}"/>
          </ac:spMkLst>
        </pc:spChg>
        <pc:spChg chg="mod">
          <ac:chgData name="Ugo MANTEL" userId="2d5b7065-31bb-4181-a7f8-a73bf0c30211" providerId="ADAL" clId="{F05BB0D5-3454-45DC-8378-DA45B79D9A06}" dt="2020-10-02T13:04:37.121" v="5705" actId="790"/>
          <ac:spMkLst>
            <pc:docMk/>
            <pc:sldMk cId="1230945878" sldId="7083"/>
            <ac:spMk id="76" creationId="{FD814BBF-3C89-4A66-8539-AD2B96B88B20}"/>
          </ac:spMkLst>
        </pc:spChg>
        <pc:spChg chg="mod">
          <ac:chgData name="Ugo MANTEL" userId="2d5b7065-31bb-4181-a7f8-a73bf0c30211" providerId="ADAL" clId="{F05BB0D5-3454-45DC-8378-DA45B79D9A06}" dt="2020-10-02T13:04:37.124" v="5706" actId="790"/>
          <ac:spMkLst>
            <pc:docMk/>
            <pc:sldMk cId="1230945878" sldId="7083"/>
            <ac:spMk id="77" creationId="{D1124E76-A39E-4797-9946-74BA20922E73}"/>
          </ac:spMkLst>
        </pc:spChg>
        <pc:spChg chg="mod">
          <ac:chgData name="Ugo MANTEL" userId="2d5b7065-31bb-4181-a7f8-a73bf0c30211" providerId="ADAL" clId="{F05BB0D5-3454-45DC-8378-DA45B79D9A06}" dt="2020-10-02T13:04:37.125" v="5707" actId="790"/>
          <ac:spMkLst>
            <pc:docMk/>
            <pc:sldMk cId="1230945878" sldId="7083"/>
            <ac:spMk id="78" creationId="{1B32F6D8-A808-4F9F-B36A-787398BC37A3}"/>
          </ac:spMkLst>
        </pc:spChg>
        <pc:spChg chg="mod">
          <ac:chgData name="Ugo MANTEL" userId="2d5b7065-31bb-4181-a7f8-a73bf0c30211" providerId="ADAL" clId="{F05BB0D5-3454-45DC-8378-DA45B79D9A06}" dt="2020-10-02T13:04:37.126" v="5708" actId="790"/>
          <ac:spMkLst>
            <pc:docMk/>
            <pc:sldMk cId="1230945878" sldId="7083"/>
            <ac:spMk id="79" creationId="{C5E3EEFC-B707-464F-A6A2-1B35EF12EB8A}"/>
          </ac:spMkLst>
        </pc:spChg>
        <pc:spChg chg="mod">
          <ac:chgData name="Ugo MANTEL" userId="2d5b7065-31bb-4181-a7f8-a73bf0c30211" providerId="ADAL" clId="{F05BB0D5-3454-45DC-8378-DA45B79D9A06}" dt="2020-10-02T13:04:37.128" v="5709" actId="790"/>
          <ac:spMkLst>
            <pc:docMk/>
            <pc:sldMk cId="1230945878" sldId="7083"/>
            <ac:spMk id="80" creationId="{B38F950F-5523-4EB7-8EFB-091FB47F6A42}"/>
          </ac:spMkLst>
        </pc:spChg>
        <pc:spChg chg="mod">
          <ac:chgData name="Ugo MANTEL" userId="2d5b7065-31bb-4181-a7f8-a73bf0c30211" providerId="ADAL" clId="{F05BB0D5-3454-45DC-8378-DA45B79D9A06}" dt="2020-10-02T13:04:37.035" v="5647" actId="790"/>
          <ac:spMkLst>
            <pc:docMk/>
            <pc:sldMk cId="1230945878" sldId="7083"/>
            <ac:spMk id="90" creationId="{BA66F366-1AC0-43F9-AA56-8D28633680F4}"/>
          </ac:spMkLst>
        </pc:spChg>
        <pc:spChg chg="mod">
          <ac:chgData name="Ugo MANTEL" userId="2d5b7065-31bb-4181-a7f8-a73bf0c30211" providerId="ADAL" clId="{F05BB0D5-3454-45DC-8378-DA45B79D9A06}" dt="2020-10-02T13:04:37.129" v="5710" actId="790"/>
          <ac:spMkLst>
            <pc:docMk/>
            <pc:sldMk cId="1230945878" sldId="7083"/>
            <ac:spMk id="100" creationId="{B3BB24B2-1BCA-40A6-ABAF-7A5F7B3F7D65}"/>
          </ac:spMkLst>
        </pc:spChg>
        <pc:spChg chg="mod">
          <ac:chgData name="Ugo MANTEL" userId="2d5b7065-31bb-4181-a7f8-a73bf0c30211" providerId="ADAL" clId="{F05BB0D5-3454-45DC-8378-DA45B79D9A06}" dt="2020-10-02T13:04:37.133" v="5712" actId="790"/>
          <ac:spMkLst>
            <pc:docMk/>
            <pc:sldMk cId="1230945878" sldId="7083"/>
            <ac:spMk id="103" creationId="{C8CB2C83-1122-4CDF-8297-06CDDDBDB92A}"/>
          </ac:spMkLst>
        </pc:spChg>
        <pc:spChg chg="mod">
          <ac:chgData name="Ugo MANTEL" userId="2d5b7065-31bb-4181-a7f8-a73bf0c30211" providerId="ADAL" clId="{F05BB0D5-3454-45DC-8378-DA45B79D9A06}" dt="2020-10-02T13:04:37.131" v="5711" actId="790"/>
          <ac:spMkLst>
            <pc:docMk/>
            <pc:sldMk cId="1230945878" sldId="7083"/>
            <ac:spMk id="104" creationId="{5249DF09-DA80-4D06-87AC-ADB7E05E637F}"/>
          </ac:spMkLst>
        </pc:spChg>
        <pc:spChg chg="mod">
          <ac:chgData name="Ugo MANTEL" userId="2d5b7065-31bb-4181-a7f8-a73bf0c30211" providerId="ADAL" clId="{F05BB0D5-3454-45DC-8378-DA45B79D9A06}" dt="2020-10-02T13:04:37.135" v="5713" actId="790"/>
          <ac:spMkLst>
            <pc:docMk/>
            <pc:sldMk cId="1230945878" sldId="7083"/>
            <ac:spMk id="106" creationId="{5BC541B6-7A65-4287-B7CC-CEF207455FB1}"/>
          </ac:spMkLst>
        </pc:spChg>
        <pc:spChg chg="mod">
          <ac:chgData name="Ugo MANTEL" userId="2d5b7065-31bb-4181-a7f8-a73bf0c30211" providerId="ADAL" clId="{F05BB0D5-3454-45DC-8378-DA45B79D9A06}" dt="2020-10-02T13:04:37.137" v="5714" actId="790"/>
          <ac:spMkLst>
            <pc:docMk/>
            <pc:sldMk cId="1230945878" sldId="7083"/>
            <ac:spMk id="116" creationId="{918B8A2E-41EF-4FE3-B5A3-48B845C8533B}"/>
          </ac:spMkLst>
        </pc:spChg>
      </pc:sldChg>
      <pc:sldChg chg="modSp mod">
        <pc:chgData name="Ugo MANTEL" userId="2d5b7065-31bb-4181-a7f8-a73bf0c30211" providerId="ADAL" clId="{F05BB0D5-3454-45DC-8378-DA45B79D9A06}" dt="2020-10-02T13:04:37.259" v="5760" actId="790"/>
        <pc:sldMkLst>
          <pc:docMk/>
          <pc:sldMk cId="3417722506" sldId="7084"/>
        </pc:sldMkLst>
        <pc:spChg chg="mod">
          <ac:chgData name="Ugo MANTEL" userId="2d5b7065-31bb-4181-a7f8-a73bf0c30211" providerId="ADAL" clId="{F05BB0D5-3454-45DC-8378-DA45B79D9A06}" dt="2020-10-02T13:04:37.186" v="5734" actId="790"/>
          <ac:spMkLst>
            <pc:docMk/>
            <pc:sldMk cId="3417722506" sldId="7084"/>
            <ac:spMk id="3" creationId="{E5010DA3-233A-4C0B-9142-F7481F6191F9}"/>
          </ac:spMkLst>
        </pc:spChg>
        <pc:spChg chg="mod">
          <ac:chgData name="Ugo MANTEL" userId="2d5b7065-31bb-4181-a7f8-a73bf0c30211" providerId="ADAL" clId="{F05BB0D5-3454-45DC-8378-DA45B79D9A06}" dt="2020-10-02T13:04:37.188" v="5735" actId="790"/>
          <ac:spMkLst>
            <pc:docMk/>
            <pc:sldMk cId="3417722506" sldId="7084"/>
            <ac:spMk id="5" creationId="{29D997DC-0DA8-4DA4-89F2-4DBD2D59A052}"/>
          </ac:spMkLst>
        </pc:spChg>
        <pc:spChg chg="mod">
          <ac:chgData name="Ugo MANTEL" userId="2d5b7065-31bb-4181-a7f8-a73bf0c30211" providerId="ADAL" clId="{F05BB0D5-3454-45DC-8378-DA45B79D9A06}" dt="2020-10-02T13:04:37.189" v="5736" actId="790"/>
          <ac:spMkLst>
            <pc:docMk/>
            <pc:sldMk cId="3417722506" sldId="7084"/>
            <ac:spMk id="6" creationId="{4409088A-28BB-4727-A153-86FAD7EB84FC}"/>
          </ac:spMkLst>
        </pc:spChg>
        <pc:spChg chg="mod">
          <ac:chgData name="Ugo MANTEL" userId="2d5b7065-31bb-4181-a7f8-a73bf0c30211" providerId="ADAL" clId="{F05BB0D5-3454-45DC-8378-DA45B79D9A06}" dt="2020-10-02T13:04:37.190" v="5737" actId="790"/>
          <ac:spMkLst>
            <pc:docMk/>
            <pc:sldMk cId="3417722506" sldId="7084"/>
            <ac:spMk id="7" creationId="{0685641D-9463-4A9F-842A-5FD43CB54C3D}"/>
          </ac:spMkLst>
        </pc:spChg>
        <pc:spChg chg="mod">
          <ac:chgData name="Ugo MANTEL" userId="2d5b7065-31bb-4181-a7f8-a73bf0c30211" providerId="ADAL" clId="{F05BB0D5-3454-45DC-8378-DA45B79D9A06}" dt="2020-10-02T13:04:37.192" v="5738" actId="790"/>
          <ac:spMkLst>
            <pc:docMk/>
            <pc:sldMk cId="3417722506" sldId="7084"/>
            <ac:spMk id="8" creationId="{C057BD74-C78B-4AC3-94E8-18486BF32FD1}"/>
          </ac:spMkLst>
        </pc:spChg>
        <pc:spChg chg="mod">
          <ac:chgData name="Ugo MANTEL" userId="2d5b7065-31bb-4181-a7f8-a73bf0c30211" providerId="ADAL" clId="{F05BB0D5-3454-45DC-8378-DA45B79D9A06}" dt="2020-10-02T13:04:37.193" v="5739" actId="790"/>
          <ac:spMkLst>
            <pc:docMk/>
            <pc:sldMk cId="3417722506" sldId="7084"/>
            <ac:spMk id="13" creationId="{58290E5D-BAFF-46AF-A116-D469701951CF}"/>
          </ac:spMkLst>
        </pc:spChg>
        <pc:spChg chg="mod">
          <ac:chgData name="Ugo MANTEL" userId="2d5b7065-31bb-4181-a7f8-a73bf0c30211" providerId="ADAL" clId="{F05BB0D5-3454-45DC-8378-DA45B79D9A06}" dt="2020-10-02T13:04:37.194" v="5740" actId="790"/>
          <ac:spMkLst>
            <pc:docMk/>
            <pc:sldMk cId="3417722506" sldId="7084"/>
            <ac:spMk id="16" creationId="{C559AF43-BD4F-4D4D-B32D-CC291C49FEA2}"/>
          </ac:spMkLst>
        </pc:spChg>
        <pc:spChg chg="mod">
          <ac:chgData name="Ugo MANTEL" userId="2d5b7065-31bb-4181-a7f8-a73bf0c30211" providerId="ADAL" clId="{F05BB0D5-3454-45DC-8378-DA45B79D9A06}" dt="2020-10-02T13:04:37.195" v="5741" actId="790"/>
          <ac:spMkLst>
            <pc:docMk/>
            <pc:sldMk cId="3417722506" sldId="7084"/>
            <ac:spMk id="17" creationId="{85D65150-60A3-4C47-88CD-107E3DDF8567}"/>
          </ac:spMkLst>
        </pc:spChg>
        <pc:spChg chg="mod">
          <ac:chgData name="Ugo MANTEL" userId="2d5b7065-31bb-4181-a7f8-a73bf0c30211" providerId="ADAL" clId="{F05BB0D5-3454-45DC-8378-DA45B79D9A06}" dt="2020-10-02T13:04:37.196" v="5742" actId="790"/>
          <ac:spMkLst>
            <pc:docMk/>
            <pc:sldMk cId="3417722506" sldId="7084"/>
            <ac:spMk id="18" creationId="{FF2A3E71-F790-43F9-895F-DA4FB88A640C}"/>
          </ac:spMkLst>
        </pc:spChg>
        <pc:spChg chg="mod">
          <ac:chgData name="Ugo MANTEL" userId="2d5b7065-31bb-4181-a7f8-a73bf0c30211" providerId="ADAL" clId="{F05BB0D5-3454-45DC-8378-DA45B79D9A06}" dt="2020-10-02T13:04:37.182" v="5733" actId="790"/>
          <ac:spMkLst>
            <pc:docMk/>
            <pc:sldMk cId="3417722506" sldId="7084"/>
            <ac:spMk id="20" creationId="{D7D998A4-C0A2-4344-97DF-ADA1A0B20363}"/>
          </ac:spMkLst>
        </pc:spChg>
        <pc:spChg chg="mod">
          <ac:chgData name="Ugo MANTEL" userId="2d5b7065-31bb-4181-a7f8-a73bf0c30211" providerId="ADAL" clId="{F05BB0D5-3454-45DC-8378-DA45B79D9A06}" dt="2020-10-02T13:04:37.259" v="5760" actId="790"/>
          <ac:spMkLst>
            <pc:docMk/>
            <pc:sldMk cId="3417722506" sldId="7084"/>
            <ac:spMk id="95" creationId="{99674C1F-DA9B-4456-B8C5-93B9907C5D3B}"/>
          </ac:spMkLst>
        </pc:spChg>
        <pc:spChg chg="mod">
          <ac:chgData name="Ugo MANTEL" userId="2d5b7065-31bb-4181-a7f8-a73bf0c30211" providerId="ADAL" clId="{F05BB0D5-3454-45DC-8378-DA45B79D9A06}" dt="2020-10-02T13:04:37.203" v="5747" actId="790"/>
          <ac:spMkLst>
            <pc:docMk/>
            <pc:sldMk cId="3417722506" sldId="7084"/>
            <ac:spMk id="96" creationId="{986D7CEF-3389-4EC1-A103-777BB0FC97ED}"/>
          </ac:spMkLst>
        </pc:spChg>
        <pc:spChg chg="mod">
          <ac:chgData name="Ugo MANTEL" userId="2d5b7065-31bb-4181-a7f8-a73bf0c30211" providerId="ADAL" clId="{F05BB0D5-3454-45DC-8378-DA45B79D9A06}" dt="2020-10-02T13:04:37.208" v="5748" actId="790"/>
          <ac:spMkLst>
            <pc:docMk/>
            <pc:sldMk cId="3417722506" sldId="7084"/>
            <ac:spMk id="97" creationId="{68D5AEF2-3B8F-4C68-AE2C-DF55AFFCE731}"/>
          </ac:spMkLst>
        </pc:spChg>
        <pc:spChg chg="mod">
          <ac:chgData name="Ugo MANTEL" userId="2d5b7065-31bb-4181-a7f8-a73bf0c30211" providerId="ADAL" clId="{F05BB0D5-3454-45DC-8378-DA45B79D9A06}" dt="2020-10-02T13:04:37.210" v="5749" actId="790"/>
          <ac:spMkLst>
            <pc:docMk/>
            <pc:sldMk cId="3417722506" sldId="7084"/>
            <ac:spMk id="99" creationId="{71A617CA-8A32-4AA4-AA81-37BDA98FF6BD}"/>
          </ac:spMkLst>
        </pc:spChg>
        <pc:spChg chg="mod">
          <ac:chgData name="Ugo MANTEL" userId="2d5b7065-31bb-4181-a7f8-a73bf0c30211" providerId="ADAL" clId="{F05BB0D5-3454-45DC-8378-DA45B79D9A06}" dt="2020-10-02T13:04:37.212" v="5750" actId="790"/>
          <ac:spMkLst>
            <pc:docMk/>
            <pc:sldMk cId="3417722506" sldId="7084"/>
            <ac:spMk id="100" creationId="{30F4EEA7-E5FC-4CBC-B703-9B3100778458}"/>
          </ac:spMkLst>
        </pc:spChg>
        <pc:spChg chg="mod">
          <ac:chgData name="Ugo MANTEL" userId="2d5b7065-31bb-4181-a7f8-a73bf0c30211" providerId="ADAL" clId="{F05BB0D5-3454-45DC-8378-DA45B79D9A06}" dt="2020-10-02T13:04:37.213" v="5751" actId="790"/>
          <ac:spMkLst>
            <pc:docMk/>
            <pc:sldMk cId="3417722506" sldId="7084"/>
            <ac:spMk id="101" creationId="{0AA09C67-16AE-4EA0-9BBF-7DF54EA56637}"/>
          </ac:spMkLst>
        </pc:spChg>
        <pc:spChg chg="mod">
          <ac:chgData name="Ugo MANTEL" userId="2d5b7065-31bb-4181-a7f8-a73bf0c30211" providerId="ADAL" clId="{F05BB0D5-3454-45DC-8378-DA45B79D9A06}" dt="2020-10-02T13:04:37.215" v="5752" actId="790"/>
          <ac:spMkLst>
            <pc:docMk/>
            <pc:sldMk cId="3417722506" sldId="7084"/>
            <ac:spMk id="102" creationId="{34D6A713-6BBF-4CF3-A09F-1A588BB762D8}"/>
          </ac:spMkLst>
        </pc:spChg>
        <pc:spChg chg="mod">
          <ac:chgData name="Ugo MANTEL" userId="2d5b7065-31bb-4181-a7f8-a73bf0c30211" providerId="ADAL" clId="{F05BB0D5-3454-45DC-8378-DA45B79D9A06}" dt="2020-10-02T13:04:37.216" v="5753" actId="790"/>
          <ac:spMkLst>
            <pc:docMk/>
            <pc:sldMk cId="3417722506" sldId="7084"/>
            <ac:spMk id="103" creationId="{0003CD2D-2D46-4917-882C-E758A007C9D8}"/>
          </ac:spMkLst>
        </pc:spChg>
        <pc:spChg chg="mod">
          <ac:chgData name="Ugo MANTEL" userId="2d5b7065-31bb-4181-a7f8-a73bf0c30211" providerId="ADAL" clId="{F05BB0D5-3454-45DC-8378-DA45B79D9A06}" dt="2020-10-02T13:04:37.218" v="5754" actId="790"/>
          <ac:spMkLst>
            <pc:docMk/>
            <pc:sldMk cId="3417722506" sldId="7084"/>
            <ac:spMk id="104" creationId="{2BF4F422-5695-4F9D-9EDA-1E5EC85A3312}"/>
          </ac:spMkLst>
        </pc:spChg>
        <pc:spChg chg="mod">
          <ac:chgData name="Ugo MANTEL" userId="2d5b7065-31bb-4181-a7f8-a73bf0c30211" providerId="ADAL" clId="{F05BB0D5-3454-45DC-8378-DA45B79D9A06}" dt="2020-10-02T13:04:37.220" v="5755" actId="790"/>
          <ac:spMkLst>
            <pc:docMk/>
            <pc:sldMk cId="3417722506" sldId="7084"/>
            <ac:spMk id="105" creationId="{DC903008-8519-43D0-AE9F-DC8EFC5DCBE3}"/>
          </ac:spMkLst>
        </pc:spChg>
        <pc:spChg chg="mod">
          <ac:chgData name="Ugo MANTEL" userId="2d5b7065-31bb-4181-a7f8-a73bf0c30211" providerId="ADAL" clId="{F05BB0D5-3454-45DC-8378-DA45B79D9A06}" dt="2020-10-02T13:04:37.222" v="5756" actId="790"/>
          <ac:spMkLst>
            <pc:docMk/>
            <pc:sldMk cId="3417722506" sldId="7084"/>
            <ac:spMk id="106" creationId="{0F646353-9C4D-4C65-9F17-6D8AED1AE9BE}"/>
          </ac:spMkLst>
        </pc:spChg>
        <pc:spChg chg="mod">
          <ac:chgData name="Ugo MANTEL" userId="2d5b7065-31bb-4181-a7f8-a73bf0c30211" providerId="ADAL" clId="{F05BB0D5-3454-45DC-8378-DA45B79D9A06}" dt="2020-10-02T13:04:37.231" v="5757" actId="790"/>
          <ac:spMkLst>
            <pc:docMk/>
            <pc:sldMk cId="3417722506" sldId="7084"/>
            <ac:spMk id="120" creationId="{B09E38FB-2402-48E1-B2BB-CF7FA3EBABFB}"/>
          </ac:spMkLst>
        </pc:spChg>
        <pc:spChg chg="mod">
          <ac:chgData name="Ugo MANTEL" userId="2d5b7065-31bb-4181-a7f8-a73bf0c30211" providerId="ADAL" clId="{F05BB0D5-3454-45DC-8378-DA45B79D9A06}" dt="2020-10-02T13:04:37.233" v="5758" actId="790"/>
          <ac:spMkLst>
            <pc:docMk/>
            <pc:sldMk cId="3417722506" sldId="7084"/>
            <ac:spMk id="121" creationId="{796B2860-EE44-47CB-AC37-86922219C98D}"/>
          </ac:spMkLst>
        </pc:spChg>
        <pc:spChg chg="mod">
          <ac:chgData name="Ugo MANTEL" userId="2d5b7065-31bb-4181-a7f8-a73bf0c30211" providerId="ADAL" clId="{F05BB0D5-3454-45DC-8378-DA45B79D9A06}" dt="2020-10-02T13:04:37.234" v="5759" actId="790"/>
          <ac:spMkLst>
            <pc:docMk/>
            <pc:sldMk cId="3417722506" sldId="7084"/>
            <ac:spMk id="122" creationId="{E1BE3A3F-2E6D-4FFE-A208-3DA33FEF5EBD}"/>
          </ac:spMkLst>
        </pc:spChg>
        <pc:spChg chg="mod">
          <ac:chgData name="Ugo MANTEL" userId="2d5b7065-31bb-4181-a7f8-a73bf0c30211" providerId="ADAL" clId="{F05BB0D5-3454-45DC-8378-DA45B79D9A06}" dt="2020-10-02T13:04:37.198" v="5743" actId="790"/>
          <ac:spMkLst>
            <pc:docMk/>
            <pc:sldMk cId="3417722506" sldId="7084"/>
            <ac:spMk id="243" creationId="{8DAC75CF-6D93-428E-A0B4-8C803760A01E}"/>
          </ac:spMkLst>
        </pc:spChg>
        <pc:spChg chg="mod">
          <ac:chgData name="Ugo MANTEL" userId="2d5b7065-31bb-4181-a7f8-a73bf0c30211" providerId="ADAL" clId="{F05BB0D5-3454-45DC-8378-DA45B79D9A06}" dt="2020-10-02T13:04:37.199" v="5744" actId="790"/>
          <ac:spMkLst>
            <pc:docMk/>
            <pc:sldMk cId="3417722506" sldId="7084"/>
            <ac:spMk id="244" creationId="{F8B304EB-97BE-4CFF-89D4-BEBD1B219EDD}"/>
          </ac:spMkLst>
        </pc:spChg>
        <pc:spChg chg="mod">
          <ac:chgData name="Ugo MANTEL" userId="2d5b7065-31bb-4181-a7f8-a73bf0c30211" providerId="ADAL" clId="{F05BB0D5-3454-45DC-8378-DA45B79D9A06}" dt="2020-10-02T13:04:37.200" v="5745" actId="790"/>
          <ac:spMkLst>
            <pc:docMk/>
            <pc:sldMk cId="3417722506" sldId="7084"/>
            <ac:spMk id="245" creationId="{849ABE1C-FB35-4E49-82A3-E512550852BC}"/>
          </ac:spMkLst>
        </pc:spChg>
        <pc:spChg chg="mod">
          <ac:chgData name="Ugo MANTEL" userId="2d5b7065-31bb-4181-a7f8-a73bf0c30211" providerId="ADAL" clId="{F05BB0D5-3454-45DC-8378-DA45B79D9A06}" dt="2020-10-02T13:04:37.202" v="5746" actId="790"/>
          <ac:spMkLst>
            <pc:docMk/>
            <pc:sldMk cId="3417722506" sldId="7084"/>
            <ac:spMk id="272" creationId="{AA81EE1B-0EFF-44CF-AC76-21AB17D740D3}"/>
          </ac:spMkLst>
        </pc:spChg>
      </pc:sldChg>
      <pc:sldChg chg="modSp mod">
        <pc:chgData name="Ugo MANTEL" userId="2d5b7065-31bb-4181-a7f8-a73bf0c30211" providerId="ADAL" clId="{F05BB0D5-3454-45DC-8378-DA45B79D9A06}" dt="2020-10-02T13:04:37.334" v="5779" actId="790"/>
        <pc:sldMkLst>
          <pc:docMk/>
          <pc:sldMk cId="1837159450" sldId="7085"/>
        </pc:sldMkLst>
        <pc:spChg chg="mod">
          <ac:chgData name="Ugo MANTEL" userId="2d5b7065-31bb-4181-a7f8-a73bf0c30211" providerId="ADAL" clId="{F05BB0D5-3454-45DC-8378-DA45B79D9A06}" dt="2020-10-02T13:04:37.273" v="5762" actId="790"/>
          <ac:spMkLst>
            <pc:docMk/>
            <pc:sldMk cId="1837159450" sldId="7085"/>
            <ac:spMk id="3" creationId="{E5010DA3-233A-4C0B-9142-F7481F6191F9}"/>
          </ac:spMkLst>
        </pc:spChg>
        <pc:spChg chg="mod">
          <ac:chgData name="Ugo MANTEL" userId="2d5b7065-31bb-4181-a7f8-a73bf0c30211" providerId="ADAL" clId="{F05BB0D5-3454-45DC-8378-DA45B79D9A06}" dt="2020-10-02T13:04:37.334" v="5779" actId="790"/>
          <ac:spMkLst>
            <pc:docMk/>
            <pc:sldMk cId="1837159450" sldId="7085"/>
            <ac:spMk id="4" creationId="{1E6AEE7D-5D62-4C67-AA81-0A29E0F2AB9A}"/>
          </ac:spMkLst>
        </pc:spChg>
        <pc:spChg chg="mod">
          <ac:chgData name="Ugo MANTEL" userId="2d5b7065-31bb-4181-a7f8-a73bf0c30211" providerId="ADAL" clId="{F05BB0D5-3454-45DC-8378-DA45B79D9A06}" dt="2020-10-02T13:04:37.274" v="5763" actId="790"/>
          <ac:spMkLst>
            <pc:docMk/>
            <pc:sldMk cId="1837159450" sldId="7085"/>
            <ac:spMk id="16" creationId="{C559AF43-BD4F-4D4D-B32D-CC291C49FEA2}"/>
          </ac:spMkLst>
        </pc:spChg>
        <pc:spChg chg="mod">
          <ac:chgData name="Ugo MANTEL" userId="2d5b7065-31bb-4181-a7f8-a73bf0c30211" providerId="ADAL" clId="{F05BB0D5-3454-45DC-8378-DA45B79D9A06}" dt="2020-10-02T13:04:37.276" v="5764" actId="790"/>
          <ac:spMkLst>
            <pc:docMk/>
            <pc:sldMk cId="1837159450" sldId="7085"/>
            <ac:spMk id="17" creationId="{85D65150-60A3-4C47-88CD-107E3DDF8567}"/>
          </ac:spMkLst>
        </pc:spChg>
        <pc:spChg chg="mod">
          <ac:chgData name="Ugo MANTEL" userId="2d5b7065-31bb-4181-a7f8-a73bf0c30211" providerId="ADAL" clId="{F05BB0D5-3454-45DC-8378-DA45B79D9A06}" dt="2020-10-02T13:04:37.277" v="5765" actId="790"/>
          <ac:spMkLst>
            <pc:docMk/>
            <pc:sldMk cId="1837159450" sldId="7085"/>
            <ac:spMk id="18" creationId="{FF2A3E71-F790-43F9-895F-DA4FB88A640C}"/>
          </ac:spMkLst>
        </pc:spChg>
        <pc:spChg chg="mod">
          <ac:chgData name="Ugo MANTEL" userId="2d5b7065-31bb-4181-a7f8-a73bf0c30211" providerId="ADAL" clId="{F05BB0D5-3454-45DC-8378-DA45B79D9A06}" dt="2020-10-02T13:04:37.270" v="5761" actId="790"/>
          <ac:spMkLst>
            <pc:docMk/>
            <pc:sldMk cId="1837159450" sldId="7085"/>
            <ac:spMk id="20" creationId="{D7D998A4-C0A2-4344-97DF-ADA1A0B20363}"/>
          </ac:spMkLst>
        </pc:spChg>
        <pc:spChg chg="mod">
          <ac:chgData name="Ugo MANTEL" userId="2d5b7065-31bb-4181-a7f8-a73bf0c30211" providerId="ADAL" clId="{F05BB0D5-3454-45DC-8378-DA45B79D9A06}" dt="2020-10-02T13:04:37.311" v="5769" actId="790"/>
          <ac:spMkLst>
            <pc:docMk/>
            <pc:sldMk cId="1837159450" sldId="7085"/>
            <ac:spMk id="40" creationId="{A46FCCD5-53E7-4BD7-AEF4-39DED174C94B}"/>
          </ac:spMkLst>
        </pc:spChg>
        <pc:spChg chg="mod">
          <ac:chgData name="Ugo MANTEL" userId="2d5b7065-31bb-4181-a7f8-a73bf0c30211" providerId="ADAL" clId="{F05BB0D5-3454-45DC-8378-DA45B79D9A06}" dt="2020-10-02T13:04:37.319" v="5772" actId="790"/>
          <ac:spMkLst>
            <pc:docMk/>
            <pc:sldMk cId="1837159450" sldId="7085"/>
            <ac:spMk id="46" creationId="{8CEDE419-2F10-40F7-BCED-17328DD8CF08}"/>
          </ac:spMkLst>
        </pc:spChg>
        <pc:spChg chg="mod">
          <ac:chgData name="Ugo MANTEL" userId="2d5b7065-31bb-4181-a7f8-a73bf0c30211" providerId="ADAL" clId="{F05BB0D5-3454-45DC-8378-DA45B79D9A06}" dt="2020-10-02T13:04:37.317" v="5771" actId="790"/>
          <ac:spMkLst>
            <pc:docMk/>
            <pc:sldMk cId="1837159450" sldId="7085"/>
            <ac:spMk id="48" creationId="{192497D0-0954-40B6-9242-1C8A4234CD52}"/>
          </ac:spMkLst>
        </pc:spChg>
        <pc:spChg chg="mod">
          <ac:chgData name="Ugo MANTEL" userId="2d5b7065-31bb-4181-a7f8-a73bf0c30211" providerId="ADAL" clId="{F05BB0D5-3454-45DC-8378-DA45B79D9A06}" dt="2020-10-02T13:04:37.313" v="5770" actId="790"/>
          <ac:spMkLst>
            <pc:docMk/>
            <pc:sldMk cId="1837159450" sldId="7085"/>
            <ac:spMk id="50" creationId="{C87F91A1-0CBC-4589-97FA-0E0B96518706}"/>
          </ac:spMkLst>
        </pc:spChg>
        <pc:spChg chg="mod">
          <ac:chgData name="Ugo MANTEL" userId="2d5b7065-31bb-4181-a7f8-a73bf0c30211" providerId="ADAL" clId="{F05BB0D5-3454-45DC-8378-DA45B79D9A06}" dt="2020-10-02T13:04:37.322" v="5773" actId="790"/>
          <ac:spMkLst>
            <pc:docMk/>
            <pc:sldMk cId="1837159450" sldId="7085"/>
            <ac:spMk id="51" creationId="{B34D5C65-5BC0-4A56-ABEC-640C406A5D36}"/>
          </ac:spMkLst>
        </pc:spChg>
        <pc:spChg chg="mod">
          <ac:chgData name="Ugo MANTEL" userId="2d5b7065-31bb-4181-a7f8-a73bf0c30211" providerId="ADAL" clId="{F05BB0D5-3454-45DC-8378-DA45B79D9A06}" dt="2020-10-02T13:04:37.324" v="5774" actId="790"/>
          <ac:spMkLst>
            <pc:docMk/>
            <pc:sldMk cId="1837159450" sldId="7085"/>
            <ac:spMk id="53" creationId="{2D14AC6E-EA24-415B-8742-FF6C0E83ED41}"/>
          </ac:spMkLst>
        </pc:spChg>
        <pc:spChg chg="mod">
          <ac:chgData name="Ugo MANTEL" userId="2d5b7065-31bb-4181-a7f8-a73bf0c30211" providerId="ADAL" clId="{F05BB0D5-3454-45DC-8378-DA45B79D9A06}" dt="2020-10-02T13:04:37.325" v="5775" actId="790"/>
          <ac:spMkLst>
            <pc:docMk/>
            <pc:sldMk cId="1837159450" sldId="7085"/>
            <ac:spMk id="54" creationId="{49C83BEF-C572-4617-AA5A-C12E5AEA7A9D}"/>
          </ac:spMkLst>
        </pc:spChg>
        <pc:spChg chg="mod">
          <ac:chgData name="Ugo MANTEL" userId="2d5b7065-31bb-4181-a7f8-a73bf0c30211" providerId="ADAL" clId="{F05BB0D5-3454-45DC-8378-DA45B79D9A06}" dt="2020-10-02T13:04:37.327" v="5776" actId="790"/>
          <ac:spMkLst>
            <pc:docMk/>
            <pc:sldMk cId="1837159450" sldId="7085"/>
            <ac:spMk id="55" creationId="{BC1CA0FF-8AEF-4307-9369-5C5EE7A5F189}"/>
          </ac:spMkLst>
        </pc:spChg>
        <pc:spChg chg="mod">
          <ac:chgData name="Ugo MANTEL" userId="2d5b7065-31bb-4181-a7f8-a73bf0c30211" providerId="ADAL" clId="{F05BB0D5-3454-45DC-8378-DA45B79D9A06}" dt="2020-10-02T13:04:37.329" v="5777" actId="790"/>
          <ac:spMkLst>
            <pc:docMk/>
            <pc:sldMk cId="1837159450" sldId="7085"/>
            <ac:spMk id="56" creationId="{1D04A1F3-4B66-4668-AF6C-D13C0B72D993}"/>
          </ac:spMkLst>
        </pc:spChg>
        <pc:spChg chg="mod">
          <ac:chgData name="Ugo MANTEL" userId="2d5b7065-31bb-4181-a7f8-a73bf0c30211" providerId="ADAL" clId="{F05BB0D5-3454-45DC-8378-DA45B79D9A06}" dt="2020-10-02T13:04:37.330" v="5778" actId="790"/>
          <ac:spMkLst>
            <pc:docMk/>
            <pc:sldMk cId="1837159450" sldId="7085"/>
            <ac:spMk id="63" creationId="{870231EE-F6AA-4386-90DB-012C7E0175E5}"/>
          </ac:spMkLst>
        </pc:spChg>
        <pc:spChg chg="mod">
          <ac:chgData name="Ugo MANTEL" userId="2d5b7065-31bb-4181-a7f8-a73bf0c30211" providerId="ADAL" clId="{F05BB0D5-3454-45DC-8378-DA45B79D9A06}" dt="2020-10-02T13:04:37.278" v="5766" actId="790"/>
          <ac:spMkLst>
            <pc:docMk/>
            <pc:sldMk cId="1837159450" sldId="7085"/>
            <ac:spMk id="269" creationId="{D49238BC-B933-414D-8A25-EE9018F6DAEF}"/>
          </ac:spMkLst>
        </pc:spChg>
        <pc:spChg chg="mod">
          <ac:chgData name="Ugo MANTEL" userId="2d5b7065-31bb-4181-a7f8-a73bf0c30211" providerId="ADAL" clId="{F05BB0D5-3454-45DC-8378-DA45B79D9A06}" dt="2020-10-02T13:04:37.307" v="5767" actId="790"/>
          <ac:spMkLst>
            <pc:docMk/>
            <pc:sldMk cId="1837159450" sldId="7085"/>
            <ac:spMk id="270" creationId="{EE8FF9BB-191A-489D-86A8-71487C277B94}"/>
          </ac:spMkLst>
        </pc:spChg>
        <pc:spChg chg="mod">
          <ac:chgData name="Ugo MANTEL" userId="2d5b7065-31bb-4181-a7f8-a73bf0c30211" providerId="ADAL" clId="{F05BB0D5-3454-45DC-8378-DA45B79D9A06}" dt="2020-10-02T13:04:37.310" v="5768" actId="790"/>
          <ac:spMkLst>
            <pc:docMk/>
            <pc:sldMk cId="1837159450" sldId="7085"/>
            <ac:spMk id="272" creationId="{AA81EE1B-0EFF-44CF-AC76-21AB17D740D3}"/>
          </ac:spMkLst>
        </pc:spChg>
      </pc:sldChg>
      <pc:sldChg chg="modSp mod">
        <pc:chgData name="Ugo MANTEL" userId="2d5b7065-31bb-4181-a7f8-a73bf0c30211" providerId="ADAL" clId="{F05BB0D5-3454-45DC-8378-DA45B79D9A06}" dt="2020-10-02T13:04:37.529" v="5855" actId="790"/>
        <pc:sldMkLst>
          <pc:docMk/>
          <pc:sldMk cId="4166291675" sldId="7086"/>
        </pc:sldMkLst>
        <pc:spChg chg="mod">
          <ac:chgData name="Ugo MANTEL" userId="2d5b7065-31bb-4181-a7f8-a73bf0c30211" providerId="ADAL" clId="{F05BB0D5-3454-45DC-8378-DA45B79D9A06}" dt="2020-10-02T13:04:37.490" v="5835" actId="790"/>
          <ac:spMkLst>
            <pc:docMk/>
            <pc:sldMk cId="4166291675" sldId="7086"/>
            <ac:spMk id="3" creationId="{E5010DA3-233A-4C0B-9142-F7481F6191F9}"/>
          </ac:spMkLst>
        </pc:spChg>
        <pc:spChg chg="mod">
          <ac:chgData name="Ugo MANTEL" userId="2d5b7065-31bb-4181-a7f8-a73bf0c30211" providerId="ADAL" clId="{F05BB0D5-3454-45DC-8378-DA45B79D9A06}" dt="2020-10-02T13:04:37.491" v="5836" actId="790"/>
          <ac:spMkLst>
            <pc:docMk/>
            <pc:sldMk cId="4166291675" sldId="7086"/>
            <ac:spMk id="16" creationId="{C559AF43-BD4F-4D4D-B32D-CC291C49FEA2}"/>
          </ac:spMkLst>
        </pc:spChg>
        <pc:spChg chg="mod">
          <ac:chgData name="Ugo MANTEL" userId="2d5b7065-31bb-4181-a7f8-a73bf0c30211" providerId="ADAL" clId="{F05BB0D5-3454-45DC-8378-DA45B79D9A06}" dt="2020-10-02T13:04:37.492" v="5837" actId="790"/>
          <ac:spMkLst>
            <pc:docMk/>
            <pc:sldMk cId="4166291675" sldId="7086"/>
            <ac:spMk id="17" creationId="{85D65150-60A3-4C47-88CD-107E3DDF8567}"/>
          </ac:spMkLst>
        </pc:spChg>
        <pc:spChg chg="mod">
          <ac:chgData name="Ugo MANTEL" userId="2d5b7065-31bb-4181-a7f8-a73bf0c30211" providerId="ADAL" clId="{F05BB0D5-3454-45DC-8378-DA45B79D9A06}" dt="2020-10-02T13:04:37.494" v="5838" actId="790"/>
          <ac:spMkLst>
            <pc:docMk/>
            <pc:sldMk cId="4166291675" sldId="7086"/>
            <ac:spMk id="18" creationId="{FF2A3E71-F790-43F9-895F-DA4FB88A640C}"/>
          </ac:spMkLst>
        </pc:spChg>
        <pc:spChg chg="mod">
          <ac:chgData name="Ugo MANTEL" userId="2d5b7065-31bb-4181-a7f8-a73bf0c30211" providerId="ADAL" clId="{F05BB0D5-3454-45DC-8378-DA45B79D9A06}" dt="2020-10-02T13:04:37.495" v="5839" actId="790"/>
          <ac:spMkLst>
            <pc:docMk/>
            <pc:sldMk cId="4166291675" sldId="7086"/>
            <ac:spMk id="19" creationId="{02B34D9D-CAB9-4FC1-90D5-197DB49855F0}"/>
          </ac:spMkLst>
        </pc:spChg>
        <pc:spChg chg="mod">
          <ac:chgData name="Ugo MANTEL" userId="2d5b7065-31bb-4181-a7f8-a73bf0c30211" providerId="ADAL" clId="{F05BB0D5-3454-45DC-8378-DA45B79D9A06}" dt="2020-10-02T13:04:37.486" v="5834" actId="790"/>
          <ac:spMkLst>
            <pc:docMk/>
            <pc:sldMk cId="4166291675" sldId="7086"/>
            <ac:spMk id="20" creationId="{D7D998A4-C0A2-4344-97DF-ADA1A0B20363}"/>
          </ac:spMkLst>
        </pc:spChg>
        <pc:spChg chg="mod">
          <ac:chgData name="Ugo MANTEL" userId="2d5b7065-31bb-4181-a7f8-a73bf0c30211" providerId="ADAL" clId="{F05BB0D5-3454-45DC-8378-DA45B79D9A06}" dt="2020-10-02T13:04:37.504" v="5840" actId="790"/>
          <ac:spMkLst>
            <pc:docMk/>
            <pc:sldMk cId="4166291675" sldId="7086"/>
            <ac:spMk id="21" creationId="{F639CB13-89E0-4076-8B02-146C16F07D20}"/>
          </ac:spMkLst>
        </pc:spChg>
        <pc:spChg chg="mod">
          <ac:chgData name="Ugo MANTEL" userId="2d5b7065-31bb-4181-a7f8-a73bf0c30211" providerId="ADAL" clId="{F05BB0D5-3454-45DC-8378-DA45B79D9A06}" dt="2020-10-02T13:04:37.506" v="5841" actId="790"/>
          <ac:spMkLst>
            <pc:docMk/>
            <pc:sldMk cId="4166291675" sldId="7086"/>
            <ac:spMk id="23" creationId="{D037B4D8-E38E-4A63-A9F9-F205C8EB8855}"/>
          </ac:spMkLst>
        </pc:spChg>
        <pc:spChg chg="mod">
          <ac:chgData name="Ugo MANTEL" userId="2d5b7065-31bb-4181-a7f8-a73bf0c30211" providerId="ADAL" clId="{F05BB0D5-3454-45DC-8378-DA45B79D9A06}" dt="2020-10-02T13:04:37.516" v="5847" actId="790"/>
          <ac:spMkLst>
            <pc:docMk/>
            <pc:sldMk cId="4166291675" sldId="7086"/>
            <ac:spMk id="33" creationId="{46269B51-26D3-40B3-A2E1-7033585D2220}"/>
          </ac:spMkLst>
        </pc:spChg>
        <pc:spChg chg="mod">
          <ac:chgData name="Ugo MANTEL" userId="2d5b7065-31bb-4181-a7f8-a73bf0c30211" providerId="ADAL" clId="{F05BB0D5-3454-45DC-8378-DA45B79D9A06}" dt="2020-10-02T13:04:37.517" v="5848" actId="790"/>
          <ac:spMkLst>
            <pc:docMk/>
            <pc:sldMk cId="4166291675" sldId="7086"/>
            <ac:spMk id="37" creationId="{FFCFBF4B-B297-42CD-AF01-0F2B619DAB78}"/>
          </ac:spMkLst>
        </pc:spChg>
        <pc:spChg chg="mod">
          <ac:chgData name="Ugo MANTEL" userId="2d5b7065-31bb-4181-a7f8-a73bf0c30211" providerId="ADAL" clId="{F05BB0D5-3454-45DC-8378-DA45B79D9A06}" dt="2020-10-02T13:04:37.518" v="5849" actId="790"/>
          <ac:spMkLst>
            <pc:docMk/>
            <pc:sldMk cId="4166291675" sldId="7086"/>
            <ac:spMk id="39" creationId="{99E8BA8B-15CC-4D91-BD38-321A1C64E16D}"/>
          </ac:spMkLst>
        </pc:spChg>
        <pc:spChg chg="mod">
          <ac:chgData name="Ugo MANTEL" userId="2d5b7065-31bb-4181-a7f8-a73bf0c30211" providerId="ADAL" clId="{F05BB0D5-3454-45DC-8378-DA45B79D9A06}" dt="2020-10-02T13:04:37.508" v="5842" actId="790"/>
          <ac:spMkLst>
            <pc:docMk/>
            <pc:sldMk cId="4166291675" sldId="7086"/>
            <ac:spMk id="41" creationId="{57FAD347-7765-4AC9-AAFB-71F4E2695161}"/>
          </ac:spMkLst>
        </pc:spChg>
        <pc:spChg chg="mod">
          <ac:chgData name="Ugo MANTEL" userId="2d5b7065-31bb-4181-a7f8-a73bf0c30211" providerId="ADAL" clId="{F05BB0D5-3454-45DC-8378-DA45B79D9A06}" dt="2020-10-02T13:04:37.510" v="5843" actId="790"/>
          <ac:spMkLst>
            <pc:docMk/>
            <pc:sldMk cId="4166291675" sldId="7086"/>
            <ac:spMk id="42" creationId="{5F629B99-01EE-46E7-8762-68B039E51D99}"/>
          </ac:spMkLst>
        </pc:spChg>
        <pc:spChg chg="mod">
          <ac:chgData name="Ugo MANTEL" userId="2d5b7065-31bb-4181-a7f8-a73bf0c30211" providerId="ADAL" clId="{F05BB0D5-3454-45DC-8378-DA45B79D9A06}" dt="2020-10-02T13:04:37.511" v="5844" actId="790"/>
          <ac:spMkLst>
            <pc:docMk/>
            <pc:sldMk cId="4166291675" sldId="7086"/>
            <ac:spMk id="43" creationId="{9765D66E-D23C-4481-AEBA-6839A65505B8}"/>
          </ac:spMkLst>
        </pc:spChg>
        <pc:spChg chg="mod">
          <ac:chgData name="Ugo MANTEL" userId="2d5b7065-31bb-4181-a7f8-a73bf0c30211" providerId="ADAL" clId="{F05BB0D5-3454-45DC-8378-DA45B79D9A06}" dt="2020-10-02T13:04:37.512" v="5845" actId="790"/>
          <ac:spMkLst>
            <pc:docMk/>
            <pc:sldMk cId="4166291675" sldId="7086"/>
            <ac:spMk id="44" creationId="{9D5C9C2E-8965-4D28-8000-7B0F61B23A99}"/>
          </ac:spMkLst>
        </pc:spChg>
        <pc:spChg chg="mod">
          <ac:chgData name="Ugo MANTEL" userId="2d5b7065-31bb-4181-a7f8-a73bf0c30211" providerId="ADAL" clId="{F05BB0D5-3454-45DC-8378-DA45B79D9A06}" dt="2020-10-02T13:04:37.514" v="5846" actId="790"/>
          <ac:spMkLst>
            <pc:docMk/>
            <pc:sldMk cId="4166291675" sldId="7086"/>
            <ac:spMk id="51" creationId="{C53A25D0-CAE9-40B7-A557-D9640482982A}"/>
          </ac:spMkLst>
        </pc:spChg>
        <pc:spChg chg="mod">
          <ac:chgData name="Ugo MANTEL" userId="2d5b7065-31bb-4181-a7f8-a73bf0c30211" providerId="ADAL" clId="{F05BB0D5-3454-45DC-8378-DA45B79D9A06}" dt="2020-10-02T13:04:37.520" v="5850" actId="790"/>
          <ac:spMkLst>
            <pc:docMk/>
            <pc:sldMk cId="4166291675" sldId="7086"/>
            <ac:spMk id="54" creationId="{B3ABAF9E-1740-4923-89B2-48E3F0250F55}"/>
          </ac:spMkLst>
        </pc:spChg>
        <pc:spChg chg="mod">
          <ac:chgData name="Ugo MANTEL" userId="2d5b7065-31bb-4181-a7f8-a73bf0c30211" providerId="ADAL" clId="{F05BB0D5-3454-45DC-8378-DA45B79D9A06}" dt="2020-10-02T13:04:37.522" v="5851" actId="790"/>
          <ac:spMkLst>
            <pc:docMk/>
            <pc:sldMk cId="4166291675" sldId="7086"/>
            <ac:spMk id="56" creationId="{40ACE58A-06ED-4F44-8157-57709BE9391C}"/>
          </ac:spMkLst>
        </pc:spChg>
        <pc:spChg chg="mod">
          <ac:chgData name="Ugo MANTEL" userId="2d5b7065-31bb-4181-a7f8-a73bf0c30211" providerId="ADAL" clId="{F05BB0D5-3454-45DC-8378-DA45B79D9A06}" dt="2020-10-02T13:04:37.523" v="5852" actId="790"/>
          <ac:spMkLst>
            <pc:docMk/>
            <pc:sldMk cId="4166291675" sldId="7086"/>
            <ac:spMk id="58" creationId="{7E11E29B-5DD9-40FA-A0FC-96F844D91BCE}"/>
          </ac:spMkLst>
        </pc:spChg>
        <pc:spChg chg="mod">
          <ac:chgData name="Ugo MANTEL" userId="2d5b7065-31bb-4181-a7f8-a73bf0c30211" providerId="ADAL" clId="{F05BB0D5-3454-45DC-8378-DA45B79D9A06}" dt="2020-10-02T13:04:37.524" v="5853" actId="790"/>
          <ac:spMkLst>
            <pc:docMk/>
            <pc:sldMk cId="4166291675" sldId="7086"/>
            <ac:spMk id="65" creationId="{30B6E9F2-DB16-4FA5-BB16-2026361A6DD6}"/>
          </ac:spMkLst>
        </pc:spChg>
        <pc:spChg chg="mod">
          <ac:chgData name="Ugo MANTEL" userId="2d5b7065-31bb-4181-a7f8-a73bf0c30211" providerId="ADAL" clId="{F05BB0D5-3454-45DC-8378-DA45B79D9A06}" dt="2020-10-02T13:04:37.526" v="5854" actId="790"/>
          <ac:spMkLst>
            <pc:docMk/>
            <pc:sldMk cId="4166291675" sldId="7086"/>
            <ac:spMk id="67" creationId="{3AB6F1A1-AB2E-467B-8143-B7D7E4E59248}"/>
          </ac:spMkLst>
        </pc:spChg>
        <pc:spChg chg="mod">
          <ac:chgData name="Ugo MANTEL" userId="2d5b7065-31bb-4181-a7f8-a73bf0c30211" providerId="ADAL" clId="{F05BB0D5-3454-45DC-8378-DA45B79D9A06}" dt="2020-10-02T13:04:37.529" v="5855" actId="790"/>
          <ac:spMkLst>
            <pc:docMk/>
            <pc:sldMk cId="4166291675" sldId="7086"/>
            <ac:spMk id="69" creationId="{DCCE8BF1-3257-4641-94E0-4B4E1A6914F8}"/>
          </ac:spMkLst>
        </pc:spChg>
      </pc:sldChg>
      <pc:sldChg chg="modSp mod">
        <pc:chgData name="Ugo MANTEL" userId="2d5b7065-31bb-4181-a7f8-a73bf0c30211" providerId="ADAL" clId="{F05BB0D5-3454-45DC-8378-DA45B79D9A06}" dt="2020-10-02T13:04:37.622" v="5876" actId="790"/>
        <pc:sldMkLst>
          <pc:docMk/>
          <pc:sldMk cId="853049378" sldId="7087"/>
        </pc:sldMkLst>
        <pc:spChg chg="mod">
          <ac:chgData name="Ugo MANTEL" userId="2d5b7065-31bb-4181-a7f8-a73bf0c30211" providerId="ADAL" clId="{F05BB0D5-3454-45DC-8378-DA45B79D9A06}" dt="2020-10-02T13:04:37.533" v="5857" actId="790"/>
          <ac:spMkLst>
            <pc:docMk/>
            <pc:sldMk cId="853049378" sldId="7087"/>
            <ac:spMk id="3" creationId="{E5010DA3-233A-4C0B-9142-F7481F6191F9}"/>
          </ac:spMkLst>
        </pc:spChg>
        <pc:spChg chg="mod">
          <ac:chgData name="Ugo MANTEL" userId="2d5b7065-31bb-4181-a7f8-a73bf0c30211" providerId="ADAL" clId="{F05BB0D5-3454-45DC-8378-DA45B79D9A06}" dt="2020-10-02T13:04:37.622" v="5876" actId="790"/>
          <ac:spMkLst>
            <pc:docMk/>
            <pc:sldMk cId="853049378" sldId="7087"/>
            <ac:spMk id="4" creationId="{95FF805A-CC87-4AC0-8B4E-37D7811F5119}"/>
          </ac:spMkLst>
        </pc:spChg>
        <pc:spChg chg="mod">
          <ac:chgData name="Ugo MANTEL" userId="2d5b7065-31bb-4181-a7f8-a73bf0c30211" providerId="ADAL" clId="{F05BB0D5-3454-45DC-8378-DA45B79D9A06}" dt="2020-10-02T13:04:37.535" v="5858" actId="790"/>
          <ac:spMkLst>
            <pc:docMk/>
            <pc:sldMk cId="853049378" sldId="7087"/>
            <ac:spMk id="16" creationId="{C559AF43-BD4F-4D4D-B32D-CC291C49FEA2}"/>
          </ac:spMkLst>
        </pc:spChg>
        <pc:spChg chg="mod">
          <ac:chgData name="Ugo MANTEL" userId="2d5b7065-31bb-4181-a7f8-a73bf0c30211" providerId="ADAL" clId="{F05BB0D5-3454-45DC-8378-DA45B79D9A06}" dt="2020-10-02T13:04:37.536" v="5859" actId="790"/>
          <ac:spMkLst>
            <pc:docMk/>
            <pc:sldMk cId="853049378" sldId="7087"/>
            <ac:spMk id="17" creationId="{85D65150-60A3-4C47-88CD-107E3DDF8567}"/>
          </ac:spMkLst>
        </pc:spChg>
        <pc:spChg chg="mod">
          <ac:chgData name="Ugo MANTEL" userId="2d5b7065-31bb-4181-a7f8-a73bf0c30211" providerId="ADAL" clId="{F05BB0D5-3454-45DC-8378-DA45B79D9A06}" dt="2020-10-02T13:04:37.538" v="5860" actId="790"/>
          <ac:spMkLst>
            <pc:docMk/>
            <pc:sldMk cId="853049378" sldId="7087"/>
            <ac:spMk id="18" creationId="{FF2A3E71-F790-43F9-895F-DA4FB88A640C}"/>
          </ac:spMkLst>
        </pc:spChg>
        <pc:spChg chg="mod">
          <ac:chgData name="Ugo MANTEL" userId="2d5b7065-31bb-4181-a7f8-a73bf0c30211" providerId="ADAL" clId="{F05BB0D5-3454-45DC-8378-DA45B79D9A06}" dt="2020-10-02T13:04:37.539" v="5861" actId="790"/>
          <ac:spMkLst>
            <pc:docMk/>
            <pc:sldMk cId="853049378" sldId="7087"/>
            <ac:spMk id="19" creationId="{02B34D9D-CAB9-4FC1-90D5-197DB49855F0}"/>
          </ac:spMkLst>
        </pc:spChg>
        <pc:spChg chg="mod">
          <ac:chgData name="Ugo MANTEL" userId="2d5b7065-31bb-4181-a7f8-a73bf0c30211" providerId="ADAL" clId="{F05BB0D5-3454-45DC-8378-DA45B79D9A06}" dt="2020-10-02T13:04:37.530" v="5856" actId="790"/>
          <ac:spMkLst>
            <pc:docMk/>
            <pc:sldMk cId="853049378" sldId="7087"/>
            <ac:spMk id="20" creationId="{D7D998A4-C0A2-4344-97DF-ADA1A0B20363}"/>
          </ac:spMkLst>
        </pc:spChg>
        <pc:spChg chg="mod">
          <ac:chgData name="Ugo MANTEL" userId="2d5b7065-31bb-4181-a7f8-a73bf0c30211" providerId="ADAL" clId="{F05BB0D5-3454-45DC-8378-DA45B79D9A06}" dt="2020-10-02T13:04:37.548" v="5862" actId="790"/>
          <ac:spMkLst>
            <pc:docMk/>
            <pc:sldMk cId="853049378" sldId="7087"/>
            <ac:spMk id="21" creationId="{F639CB13-89E0-4076-8B02-146C16F07D20}"/>
          </ac:spMkLst>
        </pc:spChg>
        <pc:spChg chg="mod">
          <ac:chgData name="Ugo MANTEL" userId="2d5b7065-31bb-4181-a7f8-a73bf0c30211" providerId="ADAL" clId="{F05BB0D5-3454-45DC-8378-DA45B79D9A06}" dt="2020-10-02T13:04:37.552" v="5863" actId="790"/>
          <ac:spMkLst>
            <pc:docMk/>
            <pc:sldMk cId="853049378" sldId="7087"/>
            <ac:spMk id="23" creationId="{D037B4D8-E38E-4A63-A9F9-F205C8EB8855}"/>
          </ac:spMkLst>
        </pc:spChg>
        <pc:spChg chg="mod">
          <ac:chgData name="Ugo MANTEL" userId="2d5b7065-31bb-4181-a7f8-a73bf0c30211" providerId="ADAL" clId="{F05BB0D5-3454-45DC-8378-DA45B79D9A06}" dt="2020-10-02T13:04:37.554" v="5864" actId="790"/>
          <ac:spMkLst>
            <pc:docMk/>
            <pc:sldMk cId="853049378" sldId="7087"/>
            <ac:spMk id="41" creationId="{57FAD347-7765-4AC9-AAFB-71F4E2695161}"/>
          </ac:spMkLst>
        </pc:spChg>
        <pc:spChg chg="mod">
          <ac:chgData name="Ugo MANTEL" userId="2d5b7065-31bb-4181-a7f8-a73bf0c30211" providerId="ADAL" clId="{F05BB0D5-3454-45DC-8378-DA45B79D9A06}" dt="2020-10-02T13:04:37.556" v="5865" actId="790"/>
          <ac:spMkLst>
            <pc:docMk/>
            <pc:sldMk cId="853049378" sldId="7087"/>
            <ac:spMk id="42" creationId="{5F629B99-01EE-46E7-8762-68B039E51D99}"/>
          </ac:spMkLst>
        </pc:spChg>
        <pc:spChg chg="mod">
          <ac:chgData name="Ugo MANTEL" userId="2d5b7065-31bb-4181-a7f8-a73bf0c30211" providerId="ADAL" clId="{F05BB0D5-3454-45DC-8378-DA45B79D9A06}" dt="2020-10-02T13:04:37.557" v="5866" actId="790"/>
          <ac:spMkLst>
            <pc:docMk/>
            <pc:sldMk cId="853049378" sldId="7087"/>
            <ac:spMk id="43" creationId="{9765D66E-D23C-4481-AEBA-6839A65505B8}"/>
          </ac:spMkLst>
        </pc:spChg>
        <pc:spChg chg="mod">
          <ac:chgData name="Ugo MANTEL" userId="2d5b7065-31bb-4181-a7f8-a73bf0c30211" providerId="ADAL" clId="{F05BB0D5-3454-45DC-8378-DA45B79D9A06}" dt="2020-10-02T13:04:37.559" v="5867" actId="790"/>
          <ac:spMkLst>
            <pc:docMk/>
            <pc:sldMk cId="853049378" sldId="7087"/>
            <ac:spMk id="44" creationId="{9D5C9C2E-8965-4D28-8000-7B0F61B23A99}"/>
          </ac:spMkLst>
        </pc:spChg>
        <pc:spChg chg="mod">
          <ac:chgData name="Ugo MANTEL" userId="2d5b7065-31bb-4181-a7f8-a73bf0c30211" providerId="ADAL" clId="{F05BB0D5-3454-45DC-8378-DA45B79D9A06}" dt="2020-10-02T13:04:37.560" v="5868" actId="790"/>
          <ac:spMkLst>
            <pc:docMk/>
            <pc:sldMk cId="853049378" sldId="7087"/>
            <ac:spMk id="51" creationId="{C53A25D0-CAE9-40B7-A557-D9640482982A}"/>
          </ac:spMkLst>
        </pc:spChg>
        <pc:spChg chg="mod">
          <ac:chgData name="Ugo MANTEL" userId="2d5b7065-31bb-4181-a7f8-a73bf0c30211" providerId="ADAL" clId="{F05BB0D5-3454-45DC-8378-DA45B79D9A06}" dt="2020-10-02T13:04:37.562" v="5869" actId="790"/>
          <ac:spMkLst>
            <pc:docMk/>
            <pc:sldMk cId="853049378" sldId="7087"/>
            <ac:spMk id="60" creationId="{034CE4F4-ED95-4249-9782-2E5568B3C099}"/>
          </ac:spMkLst>
        </pc:spChg>
        <pc:spChg chg="mod">
          <ac:chgData name="Ugo MANTEL" userId="2d5b7065-31bb-4181-a7f8-a73bf0c30211" providerId="ADAL" clId="{F05BB0D5-3454-45DC-8378-DA45B79D9A06}" dt="2020-10-02T13:04:37.565" v="5870" actId="790"/>
          <ac:spMkLst>
            <pc:docMk/>
            <pc:sldMk cId="853049378" sldId="7087"/>
            <ac:spMk id="61" creationId="{D6E9B33B-B813-4441-8928-4086294223C5}"/>
          </ac:spMkLst>
        </pc:spChg>
        <pc:spChg chg="mod">
          <ac:chgData name="Ugo MANTEL" userId="2d5b7065-31bb-4181-a7f8-a73bf0c30211" providerId="ADAL" clId="{F05BB0D5-3454-45DC-8378-DA45B79D9A06}" dt="2020-10-02T13:04:37.569" v="5871" actId="790"/>
          <ac:spMkLst>
            <pc:docMk/>
            <pc:sldMk cId="853049378" sldId="7087"/>
            <ac:spMk id="62" creationId="{8FEA233B-E030-43CC-8BB2-501CFC0FB963}"/>
          </ac:spMkLst>
        </pc:spChg>
        <pc:spChg chg="mod">
          <ac:chgData name="Ugo MANTEL" userId="2d5b7065-31bb-4181-a7f8-a73bf0c30211" providerId="ADAL" clId="{F05BB0D5-3454-45DC-8378-DA45B79D9A06}" dt="2020-10-02T13:04:37.572" v="5872" actId="790"/>
          <ac:spMkLst>
            <pc:docMk/>
            <pc:sldMk cId="853049378" sldId="7087"/>
            <ac:spMk id="63" creationId="{E73DC046-4319-4414-9D8C-4348FDC58A67}"/>
          </ac:spMkLst>
        </pc:spChg>
        <pc:spChg chg="mod">
          <ac:chgData name="Ugo MANTEL" userId="2d5b7065-31bb-4181-a7f8-a73bf0c30211" providerId="ADAL" clId="{F05BB0D5-3454-45DC-8378-DA45B79D9A06}" dt="2020-10-02T13:04:37.617" v="5875" actId="790"/>
          <ac:spMkLst>
            <pc:docMk/>
            <pc:sldMk cId="853049378" sldId="7087"/>
            <ac:spMk id="86" creationId="{881D0844-23C8-46B2-9F57-006A2B191747}"/>
          </ac:spMkLst>
        </pc:spChg>
        <pc:spChg chg="mod">
          <ac:chgData name="Ugo MANTEL" userId="2d5b7065-31bb-4181-a7f8-a73bf0c30211" providerId="ADAL" clId="{F05BB0D5-3454-45DC-8378-DA45B79D9A06}" dt="2020-10-02T13:04:37.576" v="5873" actId="790"/>
          <ac:spMkLst>
            <pc:docMk/>
            <pc:sldMk cId="853049378" sldId="7087"/>
            <ac:spMk id="87" creationId="{B45E02C2-ED5A-450D-A9FA-8B8094A57CF2}"/>
          </ac:spMkLst>
        </pc:spChg>
        <pc:spChg chg="mod">
          <ac:chgData name="Ugo MANTEL" userId="2d5b7065-31bb-4181-a7f8-a73bf0c30211" providerId="ADAL" clId="{F05BB0D5-3454-45DC-8378-DA45B79D9A06}" dt="2020-10-02T13:04:37.612" v="5874" actId="790"/>
          <ac:spMkLst>
            <pc:docMk/>
            <pc:sldMk cId="853049378" sldId="7087"/>
            <ac:spMk id="88" creationId="{C21DEAE7-6759-4A96-86F1-860557645CAC}"/>
          </ac:spMkLst>
        </pc:spChg>
      </pc:sldChg>
      <pc:sldChg chg="modSp mod">
        <pc:chgData name="Ugo MANTEL" userId="2d5b7065-31bb-4181-a7f8-a73bf0c30211" providerId="ADAL" clId="{F05BB0D5-3454-45DC-8378-DA45B79D9A06}" dt="2020-10-02T13:04:32.658" v="1575" actId="790"/>
        <pc:sldMkLst>
          <pc:docMk/>
          <pc:sldMk cId="554771587" sldId="7089"/>
        </pc:sldMkLst>
        <pc:spChg chg="mod">
          <ac:chgData name="Ugo MANTEL" userId="2d5b7065-31bb-4181-a7f8-a73bf0c30211" providerId="ADAL" clId="{F05BB0D5-3454-45DC-8378-DA45B79D9A06}" dt="2020-10-02T13:04:32.586" v="1493" actId="790"/>
          <ac:spMkLst>
            <pc:docMk/>
            <pc:sldMk cId="554771587" sldId="7089"/>
            <ac:spMk id="3" creationId="{73049BF9-8D13-481B-9A48-46C6C4E9E852}"/>
          </ac:spMkLst>
        </pc:spChg>
        <pc:spChg chg="mod">
          <ac:chgData name="Ugo MANTEL" userId="2d5b7065-31bb-4181-a7f8-a73bf0c30211" providerId="ADAL" clId="{F05BB0D5-3454-45DC-8378-DA45B79D9A06}" dt="2020-10-02T13:04:32.601" v="1504" actId="790"/>
          <ac:spMkLst>
            <pc:docMk/>
            <pc:sldMk cId="554771587" sldId="7089"/>
            <ac:spMk id="5" creationId="{7A02B674-B623-4FB9-A315-49D1A6E7CC9C}"/>
          </ac:spMkLst>
        </pc:spChg>
        <pc:spChg chg="mod">
          <ac:chgData name="Ugo MANTEL" userId="2d5b7065-31bb-4181-a7f8-a73bf0c30211" providerId="ADAL" clId="{F05BB0D5-3454-45DC-8378-DA45B79D9A06}" dt="2020-10-02T13:04:32.584" v="1492" actId="790"/>
          <ac:spMkLst>
            <pc:docMk/>
            <pc:sldMk cId="554771587" sldId="7089"/>
            <ac:spMk id="7" creationId="{4A6022E3-4DB9-46DF-966E-81EED0537A86}"/>
          </ac:spMkLst>
        </pc:spChg>
        <pc:spChg chg="mod">
          <ac:chgData name="Ugo MANTEL" userId="2d5b7065-31bb-4181-a7f8-a73bf0c30211" providerId="ADAL" clId="{F05BB0D5-3454-45DC-8378-DA45B79D9A06}" dt="2020-10-02T13:04:32.587" v="1494" actId="790"/>
          <ac:spMkLst>
            <pc:docMk/>
            <pc:sldMk cId="554771587" sldId="7089"/>
            <ac:spMk id="20" creationId="{99E0C0D1-7BEF-45AF-9AF8-43C5BF48838D}"/>
          </ac:spMkLst>
        </pc:spChg>
        <pc:spChg chg="mod">
          <ac:chgData name="Ugo MANTEL" userId="2d5b7065-31bb-4181-a7f8-a73bf0c30211" providerId="ADAL" clId="{F05BB0D5-3454-45DC-8378-DA45B79D9A06}" dt="2020-10-02T13:04:32.616" v="1521" actId="790"/>
          <ac:spMkLst>
            <pc:docMk/>
            <pc:sldMk cId="554771587" sldId="7089"/>
            <ac:spMk id="24" creationId="{14E5BD6B-24E8-46B4-B66B-093EFC797D55}"/>
          </ac:spMkLst>
        </pc:spChg>
        <pc:spChg chg="mod">
          <ac:chgData name="Ugo MANTEL" userId="2d5b7065-31bb-4181-a7f8-a73bf0c30211" providerId="ADAL" clId="{F05BB0D5-3454-45DC-8378-DA45B79D9A06}" dt="2020-10-02T13:04:32.601" v="1505" actId="790"/>
          <ac:spMkLst>
            <pc:docMk/>
            <pc:sldMk cId="554771587" sldId="7089"/>
            <ac:spMk id="30" creationId="{FB01FB5E-0177-4188-AC9C-864FCCE396E7}"/>
          </ac:spMkLst>
        </pc:spChg>
        <pc:spChg chg="mod">
          <ac:chgData name="Ugo MANTEL" userId="2d5b7065-31bb-4181-a7f8-a73bf0c30211" providerId="ADAL" clId="{F05BB0D5-3454-45DC-8378-DA45B79D9A06}" dt="2020-10-02T13:04:32.602" v="1506" actId="790"/>
          <ac:spMkLst>
            <pc:docMk/>
            <pc:sldMk cId="554771587" sldId="7089"/>
            <ac:spMk id="33" creationId="{51EFD715-3B6A-4B4F-9D82-CEE537574D60}"/>
          </ac:spMkLst>
        </pc:spChg>
        <pc:spChg chg="mod">
          <ac:chgData name="Ugo MANTEL" userId="2d5b7065-31bb-4181-a7f8-a73bf0c30211" providerId="ADAL" clId="{F05BB0D5-3454-45DC-8378-DA45B79D9A06}" dt="2020-10-02T13:04:32.604" v="1507" actId="790"/>
          <ac:spMkLst>
            <pc:docMk/>
            <pc:sldMk cId="554771587" sldId="7089"/>
            <ac:spMk id="37" creationId="{4C6FA349-B6C7-4CBC-9874-6984A2DD2D1F}"/>
          </ac:spMkLst>
        </pc:spChg>
        <pc:spChg chg="mod">
          <ac:chgData name="Ugo MANTEL" userId="2d5b7065-31bb-4181-a7f8-a73bf0c30211" providerId="ADAL" clId="{F05BB0D5-3454-45DC-8378-DA45B79D9A06}" dt="2020-10-02T13:04:32.588" v="1495" actId="790"/>
          <ac:spMkLst>
            <pc:docMk/>
            <pc:sldMk cId="554771587" sldId="7089"/>
            <ac:spMk id="67" creationId="{395D9023-BB8D-4C07-A58A-9CA420892AF9}"/>
          </ac:spMkLst>
        </pc:spChg>
        <pc:spChg chg="mod">
          <ac:chgData name="Ugo MANTEL" userId="2d5b7065-31bb-4181-a7f8-a73bf0c30211" providerId="ADAL" clId="{F05BB0D5-3454-45DC-8378-DA45B79D9A06}" dt="2020-10-02T13:04:32.645" v="1554" actId="790"/>
          <ac:spMkLst>
            <pc:docMk/>
            <pc:sldMk cId="554771587" sldId="7089"/>
            <ac:spMk id="68" creationId="{EACF4C40-5F5A-4F7F-BA6B-57A106712858}"/>
          </ac:spMkLst>
        </pc:spChg>
        <pc:spChg chg="mod">
          <ac:chgData name="Ugo MANTEL" userId="2d5b7065-31bb-4181-a7f8-a73bf0c30211" providerId="ADAL" clId="{F05BB0D5-3454-45DC-8378-DA45B79D9A06}" dt="2020-10-02T13:04:32.588" v="1496" actId="790"/>
          <ac:spMkLst>
            <pc:docMk/>
            <pc:sldMk cId="554771587" sldId="7089"/>
            <ac:spMk id="69" creationId="{14932ABF-B3F2-4614-9FA3-744906B2F197}"/>
          </ac:spMkLst>
        </pc:spChg>
        <pc:spChg chg="mod">
          <ac:chgData name="Ugo MANTEL" userId="2d5b7065-31bb-4181-a7f8-a73bf0c30211" providerId="ADAL" clId="{F05BB0D5-3454-45DC-8378-DA45B79D9A06}" dt="2020-10-02T13:04:32.642" v="1553" actId="790"/>
          <ac:spMkLst>
            <pc:docMk/>
            <pc:sldMk cId="554771587" sldId="7089"/>
            <ac:spMk id="70" creationId="{D6ECC423-047F-4FFA-A595-20B725419789}"/>
          </ac:spMkLst>
        </pc:spChg>
        <pc:spChg chg="mod">
          <ac:chgData name="Ugo MANTEL" userId="2d5b7065-31bb-4181-a7f8-a73bf0c30211" providerId="ADAL" clId="{F05BB0D5-3454-45DC-8378-DA45B79D9A06}" dt="2020-10-02T13:04:32.592" v="1497" actId="790"/>
          <ac:spMkLst>
            <pc:docMk/>
            <pc:sldMk cId="554771587" sldId="7089"/>
            <ac:spMk id="71" creationId="{AD9B7B8C-EC95-4D2A-9D6F-36CF469DC9DC}"/>
          </ac:spMkLst>
        </pc:spChg>
        <pc:spChg chg="mod">
          <ac:chgData name="Ugo MANTEL" userId="2d5b7065-31bb-4181-a7f8-a73bf0c30211" providerId="ADAL" clId="{F05BB0D5-3454-45DC-8378-DA45B79D9A06}" dt="2020-10-02T13:04:32.611" v="1515" actId="790"/>
          <ac:spMkLst>
            <pc:docMk/>
            <pc:sldMk cId="554771587" sldId="7089"/>
            <ac:spMk id="74" creationId="{B0A0D9FD-6BFD-4B90-B264-BC8DB8AC2A22}"/>
          </ac:spMkLst>
        </pc:spChg>
        <pc:spChg chg="mod">
          <ac:chgData name="Ugo MANTEL" userId="2d5b7065-31bb-4181-a7f8-a73bf0c30211" providerId="ADAL" clId="{F05BB0D5-3454-45DC-8378-DA45B79D9A06}" dt="2020-10-02T13:04:32.612" v="1516" actId="790"/>
          <ac:spMkLst>
            <pc:docMk/>
            <pc:sldMk cId="554771587" sldId="7089"/>
            <ac:spMk id="76" creationId="{449C5D3A-1E00-44D1-ABE4-3063080264B6}"/>
          </ac:spMkLst>
        </pc:spChg>
        <pc:spChg chg="mod">
          <ac:chgData name="Ugo MANTEL" userId="2d5b7065-31bb-4181-a7f8-a73bf0c30211" providerId="ADAL" clId="{F05BB0D5-3454-45DC-8378-DA45B79D9A06}" dt="2020-10-02T13:04:32.613" v="1517" actId="790"/>
          <ac:spMkLst>
            <pc:docMk/>
            <pc:sldMk cId="554771587" sldId="7089"/>
            <ac:spMk id="77" creationId="{8DC60C25-C9B5-4642-ABDB-BD662034E44D}"/>
          </ac:spMkLst>
        </pc:spChg>
        <pc:spChg chg="mod">
          <ac:chgData name="Ugo MANTEL" userId="2d5b7065-31bb-4181-a7f8-a73bf0c30211" providerId="ADAL" clId="{F05BB0D5-3454-45DC-8378-DA45B79D9A06}" dt="2020-10-02T13:04:32.613" v="1518" actId="790"/>
          <ac:spMkLst>
            <pc:docMk/>
            <pc:sldMk cId="554771587" sldId="7089"/>
            <ac:spMk id="78" creationId="{9CD81375-473A-406E-AEE4-953258755F11}"/>
          </ac:spMkLst>
        </pc:spChg>
        <pc:spChg chg="mod">
          <ac:chgData name="Ugo MANTEL" userId="2d5b7065-31bb-4181-a7f8-a73bf0c30211" providerId="ADAL" clId="{F05BB0D5-3454-45DC-8378-DA45B79D9A06}" dt="2020-10-02T13:04:32.593" v="1498" actId="790"/>
          <ac:spMkLst>
            <pc:docMk/>
            <pc:sldMk cId="554771587" sldId="7089"/>
            <ac:spMk id="79" creationId="{CD19E6A4-8567-4F4C-8660-64A9310AA4D4}"/>
          </ac:spMkLst>
        </pc:spChg>
        <pc:spChg chg="mod">
          <ac:chgData name="Ugo MANTEL" userId="2d5b7065-31bb-4181-a7f8-a73bf0c30211" providerId="ADAL" clId="{F05BB0D5-3454-45DC-8378-DA45B79D9A06}" dt="2020-10-02T13:04:32.594" v="1499" actId="790"/>
          <ac:spMkLst>
            <pc:docMk/>
            <pc:sldMk cId="554771587" sldId="7089"/>
            <ac:spMk id="80" creationId="{85224B74-BFCF-40D4-8F5A-4DBD358E4A6A}"/>
          </ac:spMkLst>
        </pc:spChg>
        <pc:spChg chg="mod">
          <ac:chgData name="Ugo MANTEL" userId="2d5b7065-31bb-4181-a7f8-a73bf0c30211" providerId="ADAL" clId="{F05BB0D5-3454-45DC-8378-DA45B79D9A06}" dt="2020-10-02T13:04:32.594" v="1500" actId="790"/>
          <ac:spMkLst>
            <pc:docMk/>
            <pc:sldMk cId="554771587" sldId="7089"/>
            <ac:spMk id="81" creationId="{67520AEC-ABAB-415A-ADD8-DF870797CCB0}"/>
          </ac:spMkLst>
        </pc:spChg>
        <pc:spChg chg="mod">
          <ac:chgData name="Ugo MANTEL" userId="2d5b7065-31bb-4181-a7f8-a73bf0c30211" providerId="ADAL" clId="{F05BB0D5-3454-45DC-8378-DA45B79D9A06}" dt="2020-10-02T13:04:32.595" v="1501" actId="790"/>
          <ac:spMkLst>
            <pc:docMk/>
            <pc:sldMk cId="554771587" sldId="7089"/>
            <ac:spMk id="82" creationId="{24EAE7A4-064F-4847-974C-384E1DE8F678}"/>
          </ac:spMkLst>
        </pc:spChg>
        <pc:spChg chg="mod">
          <ac:chgData name="Ugo MANTEL" userId="2d5b7065-31bb-4181-a7f8-a73bf0c30211" providerId="ADAL" clId="{F05BB0D5-3454-45DC-8378-DA45B79D9A06}" dt="2020-10-02T13:04:32.607" v="1508" actId="790"/>
          <ac:spMkLst>
            <pc:docMk/>
            <pc:sldMk cId="554771587" sldId="7089"/>
            <ac:spMk id="83" creationId="{EDB79795-CCDC-4772-B04D-B056BFFA989C}"/>
          </ac:spMkLst>
        </pc:spChg>
        <pc:spChg chg="mod">
          <ac:chgData name="Ugo MANTEL" userId="2d5b7065-31bb-4181-a7f8-a73bf0c30211" providerId="ADAL" clId="{F05BB0D5-3454-45DC-8378-DA45B79D9A06}" dt="2020-10-02T13:04:32.614" v="1519" actId="790"/>
          <ac:spMkLst>
            <pc:docMk/>
            <pc:sldMk cId="554771587" sldId="7089"/>
            <ac:spMk id="84" creationId="{BEB94551-8AD6-41D2-9CC1-108130024DB7}"/>
          </ac:spMkLst>
        </pc:spChg>
        <pc:spChg chg="mod">
          <ac:chgData name="Ugo MANTEL" userId="2d5b7065-31bb-4181-a7f8-a73bf0c30211" providerId="ADAL" clId="{F05BB0D5-3454-45DC-8378-DA45B79D9A06}" dt="2020-10-02T13:04:32.615" v="1520" actId="790"/>
          <ac:spMkLst>
            <pc:docMk/>
            <pc:sldMk cId="554771587" sldId="7089"/>
            <ac:spMk id="85" creationId="{FE8A55E8-0B7A-4BE2-BB01-E5664B407AA7}"/>
          </ac:spMkLst>
        </pc:spChg>
        <pc:spChg chg="mod">
          <ac:chgData name="Ugo MANTEL" userId="2d5b7065-31bb-4181-a7f8-a73bf0c30211" providerId="ADAL" clId="{F05BB0D5-3454-45DC-8378-DA45B79D9A06}" dt="2020-10-02T13:04:32.607" v="1509" actId="790"/>
          <ac:spMkLst>
            <pc:docMk/>
            <pc:sldMk cId="554771587" sldId="7089"/>
            <ac:spMk id="87" creationId="{369FBC93-33CC-419E-81E7-ED99B2B84745}"/>
          </ac:spMkLst>
        </pc:spChg>
        <pc:spChg chg="mod">
          <ac:chgData name="Ugo MANTEL" userId="2d5b7065-31bb-4181-a7f8-a73bf0c30211" providerId="ADAL" clId="{F05BB0D5-3454-45DC-8378-DA45B79D9A06}" dt="2020-10-02T13:04:32.608" v="1510" actId="790"/>
          <ac:spMkLst>
            <pc:docMk/>
            <pc:sldMk cId="554771587" sldId="7089"/>
            <ac:spMk id="90" creationId="{57844CA3-74CB-4A77-A57A-5C7500F806DC}"/>
          </ac:spMkLst>
        </pc:spChg>
        <pc:spChg chg="mod">
          <ac:chgData name="Ugo MANTEL" userId="2d5b7065-31bb-4181-a7f8-a73bf0c30211" providerId="ADAL" clId="{F05BB0D5-3454-45DC-8378-DA45B79D9A06}" dt="2020-10-02T13:04:32.609" v="1511" actId="790"/>
          <ac:spMkLst>
            <pc:docMk/>
            <pc:sldMk cId="554771587" sldId="7089"/>
            <ac:spMk id="91" creationId="{EC2DDCD0-692A-4FCA-B2D9-C80A11DCC748}"/>
          </ac:spMkLst>
        </pc:spChg>
        <pc:spChg chg="mod">
          <ac:chgData name="Ugo MANTEL" userId="2d5b7065-31bb-4181-a7f8-a73bf0c30211" providerId="ADAL" clId="{F05BB0D5-3454-45DC-8378-DA45B79D9A06}" dt="2020-10-02T13:04:32.609" v="1512" actId="790"/>
          <ac:spMkLst>
            <pc:docMk/>
            <pc:sldMk cId="554771587" sldId="7089"/>
            <ac:spMk id="92" creationId="{EB0120F0-E514-4F9C-B7AF-360869814C92}"/>
          </ac:spMkLst>
        </pc:spChg>
        <pc:spChg chg="mod">
          <ac:chgData name="Ugo MANTEL" userId="2d5b7065-31bb-4181-a7f8-a73bf0c30211" providerId="ADAL" clId="{F05BB0D5-3454-45DC-8378-DA45B79D9A06}" dt="2020-10-02T13:04:32.610" v="1513" actId="790"/>
          <ac:spMkLst>
            <pc:docMk/>
            <pc:sldMk cId="554771587" sldId="7089"/>
            <ac:spMk id="93" creationId="{2DFFA865-64D9-43BD-8616-77D06B3DD803}"/>
          </ac:spMkLst>
        </pc:spChg>
        <pc:spChg chg="mod">
          <ac:chgData name="Ugo MANTEL" userId="2d5b7065-31bb-4181-a7f8-a73bf0c30211" providerId="ADAL" clId="{F05BB0D5-3454-45DC-8378-DA45B79D9A06}" dt="2020-10-02T13:04:32.633" v="1545" actId="790"/>
          <ac:spMkLst>
            <pc:docMk/>
            <pc:sldMk cId="554771587" sldId="7089"/>
            <ac:spMk id="94" creationId="{9C9F2D24-9073-45C0-B88A-BB6D0AD2D5D0}"/>
          </ac:spMkLst>
        </pc:spChg>
        <pc:spChg chg="mod">
          <ac:chgData name="Ugo MANTEL" userId="2d5b7065-31bb-4181-a7f8-a73bf0c30211" providerId="ADAL" clId="{F05BB0D5-3454-45DC-8378-DA45B79D9A06}" dt="2020-10-02T13:04:32.634" v="1546" actId="790"/>
          <ac:spMkLst>
            <pc:docMk/>
            <pc:sldMk cId="554771587" sldId="7089"/>
            <ac:spMk id="95" creationId="{FE9A3CCF-0E1C-4A01-B825-6EC293BD6D25}"/>
          </ac:spMkLst>
        </pc:spChg>
        <pc:spChg chg="mod">
          <ac:chgData name="Ugo MANTEL" userId="2d5b7065-31bb-4181-a7f8-a73bf0c30211" providerId="ADAL" clId="{F05BB0D5-3454-45DC-8378-DA45B79D9A06}" dt="2020-10-02T13:04:32.635" v="1547" actId="790"/>
          <ac:spMkLst>
            <pc:docMk/>
            <pc:sldMk cId="554771587" sldId="7089"/>
            <ac:spMk id="96" creationId="{7F6CF344-8867-42BA-B9C8-1B0814B86C77}"/>
          </ac:spMkLst>
        </pc:spChg>
        <pc:spChg chg="mod">
          <ac:chgData name="Ugo MANTEL" userId="2d5b7065-31bb-4181-a7f8-a73bf0c30211" providerId="ADAL" clId="{F05BB0D5-3454-45DC-8378-DA45B79D9A06}" dt="2020-10-02T13:04:32.636" v="1548" actId="790"/>
          <ac:spMkLst>
            <pc:docMk/>
            <pc:sldMk cId="554771587" sldId="7089"/>
            <ac:spMk id="97" creationId="{89FD5C46-1A02-4BD4-BDD0-AE2F9F2302BC}"/>
          </ac:spMkLst>
        </pc:spChg>
        <pc:spChg chg="mod">
          <ac:chgData name="Ugo MANTEL" userId="2d5b7065-31bb-4181-a7f8-a73bf0c30211" providerId="ADAL" clId="{F05BB0D5-3454-45DC-8378-DA45B79D9A06}" dt="2020-10-02T13:04:32.647" v="1557" actId="790"/>
          <ac:spMkLst>
            <pc:docMk/>
            <pc:sldMk cId="554771587" sldId="7089"/>
            <ac:spMk id="101" creationId="{1615A055-1FE9-4630-8EE5-D74DF04310BF}"/>
          </ac:spMkLst>
        </pc:spChg>
        <pc:spChg chg="mod">
          <ac:chgData name="Ugo MANTEL" userId="2d5b7065-31bb-4181-a7f8-a73bf0c30211" providerId="ADAL" clId="{F05BB0D5-3454-45DC-8378-DA45B79D9A06}" dt="2020-10-02T13:04:32.647" v="1558" actId="790"/>
          <ac:spMkLst>
            <pc:docMk/>
            <pc:sldMk cId="554771587" sldId="7089"/>
            <ac:spMk id="102" creationId="{26FFA62C-B22D-4AD0-8C66-A2F9A60CEE46}"/>
          </ac:spMkLst>
        </pc:spChg>
        <pc:spChg chg="mod">
          <ac:chgData name="Ugo MANTEL" userId="2d5b7065-31bb-4181-a7f8-a73bf0c30211" providerId="ADAL" clId="{F05BB0D5-3454-45DC-8378-DA45B79D9A06}" dt="2020-10-02T13:04:32.636" v="1549" actId="790"/>
          <ac:spMkLst>
            <pc:docMk/>
            <pc:sldMk cId="554771587" sldId="7089"/>
            <ac:spMk id="103" creationId="{61ABFF05-F090-4F9C-9748-EB4E2AC9ACBA}"/>
          </ac:spMkLst>
        </pc:spChg>
        <pc:spChg chg="mod">
          <ac:chgData name="Ugo MANTEL" userId="2d5b7065-31bb-4181-a7f8-a73bf0c30211" providerId="ADAL" clId="{F05BB0D5-3454-45DC-8378-DA45B79D9A06}" dt="2020-10-02T13:04:32.611" v="1514" actId="790"/>
          <ac:spMkLst>
            <pc:docMk/>
            <pc:sldMk cId="554771587" sldId="7089"/>
            <ac:spMk id="104" creationId="{FD85FFAD-67AA-432A-A092-63B328817A7F}"/>
          </ac:spMkLst>
        </pc:spChg>
        <pc:spChg chg="mod">
          <ac:chgData name="Ugo MANTEL" userId="2d5b7065-31bb-4181-a7f8-a73bf0c30211" providerId="ADAL" clId="{F05BB0D5-3454-45DC-8378-DA45B79D9A06}" dt="2020-10-02T13:04:32.637" v="1550" actId="790"/>
          <ac:spMkLst>
            <pc:docMk/>
            <pc:sldMk cId="554771587" sldId="7089"/>
            <ac:spMk id="105" creationId="{202D74BB-1153-480E-86C5-37803D6DAC96}"/>
          </ac:spMkLst>
        </pc:spChg>
        <pc:spChg chg="mod">
          <ac:chgData name="Ugo MANTEL" userId="2d5b7065-31bb-4181-a7f8-a73bf0c30211" providerId="ADAL" clId="{F05BB0D5-3454-45DC-8378-DA45B79D9A06}" dt="2020-10-02T13:04:32.616" v="1522" actId="790"/>
          <ac:spMkLst>
            <pc:docMk/>
            <pc:sldMk cId="554771587" sldId="7089"/>
            <ac:spMk id="106" creationId="{B668B110-E21A-4E33-B7D0-3E9EA6FF2B07}"/>
          </ac:spMkLst>
        </pc:spChg>
        <pc:spChg chg="mod">
          <ac:chgData name="Ugo MANTEL" userId="2d5b7065-31bb-4181-a7f8-a73bf0c30211" providerId="ADAL" clId="{F05BB0D5-3454-45DC-8378-DA45B79D9A06}" dt="2020-10-02T13:04:32.617" v="1523" actId="790"/>
          <ac:spMkLst>
            <pc:docMk/>
            <pc:sldMk cId="554771587" sldId="7089"/>
            <ac:spMk id="107" creationId="{F14D22FD-4BD9-4538-8DEB-2884AD708E40}"/>
          </ac:spMkLst>
        </pc:spChg>
        <pc:spChg chg="mod">
          <ac:chgData name="Ugo MANTEL" userId="2d5b7065-31bb-4181-a7f8-a73bf0c30211" providerId="ADAL" clId="{F05BB0D5-3454-45DC-8378-DA45B79D9A06}" dt="2020-10-02T13:04:32.618" v="1524" actId="790"/>
          <ac:spMkLst>
            <pc:docMk/>
            <pc:sldMk cId="554771587" sldId="7089"/>
            <ac:spMk id="108" creationId="{DA1538A2-EB70-4130-B00A-E860707A51AD}"/>
          </ac:spMkLst>
        </pc:spChg>
        <pc:spChg chg="mod">
          <ac:chgData name="Ugo MANTEL" userId="2d5b7065-31bb-4181-a7f8-a73bf0c30211" providerId="ADAL" clId="{F05BB0D5-3454-45DC-8378-DA45B79D9A06}" dt="2020-10-02T13:04:32.598" v="1502" actId="790"/>
          <ac:spMkLst>
            <pc:docMk/>
            <pc:sldMk cId="554771587" sldId="7089"/>
            <ac:spMk id="109" creationId="{4ECC307B-5762-484B-95C3-CE4E6DCFD810}"/>
          </ac:spMkLst>
        </pc:spChg>
        <pc:spChg chg="mod">
          <ac:chgData name="Ugo MANTEL" userId="2d5b7065-31bb-4181-a7f8-a73bf0c30211" providerId="ADAL" clId="{F05BB0D5-3454-45DC-8378-DA45B79D9A06}" dt="2020-10-02T13:04:32.599" v="1503" actId="790"/>
          <ac:spMkLst>
            <pc:docMk/>
            <pc:sldMk cId="554771587" sldId="7089"/>
            <ac:spMk id="110" creationId="{31B10026-F685-4E9C-8685-A675CDC44995}"/>
          </ac:spMkLst>
        </pc:spChg>
        <pc:spChg chg="mod">
          <ac:chgData name="Ugo MANTEL" userId="2d5b7065-31bb-4181-a7f8-a73bf0c30211" providerId="ADAL" clId="{F05BB0D5-3454-45DC-8378-DA45B79D9A06}" dt="2020-10-02T13:04:32.619" v="1525" actId="790"/>
          <ac:spMkLst>
            <pc:docMk/>
            <pc:sldMk cId="554771587" sldId="7089"/>
            <ac:spMk id="111" creationId="{14008A6E-1532-4CA1-98E0-2031FA688935}"/>
          </ac:spMkLst>
        </pc:spChg>
        <pc:spChg chg="mod">
          <ac:chgData name="Ugo MANTEL" userId="2d5b7065-31bb-4181-a7f8-a73bf0c30211" providerId="ADAL" clId="{F05BB0D5-3454-45DC-8378-DA45B79D9A06}" dt="2020-10-02T13:04:32.620" v="1526" actId="790"/>
          <ac:spMkLst>
            <pc:docMk/>
            <pc:sldMk cId="554771587" sldId="7089"/>
            <ac:spMk id="112" creationId="{2FEB3B24-853A-44E3-95A4-6AFD8E1AB29B}"/>
          </ac:spMkLst>
        </pc:spChg>
        <pc:spChg chg="mod">
          <ac:chgData name="Ugo MANTEL" userId="2d5b7065-31bb-4181-a7f8-a73bf0c30211" providerId="ADAL" clId="{F05BB0D5-3454-45DC-8378-DA45B79D9A06}" dt="2020-10-02T13:04:32.621" v="1527" actId="790"/>
          <ac:spMkLst>
            <pc:docMk/>
            <pc:sldMk cId="554771587" sldId="7089"/>
            <ac:spMk id="113" creationId="{14DD2408-0C5F-4AC4-8ECE-A2A36344696D}"/>
          </ac:spMkLst>
        </pc:spChg>
        <pc:spChg chg="mod">
          <ac:chgData name="Ugo MANTEL" userId="2d5b7065-31bb-4181-a7f8-a73bf0c30211" providerId="ADAL" clId="{F05BB0D5-3454-45DC-8378-DA45B79D9A06}" dt="2020-10-02T13:04:32.621" v="1528" actId="790"/>
          <ac:spMkLst>
            <pc:docMk/>
            <pc:sldMk cId="554771587" sldId="7089"/>
            <ac:spMk id="114" creationId="{A1603E3B-BA87-4E7A-9265-FC5DD3713C42}"/>
          </ac:spMkLst>
        </pc:spChg>
        <pc:spChg chg="mod">
          <ac:chgData name="Ugo MANTEL" userId="2d5b7065-31bb-4181-a7f8-a73bf0c30211" providerId="ADAL" clId="{F05BB0D5-3454-45DC-8378-DA45B79D9A06}" dt="2020-10-02T13:04:32.622" v="1529" actId="790"/>
          <ac:spMkLst>
            <pc:docMk/>
            <pc:sldMk cId="554771587" sldId="7089"/>
            <ac:spMk id="115" creationId="{94754636-CF21-4C39-A5D3-912313BB6260}"/>
          </ac:spMkLst>
        </pc:spChg>
        <pc:spChg chg="mod">
          <ac:chgData name="Ugo MANTEL" userId="2d5b7065-31bb-4181-a7f8-a73bf0c30211" providerId="ADAL" clId="{F05BB0D5-3454-45DC-8378-DA45B79D9A06}" dt="2020-10-02T13:04:32.623" v="1530" actId="790"/>
          <ac:spMkLst>
            <pc:docMk/>
            <pc:sldMk cId="554771587" sldId="7089"/>
            <ac:spMk id="116" creationId="{CC81AC77-747A-4DF4-8EBA-28CB915B6C8D}"/>
          </ac:spMkLst>
        </pc:spChg>
        <pc:spChg chg="mod">
          <ac:chgData name="Ugo MANTEL" userId="2d5b7065-31bb-4181-a7f8-a73bf0c30211" providerId="ADAL" clId="{F05BB0D5-3454-45DC-8378-DA45B79D9A06}" dt="2020-10-02T13:04:32.624" v="1531" actId="790"/>
          <ac:spMkLst>
            <pc:docMk/>
            <pc:sldMk cId="554771587" sldId="7089"/>
            <ac:spMk id="117" creationId="{EB3CC980-D961-41C1-AE18-29F0691B4A88}"/>
          </ac:spMkLst>
        </pc:spChg>
        <pc:spChg chg="mod">
          <ac:chgData name="Ugo MANTEL" userId="2d5b7065-31bb-4181-a7f8-a73bf0c30211" providerId="ADAL" clId="{F05BB0D5-3454-45DC-8378-DA45B79D9A06}" dt="2020-10-02T13:04:32.624" v="1532" actId="790"/>
          <ac:spMkLst>
            <pc:docMk/>
            <pc:sldMk cId="554771587" sldId="7089"/>
            <ac:spMk id="118" creationId="{EC5A75AE-FFC0-451D-9F1D-A3F5FEE3E56B}"/>
          </ac:spMkLst>
        </pc:spChg>
        <pc:spChg chg="mod">
          <ac:chgData name="Ugo MANTEL" userId="2d5b7065-31bb-4181-a7f8-a73bf0c30211" providerId="ADAL" clId="{F05BB0D5-3454-45DC-8378-DA45B79D9A06}" dt="2020-10-02T13:04:32.625" v="1533" actId="790"/>
          <ac:spMkLst>
            <pc:docMk/>
            <pc:sldMk cId="554771587" sldId="7089"/>
            <ac:spMk id="119" creationId="{6576D780-71D3-4D9C-950A-4A43F9A3B6BD}"/>
          </ac:spMkLst>
        </pc:spChg>
        <pc:spChg chg="mod">
          <ac:chgData name="Ugo MANTEL" userId="2d5b7065-31bb-4181-a7f8-a73bf0c30211" providerId="ADAL" clId="{F05BB0D5-3454-45DC-8378-DA45B79D9A06}" dt="2020-10-02T13:04:32.626" v="1534" actId="790"/>
          <ac:spMkLst>
            <pc:docMk/>
            <pc:sldMk cId="554771587" sldId="7089"/>
            <ac:spMk id="120" creationId="{883B3A8C-5DD1-45F7-B840-339E5E2FDA87}"/>
          </ac:spMkLst>
        </pc:spChg>
        <pc:spChg chg="mod">
          <ac:chgData name="Ugo MANTEL" userId="2d5b7065-31bb-4181-a7f8-a73bf0c30211" providerId="ADAL" clId="{F05BB0D5-3454-45DC-8378-DA45B79D9A06}" dt="2020-10-02T13:04:32.627" v="1535" actId="790"/>
          <ac:spMkLst>
            <pc:docMk/>
            <pc:sldMk cId="554771587" sldId="7089"/>
            <ac:spMk id="121" creationId="{8C77DB43-0D57-42F7-99BB-A0883847CEB0}"/>
          </ac:spMkLst>
        </pc:spChg>
        <pc:spChg chg="mod">
          <ac:chgData name="Ugo MANTEL" userId="2d5b7065-31bb-4181-a7f8-a73bf0c30211" providerId="ADAL" clId="{F05BB0D5-3454-45DC-8378-DA45B79D9A06}" dt="2020-10-02T13:04:32.627" v="1536" actId="790"/>
          <ac:spMkLst>
            <pc:docMk/>
            <pc:sldMk cId="554771587" sldId="7089"/>
            <ac:spMk id="122" creationId="{3D7173C6-61B8-470A-9C50-577A50F78C07}"/>
          </ac:spMkLst>
        </pc:spChg>
        <pc:spChg chg="mod">
          <ac:chgData name="Ugo MANTEL" userId="2d5b7065-31bb-4181-a7f8-a73bf0c30211" providerId="ADAL" clId="{F05BB0D5-3454-45DC-8378-DA45B79D9A06}" dt="2020-10-02T13:04:32.628" v="1537" actId="790"/>
          <ac:spMkLst>
            <pc:docMk/>
            <pc:sldMk cId="554771587" sldId="7089"/>
            <ac:spMk id="123" creationId="{F0392B41-9968-4EB1-82B6-A09FDC097A85}"/>
          </ac:spMkLst>
        </pc:spChg>
        <pc:spChg chg="mod">
          <ac:chgData name="Ugo MANTEL" userId="2d5b7065-31bb-4181-a7f8-a73bf0c30211" providerId="ADAL" clId="{F05BB0D5-3454-45DC-8378-DA45B79D9A06}" dt="2020-10-02T13:04:32.629" v="1538" actId="790"/>
          <ac:spMkLst>
            <pc:docMk/>
            <pc:sldMk cId="554771587" sldId="7089"/>
            <ac:spMk id="124" creationId="{45653A91-063E-44F2-952A-66E6B39C6C0D}"/>
          </ac:spMkLst>
        </pc:spChg>
        <pc:spChg chg="mod">
          <ac:chgData name="Ugo MANTEL" userId="2d5b7065-31bb-4181-a7f8-a73bf0c30211" providerId="ADAL" clId="{F05BB0D5-3454-45DC-8378-DA45B79D9A06}" dt="2020-10-02T13:04:32.629" v="1539" actId="790"/>
          <ac:spMkLst>
            <pc:docMk/>
            <pc:sldMk cId="554771587" sldId="7089"/>
            <ac:spMk id="125" creationId="{C12CB9D4-9E25-45F1-8843-ECF6DB5DB68A}"/>
          </ac:spMkLst>
        </pc:spChg>
        <pc:spChg chg="mod">
          <ac:chgData name="Ugo MANTEL" userId="2d5b7065-31bb-4181-a7f8-a73bf0c30211" providerId="ADAL" clId="{F05BB0D5-3454-45DC-8378-DA45B79D9A06}" dt="2020-10-02T13:04:32.645" v="1555" actId="790"/>
          <ac:spMkLst>
            <pc:docMk/>
            <pc:sldMk cId="554771587" sldId="7089"/>
            <ac:spMk id="126" creationId="{99B24971-AFBE-4816-A877-E67D2C6F618B}"/>
          </ac:spMkLst>
        </pc:spChg>
        <pc:spChg chg="mod">
          <ac:chgData name="Ugo MANTEL" userId="2d5b7065-31bb-4181-a7f8-a73bf0c30211" providerId="ADAL" clId="{F05BB0D5-3454-45DC-8378-DA45B79D9A06}" dt="2020-10-02T13:04:32.638" v="1551" actId="790"/>
          <ac:spMkLst>
            <pc:docMk/>
            <pc:sldMk cId="554771587" sldId="7089"/>
            <ac:spMk id="128" creationId="{D1AA31DB-E764-4FC5-BEF5-895B2C06956F}"/>
          </ac:spMkLst>
        </pc:spChg>
        <pc:spChg chg="mod">
          <ac:chgData name="Ugo MANTEL" userId="2d5b7065-31bb-4181-a7f8-a73bf0c30211" providerId="ADAL" clId="{F05BB0D5-3454-45DC-8378-DA45B79D9A06}" dt="2020-10-02T13:04:32.646" v="1556" actId="790"/>
          <ac:spMkLst>
            <pc:docMk/>
            <pc:sldMk cId="554771587" sldId="7089"/>
            <ac:spMk id="131" creationId="{41992B07-9E81-48C1-8E2F-8D3002AB306A}"/>
          </ac:spMkLst>
        </pc:spChg>
        <pc:spChg chg="mod">
          <ac:chgData name="Ugo MANTEL" userId="2d5b7065-31bb-4181-a7f8-a73bf0c30211" providerId="ADAL" clId="{F05BB0D5-3454-45DC-8378-DA45B79D9A06}" dt="2020-10-02T13:04:32.649" v="1561" actId="790"/>
          <ac:spMkLst>
            <pc:docMk/>
            <pc:sldMk cId="554771587" sldId="7089"/>
            <ac:spMk id="134" creationId="{F71FB997-9948-4A2D-ADBC-BE8D6BD12F7D}"/>
          </ac:spMkLst>
        </pc:spChg>
        <pc:spChg chg="mod">
          <ac:chgData name="Ugo MANTEL" userId="2d5b7065-31bb-4181-a7f8-a73bf0c30211" providerId="ADAL" clId="{F05BB0D5-3454-45DC-8378-DA45B79D9A06}" dt="2020-10-02T13:04:32.649" v="1562" actId="790"/>
          <ac:spMkLst>
            <pc:docMk/>
            <pc:sldMk cId="554771587" sldId="7089"/>
            <ac:spMk id="135" creationId="{31B11279-E75B-405E-BA87-B099864062A0}"/>
          </ac:spMkLst>
        </pc:spChg>
        <pc:spChg chg="mod">
          <ac:chgData name="Ugo MANTEL" userId="2d5b7065-31bb-4181-a7f8-a73bf0c30211" providerId="ADAL" clId="{F05BB0D5-3454-45DC-8378-DA45B79D9A06}" dt="2020-10-02T13:04:32.630" v="1540" actId="790"/>
          <ac:spMkLst>
            <pc:docMk/>
            <pc:sldMk cId="554771587" sldId="7089"/>
            <ac:spMk id="137" creationId="{EBC0BF2E-2394-4848-88BE-E5C107D23CA1}"/>
          </ac:spMkLst>
        </pc:spChg>
        <pc:spChg chg="mod">
          <ac:chgData name="Ugo MANTEL" userId="2d5b7065-31bb-4181-a7f8-a73bf0c30211" providerId="ADAL" clId="{F05BB0D5-3454-45DC-8378-DA45B79D9A06}" dt="2020-10-02T13:04:32.631" v="1541" actId="790"/>
          <ac:spMkLst>
            <pc:docMk/>
            <pc:sldMk cId="554771587" sldId="7089"/>
            <ac:spMk id="138" creationId="{7D65E3D7-5DDF-46AE-A0F5-D92B88ECDED2}"/>
          </ac:spMkLst>
        </pc:spChg>
        <pc:spChg chg="mod">
          <ac:chgData name="Ugo MANTEL" userId="2d5b7065-31bb-4181-a7f8-a73bf0c30211" providerId="ADAL" clId="{F05BB0D5-3454-45DC-8378-DA45B79D9A06}" dt="2020-10-02T13:04:32.631" v="1542" actId="790"/>
          <ac:spMkLst>
            <pc:docMk/>
            <pc:sldMk cId="554771587" sldId="7089"/>
            <ac:spMk id="139" creationId="{FDF7A913-D092-4B17-A259-CA3F4B6D3405}"/>
          </ac:spMkLst>
        </pc:spChg>
        <pc:spChg chg="mod">
          <ac:chgData name="Ugo MANTEL" userId="2d5b7065-31bb-4181-a7f8-a73bf0c30211" providerId="ADAL" clId="{F05BB0D5-3454-45DC-8378-DA45B79D9A06}" dt="2020-10-02T13:04:32.632" v="1543" actId="790"/>
          <ac:spMkLst>
            <pc:docMk/>
            <pc:sldMk cId="554771587" sldId="7089"/>
            <ac:spMk id="140" creationId="{AB80A9D7-8C95-4C47-AEF4-EB3EA40E9032}"/>
          </ac:spMkLst>
        </pc:spChg>
        <pc:spChg chg="mod">
          <ac:chgData name="Ugo MANTEL" userId="2d5b7065-31bb-4181-a7f8-a73bf0c30211" providerId="ADAL" clId="{F05BB0D5-3454-45DC-8378-DA45B79D9A06}" dt="2020-10-02T13:04:32.633" v="1544" actId="790"/>
          <ac:spMkLst>
            <pc:docMk/>
            <pc:sldMk cId="554771587" sldId="7089"/>
            <ac:spMk id="148" creationId="{25992A77-6B87-4B2B-8D07-B9238BF3F0A7}"/>
          </ac:spMkLst>
        </pc:spChg>
        <pc:spChg chg="mod">
          <ac:chgData name="Ugo MANTEL" userId="2d5b7065-31bb-4181-a7f8-a73bf0c30211" providerId="ADAL" clId="{F05BB0D5-3454-45DC-8378-DA45B79D9A06}" dt="2020-10-02T13:04:32.639" v="1552" actId="790"/>
          <ac:spMkLst>
            <pc:docMk/>
            <pc:sldMk cId="554771587" sldId="7089"/>
            <ac:spMk id="149" creationId="{DC34049B-0477-4731-8D3A-BEA957D6CD1A}"/>
          </ac:spMkLst>
        </pc:spChg>
        <pc:spChg chg="mod">
          <ac:chgData name="Ugo MANTEL" userId="2d5b7065-31bb-4181-a7f8-a73bf0c30211" providerId="ADAL" clId="{F05BB0D5-3454-45DC-8378-DA45B79D9A06}" dt="2020-10-02T13:04:32.648" v="1559" actId="790"/>
          <ac:spMkLst>
            <pc:docMk/>
            <pc:sldMk cId="554771587" sldId="7089"/>
            <ac:spMk id="150" creationId="{F0AABDD4-8B4A-4F8B-BDE2-11BA83646A69}"/>
          </ac:spMkLst>
        </pc:spChg>
        <pc:spChg chg="mod">
          <ac:chgData name="Ugo MANTEL" userId="2d5b7065-31bb-4181-a7f8-a73bf0c30211" providerId="ADAL" clId="{F05BB0D5-3454-45DC-8378-DA45B79D9A06}" dt="2020-10-02T13:04:32.648" v="1560" actId="790"/>
          <ac:spMkLst>
            <pc:docMk/>
            <pc:sldMk cId="554771587" sldId="7089"/>
            <ac:spMk id="151" creationId="{93EFC7AB-0EFD-4F20-BB23-79B70F43FF89}"/>
          </ac:spMkLst>
        </pc:spChg>
        <pc:spChg chg="mod">
          <ac:chgData name="Ugo MANTEL" userId="2d5b7065-31bb-4181-a7f8-a73bf0c30211" providerId="ADAL" clId="{F05BB0D5-3454-45DC-8378-DA45B79D9A06}" dt="2020-10-02T13:04:32.651" v="1565" actId="790"/>
          <ac:spMkLst>
            <pc:docMk/>
            <pc:sldMk cId="554771587" sldId="7089"/>
            <ac:spMk id="154" creationId="{F036D833-673D-422D-A22A-3930DE736D22}"/>
          </ac:spMkLst>
        </pc:spChg>
        <pc:spChg chg="mod">
          <ac:chgData name="Ugo MANTEL" userId="2d5b7065-31bb-4181-a7f8-a73bf0c30211" providerId="ADAL" clId="{F05BB0D5-3454-45DC-8378-DA45B79D9A06}" dt="2020-10-02T13:04:32.652" v="1566" actId="790"/>
          <ac:spMkLst>
            <pc:docMk/>
            <pc:sldMk cId="554771587" sldId="7089"/>
            <ac:spMk id="155" creationId="{97EE1C23-2D9B-42F0-A8A5-E4DB3414BC72}"/>
          </ac:spMkLst>
        </pc:spChg>
        <pc:spChg chg="mod">
          <ac:chgData name="Ugo MANTEL" userId="2d5b7065-31bb-4181-a7f8-a73bf0c30211" providerId="ADAL" clId="{F05BB0D5-3454-45DC-8378-DA45B79D9A06}" dt="2020-10-02T13:04:32.650" v="1563" actId="790"/>
          <ac:spMkLst>
            <pc:docMk/>
            <pc:sldMk cId="554771587" sldId="7089"/>
            <ac:spMk id="156" creationId="{F082D3D3-3654-4484-A3AB-8B157DCA8F95}"/>
          </ac:spMkLst>
        </pc:spChg>
        <pc:spChg chg="mod">
          <ac:chgData name="Ugo MANTEL" userId="2d5b7065-31bb-4181-a7f8-a73bf0c30211" providerId="ADAL" clId="{F05BB0D5-3454-45DC-8378-DA45B79D9A06}" dt="2020-10-02T13:04:32.650" v="1564" actId="790"/>
          <ac:spMkLst>
            <pc:docMk/>
            <pc:sldMk cId="554771587" sldId="7089"/>
            <ac:spMk id="157" creationId="{25BCA09D-EE9A-4FC7-A4F8-39BA83C4145E}"/>
          </ac:spMkLst>
        </pc:spChg>
        <pc:spChg chg="mod">
          <ac:chgData name="Ugo MANTEL" userId="2d5b7065-31bb-4181-a7f8-a73bf0c30211" providerId="ADAL" clId="{F05BB0D5-3454-45DC-8378-DA45B79D9A06}" dt="2020-10-02T13:04:32.654" v="1569" actId="790"/>
          <ac:spMkLst>
            <pc:docMk/>
            <pc:sldMk cId="554771587" sldId="7089"/>
            <ac:spMk id="160" creationId="{0C33FFD5-10CE-4A2F-B91D-466ECAD715B0}"/>
          </ac:spMkLst>
        </pc:spChg>
        <pc:spChg chg="mod">
          <ac:chgData name="Ugo MANTEL" userId="2d5b7065-31bb-4181-a7f8-a73bf0c30211" providerId="ADAL" clId="{F05BB0D5-3454-45DC-8378-DA45B79D9A06}" dt="2020-10-02T13:04:32.654" v="1570" actId="790"/>
          <ac:spMkLst>
            <pc:docMk/>
            <pc:sldMk cId="554771587" sldId="7089"/>
            <ac:spMk id="161" creationId="{06C09F0F-BB6A-4D15-B423-C84213D1E808}"/>
          </ac:spMkLst>
        </pc:spChg>
        <pc:spChg chg="mod">
          <ac:chgData name="Ugo MANTEL" userId="2d5b7065-31bb-4181-a7f8-a73bf0c30211" providerId="ADAL" clId="{F05BB0D5-3454-45DC-8378-DA45B79D9A06}" dt="2020-10-02T13:04:32.652" v="1567" actId="790"/>
          <ac:spMkLst>
            <pc:docMk/>
            <pc:sldMk cId="554771587" sldId="7089"/>
            <ac:spMk id="162" creationId="{CC88B5F5-A843-4FF3-8DA9-D6C303243B9C}"/>
          </ac:spMkLst>
        </pc:spChg>
        <pc:spChg chg="mod">
          <ac:chgData name="Ugo MANTEL" userId="2d5b7065-31bb-4181-a7f8-a73bf0c30211" providerId="ADAL" clId="{F05BB0D5-3454-45DC-8378-DA45B79D9A06}" dt="2020-10-02T13:04:32.653" v="1568" actId="790"/>
          <ac:spMkLst>
            <pc:docMk/>
            <pc:sldMk cId="554771587" sldId="7089"/>
            <ac:spMk id="163" creationId="{00EEFD2C-5F1C-4671-A395-288DA3BF7062}"/>
          </ac:spMkLst>
        </pc:spChg>
        <pc:spChg chg="mod">
          <ac:chgData name="Ugo MANTEL" userId="2d5b7065-31bb-4181-a7f8-a73bf0c30211" providerId="ADAL" clId="{F05BB0D5-3454-45DC-8378-DA45B79D9A06}" dt="2020-10-02T13:04:32.656" v="1573" actId="790"/>
          <ac:spMkLst>
            <pc:docMk/>
            <pc:sldMk cId="554771587" sldId="7089"/>
            <ac:spMk id="166" creationId="{378B8DB9-09FB-4848-B24D-EC49307EC398}"/>
          </ac:spMkLst>
        </pc:spChg>
        <pc:spChg chg="mod">
          <ac:chgData name="Ugo MANTEL" userId="2d5b7065-31bb-4181-a7f8-a73bf0c30211" providerId="ADAL" clId="{F05BB0D5-3454-45DC-8378-DA45B79D9A06}" dt="2020-10-02T13:04:32.656" v="1574" actId="790"/>
          <ac:spMkLst>
            <pc:docMk/>
            <pc:sldMk cId="554771587" sldId="7089"/>
            <ac:spMk id="167" creationId="{C3A5AA05-B000-4576-BF03-3C3D1CC7D664}"/>
          </ac:spMkLst>
        </pc:spChg>
        <pc:spChg chg="mod">
          <ac:chgData name="Ugo MANTEL" userId="2d5b7065-31bb-4181-a7f8-a73bf0c30211" providerId="ADAL" clId="{F05BB0D5-3454-45DC-8378-DA45B79D9A06}" dt="2020-10-02T13:04:32.655" v="1571" actId="790"/>
          <ac:spMkLst>
            <pc:docMk/>
            <pc:sldMk cId="554771587" sldId="7089"/>
            <ac:spMk id="168" creationId="{EE7E3340-1F4E-4463-BD51-7A19151D1C27}"/>
          </ac:spMkLst>
        </pc:spChg>
        <pc:spChg chg="mod">
          <ac:chgData name="Ugo MANTEL" userId="2d5b7065-31bb-4181-a7f8-a73bf0c30211" providerId="ADAL" clId="{F05BB0D5-3454-45DC-8378-DA45B79D9A06}" dt="2020-10-02T13:04:32.655" v="1572" actId="790"/>
          <ac:spMkLst>
            <pc:docMk/>
            <pc:sldMk cId="554771587" sldId="7089"/>
            <ac:spMk id="169" creationId="{228F4CF2-B9DF-422D-A0A0-50C90C47021B}"/>
          </ac:spMkLst>
        </pc:spChg>
        <pc:spChg chg="mod">
          <ac:chgData name="Ugo MANTEL" userId="2d5b7065-31bb-4181-a7f8-a73bf0c30211" providerId="ADAL" clId="{F05BB0D5-3454-45DC-8378-DA45B79D9A06}" dt="2020-10-02T13:04:32.658" v="1575" actId="790"/>
          <ac:spMkLst>
            <pc:docMk/>
            <pc:sldMk cId="554771587" sldId="7089"/>
            <ac:spMk id="170" creationId="{1C48ADE2-F6FF-426A-BBA4-50E75CA8948A}"/>
          </ac:spMkLst>
        </pc:spChg>
      </pc:sldChg>
      <pc:sldChg chg="modSp mod">
        <pc:chgData name="Ugo MANTEL" userId="2d5b7065-31bb-4181-a7f8-a73bf0c30211" providerId="ADAL" clId="{F05BB0D5-3454-45DC-8378-DA45B79D9A06}" dt="2020-10-02T13:04:33.614" v="2534" actId="790"/>
        <pc:sldMkLst>
          <pc:docMk/>
          <pc:sldMk cId="3793351039" sldId="7090"/>
        </pc:sldMkLst>
        <pc:spChg chg="mod">
          <ac:chgData name="Ugo MANTEL" userId="2d5b7065-31bb-4181-a7f8-a73bf0c30211" providerId="ADAL" clId="{F05BB0D5-3454-45DC-8378-DA45B79D9A06}" dt="2020-10-02T13:04:33.608" v="2531" actId="790"/>
          <ac:spMkLst>
            <pc:docMk/>
            <pc:sldMk cId="3793351039" sldId="7090"/>
            <ac:spMk id="2" creationId="{24E8BB55-4454-4FE4-A0CA-08C2677BB30A}"/>
          </ac:spMkLst>
        </pc:spChg>
        <pc:spChg chg="mod">
          <ac:chgData name="Ugo MANTEL" userId="2d5b7065-31bb-4181-a7f8-a73bf0c30211" providerId="ADAL" clId="{F05BB0D5-3454-45DC-8378-DA45B79D9A06}" dt="2020-10-02T13:04:33.608" v="2532" actId="790"/>
          <ac:spMkLst>
            <pc:docMk/>
            <pc:sldMk cId="3793351039" sldId="7090"/>
            <ac:spMk id="3" creationId="{15C80389-6548-4E62-B1DE-3FED01EC77DC}"/>
          </ac:spMkLst>
        </pc:spChg>
        <pc:spChg chg="mod">
          <ac:chgData name="Ugo MANTEL" userId="2d5b7065-31bb-4181-a7f8-a73bf0c30211" providerId="ADAL" clId="{F05BB0D5-3454-45DC-8378-DA45B79D9A06}" dt="2020-10-02T13:04:33.609" v="2533" actId="790"/>
          <ac:spMkLst>
            <pc:docMk/>
            <pc:sldMk cId="3793351039" sldId="7090"/>
            <ac:spMk id="5" creationId="{E411076D-BD7D-4F3C-BA4F-785FA7DEB8E0}"/>
          </ac:spMkLst>
        </pc:spChg>
        <pc:spChg chg="mod">
          <ac:chgData name="Ugo MANTEL" userId="2d5b7065-31bb-4181-a7f8-a73bf0c30211" providerId="ADAL" clId="{F05BB0D5-3454-45DC-8378-DA45B79D9A06}" dt="2020-10-02T13:04:33.614" v="2534" actId="790"/>
          <ac:spMkLst>
            <pc:docMk/>
            <pc:sldMk cId="3793351039" sldId="7090"/>
            <ac:spMk id="9" creationId="{624CC054-0A35-4E7C-A671-C465564E0783}"/>
          </ac:spMkLst>
        </pc:spChg>
      </pc:sldChg>
      <pc:sldChg chg="modSp mod">
        <pc:chgData name="Ugo MANTEL" userId="2d5b7065-31bb-4181-a7f8-a73bf0c30211" providerId="ADAL" clId="{F05BB0D5-3454-45DC-8378-DA45B79D9A06}" dt="2020-10-02T13:04:33.797" v="2687" actId="790"/>
        <pc:sldMkLst>
          <pc:docMk/>
          <pc:sldMk cId="3679436148" sldId="7091"/>
        </pc:sldMkLst>
        <pc:spChg chg="mod">
          <ac:chgData name="Ugo MANTEL" userId="2d5b7065-31bb-4181-a7f8-a73bf0c30211" providerId="ADAL" clId="{F05BB0D5-3454-45DC-8378-DA45B79D9A06}" dt="2020-10-02T13:04:33.790" v="2684" actId="790"/>
          <ac:spMkLst>
            <pc:docMk/>
            <pc:sldMk cId="3679436148" sldId="7091"/>
            <ac:spMk id="2" creationId="{24E8BB55-4454-4FE4-A0CA-08C2677BB30A}"/>
          </ac:spMkLst>
        </pc:spChg>
        <pc:spChg chg="mod">
          <ac:chgData name="Ugo MANTEL" userId="2d5b7065-31bb-4181-a7f8-a73bf0c30211" providerId="ADAL" clId="{F05BB0D5-3454-45DC-8378-DA45B79D9A06}" dt="2020-10-02T13:04:33.790" v="2685" actId="790"/>
          <ac:spMkLst>
            <pc:docMk/>
            <pc:sldMk cId="3679436148" sldId="7091"/>
            <ac:spMk id="3" creationId="{15C80389-6548-4E62-B1DE-3FED01EC77DC}"/>
          </ac:spMkLst>
        </pc:spChg>
        <pc:spChg chg="mod">
          <ac:chgData name="Ugo MANTEL" userId="2d5b7065-31bb-4181-a7f8-a73bf0c30211" providerId="ADAL" clId="{F05BB0D5-3454-45DC-8378-DA45B79D9A06}" dt="2020-10-02T13:04:33.791" v="2686" actId="790"/>
          <ac:spMkLst>
            <pc:docMk/>
            <pc:sldMk cId="3679436148" sldId="7091"/>
            <ac:spMk id="5" creationId="{E411076D-BD7D-4F3C-BA4F-785FA7DEB8E0}"/>
          </ac:spMkLst>
        </pc:spChg>
        <pc:spChg chg="mod">
          <ac:chgData name="Ugo MANTEL" userId="2d5b7065-31bb-4181-a7f8-a73bf0c30211" providerId="ADAL" clId="{F05BB0D5-3454-45DC-8378-DA45B79D9A06}" dt="2020-10-02T13:04:33.797" v="2687" actId="790"/>
          <ac:spMkLst>
            <pc:docMk/>
            <pc:sldMk cId="3679436148" sldId="7091"/>
            <ac:spMk id="9" creationId="{624CC054-0A35-4E7C-A671-C465564E0783}"/>
          </ac:spMkLst>
        </pc:spChg>
      </pc:sldChg>
      <pc:sldChg chg="modSp mod">
        <pc:chgData name="Ugo MANTEL" userId="2d5b7065-31bb-4181-a7f8-a73bf0c30211" providerId="ADAL" clId="{F05BB0D5-3454-45DC-8378-DA45B79D9A06}" dt="2020-10-02T13:04:37.003" v="5621" actId="790"/>
        <pc:sldMkLst>
          <pc:docMk/>
          <pc:sldMk cId="1289821407" sldId="7092"/>
        </pc:sldMkLst>
        <pc:spChg chg="mod">
          <ac:chgData name="Ugo MANTEL" userId="2d5b7065-31bb-4181-a7f8-a73bf0c30211" providerId="ADAL" clId="{F05BB0D5-3454-45DC-8378-DA45B79D9A06}" dt="2020-10-02T13:04:36.979" v="5601" actId="790"/>
          <ac:spMkLst>
            <pc:docMk/>
            <pc:sldMk cId="1289821407" sldId="7092"/>
            <ac:spMk id="3" creationId="{E5010DA3-233A-4C0B-9142-F7481F6191F9}"/>
          </ac:spMkLst>
        </pc:spChg>
        <pc:spChg chg="mod">
          <ac:chgData name="Ugo MANTEL" userId="2d5b7065-31bb-4181-a7f8-a73bf0c30211" providerId="ADAL" clId="{F05BB0D5-3454-45DC-8378-DA45B79D9A06}" dt="2020-10-02T13:04:36.979" v="5602" actId="790"/>
          <ac:spMkLst>
            <pc:docMk/>
            <pc:sldMk cId="1289821407" sldId="7092"/>
            <ac:spMk id="5" creationId="{29D997DC-0DA8-4DA4-89F2-4DBD2D59A052}"/>
          </ac:spMkLst>
        </pc:spChg>
        <pc:spChg chg="mod">
          <ac:chgData name="Ugo MANTEL" userId="2d5b7065-31bb-4181-a7f8-a73bf0c30211" providerId="ADAL" clId="{F05BB0D5-3454-45DC-8378-DA45B79D9A06}" dt="2020-10-02T13:04:36.980" v="5603" actId="790"/>
          <ac:spMkLst>
            <pc:docMk/>
            <pc:sldMk cId="1289821407" sldId="7092"/>
            <ac:spMk id="6" creationId="{4409088A-28BB-4727-A153-86FAD7EB84FC}"/>
          </ac:spMkLst>
        </pc:spChg>
        <pc:spChg chg="mod">
          <ac:chgData name="Ugo MANTEL" userId="2d5b7065-31bb-4181-a7f8-a73bf0c30211" providerId="ADAL" clId="{F05BB0D5-3454-45DC-8378-DA45B79D9A06}" dt="2020-10-02T13:04:36.981" v="5604" actId="790"/>
          <ac:spMkLst>
            <pc:docMk/>
            <pc:sldMk cId="1289821407" sldId="7092"/>
            <ac:spMk id="7" creationId="{0685641D-9463-4A9F-842A-5FD43CB54C3D}"/>
          </ac:spMkLst>
        </pc:spChg>
        <pc:spChg chg="mod">
          <ac:chgData name="Ugo MANTEL" userId="2d5b7065-31bb-4181-a7f8-a73bf0c30211" providerId="ADAL" clId="{F05BB0D5-3454-45DC-8378-DA45B79D9A06}" dt="2020-10-02T13:04:36.982" v="5605" actId="790"/>
          <ac:spMkLst>
            <pc:docMk/>
            <pc:sldMk cId="1289821407" sldId="7092"/>
            <ac:spMk id="8" creationId="{C057BD74-C78B-4AC3-94E8-18486BF32FD1}"/>
          </ac:spMkLst>
        </pc:spChg>
        <pc:spChg chg="mod">
          <ac:chgData name="Ugo MANTEL" userId="2d5b7065-31bb-4181-a7f8-a73bf0c30211" providerId="ADAL" clId="{F05BB0D5-3454-45DC-8378-DA45B79D9A06}" dt="2020-10-02T13:04:36.983" v="5606" actId="790"/>
          <ac:spMkLst>
            <pc:docMk/>
            <pc:sldMk cId="1289821407" sldId="7092"/>
            <ac:spMk id="13" creationId="{58290E5D-BAFF-46AF-A116-D469701951CF}"/>
          </ac:spMkLst>
        </pc:spChg>
        <pc:spChg chg="mod">
          <ac:chgData name="Ugo MANTEL" userId="2d5b7065-31bb-4181-a7f8-a73bf0c30211" providerId="ADAL" clId="{F05BB0D5-3454-45DC-8378-DA45B79D9A06}" dt="2020-10-02T13:04:36.984" v="5607" actId="790"/>
          <ac:spMkLst>
            <pc:docMk/>
            <pc:sldMk cId="1289821407" sldId="7092"/>
            <ac:spMk id="16" creationId="{C559AF43-BD4F-4D4D-B32D-CC291C49FEA2}"/>
          </ac:spMkLst>
        </pc:spChg>
        <pc:spChg chg="mod">
          <ac:chgData name="Ugo MANTEL" userId="2d5b7065-31bb-4181-a7f8-a73bf0c30211" providerId="ADAL" clId="{F05BB0D5-3454-45DC-8378-DA45B79D9A06}" dt="2020-10-02T13:04:36.985" v="5608" actId="790"/>
          <ac:spMkLst>
            <pc:docMk/>
            <pc:sldMk cId="1289821407" sldId="7092"/>
            <ac:spMk id="17" creationId="{85D65150-60A3-4C47-88CD-107E3DDF8567}"/>
          </ac:spMkLst>
        </pc:spChg>
        <pc:spChg chg="mod">
          <ac:chgData name="Ugo MANTEL" userId="2d5b7065-31bb-4181-a7f8-a73bf0c30211" providerId="ADAL" clId="{F05BB0D5-3454-45DC-8378-DA45B79D9A06}" dt="2020-10-02T13:04:36.986" v="5609" actId="790"/>
          <ac:spMkLst>
            <pc:docMk/>
            <pc:sldMk cId="1289821407" sldId="7092"/>
            <ac:spMk id="18" creationId="{FF2A3E71-F790-43F9-895F-DA4FB88A640C}"/>
          </ac:spMkLst>
        </pc:spChg>
        <pc:spChg chg="mod">
          <ac:chgData name="Ugo MANTEL" userId="2d5b7065-31bb-4181-a7f8-a73bf0c30211" providerId="ADAL" clId="{F05BB0D5-3454-45DC-8378-DA45B79D9A06}" dt="2020-10-02T13:04:36.986" v="5610" actId="790"/>
          <ac:spMkLst>
            <pc:docMk/>
            <pc:sldMk cId="1289821407" sldId="7092"/>
            <ac:spMk id="19" creationId="{02B34D9D-CAB9-4FC1-90D5-197DB49855F0}"/>
          </ac:spMkLst>
        </pc:spChg>
        <pc:spChg chg="mod">
          <ac:chgData name="Ugo MANTEL" userId="2d5b7065-31bb-4181-a7f8-a73bf0c30211" providerId="ADAL" clId="{F05BB0D5-3454-45DC-8378-DA45B79D9A06}" dt="2020-10-02T13:04:36.976" v="5600" actId="790"/>
          <ac:spMkLst>
            <pc:docMk/>
            <pc:sldMk cId="1289821407" sldId="7092"/>
            <ac:spMk id="20" creationId="{D7D998A4-C0A2-4344-97DF-ADA1A0B20363}"/>
          </ac:spMkLst>
        </pc:spChg>
        <pc:spChg chg="mod">
          <ac:chgData name="Ugo MANTEL" userId="2d5b7065-31bb-4181-a7f8-a73bf0c30211" providerId="ADAL" clId="{F05BB0D5-3454-45DC-8378-DA45B79D9A06}" dt="2020-10-02T13:04:36.989" v="5611" actId="790"/>
          <ac:spMkLst>
            <pc:docMk/>
            <pc:sldMk cId="1289821407" sldId="7092"/>
            <ac:spMk id="21" creationId="{F639CB13-89E0-4076-8B02-146C16F07D20}"/>
          </ac:spMkLst>
        </pc:spChg>
        <pc:spChg chg="mod">
          <ac:chgData name="Ugo MANTEL" userId="2d5b7065-31bb-4181-a7f8-a73bf0c30211" providerId="ADAL" clId="{F05BB0D5-3454-45DC-8378-DA45B79D9A06}" dt="2020-10-02T13:04:36.991" v="5612" actId="790"/>
          <ac:spMkLst>
            <pc:docMk/>
            <pc:sldMk cId="1289821407" sldId="7092"/>
            <ac:spMk id="28" creationId="{97F94F33-7EAF-42D8-8360-C29C2FD824E8}"/>
          </ac:spMkLst>
        </pc:spChg>
        <pc:spChg chg="mod">
          <ac:chgData name="Ugo MANTEL" userId="2d5b7065-31bb-4181-a7f8-a73bf0c30211" providerId="ADAL" clId="{F05BB0D5-3454-45DC-8378-DA45B79D9A06}" dt="2020-10-02T13:04:36.995" v="5615" actId="790"/>
          <ac:spMkLst>
            <pc:docMk/>
            <pc:sldMk cId="1289821407" sldId="7092"/>
            <ac:spMk id="36" creationId="{1234A545-2E0C-4675-A1E8-E46286C8B8B6}"/>
          </ac:spMkLst>
        </pc:spChg>
        <pc:spChg chg="mod">
          <ac:chgData name="Ugo MANTEL" userId="2d5b7065-31bb-4181-a7f8-a73bf0c30211" providerId="ADAL" clId="{F05BB0D5-3454-45DC-8378-DA45B79D9A06}" dt="2020-10-02T13:04:36.998" v="5618" actId="790"/>
          <ac:spMkLst>
            <pc:docMk/>
            <pc:sldMk cId="1289821407" sldId="7092"/>
            <ac:spMk id="41" creationId="{BAAC0DF8-8716-4AB0-AE9E-B5A580540BE2}"/>
          </ac:spMkLst>
        </pc:spChg>
        <pc:spChg chg="mod">
          <ac:chgData name="Ugo MANTEL" userId="2d5b7065-31bb-4181-a7f8-a73bf0c30211" providerId="ADAL" clId="{F05BB0D5-3454-45DC-8378-DA45B79D9A06}" dt="2020-10-02T13:04:36.997" v="5617" actId="790"/>
          <ac:spMkLst>
            <pc:docMk/>
            <pc:sldMk cId="1289821407" sldId="7092"/>
            <ac:spMk id="43" creationId="{629D3541-DD1F-42D2-A234-B5BA641FC332}"/>
          </ac:spMkLst>
        </pc:spChg>
        <pc:spChg chg="mod">
          <ac:chgData name="Ugo MANTEL" userId="2d5b7065-31bb-4181-a7f8-a73bf0c30211" providerId="ADAL" clId="{F05BB0D5-3454-45DC-8378-DA45B79D9A06}" dt="2020-10-02T13:04:36.996" v="5616" actId="790"/>
          <ac:spMkLst>
            <pc:docMk/>
            <pc:sldMk cId="1289821407" sldId="7092"/>
            <ac:spMk id="45" creationId="{D8F1302E-8CB7-4446-BC21-4C0BE62FBF7F}"/>
          </ac:spMkLst>
        </pc:spChg>
        <pc:spChg chg="mod">
          <ac:chgData name="Ugo MANTEL" userId="2d5b7065-31bb-4181-a7f8-a73bf0c30211" providerId="ADAL" clId="{F05BB0D5-3454-45DC-8378-DA45B79D9A06}" dt="2020-10-02T13:04:36.992" v="5613" actId="790"/>
          <ac:spMkLst>
            <pc:docMk/>
            <pc:sldMk cId="1289821407" sldId="7092"/>
            <ac:spMk id="47" creationId="{CE606840-EBDB-45C2-BC52-FC4AB35FAAD2}"/>
          </ac:spMkLst>
        </pc:spChg>
        <pc:spChg chg="mod">
          <ac:chgData name="Ugo MANTEL" userId="2d5b7065-31bb-4181-a7f8-a73bf0c30211" providerId="ADAL" clId="{F05BB0D5-3454-45DC-8378-DA45B79D9A06}" dt="2020-10-02T13:04:37" v="5619" actId="790"/>
          <ac:spMkLst>
            <pc:docMk/>
            <pc:sldMk cId="1289821407" sldId="7092"/>
            <ac:spMk id="59" creationId="{63CA983E-7BD5-4F35-A402-796E11C540E1}"/>
          </ac:spMkLst>
        </pc:spChg>
        <pc:spChg chg="mod">
          <ac:chgData name="Ugo MANTEL" userId="2d5b7065-31bb-4181-a7f8-a73bf0c30211" providerId="ADAL" clId="{F05BB0D5-3454-45DC-8378-DA45B79D9A06}" dt="2020-10-02T13:04:36.994" v="5614" actId="790"/>
          <ac:spMkLst>
            <pc:docMk/>
            <pc:sldMk cId="1289821407" sldId="7092"/>
            <ac:spMk id="63" creationId="{A31FAE80-DEAB-4E1D-843B-4F047FD7013E}"/>
          </ac:spMkLst>
        </pc:spChg>
        <pc:spChg chg="mod">
          <ac:chgData name="Ugo MANTEL" userId="2d5b7065-31bb-4181-a7f8-a73bf0c30211" providerId="ADAL" clId="{F05BB0D5-3454-45DC-8378-DA45B79D9A06}" dt="2020-10-02T13:04:37.001" v="5620" actId="790"/>
          <ac:spMkLst>
            <pc:docMk/>
            <pc:sldMk cId="1289821407" sldId="7092"/>
            <ac:spMk id="68" creationId="{E453CFA4-F568-411F-9677-654351120C36}"/>
          </ac:spMkLst>
        </pc:spChg>
        <pc:spChg chg="mod">
          <ac:chgData name="Ugo MANTEL" userId="2d5b7065-31bb-4181-a7f8-a73bf0c30211" providerId="ADAL" clId="{F05BB0D5-3454-45DC-8378-DA45B79D9A06}" dt="2020-10-02T13:04:37.003" v="5621" actId="790"/>
          <ac:spMkLst>
            <pc:docMk/>
            <pc:sldMk cId="1289821407" sldId="7092"/>
            <ac:spMk id="70" creationId="{963F2C6E-D916-472D-80A0-39A6BF67CCE7}"/>
          </ac:spMkLst>
        </pc:spChg>
      </pc:sldChg>
      <pc:sldChg chg="modSp mod">
        <pc:chgData name="Ugo MANTEL" userId="2d5b7065-31bb-4181-a7f8-a73bf0c30211" providerId="ADAL" clId="{F05BB0D5-3454-45DC-8378-DA45B79D9A06}" dt="2020-10-07T08:37:25.145" v="10694"/>
        <pc:sldMkLst>
          <pc:docMk/>
          <pc:sldMk cId="2603419662" sldId="7093"/>
        </pc:sldMkLst>
        <pc:spChg chg="mod">
          <ac:chgData name="Ugo MANTEL" userId="2d5b7065-31bb-4181-a7f8-a73bf0c30211" providerId="ADAL" clId="{F05BB0D5-3454-45DC-8378-DA45B79D9A06}" dt="2020-10-02T13:04:38.184" v="6018" actId="790"/>
          <ac:spMkLst>
            <pc:docMk/>
            <pc:sldMk cId="2603419662" sldId="7093"/>
            <ac:spMk id="3" creationId="{73049BF9-8D13-481B-9A48-46C6C4E9E852}"/>
          </ac:spMkLst>
        </pc:spChg>
        <pc:spChg chg="mod">
          <ac:chgData name="Ugo MANTEL" userId="2d5b7065-31bb-4181-a7f8-a73bf0c30211" providerId="ADAL" clId="{F05BB0D5-3454-45DC-8378-DA45B79D9A06}" dt="2020-10-02T13:04:38.139" v="6002" actId="790"/>
          <ac:spMkLst>
            <pc:docMk/>
            <pc:sldMk cId="2603419662" sldId="7093"/>
            <ac:spMk id="5" creationId="{7A02B674-B623-4FB9-A315-49D1A6E7CC9C}"/>
          </ac:spMkLst>
        </pc:spChg>
        <pc:spChg chg="mod">
          <ac:chgData name="Ugo MANTEL" userId="2d5b7065-31bb-4181-a7f8-a73bf0c30211" providerId="ADAL" clId="{F05BB0D5-3454-45DC-8378-DA45B79D9A06}" dt="2020-10-02T13:04:38.137" v="6001" actId="790"/>
          <ac:spMkLst>
            <pc:docMk/>
            <pc:sldMk cId="2603419662" sldId="7093"/>
            <ac:spMk id="7" creationId="{4A6022E3-4DB9-46DF-966E-81EED0537A86}"/>
          </ac:spMkLst>
        </pc:spChg>
        <pc:spChg chg="mod">
          <ac:chgData name="Ugo MANTEL" userId="2d5b7065-31bb-4181-a7f8-a73bf0c30211" providerId="ADAL" clId="{F05BB0D5-3454-45DC-8378-DA45B79D9A06}" dt="2020-10-02T13:04:38.186" v="6019" actId="790"/>
          <ac:spMkLst>
            <pc:docMk/>
            <pc:sldMk cId="2603419662" sldId="7093"/>
            <ac:spMk id="20" creationId="{99E0C0D1-7BEF-45AF-9AF8-43C5BF48838D}"/>
          </ac:spMkLst>
        </pc:spChg>
        <pc:spChg chg="mod">
          <ac:chgData name="Ugo MANTEL" userId="2d5b7065-31bb-4181-a7f8-a73bf0c30211" providerId="ADAL" clId="{F05BB0D5-3454-45DC-8378-DA45B79D9A06}" dt="2020-10-02T13:04:38.178" v="6017" actId="790"/>
          <ac:spMkLst>
            <pc:docMk/>
            <pc:sldMk cId="2603419662" sldId="7093"/>
            <ac:spMk id="24" creationId="{14E5BD6B-24E8-46B4-B66B-093EFC797D55}"/>
          </ac:spMkLst>
        </pc:spChg>
        <pc:spChg chg="mod">
          <ac:chgData name="Ugo MANTEL" userId="2d5b7065-31bb-4181-a7f8-a73bf0c30211" providerId="ADAL" clId="{F05BB0D5-3454-45DC-8378-DA45B79D9A06}" dt="2020-10-02T13:04:38.140" v="6003" actId="790"/>
          <ac:spMkLst>
            <pc:docMk/>
            <pc:sldMk cId="2603419662" sldId="7093"/>
            <ac:spMk id="33" creationId="{51EFD715-3B6A-4B4F-9D82-CEE537574D60}"/>
          </ac:spMkLst>
        </pc:spChg>
        <pc:spChg chg="mod">
          <ac:chgData name="Ugo MANTEL" userId="2d5b7065-31bb-4181-a7f8-a73bf0c30211" providerId="ADAL" clId="{F05BB0D5-3454-45DC-8378-DA45B79D9A06}" dt="2020-10-02T13:04:38.145" v="6004" actId="790"/>
          <ac:spMkLst>
            <pc:docMk/>
            <pc:sldMk cId="2603419662" sldId="7093"/>
            <ac:spMk id="37" creationId="{4C6FA349-B6C7-4CBC-9874-6984A2DD2D1F}"/>
          </ac:spMkLst>
        </pc:spChg>
        <pc:spChg chg="mod">
          <ac:chgData name="Ugo MANTEL" userId="2d5b7065-31bb-4181-a7f8-a73bf0c30211" providerId="ADAL" clId="{F05BB0D5-3454-45DC-8378-DA45B79D9A06}" dt="2020-10-02T13:04:38.188" v="6020" actId="790"/>
          <ac:spMkLst>
            <pc:docMk/>
            <pc:sldMk cId="2603419662" sldId="7093"/>
            <ac:spMk id="67" creationId="{395D9023-BB8D-4C07-A58A-9CA420892AF9}"/>
          </ac:spMkLst>
        </pc:spChg>
        <pc:spChg chg="mod">
          <ac:chgData name="Ugo MANTEL" userId="2d5b7065-31bb-4181-a7f8-a73bf0c30211" providerId="ADAL" clId="{F05BB0D5-3454-45DC-8378-DA45B79D9A06}" dt="2020-10-02T13:04:38.287" v="6043" actId="790"/>
          <ac:spMkLst>
            <pc:docMk/>
            <pc:sldMk cId="2603419662" sldId="7093"/>
            <ac:spMk id="68" creationId="{EACF4C40-5F5A-4F7F-BA6B-57A106712858}"/>
          </ac:spMkLst>
        </pc:spChg>
        <pc:spChg chg="mod">
          <ac:chgData name="Ugo MANTEL" userId="2d5b7065-31bb-4181-a7f8-a73bf0c30211" providerId="ADAL" clId="{F05BB0D5-3454-45DC-8378-DA45B79D9A06}" dt="2020-10-02T13:04:38.190" v="6021" actId="790"/>
          <ac:spMkLst>
            <pc:docMk/>
            <pc:sldMk cId="2603419662" sldId="7093"/>
            <ac:spMk id="69" creationId="{14932ABF-B3F2-4614-9FA3-744906B2F197}"/>
          </ac:spMkLst>
        </pc:spChg>
        <pc:spChg chg="mod">
          <ac:chgData name="Ugo MANTEL" userId="2d5b7065-31bb-4181-a7f8-a73bf0c30211" providerId="ADAL" clId="{F05BB0D5-3454-45DC-8378-DA45B79D9A06}" dt="2020-10-02T13:04:38.248" v="6042" actId="790"/>
          <ac:spMkLst>
            <pc:docMk/>
            <pc:sldMk cId="2603419662" sldId="7093"/>
            <ac:spMk id="70" creationId="{D6ECC423-047F-4FFA-A595-20B725419789}"/>
          </ac:spMkLst>
        </pc:spChg>
        <pc:spChg chg="mod">
          <ac:chgData name="Ugo MANTEL" userId="2d5b7065-31bb-4181-a7f8-a73bf0c30211" providerId="ADAL" clId="{F05BB0D5-3454-45DC-8378-DA45B79D9A06}" dt="2020-10-02T13:04:38.197" v="6022" actId="790"/>
          <ac:spMkLst>
            <pc:docMk/>
            <pc:sldMk cId="2603419662" sldId="7093"/>
            <ac:spMk id="71" creationId="{AD9B7B8C-EC95-4D2A-9D6F-36CF469DC9DC}"/>
          </ac:spMkLst>
        </pc:spChg>
        <pc:spChg chg="mod">
          <ac:chgData name="Ugo MANTEL" userId="2d5b7065-31bb-4181-a7f8-a73bf0c30211" providerId="ADAL" clId="{F05BB0D5-3454-45DC-8378-DA45B79D9A06}" dt="2020-10-02T13:04:38.166" v="6011" actId="790"/>
          <ac:spMkLst>
            <pc:docMk/>
            <pc:sldMk cId="2603419662" sldId="7093"/>
            <ac:spMk id="74" creationId="{B0A0D9FD-6BFD-4B90-B264-BC8DB8AC2A22}"/>
          </ac:spMkLst>
        </pc:spChg>
        <pc:spChg chg="mod">
          <ac:chgData name="Ugo MANTEL" userId="2d5b7065-31bb-4181-a7f8-a73bf0c30211" providerId="ADAL" clId="{F05BB0D5-3454-45DC-8378-DA45B79D9A06}" dt="2020-10-02T13:04:38.168" v="6012" actId="790"/>
          <ac:spMkLst>
            <pc:docMk/>
            <pc:sldMk cId="2603419662" sldId="7093"/>
            <ac:spMk id="76" creationId="{449C5D3A-1E00-44D1-ABE4-3063080264B6}"/>
          </ac:spMkLst>
        </pc:spChg>
        <pc:spChg chg="mod">
          <ac:chgData name="Ugo MANTEL" userId="2d5b7065-31bb-4181-a7f8-a73bf0c30211" providerId="ADAL" clId="{F05BB0D5-3454-45DC-8378-DA45B79D9A06}" dt="2020-10-02T13:04:38.169" v="6013" actId="790"/>
          <ac:spMkLst>
            <pc:docMk/>
            <pc:sldMk cId="2603419662" sldId="7093"/>
            <ac:spMk id="77" creationId="{8DC60C25-C9B5-4642-ABDB-BD662034E44D}"/>
          </ac:spMkLst>
        </pc:spChg>
        <pc:spChg chg="mod">
          <ac:chgData name="Ugo MANTEL" userId="2d5b7065-31bb-4181-a7f8-a73bf0c30211" providerId="ADAL" clId="{F05BB0D5-3454-45DC-8378-DA45B79D9A06}" dt="2020-10-02T13:04:38.171" v="6014" actId="790"/>
          <ac:spMkLst>
            <pc:docMk/>
            <pc:sldMk cId="2603419662" sldId="7093"/>
            <ac:spMk id="78" creationId="{9CD81375-473A-406E-AEE4-953258755F11}"/>
          </ac:spMkLst>
        </pc:spChg>
        <pc:spChg chg="mod">
          <ac:chgData name="Ugo MANTEL" userId="2d5b7065-31bb-4181-a7f8-a73bf0c30211" providerId="ADAL" clId="{F05BB0D5-3454-45DC-8378-DA45B79D9A06}" dt="2020-10-02T13:04:38.200" v="6023" actId="790"/>
          <ac:spMkLst>
            <pc:docMk/>
            <pc:sldMk cId="2603419662" sldId="7093"/>
            <ac:spMk id="79" creationId="{CD19E6A4-8567-4F4C-8660-64A9310AA4D4}"/>
          </ac:spMkLst>
        </pc:spChg>
        <pc:spChg chg="mod">
          <ac:chgData name="Ugo MANTEL" userId="2d5b7065-31bb-4181-a7f8-a73bf0c30211" providerId="ADAL" clId="{F05BB0D5-3454-45DC-8378-DA45B79D9A06}" dt="2020-10-02T13:04:38.202" v="6024" actId="790"/>
          <ac:spMkLst>
            <pc:docMk/>
            <pc:sldMk cId="2603419662" sldId="7093"/>
            <ac:spMk id="80" creationId="{85224B74-BFCF-40D4-8F5A-4DBD358E4A6A}"/>
          </ac:spMkLst>
        </pc:spChg>
        <pc:spChg chg="mod">
          <ac:chgData name="Ugo MANTEL" userId="2d5b7065-31bb-4181-a7f8-a73bf0c30211" providerId="ADAL" clId="{F05BB0D5-3454-45DC-8378-DA45B79D9A06}" dt="2020-10-02T13:04:38.203" v="6025" actId="790"/>
          <ac:spMkLst>
            <pc:docMk/>
            <pc:sldMk cId="2603419662" sldId="7093"/>
            <ac:spMk id="81" creationId="{67520AEC-ABAB-415A-ADD8-DF870797CCB0}"/>
          </ac:spMkLst>
        </pc:spChg>
        <pc:spChg chg="mod">
          <ac:chgData name="Ugo MANTEL" userId="2d5b7065-31bb-4181-a7f8-a73bf0c30211" providerId="ADAL" clId="{F05BB0D5-3454-45DC-8378-DA45B79D9A06}" dt="2020-10-02T13:04:38.205" v="6026" actId="790"/>
          <ac:spMkLst>
            <pc:docMk/>
            <pc:sldMk cId="2603419662" sldId="7093"/>
            <ac:spMk id="82" creationId="{24EAE7A4-064F-4847-974C-384E1DE8F678}"/>
          </ac:spMkLst>
        </pc:spChg>
        <pc:spChg chg="mod">
          <ac:chgData name="Ugo MANTEL" userId="2d5b7065-31bb-4181-a7f8-a73bf0c30211" providerId="ADAL" clId="{F05BB0D5-3454-45DC-8378-DA45B79D9A06}" dt="2020-10-02T13:04:38.154" v="6005" actId="790"/>
          <ac:spMkLst>
            <pc:docMk/>
            <pc:sldMk cId="2603419662" sldId="7093"/>
            <ac:spMk id="83" creationId="{EDB79795-CCDC-4772-B04D-B056BFFA989C}"/>
          </ac:spMkLst>
        </pc:spChg>
        <pc:spChg chg="mod">
          <ac:chgData name="Ugo MANTEL" userId="2d5b7065-31bb-4181-a7f8-a73bf0c30211" providerId="ADAL" clId="{F05BB0D5-3454-45DC-8378-DA45B79D9A06}" dt="2020-10-02T13:04:38.173" v="6015" actId="790"/>
          <ac:spMkLst>
            <pc:docMk/>
            <pc:sldMk cId="2603419662" sldId="7093"/>
            <ac:spMk id="84" creationId="{BEB94551-8AD6-41D2-9CC1-108130024DB7}"/>
          </ac:spMkLst>
        </pc:spChg>
        <pc:spChg chg="mod">
          <ac:chgData name="Ugo MANTEL" userId="2d5b7065-31bb-4181-a7f8-a73bf0c30211" providerId="ADAL" clId="{F05BB0D5-3454-45DC-8378-DA45B79D9A06}" dt="2020-10-02T13:04:38.175" v="6016" actId="790"/>
          <ac:spMkLst>
            <pc:docMk/>
            <pc:sldMk cId="2603419662" sldId="7093"/>
            <ac:spMk id="85" creationId="{FE8A55E8-0B7A-4BE2-BB01-E5664B407AA7}"/>
          </ac:spMkLst>
        </pc:spChg>
        <pc:spChg chg="mod">
          <ac:chgData name="Ugo MANTEL" userId="2d5b7065-31bb-4181-a7f8-a73bf0c30211" providerId="ADAL" clId="{F05BB0D5-3454-45DC-8378-DA45B79D9A06}" dt="2020-10-02T13:04:38.156" v="6006" actId="790"/>
          <ac:spMkLst>
            <pc:docMk/>
            <pc:sldMk cId="2603419662" sldId="7093"/>
            <ac:spMk id="87" creationId="{369FBC93-33CC-419E-81E7-ED99B2B84745}"/>
          </ac:spMkLst>
        </pc:spChg>
        <pc:spChg chg="mod">
          <ac:chgData name="Ugo MANTEL" userId="2d5b7065-31bb-4181-a7f8-a73bf0c30211" providerId="ADAL" clId="{F05BB0D5-3454-45DC-8378-DA45B79D9A06}" dt="2020-10-02T13:04:38.158" v="6007" actId="790"/>
          <ac:spMkLst>
            <pc:docMk/>
            <pc:sldMk cId="2603419662" sldId="7093"/>
            <ac:spMk id="90" creationId="{57844CA3-74CB-4A77-A57A-5C7500F806DC}"/>
          </ac:spMkLst>
        </pc:spChg>
        <pc:spChg chg="mod">
          <ac:chgData name="Ugo MANTEL" userId="2d5b7065-31bb-4181-a7f8-a73bf0c30211" providerId="ADAL" clId="{F05BB0D5-3454-45DC-8378-DA45B79D9A06}" dt="2020-10-02T13:04:38.160" v="6008" actId="790"/>
          <ac:spMkLst>
            <pc:docMk/>
            <pc:sldMk cId="2603419662" sldId="7093"/>
            <ac:spMk id="91" creationId="{EC2DDCD0-692A-4FCA-B2D9-C80A11DCC748}"/>
          </ac:spMkLst>
        </pc:spChg>
        <pc:spChg chg="mod">
          <ac:chgData name="Ugo MANTEL" userId="2d5b7065-31bb-4181-a7f8-a73bf0c30211" providerId="ADAL" clId="{F05BB0D5-3454-45DC-8378-DA45B79D9A06}" dt="2020-10-02T13:04:38.162" v="6009" actId="790"/>
          <ac:spMkLst>
            <pc:docMk/>
            <pc:sldMk cId="2603419662" sldId="7093"/>
            <ac:spMk id="92" creationId="{EB0120F0-E514-4F9C-B7AF-360869814C92}"/>
          </ac:spMkLst>
        </pc:spChg>
        <pc:spChg chg="mod">
          <ac:chgData name="Ugo MANTEL" userId="2d5b7065-31bb-4181-a7f8-a73bf0c30211" providerId="ADAL" clId="{F05BB0D5-3454-45DC-8378-DA45B79D9A06}" dt="2020-10-02T13:04:38.164" v="6010" actId="790"/>
          <ac:spMkLst>
            <pc:docMk/>
            <pc:sldMk cId="2603419662" sldId="7093"/>
            <ac:spMk id="93" creationId="{2DFFA865-64D9-43BD-8616-77D06B3DD803}"/>
          </ac:spMkLst>
        </pc:spChg>
        <pc:spChg chg="mod">
          <ac:chgData name="Ugo MANTEL" userId="2d5b7065-31bb-4181-a7f8-a73bf0c30211" providerId="ADAL" clId="{F05BB0D5-3454-45DC-8378-DA45B79D9A06}" dt="2020-10-02T13:04:38.228" v="6034" actId="790"/>
          <ac:spMkLst>
            <pc:docMk/>
            <pc:sldMk cId="2603419662" sldId="7093"/>
            <ac:spMk id="94" creationId="{9C9F2D24-9073-45C0-B88A-BB6D0AD2D5D0}"/>
          </ac:spMkLst>
        </pc:spChg>
        <pc:spChg chg="mod">
          <ac:chgData name="Ugo MANTEL" userId="2d5b7065-31bb-4181-a7f8-a73bf0c30211" providerId="ADAL" clId="{F05BB0D5-3454-45DC-8378-DA45B79D9A06}" dt="2020-10-02T13:04:38.230" v="6035" actId="790"/>
          <ac:spMkLst>
            <pc:docMk/>
            <pc:sldMk cId="2603419662" sldId="7093"/>
            <ac:spMk id="95" creationId="{FE9A3CCF-0E1C-4A01-B825-6EC293BD6D25}"/>
          </ac:spMkLst>
        </pc:spChg>
        <pc:spChg chg="mod">
          <ac:chgData name="Ugo MANTEL" userId="2d5b7065-31bb-4181-a7f8-a73bf0c30211" providerId="ADAL" clId="{F05BB0D5-3454-45DC-8378-DA45B79D9A06}" dt="2020-10-02T13:04:38.233" v="6036" actId="790"/>
          <ac:spMkLst>
            <pc:docMk/>
            <pc:sldMk cId="2603419662" sldId="7093"/>
            <ac:spMk id="96" creationId="{7F6CF344-8867-42BA-B9C8-1B0814B86C77}"/>
          </ac:spMkLst>
        </pc:spChg>
        <pc:spChg chg="mod">
          <ac:chgData name="Ugo MANTEL" userId="2d5b7065-31bb-4181-a7f8-a73bf0c30211" providerId="ADAL" clId="{F05BB0D5-3454-45DC-8378-DA45B79D9A06}" dt="2020-10-02T13:04:38.235" v="6037" actId="790"/>
          <ac:spMkLst>
            <pc:docMk/>
            <pc:sldMk cId="2603419662" sldId="7093"/>
            <ac:spMk id="97" creationId="{89FD5C46-1A02-4BD4-BDD0-AE2F9F2302BC}"/>
          </ac:spMkLst>
        </pc:spChg>
        <pc:spChg chg="mod">
          <ac:chgData name="Ugo MANTEL" userId="2d5b7065-31bb-4181-a7f8-a73bf0c30211" providerId="ADAL" clId="{F05BB0D5-3454-45DC-8378-DA45B79D9A06}" dt="2020-10-02T13:04:38.292" v="6046" actId="790"/>
          <ac:spMkLst>
            <pc:docMk/>
            <pc:sldMk cId="2603419662" sldId="7093"/>
            <ac:spMk id="101" creationId="{1615A055-1FE9-4630-8EE5-D74DF04310BF}"/>
          </ac:spMkLst>
        </pc:spChg>
        <pc:spChg chg="mod">
          <ac:chgData name="Ugo MANTEL" userId="2d5b7065-31bb-4181-a7f8-a73bf0c30211" providerId="ADAL" clId="{F05BB0D5-3454-45DC-8378-DA45B79D9A06}" dt="2020-10-02T13:04:38.294" v="6047" actId="790"/>
          <ac:spMkLst>
            <pc:docMk/>
            <pc:sldMk cId="2603419662" sldId="7093"/>
            <ac:spMk id="102" creationId="{26FFA62C-B22D-4AD0-8C66-A2F9A60CEE46}"/>
          </ac:spMkLst>
        </pc:spChg>
        <pc:spChg chg="mod">
          <ac:chgData name="Ugo MANTEL" userId="2d5b7065-31bb-4181-a7f8-a73bf0c30211" providerId="ADAL" clId="{F05BB0D5-3454-45DC-8378-DA45B79D9A06}" dt="2020-10-02T13:04:38.237" v="6038" actId="790"/>
          <ac:spMkLst>
            <pc:docMk/>
            <pc:sldMk cId="2603419662" sldId="7093"/>
            <ac:spMk id="103" creationId="{61ABFF05-F090-4F9C-9748-EB4E2AC9ACBA}"/>
          </ac:spMkLst>
        </pc:spChg>
        <pc:spChg chg="mod">
          <ac:chgData name="Ugo MANTEL" userId="2d5b7065-31bb-4181-a7f8-a73bf0c30211" providerId="ADAL" clId="{F05BB0D5-3454-45DC-8378-DA45B79D9A06}" dt="2020-10-02T13:04:38.238" v="6039" actId="790"/>
          <ac:spMkLst>
            <pc:docMk/>
            <pc:sldMk cId="2603419662" sldId="7093"/>
            <ac:spMk id="105" creationId="{202D74BB-1153-480E-86C5-37803D6DAC96}"/>
          </ac:spMkLst>
        </pc:spChg>
        <pc:spChg chg="mod">
          <ac:chgData name="Ugo MANTEL" userId="2d5b7065-31bb-4181-a7f8-a73bf0c30211" providerId="ADAL" clId="{F05BB0D5-3454-45DC-8378-DA45B79D9A06}" dt="2020-10-02T13:04:38.332" v="6065" actId="790"/>
          <ac:spMkLst>
            <pc:docMk/>
            <pc:sldMk cId="2603419662" sldId="7093"/>
            <ac:spMk id="107" creationId="{F42A5BD0-E80E-4EEC-9F82-E2A7919A8C2F}"/>
          </ac:spMkLst>
        </pc:spChg>
        <pc:spChg chg="mod">
          <ac:chgData name="Ugo MANTEL" userId="2d5b7065-31bb-4181-a7f8-a73bf0c30211" providerId="ADAL" clId="{F05BB0D5-3454-45DC-8378-DA45B79D9A06}" dt="2020-10-02T13:04:38.334" v="6066" actId="790"/>
          <ac:spMkLst>
            <pc:docMk/>
            <pc:sldMk cId="2603419662" sldId="7093"/>
            <ac:spMk id="108" creationId="{71297F2A-22AF-4273-AB75-E9257870BCD0}"/>
          </ac:spMkLst>
        </pc:spChg>
        <pc:spChg chg="mod">
          <ac:chgData name="Ugo MANTEL" userId="2d5b7065-31bb-4181-a7f8-a73bf0c30211" providerId="ADAL" clId="{F05BB0D5-3454-45DC-8378-DA45B79D9A06}" dt="2020-10-02T13:04:38.213" v="6027" actId="790"/>
          <ac:spMkLst>
            <pc:docMk/>
            <pc:sldMk cId="2603419662" sldId="7093"/>
            <ac:spMk id="109" creationId="{4ECC307B-5762-484B-95C3-CE4E6DCFD810}"/>
          </ac:spMkLst>
        </pc:spChg>
        <pc:spChg chg="mod">
          <ac:chgData name="Ugo MANTEL" userId="2d5b7065-31bb-4181-a7f8-a73bf0c30211" providerId="ADAL" clId="{F05BB0D5-3454-45DC-8378-DA45B79D9A06}" dt="2020-10-02T13:04:38.216" v="6028" actId="790"/>
          <ac:spMkLst>
            <pc:docMk/>
            <pc:sldMk cId="2603419662" sldId="7093"/>
            <ac:spMk id="110" creationId="{31B10026-F685-4E9C-8685-A675CDC44995}"/>
          </ac:spMkLst>
        </pc:spChg>
        <pc:spChg chg="mod">
          <ac:chgData name="Ugo MANTEL" userId="2d5b7065-31bb-4181-a7f8-a73bf0c30211" providerId="ADAL" clId="{F05BB0D5-3454-45DC-8378-DA45B79D9A06}" dt="2020-10-02T13:04:38.336" v="6067" actId="790"/>
          <ac:spMkLst>
            <pc:docMk/>
            <pc:sldMk cId="2603419662" sldId="7093"/>
            <ac:spMk id="111" creationId="{BA4013AB-A1BB-4C7F-96C7-0043FB082A14}"/>
          </ac:spMkLst>
        </pc:spChg>
        <pc:spChg chg="mod">
          <ac:chgData name="Ugo MANTEL" userId="2d5b7065-31bb-4181-a7f8-a73bf0c30211" providerId="ADAL" clId="{F05BB0D5-3454-45DC-8378-DA45B79D9A06}" dt="2020-10-02T13:04:38.338" v="6068" actId="790"/>
          <ac:spMkLst>
            <pc:docMk/>
            <pc:sldMk cId="2603419662" sldId="7093"/>
            <ac:spMk id="112" creationId="{996054D1-362E-4A44-9F70-1EB73929E241}"/>
          </ac:spMkLst>
        </pc:spChg>
        <pc:spChg chg="mod">
          <ac:chgData name="Ugo MANTEL" userId="2d5b7065-31bb-4181-a7f8-a73bf0c30211" providerId="ADAL" clId="{F05BB0D5-3454-45DC-8378-DA45B79D9A06}" dt="2020-10-02T13:04:38.339" v="6069" actId="790"/>
          <ac:spMkLst>
            <pc:docMk/>
            <pc:sldMk cId="2603419662" sldId="7093"/>
            <ac:spMk id="113" creationId="{A5D2FBC2-480D-40B2-B6AB-71BA0AF90709}"/>
          </ac:spMkLst>
        </pc:spChg>
        <pc:spChg chg="mod">
          <ac:chgData name="Ugo MANTEL" userId="2d5b7065-31bb-4181-a7f8-a73bf0c30211" providerId="ADAL" clId="{F05BB0D5-3454-45DC-8378-DA45B79D9A06}" dt="2020-10-02T13:04:38.341" v="6070" actId="790"/>
          <ac:spMkLst>
            <pc:docMk/>
            <pc:sldMk cId="2603419662" sldId="7093"/>
            <ac:spMk id="114" creationId="{A95A70E3-C536-4333-B49C-26943B6E4B30}"/>
          </ac:spMkLst>
        </pc:spChg>
        <pc:spChg chg="mod">
          <ac:chgData name="Ugo MANTEL" userId="2d5b7065-31bb-4181-a7f8-a73bf0c30211" providerId="ADAL" clId="{F05BB0D5-3454-45DC-8378-DA45B79D9A06}" dt="2020-10-02T13:04:38.344" v="6071" actId="790"/>
          <ac:spMkLst>
            <pc:docMk/>
            <pc:sldMk cId="2603419662" sldId="7093"/>
            <ac:spMk id="115" creationId="{24CFE668-5AC9-4A43-B174-5BBF906202FA}"/>
          </ac:spMkLst>
        </pc:spChg>
        <pc:spChg chg="mod">
          <ac:chgData name="Ugo MANTEL" userId="2d5b7065-31bb-4181-a7f8-a73bf0c30211" providerId="ADAL" clId="{F05BB0D5-3454-45DC-8378-DA45B79D9A06}" dt="2020-10-02T13:04:38.346" v="6072" actId="790"/>
          <ac:spMkLst>
            <pc:docMk/>
            <pc:sldMk cId="2603419662" sldId="7093"/>
            <ac:spMk id="116" creationId="{40105ED7-D619-46F0-89FD-F790CECB3749}"/>
          </ac:spMkLst>
        </pc:spChg>
        <pc:spChg chg="mod">
          <ac:chgData name="Ugo MANTEL" userId="2d5b7065-31bb-4181-a7f8-a73bf0c30211" providerId="ADAL" clId="{F05BB0D5-3454-45DC-8378-DA45B79D9A06}" dt="2020-10-02T13:04:38.348" v="6073" actId="790"/>
          <ac:spMkLst>
            <pc:docMk/>
            <pc:sldMk cId="2603419662" sldId="7093"/>
            <ac:spMk id="117" creationId="{4A6CB72F-28D5-499A-850E-080518157925}"/>
          </ac:spMkLst>
        </pc:spChg>
        <pc:spChg chg="mod">
          <ac:chgData name="Ugo MANTEL" userId="2d5b7065-31bb-4181-a7f8-a73bf0c30211" providerId="ADAL" clId="{F05BB0D5-3454-45DC-8378-DA45B79D9A06}" dt="2020-10-02T13:04:38.350" v="6074" actId="790"/>
          <ac:spMkLst>
            <pc:docMk/>
            <pc:sldMk cId="2603419662" sldId="7093"/>
            <ac:spMk id="118" creationId="{D3DCC2E6-3AF2-49A4-8319-9E474B7210F8}"/>
          </ac:spMkLst>
        </pc:spChg>
        <pc:spChg chg="mod">
          <ac:chgData name="Ugo MANTEL" userId="2d5b7065-31bb-4181-a7f8-a73bf0c30211" providerId="ADAL" clId="{F05BB0D5-3454-45DC-8378-DA45B79D9A06}" dt="2020-10-02T13:04:38.352" v="6075" actId="790"/>
          <ac:spMkLst>
            <pc:docMk/>
            <pc:sldMk cId="2603419662" sldId="7093"/>
            <ac:spMk id="119" creationId="{DE6DC09B-DEE5-47F0-B615-D67FA0019436}"/>
          </ac:spMkLst>
        </pc:spChg>
        <pc:spChg chg="mod">
          <ac:chgData name="Ugo MANTEL" userId="2d5b7065-31bb-4181-a7f8-a73bf0c30211" providerId="ADAL" clId="{F05BB0D5-3454-45DC-8378-DA45B79D9A06}" dt="2020-10-02T13:04:38.354" v="6076" actId="790"/>
          <ac:spMkLst>
            <pc:docMk/>
            <pc:sldMk cId="2603419662" sldId="7093"/>
            <ac:spMk id="120" creationId="{7D7D4D8D-C456-4C9B-B253-16133C482ABB}"/>
          </ac:spMkLst>
        </pc:spChg>
        <pc:spChg chg="mod">
          <ac:chgData name="Ugo MANTEL" userId="2d5b7065-31bb-4181-a7f8-a73bf0c30211" providerId="ADAL" clId="{F05BB0D5-3454-45DC-8378-DA45B79D9A06}" dt="2020-10-02T13:04:38.355" v="6077" actId="790"/>
          <ac:spMkLst>
            <pc:docMk/>
            <pc:sldMk cId="2603419662" sldId="7093"/>
            <ac:spMk id="121" creationId="{A0C9A264-CD6D-47D6-B48C-141753842E2E}"/>
          </ac:spMkLst>
        </pc:spChg>
        <pc:spChg chg="mod">
          <ac:chgData name="Ugo MANTEL" userId="2d5b7065-31bb-4181-a7f8-a73bf0c30211" providerId="ADAL" clId="{F05BB0D5-3454-45DC-8378-DA45B79D9A06}" dt="2020-10-02T13:04:38.357" v="6078" actId="790"/>
          <ac:spMkLst>
            <pc:docMk/>
            <pc:sldMk cId="2603419662" sldId="7093"/>
            <ac:spMk id="122" creationId="{070E1D8A-F6C2-4466-9565-F3DC4F29AA37}"/>
          </ac:spMkLst>
        </pc:spChg>
        <pc:spChg chg="mod">
          <ac:chgData name="Ugo MANTEL" userId="2d5b7065-31bb-4181-a7f8-a73bf0c30211" providerId="ADAL" clId="{F05BB0D5-3454-45DC-8378-DA45B79D9A06}" dt="2020-10-02T13:04:38.358" v="6079" actId="790"/>
          <ac:spMkLst>
            <pc:docMk/>
            <pc:sldMk cId="2603419662" sldId="7093"/>
            <ac:spMk id="123" creationId="{8C0D003C-0CA8-49D8-A3B0-8AE3B7DBA5A8}"/>
          </ac:spMkLst>
        </pc:spChg>
        <pc:spChg chg="mod">
          <ac:chgData name="Ugo MANTEL" userId="2d5b7065-31bb-4181-a7f8-a73bf0c30211" providerId="ADAL" clId="{F05BB0D5-3454-45DC-8378-DA45B79D9A06}" dt="2020-10-02T13:04:38.360" v="6080" actId="790"/>
          <ac:spMkLst>
            <pc:docMk/>
            <pc:sldMk cId="2603419662" sldId="7093"/>
            <ac:spMk id="124" creationId="{4C8102E8-4819-48C7-B2F2-344B8E8304E6}"/>
          </ac:spMkLst>
        </pc:spChg>
        <pc:spChg chg="mod">
          <ac:chgData name="Ugo MANTEL" userId="2d5b7065-31bb-4181-a7f8-a73bf0c30211" providerId="ADAL" clId="{F05BB0D5-3454-45DC-8378-DA45B79D9A06}" dt="2020-10-02T13:04:38.362" v="6081" actId="790"/>
          <ac:spMkLst>
            <pc:docMk/>
            <pc:sldMk cId="2603419662" sldId="7093"/>
            <ac:spMk id="125" creationId="{F9FEFD59-D97E-4EE1-A552-45C6D22E6F53}"/>
          </ac:spMkLst>
        </pc:spChg>
        <pc:spChg chg="mod">
          <ac:chgData name="Ugo MANTEL" userId="2d5b7065-31bb-4181-a7f8-a73bf0c30211" providerId="ADAL" clId="{F05BB0D5-3454-45DC-8378-DA45B79D9A06}" dt="2020-10-02T13:04:38.289" v="6044" actId="790"/>
          <ac:spMkLst>
            <pc:docMk/>
            <pc:sldMk cId="2603419662" sldId="7093"/>
            <ac:spMk id="126" creationId="{99B24971-AFBE-4816-A877-E67D2C6F618B}"/>
          </ac:spMkLst>
        </pc:spChg>
        <pc:spChg chg="mod">
          <ac:chgData name="Ugo MANTEL" userId="2d5b7065-31bb-4181-a7f8-a73bf0c30211" providerId="ADAL" clId="{F05BB0D5-3454-45DC-8378-DA45B79D9A06}" dt="2020-10-02T13:04:38.240" v="6040" actId="790"/>
          <ac:spMkLst>
            <pc:docMk/>
            <pc:sldMk cId="2603419662" sldId="7093"/>
            <ac:spMk id="128" creationId="{D1AA31DB-E764-4FC5-BEF5-895B2C06956F}"/>
          </ac:spMkLst>
        </pc:spChg>
        <pc:spChg chg="mod">
          <ac:chgData name="Ugo MANTEL" userId="2d5b7065-31bb-4181-a7f8-a73bf0c30211" providerId="ADAL" clId="{F05BB0D5-3454-45DC-8378-DA45B79D9A06}" dt="2020-10-02T13:04:38.290" v="6045" actId="790"/>
          <ac:spMkLst>
            <pc:docMk/>
            <pc:sldMk cId="2603419662" sldId="7093"/>
            <ac:spMk id="131" creationId="{41992B07-9E81-48C1-8E2F-8D3002AB306A}"/>
          </ac:spMkLst>
        </pc:spChg>
        <pc:spChg chg="mod">
          <ac:chgData name="Ugo MANTEL" userId="2d5b7065-31bb-4181-a7f8-a73bf0c30211" providerId="ADAL" clId="{F05BB0D5-3454-45DC-8378-DA45B79D9A06}" dt="2020-10-02T13:04:38.299" v="6050" actId="790"/>
          <ac:spMkLst>
            <pc:docMk/>
            <pc:sldMk cId="2603419662" sldId="7093"/>
            <ac:spMk id="134" creationId="{F71FB997-9948-4A2D-ADBC-BE8D6BD12F7D}"/>
          </ac:spMkLst>
        </pc:spChg>
        <pc:spChg chg="mod">
          <ac:chgData name="Ugo MANTEL" userId="2d5b7065-31bb-4181-a7f8-a73bf0c30211" providerId="ADAL" clId="{F05BB0D5-3454-45DC-8378-DA45B79D9A06}" dt="2020-10-02T13:04:38.301" v="6051" actId="790"/>
          <ac:spMkLst>
            <pc:docMk/>
            <pc:sldMk cId="2603419662" sldId="7093"/>
            <ac:spMk id="135" creationId="{31B11279-E75B-405E-BA87-B099864062A0}"/>
          </ac:spMkLst>
        </pc:spChg>
        <pc:spChg chg="mod">
          <ac:chgData name="Ugo MANTEL" userId="2d5b7065-31bb-4181-a7f8-a73bf0c30211" providerId="ADAL" clId="{F05BB0D5-3454-45DC-8378-DA45B79D9A06}" dt="2020-10-02T13:04:38.218" v="6029" actId="790"/>
          <ac:spMkLst>
            <pc:docMk/>
            <pc:sldMk cId="2603419662" sldId="7093"/>
            <ac:spMk id="137" creationId="{EBC0BF2E-2394-4848-88BE-E5C107D23CA1}"/>
          </ac:spMkLst>
        </pc:spChg>
        <pc:spChg chg="mod">
          <ac:chgData name="Ugo MANTEL" userId="2d5b7065-31bb-4181-a7f8-a73bf0c30211" providerId="ADAL" clId="{F05BB0D5-3454-45DC-8378-DA45B79D9A06}" dt="2020-10-02T13:04:38.220" v="6030" actId="790"/>
          <ac:spMkLst>
            <pc:docMk/>
            <pc:sldMk cId="2603419662" sldId="7093"/>
            <ac:spMk id="138" creationId="{7D65E3D7-5DDF-46AE-A0F5-D92B88ECDED2}"/>
          </ac:spMkLst>
        </pc:spChg>
        <pc:spChg chg="mod">
          <ac:chgData name="Ugo MANTEL" userId="2d5b7065-31bb-4181-a7f8-a73bf0c30211" providerId="ADAL" clId="{F05BB0D5-3454-45DC-8378-DA45B79D9A06}" dt="2020-10-02T13:04:38.222" v="6031" actId="790"/>
          <ac:spMkLst>
            <pc:docMk/>
            <pc:sldMk cId="2603419662" sldId="7093"/>
            <ac:spMk id="139" creationId="{FDF7A913-D092-4B17-A259-CA3F4B6D3405}"/>
          </ac:spMkLst>
        </pc:spChg>
        <pc:spChg chg="mod">
          <ac:chgData name="Ugo MANTEL" userId="2d5b7065-31bb-4181-a7f8-a73bf0c30211" providerId="ADAL" clId="{F05BB0D5-3454-45DC-8378-DA45B79D9A06}" dt="2020-10-02T13:04:38.224" v="6032" actId="790"/>
          <ac:spMkLst>
            <pc:docMk/>
            <pc:sldMk cId="2603419662" sldId="7093"/>
            <ac:spMk id="140" creationId="{AB80A9D7-8C95-4C47-AEF4-EB3EA40E9032}"/>
          </ac:spMkLst>
        </pc:spChg>
        <pc:spChg chg="mod">
          <ac:chgData name="Ugo MANTEL" userId="2d5b7065-31bb-4181-a7f8-a73bf0c30211" providerId="ADAL" clId="{F05BB0D5-3454-45DC-8378-DA45B79D9A06}" dt="2020-10-02T13:04:38.226" v="6033" actId="790"/>
          <ac:spMkLst>
            <pc:docMk/>
            <pc:sldMk cId="2603419662" sldId="7093"/>
            <ac:spMk id="148" creationId="{25992A77-6B87-4B2B-8D07-B9238BF3F0A7}"/>
          </ac:spMkLst>
        </pc:spChg>
        <pc:spChg chg="mod">
          <ac:chgData name="Ugo MANTEL" userId="2d5b7065-31bb-4181-a7f8-a73bf0c30211" providerId="ADAL" clId="{F05BB0D5-3454-45DC-8378-DA45B79D9A06}" dt="2020-10-02T13:04:38.242" v="6041" actId="790"/>
          <ac:spMkLst>
            <pc:docMk/>
            <pc:sldMk cId="2603419662" sldId="7093"/>
            <ac:spMk id="149" creationId="{DC34049B-0477-4731-8D3A-BEA957D6CD1A}"/>
          </ac:spMkLst>
        </pc:spChg>
        <pc:spChg chg="mod">
          <ac:chgData name="Ugo MANTEL" userId="2d5b7065-31bb-4181-a7f8-a73bf0c30211" providerId="ADAL" clId="{F05BB0D5-3454-45DC-8378-DA45B79D9A06}" dt="2020-10-02T13:04:38.295" v="6048" actId="790"/>
          <ac:spMkLst>
            <pc:docMk/>
            <pc:sldMk cId="2603419662" sldId="7093"/>
            <ac:spMk id="150" creationId="{F0AABDD4-8B4A-4F8B-BDE2-11BA83646A69}"/>
          </ac:spMkLst>
        </pc:spChg>
        <pc:spChg chg="mod">
          <ac:chgData name="Ugo MANTEL" userId="2d5b7065-31bb-4181-a7f8-a73bf0c30211" providerId="ADAL" clId="{F05BB0D5-3454-45DC-8378-DA45B79D9A06}" dt="2020-10-02T13:04:38.297" v="6049" actId="790"/>
          <ac:spMkLst>
            <pc:docMk/>
            <pc:sldMk cId="2603419662" sldId="7093"/>
            <ac:spMk id="151" creationId="{93EFC7AB-0EFD-4F20-BB23-79B70F43FF89}"/>
          </ac:spMkLst>
        </pc:spChg>
        <pc:spChg chg="mod">
          <ac:chgData name="Ugo MANTEL" userId="2d5b7065-31bb-4181-a7f8-a73bf0c30211" providerId="ADAL" clId="{F05BB0D5-3454-45DC-8378-DA45B79D9A06}" dt="2020-10-02T13:04:38.306" v="6054" actId="790"/>
          <ac:spMkLst>
            <pc:docMk/>
            <pc:sldMk cId="2603419662" sldId="7093"/>
            <ac:spMk id="154" creationId="{F036D833-673D-422D-A22A-3930DE736D22}"/>
          </ac:spMkLst>
        </pc:spChg>
        <pc:spChg chg="mod">
          <ac:chgData name="Ugo MANTEL" userId="2d5b7065-31bb-4181-a7f8-a73bf0c30211" providerId="ADAL" clId="{F05BB0D5-3454-45DC-8378-DA45B79D9A06}" dt="2020-10-02T13:04:38.308" v="6055" actId="790"/>
          <ac:spMkLst>
            <pc:docMk/>
            <pc:sldMk cId="2603419662" sldId="7093"/>
            <ac:spMk id="155" creationId="{97EE1C23-2D9B-42F0-A8A5-E4DB3414BC72}"/>
          </ac:spMkLst>
        </pc:spChg>
        <pc:spChg chg="mod">
          <ac:chgData name="Ugo MANTEL" userId="2d5b7065-31bb-4181-a7f8-a73bf0c30211" providerId="ADAL" clId="{F05BB0D5-3454-45DC-8378-DA45B79D9A06}" dt="2020-10-02T13:04:38.302" v="6052" actId="790"/>
          <ac:spMkLst>
            <pc:docMk/>
            <pc:sldMk cId="2603419662" sldId="7093"/>
            <ac:spMk id="156" creationId="{F082D3D3-3654-4484-A3AB-8B157DCA8F95}"/>
          </ac:spMkLst>
        </pc:spChg>
        <pc:spChg chg="mod">
          <ac:chgData name="Ugo MANTEL" userId="2d5b7065-31bb-4181-a7f8-a73bf0c30211" providerId="ADAL" clId="{F05BB0D5-3454-45DC-8378-DA45B79D9A06}" dt="2020-10-02T13:04:38.304" v="6053" actId="790"/>
          <ac:spMkLst>
            <pc:docMk/>
            <pc:sldMk cId="2603419662" sldId="7093"/>
            <ac:spMk id="157" creationId="{25BCA09D-EE9A-4FC7-A4F8-39BA83C4145E}"/>
          </ac:spMkLst>
        </pc:spChg>
        <pc:spChg chg="mod">
          <ac:chgData name="Ugo MANTEL" userId="2d5b7065-31bb-4181-a7f8-a73bf0c30211" providerId="ADAL" clId="{F05BB0D5-3454-45DC-8378-DA45B79D9A06}" dt="2020-10-02T13:04:38.314" v="6058" actId="790"/>
          <ac:spMkLst>
            <pc:docMk/>
            <pc:sldMk cId="2603419662" sldId="7093"/>
            <ac:spMk id="160" creationId="{0C33FFD5-10CE-4A2F-B91D-466ECAD715B0}"/>
          </ac:spMkLst>
        </pc:spChg>
        <pc:spChg chg="mod">
          <ac:chgData name="Ugo MANTEL" userId="2d5b7065-31bb-4181-a7f8-a73bf0c30211" providerId="ADAL" clId="{F05BB0D5-3454-45DC-8378-DA45B79D9A06}" dt="2020-10-02T13:04:38.316" v="6059" actId="790"/>
          <ac:spMkLst>
            <pc:docMk/>
            <pc:sldMk cId="2603419662" sldId="7093"/>
            <ac:spMk id="161" creationId="{06C09F0F-BB6A-4D15-B423-C84213D1E808}"/>
          </ac:spMkLst>
        </pc:spChg>
        <pc:spChg chg="mod">
          <ac:chgData name="Ugo MANTEL" userId="2d5b7065-31bb-4181-a7f8-a73bf0c30211" providerId="ADAL" clId="{F05BB0D5-3454-45DC-8378-DA45B79D9A06}" dt="2020-10-02T13:04:38.310" v="6056" actId="790"/>
          <ac:spMkLst>
            <pc:docMk/>
            <pc:sldMk cId="2603419662" sldId="7093"/>
            <ac:spMk id="162" creationId="{CC88B5F5-A843-4FF3-8DA9-D6C303243B9C}"/>
          </ac:spMkLst>
        </pc:spChg>
        <pc:spChg chg="mod">
          <ac:chgData name="Ugo MANTEL" userId="2d5b7065-31bb-4181-a7f8-a73bf0c30211" providerId="ADAL" clId="{F05BB0D5-3454-45DC-8378-DA45B79D9A06}" dt="2020-10-02T13:04:38.312" v="6057" actId="790"/>
          <ac:spMkLst>
            <pc:docMk/>
            <pc:sldMk cId="2603419662" sldId="7093"/>
            <ac:spMk id="163" creationId="{00EEFD2C-5F1C-4671-A395-288DA3BF7062}"/>
          </ac:spMkLst>
        </pc:spChg>
        <pc:spChg chg="mod">
          <ac:chgData name="Ugo MANTEL" userId="2d5b7065-31bb-4181-a7f8-a73bf0c30211" providerId="ADAL" clId="{F05BB0D5-3454-45DC-8378-DA45B79D9A06}" dt="2020-10-02T13:04:38.322" v="6062" actId="790"/>
          <ac:spMkLst>
            <pc:docMk/>
            <pc:sldMk cId="2603419662" sldId="7093"/>
            <ac:spMk id="166" creationId="{378B8DB9-09FB-4848-B24D-EC49307EC398}"/>
          </ac:spMkLst>
        </pc:spChg>
        <pc:spChg chg="mod">
          <ac:chgData name="Ugo MANTEL" userId="2d5b7065-31bb-4181-a7f8-a73bf0c30211" providerId="ADAL" clId="{F05BB0D5-3454-45DC-8378-DA45B79D9A06}" dt="2020-10-02T13:04:38.324" v="6063" actId="790"/>
          <ac:spMkLst>
            <pc:docMk/>
            <pc:sldMk cId="2603419662" sldId="7093"/>
            <ac:spMk id="167" creationId="{C3A5AA05-B000-4576-BF03-3C3D1CC7D664}"/>
          </ac:spMkLst>
        </pc:spChg>
        <pc:spChg chg="mod">
          <ac:chgData name="Ugo MANTEL" userId="2d5b7065-31bb-4181-a7f8-a73bf0c30211" providerId="ADAL" clId="{F05BB0D5-3454-45DC-8378-DA45B79D9A06}" dt="2020-10-02T13:04:38.318" v="6060" actId="790"/>
          <ac:spMkLst>
            <pc:docMk/>
            <pc:sldMk cId="2603419662" sldId="7093"/>
            <ac:spMk id="168" creationId="{EE7E3340-1F4E-4463-BD51-7A19151D1C27}"/>
          </ac:spMkLst>
        </pc:spChg>
        <pc:spChg chg="mod">
          <ac:chgData name="Ugo MANTEL" userId="2d5b7065-31bb-4181-a7f8-a73bf0c30211" providerId="ADAL" clId="{F05BB0D5-3454-45DC-8378-DA45B79D9A06}" dt="2020-10-02T13:04:38.320" v="6061" actId="790"/>
          <ac:spMkLst>
            <pc:docMk/>
            <pc:sldMk cId="2603419662" sldId="7093"/>
            <ac:spMk id="169" creationId="{228F4CF2-B9DF-422D-A0A0-50C90C47021B}"/>
          </ac:spMkLst>
        </pc:spChg>
        <pc:spChg chg="mod">
          <ac:chgData name="Ugo MANTEL" userId="2d5b7065-31bb-4181-a7f8-a73bf0c30211" providerId="ADAL" clId="{F05BB0D5-3454-45DC-8378-DA45B79D9A06}" dt="2020-10-02T13:04:38.328" v="6064" actId="790"/>
          <ac:spMkLst>
            <pc:docMk/>
            <pc:sldMk cId="2603419662" sldId="7093"/>
            <ac:spMk id="170" creationId="{6FF2B3DF-E4D9-4DE1-89E1-712822B3AA7A}"/>
          </ac:spMkLst>
        </pc:spChg>
        <pc:spChg chg="mod">
          <ac:chgData name="Ugo MANTEL" userId="2d5b7065-31bb-4181-a7f8-a73bf0c30211" providerId="ADAL" clId="{F05BB0D5-3454-45DC-8378-DA45B79D9A06}" dt="2020-10-02T13:04:38.364" v="6082" actId="790"/>
          <ac:spMkLst>
            <pc:docMk/>
            <pc:sldMk cId="2603419662" sldId="7093"/>
            <ac:spMk id="171" creationId="{46FECBFB-84D5-4862-A130-CC0FEC9A4953}"/>
          </ac:spMkLst>
        </pc:spChg>
        <pc:spChg chg="mod">
          <ac:chgData name="Ugo MANTEL" userId="2d5b7065-31bb-4181-a7f8-a73bf0c30211" providerId="ADAL" clId="{F05BB0D5-3454-45DC-8378-DA45B79D9A06}" dt="2020-10-02T13:04:38.366" v="6083" actId="790"/>
          <ac:spMkLst>
            <pc:docMk/>
            <pc:sldMk cId="2603419662" sldId="7093"/>
            <ac:spMk id="172" creationId="{5931969C-533C-4BE7-B262-1966F7EB6C46}"/>
          </ac:spMkLst>
        </pc:spChg>
        <pc:spChg chg="mod">
          <ac:chgData name="Ugo MANTEL" userId="2d5b7065-31bb-4181-a7f8-a73bf0c30211" providerId="ADAL" clId="{F05BB0D5-3454-45DC-8378-DA45B79D9A06}" dt="2020-10-02T13:04:38.369" v="6084" actId="790"/>
          <ac:spMkLst>
            <pc:docMk/>
            <pc:sldMk cId="2603419662" sldId="7093"/>
            <ac:spMk id="173" creationId="{404C3D98-D2D9-4D5C-AD8C-1154CFBE2329}"/>
          </ac:spMkLst>
        </pc:spChg>
        <pc:graphicFrameChg chg="modGraphic">
          <ac:chgData name="Ugo MANTEL" userId="2d5b7065-31bb-4181-a7f8-a73bf0c30211" providerId="ADAL" clId="{F05BB0D5-3454-45DC-8378-DA45B79D9A06}" dt="2020-10-07T08:37:25.145" v="10694"/>
          <ac:graphicFrameMkLst>
            <pc:docMk/>
            <pc:sldMk cId="2603419662" sldId="7093"/>
            <ac:graphicFrameMk id="65" creationId="{D9E26B0B-AE1C-43CB-BBCC-B338EDC9EE65}"/>
          </ac:graphicFrameMkLst>
        </pc:graphicFrameChg>
      </pc:sldChg>
      <pc:sldChg chg="modSp mod">
        <pc:chgData name="Ugo MANTEL" userId="2d5b7065-31bb-4181-a7f8-a73bf0c30211" providerId="ADAL" clId="{F05BB0D5-3454-45DC-8378-DA45B79D9A06}" dt="2020-10-02T13:04:37.898" v="5948" actId="790"/>
        <pc:sldMkLst>
          <pc:docMk/>
          <pc:sldMk cId="2575659523" sldId="7094"/>
        </pc:sldMkLst>
        <pc:spChg chg="mod">
          <ac:chgData name="Ugo MANTEL" userId="2d5b7065-31bb-4181-a7f8-a73bf0c30211" providerId="ADAL" clId="{F05BB0D5-3454-45DC-8378-DA45B79D9A06}" dt="2020-10-02T13:04:37.808" v="5922" actId="790"/>
          <ac:spMkLst>
            <pc:docMk/>
            <pc:sldMk cId="2575659523" sldId="7094"/>
            <ac:spMk id="3" creationId="{E5010DA3-233A-4C0B-9142-F7481F6191F9}"/>
          </ac:spMkLst>
        </pc:spChg>
        <pc:spChg chg="mod">
          <ac:chgData name="Ugo MANTEL" userId="2d5b7065-31bb-4181-a7f8-a73bf0c30211" providerId="ADAL" clId="{F05BB0D5-3454-45DC-8378-DA45B79D9A06}" dt="2020-10-02T13:04:37.830" v="5932" actId="790"/>
          <ac:spMkLst>
            <pc:docMk/>
            <pc:sldMk cId="2575659523" sldId="7094"/>
            <ac:spMk id="4" creationId="{0E1A51D9-4D5F-44CF-B77C-91E2E5C460EC}"/>
          </ac:spMkLst>
        </pc:spChg>
        <pc:spChg chg="mod">
          <ac:chgData name="Ugo MANTEL" userId="2d5b7065-31bb-4181-a7f8-a73bf0c30211" providerId="ADAL" clId="{F05BB0D5-3454-45DC-8378-DA45B79D9A06}" dt="2020-10-02T13:04:37.809" v="5923" actId="790"/>
          <ac:spMkLst>
            <pc:docMk/>
            <pc:sldMk cId="2575659523" sldId="7094"/>
            <ac:spMk id="18" creationId="{FF2A3E71-F790-43F9-895F-DA4FB88A640C}"/>
          </ac:spMkLst>
        </pc:spChg>
        <pc:spChg chg="mod">
          <ac:chgData name="Ugo MANTEL" userId="2d5b7065-31bb-4181-a7f8-a73bf0c30211" providerId="ADAL" clId="{F05BB0D5-3454-45DC-8378-DA45B79D9A06}" dt="2020-10-02T13:04:37.811" v="5924" actId="790"/>
          <ac:spMkLst>
            <pc:docMk/>
            <pc:sldMk cId="2575659523" sldId="7094"/>
            <ac:spMk id="19" creationId="{02B34D9D-CAB9-4FC1-90D5-197DB49855F0}"/>
          </ac:spMkLst>
        </pc:spChg>
        <pc:spChg chg="mod">
          <ac:chgData name="Ugo MANTEL" userId="2d5b7065-31bb-4181-a7f8-a73bf0c30211" providerId="ADAL" clId="{F05BB0D5-3454-45DC-8378-DA45B79D9A06}" dt="2020-10-02T13:04:37.804" v="5921" actId="790"/>
          <ac:spMkLst>
            <pc:docMk/>
            <pc:sldMk cId="2575659523" sldId="7094"/>
            <ac:spMk id="20" creationId="{D7D998A4-C0A2-4344-97DF-ADA1A0B20363}"/>
          </ac:spMkLst>
        </pc:spChg>
        <pc:spChg chg="mod">
          <ac:chgData name="Ugo MANTEL" userId="2d5b7065-31bb-4181-a7f8-a73bf0c30211" providerId="ADAL" clId="{F05BB0D5-3454-45DC-8378-DA45B79D9A06}" dt="2020-10-02T13:04:37.815" v="5925" actId="790"/>
          <ac:spMkLst>
            <pc:docMk/>
            <pc:sldMk cId="2575659523" sldId="7094"/>
            <ac:spMk id="23" creationId="{D037B4D8-E38E-4A63-A9F9-F205C8EB8855}"/>
          </ac:spMkLst>
        </pc:spChg>
        <pc:spChg chg="mod">
          <ac:chgData name="Ugo MANTEL" userId="2d5b7065-31bb-4181-a7f8-a73bf0c30211" providerId="ADAL" clId="{F05BB0D5-3454-45DC-8378-DA45B79D9A06}" dt="2020-10-02T13:04:37.827" v="5931" actId="790"/>
          <ac:spMkLst>
            <pc:docMk/>
            <pc:sldMk cId="2575659523" sldId="7094"/>
            <ac:spMk id="33" creationId="{8A8118D5-C086-4B86-9E28-4A2643228340}"/>
          </ac:spMkLst>
        </pc:spChg>
        <pc:spChg chg="mod">
          <ac:chgData name="Ugo MANTEL" userId="2d5b7065-31bb-4181-a7f8-a73bf0c30211" providerId="ADAL" clId="{F05BB0D5-3454-45DC-8378-DA45B79D9A06}" dt="2020-10-02T13:04:37.818" v="5926" actId="790"/>
          <ac:spMkLst>
            <pc:docMk/>
            <pc:sldMk cId="2575659523" sldId="7094"/>
            <ac:spMk id="41" creationId="{57FAD347-7765-4AC9-AAFB-71F4E2695161}"/>
          </ac:spMkLst>
        </pc:spChg>
        <pc:spChg chg="mod">
          <ac:chgData name="Ugo MANTEL" userId="2d5b7065-31bb-4181-a7f8-a73bf0c30211" providerId="ADAL" clId="{F05BB0D5-3454-45DC-8378-DA45B79D9A06}" dt="2020-10-02T13:04:37.819" v="5927" actId="790"/>
          <ac:spMkLst>
            <pc:docMk/>
            <pc:sldMk cId="2575659523" sldId="7094"/>
            <ac:spMk id="42" creationId="{5F629B99-01EE-46E7-8762-68B039E51D99}"/>
          </ac:spMkLst>
        </pc:spChg>
        <pc:spChg chg="mod">
          <ac:chgData name="Ugo MANTEL" userId="2d5b7065-31bb-4181-a7f8-a73bf0c30211" providerId="ADAL" clId="{F05BB0D5-3454-45DC-8378-DA45B79D9A06}" dt="2020-10-02T13:04:37.821" v="5928" actId="790"/>
          <ac:spMkLst>
            <pc:docMk/>
            <pc:sldMk cId="2575659523" sldId="7094"/>
            <ac:spMk id="43" creationId="{9765D66E-D23C-4481-AEBA-6839A65505B8}"/>
          </ac:spMkLst>
        </pc:spChg>
        <pc:spChg chg="mod">
          <ac:chgData name="Ugo MANTEL" userId="2d5b7065-31bb-4181-a7f8-a73bf0c30211" providerId="ADAL" clId="{F05BB0D5-3454-45DC-8378-DA45B79D9A06}" dt="2020-10-02T13:04:37.823" v="5929" actId="790"/>
          <ac:spMkLst>
            <pc:docMk/>
            <pc:sldMk cId="2575659523" sldId="7094"/>
            <ac:spMk id="44" creationId="{9D5C9C2E-8965-4D28-8000-7B0F61B23A99}"/>
          </ac:spMkLst>
        </pc:spChg>
        <pc:spChg chg="mod">
          <ac:chgData name="Ugo MANTEL" userId="2d5b7065-31bb-4181-a7f8-a73bf0c30211" providerId="ADAL" clId="{F05BB0D5-3454-45DC-8378-DA45B79D9A06}" dt="2020-10-02T13:04:37.824" v="5930" actId="790"/>
          <ac:spMkLst>
            <pc:docMk/>
            <pc:sldMk cId="2575659523" sldId="7094"/>
            <ac:spMk id="51" creationId="{C53A25D0-CAE9-40B7-A557-D9640482982A}"/>
          </ac:spMkLst>
        </pc:spChg>
        <pc:spChg chg="mod">
          <ac:chgData name="Ugo MANTEL" userId="2d5b7065-31bb-4181-a7f8-a73bf0c30211" providerId="ADAL" clId="{F05BB0D5-3454-45DC-8378-DA45B79D9A06}" dt="2020-10-02T13:04:37.839" v="5933" actId="790"/>
          <ac:spMkLst>
            <pc:docMk/>
            <pc:sldMk cId="2575659523" sldId="7094"/>
            <ac:spMk id="53" creationId="{85C9B527-FA33-4B57-916D-41117BE16110}"/>
          </ac:spMkLst>
        </pc:spChg>
        <pc:spChg chg="mod">
          <ac:chgData name="Ugo MANTEL" userId="2d5b7065-31bb-4181-a7f8-a73bf0c30211" providerId="ADAL" clId="{F05BB0D5-3454-45DC-8378-DA45B79D9A06}" dt="2020-10-02T13:04:37.855" v="5934" actId="790"/>
          <ac:spMkLst>
            <pc:docMk/>
            <pc:sldMk cId="2575659523" sldId="7094"/>
            <ac:spMk id="54" creationId="{30202BE6-4338-4A9A-BDBC-513CA66AA913}"/>
          </ac:spMkLst>
        </pc:spChg>
        <pc:spChg chg="mod">
          <ac:chgData name="Ugo MANTEL" userId="2d5b7065-31bb-4181-a7f8-a73bf0c30211" providerId="ADAL" clId="{F05BB0D5-3454-45DC-8378-DA45B79D9A06}" dt="2020-10-02T13:04:37.889" v="5943" actId="790"/>
          <ac:spMkLst>
            <pc:docMk/>
            <pc:sldMk cId="2575659523" sldId="7094"/>
            <ac:spMk id="57" creationId="{C3FCF3BC-BDB5-4FC8-8193-DE7CACE16EBE}"/>
          </ac:spMkLst>
        </pc:spChg>
        <pc:spChg chg="mod">
          <ac:chgData name="Ugo MANTEL" userId="2d5b7065-31bb-4181-a7f8-a73bf0c30211" providerId="ADAL" clId="{F05BB0D5-3454-45DC-8378-DA45B79D9A06}" dt="2020-10-02T13:04:37.857" v="5935" actId="790"/>
          <ac:spMkLst>
            <pc:docMk/>
            <pc:sldMk cId="2575659523" sldId="7094"/>
            <ac:spMk id="58" creationId="{47DFFA68-FB00-4A24-AD0B-DD0F95EBEBDD}"/>
          </ac:spMkLst>
        </pc:spChg>
        <pc:spChg chg="mod">
          <ac:chgData name="Ugo MANTEL" userId="2d5b7065-31bb-4181-a7f8-a73bf0c30211" providerId="ADAL" clId="{F05BB0D5-3454-45DC-8378-DA45B79D9A06}" dt="2020-10-02T13:04:37.859" v="5936" actId="790"/>
          <ac:spMkLst>
            <pc:docMk/>
            <pc:sldMk cId="2575659523" sldId="7094"/>
            <ac:spMk id="59" creationId="{1379F0CC-5BF8-404B-BD9F-29BBF7BE8A27}"/>
          </ac:spMkLst>
        </pc:spChg>
        <pc:spChg chg="mod">
          <ac:chgData name="Ugo MANTEL" userId="2d5b7065-31bb-4181-a7f8-a73bf0c30211" providerId="ADAL" clId="{F05BB0D5-3454-45DC-8378-DA45B79D9A06}" dt="2020-10-02T13:04:37.861" v="5937" actId="790"/>
          <ac:spMkLst>
            <pc:docMk/>
            <pc:sldMk cId="2575659523" sldId="7094"/>
            <ac:spMk id="61" creationId="{A384BB33-17D0-4556-856E-0904D5871162}"/>
          </ac:spMkLst>
        </pc:spChg>
        <pc:spChg chg="mod">
          <ac:chgData name="Ugo MANTEL" userId="2d5b7065-31bb-4181-a7f8-a73bf0c30211" providerId="ADAL" clId="{F05BB0D5-3454-45DC-8378-DA45B79D9A06}" dt="2020-10-02T13:04:37.862" v="5938" actId="790"/>
          <ac:spMkLst>
            <pc:docMk/>
            <pc:sldMk cId="2575659523" sldId="7094"/>
            <ac:spMk id="62" creationId="{B6D357C0-5344-4F55-82C3-F24DB9EF8742}"/>
          </ac:spMkLst>
        </pc:spChg>
        <pc:spChg chg="mod">
          <ac:chgData name="Ugo MANTEL" userId="2d5b7065-31bb-4181-a7f8-a73bf0c30211" providerId="ADAL" clId="{F05BB0D5-3454-45DC-8378-DA45B79D9A06}" dt="2020-10-02T13:04:37.864" v="5939" actId="790"/>
          <ac:spMkLst>
            <pc:docMk/>
            <pc:sldMk cId="2575659523" sldId="7094"/>
            <ac:spMk id="64" creationId="{74F75FB8-3F26-4908-BD1D-AC24D68E26DB}"/>
          </ac:spMkLst>
        </pc:spChg>
        <pc:spChg chg="mod">
          <ac:chgData name="Ugo MANTEL" userId="2d5b7065-31bb-4181-a7f8-a73bf0c30211" providerId="ADAL" clId="{F05BB0D5-3454-45DC-8378-DA45B79D9A06}" dt="2020-10-02T13:04:37.866" v="5940" actId="790"/>
          <ac:spMkLst>
            <pc:docMk/>
            <pc:sldMk cId="2575659523" sldId="7094"/>
            <ac:spMk id="65" creationId="{5395328B-7CCC-41F7-B6AF-0ACA664DF620}"/>
          </ac:spMkLst>
        </pc:spChg>
        <pc:spChg chg="mod">
          <ac:chgData name="Ugo MANTEL" userId="2d5b7065-31bb-4181-a7f8-a73bf0c30211" providerId="ADAL" clId="{F05BB0D5-3454-45DC-8378-DA45B79D9A06}" dt="2020-10-02T13:04:37.876" v="5941" actId="790"/>
          <ac:spMkLst>
            <pc:docMk/>
            <pc:sldMk cId="2575659523" sldId="7094"/>
            <ac:spMk id="66" creationId="{E6BDF360-DB3D-4CF8-B16E-DC935FB35B3E}"/>
          </ac:spMkLst>
        </pc:spChg>
        <pc:spChg chg="mod">
          <ac:chgData name="Ugo MANTEL" userId="2d5b7065-31bb-4181-a7f8-a73bf0c30211" providerId="ADAL" clId="{F05BB0D5-3454-45DC-8378-DA45B79D9A06}" dt="2020-10-02T13:04:37.885" v="5942" actId="790"/>
          <ac:spMkLst>
            <pc:docMk/>
            <pc:sldMk cId="2575659523" sldId="7094"/>
            <ac:spMk id="67" creationId="{323A694C-FF5E-4302-8C5A-9BB0A925FF28}"/>
          </ac:spMkLst>
        </pc:spChg>
        <pc:spChg chg="mod">
          <ac:chgData name="Ugo MANTEL" userId="2d5b7065-31bb-4181-a7f8-a73bf0c30211" providerId="ADAL" clId="{F05BB0D5-3454-45DC-8378-DA45B79D9A06}" dt="2020-10-02T13:04:37.891" v="5944" actId="790"/>
          <ac:spMkLst>
            <pc:docMk/>
            <pc:sldMk cId="2575659523" sldId="7094"/>
            <ac:spMk id="68" creationId="{A9A84AE3-D2DC-4351-8E70-1E16E888CA94}"/>
          </ac:spMkLst>
        </pc:spChg>
        <pc:spChg chg="mod">
          <ac:chgData name="Ugo MANTEL" userId="2d5b7065-31bb-4181-a7f8-a73bf0c30211" providerId="ADAL" clId="{F05BB0D5-3454-45DC-8378-DA45B79D9A06}" dt="2020-10-02T13:04:37.893" v="5945" actId="790"/>
          <ac:spMkLst>
            <pc:docMk/>
            <pc:sldMk cId="2575659523" sldId="7094"/>
            <ac:spMk id="70" creationId="{56B033F2-4463-4800-8C97-AF4F2DB2BFAE}"/>
          </ac:spMkLst>
        </pc:spChg>
        <pc:spChg chg="mod">
          <ac:chgData name="Ugo MANTEL" userId="2d5b7065-31bb-4181-a7f8-a73bf0c30211" providerId="ADAL" clId="{F05BB0D5-3454-45DC-8378-DA45B79D9A06}" dt="2020-10-02T13:04:37.894" v="5946" actId="790"/>
          <ac:spMkLst>
            <pc:docMk/>
            <pc:sldMk cId="2575659523" sldId="7094"/>
            <ac:spMk id="71" creationId="{692982A3-FEC9-4ABA-88F3-C1BC36500BBF}"/>
          </ac:spMkLst>
        </pc:spChg>
        <pc:spChg chg="mod">
          <ac:chgData name="Ugo MANTEL" userId="2d5b7065-31bb-4181-a7f8-a73bf0c30211" providerId="ADAL" clId="{F05BB0D5-3454-45DC-8378-DA45B79D9A06}" dt="2020-10-02T13:04:37.896" v="5947" actId="790"/>
          <ac:spMkLst>
            <pc:docMk/>
            <pc:sldMk cId="2575659523" sldId="7094"/>
            <ac:spMk id="73" creationId="{68C6FCB2-4B89-4DE7-ABE2-4F3B184AD667}"/>
          </ac:spMkLst>
        </pc:spChg>
        <pc:spChg chg="mod">
          <ac:chgData name="Ugo MANTEL" userId="2d5b7065-31bb-4181-a7f8-a73bf0c30211" providerId="ADAL" clId="{F05BB0D5-3454-45DC-8378-DA45B79D9A06}" dt="2020-10-02T13:04:37.898" v="5948" actId="790"/>
          <ac:spMkLst>
            <pc:docMk/>
            <pc:sldMk cId="2575659523" sldId="7094"/>
            <ac:spMk id="74" creationId="{3EE567D1-AB5F-4536-98B0-5C19A2BF3325}"/>
          </ac:spMkLst>
        </pc:spChg>
      </pc:sldChg>
      <pc:sldChg chg="modSp mod">
        <pc:chgData name="Ugo MANTEL" userId="2d5b7065-31bb-4181-a7f8-a73bf0c30211" providerId="ADAL" clId="{F05BB0D5-3454-45DC-8378-DA45B79D9A06}" dt="2020-10-02T13:04:36.889" v="5557" actId="790"/>
        <pc:sldMkLst>
          <pc:docMk/>
          <pc:sldMk cId="1454722016" sldId="7095"/>
        </pc:sldMkLst>
        <pc:spChg chg="mod">
          <ac:chgData name="Ugo MANTEL" userId="2d5b7065-31bb-4181-a7f8-a73bf0c30211" providerId="ADAL" clId="{F05BB0D5-3454-45DC-8378-DA45B79D9A06}" dt="2020-10-02T13:04:36.839" v="5500" actId="790"/>
          <ac:spMkLst>
            <pc:docMk/>
            <pc:sldMk cId="1454722016" sldId="7095"/>
            <ac:spMk id="3" creationId="{73049BF9-8D13-481B-9A48-46C6C4E9E852}"/>
          </ac:spMkLst>
        </pc:spChg>
        <pc:spChg chg="mod">
          <ac:chgData name="Ugo MANTEL" userId="2d5b7065-31bb-4181-a7f8-a73bf0c30211" providerId="ADAL" clId="{F05BB0D5-3454-45DC-8378-DA45B79D9A06}" dt="2020-10-02T13:04:36.850" v="5513" actId="790"/>
          <ac:spMkLst>
            <pc:docMk/>
            <pc:sldMk cId="1454722016" sldId="7095"/>
            <ac:spMk id="5" creationId="{7A02B674-B623-4FB9-A315-49D1A6E7CC9C}"/>
          </ac:spMkLst>
        </pc:spChg>
        <pc:spChg chg="mod">
          <ac:chgData name="Ugo MANTEL" userId="2d5b7065-31bb-4181-a7f8-a73bf0c30211" providerId="ADAL" clId="{F05BB0D5-3454-45DC-8378-DA45B79D9A06}" dt="2020-10-02T13:04:36.836" v="5499" actId="790"/>
          <ac:spMkLst>
            <pc:docMk/>
            <pc:sldMk cId="1454722016" sldId="7095"/>
            <ac:spMk id="7" creationId="{4A6022E3-4DB9-46DF-966E-81EED0537A86}"/>
          </ac:spMkLst>
        </pc:spChg>
        <pc:spChg chg="mod">
          <ac:chgData name="Ugo MANTEL" userId="2d5b7065-31bb-4181-a7f8-a73bf0c30211" providerId="ADAL" clId="{F05BB0D5-3454-45DC-8378-DA45B79D9A06}" dt="2020-10-02T13:04:36.839" v="5501" actId="790"/>
          <ac:spMkLst>
            <pc:docMk/>
            <pc:sldMk cId="1454722016" sldId="7095"/>
            <ac:spMk id="20" creationId="{99E0C0D1-7BEF-45AF-9AF8-43C5BF48838D}"/>
          </ac:spMkLst>
        </pc:spChg>
        <pc:spChg chg="mod">
          <ac:chgData name="Ugo MANTEL" userId="2d5b7065-31bb-4181-a7f8-a73bf0c30211" providerId="ADAL" clId="{F05BB0D5-3454-45DC-8378-DA45B79D9A06}" dt="2020-10-02T13:04:36.869" v="5530" actId="790"/>
          <ac:spMkLst>
            <pc:docMk/>
            <pc:sldMk cId="1454722016" sldId="7095"/>
            <ac:spMk id="24" creationId="{14E5BD6B-24E8-46B4-B66B-093EFC797D55}"/>
          </ac:spMkLst>
        </pc:spChg>
        <pc:spChg chg="mod">
          <ac:chgData name="Ugo MANTEL" userId="2d5b7065-31bb-4181-a7f8-a73bf0c30211" providerId="ADAL" clId="{F05BB0D5-3454-45DC-8378-DA45B79D9A06}" dt="2020-10-02T13:04:36.851" v="5514" actId="790"/>
          <ac:spMkLst>
            <pc:docMk/>
            <pc:sldMk cId="1454722016" sldId="7095"/>
            <ac:spMk id="30" creationId="{FB01FB5E-0177-4188-AC9C-864FCCE396E7}"/>
          </ac:spMkLst>
        </pc:spChg>
        <pc:spChg chg="mod">
          <ac:chgData name="Ugo MANTEL" userId="2d5b7065-31bb-4181-a7f8-a73bf0c30211" providerId="ADAL" clId="{F05BB0D5-3454-45DC-8378-DA45B79D9A06}" dt="2020-10-02T13:04:36.853" v="5515" actId="790"/>
          <ac:spMkLst>
            <pc:docMk/>
            <pc:sldMk cId="1454722016" sldId="7095"/>
            <ac:spMk id="33" creationId="{51EFD715-3B6A-4B4F-9D82-CEE537574D60}"/>
          </ac:spMkLst>
        </pc:spChg>
        <pc:spChg chg="mod">
          <ac:chgData name="Ugo MANTEL" userId="2d5b7065-31bb-4181-a7f8-a73bf0c30211" providerId="ADAL" clId="{F05BB0D5-3454-45DC-8378-DA45B79D9A06}" dt="2020-10-02T13:04:36.855" v="5516" actId="790"/>
          <ac:spMkLst>
            <pc:docMk/>
            <pc:sldMk cId="1454722016" sldId="7095"/>
            <ac:spMk id="37" creationId="{4C6FA349-B6C7-4CBC-9874-6984A2DD2D1F}"/>
          </ac:spMkLst>
        </pc:spChg>
        <pc:spChg chg="mod">
          <ac:chgData name="Ugo MANTEL" userId="2d5b7065-31bb-4181-a7f8-a73bf0c30211" providerId="ADAL" clId="{F05BB0D5-3454-45DC-8378-DA45B79D9A06}" dt="2020-10-02T13:04:36.840" v="5502" actId="790"/>
          <ac:spMkLst>
            <pc:docMk/>
            <pc:sldMk cId="1454722016" sldId="7095"/>
            <ac:spMk id="67" creationId="{395D9023-BB8D-4C07-A58A-9CA420892AF9}"/>
          </ac:spMkLst>
        </pc:spChg>
        <pc:spChg chg="mod">
          <ac:chgData name="Ugo MANTEL" userId="2d5b7065-31bb-4181-a7f8-a73bf0c30211" providerId="ADAL" clId="{F05BB0D5-3454-45DC-8378-DA45B79D9A06}" dt="2020-10-02T13:04:36.841" v="5503" actId="790"/>
          <ac:spMkLst>
            <pc:docMk/>
            <pc:sldMk cId="1454722016" sldId="7095"/>
            <ac:spMk id="68" creationId="{EACF4C40-5F5A-4F7F-BA6B-57A106712858}"/>
          </ac:spMkLst>
        </pc:spChg>
        <pc:spChg chg="mod">
          <ac:chgData name="Ugo MANTEL" userId="2d5b7065-31bb-4181-a7f8-a73bf0c30211" providerId="ADAL" clId="{F05BB0D5-3454-45DC-8378-DA45B79D9A06}" dt="2020-10-02T13:04:36.842" v="5504" actId="790"/>
          <ac:spMkLst>
            <pc:docMk/>
            <pc:sldMk cId="1454722016" sldId="7095"/>
            <ac:spMk id="69" creationId="{14932ABF-B3F2-4614-9FA3-744906B2F197}"/>
          </ac:spMkLst>
        </pc:spChg>
        <pc:spChg chg="mod">
          <ac:chgData name="Ugo MANTEL" userId="2d5b7065-31bb-4181-a7f8-a73bf0c30211" providerId="ADAL" clId="{F05BB0D5-3454-45DC-8378-DA45B79D9A06}" dt="2020-10-02T13:04:36.843" v="5505" actId="790"/>
          <ac:spMkLst>
            <pc:docMk/>
            <pc:sldMk cId="1454722016" sldId="7095"/>
            <ac:spMk id="70" creationId="{D6ECC423-047F-4FFA-A595-20B725419789}"/>
          </ac:spMkLst>
        </pc:spChg>
        <pc:spChg chg="mod">
          <ac:chgData name="Ugo MANTEL" userId="2d5b7065-31bb-4181-a7f8-a73bf0c30211" providerId="ADAL" clId="{F05BB0D5-3454-45DC-8378-DA45B79D9A06}" dt="2020-10-02T13:04:36.843" v="5506" actId="790"/>
          <ac:spMkLst>
            <pc:docMk/>
            <pc:sldMk cId="1454722016" sldId="7095"/>
            <ac:spMk id="71" creationId="{AD9B7B8C-EC95-4D2A-9D6F-36CF469DC9DC}"/>
          </ac:spMkLst>
        </pc:spChg>
        <pc:spChg chg="mod">
          <ac:chgData name="Ugo MANTEL" userId="2d5b7065-31bb-4181-a7f8-a73bf0c30211" providerId="ADAL" clId="{F05BB0D5-3454-45DC-8378-DA45B79D9A06}" dt="2020-10-02T13:04:36.863" v="5524" actId="790"/>
          <ac:spMkLst>
            <pc:docMk/>
            <pc:sldMk cId="1454722016" sldId="7095"/>
            <ac:spMk id="74" creationId="{B0A0D9FD-6BFD-4B90-B264-BC8DB8AC2A22}"/>
          </ac:spMkLst>
        </pc:spChg>
        <pc:spChg chg="mod">
          <ac:chgData name="Ugo MANTEL" userId="2d5b7065-31bb-4181-a7f8-a73bf0c30211" providerId="ADAL" clId="{F05BB0D5-3454-45DC-8378-DA45B79D9A06}" dt="2020-10-02T13:04:36.864" v="5525" actId="790"/>
          <ac:spMkLst>
            <pc:docMk/>
            <pc:sldMk cId="1454722016" sldId="7095"/>
            <ac:spMk id="76" creationId="{449C5D3A-1E00-44D1-ABE4-3063080264B6}"/>
          </ac:spMkLst>
        </pc:spChg>
        <pc:spChg chg="mod">
          <ac:chgData name="Ugo MANTEL" userId="2d5b7065-31bb-4181-a7f8-a73bf0c30211" providerId="ADAL" clId="{F05BB0D5-3454-45DC-8378-DA45B79D9A06}" dt="2020-10-02T13:04:36.865" v="5526" actId="790"/>
          <ac:spMkLst>
            <pc:docMk/>
            <pc:sldMk cId="1454722016" sldId="7095"/>
            <ac:spMk id="77" creationId="{8DC60C25-C9B5-4642-ABDB-BD662034E44D}"/>
          </ac:spMkLst>
        </pc:spChg>
        <pc:spChg chg="mod">
          <ac:chgData name="Ugo MANTEL" userId="2d5b7065-31bb-4181-a7f8-a73bf0c30211" providerId="ADAL" clId="{F05BB0D5-3454-45DC-8378-DA45B79D9A06}" dt="2020-10-02T13:04:36.866" v="5527" actId="790"/>
          <ac:spMkLst>
            <pc:docMk/>
            <pc:sldMk cId="1454722016" sldId="7095"/>
            <ac:spMk id="78" creationId="{9CD81375-473A-406E-AEE4-953258755F11}"/>
          </ac:spMkLst>
        </pc:spChg>
        <pc:spChg chg="mod">
          <ac:chgData name="Ugo MANTEL" userId="2d5b7065-31bb-4181-a7f8-a73bf0c30211" providerId="ADAL" clId="{F05BB0D5-3454-45DC-8378-DA45B79D9A06}" dt="2020-10-02T13:04:36.844" v="5507" actId="790"/>
          <ac:spMkLst>
            <pc:docMk/>
            <pc:sldMk cId="1454722016" sldId="7095"/>
            <ac:spMk id="79" creationId="{CD19E6A4-8567-4F4C-8660-64A9310AA4D4}"/>
          </ac:spMkLst>
        </pc:spChg>
        <pc:spChg chg="mod">
          <ac:chgData name="Ugo MANTEL" userId="2d5b7065-31bb-4181-a7f8-a73bf0c30211" providerId="ADAL" clId="{F05BB0D5-3454-45DC-8378-DA45B79D9A06}" dt="2020-10-02T13:04:36.844" v="5508" actId="790"/>
          <ac:spMkLst>
            <pc:docMk/>
            <pc:sldMk cId="1454722016" sldId="7095"/>
            <ac:spMk id="80" creationId="{85224B74-BFCF-40D4-8F5A-4DBD358E4A6A}"/>
          </ac:spMkLst>
        </pc:spChg>
        <pc:spChg chg="mod">
          <ac:chgData name="Ugo MANTEL" userId="2d5b7065-31bb-4181-a7f8-a73bf0c30211" providerId="ADAL" clId="{F05BB0D5-3454-45DC-8378-DA45B79D9A06}" dt="2020-10-02T13:04:36.845" v="5509" actId="790"/>
          <ac:spMkLst>
            <pc:docMk/>
            <pc:sldMk cId="1454722016" sldId="7095"/>
            <ac:spMk id="81" creationId="{67520AEC-ABAB-415A-ADD8-DF870797CCB0}"/>
          </ac:spMkLst>
        </pc:spChg>
        <pc:spChg chg="mod">
          <ac:chgData name="Ugo MANTEL" userId="2d5b7065-31bb-4181-a7f8-a73bf0c30211" providerId="ADAL" clId="{F05BB0D5-3454-45DC-8378-DA45B79D9A06}" dt="2020-10-02T13:04:36.846" v="5510" actId="790"/>
          <ac:spMkLst>
            <pc:docMk/>
            <pc:sldMk cId="1454722016" sldId="7095"/>
            <ac:spMk id="82" creationId="{24EAE7A4-064F-4847-974C-384E1DE8F678}"/>
          </ac:spMkLst>
        </pc:spChg>
        <pc:spChg chg="mod">
          <ac:chgData name="Ugo MANTEL" userId="2d5b7065-31bb-4181-a7f8-a73bf0c30211" providerId="ADAL" clId="{F05BB0D5-3454-45DC-8378-DA45B79D9A06}" dt="2020-10-02T13:04:36.858" v="5517" actId="790"/>
          <ac:spMkLst>
            <pc:docMk/>
            <pc:sldMk cId="1454722016" sldId="7095"/>
            <ac:spMk id="83" creationId="{EDB79795-CCDC-4772-B04D-B056BFFA989C}"/>
          </ac:spMkLst>
        </pc:spChg>
        <pc:spChg chg="mod">
          <ac:chgData name="Ugo MANTEL" userId="2d5b7065-31bb-4181-a7f8-a73bf0c30211" providerId="ADAL" clId="{F05BB0D5-3454-45DC-8378-DA45B79D9A06}" dt="2020-10-02T13:04:36.867" v="5528" actId="790"/>
          <ac:spMkLst>
            <pc:docMk/>
            <pc:sldMk cId="1454722016" sldId="7095"/>
            <ac:spMk id="84" creationId="{BEB94551-8AD6-41D2-9CC1-108130024DB7}"/>
          </ac:spMkLst>
        </pc:spChg>
        <pc:spChg chg="mod">
          <ac:chgData name="Ugo MANTEL" userId="2d5b7065-31bb-4181-a7f8-a73bf0c30211" providerId="ADAL" clId="{F05BB0D5-3454-45DC-8378-DA45B79D9A06}" dt="2020-10-02T13:04:36.868" v="5529" actId="790"/>
          <ac:spMkLst>
            <pc:docMk/>
            <pc:sldMk cId="1454722016" sldId="7095"/>
            <ac:spMk id="85" creationId="{FE8A55E8-0B7A-4BE2-BB01-E5664B407AA7}"/>
          </ac:spMkLst>
        </pc:spChg>
        <pc:spChg chg="mod">
          <ac:chgData name="Ugo MANTEL" userId="2d5b7065-31bb-4181-a7f8-a73bf0c30211" providerId="ADAL" clId="{F05BB0D5-3454-45DC-8378-DA45B79D9A06}" dt="2020-10-02T13:04:36.859" v="5518" actId="790"/>
          <ac:spMkLst>
            <pc:docMk/>
            <pc:sldMk cId="1454722016" sldId="7095"/>
            <ac:spMk id="87" creationId="{369FBC93-33CC-419E-81E7-ED99B2B84745}"/>
          </ac:spMkLst>
        </pc:spChg>
        <pc:spChg chg="mod">
          <ac:chgData name="Ugo MANTEL" userId="2d5b7065-31bb-4181-a7f8-a73bf0c30211" providerId="ADAL" clId="{F05BB0D5-3454-45DC-8378-DA45B79D9A06}" dt="2020-10-02T13:04:36.860" v="5519" actId="790"/>
          <ac:spMkLst>
            <pc:docMk/>
            <pc:sldMk cId="1454722016" sldId="7095"/>
            <ac:spMk id="90" creationId="{57844CA3-74CB-4A77-A57A-5C7500F806DC}"/>
          </ac:spMkLst>
        </pc:spChg>
        <pc:spChg chg="mod">
          <ac:chgData name="Ugo MANTEL" userId="2d5b7065-31bb-4181-a7f8-a73bf0c30211" providerId="ADAL" clId="{F05BB0D5-3454-45DC-8378-DA45B79D9A06}" dt="2020-10-02T13:04:36.860" v="5520" actId="790"/>
          <ac:spMkLst>
            <pc:docMk/>
            <pc:sldMk cId="1454722016" sldId="7095"/>
            <ac:spMk id="91" creationId="{EC2DDCD0-692A-4FCA-B2D9-C80A11DCC748}"/>
          </ac:spMkLst>
        </pc:spChg>
        <pc:spChg chg="mod">
          <ac:chgData name="Ugo MANTEL" userId="2d5b7065-31bb-4181-a7f8-a73bf0c30211" providerId="ADAL" clId="{F05BB0D5-3454-45DC-8378-DA45B79D9A06}" dt="2020-10-02T13:04:36.861" v="5521" actId="790"/>
          <ac:spMkLst>
            <pc:docMk/>
            <pc:sldMk cId="1454722016" sldId="7095"/>
            <ac:spMk id="92" creationId="{EB0120F0-E514-4F9C-B7AF-360869814C92}"/>
          </ac:spMkLst>
        </pc:spChg>
        <pc:spChg chg="mod">
          <ac:chgData name="Ugo MANTEL" userId="2d5b7065-31bb-4181-a7f8-a73bf0c30211" providerId="ADAL" clId="{F05BB0D5-3454-45DC-8378-DA45B79D9A06}" dt="2020-10-02T13:04:36.862" v="5522" actId="790"/>
          <ac:spMkLst>
            <pc:docMk/>
            <pc:sldMk cId="1454722016" sldId="7095"/>
            <ac:spMk id="93" creationId="{2DFFA865-64D9-43BD-8616-77D06B3DD803}"/>
          </ac:spMkLst>
        </pc:spChg>
        <pc:spChg chg="mod">
          <ac:chgData name="Ugo MANTEL" userId="2d5b7065-31bb-4181-a7f8-a73bf0c30211" providerId="ADAL" clId="{F05BB0D5-3454-45DC-8378-DA45B79D9A06}" dt="2020-10-02T13:04:36.863" v="5523" actId="790"/>
          <ac:spMkLst>
            <pc:docMk/>
            <pc:sldMk cId="1454722016" sldId="7095"/>
            <ac:spMk id="104" creationId="{FD85FFAD-67AA-432A-A092-63B328817A7F}"/>
          </ac:spMkLst>
        </pc:spChg>
        <pc:spChg chg="mod">
          <ac:chgData name="Ugo MANTEL" userId="2d5b7065-31bb-4181-a7f8-a73bf0c30211" providerId="ADAL" clId="{F05BB0D5-3454-45DC-8378-DA45B79D9A06}" dt="2020-10-02T13:04:36.883" v="5548" actId="790"/>
          <ac:spMkLst>
            <pc:docMk/>
            <pc:sldMk cId="1454722016" sldId="7095"/>
            <ac:spMk id="105" creationId="{AB14B7B9-637B-4169-94A6-04ED5247E5B0}"/>
          </ac:spMkLst>
        </pc:spChg>
        <pc:spChg chg="mod">
          <ac:chgData name="Ugo MANTEL" userId="2d5b7065-31bb-4181-a7f8-a73bf0c30211" providerId="ADAL" clId="{F05BB0D5-3454-45DC-8378-DA45B79D9A06}" dt="2020-10-02T13:04:36.870" v="5531" actId="790"/>
          <ac:spMkLst>
            <pc:docMk/>
            <pc:sldMk cId="1454722016" sldId="7095"/>
            <ac:spMk id="106" creationId="{B668B110-E21A-4E33-B7D0-3E9EA6FF2B07}"/>
          </ac:spMkLst>
        </pc:spChg>
        <pc:spChg chg="mod">
          <ac:chgData name="Ugo MANTEL" userId="2d5b7065-31bb-4181-a7f8-a73bf0c30211" providerId="ADAL" clId="{F05BB0D5-3454-45DC-8378-DA45B79D9A06}" dt="2020-10-02T13:04:36.871" v="5532" actId="790"/>
          <ac:spMkLst>
            <pc:docMk/>
            <pc:sldMk cId="1454722016" sldId="7095"/>
            <ac:spMk id="107" creationId="{F14D22FD-4BD9-4538-8DEB-2884AD708E40}"/>
          </ac:spMkLst>
        </pc:spChg>
        <pc:spChg chg="mod">
          <ac:chgData name="Ugo MANTEL" userId="2d5b7065-31bb-4181-a7f8-a73bf0c30211" providerId="ADAL" clId="{F05BB0D5-3454-45DC-8378-DA45B79D9A06}" dt="2020-10-02T13:04:36.871" v="5533" actId="790"/>
          <ac:spMkLst>
            <pc:docMk/>
            <pc:sldMk cId="1454722016" sldId="7095"/>
            <ac:spMk id="108" creationId="{DA1538A2-EB70-4130-B00A-E860707A51AD}"/>
          </ac:spMkLst>
        </pc:spChg>
        <pc:spChg chg="mod">
          <ac:chgData name="Ugo MANTEL" userId="2d5b7065-31bb-4181-a7f8-a73bf0c30211" providerId="ADAL" clId="{F05BB0D5-3454-45DC-8378-DA45B79D9A06}" dt="2020-10-02T13:04:36.847" v="5511" actId="790"/>
          <ac:spMkLst>
            <pc:docMk/>
            <pc:sldMk cId="1454722016" sldId="7095"/>
            <ac:spMk id="109" creationId="{4ECC307B-5762-484B-95C3-CE4E6DCFD810}"/>
          </ac:spMkLst>
        </pc:spChg>
        <pc:spChg chg="mod">
          <ac:chgData name="Ugo MANTEL" userId="2d5b7065-31bb-4181-a7f8-a73bf0c30211" providerId="ADAL" clId="{F05BB0D5-3454-45DC-8378-DA45B79D9A06}" dt="2020-10-02T13:04:36.849" v="5512" actId="790"/>
          <ac:spMkLst>
            <pc:docMk/>
            <pc:sldMk cId="1454722016" sldId="7095"/>
            <ac:spMk id="110" creationId="{31B10026-F685-4E9C-8685-A675CDC44995}"/>
          </ac:spMkLst>
        </pc:spChg>
        <pc:spChg chg="mod">
          <ac:chgData name="Ugo MANTEL" userId="2d5b7065-31bb-4181-a7f8-a73bf0c30211" providerId="ADAL" clId="{F05BB0D5-3454-45DC-8378-DA45B79D9A06}" dt="2020-10-02T13:04:36.872" v="5534" actId="790"/>
          <ac:spMkLst>
            <pc:docMk/>
            <pc:sldMk cId="1454722016" sldId="7095"/>
            <ac:spMk id="111" creationId="{14008A6E-1532-4CA1-98E0-2031FA688935}"/>
          </ac:spMkLst>
        </pc:spChg>
        <pc:spChg chg="mod">
          <ac:chgData name="Ugo MANTEL" userId="2d5b7065-31bb-4181-a7f8-a73bf0c30211" providerId="ADAL" clId="{F05BB0D5-3454-45DC-8378-DA45B79D9A06}" dt="2020-10-02T13:04:36.873" v="5535" actId="790"/>
          <ac:spMkLst>
            <pc:docMk/>
            <pc:sldMk cId="1454722016" sldId="7095"/>
            <ac:spMk id="112" creationId="{2FEB3B24-853A-44E3-95A4-6AFD8E1AB29B}"/>
          </ac:spMkLst>
        </pc:spChg>
        <pc:spChg chg="mod">
          <ac:chgData name="Ugo MANTEL" userId="2d5b7065-31bb-4181-a7f8-a73bf0c30211" providerId="ADAL" clId="{F05BB0D5-3454-45DC-8378-DA45B79D9A06}" dt="2020-10-02T13:04:36.874" v="5536" actId="790"/>
          <ac:spMkLst>
            <pc:docMk/>
            <pc:sldMk cId="1454722016" sldId="7095"/>
            <ac:spMk id="113" creationId="{14DD2408-0C5F-4AC4-8ECE-A2A36344696D}"/>
          </ac:spMkLst>
        </pc:spChg>
        <pc:spChg chg="mod">
          <ac:chgData name="Ugo MANTEL" userId="2d5b7065-31bb-4181-a7f8-a73bf0c30211" providerId="ADAL" clId="{F05BB0D5-3454-45DC-8378-DA45B79D9A06}" dt="2020-10-02T13:04:36.874" v="5537" actId="790"/>
          <ac:spMkLst>
            <pc:docMk/>
            <pc:sldMk cId="1454722016" sldId="7095"/>
            <ac:spMk id="114" creationId="{A1603E3B-BA87-4E7A-9265-FC5DD3713C42}"/>
          </ac:spMkLst>
        </pc:spChg>
        <pc:spChg chg="mod">
          <ac:chgData name="Ugo MANTEL" userId="2d5b7065-31bb-4181-a7f8-a73bf0c30211" providerId="ADAL" clId="{F05BB0D5-3454-45DC-8378-DA45B79D9A06}" dt="2020-10-02T13:04:36.875" v="5538" actId="790"/>
          <ac:spMkLst>
            <pc:docMk/>
            <pc:sldMk cId="1454722016" sldId="7095"/>
            <ac:spMk id="115" creationId="{94754636-CF21-4C39-A5D3-912313BB6260}"/>
          </ac:spMkLst>
        </pc:spChg>
        <pc:spChg chg="mod">
          <ac:chgData name="Ugo MANTEL" userId="2d5b7065-31bb-4181-a7f8-a73bf0c30211" providerId="ADAL" clId="{F05BB0D5-3454-45DC-8378-DA45B79D9A06}" dt="2020-10-02T13:04:36.884" v="5549" actId="790"/>
          <ac:spMkLst>
            <pc:docMk/>
            <pc:sldMk cId="1454722016" sldId="7095"/>
            <ac:spMk id="128" creationId="{8218CD3F-A2A7-477C-A4FA-A366305C92FE}"/>
          </ac:spMkLst>
        </pc:spChg>
        <pc:spChg chg="mod">
          <ac:chgData name="Ugo MANTEL" userId="2d5b7065-31bb-4181-a7f8-a73bf0c30211" providerId="ADAL" clId="{F05BB0D5-3454-45DC-8378-DA45B79D9A06}" dt="2020-10-02T13:04:36.881" v="5546" actId="790"/>
          <ac:spMkLst>
            <pc:docMk/>
            <pc:sldMk cId="1454722016" sldId="7095"/>
            <ac:spMk id="134" creationId="{48C4CE87-8086-469F-B871-7FA4934CB80E}"/>
          </ac:spMkLst>
        </pc:spChg>
        <pc:spChg chg="mod">
          <ac:chgData name="Ugo MANTEL" userId="2d5b7065-31bb-4181-a7f8-a73bf0c30211" providerId="ADAL" clId="{F05BB0D5-3454-45DC-8378-DA45B79D9A06}" dt="2020-10-02T13:04:36.876" v="5539" actId="790"/>
          <ac:spMkLst>
            <pc:docMk/>
            <pc:sldMk cId="1454722016" sldId="7095"/>
            <ac:spMk id="137" creationId="{EBC0BF2E-2394-4848-88BE-E5C107D23CA1}"/>
          </ac:spMkLst>
        </pc:spChg>
        <pc:spChg chg="mod">
          <ac:chgData name="Ugo MANTEL" userId="2d5b7065-31bb-4181-a7f8-a73bf0c30211" providerId="ADAL" clId="{F05BB0D5-3454-45DC-8378-DA45B79D9A06}" dt="2020-10-02T13:04:36.876" v="5540" actId="790"/>
          <ac:spMkLst>
            <pc:docMk/>
            <pc:sldMk cId="1454722016" sldId="7095"/>
            <ac:spMk id="138" creationId="{7D65E3D7-5DDF-46AE-A0F5-D92B88ECDED2}"/>
          </ac:spMkLst>
        </pc:spChg>
        <pc:spChg chg="mod">
          <ac:chgData name="Ugo MANTEL" userId="2d5b7065-31bb-4181-a7f8-a73bf0c30211" providerId="ADAL" clId="{F05BB0D5-3454-45DC-8378-DA45B79D9A06}" dt="2020-10-02T13:04:36.877" v="5541" actId="790"/>
          <ac:spMkLst>
            <pc:docMk/>
            <pc:sldMk cId="1454722016" sldId="7095"/>
            <ac:spMk id="139" creationId="{FDF7A913-D092-4B17-A259-CA3F4B6D3405}"/>
          </ac:spMkLst>
        </pc:spChg>
        <pc:spChg chg="mod">
          <ac:chgData name="Ugo MANTEL" userId="2d5b7065-31bb-4181-a7f8-a73bf0c30211" providerId="ADAL" clId="{F05BB0D5-3454-45DC-8378-DA45B79D9A06}" dt="2020-10-02T13:04:36.878" v="5542" actId="790"/>
          <ac:spMkLst>
            <pc:docMk/>
            <pc:sldMk cId="1454722016" sldId="7095"/>
            <ac:spMk id="140" creationId="{AB80A9D7-8C95-4C47-AEF4-EB3EA40E9032}"/>
          </ac:spMkLst>
        </pc:spChg>
        <pc:spChg chg="mod">
          <ac:chgData name="Ugo MANTEL" userId="2d5b7065-31bb-4181-a7f8-a73bf0c30211" providerId="ADAL" clId="{F05BB0D5-3454-45DC-8378-DA45B79D9A06}" dt="2020-10-02T13:04:36.879" v="5543" actId="790"/>
          <ac:spMkLst>
            <pc:docMk/>
            <pc:sldMk cId="1454722016" sldId="7095"/>
            <ac:spMk id="148" creationId="{25992A77-6B87-4B2B-8D07-B9238BF3F0A7}"/>
          </ac:spMkLst>
        </pc:spChg>
        <pc:spChg chg="mod">
          <ac:chgData name="Ugo MANTEL" userId="2d5b7065-31bb-4181-a7f8-a73bf0c30211" providerId="ADAL" clId="{F05BB0D5-3454-45DC-8378-DA45B79D9A06}" dt="2020-10-02T13:04:36.885" v="5550" actId="790"/>
          <ac:spMkLst>
            <pc:docMk/>
            <pc:sldMk cId="1454722016" sldId="7095"/>
            <ac:spMk id="149" creationId="{644328A6-0E76-4E89-8300-5FB8A55F5CBD}"/>
          </ac:spMkLst>
        </pc:spChg>
        <pc:spChg chg="mod">
          <ac:chgData name="Ugo MANTEL" userId="2d5b7065-31bb-4181-a7f8-a73bf0c30211" providerId="ADAL" clId="{F05BB0D5-3454-45DC-8378-DA45B79D9A06}" dt="2020-10-02T13:04:36.885" v="5551" actId="790"/>
          <ac:spMkLst>
            <pc:docMk/>
            <pc:sldMk cId="1454722016" sldId="7095"/>
            <ac:spMk id="154" creationId="{026E9055-9778-422E-9A25-D04AD79AC287}"/>
          </ac:spMkLst>
        </pc:spChg>
        <pc:spChg chg="mod">
          <ac:chgData name="Ugo MANTEL" userId="2d5b7065-31bb-4181-a7f8-a73bf0c30211" providerId="ADAL" clId="{F05BB0D5-3454-45DC-8378-DA45B79D9A06}" dt="2020-10-02T13:04:36.886" v="5552" actId="790"/>
          <ac:spMkLst>
            <pc:docMk/>
            <pc:sldMk cId="1454722016" sldId="7095"/>
            <ac:spMk id="158" creationId="{F6A605C3-2457-43DE-817B-9B902B2DBB06}"/>
          </ac:spMkLst>
        </pc:spChg>
        <pc:spChg chg="mod">
          <ac:chgData name="Ugo MANTEL" userId="2d5b7065-31bb-4181-a7f8-a73bf0c30211" providerId="ADAL" clId="{F05BB0D5-3454-45DC-8378-DA45B79D9A06}" dt="2020-10-02T13:04:36.887" v="5553" actId="790"/>
          <ac:spMkLst>
            <pc:docMk/>
            <pc:sldMk cId="1454722016" sldId="7095"/>
            <ac:spMk id="159" creationId="{D38911A9-DBCB-4FD4-9108-E4123B1B31F4}"/>
          </ac:spMkLst>
        </pc:spChg>
        <pc:spChg chg="mod">
          <ac:chgData name="Ugo MANTEL" userId="2d5b7065-31bb-4181-a7f8-a73bf0c30211" providerId="ADAL" clId="{F05BB0D5-3454-45DC-8378-DA45B79D9A06}" dt="2020-10-02T13:04:36.880" v="5544" actId="790"/>
          <ac:spMkLst>
            <pc:docMk/>
            <pc:sldMk cId="1454722016" sldId="7095"/>
            <ac:spMk id="160" creationId="{C3436142-DEEE-4004-BC76-B66DAAB591FB}"/>
          </ac:spMkLst>
        </pc:spChg>
        <pc:spChg chg="mod">
          <ac:chgData name="Ugo MANTEL" userId="2d5b7065-31bb-4181-a7f8-a73bf0c30211" providerId="ADAL" clId="{F05BB0D5-3454-45DC-8378-DA45B79D9A06}" dt="2020-10-02T13:04:36.882" v="5547" actId="790"/>
          <ac:spMkLst>
            <pc:docMk/>
            <pc:sldMk cId="1454722016" sldId="7095"/>
            <ac:spMk id="161" creationId="{ECD8E6B3-28AA-4BBB-A6AD-28BCF51C3D9F}"/>
          </ac:spMkLst>
        </pc:spChg>
        <pc:spChg chg="mod">
          <ac:chgData name="Ugo MANTEL" userId="2d5b7065-31bb-4181-a7f8-a73bf0c30211" providerId="ADAL" clId="{F05BB0D5-3454-45DC-8378-DA45B79D9A06}" dt="2020-10-02T13:04:36.887" v="5554" actId="790"/>
          <ac:spMkLst>
            <pc:docMk/>
            <pc:sldMk cId="1454722016" sldId="7095"/>
            <ac:spMk id="162" creationId="{8EED40EF-92A1-46BB-A45F-0AEEF3198818}"/>
          </ac:spMkLst>
        </pc:spChg>
        <pc:spChg chg="mod">
          <ac:chgData name="Ugo MANTEL" userId="2d5b7065-31bb-4181-a7f8-a73bf0c30211" providerId="ADAL" clId="{F05BB0D5-3454-45DC-8378-DA45B79D9A06}" dt="2020-10-02T13:04:36.888" v="5555" actId="790"/>
          <ac:spMkLst>
            <pc:docMk/>
            <pc:sldMk cId="1454722016" sldId="7095"/>
            <ac:spMk id="163" creationId="{2A984178-AE42-4BE9-B8F9-8622005B4DD1}"/>
          </ac:spMkLst>
        </pc:spChg>
        <pc:spChg chg="mod">
          <ac:chgData name="Ugo MANTEL" userId="2d5b7065-31bb-4181-a7f8-a73bf0c30211" providerId="ADAL" clId="{F05BB0D5-3454-45DC-8378-DA45B79D9A06}" dt="2020-10-02T13:04:36.880" v="5545" actId="790"/>
          <ac:spMkLst>
            <pc:docMk/>
            <pc:sldMk cId="1454722016" sldId="7095"/>
            <ac:spMk id="164" creationId="{314291C5-FA83-42E7-B149-349A9AF45727}"/>
          </ac:spMkLst>
        </pc:spChg>
        <pc:spChg chg="mod">
          <ac:chgData name="Ugo MANTEL" userId="2d5b7065-31bb-4181-a7f8-a73bf0c30211" providerId="ADAL" clId="{F05BB0D5-3454-45DC-8378-DA45B79D9A06}" dt="2020-10-02T13:04:36.889" v="5556" actId="790"/>
          <ac:spMkLst>
            <pc:docMk/>
            <pc:sldMk cId="1454722016" sldId="7095"/>
            <ac:spMk id="165" creationId="{AF75FF24-C43C-4853-8F98-4566A6F159F3}"/>
          </ac:spMkLst>
        </pc:spChg>
        <pc:spChg chg="mod">
          <ac:chgData name="Ugo MANTEL" userId="2d5b7065-31bb-4181-a7f8-a73bf0c30211" providerId="ADAL" clId="{F05BB0D5-3454-45DC-8378-DA45B79D9A06}" dt="2020-10-02T13:04:36.889" v="5557" actId="790"/>
          <ac:spMkLst>
            <pc:docMk/>
            <pc:sldMk cId="1454722016" sldId="7095"/>
            <ac:spMk id="166" creationId="{FB672BFB-7BFF-445A-928D-EEA0628E8064}"/>
          </ac:spMkLst>
        </pc:spChg>
      </pc:sldChg>
      <pc:sldChg chg="addSp delSp modSp new add mod ord">
        <pc:chgData name="Ugo MANTEL" userId="2d5b7065-31bb-4181-a7f8-a73bf0c30211" providerId="ADAL" clId="{F05BB0D5-3454-45DC-8378-DA45B79D9A06}" dt="2020-10-05T08:06:22.031" v="7627" actId="14100"/>
        <pc:sldMkLst>
          <pc:docMk/>
          <pc:sldMk cId="1503655535" sldId="7096"/>
        </pc:sldMkLst>
        <pc:spChg chg="mod">
          <ac:chgData name="Ugo MANTEL" userId="2d5b7065-31bb-4181-a7f8-a73bf0c30211" providerId="ADAL" clId="{F05BB0D5-3454-45DC-8378-DA45B79D9A06}" dt="2020-10-02T13:11:19.566" v="6593" actId="207"/>
          <ac:spMkLst>
            <pc:docMk/>
            <pc:sldMk cId="1503655535" sldId="7096"/>
            <ac:spMk id="2" creationId="{A9C092F8-DE50-48F2-8C73-D86A5F6F272A}"/>
          </ac:spMkLst>
        </pc:spChg>
        <pc:spChg chg="mod ord">
          <ac:chgData name="Ugo MANTEL" userId="2d5b7065-31bb-4181-a7f8-a73bf0c30211" providerId="ADAL" clId="{F05BB0D5-3454-45DC-8378-DA45B79D9A06}" dt="2020-10-02T13:04:35.269" v="4258" actId="790"/>
          <ac:spMkLst>
            <pc:docMk/>
            <pc:sldMk cId="1503655535" sldId="7096"/>
            <ac:spMk id="3" creationId="{7851D9B2-2606-4A80-88A9-9AB3D973C3CD}"/>
          </ac:spMkLst>
        </pc:spChg>
        <pc:spChg chg="add mod">
          <ac:chgData name="Ugo MANTEL" userId="2d5b7065-31bb-4181-a7f8-a73bf0c30211" providerId="ADAL" clId="{F05BB0D5-3454-45DC-8378-DA45B79D9A06}" dt="2020-10-05T08:06:22.031" v="7627" actId="14100"/>
          <ac:spMkLst>
            <pc:docMk/>
            <pc:sldMk cId="1503655535" sldId="7096"/>
            <ac:spMk id="4" creationId="{C40F9BE8-DEA2-4A7A-B4F4-A41963A7C953}"/>
          </ac:spMkLst>
        </pc:spChg>
        <pc:spChg chg="add mod ord">
          <ac:chgData name="Ugo MANTEL" userId="2d5b7065-31bb-4181-a7f8-a73bf0c30211" providerId="ADAL" clId="{F05BB0D5-3454-45DC-8378-DA45B79D9A06}" dt="2020-10-02T13:04:35.262" v="4256" actId="790"/>
          <ac:spMkLst>
            <pc:docMk/>
            <pc:sldMk cId="1503655535" sldId="7096"/>
            <ac:spMk id="7" creationId="{EBF3DBD7-C675-4024-92B6-6C55E034F498}"/>
          </ac:spMkLst>
        </pc:spChg>
        <pc:spChg chg="add del mod ord">
          <ac:chgData name="Ugo MANTEL" userId="2d5b7065-31bb-4181-a7f8-a73bf0c30211" providerId="ADAL" clId="{F05BB0D5-3454-45DC-8378-DA45B79D9A06}" dt="2020-10-02T10:37:49.577" v="271" actId="478"/>
          <ac:spMkLst>
            <pc:docMk/>
            <pc:sldMk cId="1503655535" sldId="7096"/>
            <ac:spMk id="8" creationId="{1012EA40-23A0-4D74-A389-173F7BB86152}"/>
          </ac:spMkLst>
        </pc:spChg>
        <pc:spChg chg="add del mod ord">
          <ac:chgData name="Ugo MANTEL" userId="2d5b7065-31bb-4181-a7f8-a73bf0c30211" providerId="ADAL" clId="{F05BB0D5-3454-45DC-8378-DA45B79D9A06}" dt="2020-10-02T13:12:11.077" v="6618" actId="478"/>
          <ac:spMkLst>
            <pc:docMk/>
            <pc:sldMk cId="1503655535" sldId="7096"/>
            <ac:spMk id="9" creationId="{7A9FBF68-34F6-42BD-AA4D-7D226D836731}"/>
          </ac:spMkLst>
        </pc:spChg>
        <pc:spChg chg="add mod ord">
          <ac:chgData name="Ugo MANTEL" userId="2d5b7065-31bb-4181-a7f8-a73bf0c30211" providerId="ADAL" clId="{F05BB0D5-3454-45DC-8378-DA45B79D9A06}" dt="2020-10-02T15:36:37.323" v="7493" actId="1076"/>
          <ac:spMkLst>
            <pc:docMk/>
            <pc:sldMk cId="1503655535" sldId="7096"/>
            <ac:spMk id="10" creationId="{12E7F362-7A19-4F28-9E1C-3035F304B89B}"/>
          </ac:spMkLst>
        </pc:spChg>
        <pc:spChg chg="add mod ord modVis">
          <ac:chgData name="Ugo MANTEL" userId="2d5b7065-31bb-4181-a7f8-a73bf0c30211" providerId="ADAL" clId="{F05BB0D5-3454-45DC-8378-DA45B79D9A06}" dt="2020-10-02T13:11:20.088" v="6614" actId="6549"/>
          <ac:spMkLst>
            <pc:docMk/>
            <pc:sldMk cId="1503655535" sldId="7096"/>
            <ac:spMk id="12" creationId="{619634F8-055C-4FE0-B70D-01CBBCB4F21F}"/>
          </ac:spMkLst>
        </pc:spChg>
        <pc:spChg chg="add del mod">
          <ac:chgData name="Ugo MANTEL" userId="2d5b7065-31bb-4181-a7f8-a73bf0c30211" providerId="ADAL" clId="{F05BB0D5-3454-45DC-8378-DA45B79D9A06}" dt="2020-10-02T13:12:07.562" v="6617" actId="478"/>
          <ac:spMkLst>
            <pc:docMk/>
            <pc:sldMk cId="1503655535" sldId="7096"/>
            <ac:spMk id="13" creationId="{BE1BDBC5-AC66-4577-B2E4-2F382B645EE1}"/>
          </ac:spMkLst>
        </pc:spChg>
        <pc:spChg chg="add del mod">
          <ac:chgData name="Ugo MANTEL" userId="2d5b7065-31bb-4181-a7f8-a73bf0c30211" providerId="ADAL" clId="{F05BB0D5-3454-45DC-8378-DA45B79D9A06}" dt="2020-10-02T13:01:47.151" v="795" actId="478"/>
          <ac:spMkLst>
            <pc:docMk/>
            <pc:sldMk cId="1503655535" sldId="7096"/>
            <ac:spMk id="14" creationId="{9F95B819-24A4-4082-80ED-E5196D151529}"/>
          </ac:spMkLst>
        </pc:spChg>
        <pc:spChg chg="add del mod">
          <ac:chgData name="Ugo MANTEL" userId="2d5b7065-31bb-4181-a7f8-a73bf0c30211" providerId="ADAL" clId="{F05BB0D5-3454-45DC-8378-DA45B79D9A06}" dt="2020-10-02T13:01:27.794" v="794"/>
          <ac:spMkLst>
            <pc:docMk/>
            <pc:sldMk cId="1503655535" sldId="7096"/>
            <ac:spMk id="16" creationId="{767D4A8A-3BCF-4A68-A05F-D74E33B61004}"/>
          </ac:spMkLst>
        </pc:spChg>
        <pc:spChg chg="add mod">
          <ac:chgData name="Ugo MANTEL" userId="2d5b7065-31bb-4181-a7f8-a73bf0c30211" providerId="ADAL" clId="{F05BB0D5-3454-45DC-8378-DA45B79D9A06}" dt="2020-10-02T13:04:35.276" v="4261" actId="790"/>
          <ac:spMkLst>
            <pc:docMk/>
            <pc:sldMk cId="1503655535" sldId="7096"/>
            <ac:spMk id="18" creationId="{65ED09B0-F036-4FC2-B53D-050CD99BDAB8}"/>
          </ac:spMkLst>
        </pc:spChg>
        <pc:graphicFrameChg chg="add mod ord">
          <ac:chgData name="Ugo MANTEL" userId="2d5b7065-31bb-4181-a7f8-a73bf0c30211" providerId="ADAL" clId="{F05BB0D5-3454-45DC-8378-DA45B79D9A06}" dt="2020-10-02T13:21:41.819" v="6622" actId="14100"/>
          <ac:graphicFrameMkLst>
            <pc:docMk/>
            <pc:sldMk cId="1503655535" sldId="7096"/>
            <ac:graphicFrameMk id="6" creationId="{37EB0EFE-379A-43A9-9CAC-8975DFC8C60C}"/>
          </ac:graphicFrameMkLst>
        </pc:graphicFrameChg>
        <pc:graphicFrameChg chg="add mod ord modVis">
          <ac:chgData name="Ugo MANTEL" userId="2d5b7065-31bb-4181-a7f8-a73bf0c30211" providerId="ADAL" clId="{F05BB0D5-3454-45DC-8378-DA45B79D9A06}" dt="2020-10-02T13:11:20.101" v="6616"/>
          <ac:graphicFrameMkLst>
            <pc:docMk/>
            <pc:sldMk cId="1503655535" sldId="7096"/>
            <ac:graphicFrameMk id="11" creationId="{E122C107-C2A1-4953-9350-91B7A10F6DE1}"/>
          </ac:graphicFrameMkLst>
        </pc:graphicFrameChg>
        <pc:picChg chg="add mod">
          <ac:chgData name="Ugo MANTEL" userId="2d5b7065-31bb-4181-a7f8-a73bf0c30211" providerId="ADAL" clId="{F05BB0D5-3454-45DC-8378-DA45B79D9A06}" dt="2020-10-02T15:36:27.398" v="7490" actId="12789"/>
          <ac:picMkLst>
            <pc:docMk/>
            <pc:sldMk cId="1503655535" sldId="7096"/>
            <ac:picMk id="8" creationId="{3870302C-F0E4-4FA8-AEDF-872DDB33189C}"/>
          </ac:picMkLst>
        </pc:picChg>
        <pc:picChg chg="add del mod">
          <ac:chgData name="Ugo MANTEL" userId="2d5b7065-31bb-4181-a7f8-a73bf0c30211" providerId="ADAL" clId="{F05BB0D5-3454-45DC-8378-DA45B79D9A06}" dt="2020-10-02T13:01:47.151" v="795" actId="478"/>
          <ac:picMkLst>
            <pc:docMk/>
            <pc:sldMk cId="1503655535" sldId="7096"/>
            <ac:picMk id="15" creationId="{D5257EC4-DB85-4B5F-ABE5-5E853759C9E6}"/>
          </ac:picMkLst>
        </pc:picChg>
        <pc:picChg chg="add del mod">
          <ac:chgData name="Ugo MANTEL" userId="2d5b7065-31bb-4181-a7f8-a73bf0c30211" providerId="ADAL" clId="{F05BB0D5-3454-45DC-8378-DA45B79D9A06}" dt="2020-10-02T13:01:27.794" v="794"/>
          <ac:picMkLst>
            <pc:docMk/>
            <pc:sldMk cId="1503655535" sldId="7096"/>
            <ac:picMk id="17" creationId="{EC3D208E-5EA3-4E8C-BC87-BC7C2CCAE1DA}"/>
          </ac:picMkLst>
        </pc:picChg>
        <pc:picChg chg="add del mod">
          <ac:chgData name="Ugo MANTEL" userId="2d5b7065-31bb-4181-a7f8-a73bf0c30211" providerId="ADAL" clId="{F05BB0D5-3454-45DC-8378-DA45B79D9A06}" dt="2020-10-02T15:37:03.890" v="7497" actId="478"/>
          <ac:picMkLst>
            <pc:docMk/>
            <pc:sldMk cId="1503655535" sldId="7096"/>
            <ac:picMk id="19" creationId="{C541B801-643D-4CA8-ADCF-CD03E80906FE}"/>
          </ac:picMkLst>
        </pc:picChg>
        <pc:picChg chg="add mod">
          <ac:chgData name="Ugo MANTEL" userId="2d5b7065-31bb-4181-a7f8-a73bf0c30211" providerId="ADAL" clId="{F05BB0D5-3454-45DC-8378-DA45B79D9A06}" dt="2020-10-02T15:37:07.210" v="7498" actId="1076"/>
          <ac:picMkLst>
            <pc:docMk/>
            <pc:sldMk cId="1503655535" sldId="7096"/>
            <ac:picMk id="37" creationId="{A41BA872-B8AC-4055-9709-FE84DCDC37F9}"/>
          </ac:picMkLst>
        </pc:picChg>
      </pc:sldChg>
      <pc:sldChg chg="modSp mod">
        <pc:chgData name="Ugo MANTEL" userId="2d5b7065-31bb-4181-a7f8-a73bf0c30211" providerId="ADAL" clId="{F05BB0D5-3454-45DC-8378-DA45B79D9A06}" dt="2020-10-02T13:04:37.990" v="5962" actId="790"/>
        <pc:sldMkLst>
          <pc:docMk/>
          <pc:sldMk cId="932497199" sldId="7098"/>
        </pc:sldMkLst>
        <pc:spChg chg="mod">
          <ac:chgData name="Ugo MANTEL" userId="2d5b7065-31bb-4181-a7f8-a73bf0c30211" providerId="ADAL" clId="{F05BB0D5-3454-45DC-8378-DA45B79D9A06}" dt="2020-10-02T13:04:37.911" v="5952" actId="790"/>
          <ac:spMkLst>
            <pc:docMk/>
            <pc:sldMk cId="932497199" sldId="7098"/>
            <ac:spMk id="3" creationId="{753942E6-140C-4FC4-B3C6-37607A76B89E}"/>
          </ac:spMkLst>
        </pc:spChg>
        <pc:spChg chg="mod">
          <ac:chgData name="Ugo MANTEL" userId="2d5b7065-31bb-4181-a7f8-a73bf0c30211" providerId="ADAL" clId="{F05BB0D5-3454-45DC-8378-DA45B79D9A06}" dt="2020-10-02T13:04:37.931" v="5953" actId="790"/>
          <ac:spMkLst>
            <pc:docMk/>
            <pc:sldMk cId="932497199" sldId="7098"/>
            <ac:spMk id="4" creationId="{7169D6B0-FD38-40E5-96BE-4E37B4BBB8BB}"/>
          </ac:spMkLst>
        </pc:spChg>
        <pc:spChg chg="mod">
          <ac:chgData name="Ugo MANTEL" userId="2d5b7065-31bb-4181-a7f8-a73bf0c30211" providerId="ADAL" clId="{F05BB0D5-3454-45DC-8378-DA45B79D9A06}" dt="2020-10-02T13:04:37.934" v="5954" actId="790"/>
          <ac:spMkLst>
            <pc:docMk/>
            <pc:sldMk cId="932497199" sldId="7098"/>
            <ac:spMk id="6" creationId="{3DD4ADB5-78F1-4B30-9D1E-A69DBEBAE479}"/>
          </ac:spMkLst>
        </pc:spChg>
        <pc:spChg chg="mod">
          <ac:chgData name="Ugo MANTEL" userId="2d5b7065-31bb-4181-a7f8-a73bf0c30211" providerId="ADAL" clId="{F05BB0D5-3454-45DC-8378-DA45B79D9A06}" dt="2020-10-02T13:04:37.936" v="5955" actId="790"/>
          <ac:spMkLst>
            <pc:docMk/>
            <pc:sldMk cId="932497199" sldId="7098"/>
            <ac:spMk id="7" creationId="{649BC23B-4D27-4EC5-BD78-4FF49D86A982}"/>
          </ac:spMkLst>
        </pc:spChg>
        <pc:spChg chg="mod">
          <ac:chgData name="Ugo MANTEL" userId="2d5b7065-31bb-4181-a7f8-a73bf0c30211" providerId="ADAL" clId="{F05BB0D5-3454-45DC-8378-DA45B79D9A06}" dt="2020-10-02T13:04:37.938" v="5956" actId="790"/>
          <ac:spMkLst>
            <pc:docMk/>
            <pc:sldMk cId="932497199" sldId="7098"/>
            <ac:spMk id="10" creationId="{33E03342-5CD7-4F16-8158-A47BB38FFA64}"/>
          </ac:spMkLst>
        </pc:spChg>
        <pc:spChg chg="mod">
          <ac:chgData name="Ugo MANTEL" userId="2d5b7065-31bb-4181-a7f8-a73bf0c30211" providerId="ADAL" clId="{F05BB0D5-3454-45DC-8378-DA45B79D9A06}" dt="2020-10-02T13:04:37.939" v="5957" actId="790"/>
          <ac:spMkLst>
            <pc:docMk/>
            <pc:sldMk cId="932497199" sldId="7098"/>
            <ac:spMk id="11" creationId="{CA7088DA-4CA1-4D4F-8941-9B1AD29A118A}"/>
          </ac:spMkLst>
        </pc:spChg>
        <pc:spChg chg="mod">
          <ac:chgData name="Ugo MANTEL" userId="2d5b7065-31bb-4181-a7f8-a73bf0c30211" providerId="ADAL" clId="{F05BB0D5-3454-45DC-8378-DA45B79D9A06}" dt="2020-10-02T13:04:37.941" v="5958" actId="790"/>
          <ac:spMkLst>
            <pc:docMk/>
            <pc:sldMk cId="932497199" sldId="7098"/>
            <ac:spMk id="12" creationId="{23F4FA1C-8507-49EC-A33E-A20F0ACE2ACD}"/>
          </ac:spMkLst>
        </pc:spChg>
        <pc:spChg chg="mod">
          <ac:chgData name="Ugo MANTEL" userId="2d5b7065-31bb-4181-a7f8-a73bf0c30211" providerId="ADAL" clId="{F05BB0D5-3454-45DC-8378-DA45B79D9A06}" dt="2020-10-02T13:04:37.943" v="5959" actId="790"/>
          <ac:spMkLst>
            <pc:docMk/>
            <pc:sldMk cId="932497199" sldId="7098"/>
            <ac:spMk id="13" creationId="{CF9E3071-400A-4C92-BB0B-5D8D0C6DD5CA}"/>
          </ac:spMkLst>
        </pc:spChg>
        <pc:spChg chg="mod">
          <ac:chgData name="Ugo MANTEL" userId="2d5b7065-31bb-4181-a7f8-a73bf0c30211" providerId="ADAL" clId="{F05BB0D5-3454-45DC-8378-DA45B79D9A06}" dt="2020-10-02T13:04:37.945" v="5960" actId="790"/>
          <ac:spMkLst>
            <pc:docMk/>
            <pc:sldMk cId="932497199" sldId="7098"/>
            <ac:spMk id="21" creationId="{467614D8-3BAD-48DF-B33D-3942A80EC6D4}"/>
          </ac:spMkLst>
        </pc:spChg>
        <pc:spChg chg="mod">
          <ac:chgData name="Ugo MANTEL" userId="2d5b7065-31bb-4181-a7f8-a73bf0c30211" providerId="ADAL" clId="{F05BB0D5-3454-45DC-8378-DA45B79D9A06}" dt="2020-10-02T13:04:37.947" v="5961" actId="790"/>
          <ac:spMkLst>
            <pc:docMk/>
            <pc:sldMk cId="932497199" sldId="7098"/>
            <ac:spMk id="22" creationId="{864C235E-E2F1-4549-888E-51EFC79E8D30}"/>
          </ac:spMkLst>
        </pc:spChg>
        <pc:spChg chg="mod">
          <ac:chgData name="Ugo MANTEL" userId="2d5b7065-31bb-4181-a7f8-a73bf0c30211" providerId="ADAL" clId="{F05BB0D5-3454-45DC-8378-DA45B79D9A06}" dt="2020-10-02T13:04:37.900" v="5949" actId="790"/>
          <ac:spMkLst>
            <pc:docMk/>
            <pc:sldMk cId="932497199" sldId="7098"/>
            <ac:spMk id="23" creationId="{CADFD501-5D43-4106-92F2-67EDE24A876F}"/>
          </ac:spMkLst>
        </pc:spChg>
        <pc:spChg chg="mod">
          <ac:chgData name="Ugo MANTEL" userId="2d5b7065-31bb-4181-a7f8-a73bf0c30211" providerId="ADAL" clId="{F05BB0D5-3454-45DC-8378-DA45B79D9A06}" dt="2020-10-02T13:04:37.990" v="5962" actId="790"/>
          <ac:spMkLst>
            <pc:docMk/>
            <pc:sldMk cId="932497199" sldId="7098"/>
            <ac:spMk id="24" creationId="{584A5822-6730-4DF3-951C-5078996C120F}"/>
          </ac:spMkLst>
        </pc:spChg>
        <pc:spChg chg="mod">
          <ac:chgData name="Ugo MANTEL" userId="2d5b7065-31bb-4181-a7f8-a73bf0c30211" providerId="ADAL" clId="{F05BB0D5-3454-45DC-8378-DA45B79D9A06}" dt="2020-10-02T13:04:37.901" v="5950" actId="790"/>
          <ac:spMkLst>
            <pc:docMk/>
            <pc:sldMk cId="932497199" sldId="7098"/>
            <ac:spMk id="25" creationId="{5AFC34F6-D973-4304-B8B4-99994F2B150A}"/>
          </ac:spMkLst>
        </pc:spChg>
        <pc:spChg chg="mod">
          <ac:chgData name="Ugo MANTEL" userId="2d5b7065-31bb-4181-a7f8-a73bf0c30211" providerId="ADAL" clId="{F05BB0D5-3454-45DC-8378-DA45B79D9A06}" dt="2020-10-02T13:04:37.905" v="5951" actId="790"/>
          <ac:spMkLst>
            <pc:docMk/>
            <pc:sldMk cId="932497199" sldId="7098"/>
            <ac:spMk id="27" creationId="{B87C2E06-4688-4B04-9566-5A29A235D5F9}"/>
          </ac:spMkLst>
        </pc:spChg>
      </pc:sldChg>
      <pc:sldChg chg="addSp modSp mod">
        <pc:chgData name="Ugo MANTEL" userId="2d5b7065-31bb-4181-a7f8-a73bf0c30211" providerId="ADAL" clId="{F05BB0D5-3454-45DC-8378-DA45B79D9A06}" dt="2020-10-05T08:03:10.155" v="7582" actId="1035"/>
        <pc:sldMkLst>
          <pc:docMk/>
          <pc:sldMk cId="376755772" sldId="7099"/>
        </pc:sldMkLst>
        <pc:spChg chg="mod">
          <ac:chgData name="Ugo MANTEL" userId="2d5b7065-31bb-4181-a7f8-a73bf0c30211" providerId="ADAL" clId="{F05BB0D5-3454-45DC-8378-DA45B79D9A06}" dt="2020-10-05T08:03:05.218" v="7529"/>
          <ac:spMkLst>
            <pc:docMk/>
            <pc:sldMk cId="376755772" sldId="7099"/>
            <ac:spMk id="2" creationId="{3D5F3CBF-1CC1-410B-9384-ECBE8A2E4680}"/>
          </ac:spMkLst>
        </pc:spChg>
        <pc:spChg chg="mod ord">
          <ac:chgData name="Ugo MANTEL" userId="2d5b7065-31bb-4181-a7f8-a73bf0c30211" providerId="ADAL" clId="{F05BB0D5-3454-45DC-8378-DA45B79D9A06}" dt="2020-10-05T08:03:05.219" v="7531"/>
          <ac:spMkLst>
            <pc:docMk/>
            <pc:sldMk cId="376755772" sldId="7099"/>
            <ac:spMk id="3" creationId="{0EADEC9E-8B58-4FDB-816D-44CF2E7658E8}"/>
          </ac:spMkLst>
        </pc:spChg>
        <pc:spChg chg="mod ord">
          <ac:chgData name="Ugo MANTEL" userId="2d5b7065-31bb-4181-a7f8-a73bf0c30211" providerId="ADAL" clId="{F05BB0D5-3454-45DC-8378-DA45B79D9A06}" dt="2020-10-02T15:24:15.986" v="7020"/>
          <ac:spMkLst>
            <pc:docMk/>
            <pc:sldMk cId="376755772" sldId="7099"/>
            <ac:spMk id="4" creationId="{56B55C2F-845E-43DA-80C8-007588EAA529}"/>
          </ac:spMkLst>
        </pc:spChg>
        <pc:spChg chg="mod ord">
          <ac:chgData name="Ugo MANTEL" userId="2d5b7065-31bb-4181-a7f8-a73bf0c30211" providerId="ADAL" clId="{F05BB0D5-3454-45DC-8378-DA45B79D9A06}" dt="2020-10-05T08:03:05.221" v="7533"/>
          <ac:spMkLst>
            <pc:docMk/>
            <pc:sldMk cId="376755772" sldId="7099"/>
            <ac:spMk id="5" creationId="{7862FBB5-2491-45A5-B615-728AC543C6CD}"/>
          </ac:spMkLst>
        </pc:spChg>
        <pc:spChg chg="mod ord">
          <ac:chgData name="Ugo MANTEL" userId="2d5b7065-31bb-4181-a7f8-a73bf0c30211" providerId="ADAL" clId="{F05BB0D5-3454-45DC-8378-DA45B79D9A06}" dt="2020-10-05T08:03:05.222" v="7536"/>
          <ac:spMkLst>
            <pc:docMk/>
            <pc:sldMk cId="376755772" sldId="7099"/>
            <ac:spMk id="10" creationId="{82F0D1E7-8588-4E06-91E2-27F61B1B3261}"/>
          </ac:spMkLst>
        </pc:spChg>
        <pc:spChg chg="mod ord">
          <ac:chgData name="Ugo MANTEL" userId="2d5b7065-31bb-4181-a7f8-a73bf0c30211" providerId="ADAL" clId="{F05BB0D5-3454-45DC-8378-DA45B79D9A06}" dt="2020-10-02T15:24:15.991" v="7031"/>
          <ac:spMkLst>
            <pc:docMk/>
            <pc:sldMk cId="376755772" sldId="7099"/>
            <ac:spMk id="11" creationId="{AE8E3B16-29B5-449F-9443-6AB2F57AE481}"/>
          </ac:spMkLst>
        </pc:spChg>
        <pc:spChg chg="mod ord">
          <ac:chgData name="Ugo MANTEL" userId="2d5b7065-31bb-4181-a7f8-a73bf0c30211" providerId="ADAL" clId="{F05BB0D5-3454-45DC-8378-DA45B79D9A06}" dt="2020-10-05T08:03:05.222" v="7538"/>
          <ac:spMkLst>
            <pc:docMk/>
            <pc:sldMk cId="376755772" sldId="7099"/>
            <ac:spMk id="12" creationId="{3A123160-D0CC-416C-8A3E-38BB0E32A10E}"/>
          </ac:spMkLst>
        </pc:spChg>
        <pc:spChg chg="mod ord">
          <ac:chgData name="Ugo MANTEL" userId="2d5b7065-31bb-4181-a7f8-a73bf0c30211" providerId="ADAL" clId="{F05BB0D5-3454-45DC-8378-DA45B79D9A06}" dt="2020-10-02T15:24:15.993" v="7036"/>
          <ac:spMkLst>
            <pc:docMk/>
            <pc:sldMk cId="376755772" sldId="7099"/>
            <ac:spMk id="17" creationId="{8A6D249B-FA1C-4667-8EE6-55E29493B6AC}"/>
          </ac:spMkLst>
        </pc:spChg>
        <pc:spChg chg="mod ord">
          <ac:chgData name="Ugo MANTEL" userId="2d5b7065-31bb-4181-a7f8-a73bf0c30211" providerId="ADAL" clId="{F05BB0D5-3454-45DC-8378-DA45B79D9A06}" dt="2020-10-05T08:03:05.223" v="7541"/>
          <ac:spMkLst>
            <pc:docMk/>
            <pc:sldMk cId="376755772" sldId="7099"/>
            <ac:spMk id="18" creationId="{0F241C85-DC5F-4517-BF35-7FA82021049B}"/>
          </ac:spMkLst>
        </pc:spChg>
        <pc:spChg chg="mod ord">
          <ac:chgData name="Ugo MANTEL" userId="2d5b7065-31bb-4181-a7f8-a73bf0c30211" providerId="ADAL" clId="{F05BB0D5-3454-45DC-8378-DA45B79D9A06}" dt="2020-10-05T08:03:05.224" v="7543"/>
          <ac:spMkLst>
            <pc:docMk/>
            <pc:sldMk cId="376755772" sldId="7099"/>
            <ac:spMk id="22" creationId="{6058E5A1-E0A7-4329-B80D-A6A32CA32EFE}"/>
          </ac:spMkLst>
        </pc:spChg>
        <pc:spChg chg="mod ord">
          <ac:chgData name="Ugo MANTEL" userId="2d5b7065-31bb-4181-a7f8-a73bf0c30211" providerId="ADAL" clId="{F05BB0D5-3454-45DC-8378-DA45B79D9A06}" dt="2020-10-02T15:24:15.995" v="7042"/>
          <ac:spMkLst>
            <pc:docMk/>
            <pc:sldMk cId="376755772" sldId="7099"/>
            <ac:spMk id="23" creationId="{C34033B3-BAF3-4B98-912B-4132825CB19E}"/>
          </ac:spMkLst>
        </pc:spChg>
        <pc:spChg chg="mod ord">
          <ac:chgData name="Ugo MANTEL" userId="2d5b7065-31bb-4181-a7f8-a73bf0c30211" providerId="ADAL" clId="{F05BB0D5-3454-45DC-8378-DA45B79D9A06}" dt="2020-10-05T08:03:05.224" v="7545"/>
          <ac:spMkLst>
            <pc:docMk/>
            <pc:sldMk cId="376755772" sldId="7099"/>
            <ac:spMk id="24" creationId="{D54CEFE5-0D81-406D-9ACB-85E83C71D147}"/>
          </ac:spMkLst>
        </pc:spChg>
        <pc:spChg chg="mod ord">
          <ac:chgData name="Ugo MANTEL" userId="2d5b7065-31bb-4181-a7f8-a73bf0c30211" providerId="ADAL" clId="{F05BB0D5-3454-45DC-8378-DA45B79D9A06}" dt="2020-10-05T08:03:05.225" v="7547"/>
          <ac:spMkLst>
            <pc:docMk/>
            <pc:sldMk cId="376755772" sldId="7099"/>
            <ac:spMk id="25" creationId="{6B141F1D-ACB8-496B-A1CD-B9E2CAD970EE}"/>
          </ac:spMkLst>
        </pc:spChg>
        <pc:spChg chg="mod ord">
          <ac:chgData name="Ugo MANTEL" userId="2d5b7065-31bb-4181-a7f8-a73bf0c30211" providerId="ADAL" clId="{F05BB0D5-3454-45DC-8378-DA45B79D9A06}" dt="2020-10-02T15:24:15.997" v="7048"/>
          <ac:spMkLst>
            <pc:docMk/>
            <pc:sldMk cId="376755772" sldId="7099"/>
            <ac:spMk id="26" creationId="{E3BD8E88-ADFB-4B62-8034-9AFBE1ECE189}"/>
          </ac:spMkLst>
        </pc:spChg>
        <pc:spChg chg="mod ord">
          <ac:chgData name="Ugo MANTEL" userId="2d5b7065-31bb-4181-a7f8-a73bf0c30211" providerId="ADAL" clId="{F05BB0D5-3454-45DC-8378-DA45B79D9A06}" dt="2020-10-05T08:03:05.225" v="7549"/>
          <ac:spMkLst>
            <pc:docMk/>
            <pc:sldMk cId="376755772" sldId="7099"/>
            <ac:spMk id="27" creationId="{08E87702-44A4-47CA-B477-AAFC9C4B0366}"/>
          </ac:spMkLst>
        </pc:spChg>
        <pc:spChg chg="mod ord">
          <ac:chgData name="Ugo MANTEL" userId="2d5b7065-31bb-4181-a7f8-a73bf0c30211" providerId="ADAL" clId="{F05BB0D5-3454-45DC-8378-DA45B79D9A06}" dt="2020-10-02T15:24:15.998" v="7052"/>
          <ac:spMkLst>
            <pc:docMk/>
            <pc:sldMk cId="376755772" sldId="7099"/>
            <ac:spMk id="28" creationId="{56A8E3DA-E143-4532-9137-0ECA11D33D47}"/>
          </ac:spMkLst>
        </pc:spChg>
        <pc:spChg chg="mod ord">
          <ac:chgData name="Ugo MANTEL" userId="2d5b7065-31bb-4181-a7f8-a73bf0c30211" providerId="ADAL" clId="{F05BB0D5-3454-45DC-8378-DA45B79D9A06}" dt="2020-10-05T08:03:05.226" v="7551"/>
          <ac:spMkLst>
            <pc:docMk/>
            <pc:sldMk cId="376755772" sldId="7099"/>
            <ac:spMk id="30" creationId="{4A0CBEAD-F285-4B34-BA46-D51708742C4C}"/>
          </ac:spMkLst>
        </pc:spChg>
        <pc:spChg chg="mod ord">
          <ac:chgData name="Ugo MANTEL" userId="2d5b7065-31bb-4181-a7f8-a73bf0c30211" providerId="ADAL" clId="{F05BB0D5-3454-45DC-8378-DA45B79D9A06}" dt="2020-10-05T08:03:05.226" v="7553"/>
          <ac:spMkLst>
            <pc:docMk/>
            <pc:sldMk cId="376755772" sldId="7099"/>
            <ac:spMk id="31" creationId="{FAE19A6B-A4C0-4A15-91FA-FEC643581FB2}"/>
          </ac:spMkLst>
        </pc:spChg>
        <pc:spChg chg="mod ord">
          <ac:chgData name="Ugo MANTEL" userId="2d5b7065-31bb-4181-a7f8-a73bf0c30211" providerId="ADAL" clId="{F05BB0D5-3454-45DC-8378-DA45B79D9A06}" dt="2020-10-05T08:03:05.227" v="7555"/>
          <ac:spMkLst>
            <pc:docMk/>
            <pc:sldMk cId="376755772" sldId="7099"/>
            <ac:spMk id="32" creationId="{C059FB14-23A6-488B-892B-3EBA3ECF9E44}"/>
          </ac:spMkLst>
        </pc:spChg>
        <pc:spChg chg="mod ord">
          <ac:chgData name="Ugo MANTEL" userId="2d5b7065-31bb-4181-a7f8-a73bf0c30211" providerId="ADAL" clId="{F05BB0D5-3454-45DC-8378-DA45B79D9A06}" dt="2020-10-05T08:03:05.227" v="7557"/>
          <ac:spMkLst>
            <pc:docMk/>
            <pc:sldMk cId="376755772" sldId="7099"/>
            <ac:spMk id="34" creationId="{9536977F-D7AE-42AC-94B3-A45E868D3DA9}"/>
          </ac:spMkLst>
        </pc:spChg>
        <pc:spChg chg="mod ord">
          <ac:chgData name="Ugo MANTEL" userId="2d5b7065-31bb-4181-a7f8-a73bf0c30211" providerId="ADAL" clId="{F05BB0D5-3454-45DC-8378-DA45B79D9A06}" dt="2020-10-05T08:03:05.228" v="7559"/>
          <ac:spMkLst>
            <pc:docMk/>
            <pc:sldMk cId="376755772" sldId="7099"/>
            <ac:spMk id="35" creationId="{0947BE11-5938-4BD3-871D-DD63940F95BB}"/>
          </ac:spMkLst>
        </pc:spChg>
        <pc:spChg chg="mod ord">
          <ac:chgData name="Ugo MANTEL" userId="2d5b7065-31bb-4181-a7f8-a73bf0c30211" providerId="ADAL" clId="{F05BB0D5-3454-45DC-8378-DA45B79D9A06}" dt="2020-10-02T15:24:16.003" v="7064"/>
          <ac:spMkLst>
            <pc:docMk/>
            <pc:sldMk cId="376755772" sldId="7099"/>
            <ac:spMk id="36" creationId="{F334DB69-DC33-4FFD-A774-EA950D16EA1B}"/>
          </ac:spMkLst>
        </pc:spChg>
        <pc:spChg chg="mod ord">
          <ac:chgData name="Ugo MANTEL" userId="2d5b7065-31bb-4181-a7f8-a73bf0c30211" providerId="ADAL" clId="{F05BB0D5-3454-45DC-8378-DA45B79D9A06}" dt="2020-10-02T15:24:16.003" v="7066"/>
          <ac:spMkLst>
            <pc:docMk/>
            <pc:sldMk cId="376755772" sldId="7099"/>
            <ac:spMk id="37" creationId="{3F08D013-6796-47D1-BB9B-937272FCBAA7}"/>
          </ac:spMkLst>
        </pc:spChg>
        <pc:spChg chg="mod ord">
          <ac:chgData name="Ugo MANTEL" userId="2d5b7065-31bb-4181-a7f8-a73bf0c30211" providerId="ADAL" clId="{F05BB0D5-3454-45DC-8378-DA45B79D9A06}" dt="2020-10-02T15:24:16.004" v="7068"/>
          <ac:spMkLst>
            <pc:docMk/>
            <pc:sldMk cId="376755772" sldId="7099"/>
            <ac:spMk id="38" creationId="{BB39225B-9F96-4151-B5A1-DA7E28D15F0C}"/>
          </ac:spMkLst>
        </pc:spChg>
        <pc:spChg chg="mod ord">
          <ac:chgData name="Ugo MANTEL" userId="2d5b7065-31bb-4181-a7f8-a73bf0c30211" providerId="ADAL" clId="{F05BB0D5-3454-45DC-8378-DA45B79D9A06}" dt="2020-10-02T15:24:16.005" v="7070"/>
          <ac:spMkLst>
            <pc:docMk/>
            <pc:sldMk cId="376755772" sldId="7099"/>
            <ac:spMk id="39" creationId="{C71269A9-1619-4DE0-8966-CEA4E9A3E25E}"/>
          </ac:spMkLst>
        </pc:spChg>
        <pc:spChg chg="mod ord">
          <ac:chgData name="Ugo MANTEL" userId="2d5b7065-31bb-4181-a7f8-a73bf0c30211" providerId="ADAL" clId="{F05BB0D5-3454-45DC-8378-DA45B79D9A06}" dt="2020-10-05T08:03:05.228" v="7561"/>
          <ac:spMkLst>
            <pc:docMk/>
            <pc:sldMk cId="376755772" sldId="7099"/>
            <ac:spMk id="40" creationId="{0C1048C5-AAF6-4EAC-923B-5C4BE75D4301}"/>
          </ac:spMkLst>
        </pc:spChg>
        <pc:spChg chg="mod ord">
          <ac:chgData name="Ugo MANTEL" userId="2d5b7065-31bb-4181-a7f8-a73bf0c30211" providerId="ADAL" clId="{F05BB0D5-3454-45DC-8378-DA45B79D9A06}" dt="2020-10-05T08:03:05.230" v="7563"/>
          <ac:spMkLst>
            <pc:docMk/>
            <pc:sldMk cId="376755772" sldId="7099"/>
            <ac:spMk id="41" creationId="{5C3FC11A-FD68-4771-A1AD-30AA1557095E}"/>
          </ac:spMkLst>
        </pc:spChg>
        <pc:spChg chg="mod ord">
          <ac:chgData name="Ugo MANTEL" userId="2d5b7065-31bb-4181-a7f8-a73bf0c30211" providerId="ADAL" clId="{F05BB0D5-3454-45DC-8378-DA45B79D9A06}" dt="2020-10-05T08:03:05.230" v="7565"/>
          <ac:spMkLst>
            <pc:docMk/>
            <pc:sldMk cId="376755772" sldId="7099"/>
            <ac:spMk id="42" creationId="{AF9B5A75-943B-4E0A-8576-543C28562AC4}"/>
          </ac:spMkLst>
        </pc:spChg>
        <pc:spChg chg="mod ord">
          <ac:chgData name="Ugo MANTEL" userId="2d5b7065-31bb-4181-a7f8-a73bf0c30211" providerId="ADAL" clId="{F05BB0D5-3454-45DC-8378-DA45B79D9A06}" dt="2020-10-05T08:03:05.231" v="7567"/>
          <ac:spMkLst>
            <pc:docMk/>
            <pc:sldMk cId="376755772" sldId="7099"/>
            <ac:spMk id="43" creationId="{7667A308-00B6-4C0D-9D92-B88460720212}"/>
          </ac:spMkLst>
        </pc:spChg>
        <pc:spChg chg="mod ord">
          <ac:chgData name="Ugo MANTEL" userId="2d5b7065-31bb-4181-a7f8-a73bf0c30211" providerId="ADAL" clId="{F05BB0D5-3454-45DC-8378-DA45B79D9A06}" dt="2020-10-05T08:03:10.155" v="7582" actId="1035"/>
          <ac:spMkLst>
            <pc:docMk/>
            <pc:sldMk cId="376755772" sldId="7099"/>
            <ac:spMk id="54" creationId="{19F7BDCC-CEC3-4F50-AB75-508E290E9040}"/>
          </ac:spMkLst>
        </pc:spChg>
        <pc:spChg chg="mod ord">
          <ac:chgData name="Ugo MANTEL" userId="2d5b7065-31bb-4181-a7f8-a73bf0c30211" providerId="ADAL" clId="{F05BB0D5-3454-45DC-8378-DA45B79D9A06}" dt="2020-10-05T08:03:05.216" v="7528"/>
          <ac:spMkLst>
            <pc:docMk/>
            <pc:sldMk cId="376755772" sldId="7099"/>
            <ac:spMk id="55" creationId="{8EE86343-74BC-4E2D-BB6A-24861BB9D9BF}"/>
          </ac:spMkLst>
        </pc:spChg>
        <pc:grpChg chg="mod">
          <ac:chgData name="Ugo MANTEL" userId="2d5b7065-31bb-4181-a7f8-a73bf0c30211" providerId="ADAL" clId="{F05BB0D5-3454-45DC-8378-DA45B79D9A06}" dt="2020-10-05T08:03:05.223" v="7539"/>
          <ac:grpSpMkLst>
            <pc:docMk/>
            <pc:sldMk cId="376755772" sldId="7099"/>
            <ac:grpSpMk id="13" creationId="{F49C5392-FEB0-4C61-B035-528986B87053}"/>
          </ac:grpSpMkLst>
        </pc:grpChg>
        <pc:grpChg chg="add mod">
          <ac:chgData name="Ugo MANTEL" userId="2d5b7065-31bb-4181-a7f8-a73bf0c30211" providerId="ADAL" clId="{F05BB0D5-3454-45DC-8378-DA45B79D9A06}" dt="2020-10-05T08:03:05.232" v="7572"/>
          <ac:grpSpMkLst>
            <pc:docMk/>
            <pc:sldMk cId="376755772" sldId="7099"/>
            <ac:grpSpMk id="21" creationId="{02D60B71-C031-43F5-91F6-58B49B396B4A}"/>
          </ac:grpSpMkLst>
        </pc:grpChg>
        <pc:grpChg chg="mod ord">
          <ac:chgData name="Ugo MANTEL" userId="2d5b7065-31bb-4181-a7f8-a73bf0c30211" providerId="ADAL" clId="{F05BB0D5-3454-45DC-8378-DA45B79D9A06}" dt="2020-10-05T08:03:05.231" v="7569"/>
          <ac:grpSpMkLst>
            <pc:docMk/>
            <pc:sldMk cId="376755772" sldId="7099"/>
            <ac:grpSpMk id="46" creationId="{DA62729A-0678-4634-A444-4904DE04235B}"/>
          </ac:grpSpMkLst>
        </pc:grpChg>
        <pc:grpChg chg="mod ord">
          <ac:chgData name="Ugo MANTEL" userId="2d5b7065-31bb-4181-a7f8-a73bf0c30211" providerId="ADAL" clId="{F05BB0D5-3454-45DC-8378-DA45B79D9A06}" dt="2020-10-05T08:03:05.232" v="7571"/>
          <ac:grpSpMkLst>
            <pc:docMk/>
            <pc:sldMk cId="376755772" sldId="7099"/>
            <ac:grpSpMk id="47" creationId="{5CABC536-AF37-4858-A956-211634D9A32E}"/>
          </ac:grpSpMkLst>
        </pc:grpChg>
        <pc:grpChg chg="mod ord">
          <ac:chgData name="Ugo MANTEL" userId="2d5b7065-31bb-4181-a7f8-a73bf0c30211" providerId="ADAL" clId="{F05BB0D5-3454-45DC-8378-DA45B79D9A06}" dt="2020-10-02T15:24:16.010" v="7084"/>
          <ac:grpSpMkLst>
            <pc:docMk/>
            <pc:sldMk cId="376755772" sldId="7099"/>
            <ac:grpSpMk id="50" creationId="{7679F174-D7B7-47DD-B8B2-EB9F6EA0CBE1}"/>
          </ac:grpSpMkLst>
        </pc:grpChg>
        <pc:graphicFrameChg chg="mod ord">
          <ac:chgData name="Ugo MANTEL" userId="2d5b7065-31bb-4181-a7f8-a73bf0c30211" providerId="ADAL" clId="{F05BB0D5-3454-45DC-8378-DA45B79D9A06}" dt="2020-10-05T08:03:05.237" v="7578"/>
          <ac:graphicFrameMkLst>
            <pc:docMk/>
            <pc:sldMk cId="376755772" sldId="7099"/>
            <ac:graphicFrameMk id="33" creationId="{86158E79-F997-40AF-B834-92852138EB03}"/>
          </ac:graphicFrameMkLst>
        </pc:graphicFrameChg>
        <pc:picChg chg="mod">
          <ac:chgData name="Ugo MANTEL" userId="2d5b7065-31bb-4181-a7f8-a73bf0c30211" providerId="ADAL" clId="{F05BB0D5-3454-45DC-8378-DA45B79D9A06}" dt="2020-10-02T15:24:15.987" v="7023"/>
          <ac:picMkLst>
            <pc:docMk/>
            <pc:sldMk cId="376755772" sldId="7099"/>
            <ac:picMk id="6" creationId="{D86A4923-DDB0-4224-8031-0F43552BF49C}"/>
          </ac:picMkLst>
        </pc:picChg>
        <pc:picChg chg="mod">
          <ac:chgData name="Ugo MANTEL" userId="2d5b7065-31bb-4181-a7f8-a73bf0c30211" providerId="ADAL" clId="{F05BB0D5-3454-45DC-8378-DA45B79D9A06}" dt="2020-10-02T15:24:15.988" v="7024"/>
          <ac:picMkLst>
            <pc:docMk/>
            <pc:sldMk cId="376755772" sldId="7099"/>
            <ac:picMk id="7" creationId="{997B053A-EC5A-457A-B893-9F72342CED03}"/>
          </ac:picMkLst>
        </pc:picChg>
        <pc:picChg chg="mod ord">
          <ac:chgData name="Ugo MANTEL" userId="2d5b7065-31bb-4181-a7f8-a73bf0c30211" providerId="ADAL" clId="{F05BB0D5-3454-45DC-8378-DA45B79D9A06}" dt="2020-10-02T15:24:15.989" v="7026"/>
          <ac:picMkLst>
            <pc:docMk/>
            <pc:sldMk cId="376755772" sldId="7099"/>
            <ac:picMk id="8" creationId="{F788D890-CF7F-4AA1-8049-2A497DFFCADD}"/>
          </ac:picMkLst>
        </pc:picChg>
        <pc:picChg chg="mod">
          <ac:chgData name="Ugo MANTEL" userId="2d5b7065-31bb-4181-a7f8-a73bf0c30211" providerId="ADAL" clId="{F05BB0D5-3454-45DC-8378-DA45B79D9A06}" dt="2020-10-05T08:03:05.221" v="7534"/>
          <ac:picMkLst>
            <pc:docMk/>
            <pc:sldMk cId="376755772" sldId="7099"/>
            <ac:picMk id="9" creationId="{6143312A-11EF-4B09-9935-3CD6F1048F54}"/>
          </ac:picMkLst>
        </pc:picChg>
        <pc:cxnChg chg="mod ord">
          <ac:chgData name="Ugo MANTEL" userId="2d5b7065-31bb-4181-a7f8-a73bf0c30211" providerId="ADAL" clId="{F05BB0D5-3454-45DC-8378-DA45B79D9A06}" dt="2020-10-05T08:03:05.233" v="7574"/>
          <ac:cxnSpMkLst>
            <pc:docMk/>
            <pc:sldMk cId="376755772" sldId="7099"/>
            <ac:cxnSpMk id="53" creationId="{7064E67F-8CA0-4DE8-89A6-084606DAA156}"/>
          </ac:cxnSpMkLst>
        </pc:cxnChg>
      </pc:sldChg>
      <pc:sldChg chg="modSp add mod">
        <pc:chgData name="Ugo MANTEL" userId="2d5b7065-31bb-4181-a7f8-a73bf0c30211" providerId="ADAL" clId="{F05BB0D5-3454-45DC-8378-DA45B79D9A06}" dt="2020-10-07T08:30:06.555" v="10654"/>
        <pc:sldMkLst>
          <pc:docMk/>
          <pc:sldMk cId="161029057" sldId="7101"/>
        </pc:sldMkLst>
        <pc:spChg chg="mod">
          <ac:chgData name="Ugo MANTEL" userId="2d5b7065-31bb-4181-a7f8-a73bf0c30211" providerId="ADAL" clId="{F05BB0D5-3454-45DC-8378-DA45B79D9A06}" dt="2020-10-02T14:08:33.370" v="6808" actId="20577"/>
          <ac:spMkLst>
            <pc:docMk/>
            <pc:sldMk cId="161029057" sldId="7101"/>
            <ac:spMk id="2" creationId="{74A4482A-C42F-4F90-9402-BF84B6307777}"/>
          </ac:spMkLst>
        </pc:spChg>
        <pc:spChg chg="mod">
          <ac:chgData name="Ugo MANTEL" userId="2d5b7065-31bb-4181-a7f8-a73bf0c30211" providerId="ADAL" clId="{F05BB0D5-3454-45DC-8378-DA45B79D9A06}" dt="2020-10-02T14:08:33.888" v="6829" actId="6549"/>
          <ac:spMkLst>
            <pc:docMk/>
            <pc:sldMk cId="161029057" sldId="7101"/>
            <ac:spMk id="5" creationId="{C9C528CB-0DC1-457E-A5CA-62E616B3A38F}"/>
          </ac:spMkLst>
        </pc:spChg>
        <pc:graphicFrameChg chg="mod">
          <ac:chgData name="Ugo MANTEL" userId="2d5b7065-31bb-4181-a7f8-a73bf0c30211" providerId="ADAL" clId="{F05BB0D5-3454-45DC-8378-DA45B79D9A06}" dt="2020-10-02T14:08:33.902" v="6831"/>
          <ac:graphicFrameMkLst>
            <pc:docMk/>
            <pc:sldMk cId="161029057" sldId="7101"/>
            <ac:graphicFrameMk id="11" creationId="{11B41282-9E8D-429E-A2F6-40EBF5EA7D49}"/>
          </ac:graphicFrameMkLst>
        </pc:graphicFrameChg>
        <pc:graphicFrameChg chg="modGraphic">
          <ac:chgData name="Ugo MANTEL" userId="2d5b7065-31bb-4181-a7f8-a73bf0c30211" providerId="ADAL" clId="{F05BB0D5-3454-45DC-8378-DA45B79D9A06}" dt="2020-10-07T08:30:06.555" v="10654"/>
          <ac:graphicFrameMkLst>
            <pc:docMk/>
            <pc:sldMk cId="161029057" sldId="7101"/>
            <ac:graphicFrameMk id="28" creationId="{F34303D8-8B14-4B76-B030-18E474186233}"/>
          </ac:graphicFrameMkLst>
        </pc:graphicFrameChg>
      </pc:sldChg>
      <pc:sldChg chg="modSp add mod">
        <pc:chgData name="Ugo MANTEL" userId="2d5b7065-31bb-4181-a7f8-a73bf0c30211" providerId="ADAL" clId="{F05BB0D5-3454-45DC-8378-DA45B79D9A06}" dt="2020-10-02T14:10:08.671" v="6873" actId="20577"/>
        <pc:sldMkLst>
          <pc:docMk/>
          <pc:sldMk cId="3125684111" sldId="7102"/>
        </pc:sldMkLst>
        <pc:spChg chg="mod">
          <ac:chgData name="Ugo MANTEL" userId="2d5b7065-31bb-4181-a7f8-a73bf0c30211" providerId="ADAL" clId="{F05BB0D5-3454-45DC-8378-DA45B79D9A06}" dt="2020-10-02T14:08:37.185" v="6834" actId="20577"/>
          <ac:spMkLst>
            <pc:docMk/>
            <pc:sldMk cId="3125684111" sldId="7102"/>
            <ac:spMk id="2" creationId="{7EFDEDFD-03EA-47F3-B974-1CACBD8FA6E2}"/>
          </ac:spMkLst>
        </pc:spChg>
        <pc:spChg chg="mod">
          <ac:chgData name="Ugo MANTEL" userId="2d5b7065-31bb-4181-a7f8-a73bf0c30211" providerId="ADAL" clId="{F05BB0D5-3454-45DC-8378-DA45B79D9A06}" dt="2020-10-02T14:08:37.730" v="6855" actId="6549"/>
          <ac:spMkLst>
            <pc:docMk/>
            <pc:sldMk cId="3125684111" sldId="7102"/>
            <ac:spMk id="4" creationId="{F854DCEF-5D09-4A27-9C10-DE41FAB26FCF}"/>
          </ac:spMkLst>
        </pc:spChg>
        <pc:spChg chg="mod">
          <ac:chgData name="Ugo MANTEL" userId="2d5b7065-31bb-4181-a7f8-a73bf0c30211" providerId="ADAL" clId="{F05BB0D5-3454-45DC-8378-DA45B79D9A06}" dt="2020-10-02T14:10:08.671" v="6873" actId="20577"/>
          <ac:spMkLst>
            <pc:docMk/>
            <pc:sldMk cId="3125684111" sldId="7102"/>
            <ac:spMk id="46" creationId="{D68C3AE6-51A5-4DF8-A2CF-7E7EDC1C56DE}"/>
          </ac:spMkLst>
        </pc:spChg>
        <pc:spChg chg="mod">
          <ac:chgData name="Ugo MANTEL" userId="2d5b7065-31bb-4181-a7f8-a73bf0c30211" providerId="ADAL" clId="{F05BB0D5-3454-45DC-8378-DA45B79D9A06}" dt="2020-10-02T14:08:51.879" v="6865" actId="20577"/>
          <ac:spMkLst>
            <pc:docMk/>
            <pc:sldMk cId="3125684111" sldId="7102"/>
            <ac:spMk id="66" creationId="{DDE8E6A5-D9C2-4569-8B2E-FFD8F8BC53C1}"/>
          </ac:spMkLst>
        </pc:spChg>
        <pc:graphicFrameChg chg="mod">
          <ac:chgData name="Ugo MANTEL" userId="2d5b7065-31bb-4181-a7f8-a73bf0c30211" providerId="ADAL" clId="{F05BB0D5-3454-45DC-8378-DA45B79D9A06}" dt="2020-10-02T14:08:37.751" v="6857"/>
          <ac:graphicFrameMkLst>
            <pc:docMk/>
            <pc:sldMk cId="3125684111" sldId="7102"/>
            <ac:graphicFrameMk id="6" creationId="{AD8A8315-ACB0-4AFA-BDAB-ACE3EE7940F9}"/>
          </ac:graphicFrameMkLst>
        </pc:graphicFrameChg>
      </pc:sldChg>
      <pc:sldChg chg="addSp delSp modSp add mod">
        <pc:chgData name="Ugo MANTEL" userId="2d5b7065-31bb-4181-a7f8-a73bf0c30211" providerId="ADAL" clId="{F05BB0D5-3454-45DC-8378-DA45B79D9A06}" dt="2020-10-07T14:27:18.025" v="10701" actId="207"/>
        <pc:sldMkLst>
          <pc:docMk/>
          <pc:sldMk cId="3483647417" sldId="7103"/>
        </pc:sldMkLst>
        <pc:spChg chg="mod">
          <ac:chgData name="Ugo MANTEL" userId="2d5b7065-31bb-4181-a7f8-a73bf0c30211" providerId="ADAL" clId="{F05BB0D5-3454-45DC-8378-DA45B79D9A06}" dt="2020-10-02T15:28:35.236" v="7413" actId="20577"/>
          <ac:spMkLst>
            <pc:docMk/>
            <pc:sldMk cId="3483647417" sldId="7103"/>
            <ac:spMk id="2" creationId="{A9C092F8-DE50-48F2-8C73-D86A5F6F272A}"/>
          </ac:spMkLst>
        </pc:spChg>
        <pc:spChg chg="mod">
          <ac:chgData name="Ugo MANTEL" userId="2d5b7065-31bb-4181-a7f8-a73bf0c30211" providerId="ADAL" clId="{F05BB0D5-3454-45DC-8378-DA45B79D9A06}" dt="2020-10-02T15:33:18.159" v="7449" actId="14100"/>
          <ac:spMkLst>
            <pc:docMk/>
            <pc:sldMk cId="3483647417" sldId="7103"/>
            <ac:spMk id="4" creationId="{C40F9BE8-DEA2-4A7A-B4F4-A41963A7C953}"/>
          </ac:spMkLst>
        </pc:spChg>
        <pc:spChg chg="mod">
          <ac:chgData name="Ugo MANTEL" userId="2d5b7065-31bb-4181-a7f8-a73bf0c30211" providerId="ADAL" clId="{F05BB0D5-3454-45DC-8378-DA45B79D9A06}" dt="2020-10-02T15:36:19.748" v="7489" actId="12788"/>
          <ac:spMkLst>
            <pc:docMk/>
            <pc:sldMk cId="3483647417" sldId="7103"/>
            <ac:spMk id="10" creationId="{12E7F362-7A19-4F28-9E1C-3035F304B89B}"/>
          </ac:spMkLst>
        </pc:spChg>
        <pc:spChg chg="mod">
          <ac:chgData name="Ugo MANTEL" userId="2d5b7065-31bb-4181-a7f8-a73bf0c30211" providerId="ADAL" clId="{F05BB0D5-3454-45DC-8378-DA45B79D9A06}" dt="2020-10-02T15:26:04.545" v="7183" actId="6549"/>
          <ac:spMkLst>
            <pc:docMk/>
            <pc:sldMk cId="3483647417" sldId="7103"/>
            <ac:spMk id="12" creationId="{619634F8-055C-4FE0-B70D-01CBBCB4F21F}"/>
          </ac:spMkLst>
        </pc:spChg>
        <pc:spChg chg="mod">
          <ac:chgData name="Ugo MANTEL" userId="2d5b7065-31bb-4181-a7f8-a73bf0c30211" providerId="ADAL" clId="{F05BB0D5-3454-45DC-8378-DA45B79D9A06}" dt="2020-10-02T15:25:16.338" v="7096"/>
          <ac:spMkLst>
            <pc:docMk/>
            <pc:sldMk cId="3483647417" sldId="7103"/>
            <ac:spMk id="15" creationId="{DACFF9BC-78F8-4694-BBE6-ED5BFF2DA8B5}"/>
          </ac:spMkLst>
        </pc:spChg>
        <pc:spChg chg="mod">
          <ac:chgData name="Ugo MANTEL" userId="2d5b7065-31bb-4181-a7f8-a73bf0c30211" providerId="ADAL" clId="{F05BB0D5-3454-45DC-8378-DA45B79D9A06}" dt="2020-10-02T15:25:16.338" v="7096"/>
          <ac:spMkLst>
            <pc:docMk/>
            <pc:sldMk cId="3483647417" sldId="7103"/>
            <ac:spMk id="17" creationId="{F7F22DC3-B647-4467-B4C2-F5A3E990002E}"/>
          </ac:spMkLst>
        </pc:spChg>
        <pc:spChg chg="mod">
          <ac:chgData name="Ugo MANTEL" userId="2d5b7065-31bb-4181-a7f8-a73bf0c30211" providerId="ADAL" clId="{F05BB0D5-3454-45DC-8378-DA45B79D9A06}" dt="2020-10-02T15:34:43.140" v="7487" actId="20577"/>
          <ac:spMkLst>
            <pc:docMk/>
            <pc:sldMk cId="3483647417" sldId="7103"/>
            <ac:spMk id="18" creationId="{65ED09B0-F036-4FC2-B53D-050CD99BDAB8}"/>
          </ac:spMkLst>
        </pc:spChg>
        <pc:spChg chg="mod">
          <ac:chgData name="Ugo MANTEL" userId="2d5b7065-31bb-4181-a7f8-a73bf0c30211" providerId="ADAL" clId="{F05BB0D5-3454-45DC-8378-DA45B79D9A06}" dt="2020-10-02T15:25:16.338" v="7096"/>
          <ac:spMkLst>
            <pc:docMk/>
            <pc:sldMk cId="3483647417" sldId="7103"/>
            <ac:spMk id="21" creationId="{C7C9E57F-7E54-42A1-98E5-E122B74029FA}"/>
          </ac:spMkLst>
        </pc:spChg>
        <pc:spChg chg="mod">
          <ac:chgData name="Ugo MANTEL" userId="2d5b7065-31bb-4181-a7f8-a73bf0c30211" providerId="ADAL" clId="{F05BB0D5-3454-45DC-8378-DA45B79D9A06}" dt="2020-10-02T15:25:16.338" v="7096"/>
          <ac:spMkLst>
            <pc:docMk/>
            <pc:sldMk cId="3483647417" sldId="7103"/>
            <ac:spMk id="22" creationId="{E58F2E0A-096E-47CC-9220-963616CCFD15}"/>
          </ac:spMkLst>
        </pc:spChg>
        <pc:spChg chg="mod">
          <ac:chgData name="Ugo MANTEL" userId="2d5b7065-31bb-4181-a7f8-a73bf0c30211" providerId="ADAL" clId="{F05BB0D5-3454-45DC-8378-DA45B79D9A06}" dt="2020-10-02T15:25:16.338" v="7096"/>
          <ac:spMkLst>
            <pc:docMk/>
            <pc:sldMk cId="3483647417" sldId="7103"/>
            <ac:spMk id="23" creationId="{E8DE0518-F035-4EE0-A3B0-EDB62B2B8A11}"/>
          </ac:spMkLst>
        </pc:spChg>
        <pc:spChg chg="mod">
          <ac:chgData name="Ugo MANTEL" userId="2d5b7065-31bb-4181-a7f8-a73bf0c30211" providerId="ADAL" clId="{F05BB0D5-3454-45DC-8378-DA45B79D9A06}" dt="2020-10-02T15:25:16.338" v="7096"/>
          <ac:spMkLst>
            <pc:docMk/>
            <pc:sldMk cId="3483647417" sldId="7103"/>
            <ac:spMk id="24" creationId="{1C339F3D-BD67-44E7-BA45-7B08144A22E4}"/>
          </ac:spMkLst>
        </pc:spChg>
        <pc:spChg chg="mod">
          <ac:chgData name="Ugo MANTEL" userId="2d5b7065-31bb-4181-a7f8-a73bf0c30211" providerId="ADAL" clId="{F05BB0D5-3454-45DC-8378-DA45B79D9A06}" dt="2020-10-02T15:25:16.338" v="7096"/>
          <ac:spMkLst>
            <pc:docMk/>
            <pc:sldMk cId="3483647417" sldId="7103"/>
            <ac:spMk id="25" creationId="{A96489D2-D155-4818-938A-09D81DF8CE88}"/>
          </ac:spMkLst>
        </pc:spChg>
        <pc:spChg chg="mod">
          <ac:chgData name="Ugo MANTEL" userId="2d5b7065-31bb-4181-a7f8-a73bf0c30211" providerId="ADAL" clId="{F05BB0D5-3454-45DC-8378-DA45B79D9A06}" dt="2020-10-02T15:25:16.338" v="7096"/>
          <ac:spMkLst>
            <pc:docMk/>
            <pc:sldMk cId="3483647417" sldId="7103"/>
            <ac:spMk id="26" creationId="{72165244-CFD7-4590-9C86-7F22FCD3F1C8}"/>
          </ac:spMkLst>
        </pc:spChg>
        <pc:spChg chg="mod">
          <ac:chgData name="Ugo MANTEL" userId="2d5b7065-31bb-4181-a7f8-a73bf0c30211" providerId="ADAL" clId="{F05BB0D5-3454-45DC-8378-DA45B79D9A06}" dt="2020-10-02T15:25:16.338" v="7096"/>
          <ac:spMkLst>
            <pc:docMk/>
            <pc:sldMk cId="3483647417" sldId="7103"/>
            <ac:spMk id="27" creationId="{45724C4E-4138-4998-969C-E9553D6D7683}"/>
          </ac:spMkLst>
        </pc:spChg>
        <pc:spChg chg="mod">
          <ac:chgData name="Ugo MANTEL" userId="2d5b7065-31bb-4181-a7f8-a73bf0c30211" providerId="ADAL" clId="{F05BB0D5-3454-45DC-8378-DA45B79D9A06}" dt="2020-10-02T15:25:16.338" v="7096"/>
          <ac:spMkLst>
            <pc:docMk/>
            <pc:sldMk cId="3483647417" sldId="7103"/>
            <ac:spMk id="28" creationId="{D46A9E83-DE8C-4713-A861-054CCC0BAB9C}"/>
          </ac:spMkLst>
        </pc:spChg>
        <pc:spChg chg="mod">
          <ac:chgData name="Ugo MANTEL" userId="2d5b7065-31bb-4181-a7f8-a73bf0c30211" providerId="ADAL" clId="{F05BB0D5-3454-45DC-8378-DA45B79D9A06}" dt="2020-10-02T15:25:16.338" v="7096"/>
          <ac:spMkLst>
            <pc:docMk/>
            <pc:sldMk cId="3483647417" sldId="7103"/>
            <ac:spMk id="29" creationId="{B77E172F-B05A-4EE2-A433-0BBF4D310DB5}"/>
          </ac:spMkLst>
        </pc:spChg>
        <pc:spChg chg="mod">
          <ac:chgData name="Ugo MANTEL" userId="2d5b7065-31bb-4181-a7f8-a73bf0c30211" providerId="ADAL" clId="{F05BB0D5-3454-45DC-8378-DA45B79D9A06}" dt="2020-10-02T15:25:16.338" v="7096"/>
          <ac:spMkLst>
            <pc:docMk/>
            <pc:sldMk cId="3483647417" sldId="7103"/>
            <ac:spMk id="31" creationId="{567D2494-9696-48AF-93D2-F38471436FB8}"/>
          </ac:spMkLst>
        </pc:spChg>
        <pc:spChg chg="mod">
          <ac:chgData name="Ugo MANTEL" userId="2d5b7065-31bb-4181-a7f8-a73bf0c30211" providerId="ADAL" clId="{F05BB0D5-3454-45DC-8378-DA45B79D9A06}" dt="2020-10-02T15:25:16.338" v="7096"/>
          <ac:spMkLst>
            <pc:docMk/>
            <pc:sldMk cId="3483647417" sldId="7103"/>
            <ac:spMk id="32" creationId="{0C578D82-142B-4C3C-8791-575FCDA7F12C}"/>
          </ac:spMkLst>
        </pc:spChg>
        <pc:spChg chg="mod">
          <ac:chgData name="Ugo MANTEL" userId="2d5b7065-31bb-4181-a7f8-a73bf0c30211" providerId="ADAL" clId="{F05BB0D5-3454-45DC-8378-DA45B79D9A06}" dt="2020-10-02T15:25:16.338" v="7096"/>
          <ac:spMkLst>
            <pc:docMk/>
            <pc:sldMk cId="3483647417" sldId="7103"/>
            <ac:spMk id="34" creationId="{C39D82DE-4906-4C77-8074-AE2EC26512C4}"/>
          </ac:spMkLst>
        </pc:spChg>
        <pc:spChg chg="mod">
          <ac:chgData name="Ugo MANTEL" userId="2d5b7065-31bb-4181-a7f8-a73bf0c30211" providerId="ADAL" clId="{F05BB0D5-3454-45DC-8378-DA45B79D9A06}" dt="2020-10-02T15:25:16.338" v="7096"/>
          <ac:spMkLst>
            <pc:docMk/>
            <pc:sldMk cId="3483647417" sldId="7103"/>
            <ac:spMk id="35" creationId="{94E39019-E71D-49E5-BFE1-CDBCD8B2FE67}"/>
          </ac:spMkLst>
        </pc:spChg>
        <pc:spChg chg="mod">
          <ac:chgData name="Ugo MANTEL" userId="2d5b7065-31bb-4181-a7f8-a73bf0c30211" providerId="ADAL" clId="{F05BB0D5-3454-45DC-8378-DA45B79D9A06}" dt="2020-10-02T15:25:16.335" v="7094"/>
          <ac:spMkLst>
            <pc:docMk/>
            <pc:sldMk cId="3483647417" sldId="7103"/>
            <ac:spMk id="38" creationId="{A47AFCAF-22A5-4C3E-8189-6BCCE031E9F7}"/>
          </ac:spMkLst>
        </pc:spChg>
        <pc:spChg chg="mod">
          <ac:chgData name="Ugo MANTEL" userId="2d5b7065-31bb-4181-a7f8-a73bf0c30211" providerId="ADAL" clId="{F05BB0D5-3454-45DC-8378-DA45B79D9A06}" dt="2020-10-02T15:25:16.335" v="7094"/>
          <ac:spMkLst>
            <pc:docMk/>
            <pc:sldMk cId="3483647417" sldId="7103"/>
            <ac:spMk id="42" creationId="{15E5D918-8CCB-4F77-9496-14ABB7FA14DA}"/>
          </ac:spMkLst>
        </pc:spChg>
        <pc:spChg chg="mod">
          <ac:chgData name="Ugo MANTEL" userId="2d5b7065-31bb-4181-a7f8-a73bf0c30211" providerId="ADAL" clId="{F05BB0D5-3454-45DC-8378-DA45B79D9A06}" dt="2020-10-02T15:25:16.335" v="7094"/>
          <ac:spMkLst>
            <pc:docMk/>
            <pc:sldMk cId="3483647417" sldId="7103"/>
            <ac:spMk id="43" creationId="{EEE472E5-0774-45B0-8093-C405F2313493}"/>
          </ac:spMkLst>
        </pc:spChg>
        <pc:spChg chg="mod">
          <ac:chgData name="Ugo MANTEL" userId="2d5b7065-31bb-4181-a7f8-a73bf0c30211" providerId="ADAL" clId="{F05BB0D5-3454-45DC-8378-DA45B79D9A06}" dt="2020-10-02T15:25:16.335" v="7094"/>
          <ac:spMkLst>
            <pc:docMk/>
            <pc:sldMk cId="3483647417" sldId="7103"/>
            <ac:spMk id="44" creationId="{F8FBAB61-8009-488D-8954-EF75FBA86C3F}"/>
          </ac:spMkLst>
        </pc:spChg>
        <pc:spChg chg="mod">
          <ac:chgData name="Ugo MANTEL" userId="2d5b7065-31bb-4181-a7f8-a73bf0c30211" providerId="ADAL" clId="{F05BB0D5-3454-45DC-8378-DA45B79D9A06}" dt="2020-10-02T15:25:16.335" v="7094"/>
          <ac:spMkLst>
            <pc:docMk/>
            <pc:sldMk cId="3483647417" sldId="7103"/>
            <ac:spMk id="45" creationId="{22D94A3D-1B09-4BD6-94F6-B976416E7EE2}"/>
          </ac:spMkLst>
        </pc:spChg>
        <pc:spChg chg="mod">
          <ac:chgData name="Ugo MANTEL" userId="2d5b7065-31bb-4181-a7f8-a73bf0c30211" providerId="ADAL" clId="{F05BB0D5-3454-45DC-8378-DA45B79D9A06}" dt="2020-10-02T15:25:16.335" v="7094"/>
          <ac:spMkLst>
            <pc:docMk/>
            <pc:sldMk cId="3483647417" sldId="7103"/>
            <ac:spMk id="46" creationId="{722279B3-5E85-47E4-91D1-F5A3B69F8A9B}"/>
          </ac:spMkLst>
        </pc:spChg>
        <pc:spChg chg="mod">
          <ac:chgData name="Ugo MANTEL" userId="2d5b7065-31bb-4181-a7f8-a73bf0c30211" providerId="ADAL" clId="{F05BB0D5-3454-45DC-8378-DA45B79D9A06}" dt="2020-10-02T15:25:16.335" v="7094"/>
          <ac:spMkLst>
            <pc:docMk/>
            <pc:sldMk cId="3483647417" sldId="7103"/>
            <ac:spMk id="47" creationId="{1A2B16DE-B0B6-48B6-8D23-D19FFC1BC317}"/>
          </ac:spMkLst>
        </pc:spChg>
        <pc:spChg chg="mod">
          <ac:chgData name="Ugo MANTEL" userId="2d5b7065-31bb-4181-a7f8-a73bf0c30211" providerId="ADAL" clId="{F05BB0D5-3454-45DC-8378-DA45B79D9A06}" dt="2020-10-02T15:25:16.335" v="7094"/>
          <ac:spMkLst>
            <pc:docMk/>
            <pc:sldMk cId="3483647417" sldId="7103"/>
            <ac:spMk id="48" creationId="{07FC9E1F-8E8F-429C-8E66-E1E1734654AC}"/>
          </ac:spMkLst>
        </pc:spChg>
        <pc:spChg chg="mod">
          <ac:chgData name="Ugo MANTEL" userId="2d5b7065-31bb-4181-a7f8-a73bf0c30211" providerId="ADAL" clId="{F05BB0D5-3454-45DC-8378-DA45B79D9A06}" dt="2020-10-02T15:25:16.335" v="7094"/>
          <ac:spMkLst>
            <pc:docMk/>
            <pc:sldMk cId="3483647417" sldId="7103"/>
            <ac:spMk id="49" creationId="{7820694D-67C8-46D0-95B3-0F555B029C8B}"/>
          </ac:spMkLst>
        </pc:spChg>
        <pc:spChg chg="mod">
          <ac:chgData name="Ugo MANTEL" userId="2d5b7065-31bb-4181-a7f8-a73bf0c30211" providerId="ADAL" clId="{F05BB0D5-3454-45DC-8378-DA45B79D9A06}" dt="2020-10-02T15:25:16.335" v="7094"/>
          <ac:spMkLst>
            <pc:docMk/>
            <pc:sldMk cId="3483647417" sldId="7103"/>
            <ac:spMk id="50" creationId="{1E6B9AF3-94E4-40B7-9207-957AF0274381}"/>
          </ac:spMkLst>
        </pc:spChg>
        <pc:spChg chg="mod">
          <ac:chgData name="Ugo MANTEL" userId="2d5b7065-31bb-4181-a7f8-a73bf0c30211" providerId="ADAL" clId="{F05BB0D5-3454-45DC-8378-DA45B79D9A06}" dt="2020-10-02T15:25:16.335" v="7094"/>
          <ac:spMkLst>
            <pc:docMk/>
            <pc:sldMk cId="3483647417" sldId="7103"/>
            <ac:spMk id="52" creationId="{171B6A44-B06C-4522-B6C7-DB84AC846EA6}"/>
          </ac:spMkLst>
        </pc:spChg>
        <pc:spChg chg="mod">
          <ac:chgData name="Ugo MANTEL" userId="2d5b7065-31bb-4181-a7f8-a73bf0c30211" providerId="ADAL" clId="{F05BB0D5-3454-45DC-8378-DA45B79D9A06}" dt="2020-10-02T15:25:16.335" v="7094"/>
          <ac:spMkLst>
            <pc:docMk/>
            <pc:sldMk cId="3483647417" sldId="7103"/>
            <ac:spMk id="53" creationId="{72D709BF-1CCD-48FC-9A48-5E6872B7330E}"/>
          </ac:spMkLst>
        </pc:spChg>
        <pc:grpChg chg="add del mod">
          <ac:chgData name="Ugo MANTEL" userId="2d5b7065-31bb-4181-a7f8-a73bf0c30211" providerId="ADAL" clId="{F05BB0D5-3454-45DC-8378-DA45B79D9A06}" dt="2020-10-02T15:25:20.499" v="7097" actId="478"/>
          <ac:grpSpMkLst>
            <pc:docMk/>
            <pc:sldMk cId="3483647417" sldId="7103"/>
            <ac:grpSpMk id="9" creationId="{0E017CC7-3B65-4571-8ADB-5E7618F1FEEA}"/>
          </ac:grpSpMkLst>
        </pc:grpChg>
        <pc:grpChg chg="add mod">
          <ac:chgData name="Ugo MANTEL" userId="2d5b7065-31bb-4181-a7f8-a73bf0c30211" providerId="ADAL" clId="{F05BB0D5-3454-45DC-8378-DA45B79D9A06}" dt="2020-10-02T15:36:19.748" v="7489" actId="12788"/>
          <ac:grpSpMkLst>
            <pc:docMk/>
            <pc:sldMk cId="3483647417" sldId="7103"/>
            <ac:grpSpMk id="13" creationId="{F9FA48EE-DCC2-4A0A-A2A8-1A55B9888B2D}"/>
          </ac:grpSpMkLst>
        </pc:grpChg>
        <pc:grpChg chg="mod">
          <ac:chgData name="Ugo MANTEL" userId="2d5b7065-31bb-4181-a7f8-a73bf0c30211" providerId="ADAL" clId="{F05BB0D5-3454-45DC-8378-DA45B79D9A06}" dt="2020-10-02T15:25:16.338" v="7096"/>
          <ac:grpSpMkLst>
            <pc:docMk/>
            <pc:sldMk cId="3483647417" sldId="7103"/>
            <ac:grpSpMk id="16" creationId="{B984E6E9-26E9-4013-BB8D-0D9F2B5CA22B}"/>
          </ac:grpSpMkLst>
        </pc:grpChg>
        <pc:grpChg chg="mod">
          <ac:chgData name="Ugo MANTEL" userId="2d5b7065-31bb-4181-a7f8-a73bf0c30211" providerId="ADAL" clId="{F05BB0D5-3454-45DC-8378-DA45B79D9A06}" dt="2020-10-02T15:25:16.338" v="7096"/>
          <ac:grpSpMkLst>
            <pc:docMk/>
            <pc:sldMk cId="3483647417" sldId="7103"/>
            <ac:grpSpMk id="30" creationId="{7A029436-04C9-4133-965C-22A9085BCE39}"/>
          </ac:grpSpMkLst>
        </pc:grpChg>
        <pc:grpChg chg="mod">
          <ac:chgData name="Ugo MANTEL" userId="2d5b7065-31bb-4181-a7f8-a73bf0c30211" providerId="ADAL" clId="{F05BB0D5-3454-45DC-8378-DA45B79D9A06}" dt="2020-10-02T15:25:16.338" v="7096"/>
          <ac:grpSpMkLst>
            <pc:docMk/>
            <pc:sldMk cId="3483647417" sldId="7103"/>
            <ac:grpSpMk id="33" creationId="{40F6159C-56E6-4920-BE62-322388AA6D1A}"/>
          </ac:grpSpMkLst>
        </pc:grpChg>
        <pc:grpChg chg="add mod">
          <ac:chgData name="Ugo MANTEL" userId="2d5b7065-31bb-4181-a7f8-a73bf0c30211" providerId="ADAL" clId="{F05BB0D5-3454-45DC-8378-DA45B79D9A06}" dt="2020-10-02T15:25:16.335" v="7094"/>
          <ac:grpSpMkLst>
            <pc:docMk/>
            <pc:sldMk cId="3483647417" sldId="7103"/>
            <ac:grpSpMk id="37" creationId="{092EAEAA-FA04-4BFC-A632-0EEDDC04F8F2}"/>
          </ac:grpSpMkLst>
        </pc:grpChg>
        <pc:grpChg chg="mod">
          <ac:chgData name="Ugo MANTEL" userId="2d5b7065-31bb-4181-a7f8-a73bf0c30211" providerId="ADAL" clId="{F05BB0D5-3454-45DC-8378-DA45B79D9A06}" dt="2020-10-02T15:25:16.335" v="7094"/>
          <ac:grpSpMkLst>
            <pc:docMk/>
            <pc:sldMk cId="3483647417" sldId="7103"/>
            <ac:grpSpMk id="51" creationId="{C3907DF0-951B-49DD-B5FC-8FB3E0BF6638}"/>
          </ac:grpSpMkLst>
        </pc:grpChg>
        <pc:graphicFrameChg chg="mod">
          <ac:chgData name="Ugo MANTEL" userId="2d5b7065-31bb-4181-a7f8-a73bf0c30211" providerId="ADAL" clId="{F05BB0D5-3454-45DC-8378-DA45B79D9A06}" dt="2020-10-07T14:27:18.025" v="10701" actId="207"/>
          <ac:graphicFrameMkLst>
            <pc:docMk/>
            <pc:sldMk cId="3483647417" sldId="7103"/>
            <ac:graphicFrameMk id="6" creationId="{37EB0EFE-379A-43A9-9CAC-8975DFC8C60C}"/>
          </ac:graphicFrameMkLst>
        </pc:graphicFrameChg>
        <pc:graphicFrameChg chg="mod">
          <ac:chgData name="Ugo MANTEL" userId="2d5b7065-31bb-4181-a7f8-a73bf0c30211" providerId="ADAL" clId="{F05BB0D5-3454-45DC-8378-DA45B79D9A06}" dt="2020-10-02T15:28:35.754" v="7415"/>
          <ac:graphicFrameMkLst>
            <pc:docMk/>
            <pc:sldMk cId="3483647417" sldId="7103"/>
            <ac:graphicFrameMk id="11" creationId="{E122C107-C2A1-4953-9350-91B7A10F6DE1}"/>
          </ac:graphicFrameMkLst>
        </pc:graphicFrameChg>
        <pc:picChg chg="mod">
          <ac:chgData name="Ugo MANTEL" userId="2d5b7065-31bb-4181-a7f8-a73bf0c30211" providerId="ADAL" clId="{F05BB0D5-3454-45DC-8378-DA45B79D9A06}" dt="2020-10-02T15:36:15.710" v="7488" actId="12789"/>
          <ac:picMkLst>
            <pc:docMk/>
            <pc:sldMk cId="3483647417" sldId="7103"/>
            <ac:picMk id="8" creationId="{3870302C-F0E4-4FA8-AEDF-872DDB33189C}"/>
          </ac:picMkLst>
        </pc:picChg>
        <pc:picChg chg="del">
          <ac:chgData name="Ugo MANTEL" userId="2d5b7065-31bb-4181-a7f8-a73bf0c30211" providerId="ADAL" clId="{F05BB0D5-3454-45DC-8378-DA45B79D9A06}" dt="2020-10-02T15:33:43.371" v="7451" actId="478"/>
          <ac:picMkLst>
            <pc:docMk/>
            <pc:sldMk cId="3483647417" sldId="7103"/>
            <ac:picMk id="19" creationId="{C541B801-643D-4CA8-ADCF-CD03E80906FE}"/>
          </ac:picMkLst>
        </pc:picChg>
        <pc:picChg chg="mod">
          <ac:chgData name="Ugo MANTEL" userId="2d5b7065-31bb-4181-a7f8-a73bf0c30211" providerId="ADAL" clId="{F05BB0D5-3454-45DC-8378-DA45B79D9A06}" dt="2020-10-02T15:25:16.338" v="7096"/>
          <ac:picMkLst>
            <pc:docMk/>
            <pc:sldMk cId="3483647417" sldId="7103"/>
            <ac:picMk id="20" creationId="{673B3233-4AF9-4380-A921-BBD2FF8F7EC1}"/>
          </ac:picMkLst>
        </pc:picChg>
        <pc:picChg chg="mod">
          <ac:chgData name="Ugo MANTEL" userId="2d5b7065-31bb-4181-a7f8-a73bf0c30211" providerId="ADAL" clId="{F05BB0D5-3454-45DC-8378-DA45B79D9A06}" dt="2020-10-02T15:25:16.335" v="7094"/>
          <ac:picMkLst>
            <pc:docMk/>
            <pc:sldMk cId="3483647417" sldId="7103"/>
            <ac:picMk id="39" creationId="{AE0744A2-205D-417D-B342-C5CACD9EC65D}"/>
          </ac:picMkLst>
        </pc:picChg>
        <pc:picChg chg="mod">
          <ac:chgData name="Ugo MANTEL" userId="2d5b7065-31bb-4181-a7f8-a73bf0c30211" providerId="ADAL" clId="{F05BB0D5-3454-45DC-8378-DA45B79D9A06}" dt="2020-10-02T15:25:16.335" v="7094"/>
          <ac:picMkLst>
            <pc:docMk/>
            <pc:sldMk cId="3483647417" sldId="7103"/>
            <ac:picMk id="40" creationId="{8E0D853B-28B8-40CC-A67C-A12CFBD1D257}"/>
          </ac:picMkLst>
        </pc:picChg>
        <pc:picChg chg="mod">
          <ac:chgData name="Ugo MANTEL" userId="2d5b7065-31bb-4181-a7f8-a73bf0c30211" providerId="ADAL" clId="{F05BB0D5-3454-45DC-8378-DA45B79D9A06}" dt="2020-10-02T15:25:16.335" v="7094"/>
          <ac:picMkLst>
            <pc:docMk/>
            <pc:sldMk cId="3483647417" sldId="7103"/>
            <ac:picMk id="41" creationId="{54CAF3D6-5073-4B28-AF99-56445FA10280}"/>
          </ac:picMkLst>
        </pc:picChg>
        <pc:picChg chg="add mod">
          <ac:chgData name="Ugo MANTEL" userId="2d5b7065-31bb-4181-a7f8-a73bf0c30211" providerId="ADAL" clId="{F05BB0D5-3454-45DC-8378-DA45B79D9A06}" dt="2020-10-02T15:36:19.748" v="7489" actId="12788"/>
          <ac:picMkLst>
            <pc:docMk/>
            <pc:sldMk cId="3483647417" sldId="7103"/>
            <ac:picMk id="54" creationId="{A2B86D23-3407-4018-B819-BCA9AAE37935}"/>
          </ac:picMkLst>
        </pc:picChg>
        <pc:picChg chg="add mod">
          <ac:chgData name="Ugo MANTEL" userId="2d5b7065-31bb-4181-a7f8-a73bf0c30211" providerId="ADAL" clId="{F05BB0D5-3454-45DC-8378-DA45B79D9A06}" dt="2020-10-02T15:36:19.748" v="7489" actId="12788"/>
          <ac:picMkLst>
            <pc:docMk/>
            <pc:sldMk cId="3483647417" sldId="7103"/>
            <ac:picMk id="55" creationId="{544C8C08-1FC8-41BA-9677-95274E5A7646}"/>
          </ac:picMkLst>
        </pc:picChg>
        <pc:picChg chg="add mod">
          <ac:chgData name="Ugo MANTEL" userId="2d5b7065-31bb-4181-a7f8-a73bf0c30211" providerId="ADAL" clId="{F05BB0D5-3454-45DC-8378-DA45B79D9A06}" dt="2020-10-02T15:36:19.748" v="7489" actId="12788"/>
          <ac:picMkLst>
            <pc:docMk/>
            <pc:sldMk cId="3483647417" sldId="7103"/>
            <ac:picMk id="56" creationId="{36026438-5335-4820-AEA0-F6EE1B65C0D3}"/>
          </ac:picMkLst>
        </pc:picChg>
      </pc:sldChg>
      <pc:sldChg chg="addSp delSp modSp mod">
        <pc:chgData name="Ugo MANTEL" userId="2d5b7065-31bb-4181-a7f8-a73bf0c30211" providerId="ADAL" clId="{F05BB0D5-3454-45DC-8378-DA45B79D9A06}" dt="2020-10-07T08:24:17.588" v="10609"/>
        <pc:sldMkLst>
          <pc:docMk/>
          <pc:sldMk cId="1053969278" sldId="7104"/>
        </pc:sldMkLst>
        <pc:spChg chg="mod">
          <ac:chgData name="Ugo MANTEL" userId="2d5b7065-31bb-4181-a7f8-a73bf0c30211" providerId="ADAL" clId="{F05BB0D5-3454-45DC-8378-DA45B79D9A06}" dt="2020-10-05T14:16:27.790" v="10059"/>
          <ac:spMkLst>
            <pc:docMk/>
            <pc:sldMk cId="1053969278" sldId="7104"/>
            <ac:spMk id="2" creationId="{32453F35-4569-47F3-AC8E-A57F914E3AA8}"/>
          </ac:spMkLst>
        </pc:spChg>
        <pc:spChg chg="mod ord">
          <ac:chgData name="Ugo MANTEL" userId="2d5b7065-31bb-4181-a7f8-a73bf0c30211" providerId="ADAL" clId="{F05BB0D5-3454-45DC-8378-DA45B79D9A06}" dt="2020-10-05T14:16:27.790" v="10061"/>
          <ac:spMkLst>
            <pc:docMk/>
            <pc:sldMk cId="1053969278" sldId="7104"/>
            <ac:spMk id="3" creationId="{F333C5C0-2D3F-4ACC-B88E-992BE24032E5}"/>
          </ac:spMkLst>
        </pc:spChg>
        <pc:spChg chg="mod ord">
          <ac:chgData name="Ugo MANTEL" userId="2d5b7065-31bb-4181-a7f8-a73bf0c30211" providerId="ADAL" clId="{F05BB0D5-3454-45DC-8378-DA45B79D9A06}" dt="2020-10-05T14:16:27.789" v="10056"/>
          <ac:spMkLst>
            <pc:docMk/>
            <pc:sldMk cId="1053969278" sldId="7104"/>
            <ac:spMk id="4" creationId="{56A18673-ABA4-4D8E-8AB8-7DA4208DCD47}"/>
          </ac:spMkLst>
        </pc:spChg>
        <pc:spChg chg="mod ord">
          <ac:chgData name="Ugo MANTEL" userId="2d5b7065-31bb-4181-a7f8-a73bf0c30211" providerId="ADAL" clId="{F05BB0D5-3454-45DC-8378-DA45B79D9A06}" dt="2020-10-05T14:23:59.754" v="10211" actId="12788"/>
          <ac:spMkLst>
            <pc:docMk/>
            <pc:sldMk cId="1053969278" sldId="7104"/>
            <ac:spMk id="6" creationId="{3C9DAC80-53E9-4285-B7D4-A9875E5FBE2A}"/>
          </ac:spMkLst>
        </pc:spChg>
        <pc:spChg chg="mod ord">
          <ac:chgData name="Ugo MANTEL" userId="2d5b7065-31bb-4181-a7f8-a73bf0c30211" providerId="ADAL" clId="{F05BB0D5-3454-45DC-8378-DA45B79D9A06}" dt="2020-10-07T08:19:28.641" v="10563" actId="20577"/>
          <ac:spMkLst>
            <pc:docMk/>
            <pc:sldMk cId="1053969278" sldId="7104"/>
            <ac:spMk id="7" creationId="{975274F2-756A-4D52-A87D-7979645FF2DF}"/>
          </ac:spMkLst>
        </pc:spChg>
        <pc:spChg chg="del mod ord">
          <ac:chgData name="Ugo MANTEL" userId="2d5b7065-31bb-4181-a7f8-a73bf0c30211" providerId="ADAL" clId="{F05BB0D5-3454-45DC-8378-DA45B79D9A06}" dt="2020-10-05T15:03:53.890" v="10295" actId="478"/>
          <ac:spMkLst>
            <pc:docMk/>
            <pc:sldMk cId="1053969278" sldId="7104"/>
            <ac:spMk id="8" creationId="{99DCBEBE-0D2F-4356-BF6B-8C656442C96D}"/>
          </ac:spMkLst>
        </pc:spChg>
        <pc:spChg chg="mod ord">
          <ac:chgData name="Ugo MANTEL" userId="2d5b7065-31bb-4181-a7f8-a73bf0c30211" providerId="ADAL" clId="{F05BB0D5-3454-45DC-8378-DA45B79D9A06}" dt="2020-10-05T14:16:27.789" v="10058"/>
          <ac:spMkLst>
            <pc:docMk/>
            <pc:sldMk cId="1053969278" sldId="7104"/>
            <ac:spMk id="13" creationId="{0EA36691-38F8-4EDA-B0BA-DFA2ABEA506A}"/>
          </ac:spMkLst>
        </pc:spChg>
        <pc:spChg chg="mod ord">
          <ac:chgData name="Ugo MANTEL" userId="2d5b7065-31bb-4181-a7f8-a73bf0c30211" providerId="ADAL" clId="{F05BB0D5-3454-45DC-8378-DA45B79D9A06}" dt="2020-10-05T14:16:27.805" v="10129"/>
          <ac:spMkLst>
            <pc:docMk/>
            <pc:sldMk cId="1053969278" sldId="7104"/>
            <ac:spMk id="14" creationId="{0F0196F5-98A8-4179-87C3-1F36BC555C8C}"/>
          </ac:spMkLst>
        </pc:spChg>
        <pc:spChg chg="mod ord">
          <ac:chgData name="Ugo MANTEL" userId="2d5b7065-31bb-4181-a7f8-a73bf0c30211" providerId="ADAL" clId="{F05BB0D5-3454-45DC-8378-DA45B79D9A06}" dt="2020-10-05T14:16:27.795" v="10083"/>
          <ac:spMkLst>
            <pc:docMk/>
            <pc:sldMk cId="1053969278" sldId="7104"/>
            <ac:spMk id="15" creationId="{C6A888CB-1E18-4529-842D-C8380587EF4A}"/>
          </ac:spMkLst>
        </pc:spChg>
        <pc:spChg chg="mod ord">
          <ac:chgData name="Ugo MANTEL" userId="2d5b7065-31bb-4181-a7f8-a73bf0c30211" providerId="ADAL" clId="{F05BB0D5-3454-45DC-8378-DA45B79D9A06}" dt="2020-10-05T14:16:27.787" v="10046"/>
          <ac:spMkLst>
            <pc:docMk/>
            <pc:sldMk cId="1053969278" sldId="7104"/>
            <ac:spMk id="16" creationId="{606C6640-A7FF-4D6D-9A77-0E17AA66E69D}"/>
          </ac:spMkLst>
        </pc:spChg>
        <pc:spChg chg="mod ord">
          <ac:chgData name="Ugo MANTEL" userId="2d5b7065-31bb-4181-a7f8-a73bf0c30211" providerId="ADAL" clId="{F05BB0D5-3454-45DC-8378-DA45B79D9A06}" dt="2020-10-05T14:16:27.791" v="10065"/>
          <ac:spMkLst>
            <pc:docMk/>
            <pc:sldMk cId="1053969278" sldId="7104"/>
            <ac:spMk id="19" creationId="{4120F4F5-190D-4FA5-876F-3502F6DE7268}"/>
          </ac:spMkLst>
        </pc:spChg>
        <pc:spChg chg="mod ord">
          <ac:chgData name="Ugo MANTEL" userId="2d5b7065-31bb-4181-a7f8-a73bf0c30211" providerId="ADAL" clId="{F05BB0D5-3454-45DC-8378-DA45B79D9A06}" dt="2020-10-05T14:16:27.792" v="10067"/>
          <ac:spMkLst>
            <pc:docMk/>
            <pc:sldMk cId="1053969278" sldId="7104"/>
            <ac:spMk id="20" creationId="{D72337E2-A2D1-4366-AC81-C58EC0E49EBC}"/>
          </ac:spMkLst>
        </pc:spChg>
        <pc:spChg chg="mod ord">
          <ac:chgData name="Ugo MANTEL" userId="2d5b7065-31bb-4181-a7f8-a73bf0c30211" providerId="ADAL" clId="{F05BB0D5-3454-45DC-8378-DA45B79D9A06}" dt="2020-10-05T14:16:27.792" v="10069"/>
          <ac:spMkLst>
            <pc:docMk/>
            <pc:sldMk cId="1053969278" sldId="7104"/>
            <ac:spMk id="21" creationId="{FF893FF4-BF2B-4223-9757-FF999419F039}"/>
          </ac:spMkLst>
        </pc:spChg>
        <pc:spChg chg="mod ord">
          <ac:chgData name="Ugo MANTEL" userId="2d5b7065-31bb-4181-a7f8-a73bf0c30211" providerId="ADAL" clId="{F05BB0D5-3454-45DC-8378-DA45B79D9A06}" dt="2020-10-05T14:23:59.754" v="10211" actId="12788"/>
          <ac:spMkLst>
            <pc:docMk/>
            <pc:sldMk cId="1053969278" sldId="7104"/>
            <ac:spMk id="22" creationId="{B9E99B41-30E9-454D-A29F-FC1B9E7412E9}"/>
          </ac:spMkLst>
        </pc:spChg>
        <pc:spChg chg="add mod">
          <ac:chgData name="Ugo MANTEL" userId="2d5b7065-31bb-4181-a7f8-a73bf0c30211" providerId="ADAL" clId="{F05BB0D5-3454-45DC-8378-DA45B79D9A06}" dt="2020-10-05T14:23:59.754" v="10211" actId="12788"/>
          <ac:spMkLst>
            <pc:docMk/>
            <pc:sldMk cId="1053969278" sldId="7104"/>
            <ac:spMk id="23" creationId="{99717361-172F-4B67-B4B2-038F0F4B8DAF}"/>
          </ac:spMkLst>
        </pc:spChg>
        <pc:spChg chg="mod ord">
          <ac:chgData name="Ugo MANTEL" userId="2d5b7065-31bb-4181-a7f8-a73bf0c30211" providerId="ADAL" clId="{F05BB0D5-3454-45DC-8378-DA45B79D9A06}" dt="2020-10-05T14:16:27.792" v="10071"/>
          <ac:spMkLst>
            <pc:docMk/>
            <pc:sldMk cId="1053969278" sldId="7104"/>
            <ac:spMk id="25" creationId="{C4CA90A0-06E5-4702-B6EF-08E5CF4625CB}"/>
          </ac:spMkLst>
        </pc:spChg>
        <pc:spChg chg="mod ord">
          <ac:chgData name="Ugo MANTEL" userId="2d5b7065-31bb-4181-a7f8-a73bf0c30211" providerId="ADAL" clId="{F05BB0D5-3454-45DC-8378-DA45B79D9A06}" dt="2020-10-05T14:16:27.794" v="10081"/>
          <ac:spMkLst>
            <pc:docMk/>
            <pc:sldMk cId="1053969278" sldId="7104"/>
            <ac:spMk id="34" creationId="{2AF19A3E-3AB8-443A-A5EA-036D979FB0A5}"/>
          </ac:spMkLst>
        </pc:spChg>
        <pc:spChg chg="mod ord">
          <ac:chgData name="Ugo MANTEL" userId="2d5b7065-31bb-4181-a7f8-a73bf0c30211" providerId="ADAL" clId="{F05BB0D5-3454-45DC-8378-DA45B79D9A06}" dt="2020-10-05T14:16:27.795" v="10085"/>
          <ac:spMkLst>
            <pc:docMk/>
            <pc:sldMk cId="1053969278" sldId="7104"/>
            <ac:spMk id="43" creationId="{48F07BE0-0131-46D6-B7F9-D08E1D65C642}"/>
          </ac:spMkLst>
        </pc:spChg>
        <pc:spChg chg="mod ord">
          <ac:chgData name="Ugo MANTEL" userId="2d5b7065-31bb-4181-a7f8-a73bf0c30211" providerId="ADAL" clId="{F05BB0D5-3454-45DC-8378-DA45B79D9A06}" dt="2020-10-05T14:16:27.798" v="10097"/>
          <ac:spMkLst>
            <pc:docMk/>
            <pc:sldMk cId="1053969278" sldId="7104"/>
            <ac:spMk id="49" creationId="{B843729F-24AD-4AB8-8C2F-29D9F7B89A31}"/>
          </ac:spMkLst>
        </pc:spChg>
        <pc:spChg chg="mod ord">
          <ac:chgData name="Ugo MANTEL" userId="2d5b7065-31bb-4181-a7f8-a73bf0c30211" providerId="ADAL" clId="{F05BB0D5-3454-45DC-8378-DA45B79D9A06}" dt="2020-10-05T14:16:27.802" v="10113"/>
          <ac:spMkLst>
            <pc:docMk/>
            <pc:sldMk cId="1053969278" sldId="7104"/>
            <ac:spMk id="61" creationId="{73F804CB-2413-45A0-AC42-A6E95CC1DCD5}"/>
          </ac:spMkLst>
        </pc:spChg>
        <pc:spChg chg="mod ord">
          <ac:chgData name="Ugo MANTEL" userId="2d5b7065-31bb-4181-a7f8-a73bf0c30211" providerId="ADAL" clId="{F05BB0D5-3454-45DC-8378-DA45B79D9A06}" dt="2020-10-05T14:16:27.802" v="10115"/>
          <ac:spMkLst>
            <pc:docMk/>
            <pc:sldMk cId="1053969278" sldId="7104"/>
            <ac:spMk id="62" creationId="{3BBCE49C-B734-48AA-AF2C-B092FC5A4606}"/>
          </ac:spMkLst>
        </pc:spChg>
        <pc:spChg chg="add mod ord">
          <ac:chgData name="Ugo MANTEL" userId="2d5b7065-31bb-4181-a7f8-a73bf0c30211" providerId="ADAL" clId="{F05BB0D5-3454-45DC-8378-DA45B79D9A06}" dt="2020-10-05T14:23:59.754" v="10211" actId="12788"/>
          <ac:spMkLst>
            <pc:docMk/>
            <pc:sldMk cId="1053969278" sldId="7104"/>
            <ac:spMk id="65" creationId="{128A090C-1758-42F2-92C8-1E5EBE7FC784}"/>
          </ac:spMkLst>
        </pc:spChg>
        <pc:spChg chg="mod ord">
          <ac:chgData name="Ugo MANTEL" userId="2d5b7065-31bb-4181-a7f8-a73bf0c30211" providerId="ADAL" clId="{F05BB0D5-3454-45DC-8378-DA45B79D9A06}" dt="2020-10-05T14:23:59.754" v="10211" actId="12788"/>
          <ac:spMkLst>
            <pc:docMk/>
            <pc:sldMk cId="1053969278" sldId="7104"/>
            <ac:spMk id="66" creationId="{17598A8D-F999-4800-940F-77F9E56E86D3}"/>
          </ac:spMkLst>
        </pc:spChg>
        <pc:spChg chg="mod ord">
          <ac:chgData name="Ugo MANTEL" userId="2d5b7065-31bb-4181-a7f8-a73bf0c30211" providerId="ADAL" clId="{F05BB0D5-3454-45DC-8378-DA45B79D9A06}" dt="2020-10-05T14:16:27.803" v="10117"/>
          <ac:spMkLst>
            <pc:docMk/>
            <pc:sldMk cId="1053969278" sldId="7104"/>
            <ac:spMk id="67" creationId="{EE06F1EB-588C-414D-804F-6338DC331E1A}"/>
          </ac:spMkLst>
        </pc:spChg>
        <pc:spChg chg="mod ord topLvl">
          <ac:chgData name="Ugo MANTEL" userId="2d5b7065-31bb-4181-a7f8-a73bf0c30211" providerId="ADAL" clId="{F05BB0D5-3454-45DC-8378-DA45B79D9A06}" dt="2020-10-05T14:23:59.754" v="10211" actId="12788"/>
          <ac:spMkLst>
            <pc:docMk/>
            <pc:sldMk cId="1053969278" sldId="7104"/>
            <ac:spMk id="69" creationId="{C5206FD3-E1EA-48F2-8BD4-85DE5DE5342E}"/>
          </ac:spMkLst>
        </pc:spChg>
        <pc:spChg chg="del mod topLvl">
          <ac:chgData name="Ugo MANTEL" userId="2d5b7065-31bb-4181-a7f8-a73bf0c30211" providerId="ADAL" clId="{F05BB0D5-3454-45DC-8378-DA45B79D9A06}" dt="2020-10-05T14:10:39.033" v="9948" actId="478"/>
          <ac:spMkLst>
            <pc:docMk/>
            <pc:sldMk cId="1053969278" sldId="7104"/>
            <ac:spMk id="70" creationId="{26FC4CC1-F9B3-4819-9ADF-F5D26B4BC5D2}"/>
          </ac:spMkLst>
        </pc:spChg>
        <pc:spChg chg="del">
          <ac:chgData name="Ugo MANTEL" userId="2d5b7065-31bb-4181-a7f8-a73bf0c30211" providerId="ADAL" clId="{F05BB0D5-3454-45DC-8378-DA45B79D9A06}" dt="2020-10-05T14:13:33.767" v="9990" actId="478"/>
          <ac:spMkLst>
            <pc:docMk/>
            <pc:sldMk cId="1053969278" sldId="7104"/>
            <ac:spMk id="71" creationId="{7C2BE769-FBE1-4C16-967F-CC33D3A06AAE}"/>
          </ac:spMkLst>
        </pc:spChg>
        <pc:spChg chg="add mod ord">
          <ac:chgData name="Ugo MANTEL" userId="2d5b7065-31bb-4181-a7f8-a73bf0c30211" providerId="ADAL" clId="{F05BB0D5-3454-45DC-8378-DA45B79D9A06}" dt="2020-10-05T14:23:59.754" v="10211" actId="12788"/>
          <ac:spMkLst>
            <pc:docMk/>
            <pc:sldMk cId="1053969278" sldId="7104"/>
            <ac:spMk id="72" creationId="{C18069CC-85C4-4A93-8FB2-4445FA1744C8}"/>
          </ac:spMkLst>
        </pc:spChg>
        <pc:spChg chg="add mod ord">
          <ac:chgData name="Ugo MANTEL" userId="2d5b7065-31bb-4181-a7f8-a73bf0c30211" providerId="ADAL" clId="{F05BB0D5-3454-45DC-8378-DA45B79D9A06}" dt="2020-10-05T14:23:59.754" v="10211" actId="12788"/>
          <ac:spMkLst>
            <pc:docMk/>
            <pc:sldMk cId="1053969278" sldId="7104"/>
            <ac:spMk id="73" creationId="{27D12038-4159-431B-824F-971D58284BDC}"/>
          </ac:spMkLst>
        </pc:spChg>
        <pc:spChg chg="add mod">
          <ac:chgData name="Ugo MANTEL" userId="2d5b7065-31bb-4181-a7f8-a73bf0c30211" providerId="ADAL" clId="{F05BB0D5-3454-45DC-8378-DA45B79D9A06}" dt="2020-10-05T14:23:59.754" v="10211" actId="12788"/>
          <ac:spMkLst>
            <pc:docMk/>
            <pc:sldMk cId="1053969278" sldId="7104"/>
            <ac:spMk id="74" creationId="{0E6193B6-6BA0-494F-9F9B-19586AC22164}"/>
          </ac:spMkLst>
        </pc:spChg>
        <pc:spChg chg="add mod">
          <ac:chgData name="Ugo MANTEL" userId="2d5b7065-31bb-4181-a7f8-a73bf0c30211" providerId="ADAL" clId="{F05BB0D5-3454-45DC-8378-DA45B79D9A06}" dt="2020-10-05T15:03:58.106" v="10296"/>
          <ac:spMkLst>
            <pc:docMk/>
            <pc:sldMk cId="1053969278" sldId="7104"/>
            <ac:spMk id="75" creationId="{93EEE53F-7D70-48E8-A941-8326657DE997}"/>
          </ac:spMkLst>
        </pc:spChg>
        <pc:spChg chg="mod ord">
          <ac:chgData name="Ugo MANTEL" userId="2d5b7065-31bb-4181-a7f8-a73bf0c30211" providerId="ADAL" clId="{F05BB0D5-3454-45DC-8378-DA45B79D9A06}" dt="2020-10-05T14:16:27.799" v="10099"/>
          <ac:spMkLst>
            <pc:docMk/>
            <pc:sldMk cId="1053969278" sldId="7104"/>
            <ac:spMk id="79" creationId="{2E6E3095-6ED4-425A-AF2A-08EBD6553314}"/>
          </ac:spMkLst>
        </pc:spChg>
        <pc:spChg chg="mod ord">
          <ac:chgData name="Ugo MANTEL" userId="2d5b7065-31bb-4181-a7f8-a73bf0c30211" providerId="ADAL" clId="{F05BB0D5-3454-45DC-8378-DA45B79D9A06}" dt="2020-10-05T14:16:27.800" v="10105"/>
          <ac:spMkLst>
            <pc:docMk/>
            <pc:sldMk cId="1053969278" sldId="7104"/>
            <ac:spMk id="98" creationId="{7B0454E6-6E5F-4475-9961-FDCBF9A39515}"/>
          </ac:spMkLst>
        </pc:spChg>
        <pc:spChg chg="mod ord">
          <ac:chgData name="Ugo MANTEL" userId="2d5b7065-31bb-4181-a7f8-a73bf0c30211" providerId="ADAL" clId="{F05BB0D5-3454-45DC-8378-DA45B79D9A06}" dt="2020-10-05T14:16:27.803" v="10119"/>
          <ac:spMkLst>
            <pc:docMk/>
            <pc:sldMk cId="1053969278" sldId="7104"/>
            <ac:spMk id="103" creationId="{E7CC2369-D145-4906-B0C6-9E32818B2F35}"/>
          </ac:spMkLst>
        </pc:spChg>
        <pc:spChg chg="mod ord">
          <ac:chgData name="Ugo MANTEL" userId="2d5b7065-31bb-4181-a7f8-a73bf0c30211" providerId="ADAL" clId="{F05BB0D5-3454-45DC-8378-DA45B79D9A06}" dt="2020-10-05T14:16:27.804" v="10121"/>
          <ac:spMkLst>
            <pc:docMk/>
            <pc:sldMk cId="1053969278" sldId="7104"/>
            <ac:spMk id="104" creationId="{9960EBBB-F185-4FBF-A9DD-CDED1CEE8D04}"/>
          </ac:spMkLst>
        </pc:spChg>
        <pc:spChg chg="mod ord">
          <ac:chgData name="Ugo MANTEL" userId="2d5b7065-31bb-4181-a7f8-a73bf0c30211" providerId="ADAL" clId="{F05BB0D5-3454-45DC-8378-DA45B79D9A06}" dt="2020-10-05T14:16:27.804" v="10123"/>
          <ac:spMkLst>
            <pc:docMk/>
            <pc:sldMk cId="1053969278" sldId="7104"/>
            <ac:spMk id="105" creationId="{35202EA5-0390-4841-9605-EC6579E9EC26}"/>
          </ac:spMkLst>
        </pc:spChg>
        <pc:spChg chg="mod ord">
          <ac:chgData name="Ugo MANTEL" userId="2d5b7065-31bb-4181-a7f8-a73bf0c30211" providerId="ADAL" clId="{F05BB0D5-3454-45DC-8378-DA45B79D9A06}" dt="2020-10-05T14:16:27.804" v="10125"/>
          <ac:spMkLst>
            <pc:docMk/>
            <pc:sldMk cId="1053969278" sldId="7104"/>
            <ac:spMk id="106" creationId="{B34EE8BA-FD88-42D4-B084-A96D490A2DE9}"/>
          </ac:spMkLst>
        </pc:spChg>
        <pc:spChg chg="mod ord">
          <ac:chgData name="Ugo MANTEL" userId="2d5b7065-31bb-4181-a7f8-a73bf0c30211" providerId="ADAL" clId="{F05BB0D5-3454-45DC-8378-DA45B79D9A06}" dt="2020-10-05T14:16:27.801" v="10109"/>
          <ac:spMkLst>
            <pc:docMk/>
            <pc:sldMk cId="1053969278" sldId="7104"/>
            <ac:spMk id="108" creationId="{52B1E940-DAAD-4E9A-B70B-326F1BE1AF1A}"/>
          </ac:spMkLst>
        </pc:spChg>
        <pc:grpChg chg="add del">
          <ac:chgData name="Ugo MANTEL" userId="2d5b7065-31bb-4181-a7f8-a73bf0c30211" providerId="ADAL" clId="{F05BB0D5-3454-45DC-8378-DA45B79D9A06}" dt="2020-10-05T14:10:36.295" v="9947" actId="165"/>
          <ac:grpSpMkLst>
            <pc:docMk/>
            <pc:sldMk cId="1053969278" sldId="7104"/>
            <ac:grpSpMk id="11" creationId="{6D357BE5-F33B-4BA3-A84A-CDE83072B2FF}"/>
          </ac:grpSpMkLst>
        </pc:grpChg>
        <pc:grpChg chg="mod ord">
          <ac:chgData name="Ugo MANTEL" userId="2d5b7065-31bb-4181-a7f8-a73bf0c30211" providerId="ADAL" clId="{F05BB0D5-3454-45DC-8378-DA45B79D9A06}" dt="2020-10-05T14:16:27.796" v="10087"/>
          <ac:grpSpMkLst>
            <pc:docMk/>
            <pc:sldMk cId="1053969278" sldId="7104"/>
            <ac:grpSpMk id="44" creationId="{FB9ACACC-A730-459C-A2D4-F887CEB1ABA3}"/>
          </ac:grpSpMkLst>
        </pc:grpChg>
        <pc:grpChg chg="mod ord">
          <ac:chgData name="Ugo MANTEL" userId="2d5b7065-31bb-4181-a7f8-a73bf0c30211" providerId="ADAL" clId="{F05BB0D5-3454-45DC-8378-DA45B79D9A06}" dt="2020-10-05T14:16:27.796" v="10089"/>
          <ac:grpSpMkLst>
            <pc:docMk/>
            <pc:sldMk cId="1053969278" sldId="7104"/>
            <ac:grpSpMk id="45" creationId="{FD66F46C-BA07-45B0-86C5-0A0A0F5B94C7}"/>
          </ac:grpSpMkLst>
        </pc:grpChg>
        <pc:grpChg chg="mod ord">
          <ac:chgData name="Ugo MANTEL" userId="2d5b7065-31bb-4181-a7f8-a73bf0c30211" providerId="ADAL" clId="{F05BB0D5-3454-45DC-8378-DA45B79D9A06}" dt="2020-10-05T14:16:27.797" v="10091"/>
          <ac:grpSpMkLst>
            <pc:docMk/>
            <pc:sldMk cId="1053969278" sldId="7104"/>
            <ac:grpSpMk id="46" creationId="{566A7B35-CDF0-4397-BFEF-D958CBFC6368}"/>
          </ac:grpSpMkLst>
        </pc:grpChg>
        <pc:grpChg chg="mod ord">
          <ac:chgData name="Ugo MANTEL" userId="2d5b7065-31bb-4181-a7f8-a73bf0c30211" providerId="ADAL" clId="{F05BB0D5-3454-45DC-8378-DA45B79D9A06}" dt="2020-10-05T14:16:27.797" v="10093"/>
          <ac:grpSpMkLst>
            <pc:docMk/>
            <pc:sldMk cId="1053969278" sldId="7104"/>
            <ac:grpSpMk id="47" creationId="{569D3FA4-7DFE-4F64-B45D-F78BD7A7DFCC}"/>
          </ac:grpSpMkLst>
        </pc:grpChg>
        <pc:grpChg chg="mod ord">
          <ac:chgData name="Ugo MANTEL" userId="2d5b7065-31bb-4181-a7f8-a73bf0c30211" providerId="ADAL" clId="{F05BB0D5-3454-45DC-8378-DA45B79D9A06}" dt="2020-10-05T14:16:27.798" v="10095"/>
          <ac:grpSpMkLst>
            <pc:docMk/>
            <pc:sldMk cId="1053969278" sldId="7104"/>
            <ac:grpSpMk id="48" creationId="{6A2E85C4-B0F3-4CBE-8126-1C774F3A18DC}"/>
          </ac:grpSpMkLst>
        </pc:grpChg>
        <pc:grpChg chg="del">
          <ac:chgData name="Ugo MANTEL" userId="2d5b7065-31bb-4181-a7f8-a73bf0c30211" providerId="ADAL" clId="{F05BB0D5-3454-45DC-8378-DA45B79D9A06}" dt="2020-10-05T14:10:00.285" v="9941" actId="165"/>
          <ac:grpSpMkLst>
            <pc:docMk/>
            <pc:sldMk cId="1053969278" sldId="7104"/>
            <ac:grpSpMk id="68" creationId="{E990477C-0AFA-417F-A73C-9E9521704C38}"/>
          </ac:grpSpMkLst>
        </pc:grpChg>
        <pc:graphicFrameChg chg="mod ord">
          <ac:chgData name="Ugo MANTEL" userId="2d5b7065-31bb-4181-a7f8-a73bf0c30211" providerId="ADAL" clId="{F05BB0D5-3454-45DC-8378-DA45B79D9A06}" dt="2020-10-05T14:16:27.811" v="10143"/>
          <ac:graphicFrameMkLst>
            <pc:docMk/>
            <pc:sldMk cId="1053969278" sldId="7104"/>
            <ac:graphicFrameMk id="17" creationId="{EB4F6558-37C4-4AAF-840F-170E104DDF1E}"/>
          </ac:graphicFrameMkLst>
        </pc:graphicFrameChg>
        <pc:graphicFrameChg chg="mod ord">
          <ac:chgData name="Ugo MANTEL" userId="2d5b7065-31bb-4181-a7f8-a73bf0c30211" providerId="ADAL" clId="{F05BB0D5-3454-45DC-8378-DA45B79D9A06}" dt="2020-10-05T14:16:27.801" v="10111"/>
          <ac:graphicFrameMkLst>
            <pc:docMk/>
            <pc:sldMk cId="1053969278" sldId="7104"/>
            <ac:graphicFrameMk id="60" creationId="{12A28C36-BA84-4CF8-893D-17B8E2D7D1C5}"/>
          </ac:graphicFrameMkLst>
        </pc:graphicFrameChg>
        <pc:graphicFrameChg chg="mod ord">
          <ac:chgData name="Ugo MANTEL" userId="2d5b7065-31bb-4181-a7f8-a73bf0c30211" providerId="ADAL" clId="{F05BB0D5-3454-45DC-8378-DA45B79D9A06}" dt="2020-10-05T14:16:27.789" v="10054"/>
          <ac:graphicFrameMkLst>
            <pc:docMk/>
            <pc:sldMk cId="1053969278" sldId="7104"/>
            <ac:graphicFrameMk id="90" creationId="{80E50A01-A768-4112-A8AB-7E00B35426AD}"/>
          </ac:graphicFrameMkLst>
        </pc:graphicFrameChg>
        <pc:graphicFrameChg chg="mod ord modGraphic">
          <ac:chgData name="Ugo MANTEL" userId="2d5b7065-31bb-4181-a7f8-a73bf0c30211" providerId="ADAL" clId="{F05BB0D5-3454-45DC-8378-DA45B79D9A06}" dt="2020-10-07T08:24:17.588" v="10609"/>
          <ac:graphicFrameMkLst>
            <pc:docMk/>
            <pc:sldMk cId="1053969278" sldId="7104"/>
            <ac:graphicFrameMk id="92" creationId="{A5E2EAAC-F1DB-4E02-BCD9-15F6F2418CC3}"/>
          </ac:graphicFrameMkLst>
        </pc:graphicFrameChg>
        <pc:picChg chg="mod ord">
          <ac:chgData name="Ugo MANTEL" userId="2d5b7065-31bb-4181-a7f8-a73bf0c30211" providerId="ADAL" clId="{F05BB0D5-3454-45DC-8378-DA45B79D9A06}" dt="2020-10-05T14:16:27.792" v="10073"/>
          <ac:picMkLst>
            <pc:docMk/>
            <pc:sldMk cId="1053969278" sldId="7104"/>
            <ac:picMk id="26" creationId="{4F6DEA17-DBC0-4552-B534-4E0E14484B5B}"/>
          </ac:picMkLst>
        </pc:picChg>
        <pc:picChg chg="mod ord">
          <ac:chgData name="Ugo MANTEL" userId="2d5b7065-31bb-4181-a7f8-a73bf0c30211" providerId="ADAL" clId="{F05BB0D5-3454-45DC-8378-DA45B79D9A06}" dt="2020-10-05T14:16:27.799" v="10101"/>
          <ac:picMkLst>
            <pc:docMk/>
            <pc:sldMk cId="1053969278" sldId="7104"/>
            <ac:picMk id="27" creationId="{32F4106D-AEEB-4DE5-8CA9-D0A14A1D4DFD}"/>
          </ac:picMkLst>
        </pc:picChg>
        <pc:picChg chg="mod ord">
          <ac:chgData name="Ugo MANTEL" userId="2d5b7065-31bb-4181-a7f8-a73bf0c30211" providerId="ADAL" clId="{F05BB0D5-3454-45DC-8378-DA45B79D9A06}" dt="2020-10-05T14:16:27.793" v="10075"/>
          <ac:picMkLst>
            <pc:docMk/>
            <pc:sldMk cId="1053969278" sldId="7104"/>
            <ac:picMk id="28" creationId="{0A76F6EC-287A-484C-94C5-4DB89CF06273}"/>
          </ac:picMkLst>
        </pc:picChg>
        <pc:picChg chg="mod ord">
          <ac:chgData name="Ugo MANTEL" userId="2d5b7065-31bb-4181-a7f8-a73bf0c30211" providerId="ADAL" clId="{F05BB0D5-3454-45DC-8378-DA45B79D9A06}" dt="2020-10-05T14:16:27.793" v="10077"/>
          <ac:picMkLst>
            <pc:docMk/>
            <pc:sldMk cId="1053969278" sldId="7104"/>
            <ac:picMk id="29" creationId="{7F8C1226-70DC-4841-ADCB-D4B3E85586BF}"/>
          </ac:picMkLst>
        </pc:picChg>
        <pc:picChg chg="mod ord">
          <ac:chgData name="Ugo MANTEL" userId="2d5b7065-31bb-4181-a7f8-a73bf0c30211" providerId="ADAL" clId="{F05BB0D5-3454-45DC-8378-DA45B79D9A06}" dt="2020-10-05T14:16:27.794" v="10079"/>
          <ac:picMkLst>
            <pc:docMk/>
            <pc:sldMk cId="1053969278" sldId="7104"/>
            <ac:picMk id="30" creationId="{A6724232-9824-4F1B-8FB1-21DA6D7C5CDF}"/>
          </ac:picMkLst>
        </pc:picChg>
        <pc:cxnChg chg="mod ord">
          <ac:chgData name="Ugo MANTEL" userId="2d5b7065-31bb-4181-a7f8-a73bf0c30211" providerId="ADAL" clId="{F05BB0D5-3454-45DC-8378-DA45B79D9A06}" dt="2020-10-05T14:16:27.791" v="10063"/>
          <ac:cxnSpMkLst>
            <pc:docMk/>
            <pc:sldMk cId="1053969278" sldId="7104"/>
            <ac:cxnSpMk id="5" creationId="{D5AEA529-A8B8-42C5-AA73-D90233EEBDC1}"/>
          </ac:cxnSpMkLst>
        </pc:cxnChg>
        <pc:cxnChg chg="mod ord">
          <ac:chgData name="Ugo MANTEL" userId="2d5b7065-31bb-4181-a7f8-a73bf0c30211" providerId="ADAL" clId="{F05BB0D5-3454-45DC-8378-DA45B79D9A06}" dt="2020-10-05T14:24:08.432" v="10212" actId="14100"/>
          <ac:cxnSpMkLst>
            <pc:docMk/>
            <pc:sldMk cId="1053969278" sldId="7104"/>
            <ac:cxnSpMk id="10" creationId="{6AEBEF61-856C-45A1-9EF2-F7469FFCF680}"/>
          </ac:cxnSpMkLst>
        </pc:cxnChg>
        <pc:cxnChg chg="mod ord">
          <ac:chgData name="Ugo MANTEL" userId="2d5b7065-31bb-4181-a7f8-a73bf0c30211" providerId="ADAL" clId="{F05BB0D5-3454-45DC-8378-DA45B79D9A06}" dt="2020-10-05T14:16:27.801" v="10107"/>
          <ac:cxnSpMkLst>
            <pc:docMk/>
            <pc:sldMk cId="1053969278" sldId="7104"/>
            <ac:cxnSpMk id="107" creationId="{0D10C5DE-8909-4DCC-9AB5-CFAEA8B46EF9}"/>
          </ac:cxnSpMkLst>
        </pc:cxnChg>
      </pc:sldChg>
      <pc:sldChg chg="new add del">
        <pc:chgData name="Ugo MANTEL" userId="2d5b7065-31bb-4181-a7f8-a73bf0c30211" providerId="ADAL" clId="{F05BB0D5-3454-45DC-8378-DA45B79D9A06}" dt="2020-10-05T09:41:37.586" v="8514" actId="47"/>
        <pc:sldMkLst>
          <pc:docMk/>
          <pc:sldMk cId="1259530761" sldId="7104"/>
        </pc:sldMkLst>
      </pc:sldChg>
      <pc:sldChg chg="del">
        <pc:chgData name="Ugo MANTEL" userId="2d5b7065-31bb-4181-a7f8-a73bf0c30211" providerId="ADAL" clId="{F05BB0D5-3454-45DC-8378-DA45B79D9A06}" dt="2020-10-05T14:24:13.603" v="10213" actId="47"/>
        <pc:sldMkLst>
          <pc:docMk/>
          <pc:sldMk cId="980345260" sldId="7105"/>
        </pc:sldMkLst>
      </pc:sldChg>
      <pc:sldChg chg="add del mod modTransition modShow">
        <pc:chgData name="Ugo MANTEL" userId="2d5b7065-31bb-4181-a7f8-a73bf0c30211" providerId="ADAL" clId="{F05BB0D5-3454-45DC-8378-DA45B79D9A06}" dt="2020-10-07T07:39:47.914" v="10525" actId="47"/>
        <pc:sldMkLst>
          <pc:docMk/>
          <pc:sldMk cId="3148007584" sldId="7105"/>
        </pc:sldMkLst>
      </pc:sldChg>
      <pc:sldChg chg="add del">
        <pc:chgData name="Ugo MANTEL" userId="2d5b7065-31bb-4181-a7f8-a73bf0c30211" providerId="ADAL" clId="{F05BB0D5-3454-45DC-8378-DA45B79D9A06}" dt="2020-10-07T07:14:43.990" v="10357" actId="47"/>
        <pc:sldMkLst>
          <pc:docMk/>
          <pc:sldMk cId="2142752690" sldId="7106"/>
        </pc:sldMkLst>
      </pc:sldChg>
    </pc:docChg>
  </pc:docChgLst>
  <pc:docChgLst>
    <pc:chgData name="Théodora DUPONT-COURTADE" userId="b06d61bd-3bc1-47a9-8acb-1faed11547af" providerId="ADAL" clId="{B6284D1A-71B0-43D0-A276-BF5B1397783A}"/>
    <pc:docChg chg="undo custSel addSld delSld modSld modSection">
      <pc:chgData name="Théodora DUPONT-COURTADE" userId="b06d61bd-3bc1-47a9-8acb-1faed11547af" providerId="ADAL" clId="{B6284D1A-71B0-43D0-A276-BF5B1397783A}" dt="2020-10-07T09:00:57.824" v="16616" actId="1076"/>
      <pc:docMkLst>
        <pc:docMk/>
      </pc:docMkLst>
      <pc:sldChg chg="add del mod modTransition modShow">
        <pc:chgData name="Théodora DUPONT-COURTADE" userId="b06d61bd-3bc1-47a9-8acb-1faed11547af" providerId="ADAL" clId="{B6284D1A-71B0-43D0-A276-BF5B1397783A}" dt="2020-10-02T14:02:35.841" v="11774" actId="47"/>
        <pc:sldMkLst>
          <pc:docMk/>
          <pc:sldMk cId="3081743334" sldId="446"/>
        </pc:sldMkLst>
      </pc:sldChg>
      <pc:sldChg chg="add del mod modTransition modShow">
        <pc:chgData name="Théodora DUPONT-COURTADE" userId="b06d61bd-3bc1-47a9-8acb-1faed11547af" providerId="ADAL" clId="{B6284D1A-71B0-43D0-A276-BF5B1397783A}" dt="2020-10-02T14:00:50.839" v="11431" actId="47"/>
        <pc:sldMkLst>
          <pc:docMk/>
          <pc:sldMk cId="3080599859" sldId="459"/>
        </pc:sldMkLst>
      </pc:sldChg>
      <pc:sldChg chg="add del mod modTransition modShow">
        <pc:chgData name="Théodora DUPONT-COURTADE" userId="b06d61bd-3bc1-47a9-8acb-1faed11547af" providerId="ADAL" clId="{B6284D1A-71B0-43D0-A276-BF5B1397783A}" dt="2020-10-02T14:00:54.016" v="11432" actId="47"/>
        <pc:sldMkLst>
          <pc:docMk/>
          <pc:sldMk cId="1366304144" sldId="460"/>
        </pc:sldMkLst>
      </pc:sldChg>
      <pc:sldChg chg="add del mod modTransition modShow">
        <pc:chgData name="Théodora DUPONT-COURTADE" userId="b06d61bd-3bc1-47a9-8acb-1faed11547af" providerId="ADAL" clId="{B6284D1A-71B0-43D0-A276-BF5B1397783A}" dt="2020-10-02T13:59:57.293" v="11415" actId="47"/>
        <pc:sldMkLst>
          <pc:docMk/>
          <pc:sldMk cId="1702989640" sldId="461"/>
        </pc:sldMkLst>
      </pc:sldChg>
      <pc:sldChg chg="modSp mod">
        <pc:chgData name="Théodora DUPONT-COURTADE" userId="b06d61bd-3bc1-47a9-8acb-1faed11547af" providerId="ADAL" clId="{B6284D1A-71B0-43D0-A276-BF5B1397783A}" dt="2020-10-02T07:31:42.946" v="640"/>
        <pc:sldMkLst>
          <pc:docMk/>
          <pc:sldMk cId="3808231367" sldId="1850"/>
        </pc:sldMkLst>
        <pc:spChg chg="mod">
          <ac:chgData name="Théodora DUPONT-COURTADE" userId="b06d61bd-3bc1-47a9-8acb-1faed11547af" providerId="ADAL" clId="{B6284D1A-71B0-43D0-A276-BF5B1397783A}" dt="2020-10-02T07:31:42.946" v="640"/>
          <ac:spMkLst>
            <pc:docMk/>
            <pc:sldMk cId="3808231367" sldId="1850"/>
            <ac:spMk id="41" creationId="{A1C57B7F-445F-4E16-9D97-2C83BFDDC577}"/>
          </ac:spMkLst>
        </pc:spChg>
        <pc:spChg chg="mod">
          <ac:chgData name="Théodora DUPONT-COURTADE" userId="b06d61bd-3bc1-47a9-8acb-1faed11547af" providerId="ADAL" clId="{B6284D1A-71B0-43D0-A276-BF5B1397783A}" dt="2020-10-02T07:17:14.310" v="1" actId="20577"/>
          <ac:spMkLst>
            <pc:docMk/>
            <pc:sldMk cId="3808231367" sldId="1850"/>
            <ac:spMk id="46" creationId="{33A4EF29-CBE5-4998-BA9A-365E3BB2690C}"/>
          </ac:spMkLst>
        </pc:spChg>
      </pc:sldChg>
      <pc:sldChg chg="modSp mod">
        <pc:chgData name="Théodora DUPONT-COURTADE" userId="b06d61bd-3bc1-47a9-8acb-1faed11547af" providerId="ADAL" clId="{B6284D1A-71B0-43D0-A276-BF5B1397783A}" dt="2020-10-02T07:28:46.438" v="596" actId="20577"/>
        <pc:sldMkLst>
          <pc:docMk/>
          <pc:sldMk cId="3253080124" sldId="4848"/>
        </pc:sldMkLst>
        <pc:spChg chg="mod">
          <ac:chgData name="Théodora DUPONT-COURTADE" userId="b06d61bd-3bc1-47a9-8acb-1faed11547af" providerId="ADAL" clId="{B6284D1A-71B0-43D0-A276-BF5B1397783A}" dt="2020-10-02T07:28:46.438" v="596" actId="20577"/>
          <ac:spMkLst>
            <pc:docMk/>
            <pc:sldMk cId="3253080124" sldId="4848"/>
            <ac:spMk id="106" creationId="{48B2F8A0-1C2C-46E7-B32D-FDE28E5559D7}"/>
          </ac:spMkLst>
        </pc:spChg>
      </pc:sldChg>
      <pc:sldChg chg="modSp mod">
        <pc:chgData name="Théodora DUPONT-COURTADE" userId="b06d61bd-3bc1-47a9-8acb-1faed11547af" providerId="ADAL" clId="{B6284D1A-71B0-43D0-A276-BF5B1397783A}" dt="2020-10-02T07:31:13.706" v="638" actId="20577"/>
        <pc:sldMkLst>
          <pc:docMk/>
          <pc:sldMk cId="4069988287" sldId="4893"/>
        </pc:sldMkLst>
        <pc:spChg chg="mod">
          <ac:chgData name="Théodora DUPONT-COURTADE" userId="b06d61bd-3bc1-47a9-8acb-1faed11547af" providerId="ADAL" clId="{B6284D1A-71B0-43D0-A276-BF5B1397783A}" dt="2020-10-02T07:31:02.768" v="624" actId="20577"/>
          <ac:spMkLst>
            <pc:docMk/>
            <pc:sldMk cId="4069988287" sldId="4893"/>
            <ac:spMk id="161" creationId="{ADEE468E-CAF1-42F0-82EA-AE61F190D2D8}"/>
          </ac:spMkLst>
        </pc:spChg>
        <pc:spChg chg="mod">
          <ac:chgData name="Théodora DUPONT-COURTADE" userId="b06d61bd-3bc1-47a9-8acb-1faed11547af" providerId="ADAL" clId="{B6284D1A-71B0-43D0-A276-BF5B1397783A}" dt="2020-10-02T07:31:08.644" v="634" actId="20577"/>
          <ac:spMkLst>
            <pc:docMk/>
            <pc:sldMk cId="4069988287" sldId="4893"/>
            <ac:spMk id="182" creationId="{F2BB713C-4478-4609-BA97-F1237E266F9C}"/>
          </ac:spMkLst>
        </pc:spChg>
        <pc:spChg chg="mod">
          <ac:chgData name="Théodora DUPONT-COURTADE" userId="b06d61bd-3bc1-47a9-8acb-1faed11547af" providerId="ADAL" clId="{B6284D1A-71B0-43D0-A276-BF5B1397783A}" dt="2020-10-02T07:31:13.706" v="638" actId="20577"/>
          <ac:spMkLst>
            <pc:docMk/>
            <pc:sldMk cId="4069988287" sldId="4893"/>
            <ac:spMk id="186" creationId="{0CC9D074-1D9F-4B2E-98A7-A0A404BCDFE7}"/>
          </ac:spMkLst>
        </pc:spChg>
      </pc:sldChg>
      <pc:sldChg chg="modSp">
        <pc:chgData name="Théodora DUPONT-COURTADE" userId="b06d61bd-3bc1-47a9-8acb-1faed11547af" providerId="ADAL" clId="{B6284D1A-71B0-43D0-A276-BF5B1397783A}" dt="2020-10-02T12:51:14.888" v="5950"/>
        <pc:sldMkLst>
          <pc:docMk/>
          <pc:sldMk cId="2013015705" sldId="4905"/>
        </pc:sldMkLst>
        <pc:spChg chg="mod">
          <ac:chgData name="Théodora DUPONT-COURTADE" userId="b06d61bd-3bc1-47a9-8acb-1faed11547af" providerId="ADAL" clId="{B6284D1A-71B0-43D0-A276-BF5B1397783A}" dt="2020-10-02T12:51:14.888" v="5950"/>
          <ac:spMkLst>
            <pc:docMk/>
            <pc:sldMk cId="2013015705" sldId="4905"/>
            <ac:spMk id="3" creationId="{429E0BAD-778C-492F-9735-F7AB2249CA4A}"/>
          </ac:spMkLst>
        </pc:spChg>
        <pc:spChg chg="mod">
          <ac:chgData name="Théodora DUPONT-COURTADE" userId="b06d61bd-3bc1-47a9-8acb-1faed11547af" providerId="ADAL" clId="{B6284D1A-71B0-43D0-A276-BF5B1397783A}" dt="2020-10-02T12:51:14.888" v="5950"/>
          <ac:spMkLst>
            <pc:docMk/>
            <pc:sldMk cId="2013015705" sldId="4905"/>
            <ac:spMk id="11" creationId="{47616165-DDD5-44ED-B592-B1C71E3C74B2}"/>
          </ac:spMkLst>
        </pc:spChg>
        <pc:spChg chg="mod">
          <ac:chgData name="Théodora DUPONT-COURTADE" userId="b06d61bd-3bc1-47a9-8acb-1faed11547af" providerId="ADAL" clId="{B6284D1A-71B0-43D0-A276-BF5B1397783A}" dt="2020-10-02T12:51:14.888" v="5950"/>
          <ac:spMkLst>
            <pc:docMk/>
            <pc:sldMk cId="2013015705" sldId="4905"/>
            <ac:spMk id="117" creationId="{F4531E17-053F-40C1-AF48-6B1D062F728D}"/>
          </ac:spMkLst>
        </pc:spChg>
        <pc:spChg chg="mod">
          <ac:chgData name="Théodora DUPONT-COURTADE" userId="b06d61bd-3bc1-47a9-8acb-1faed11547af" providerId="ADAL" clId="{B6284D1A-71B0-43D0-A276-BF5B1397783A}" dt="2020-10-02T12:50:55.801" v="5949"/>
          <ac:spMkLst>
            <pc:docMk/>
            <pc:sldMk cId="2013015705" sldId="4905"/>
            <ac:spMk id="135" creationId="{6773EAC1-C8AB-4D85-AF3D-D0589D0C29F2}"/>
          </ac:spMkLst>
        </pc:spChg>
      </pc:sldChg>
      <pc:sldChg chg="addSp delSp modSp mod">
        <pc:chgData name="Théodora DUPONT-COURTADE" userId="b06d61bd-3bc1-47a9-8acb-1faed11547af" providerId="ADAL" clId="{B6284D1A-71B0-43D0-A276-BF5B1397783A}" dt="2020-10-07T08:57:04.275" v="16553" actId="6549"/>
        <pc:sldMkLst>
          <pc:docMk/>
          <pc:sldMk cId="1092298302" sldId="4910"/>
        </pc:sldMkLst>
        <pc:spChg chg="del">
          <ac:chgData name="Théodora DUPONT-COURTADE" userId="b06d61bd-3bc1-47a9-8acb-1faed11547af" providerId="ADAL" clId="{B6284D1A-71B0-43D0-A276-BF5B1397783A}" dt="2020-10-02T12:01:04.698" v="4349" actId="478"/>
          <ac:spMkLst>
            <pc:docMk/>
            <pc:sldMk cId="1092298302" sldId="4910"/>
            <ac:spMk id="2" creationId="{28DC3626-8643-42B2-B1D2-E1A3CDF1D9E2}"/>
          </ac:spMkLst>
        </pc:spChg>
        <pc:spChg chg="add mod">
          <ac:chgData name="Théodora DUPONT-COURTADE" userId="b06d61bd-3bc1-47a9-8acb-1faed11547af" providerId="ADAL" clId="{B6284D1A-71B0-43D0-A276-BF5B1397783A}" dt="2020-10-02T14:57:28.985" v="15278" actId="20577"/>
          <ac:spMkLst>
            <pc:docMk/>
            <pc:sldMk cId="1092298302" sldId="4910"/>
            <ac:spMk id="3" creationId="{486C3A30-C550-4E3D-A6DA-C7934EAAADA5}"/>
          </ac:spMkLst>
        </pc:spChg>
        <pc:spChg chg="add mod">
          <ac:chgData name="Théodora DUPONT-COURTADE" userId="b06d61bd-3bc1-47a9-8acb-1faed11547af" providerId="ADAL" clId="{B6284D1A-71B0-43D0-A276-BF5B1397783A}" dt="2020-10-05T14:40:29.832" v="16304" actId="6549"/>
          <ac:spMkLst>
            <pc:docMk/>
            <pc:sldMk cId="1092298302" sldId="4910"/>
            <ac:spMk id="14" creationId="{50ED9426-0A53-4E0D-85C2-55BF70EFBE99}"/>
          </ac:spMkLst>
        </pc:spChg>
        <pc:spChg chg="add mod">
          <ac:chgData name="Théodora DUPONT-COURTADE" userId="b06d61bd-3bc1-47a9-8acb-1faed11547af" providerId="ADAL" clId="{B6284D1A-71B0-43D0-A276-BF5B1397783A}" dt="2020-10-05T14:40:22.748" v="16302" actId="14100"/>
          <ac:spMkLst>
            <pc:docMk/>
            <pc:sldMk cId="1092298302" sldId="4910"/>
            <ac:spMk id="16" creationId="{ABE37E28-5CDF-404B-987D-8CA7D4215FCE}"/>
          </ac:spMkLst>
        </pc:spChg>
        <pc:spChg chg="mod">
          <ac:chgData name="Théodora DUPONT-COURTADE" userId="b06d61bd-3bc1-47a9-8acb-1faed11547af" providerId="ADAL" clId="{B6284D1A-71B0-43D0-A276-BF5B1397783A}" dt="2020-10-07T08:57:04.275" v="16553" actId="6549"/>
          <ac:spMkLst>
            <pc:docMk/>
            <pc:sldMk cId="1092298302" sldId="4910"/>
            <ac:spMk id="17" creationId="{B6E2BF46-448F-4046-BDE6-055311F7B6C9}"/>
          </ac:spMkLst>
        </pc:spChg>
      </pc:sldChg>
      <pc:sldChg chg="modSp mod">
        <pc:chgData name="Théodora DUPONT-COURTADE" userId="b06d61bd-3bc1-47a9-8acb-1faed11547af" providerId="ADAL" clId="{B6284D1A-71B0-43D0-A276-BF5B1397783A}" dt="2020-10-07T08:59:38.802" v="16608" actId="20577"/>
        <pc:sldMkLst>
          <pc:docMk/>
          <pc:sldMk cId="434245041" sldId="4996"/>
        </pc:sldMkLst>
        <pc:spChg chg="mod">
          <ac:chgData name="Théodora DUPONT-COURTADE" userId="b06d61bd-3bc1-47a9-8acb-1faed11547af" providerId="ADAL" clId="{B6284D1A-71B0-43D0-A276-BF5B1397783A}" dt="2020-10-02T12:50:55.801" v="5949"/>
          <ac:spMkLst>
            <pc:docMk/>
            <pc:sldMk cId="434245041" sldId="4996"/>
            <ac:spMk id="61" creationId="{5ED89B92-DCA3-447A-8D7C-E83BB83C0FC5}"/>
          </ac:spMkLst>
        </pc:spChg>
        <pc:spChg chg="mod">
          <ac:chgData name="Théodora DUPONT-COURTADE" userId="b06d61bd-3bc1-47a9-8acb-1faed11547af" providerId="ADAL" clId="{B6284D1A-71B0-43D0-A276-BF5B1397783A}" dt="2020-10-07T08:59:38.802" v="16608" actId="20577"/>
          <ac:spMkLst>
            <pc:docMk/>
            <pc:sldMk cId="434245041" sldId="4996"/>
            <ac:spMk id="62" creationId="{4F068F14-C657-460F-8E71-33B81F38B03E}"/>
          </ac:spMkLst>
        </pc:spChg>
      </pc:sldChg>
      <pc:sldChg chg="modSp mod">
        <pc:chgData name="Théodora DUPONT-COURTADE" userId="b06d61bd-3bc1-47a9-8acb-1faed11547af" providerId="ADAL" clId="{B6284D1A-71B0-43D0-A276-BF5B1397783A}" dt="2020-10-02T12:51:14.888" v="5950"/>
        <pc:sldMkLst>
          <pc:docMk/>
          <pc:sldMk cId="2560867724" sldId="4999"/>
        </pc:sldMkLst>
        <pc:spChg chg="mod">
          <ac:chgData name="Théodora DUPONT-COURTADE" userId="b06d61bd-3bc1-47a9-8acb-1faed11547af" providerId="ADAL" clId="{B6284D1A-71B0-43D0-A276-BF5B1397783A}" dt="2020-10-02T12:50:55.801" v="5949"/>
          <ac:spMkLst>
            <pc:docMk/>
            <pc:sldMk cId="2560867724" sldId="4999"/>
            <ac:spMk id="2" creationId="{A7667494-4501-4111-9706-BD4EF61979EB}"/>
          </ac:spMkLst>
        </pc:spChg>
        <pc:spChg chg="mod">
          <ac:chgData name="Théodora DUPONT-COURTADE" userId="b06d61bd-3bc1-47a9-8acb-1faed11547af" providerId="ADAL" clId="{B6284D1A-71B0-43D0-A276-BF5B1397783A}" dt="2020-10-02T07:30:56.355" v="623" actId="20577"/>
          <ac:spMkLst>
            <pc:docMk/>
            <pc:sldMk cId="2560867724" sldId="4999"/>
            <ac:spMk id="148" creationId="{7E3B7961-0B6D-4E30-83E2-1EC54419A51E}"/>
          </ac:spMkLst>
        </pc:spChg>
        <pc:spChg chg="mod">
          <ac:chgData name="Théodora DUPONT-COURTADE" userId="b06d61bd-3bc1-47a9-8acb-1faed11547af" providerId="ADAL" clId="{B6284D1A-71B0-43D0-A276-BF5B1397783A}" dt="2020-10-02T12:50:55.801" v="5949"/>
          <ac:spMkLst>
            <pc:docMk/>
            <pc:sldMk cId="2560867724" sldId="4999"/>
            <ac:spMk id="172" creationId="{B314F272-0D50-4AD7-A487-7D85627525B3}"/>
          </ac:spMkLst>
        </pc:spChg>
        <pc:spChg chg="mod">
          <ac:chgData name="Théodora DUPONT-COURTADE" userId="b06d61bd-3bc1-47a9-8acb-1faed11547af" providerId="ADAL" clId="{B6284D1A-71B0-43D0-A276-BF5B1397783A}" dt="2020-10-02T12:51:14.888" v="5950"/>
          <ac:spMkLst>
            <pc:docMk/>
            <pc:sldMk cId="2560867724" sldId="4999"/>
            <ac:spMk id="174" creationId="{BD2EAC60-8BFC-416A-8F45-D269F1B6C5AF}"/>
          </ac:spMkLst>
        </pc:spChg>
      </pc:sldChg>
      <pc:sldChg chg="modSp">
        <pc:chgData name="Théodora DUPONT-COURTADE" userId="b06d61bd-3bc1-47a9-8acb-1faed11547af" providerId="ADAL" clId="{B6284D1A-71B0-43D0-A276-BF5B1397783A}" dt="2020-10-02T12:50:55.801" v="5949"/>
        <pc:sldMkLst>
          <pc:docMk/>
          <pc:sldMk cId="2296975917" sldId="5834"/>
        </pc:sldMkLst>
        <pc:spChg chg="mod">
          <ac:chgData name="Théodora DUPONT-COURTADE" userId="b06d61bd-3bc1-47a9-8acb-1faed11547af" providerId="ADAL" clId="{B6284D1A-71B0-43D0-A276-BF5B1397783A}" dt="2020-10-02T12:50:55.801" v="5949"/>
          <ac:spMkLst>
            <pc:docMk/>
            <pc:sldMk cId="2296975917" sldId="5834"/>
            <ac:spMk id="4" creationId="{75FE8F21-E3E3-4251-AE38-E7F5ADF23A80}"/>
          </ac:spMkLst>
        </pc:spChg>
      </pc:sldChg>
      <pc:sldChg chg="modSp">
        <pc:chgData name="Théodora DUPONT-COURTADE" userId="b06d61bd-3bc1-47a9-8acb-1faed11547af" providerId="ADAL" clId="{B6284D1A-71B0-43D0-A276-BF5B1397783A}" dt="2020-10-02T12:51:14.888" v="5950"/>
        <pc:sldMkLst>
          <pc:docMk/>
          <pc:sldMk cId="2248408134" sldId="5838"/>
        </pc:sldMkLst>
        <pc:spChg chg="mod">
          <ac:chgData name="Théodora DUPONT-COURTADE" userId="b06d61bd-3bc1-47a9-8acb-1faed11547af" providerId="ADAL" clId="{B6284D1A-71B0-43D0-A276-BF5B1397783A}" dt="2020-10-02T12:51:14.888" v="5950"/>
          <ac:spMkLst>
            <pc:docMk/>
            <pc:sldMk cId="2248408134" sldId="5838"/>
            <ac:spMk id="4" creationId="{F0A06676-82C0-4F43-87A1-A34EA0E8CFAF}"/>
          </ac:spMkLst>
        </pc:spChg>
      </pc:sldChg>
      <pc:sldChg chg="modSp mod">
        <pc:chgData name="Théodora DUPONT-COURTADE" userId="b06d61bd-3bc1-47a9-8acb-1faed11547af" providerId="ADAL" clId="{B6284D1A-71B0-43D0-A276-BF5B1397783A}" dt="2020-10-05T14:36:03.167" v="15664" actId="6549"/>
        <pc:sldMkLst>
          <pc:docMk/>
          <pc:sldMk cId="2217405137" sldId="5840"/>
        </pc:sldMkLst>
        <pc:spChg chg="mod">
          <ac:chgData name="Théodora DUPONT-COURTADE" userId="b06d61bd-3bc1-47a9-8acb-1faed11547af" providerId="ADAL" clId="{B6284D1A-71B0-43D0-A276-BF5B1397783A}" dt="2020-10-05T14:36:03.167" v="15664" actId="6549"/>
          <ac:spMkLst>
            <pc:docMk/>
            <pc:sldMk cId="2217405137" sldId="5840"/>
            <ac:spMk id="15" creationId="{0392A238-B98B-4960-8579-91C4926C8EF2}"/>
          </ac:spMkLst>
        </pc:spChg>
        <pc:spChg chg="mod">
          <ac:chgData name="Théodora DUPONT-COURTADE" userId="b06d61bd-3bc1-47a9-8acb-1faed11547af" providerId="ADAL" clId="{B6284D1A-71B0-43D0-A276-BF5B1397783A}" dt="2020-10-05T14:35:50.897" v="15662" actId="6549"/>
          <ac:spMkLst>
            <pc:docMk/>
            <pc:sldMk cId="2217405137" sldId="5840"/>
            <ac:spMk id="24" creationId="{1C74A7EC-1176-4A72-B7ED-26DE0949B229}"/>
          </ac:spMkLst>
        </pc:spChg>
      </pc:sldChg>
      <pc:sldChg chg="modSp">
        <pc:chgData name="Théodora DUPONT-COURTADE" userId="b06d61bd-3bc1-47a9-8acb-1faed11547af" providerId="ADAL" clId="{B6284D1A-71B0-43D0-A276-BF5B1397783A}" dt="2020-10-02T12:50:55.801" v="5949"/>
        <pc:sldMkLst>
          <pc:docMk/>
          <pc:sldMk cId="294017909" sldId="5851"/>
        </pc:sldMkLst>
        <pc:spChg chg="mod">
          <ac:chgData name="Théodora DUPONT-COURTADE" userId="b06d61bd-3bc1-47a9-8acb-1faed11547af" providerId="ADAL" clId="{B6284D1A-71B0-43D0-A276-BF5B1397783A}" dt="2020-10-02T12:50:55.801" v="5949"/>
          <ac:spMkLst>
            <pc:docMk/>
            <pc:sldMk cId="294017909" sldId="5851"/>
            <ac:spMk id="2" creationId="{7D7E6DAC-9585-4765-BAA6-94FE40B43AD2}"/>
          </ac:spMkLst>
        </pc:spChg>
        <pc:spChg chg="mod">
          <ac:chgData name="Théodora DUPONT-COURTADE" userId="b06d61bd-3bc1-47a9-8acb-1faed11547af" providerId="ADAL" clId="{B6284D1A-71B0-43D0-A276-BF5B1397783A}" dt="2020-10-02T12:50:55.801" v="5949"/>
          <ac:spMkLst>
            <pc:docMk/>
            <pc:sldMk cId="294017909" sldId="5851"/>
            <ac:spMk id="33" creationId="{F6710FAA-60AB-4349-B63B-A90EE8BD584E}"/>
          </ac:spMkLst>
        </pc:spChg>
        <pc:spChg chg="mod">
          <ac:chgData name="Théodora DUPONT-COURTADE" userId="b06d61bd-3bc1-47a9-8acb-1faed11547af" providerId="ADAL" clId="{B6284D1A-71B0-43D0-A276-BF5B1397783A}" dt="2020-10-02T12:50:55.801" v="5949"/>
          <ac:spMkLst>
            <pc:docMk/>
            <pc:sldMk cId="294017909" sldId="5851"/>
            <ac:spMk id="54" creationId="{1CAF0848-A474-4030-B880-0C02F74BB611}"/>
          </ac:spMkLst>
        </pc:spChg>
      </pc:sldChg>
      <pc:sldChg chg="modSp mod">
        <pc:chgData name="Théodora DUPONT-COURTADE" userId="b06d61bd-3bc1-47a9-8acb-1faed11547af" providerId="ADAL" clId="{B6284D1A-71B0-43D0-A276-BF5B1397783A}" dt="2020-10-02T07:28:37.348" v="595" actId="20577"/>
        <pc:sldMkLst>
          <pc:docMk/>
          <pc:sldMk cId="574623477" sldId="6630"/>
        </pc:sldMkLst>
        <pc:spChg chg="mod">
          <ac:chgData name="Théodora DUPONT-COURTADE" userId="b06d61bd-3bc1-47a9-8acb-1faed11547af" providerId="ADAL" clId="{B6284D1A-71B0-43D0-A276-BF5B1397783A}" dt="2020-10-02T07:28:37.348" v="595" actId="20577"/>
          <ac:spMkLst>
            <pc:docMk/>
            <pc:sldMk cId="574623477" sldId="6630"/>
            <ac:spMk id="141" creationId="{70E6DDD4-798C-42C9-ACE1-BCEF32CF65AF}"/>
          </ac:spMkLst>
        </pc:spChg>
      </pc:sldChg>
      <pc:sldChg chg="modSp">
        <pc:chgData name="Théodora DUPONT-COURTADE" userId="b06d61bd-3bc1-47a9-8acb-1faed11547af" providerId="ADAL" clId="{B6284D1A-71B0-43D0-A276-BF5B1397783A}" dt="2020-10-02T12:51:14.888" v="5950"/>
        <pc:sldMkLst>
          <pc:docMk/>
          <pc:sldMk cId="588035919" sldId="6632"/>
        </pc:sldMkLst>
        <pc:spChg chg="mod">
          <ac:chgData name="Théodora DUPONT-COURTADE" userId="b06d61bd-3bc1-47a9-8acb-1faed11547af" providerId="ADAL" clId="{B6284D1A-71B0-43D0-A276-BF5B1397783A}" dt="2020-10-02T12:51:14.888" v="5950"/>
          <ac:spMkLst>
            <pc:docMk/>
            <pc:sldMk cId="588035919" sldId="6632"/>
            <ac:spMk id="37" creationId="{56D89242-0B0F-4AF3-BA64-33D2293FE228}"/>
          </ac:spMkLst>
        </pc:spChg>
      </pc:sldChg>
      <pc:sldChg chg="modSp">
        <pc:chgData name="Théodora DUPONT-COURTADE" userId="b06d61bd-3bc1-47a9-8acb-1faed11547af" providerId="ADAL" clId="{B6284D1A-71B0-43D0-A276-BF5B1397783A}" dt="2020-10-02T12:50:55.801" v="5949"/>
        <pc:sldMkLst>
          <pc:docMk/>
          <pc:sldMk cId="1303992329" sldId="6647"/>
        </pc:sldMkLst>
        <pc:spChg chg="mod">
          <ac:chgData name="Théodora DUPONT-COURTADE" userId="b06d61bd-3bc1-47a9-8acb-1faed11547af" providerId="ADAL" clId="{B6284D1A-71B0-43D0-A276-BF5B1397783A}" dt="2020-10-02T12:50:55.801" v="5949"/>
          <ac:spMkLst>
            <pc:docMk/>
            <pc:sldMk cId="1303992329" sldId="6647"/>
            <ac:spMk id="4" creationId="{75FE8F21-E3E3-4251-AE38-E7F5ADF23A80}"/>
          </ac:spMkLst>
        </pc:spChg>
      </pc:sldChg>
      <pc:sldChg chg="modSp">
        <pc:chgData name="Théodora DUPONT-COURTADE" userId="b06d61bd-3bc1-47a9-8acb-1faed11547af" providerId="ADAL" clId="{B6284D1A-71B0-43D0-A276-BF5B1397783A}" dt="2020-10-02T12:50:55.801" v="5949"/>
        <pc:sldMkLst>
          <pc:docMk/>
          <pc:sldMk cId="3001211257" sldId="6651"/>
        </pc:sldMkLst>
        <pc:spChg chg="mod">
          <ac:chgData name="Théodora DUPONT-COURTADE" userId="b06d61bd-3bc1-47a9-8acb-1faed11547af" providerId="ADAL" clId="{B6284D1A-71B0-43D0-A276-BF5B1397783A}" dt="2020-10-02T12:50:55.801" v="5949"/>
          <ac:spMkLst>
            <pc:docMk/>
            <pc:sldMk cId="3001211257" sldId="6651"/>
            <ac:spMk id="7" creationId="{ADACB22F-FE35-42D2-A230-417D29672BEF}"/>
          </ac:spMkLst>
        </pc:spChg>
      </pc:sldChg>
      <pc:sldChg chg="modSp">
        <pc:chgData name="Théodora DUPONT-COURTADE" userId="b06d61bd-3bc1-47a9-8acb-1faed11547af" providerId="ADAL" clId="{B6284D1A-71B0-43D0-A276-BF5B1397783A}" dt="2020-10-02T12:50:55.801" v="5949"/>
        <pc:sldMkLst>
          <pc:docMk/>
          <pc:sldMk cId="2838887486" sldId="6661"/>
        </pc:sldMkLst>
        <pc:spChg chg="mod">
          <ac:chgData name="Théodora DUPONT-COURTADE" userId="b06d61bd-3bc1-47a9-8acb-1faed11547af" providerId="ADAL" clId="{B6284D1A-71B0-43D0-A276-BF5B1397783A}" dt="2020-10-02T12:50:55.801" v="5949"/>
          <ac:spMkLst>
            <pc:docMk/>
            <pc:sldMk cId="2838887486" sldId="6661"/>
            <ac:spMk id="9" creationId="{624CC054-0A35-4E7C-A671-C465564E0783}"/>
          </ac:spMkLst>
        </pc:spChg>
      </pc:sldChg>
      <pc:sldChg chg="modSp">
        <pc:chgData name="Théodora DUPONT-COURTADE" userId="b06d61bd-3bc1-47a9-8acb-1faed11547af" providerId="ADAL" clId="{B6284D1A-71B0-43D0-A276-BF5B1397783A}" dt="2020-10-02T12:50:55.801" v="5949"/>
        <pc:sldMkLst>
          <pc:docMk/>
          <pc:sldMk cId="3186716976" sldId="6662"/>
        </pc:sldMkLst>
        <pc:spChg chg="mod">
          <ac:chgData name="Théodora DUPONT-COURTADE" userId="b06d61bd-3bc1-47a9-8acb-1faed11547af" providerId="ADAL" clId="{B6284D1A-71B0-43D0-A276-BF5B1397783A}" dt="2020-10-02T12:50:55.801" v="5949"/>
          <ac:spMkLst>
            <pc:docMk/>
            <pc:sldMk cId="3186716976" sldId="6662"/>
            <ac:spMk id="9" creationId="{07C3F887-6FB4-428D-9074-A2DCF97F6A43}"/>
          </ac:spMkLst>
        </pc:spChg>
      </pc:sldChg>
      <pc:sldChg chg="modSp">
        <pc:chgData name="Théodora DUPONT-COURTADE" userId="b06d61bd-3bc1-47a9-8acb-1faed11547af" providerId="ADAL" clId="{B6284D1A-71B0-43D0-A276-BF5B1397783A}" dt="2020-10-02T12:51:14.888" v="5950"/>
        <pc:sldMkLst>
          <pc:docMk/>
          <pc:sldMk cId="2982811336" sldId="6703"/>
        </pc:sldMkLst>
        <pc:spChg chg="mod">
          <ac:chgData name="Théodora DUPONT-COURTADE" userId="b06d61bd-3bc1-47a9-8acb-1faed11547af" providerId="ADAL" clId="{B6284D1A-71B0-43D0-A276-BF5B1397783A}" dt="2020-10-02T12:51:14.888" v="5950"/>
          <ac:spMkLst>
            <pc:docMk/>
            <pc:sldMk cId="2982811336" sldId="6703"/>
            <ac:spMk id="2" creationId="{27A24D8A-BD67-454E-B336-4A9DD9C3559E}"/>
          </ac:spMkLst>
        </pc:spChg>
        <pc:spChg chg="mod">
          <ac:chgData name="Théodora DUPONT-COURTADE" userId="b06d61bd-3bc1-47a9-8acb-1faed11547af" providerId="ADAL" clId="{B6284D1A-71B0-43D0-A276-BF5B1397783A}" dt="2020-10-02T12:51:14.888" v="5950"/>
          <ac:spMkLst>
            <pc:docMk/>
            <pc:sldMk cId="2982811336" sldId="6703"/>
            <ac:spMk id="15" creationId="{E6F03B4F-F54A-453B-AE62-9B4E72EA2071}"/>
          </ac:spMkLst>
        </pc:spChg>
        <pc:spChg chg="mod">
          <ac:chgData name="Théodora DUPONT-COURTADE" userId="b06d61bd-3bc1-47a9-8acb-1faed11547af" providerId="ADAL" clId="{B6284D1A-71B0-43D0-A276-BF5B1397783A}" dt="2020-10-02T12:51:14.888" v="5950"/>
          <ac:spMkLst>
            <pc:docMk/>
            <pc:sldMk cId="2982811336" sldId="6703"/>
            <ac:spMk id="19" creationId="{E0E01A3C-1D0F-47C0-AE0D-E5E6CB569D7A}"/>
          </ac:spMkLst>
        </pc:spChg>
        <pc:spChg chg="mod">
          <ac:chgData name="Théodora DUPONT-COURTADE" userId="b06d61bd-3bc1-47a9-8acb-1faed11547af" providerId="ADAL" clId="{B6284D1A-71B0-43D0-A276-BF5B1397783A}" dt="2020-10-02T12:50:55.801" v="5949"/>
          <ac:spMkLst>
            <pc:docMk/>
            <pc:sldMk cId="2982811336" sldId="6703"/>
            <ac:spMk id="42" creationId="{DEFE4EE6-4B7A-4A2B-BE6C-E722B1F06675}"/>
          </ac:spMkLst>
        </pc:spChg>
      </pc:sldChg>
      <pc:sldChg chg="modSp mod">
        <pc:chgData name="Théodora DUPONT-COURTADE" userId="b06d61bd-3bc1-47a9-8acb-1faed11547af" providerId="ADAL" clId="{B6284D1A-71B0-43D0-A276-BF5B1397783A}" dt="2020-10-02T12:50:55.801" v="5949"/>
        <pc:sldMkLst>
          <pc:docMk/>
          <pc:sldMk cId="1770045098" sldId="6727"/>
        </pc:sldMkLst>
        <pc:spChg chg="mod">
          <ac:chgData name="Théodora DUPONT-COURTADE" userId="b06d61bd-3bc1-47a9-8acb-1faed11547af" providerId="ADAL" clId="{B6284D1A-71B0-43D0-A276-BF5B1397783A}" dt="2020-10-02T12:50:55.801" v="5949"/>
          <ac:spMkLst>
            <pc:docMk/>
            <pc:sldMk cId="1770045098" sldId="6727"/>
            <ac:spMk id="2" creationId="{8B209259-435B-45EF-8E08-C29099D248A8}"/>
          </ac:spMkLst>
        </pc:spChg>
        <pc:spChg chg="mod">
          <ac:chgData name="Théodora DUPONT-COURTADE" userId="b06d61bd-3bc1-47a9-8acb-1faed11547af" providerId="ADAL" clId="{B6284D1A-71B0-43D0-A276-BF5B1397783A}" dt="2020-10-02T12:50:55.801" v="5949"/>
          <ac:spMkLst>
            <pc:docMk/>
            <pc:sldMk cId="1770045098" sldId="6727"/>
            <ac:spMk id="34" creationId="{25BFF712-FBF1-4DF2-AD8D-6466B435F2D6}"/>
          </ac:spMkLst>
        </pc:spChg>
        <pc:spChg chg="mod">
          <ac:chgData name="Théodora DUPONT-COURTADE" userId="b06d61bd-3bc1-47a9-8acb-1faed11547af" providerId="ADAL" clId="{B6284D1A-71B0-43D0-A276-BF5B1397783A}" dt="2020-10-02T12:50:55.801" v="5949"/>
          <ac:spMkLst>
            <pc:docMk/>
            <pc:sldMk cId="1770045098" sldId="6727"/>
            <ac:spMk id="37" creationId="{EEFDAF66-2DCD-4701-A7CA-13CA717DD2C6}"/>
          </ac:spMkLst>
        </pc:spChg>
      </pc:sldChg>
      <pc:sldChg chg="modSp">
        <pc:chgData name="Théodora DUPONT-COURTADE" userId="b06d61bd-3bc1-47a9-8acb-1faed11547af" providerId="ADAL" clId="{B6284D1A-71B0-43D0-A276-BF5B1397783A}" dt="2020-10-02T12:51:14.888" v="5950"/>
        <pc:sldMkLst>
          <pc:docMk/>
          <pc:sldMk cId="4144320212" sldId="6728"/>
        </pc:sldMkLst>
        <pc:spChg chg="mod">
          <ac:chgData name="Théodora DUPONT-COURTADE" userId="b06d61bd-3bc1-47a9-8acb-1faed11547af" providerId="ADAL" clId="{B6284D1A-71B0-43D0-A276-BF5B1397783A}" dt="2020-10-02T12:50:42.297" v="5948"/>
          <ac:spMkLst>
            <pc:docMk/>
            <pc:sldMk cId="4144320212" sldId="6728"/>
            <ac:spMk id="3" creationId="{8F058B6E-C761-47C9-BA8C-843DB87057BC}"/>
          </ac:spMkLst>
        </pc:spChg>
        <pc:spChg chg="mod">
          <ac:chgData name="Théodora DUPONT-COURTADE" userId="b06d61bd-3bc1-47a9-8acb-1faed11547af" providerId="ADAL" clId="{B6284D1A-71B0-43D0-A276-BF5B1397783A}" dt="2020-10-02T12:51:14.888" v="5950"/>
          <ac:spMkLst>
            <pc:docMk/>
            <pc:sldMk cId="4144320212" sldId="6728"/>
            <ac:spMk id="24" creationId="{EC237594-AD3D-454F-81E3-8E85A2348146}"/>
          </ac:spMkLst>
        </pc:spChg>
        <pc:spChg chg="mod">
          <ac:chgData name="Théodora DUPONT-COURTADE" userId="b06d61bd-3bc1-47a9-8acb-1faed11547af" providerId="ADAL" clId="{B6284D1A-71B0-43D0-A276-BF5B1397783A}" dt="2020-10-02T12:51:14.888" v="5950"/>
          <ac:spMkLst>
            <pc:docMk/>
            <pc:sldMk cId="4144320212" sldId="6728"/>
            <ac:spMk id="25" creationId="{F6363530-702C-4B11-956C-D997289455DE}"/>
          </ac:spMkLst>
        </pc:spChg>
        <pc:spChg chg="mod">
          <ac:chgData name="Théodora DUPONT-COURTADE" userId="b06d61bd-3bc1-47a9-8acb-1faed11547af" providerId="ADAL" clId="{B6284D1A-71B0-43D0-A276-BF5B1397783A}" dt="2020-10-02T12:51:14.888" v="5950"/>
          <ac:spMkLst>
            <pc:docMk/>
            <pc:sldMk cId="4144320212" sldId="6728"/>
            <ac:spMk id="26" creationId="{8A586765-5E7F-493F-88A0-837E50CEF9C7}"/>
          </ac:spMkLst>
        </pc:spChg>
        <pc:spChg chg="mod">
          <ac:chgData name="Théodora DUPONT-COURTADE" userId="b06d61bd-3bc1-47a9-8acb-1faed11547af" providerId="ADAL" clId="{B6284D1A-71B0-43D0-A276-BF5B1397783A}" dt="2020-10-02T12:51:14.888" v="5950"/>
          <ac:spMkLst>
            <pc:docMk/>
            <pc:sldMk cId="4144320212" sldId="6728"/>
            <ac:spMk id="30" creationId="{915DE561-E594-422C-ABEF-BE658ED3202A}"/>
          </ac:spMkLst>
        </pc:spChg>
        <pc:spChg chg="mod">
          <ac:chgData name="Théodora DUPONT-COURTADE" userId="b06d61bd-3bc1-47a9-8acb-1faed11547af" providerId="ADAL" clId="{B6284D1A-71B0-43D0-A276-BF5B1397783A}" dt="2020-10-02T12:51:14.888" v="5950"/>
          <ac:spMkLst>
            <pc:docMk/>
            <pc:sldMk cId="4144320212" sldId="6728"/>
            <ac:spMk id="31" creationId="{CF10381D-2B0D-4F0D-A107-DE4398C077FC}"/>
          </ac:spMkLst>
        </pc:spChg>
        <pc:spChg chg="mod">
          <ac:chgData name="Théodora DUPONT-COURTADE" userId="b06d61bd-3bc1-47a9-8acb-1faed11547af" providerId="ADAL" clId="{B6284D1A-71B0-43D0-A276-BF5B1397783A}" dt="2020-10-02T12:50:55.801" v="5949"/>
          <ac:spMkLst>
            <pc:docMk/>
            <pc:sldMk cId="4144320212" sldId="6728"/>
            <ac:spMk id="46" creationId="{8A3E495C-BBCF-4977-93DF-67D88835594B}"/>
          </ac:spMkLst>
        </pc:spChg>
        <pc:spChg chg="mod">
          <ac:chgData name="Théodora DUPONT-COURTADE" userId="b06d61bd-3bc1-47a9-8acb-1faed11547af" providerId="ADAL" clId="{B6284D1A-71B0-43D0-A276-BF5B1397783A}" dt="2020-10-02T12:50:55.801" v="5949"/>
          <ac:spMkLst>
            <pc:docMk/>
            <pc:sldMk cId="4144320212" sldId="6728"/>
            <ac:spMk id="47" creationId="{6EB208DB-88DF-4A4A-B39E-823496A978C9}"/>
          </ac:spMkLst>
        </pc:spChg>
      </pc:sldChg>
      <pc:sldChg chg="modSp">
        <pc:chgData name="Théodora DUPONT-COURTADE" userId="b06d61bd-3bc1-47a9-8acb-1faed11547af" providerId="ADAL" clId="{B6284D1A-71B0-43D0-A276-BF5B1397783A}" dt="2020-10-02T12:50:55.801" v="5949"/>
        <pc:sldMkLst>
          <pc:docMk/>
          <pc:sldMk cId="729228182" sldId="6731"/>
        </pc:sldMkLst>
        <pc:spChg chg="mod">
          <ac:chgData name="Théodora DUPONT-COURTADE" userId="b06d61bd-3bc1-47a9-8acb-1faed11547af" providerId="ADAL" clId="{B6284D1A-71B0-43D0-A276-BF5B1397783A}" dt="2020-10-02T12:50:55.801" v="5949"/>
          <ac:spMkLst>
            <pc:docMk/>
            <pc:sldMk cId="729228182" sldId="6731"/>
            <ac:spMk id="24" creationId="{CE80B904-2442-49FE-8E06-16A75CC37559}"/>
          </ac:spMkLst>
        </pc:spChg>
      </pc:sldChg>
      <pc:sldChg chg="modSp">
        <pc:chgData name="Théodora DUPONT-COURTADE" userId="b06d61bd-3bc1-47a9-8acb-1faed11547af" providerId="ADAL" clId="{B6284D1A-71B0-43D0-A276-BF5B1397783A}" dt="2020-10-02T12:50:55.801" v="5949"/>
        <pc:sldMkLst>
          <pc:docMk/>
          <pc:sldMk cId="1462486750" sldId="6737"/>
        </pc:sldMkLst>
        <pc:spChg chg="mod">
          <ac:chgData name="Théodora DUPONT-COURTADE" userId="b06d61bd-3bc1-47a9-8acb-1faed11547af" providerId="ADAL" clId="{B6284D1A-71B0-43D0-A276-BF5B1397783A}" dt="2020-10-02T12:50:55.801" v="5949"/>
          <ac:spMkLst>
            <pc:docMk/>
            <pc:sldMk cId="1462486750" sldId="6737"/>
            <ac:spMk id="9" creationId="{76C606AD-5967-4A12-8734-8F0585B2B6DC}"/>
          </ac:spMkLst>
        </pc:spChg>
      </pc:sldChg>
      <pc:sldChg chg="modSp">
        <pc:chgData name="Théodora DUPONT-COURTADE" userId="b06d61bd-3bc1-47a9-8acb-1faed11547af" providerId="ADAL" clId="{B6284D1A-71B0-43D0-A276-BF5B1397783A}" dt="2020-10-02T12:51:14.888" v="5950"/>
        <pc:sldMkLst>
          <pc:docMk/>
          <pc:sldMk cId="2949308883" sldId="6757"/>
        </pc:sldMkLst>
        <pc:spChg chg="mod">
          <ac:chgData name="Théodora DUPONT-COURTADE" userId="b06d61bd-3bc1-47a9-8acb-1faed11547af" providerId="ADAL" clId="{B6284D1A-71B0-43D0-A276-BF5B1397783A}" dt="2020-10-02T12:51:14.888" v="5950"/>
          <ac:spMkLst>
            <pc:docMk/>
            <pc:sldMk cId="2949308883" sldId="6757"/>
            <ac:spMk id="2" creationId="{F17304C8-1013-4DB6-A689-61308C875A86}"/>
          </ac:spMkLst>
        </pc:spChg>
        <pc:spChg chg="mod">
          <ac:chgData name="Théodora DUPONT-COURTADE" userId="b06d61bd-3bc1-47a9-8acb-1faed11547af" providerId="ADAL" clId="{B6284D1A-71B0-43D0-A276-BF5B1397783A}" dt="2020-10-02T12:51:14.888" v="5950"/>
          <ac:spMkLst>
            <pc:docMk/>
            <pc:sldMk cId="2949308883" sldId="6757"/>
            <ac:spMk id="13" creationId="{858E12F6-4DE2-4CC9-9132-62FAD7B8D00A}"/>
          </ac:spMkLst>
        </pc:spChg>
      </pc:sldChg>
      <pc:sldChg chg="modNotes">
        <pc:chgData name="Théodora DUPONT-COURTADE" userId="b06d61bd-3bc1-47a9-8acb-1faed11547af" providerId="ADAL" clId="{B6284D1A-71B0-43D0-A276-BF5B1397783A}" dt="2020-10-02T07:31:42.946" v="640"/>
        <pc:sldMkLst>
          <pc:docMk/>
          <pc:sldMk cId="2596497667" sldId="6759"/>
        </pc:sldMkLst>
      </pc:sldChg>
      <pc:sldChg chg="modSp">
        <pc:chgData name="Théodora DUPONT-COURTADE" userId="b06d61bd-3bc1-47a9-8acb-1faed11547af" providerId="ADAL" clId="{B6284D1A-71B0-43D0-A276-BF5B1397783A}" dt="2020-10-02T12:51:14.888" v="5950"/>
        <pc:sldMkLst>
          <pc:docMk/>
          <pc:sldMk cId="1752477721" sldId="6767"/>
        </pc:sldMkLst>
        <pc:spChg chg="mod">
          <ac:chgData name="Théodora DUPONT-COURTADE" userId="b06d61bd-3bc1-47a9-8acb-1faed11547af" providerId="ADAL" clId="{B6284D1A-71B0-43D0-A276-BF5B1397783A}" dt="2020-10-02T12:51:14.888" v="5950"/>
          <ac:spMkLst>
            <pc:docMk/>
            <pc:sldMk cId="1752477721" sldId="6767"/>
            <ac:spMk id="4" creationId="{4743645F-F1B2-4106-A826-D519F9D9D826}"/>
          </ac:spMkLst>
        </pc:spChg>
        <pc:spChg chg="mod">
          <ac:chgData name="Théodora DUPONT-COURTADE" userId="b06d61bd-3bc1-47a9-8acb-1faed11547af" providerId="ADAL" clId="{B6284D1A-71B0-43D0-A276-BF5B1397783A}" dt="2020-10-02T12:50:55.801" v="5949"/>
          <ac:spMkLst>
            <pc:docMk/>
            <pc:sldMk cId="1752477721" sldId="6767"/>
            <ac:spMk id="43" creationId="{BBC1F1BA-453C-43F4-9A5C-6E2D66AA1C08}"/>
          </ac:spMkLst>
        </pc:spChg>
        <pc:spChg chg="mod">
          <ac:chgData name="Théodora DUPONT-COURTADE" userId="b06d61bd-3bc1-47a9-8acb-1faed11547af" providerId="ADAL" clId="{B6284D1A-71B0-43D0-A276-BF5B1397783A}" dt="2020-10-02T12:50:55.801" v="5949"/>
          <ac:spMkLst>
            <pc:docMk/>
            <pc:sldMk cId="1752477721" sldId="6767"/>
            <ac:spMk id="81" creationId="{5D921EB5-DCA7-4327-8F00-FFDEA49F03E1}"/>
          </ac:spMkLst>
        </pc:spChg>
      </pc:sldChg>
      <pc:sldChg chg="modSp mod">
        <pc:chgData name="Théodora DUPONT-COURTADE" userId="b06d61bd-3bc1-47a9-8acb-1faed11547af" providerId="ADAL" clId="{B6284D1A-71B0-43D0-A276-BF5B1397783A}" dt="2020-10-07T08:58:32.128" v="16578"/>
        <pc:sldMkLst>
          <pc:docMk/>
          <pc:sldMk cId="683207262" sldId="6768"/>
        </pc:sldMkLst>
        <pc:spChg chg="mod">
          <ac:chgData name="Théodora DUPONT-COURTADE" userId="b06d61bd-3bc1-47a9-8acb-1faed11547af" providerId="ADAL" clId="{B6284D1A-71B0-43D0-A276-BF5B1397783A}" dt="2020-10-02T12:51:14.888" v="5950"/>
          <ac:spMkLst>
            <pc:docMk/>
            <pc:sldMk cId="683207262" sldId="6768"/>
            <ac:spMk id="4" creationId="{4743645F-F1B2-4106-A826-D519F9D9D826}"/>
          </ac:spMkLst>
        </pc:spChg>
        <pc:spChg chg="mod">
          <ac:chgData name="Théodora DUPONT-COURTADE" userId="b06d61bd-3bc1-47a9-8acb-1faed11547af" providerId="ADAL" clId="{B6284D1A-71B0-43D0-A276-BF5B1397783A}" dt="2020-10-07T08:58:32.100" v="16576" actId="6549"/>
          <ac:spMkLst>
            <pc:docMk/>
            <pc:sldMk cId="683207262" sldId="6768"/>
            <ac:spMk id="13" creationId="{FCCB61A9-18E3-4D56-9AF8-2A82AF56EF7F}"/>
          </ac:spMkLst>
        </pc:spChg>
        <pc:spChg chg="mod">
          <ac:chgData name="Théodora DUPONT-COURTADE" userId="b06d61bd-3bc1-47a9-8acb-1faed11547af" providerId="ADAL" clId="{B6284D1A-71B0-43D0-A276-BF5B1397783A}" dt="2020-10-02T12:50:55.801" v="5949"/>
          <ac:spMkLst>
            <pc:docMk/>
            <pc:sldMk cId="683207262" sldId="6768"/>
            <ac:spMk id="43" creationId="{BBC1F1BA-453C-43F4-9A5C-6E2D66AA1C08}"/>
          </ac:spMkLst>
        </pc:spChg>
        <pc:spChg chg="mod">
          <ac:chgData name="Théodora DUPONT-COURTADE" userId="b06d61bd-3bc1-47a9-8acb-1faed11547af" providerId="ADAL" clId="{B6284D1A-71B0-43D0-A276-BF5B1397783A}" dt="2020-10-02T12:51:14.888" v="5950"/>
          <ac:spMkLst>
            <pc:docMk/>
            <pc:sldMk cId="683207262" sldId="6768"/>
            <ac:spMk id="56" creationId="{91CE322E-1AE6-4A7D-82F2-DBD503442932}"/>
          </ac:spMkLst>
        </pc:spChg>
        <pc:spChg chg="mod">
          <ac:chgData name="Théodora DUPONT-COURTADE" userId="b06d61bd-3bc1-47a9-8acb-1faed11547af" providerId="ADAL" clId="{B6284D1A-71B0-43D0-A276-BF5B1397783A}" dt="2020-10-02T12:51:14.888" v="5950"/>
          <ac:spMkLst>
            <pc:docMk/>
            <pc:sldMk cId="683207262" sldId="6768"/>
            <ac:spMk id="70" creationId="{A50C7E4E-0002-4CB6-9EAD-42C44DAEAA0F}"/>
          </ac:spMkLst>
        </pc:spChg>
        <pc:spChg chg="mod">
          <ac:chgData name="Théodora DUPONT-COURTADE" userId="b06d61bd-3bc1-47a9-8acb-1faed11547af" providerId="ADAL" clId="{B6284D1A-71B0-43D0-A276-BF5B1397783A}" dt="2020-10-02T12:50:55.801" v="5949"/>
          <ac:spMkLst>
            <pc:docMk/>
            <pc:sldMk cId="683207262" sldId="6768"/>
            <ac:spMk id="85" creationId="{6533220B-5EE2-4B19-93E3-E8D7503D0607}"/>
          </ac:spMkLst>
        </pc:spChg>
        <pc:spChg chg="mod">
          <ac:chgData name="Théodora DUPONT-COURTADE" userId="b06d61bd-3bc1-47a9-8acb-1faed11547af" providerId="ADAL" clId="{B6284D1A-71B0-43D0-A276-BF5B1397783A}" dt="2020-10-02T12:51:14.888" v="5950"/>
          <ac:spMkLst>
            <pc:docMk/>
            <pc:sldMk cId="683207262" sldId="6768"/>
            <ac:spMk id="131" creationId="{30102A56-A35A-4652-A765-CF2E7BF2B633}"/>
          </ac:spMkLst>
        </pc:spChg>
        <pc:graphicFrameChg chg="mod">
          <ac:chgData name="Théodora DUPONT-COURTADE" userId="b06d61bd-3bc1-47a9-8acb-1faed11547af" providerId="ADAL" clId="{B6284D1A-71B0-43D0-A276-BF5B1397783A}" dt="2020-10-07T08:58:32.128" v="16578"/>
          <ac:graphicFrameMkLst>
            <pc:docMk/>
            <pc:sldMk cId="683207262" sldId="6768"/>
            <ac:graphicFrameMk id="6" creationId="{90944F39-7C9D-46A4-9460-7725FFCBEE94}"/>
          </ac:graphicFrameMkLst>
        </pc:graphicFrameChg>
      </pc:sldChg>
      <pc:sldChg chg="modSp mod">
        <pc:chgData name="Théodora DUPONT-COURTADE" userId="b06d61bd-3bc1-47a9-8acb-1faed11547af" providerId="ADAL" clId="{B6284D1A-71B0-43D0-A276-BF5B1397783A}" dt="2020-10-02T12:51:14.888" v="5950"/>
        <pc:sldMkLst>
          <pc:docMk/>
          <pc:sldMk cId="1178858198" sldId="6773"/>
        </pc:sldMkLst>
        <pc:spChg chg="mod">
          <ac:chgData name="Théodora DUPONT-COURTADE" userId="b06d61bd-3bc1-47a9-8acb-1faed11547af" providerId="ADAL" clId="{B6284D1A-71B0-43D0-A276-BF5B1397783A}" dt="2020-10-02T12:51:14.888" v="5950"/>
          <ac:spMkLst>
            <pc:docMk/>
            <pc:sldMk cId="1178858198" sldId="6773"/>
            <ac:spMk id="4" creationId="{4743645F-F1B2-4106-A826-D519F9D9D826}"/>
          </ac:spMkLst>
        </pc:spChg>
        <pc:spChg chg="mod">
          <ac:chgData name="Théodora DUPONT-COURTADE" userId="b06d61bd-3bc1-47a9-8acb-1faed11547af" providerId="ADAL" clId="{B6284D1A-71B0-43D0-A276-BF5B1397783A}" dt="2020-10-02T07:28:24.383" v="593" actId="20577"/>
          <ac:spMkLst>
            <pc:docMk/>
            <pc:sldMk cId="1178858198" sldId="6773"/>
            <ac:spMk id="42" creationId="{8C8F4D1A-1F41-44CC-9C74-19FD8F4D795D}"/>
          </ac:spMkLst>
        </pc:spChg>
        <pc:spChg chg="mod">
          <ac:chgData name="Théodora DUPONT-COURTADE" userId="b06d61bd-3bc1-47a9-8acb-1faed11547af" providerId="ADAL" clId="{B6284D1A-71B0-43D0-A276-BF5B1397783A}" dt="2020-10-02T07:28:22.665" v="592" actId="20577"/>
          <ac:spMkLst>
            <pc:docMk/>
            <pc:sldMk cId="1178858198" sldId="6773"/>
            <ac:spMk id="45" creationId="{3D1EE1DA-FC43-4488-AD01-303BEFBFE74E}"/>
          </ac:spMkLst>
        </pc:spChg>
        <pc:spChg chg="mod">
          <ac:chgData name="Théodora DUPONT-COURTADE" userId="b06d61bd-3bc1-47a9-8acb-1faed11547af" providerId="ADAL" clId="{B6284D1A-71B0-43D0-A276-BF5B1397783A}" dt="2020-10-02T12:51:14.888" v="5950"/>
          <ac:spMkLst>
            <pc:docMk/>
            <pc:sldMk cId="1178858198" sldId="6773"/>
            <ac:spMk id="64" creationId="{E42A2199-6386-4A2A-B2ED-04E7BBA803DA}"/>
          </ac:spMkLst>
        </pc:spChg>
        <pc:spChg chg="mod">
          <ac:chgData name="Théodora DUPONT-COURTADE" userId="b06d61bd-3bc1-47a9-8acb-1faed11547af" providerId="ADAL" clId="{B6284D1A-71B0-43D0-A276-BF5B1397783A}" dt="2020-10-02T07:28:20.814" v="591" actId="20577"/>
          <ac:spMkLst>
            <pc:docMk/>
            <pc:sldMk cId="1178858198" sldId="6773"/>
            <ac:spMk id="66" creationId="{97CDFD19-3C31-46CB-ADC0-B87CAE83713E}"/>
          </ac:spMkLst>
        </pc:spChg>
        <pc:spChg chg="mod">
          <ac:chgData name="Théodora DUPONT-COURTADE" userId="b06d61bd-3bc1-47a9-8acb-1faed11547af" providerId="ADAL" clId="{B6284D1A-71B0-43D0-A276-BF5B1397783A}" dt="2020-10-02T12:50:55.801" v="5949"/>
          <ac:spMkLst>
            <pc:docMk/>
            <pc:sldMk cId="1178858198" sldId="6773"/>
            <ac:spMk id="69" creationId="{73C146B8-7E53-4356-9347-452B928583EF}"/>
          </ac:spMkLst>
        </pc:spChg>
        <pc:spChg chg="mod">
          <ac:chgData name="Théodora DUPONT-COURTADE" userId="b06d61bd-3bc1-47a9-8acb-1faed11547af" providerId="ADAL" clId="{B6284D1A-71B0-43D0-A276-BF5B1397783A}" dt="2020-10-02T12:51:14.888" v="5950"/>
          <ac:spMkLst>
            <pc:docMk/>
            <pc:sldMk cId="1178858198" sldId="6773"/>
            <ac:spMk id="98" creationId="{B146898B-6FD6-4461-A414-6A8AFA54E244}"/>
          </ac:spMkLst>
        </pc:spChg>
      </pc:sldChg>
      <pc:sldChg chg="modSp">
        <pc:chgData name="Théodora DUPONT-COURTADE" userId="b06d61bd-3bc1-47a9-8acb-1faed11547af" providerId="ADAL" clId="{B6284D1A-71B0-43D0-A276-BF5B1397783A}" dt="2020-10-02T12:51:14.888" v="5950"/>
        <pc:sldMkLst>
          <pc:docMk/>
          <pc:sldMk cId="3163263851" sldId="6794"/>
        </pc:sldMkLst>
        <pc:spChg chg="mod">
          <ac:chgData name="Théodora DUPONT-COURTADE" userId="b06d61bd-3bc1-47a9-8acb-1faed11547af" providerId="ADAL" clId="{B6284D1A-71B0-43D0-A276-BF5B1397783A}" dt="2020-10-02T12:51:14.888" v="5950"/>
          <ac:spMkLst>
            <pc:docMk/>
            <pc:sldMk cId="3163263851" sldId="6794"/>
            <ac:spMk id="4" creationId="{4743645F-F1B2-4106-A826-D519F9D9D826}"/>
          </ac:spMkLst>
        </pc:spChg>
        <pc:spChg chg="mod">
          <ac:chgData name="Théodora DUPONT-COURTADE" userId="b06d61bd-3bc1-47a9-8acb-1faed11547af" providerId="ADAL" clId="{B6284D1A-71B0-43D0-A276-BF5B1397783A}" dt="2020-10-02T12:51:14.888" v="5950"/>
          <ac:spMkLst>
            <pc:docMk/>
            <pc:sldMk cId="3163263851" sldId="6794"/>
            <ac:spMk id="16" creationId="{6CFD1A95-2E4A-4C0F-9642-9951468ADF0F}"/>
          </ac:spMkLst>
        </pc:spChg>
        <pc:spChg chg="mod">
          <ac:chgData name="Théodora DUPONT-COURTADE" userId="b06d61bd-3bc1-47a9-8acb-1faed11547af" providerId="ADAL" clId="{B6284D1A-71B0-43D0-A276-BF5B1397783A}" dt="2020-10-02T12:51:14.888" v="5950"/>
          <ac:spMkLst>
            <pc:docMk/>
            <pc:sldMk cId="3163263851" sldId="6794"/>
            <ac:spMk id="22" creationId="{44B99EF0-EF27-45A5-B160-16DC3200743E}"/>
          </ac:spMkLst>
        </pc:spChg>
        <pc:spChg chg="mod">
          <ac:chgData name="Théodora DUPONT-COURTADE" userId="b06d61bd-3bc1-47a9-8acb-1faed11547af" providerId="ADAL" clId="{B6284D1A-71B0-43D0-A276-BF5B1397783A}" dt="2020-10-02T12:51:14.888" v="5950"/>
          <ac:spMkLst>
            <pc:docMk/>
            <pc:sldMk cId="3163263851" sldId="6794"/>
            <ac:spMk id="111" creationId="{BC2BBFB2-B38F-4036-992E-F1ACB52FEC45}"/>
          </ac:spMkLst>
        </pc:spChg>
        <pc:spChg chg="mod">
          <ac:chgData name="Théodora DUPONT-COURTADE" userId="b06d61bd-3bc1-47a9-8acb-1faed11547af" providerId="ADAL" clId="{B6284D1A-71B0-43D0-A276-BF5B1397783A}" dt="2020-10-02T12:51:14.888" v="5950"/>
          <ac:spMkLst>
            <pc:docMk/>
            <pc:sldMk cId="3163263851" sldId="6794"/>
            <ac:spMk id="133" creationId="{E122487B-7655-4EFA-9ECC-28C77CE3210B}"/>
          </ac:spMkLst>
        </pc:spChg>
        <pc:spChg chg="mod">
          <ac:chgData name="Théodora DUPONT-COURTADE" userId="b06d61bd-3bc1-47a9-8acb-1faed11547af" providerId="ADAL" clId="{B6284D1A-71B0-43D0-A276-BF5B1397783A}" dt="2020-10-02T12:50:55.801" v="5949"/>
          <ac:spMkLst>
            <pc:docMk/>
            <pc:sldMk cId="3163263851" sldId="6794"/>
            <ac:spMk id="135" creationId="{44724728-6920-4C6F-87D5-5B7A864536A2}"/>
          </ac:spMkLst>
        </pc:spChg>
        <pc:spChg chg="mod">
          <ac:chgData name="Théodora DUPONT-COURTADE" userId="b06d61bd-3bc1-47a9-8acb-1faed11547af" providerId="ADAL" clId="{B6284D1A-71B0-43D0-A276-BF5B1397783A}" dt="2020-10-02T12:51:14.888" v="5950"/>
          <ac:spMkLst>
            <pc:docMk/>
            <pc:sldMk cId="3163263851" sldId="6794"/>
            <ac:spMk id="215" creationId="{2D3C648A-3E61-4DF7-A2F2-90E1C27C1457}"/>
          </ac:spMkLst>
        </pc:spChg>
        <pc:spChg chg="mod">
          <ac:chgData name="Théodora DUPONT-COURTADE" userId="b06d61bd-3bc1-47a9-8acb-1faed11547af" providerId="ADAL" clId="{B6284D1A-71B0-43D0-A276-BF5B1397783A}" dt="2020-10-02T12:51:14.888" v="5950"/>
          <ac:spMkLst>
            <pc:docMk/>
            <pc:sldMk cId="3163263851" sldId="6794"/>
            <ac:spMk id="239" creationId="{A61DC63A-96C5-4786-AC08-36DB7E678FF3}"/>
          </ac:spMkLst>
        </pc:spChg>
      </pc:sldChg>
      <pc:sldChg chg="modSp">
        <pc:chgData name="Théodora DUPONT-COURTADE" userId="b06d61bd-3bc1-47a9-8acb-1faed11547af" providerId="ADAL" clId="{B6284D1A-71B0-43D0-A276-BF5B1397783A}" dt="2020-10-02T12:51:14.888" v="5950"/>
        <pc:sldMkLst>
          <pc:docMk/>
          <pc:sldMk cId="914221013" sldId="6796"/>
        </pc:sldMkLst>
        <pc:spChg chg="mod">
          <ac:chgData name="Théodora DUPONT-COURTADE" userId="b06d61bd-3bc1-47a9-8acb-1faed11547af" providerId="ADAL" clId="{B6284D1A-71B0-43D0-A276-BF5B1397783A}" dt="2020-10-02T12:51:14.888" v="5950"/>
          <ac:spMkLst>
            <pc:docMk/>
            <pc:sldMk cId="914221013" sldId="6796"/>
            <ac:spMk id="80" creationId="{325E8329-4C95-4C5F-88DE-51ACE94EFC7B}"/>
          </ac:spMkLst>
        </pc:spChg>
      </pc:sldChg>
      <pc:sldChg chg="modSp">
        <pc:chgData name="Théodora DUPONT-COURTADE" userId="b06d61bd-3bc1-47a9-8acb-1faed11547af" providerId="ADAL" clId="{B6284D1A-71B0-43D0-A276-BF5B1397783A}" dt="2020-10-02T12:50:55.801" v="5949"/>
        <pc:sldMkLst>
          <pc:docMk/>
          <pc:sldMk cId="1563937854" sldId="6818"/>
        </pc:sldMkLst>
        <pc:spChg chg="mod">
          <ac:chgData name="Théodora DUPONT-COURTADE" userId="b06d61bd-3bc1-47a9-8acb-1faed11547af" providerId="ADAL" clId="{B6284D1A-71B0-43D0-A276-BF5B1397783A}" dt="2020-10-02T12:50:55.801" v="5949"/>
          <ac:spMkLst>
            <pc:docMk/>
            <pc:sldMk cId="1563937854" sldId="6818"/>
            <ac:spMk id="5" creationId="{947F5FA7-A6F2-46E6-8FD1-C102113CA511}"/>
          </ac:spMkLst>
        </pc:spChg>
      </pc:sldChg>
      <pc:sldChg chg="modSp">
        <pc:chgData name="Théodora DUPONT-COURTADE" userId="b06d61bd-3bc1-47a9-8acb-1faed11547af" providerId="ADAL" clId="{B6284D1A-71B0-43D0-A276-BF5B1397783A}" dt="2020-10-02T12:50:55.801" v="5949"/>
        <pc:sldMkLst>
          <pc:docMk/>
          <pc:sldMk cId="3853263897" sldId="6820"/>
        </pc:sldMkLst>
        <pc:spChg chg="mod">
          <ac:chgData name="Théodora DUPONT-COURTADE" userId="b06d61bd-3bc1-47a9-8acb-1faed11547af" providerId="ADAL" clId="{B6284D1A-71B0-43D0-A276-BF5B1397783A}" dt="2020-10-02T12:50:55.801" v="5949"/>
          <ac:spMkLst>
            <pc:docMk/>
            <pc:sldMk cId="3853263897" sldId="6820"/>
            <ac:spMk id="2" creationId="{7D7E6DAC-9585-4765-BAA6-94FE40B43AD2}"/>
          </ac:spMkLst>
        </pc:spChg>
        <pc:spChg chg="mod">
          <ac:chgData name="Théodora DUPONT-COURTADE" userId="b06d61bd-3bc1-47a9-8acb-1faed11547af" providerId="ADAL" clId="{B6284D1A-71B0-43D0-A276-BF5B1397783A}" dt="2020-10-02T12:50:55.801" v="5949"/>
          <ac:spMkLst>
            <pc:docMk/>
            <pc:sldMk cId="3853263897" sldId="6820"/>
            <ac:spMk id="4" creationId="{4749A4D0-7849-4BAC-96B9-C542EBD00FE9}"/>
          </ac:spMkLst>
        </pc:spChg>
      </pc:sldChg>
      <pc:sldChg chg="delSp mod">
        <pc:chgData name="Théodora DUPONT-COURTADE" userId="b06d61bd-3bc1-47a9-8acb-1faed11547af" providerId="ADAL" clId="{B6284D1A-71B0-43D0-A276-BF5B1397783A}" dt="2020-10-07T08:47:35.852" v="16310" actId="478"/>
        <pc:sldMkLst>
          <pc:docMk/>
          <pc:sldMk cId="1453778405" sldId="6821"/>
        </pc:sldMkLst>
        <pc:spChg chg="del">
          <ac:chgData name="Théodora DUPONT-COURTADE" userId="b06d61bd-3bc1-47a9-8acb-1faed11547af" providerId="ADAL" clId="{B6284D1A-71B0-43D0-A276-BF5B1397783A}" dt="2020-10-07T08:47:34.562" v="16309" actId="478"/>
          <ac:spMkLst>
            <pc:docMk/>
            <pc:sldMk cId="1453778405" sldId="6821"/>
            <ac:spMk id="123" creationId="{E633E4A4-D269-4C62-BB1A-BA72708A8EE7}"/>
          </ac:spMkLst>
        </pc:spChg>
        <pc:spChg chg="del">
          <ac:chgData name="Théodora DUPONT-COURTADE" userId="b06d61bd-3bc1-47a9-8acb-1faed11547af" providerId="ADAL" clId="{B6284D1A-71B0-43D0-A276-BF5B1397783A}" dt="2020-10-07T08:47:35.852" v="16310" actId="478"/>
          <ac:spMkLst>
            <pc:docMk/>
            <pc:sldMk cId="1453778405" sldId="6821"/>
            <ac:spMk id="124" creationId="{4B668C22-2020-4A59-8C82-5C88D02A30CE}"/>
          </ac:spMkLst>
        </pc:spChg>
      </pc:sldChg>
      <pc:sldChg chg="modSp mod modNotes">
        <pc:chgData name="Théodora DUPONT-COURTADE" userId="b06d61bd-3bc1-47a9-8acb-1faed11547af" providerId="ADAL" clId="{B6284D1A-71B0-43D0-A276-BF5B1397783A}" dt="2020-10-02T13:57:05.384" v="10743"/>
        <pc:sldMkLst>
          <pc:docMk/>
          <pc:sldMk cId="879390884" sldId="6827"/>
        </pc:sldMkLst>
        <pc:spChg chg="mod ord">
          <ac:chgData name="Théodora DUPONT-COURTADE" userId="b06d61bd-3bc1-47a9-8acb-1faed11547af" providerId="ADAL" clId="{B6284D1A-71B0-43D0-A276-BF5B1397783A}" dt="2020-10-02T13:57:05.357" v="10715"/>
          <ac:spMkLst>
            <pc:docMk/>
            <pc:sldMk cId="879390884" sldId="6827"/>
            <ac:spMk id="2" creationId="{69E79F8A-DE59-427B-AFC0-4710EC22E146}"/>
          </ac:spMkLst>
        </pc:spChg>
        <pc:spChg chg="mod">
          <ac:chgData name="Théodora DUPONT-COURTADE" userId="b06d61bd-3bc1-47a9-8acb-1faed11547af" providerId="ADAL" clId="{B6284D1A-71B0-43D0-A276-BF5B1397783A}" dt="2020-10-02T13:57:05.329" v="10670"/>
          <ac:spMkLst>
            <pc:docMk/>
            <pc:sldMk cId="879390884" sldId="6827"/>
            <ac:spMk id="4" creationId="{4743645F-F1B2-4106-A826-D519F9D9D826}"/>
          </ac:spMkLst>
        </pc:spChg>
        <pc:spChg chg="mod ord">
          <ac:chgData name="Théodora DUPONT-COURTADE" userId="b06d61bd-3bc1-47a9-8acb-1faed11547af" providerId="ADAL" clId="{B6284D1A-71B0-43D0-A276-BF5B1397783A}" dt="2020-10-02T13:57:05.330" v="10672"/>
          <ac:spMkLst>
            <pc:docMk/>
            <pc:sldMk cId="879390884" sldId="6827"/>
            <ac:spMk id="5" creationId="{93ADD323-887F-4F55-BF74-62340490DDC0}"/>
          </ac:spMkLst>
        </pc:spChg>
        <pc:spChg chg="mod ord">
          <ac:chgData name="Théodora DUPONT-COURTADE" userId="b06d61bd-3bc1-47a9-8acb-1faed11547af" providerId="ADAL" clId="{B6284D1A-71B0-43D0-A276-BF5B1397783A}" dt="2020-10-02T13:57:05.328" v="10669"/>
          <ac:spMkLst>
            <pc:docMk/>
            <pc:sldMk cId="879390884" sldId="6827"/>
            <ac:spMk id="10" creationId="{B281D5E6-D027-4CBC-9B48-6F2B953BFC13}"/>
          </ac:spMkLst>
        </pc:spChg>
        <pc:spChg chg="mod ord">
          <ac:chgData name="Théodora DUPONT-COURTADE" userId="b06d61bd-3bc1-47a9-8acb-1faed11547af" providerId="ADAL" clId="{B6284D1A-71B0-43D0-A276-BF5B1397783A}" dt="2020-10-02T13:57:05.332" v="10676"/>
          <ac:spMkLst>
            <pc:docMk/>
            <pc:sldMk cId="879390884" sldId="6827"/>
            <ac:spMk id="11" creationId="{819814FF-BEE0-4499-88F2-F7C9EAAA344B}"/>
          </ac:spMkLst>
        </pc:spChg>
        <pc:spChg chg="mod ord">
          <ac:chgData name="Théodora DUPONT-COURTADE" userId="b06d61bd-3bc1-47a9-8acb-1faed11547af" providerId="ADAL" clId="{B6284D1A-71B0-43D0-A276-BF5B1397783A}" dt="2020-10-02T13:57:05.325" v="10665"/>
          <ac:spMkLst>
            <pc:docMk/>
            <pc:sldMk cId="879390884" sldId="6827"/>
            <ac:spMk id="13" creationId="{FCCB61A9-18E3-4D56-9AF8-2A82AF56EF7F}"/>
          </ac:spMkLst>
        </pc:spChg>
        <pc:spChg chg="mod ord">
          <ac:chgData name="Théodora DUPONT-COURTADE" userId="b06d61bd-3bc1-47a9-8acb-1faed11547af" providerId="ADAL" clId="{B6284D1A-71B0-43D0-A276-BF5B1397783A}" dt="2020-10-02T13:57:05.351" v="10707"/>
          <ac:spMkLst>
            <pc:docMk/>
            <pc:sldMk cId="879390884" sldId="6827"/>
            <ac:spMk id="15" creationId="{52D0ADFD-3CE2-45CC-A79F-AD4DC7371102}"/>
          </ac:spMkLst>
        </pc:spChg>
        <pc:spChg chg="mod ord">
          <ac:chgData name="Théodora DUPONT-COURTADE" userId="b06d61bd-3bc1-47a9-8acb-1faed11547af" providerId="ADAL" clId="{B6284D1A-71B0-43D0-A276-BF5B1397783A}" dt="2020-10-02T13:57:05.334" v="10678"/>
          <ac:spMkLst>
            <pc:docMk/>
            <pc:sldMk cId="879390884" sldId="6827"/>
            <ac:spMk id="20" creationId="{8B1760C2-D8FC-48D6-B702-B88D350EA968}"/>
          </ac:spMkLst>
        </pc:spChg>
        <pc:spChg chg="mod ord">
          <ac:chgData name="Théodora DUPONT-COURTADE" userId="b06d61bd-3bc1-47a9-8acb-1faed11547af" providerId="ADAL" clId="{B6284D1A-71B0-43D0-A276-BF5B1397783A}" dt="2020-10-02T13:57:05.342" v="10693"/>
          <ac:spMkLst>
            <pc:docMk/>
            <pc:sldMk cId="879390884" sldId="6827"/>
            <ac:spMk id="53" creationId="{31F189FE-8C1D-4E28-8B08-FDE37C721A8C}"/>
          </ac:spMkLst>
        </pc:spChg>
        <pc:spChg chg="mod ord">
          <ac:chgData name="Théodora DUPONT-COURTADE" userId="b06d61bd-3bc1-47a9-8acb-1faed11547af" providerId="ADAL" clId="{B6284D1A-71B0-43D0-A276-BF5B1397783A}" dt="2020-10-02T13:57:05.344" v="10695"/>
          <ac:spMkLst>
            <pc:docMk/>
            <pc:sldMk cId="879390884" sldId="6827"/>
            <ac:spMk id="54" creationId="{3BB02AD8-BD54-4886-B24F-DE526087DD0C}"/>
          </ac:spMkLst>
        </pc:spChg>
        <pc:spChg chg="mod ord">
          <ac:chgData name="Théodora DUPONT-COURTADE" userId="b06d61bd-3bc1-47a9-8acb-1faed11547af" providerId="ADAL" clId="{B6284D1A-71B0-43D0-A276-BF5B1397783A}" dt="2020-10-02T13:57:05.346" v="10699"/>
          <ac:spMkLst>
            <pc:docMk/>
            <pc:sldMk cId="879390884" sldId="6827"/>
            <ac:spMk id="58" creationId="{1ACA89DB-1BBE-4115-A750-B1774D330D74}"/>
          </ac:spMkLst>
        </pc:spChg>
        <pc:spChg chg="mod ord">
          <ac:chgData name="Théodora DUPONT-COURTADE" userId="b06d61bd-3bc1-47a9-8acb-1faed11547af" providerId="ADAL" clId="{B6284D1A-71B0-43D0-A276-BF5B1397783A}" dt="2020-10-02T13:57:05.347" v="10701"/>
          <ac:spMkLst>
            <pc:docMk/>
            <pc:sldMk cId="879390884" sldId="6827"/>
            <ac:spMk id="59" creationId="{E70D0D0E-9518-4059-BC6A-EFE00A6DD6C9}"/>
          </ac:spMkLst>
        </pc:spChg>
        <pc:spChg chg="mod ord">
          <ac:chgData name="Théodora DUPONT-COURTADE" userId="b06d61bd-3bc1-47a9-8acb-1faed11547af" providerId="ADAL" clId="{B6284D1A-71B0-43D0-A276-BF5B1397783A}" dt="2020-10-02T13:57:05.336" v="10682"/>
          <ac:spMkLst>
            <pc:docMk/>
            <pc:sldMk cId="879390884" sldId="6827"/>
            <ac:spMk id="64" creationId="{5D64B579-1196-45DA-B2F5-71D407D910B5}"/>
          </ac:spMkLst>
        </pc:spChg>
        <pc:spChg chg="mod ord">
          <ac:chgData name="Théodora DUPONT-COURTADE" userId="b06d61bd-3bc1-47a9-8acb-1faed11547af" providerId="ADAL" clId="{B6284D1A-71B0-43D0-A276-BF5B1397783A}" dt="2020-10-02T13:57:05.366" v="10719"/>
          <ac:spMkLst>
            <pc:docMk/>
            <pc:sldMk cId="879390884" sldId="6827"/>
            <ac:spMk id="69" creationId="{1A0C2182-C259-4676-8D7F-BF0AD81E8C7A}"/>
          </ac:spMkLst>
        </pc:spChg>
        <pc:spChg chg="mod ord">
          <ac:chgData name="Théodora DUPONT-COURTADE" userId="b06d61bd-3bc1-47a9-8acb-1faed11547af" providerId="ADAL" clId="{B6284D1A-71B0-43D0-A276-BF5B1397783A}" dt="2020-10-02T13:57:05.379" v="10739"/>
          <ac:spMkLst>
            <pc:docMk/>
            <pc:sldMk cId="879390884" sldId="6827"/>
            <ac:spMk id="75" creationId="{4E21D7B3-2E52-4B33-A465-48AB814F7219}"/>
          </ac:spMkLst>
        </pc:spChg>
        <pc:spChg chg="mod ord">
          <ac:chgData name="Théodora DUPONT-COURTADE" userId="b06d61bd-3bc1-47a9-8acb-1faed11547af" providerId="ADAL" clId="{B6284D1A-71B0-43D0-A276-BF5B1397783A}" dt="2020-10-02T13:57:05.354" v="10711"/>
          <ac:spMkLst>
            <pc:docMk/>
            <pc:sldMk cId="879390884" sldId="6827"/>
            <ac:spMk id="76" creationId="{B67E772B-58FC-4795-88B9-798C5FB0E9BE}"/>
          </ac:spMkLst>
        </pc:spChg>
        <pc:spChg chg="mod ord">
          <ac:chgData name="Théodora DUPONT-COURTADE" userId="b06d61bd-3bc1-47a9-8acb-1faed11547af" providerId="ADAL" clId="{B6284D1A-71B0-43D0-A276-BF5B1397783A}" dt="2020-10-02T13:57:05.381" v="10741"/>
          <ac:spMkLst>
            <pc:docMk/>
            <pc:sldMk cId="879390884" sldId="6827"/>
            <ac:spMk id="77" creationId="{C02B49D0-2433-421C-810F-98897DFE3E65}"/>
          </ac:spMkLst>
        </pc:spChg>
        <pc:spChg chg="mod ord">
          <ac:chgData name="Théodora DUPONT-COURTADE" userId="b06d61bd-3bc1-47a9-8acb-1faed11547af" providerId="ADAL" clId="{B6284D1A-71B0-43D0-A276-BF5B1397783A}" dt="2020-10-02T13:57:05.355" v="10713"/>
          <ac:spMkLst>
            <pc:docMk/>
            <pc:sldMk cId="879390884" sldId="6827"/>
            <ac:spMk id="78" creationId="{A390E121-A78A-4DBD-AB41-5F43E9DA34CF}"/>
          </ac:spMkLst>
        </pc:spChg>
        <pc:spChg chg="mod">
          <ac:chgData name="Théodora DUPONT-COURTADE" userId="b06d61bd-3bc1-47a9-8acb-1faed11547af" providerId="ADAL" clId="{B6284D1A-71B0-43D0-A276-BF5B1397783A}" dt="2020-10-02T12:50:55.801" v="5949"/>
          <ac:spMkLst>
            <pc:docMk/>
            <pc:sldMk cId="879390884" sldId="6827"/>
            <ac:spMk id="79" creationId="{E8A34149-CB57-4F30-86DD-E8379579FFDA}"/>
          </ac:spMkLst>
        </pc:spChg>
        <pc:spChg chg="mod ord">
          <ac:chgData name="Théodora DUPONT-COURTADE" userId="b06d61bd-3bc1-47a9-8acb-1faed11547af" providerId="ADAL" clId="{B6284D1A-71B0-43D0-A276-BF5B1397783A}" dt="2020-10-02T13:57:05.368" v="10721"/>
          <ac:spMkLst>
            <pc:docMk/>
            <pc:sldMk cId="879390884" sldId="6827"/>
            <ac:spMk id="91" creationId="{B87B86E4-A5B9-4489-9BDE-1014874DB43B}"/>
          </ac:spMkLst>
        </pc:spChg>
        <pc:spChg chg="mod ord">
          <ac:chgData name="Théodora DUPONT-COURTADE" userId="b06d61bd-3bc1-47a9-8acb-1faed11547af" providerId="ADAL" clId="{B6284D1A-71B0-43D0-A276-BF5B1397783A}" dt="2020-10-02T13:57:05.370" v="10723"/>
          <ac:spMkLst>
            <pc:docMk/>
            <pc:sldMk cId="879390884" sldId="6827"/>
            <ac:spMk id="92" creationId="{B90FA86F-12E3-4980-8A8A-6516A998C73D}"/>
          </ac:spMkLst>
        </pc:spChg>
        <pc:spChg chg="mod ord">
          <ac:chgData name="Théodora DUPONT-COURTADE" userId="b06d61bd-3bc1-47a9-8acb-1faed11547af" providerId="ADAL" clId="{B6284D1A-71B0-43D0-A276-BF5B1397783A}" dt="2020-10-02T13:57:05.371" v="10725"/>
          <ac:spMkLst>
            <pc:docMk/>
            <pc:sldMk cId="879390884" sldId="6827"/>
            <ac:spMk id="93" creationId="{CF46433A-C709-4C25-BE52-412228F0C79C}"/>
          </ac:spMkLst>
        </pc:spChg>
        <pc:spChg chg="mod ord">
          <ac:chgData name="Théodora DUPONT-COURTADE" userId="b06d61bd-3bc1-47a9-8acb-1faed11547af" providerId="ADAL" clId="{B6284D1A-71B0-43D0-A276-BF5B1397783A}" dt="2020-10-02T13:57:05.372" v="10727"/>
          <ac:spMkLst>
            <pc:docMk/>
            <pc:sldMk cId="879390884" sldId="6827"/>
            <ac:spMk id="94" creationId="{1DCA63F5-B307-4F36-9F13-F9D30E1E3001}"/>
          </ac:spMkLst>
        </pc:spChg>
        <pc:spChg chg="mod ord">
          <ac:chgData name="Théodora DUPONT-COURTADE" userId="b06d61bd-3bc1-47a9-8acb-1faed11547af" providerId="ADAL" clId="{B6284D1A-71B0-43D0-A276-BF5B1397783A}" dt="2020-10-02T13:57:05.373" v="10729"/>
          <ac:spMkLst>
            <pc:docMk/>
            <pc:sldMk cId="879390884" sldId="6827"/>
            <ac:spMk id="95" creationId="{C7E594B4-64EE-4544-9EE4-554BDD5C921C}"/>
          </ac:spMkLst>
        </pc:spChg>
        <pc:spChg chg="mod ord">
          <ac:chgData name="Théodora DUPONT-COURTADE" userId="b06d61bd-3bc1-47a9-8acb-1faed11547af" providerId="ADAL" clId="{B6284D1A-71B0-43D0-A276-BF5B1397783A}" dt="2020-10-02T13:57:05.374" v="10731"/>
          <ac:spMkLst>
            <pc:docMk/>
            <pc:sldMk cId="879390884" sldId="6827"/>
            <ac:spMk id="96" creationId="{A0F8043F-55D5-4F82-845A-2F73FFE24F7A}"/>
          </ac:spMkLst>
        </pc:spChg>
        <pc:spChg chg="mod ord">
          <ac:chgData name="Théodora DUPONT-COURTADE" userId="b06d61bd-3bc1-47a9-8acb-1faed11547af" providerId="ADAL" clId="{B6284D1A-71B0-43D0-A276-BF5B1397783A}" dt="2020-10-02T13:57:05.341" v="10691"/>
          <ac:spMkLst>
            <pc:docMk/>
            <pc:sldMk cId="879390884" sldId="6827"/>
            <ac:spMk id="98" creationId="{3AE0A174-8538-40F7-9917-A4C158A618A8}"/>
          </ac:spMkLst>
        </pc:spChg>
        <pc:spChg chg="mod ord">
          <ac:chgData name="Théodora DUPONT-COURTADE" userId="b06d61bd-3bc1-47a9-8acb-1faed11547af" providerId="ADAL" clId="{B6284D1A-71B0-43D0-A276-BF5B1397783A}" dt="2020-10-02T13:57:05.376" v="10733"/>
          <ac:spMkLst>
            <pc:docMk/>
            <pc:sldMk cId="879390884" sldId="6827"/>
            <ac:spMk id="99" creationId="{C767B0B7-193D-4757-A7C3-3D552C2CB614}"/>
          </ac:spMkLst>
        </pc:spChg>
        <pc:spChg chg="mod ord">
          <ac:chgData name="Théodora DUPONT-COURTADE" userId="b06d61bd-3bc1-47a9-8acb-1faed11547af" providerId="ADAL" clId="{B6284D1A-71B0-43D0-A276-BF5B1397783A}" dt="2020-10-02T13:57:05.377" v="10735"/>
          <ac:spMkLst>
            <pc:docMk/>
            <pc:sldMk cId="879390884" sldId="6827"/>
            <ac:spMk id="100" creationId="{492E1D8A-05FC-442D-A55B-01ADF82B54CF}"/>
          </ac:spMkLst>
        </pc:spChg>
        <pc:spChg chg="mod ord">
          <ac:chgData name="Théodora DUPONT-COURTADE" userId="b06d61bd-3bc1-47a9-8acb-1faed11547af" providerId="ADAL" clId="{B6284D1A-71B0-43D0-A276-BF5B1397783A}" dt="2020-10-02T13:57:05.378" v="10737"/>
          <ac:spMkLst>
            <pc:docMk/>
            <pc:sldMk cId="879390884" sldId="6827"/>
            <ac:spMk id="103" creationId="{F17E74D3-35DC-47C1-BE43-099B14AEEF17}"/>
          </ac:spMkLst>
        </pc:spChg>
        <pc:spChg chg="mod ord">
          <ac:chgData name="Théodora DUPONT-COURTADE" userId="b06d61bd-3bc1-47a9-8acb-1faed11547af" providerId="ADAL" clId="{B6284D1A-71B0-43D0-A276-BF5B1397783A}" dt="2020-10-02T13:57:05.350" v="10705"/>
          <ac:spMkLst>
            <pc:docMk/>
            <pc:sldMk cId="879390884" sldId="6827"/>
            <ac:spMk id="225" creationId="{6B3C08CE-9240-49AE-AB79-1E77ADFD02DF}"/>
          </ac:spMkLst>
        </pc:spChg>
        <pc:spChg chg="mod ord">
          <ac:chgData name="Théodora DUPONT-COURTADE" userId="b06d61bd-3bc1-47a9-8acb-1faed11547af" providerId="ADAL" clId="{B6284D1A-71B0-43D0-A276-BF5B1397783A}" dt="2020-10-02T13:57:05.335" v="10680"/>
          <ac:spMkLst>
            <pc:docMk/>
            <pc:sldMk cId="879390884" sldId="6827"/>
            <ac:spMk id="226" creationId="{0A2A3D9D-1DE1-4BC8-8298-C68D7D643816}"/>
          </ac:spMkLst>
        </pc:spChg>
        <pc:grpChg chg="mod ord">
          <ac:chgData name="Théodora DUPONT-COURTADE" userId="b06d61bd-3bc1-47a9-8acb-1faed11547af" providerId="ADAL" clId="{B6284D1A-71B0-43D0-A276-BF5B1397783A}" dt="2020-10-02T13:57:05.345" v="10697"/>
          <ac:grpSpMkLst>
            <pc:docMk/>
            <pc:sldMk cId="879390884" sldId="6827"/>
            <ac:grpSpMk id="3" creationId="{C65FB841-6AA0-4841-BAEC-D0F19B1FA08A}"/>
          </ac:grpSpMkLst>
        </pc:grpChg>
        <pc:grpChg chg="mod ord">
          <ac:chgData name="Théodora DUPONT-COURTADE" userId="b06d61bd-3bc1-47a9-8acb-1faed11547af" providerId="ADAL" clId="{B6284D1A-71B0-43D0-A276-BF5B1397783A}" dt="2020-10-02T13:57:05.348" v="10703"/>
          <ac:grpSpMkLst>
            <pc:docMk/>
            <pc:sldMk cId="879390884" sldId="6827"/>
            <ac:grpSpMk id="9" creationId="{416924E9-5D12-460B-B42C-AD56CED8582B}"/>
          </ac:grpSpMkLst>
        </pc:grpChg>
        <pc:grpChg chg="mod ord">
          <ac:chgData name="Théodora DUPONT-COURTADE" userId="b06d61bd-3bc1-47a9-8acb-1faed11547af" providerId="ADAL" clId="{B6284D1A-71B0-43D0-A276-BF5B1397783A}" dt="2020-10-02T13:57:05.353" v="10709"/>
          <ac:grpSpMkLst>
            <pc:docMk/>
            <pc:sldMk cId="879390884" sldId="6827"/>
            <ac:grpSpMk id="19" creationId="{95282A5C-3CB7-4B91-B096-BC8A361088EF}"/>
          </ac:grpSpMkLst>
        </pc:grpChg>
        <pc:grpChg chg="mod ord">
          <ac:chgData name="Théodora DUPONT-COURTADE" userId="b06d61bd-3bc1-47a9-8acb-1faed11547af" providerId="ADAL" clId="{B6284D1A-71B0-43D0-A276-BF5B1397783A}" dt="2020-10-02T13:57:05.365" v="10717"/>
          <ac:grpSpMkLst>
            <pc:docMk/>
            <pc:sldMk cId="879390884" sldId="6827"/>
            <ac:grpSpMk id="72" creationId="{66FD1887-CE1C-484C-ADEF-86169DAA66D4}"/>
          </ac:grpSpMkLst>
        </pc:grpChg>
        <pc:graphicFrameChg chg="mod ord">
          <ac:chgData name="Théodora DUPONT-COURTADE" userId="b06d61bd-3bc1-47a9-8acb-1faed11547af" providerId="ADAL" clId="{B6284D1A-71B0-43D0-A276-BF5B1397783A}" dt="2020-10-02T13:57:05.384" v="10743"/>
          <ac:graphicFrameMkLst>
            <pc:docMk/>
            <pc:sldMk cId="879390884" sldId="6827"/>
            <ac:graphicFrameMk id="6" creationId="{90944F39-7C9D-46A4-9460-7725FFCBEE94}"/>
          </ac:graphicFrameMkLst>
        </pc:graphicFrameChg>
        <pc:picChg chg="mod ord">
          <ac:chgData name="Théodora DUPONT-COURTADE" userId="b06d61bd-3bc1-47a9-8acb-1faed11547af" providerId="ADAL" clId="{B6284D1A-71B0-43D0-A276-BF5B1397783A}" dt="2020-10-02T13:57:05.337" v="10684"/>
          <ac:picMkLst>
            <pc:docMk/>
            <pc:sldMk cId="879390884" sldId="6827"/>
            <ac:picMk id="7" creationId="{8C8B5166-87EB-44FE-8F71-BE201D965824}"/>
          </ac:picMkLst>
        </pc:picChg>
        <pc:picChg chg="mod">
          <ac:chgData name="Théodora DUPONT-COURTADE" userId="b06d61bd-3bc1-47a9-8acb-1faed11547af" providerId="ADAL" clId="{B6284D1A-71B0-43D0-A276-BF5B1397783A}" dt="2020-10-02T13:57:05.339" v="10687"/>
          <ac:picMkLst>
            <pc:docMk/>
            <pc:sldMk cId="879390884" sldId="6827"/>
            <ac:picMk id="26" creationId="{4D9FD45B-1AAB-4A9C-AC8F-7C3E571990AD}"/>
          </ac:picMkLst>
        </pc:picChg>
        <pc:cxnChg chg="mod ord">
          <ac:chgData name="Théodora DUPONT-COURTADE" userId="b06d61bd-3bc1-47a9-8acb-1faed11547af" providerId="ADAL" clId="{B6284D1A-71B0-43D0-A276-BF5B1397783A}" dt="2020-10-02T13:57:05.338" v="10686"/>
          <ac:cxnSpMkLst>
            <pc:docMk/>
            <pc:sldMk cId="879390884" sldId="6827"/>
            <ac:cxnSpMk id="22" creationId="{74F8A647-6496-4A1B-8623-BD48A79DF378}"/>
          </ac:cxnSpMkLst>
        </pc:cxnChg>
        <pc:cxnChg chg="mod ord">
          <ac:chgData name="Théodora DUPONT-COURTADE" userId="b06d61bd-3bc1-47a9-8acb-1faed11547af" providerId="ADAL" clId="{B6284D1A-71B0-43D0-A276-BF5B1397783A}" dt="2020-10-02T13:57:05.331" v="10674"/>
          <ac:cxnSpMkLst>
            <pc:docMk/>
            <pc:sldMk cId="879390884" sldId="6827"/>
            <ac:cxnSpMk id="31" creationId="{05503819-3CAF-4FAC-94B8-7B2B18B9E2DB}"/>
          </ac:cxnSpMkLst>
        </pc:cxnChg>
        <pc:cxnChg chg="mod ord">
          <ac:chgData name="Théodora DUPONT-COURTADE" userId="b06d61bd-3bc1-47a9-8acb-1faed11547af" providerId="ADAL" clId="{B6284D1A-71B0-43D0-A276-BF5B1397783A}" dt="2020-10-02T13:57:05.326" v="10667"/>
          <ac:cxnSpMkLst>
            <pc:docMk/>
            <pc:sldMk cId="879390884" sldId="6827"/>
            <ac:cxnSpMk id="70" creationId="{10825191-37CE-4900-BC60-226DB1D33A69}"/>
          </ac:cxnSpMkLst>
        </pc:cxnChg>
        <pc:cxnChg chg="mod ord">
          <ac:chgData name="Théodora DUPONT-COURTADE" userId="b06d61bd-3bc1-47a9-8acb-1faed11547af" providerId="ADAL" clId="{B6284D1A-71B0-43D0-A276-BF5B1397783A}" dt="2020-10-02T13:57:05.340" v="10689"/>
          <ac:cxnSpMkLst>
            <pc:docMk/>
            <pc:sldMk cId="879390884" sldId="6827"/>
            <ac:cxnSpMk id="97" creationId="{46E551DA-7723-478C-9F9A-DC9304598108}"/>
          </ac:cxnSpMkLst>
        </pc:cxnChg>
      </pc:sldChg>
      <pc:sldChg chg="modSp">
        <pc:chgData name="Théodora DUPONT-COURTADE" userId="b06d61bd-3bc1-47a9-8acb-1faed11547af" providerId="ADAL" clId="{B6284D1A-71B0-43D0-A276-BF5B1397783A}" dt="2020-10-02T12:50:55.801" v="5949"/>
        <pc:sldMkLst>
          <pc:docMk/>
          <pc:sldMk cId="1784659859" sldId="6832"/>
        </pc:sldMkLst>
        <pc:spChg chg="mod">
          <ac:chgData name="Théodora DUPONT-COURTADE" userId="b06d61bd-3bc1-47a9-8acb-1faed11547af" providerId="ADAL" clId="{B6284D1A-71B0-43D0-A276-BF5B1397783A}" dt="2020-10-02T12:50:55.801" v="5949"/>
          <ac:spMkLst>
            <pc:docMk/>
            <pc:sldMk cId="1784659859" sldId="6832"/>
            <ac:spMk id="4" creationId="{58EE8423-27F7-4C4F-A4E7-D6A43D2CE58A}"/>
          </ac:spMkLst>
        </pc:spChg>
        <pc:spChg chg="mod">
          <ac:chgData name="Théodora DUPONT-COURTADE" userId="b06d61bd-3bc1-47a9-8acb-1faed11547af" providerId="ADAL" clId="{B6284D1A-71B0-43D0-A276-BF5B1397783A}" dt="2020-10-02T12:50:55.801" v="5949"/>
          <ac:spMkLst>
            <pc:docMk/>
            <pc:sldMk cId="1784659859" sldId="6832"/>
            <ac:spMk id="32" creationId="{19F804CA-B144-4418-B881-641896D36FED}"/>
          </ac:spMkLst>
        </pc:spChg>
        <pc:spChg chg="mod">
          <ac:chgData name="Théodora DUPONT-COURTADE" userId="b06d61bd-3bc1-47a9-8acb-1faed11547af" providerId="ADAL" clId="{B6284D1A-71B0-43D0-A276-BF5B1397783A}" dt="2020-10-02T12:50:55.801" v="5949"/>
          <ac:spMkLst>
            <pc:docMk/>
            <pc:sldMk cId="1784659859" sldId="6832"/>
            <ac:spMk id="164" creationId="{D2F956C2-9110-4B95-BB8C-8804FD0451A9}"/>
          </ac:spMkLst>
        </pc:spChg>
      </pc:sldChg>
      <pc:sldChg chg="modSp mod">
        <pc:chgData name="Théodora DUPONT-COURTADE" userId="b06d61bd-3bc1-47a9-8acb-1faed11547af" providerId="ADAL" clId="{B6284D1A-71B0-43D0-A276-BF5B1397783A}" dt="2020-10-02T12:51:14.888" v="5950"/>
        <pc:sldMkLst>
          <pc:docMk/>
          <pc:sldMk cId="2763404743" sldId="6833"/>
        </pc:sldMkLst>
        <pc:spChg chg="mod">
          <ac:chgData name="Théodora DUPONT-COURTADE" userId="b06d61bd-3bc1-47a9-8acb-1faed11547af" providerId="ADAL" clId="{B6284D1A-71B0-43D0-A276-BF5B1397783A}" dt="2020-10-02T12:03:34.304" v="4475" actId="20577"/>
          <ac:spMkLst>
            <pc:docMk/>
            <pc:sldMk cId="2763404743" sldId="6833"/>
            <ac:spMk id="2" creationId="{3FA10D67-B0CD-467C-9FAE-459CE49A73AC}"/>
          </ac:spMkLst>
        </pc:spChg>
        <pc:spChg chg="mod">
          <ac:chgData name="Théodora DUPONT-COURTADE" userId="b06d61bd-3bc1-47a9-8acb-1faed11547af" providerId="ADAL" clId="{B6284D1A-71B0-43D0-A276-BF5B1397783A}" dt="2020-10-02T12:51:14.888" v="5950"/>
          <ac:spMkLst>
            <pc:docMk/>
            <pc:sldMk cId="2763404743" sldId="6833"/>
            <ac:spMk id="103" creationId="{C8A52D54-9E96-4855-BF97-88907E41C19C}"/>
          </ac:spMkLst>
        </pc:spChg>
        <pc:spChg chg="mod">
          <ac:chgData name="Théodora DUPONT-COURTADE" userId="b06d61bd-3bc1-47a9-8acb-1faed11547af" providerId="ADAL" clId="{B6284D1A-71B0-43D0-A276-BF5B1397783A}" dt="2020-10-02T12:03:32.767" v="4467" actId="6549"/>
          <ac:spMkLst>
            <pc:docMk/>
            <pc:sldMk cId="2763404743" sldId="6833"/>
            <ac:spMk id="113" creationId="{65F9577C-E65E-4DF1-BBD9-D0503617D710}"/>
          </ac:spMkLst>
        </pc:spChg>
        <pc:spChg chg="mod">
          <ac:chgData name="Théodora DUPONT-COURTADE" userId="b06d61bd-3bc1-47a9-8acb-1faed11547af" providerId="ADAL" clId="{B6284D1A-71B0-43D0-A276-BF5B1397783A}" dt="2020-10-02T12:50:55.801" v="5949"/>
          <ac:spMkLst>
            <pc:docMk/>
            <pc:sldMk cId="2763404743" sldId="6833"/>
            <ac:spMk id="137" creationId="{3A4BBA4A-35A4-446D-9CBE-B5F06DD9BADB}"/>
          </ac:spMkLst>
        </pc:spChg>
        <pc:graphicFrameChg chg="mod">
          <ac:chgData name="Théodora DUPONT-COURTADE" userId="b06d61bd-3bc1-47a9-8acb-1faed11547af" providerId="ADAL" clId="{B6284D1A-71B0-43D0-A276-BF5B1397783A}" dt="2020-10-02T12:03:34.776" v="4477"/>
          <ac:graphicFrameMkLst>
            <pc:docMk/>
            <pc:sldMk cId="2763404743" sldId="6833"/>
            <ac:graphicFrameMk id="114" creationId="{15DFFB9E-9A55-4AA9-8206-5BC818B27F13}"/>
          </ac:graphicFrameMkLst>
        </pc:graphicFrameChg>
      </pc:sldChg>
      <pc:sldChg chg="modSp mod">
        <pc:chgData name="Théodora DUPONT-COURTADE" userId="b06d61bd-3bc1-47a9-8acb-1faed11547af" providerId="ADAL" clId="{B6284D1A-71B0-43D0-A276-BF5B1397783A}" dt="2020-10-02T12:51:14.888" v="5950"/>
        <pc:sldMkLst>
          <pc:docMk/>
          <pc:sldMk cId="244205625" sldId="6834"/>
        </pc:sldMkLst>
        <pc:spChg chg="mod">
          <ac:chgData name="Théodora DUPONT-COURTADE" userId="b06d61bd-3bc1-47a9-8acb-1faed11547af" providerId="ADAL" clId="{B6284D1A-71B0-43D0-A276-BF5B1397783A}" dt="2020-10-02T12:50:55.801" v="5949"/>
          <ac:spMkLst>
            <pc:docMk/>
            <pc:sldMk cId="244205625" sldId="6834"/>
            <ac:spMk id="2" creationId="{431E21A3-8E05-48D9-9A90-0ADD5759005D}"/>
          </ac:spMkLst>
        </pc:spChg>
        <pc:spChg chg="mod">
          <ac:chgData name="Théodora DUPONT-COURTADE" userId="b06d61bd-3bc1-47a9-8acb-1faed11547af" providerId="ADAL" clId="{B6284D1A-71B0-43D0-A276-BF5B1397783A}" dt="2020-10-02T12:51:14.888" v="5950"/>
          <ac:spMkLst>
            <pc:docMk/>
            <pc:sldMk cId="244205625" sldId="6834"/>
            <ac:spMk id="10" creationId="{D6FD555F-DC62-4966-822A-52A5E7ABE1D6}"/>
          </ac:spMkLst>
        </pc:spChg>
        <pc:spChg chg="mod">
          <ac:chgData name="Théodora DUPONT-COURTADE" userId="b06d61bd-3bc1-47a9-8acb-1faed11547af" providerId="ADAL" clId="{B6284D1A-71B0-43D0-A276-BF5B1397783A}" dt="2020-10-02T12:50:55.801" v="5949"/>
          <ac:spMkLst>
            <pc:docMk/>
            <pc:sldMk cId="244205625" sldId="6834"/>
            <ac:spMk id="113" creationId="{9B45092B-2336-423F-9E3D-9F247E2504CA}"/>
          </ac:spMkLst>
        </pc:spChg>
        <pc:spChg chg="mod">
          <ac:chgData name="Théodora DUPONT-COURTADE" userId="b06d61bd-3bc1-47a9-8acb-1faed11547af" providerId="ADAL" clId="{B6284D1A-71B0-43D0-A276-BF5B1397783A}" dt="2020-10-02T12:51:14.888" v="5950"/>
          <ac:spMkLst>
            <pc:docMk/>
            <pc:sldMk cId="244205625" sldId="6834"/>
            <ac:spMk id="144" creationId="{C3C320CF-A1BD-49AC-A695-C4766BEC38B5}"/>
          </ac:spMkLst>
        </pc:spChg>
        <pc:spChg chg="mod">
          <ac:chgData name="Théodora DUPONT-COURTADE" userId="b06d61bd-3bc1-47a9-8acb-1faed11547af" providerId="ADAL" clId="{B6284D1A-71B0-43D0-A276-BF5B1397783A}" dt="2020-10-02T12:51:14.888" v="5950"/>
          <ac:spMkLst>
            <pc:docMk/>
            <pc:sldMk cId="244205625" sldId="6834"/>
            <ac:spMk id="146" creationId="{E502959E-D7E1-466F-AB2C-924AF488E9D6}"/>
          </ac:spMkLst>
        </pc:spChg>
        <pc:spChg chg="mod">
          <ac:chgData name="Théodora DUPONT-COURTADE" userId="b06d61bd-3bc1-47a9-8acb-1faed11547af" providerId="ADAL" clId="{B6284D1A-71B0-43D0-A276-BF5B1397783A}" dt="2020-10-02T12:51:14.888" v="5950"/>
          <ac:spMkLst>
            <pc:docMk/>
            <pc:sldMk cId="244205625" sldId="6834"/>
            <ac:spMk id="147" creationId="{26FE57EB-CEAA-417D-B751-B68F9F0C89E5}"/>
          </ac:spMkLst>
        </pc:spChg>
        <pc:spChg chg="mod">
          <ac:chgData name="Théodora DUPONT-COURTADE" userId="b06d61bd-3bc1-47a9-8acb-1faed11547af" providerId="ADAL" clId="{B6284D1A-71B0-43D0-A276-BF5B1397783A}" dt="2020-10-02T12:03:59.432" v="4483" actId="20577"/>
          <ac:spMkLst>
            <pc:docMk/>
            <pc:sldMk cId="244205625" sldId="6834"/>
            <ac:spMk id="160" creationId="{AC3E107D-C4DE-4856-B201-73032A5F1163}"/>
          </ac:spMkLst>
        </pc:spChg>
        <pc:spChg chg="mod">
          <ac:chgData name="Théodora DUPONT-COURTADE" userId="b06d61bd-3bc1-47a9-8acb-1faed11547af" providerId="ADAL" clId="{B6284D1A-71B0-43D0-A276-BF5B1397783A}" dt="2020-10-02T12:50:55.801" v="5949"/>
          <ac:spMkLst>
            <pc:docMk/>
            <pc:sldMk cId="244205625" sldId="6834"/>
            <ac:spMk id="167" creationId="{E7B0A340-687C-4A19-8614-B07F8B861CE1}"/>
          </ac:spMkLst>
        </pc:spChg>
        <pc:spChg chg="mod">
          <ac:chgData name="Théodora DUPONT-COURTADE" userId="b06d61bd-3bc1-47a9-8acb-1faed11547af" providerId="ADAL" clId="{B6284D1A-71B0-43D0-A276-BF5B1397783A}" dt="2020-10-02T12:50:55.801" v="5949"/>
          <ac:spMkLst>
            <pc:docMk/>
            <pc:sldMk cId="244205625" sldId="6834"/>
            <ac:spMk id="188" creationId="{9CFCF654-AC70-452A-9A40-1A03CA433DE0}"/>
          </ac:spMkLst>
        </pc:spChg>
      </pc:sldChg>
      <pc:sldChg chg="modSp mod">
        <pc:chgData name="Théodora DUPONT-COURTADE" userId="b06d61bd-3bc1-47a9-8acb-1faed11547af" providerId="ADAL" clId="{B6284D1A-71B0-43D0-A276-BF5B1397783A}" dt="2020-10-02T07:33:06.928" v="658" actId="20577"/>
        <pc:sldMkLst>
          <pc:docMk/>
          <pc:sldMk cId="3276717246" sldId="6849"/>
        </pc:sldMkLst>
        <pc:spChg chg="mod">
          <ac:chgData name="Théodora DUPONT-COURTADE" userId="b06d61bd-3bc1-47a9-8acb-1faed11547af" providerId="ADAL" clId="{B6284D1A-71B0-43D0-A276-BF5B1397783A}" dt="2020-10-02T07:33:06.928" v="658" actId="20577"/>
          <ac:spMkLst>
            <pc:docMk/>
            <pc:sldMk cId="3276717246" sldId="6849"/>
            <ac:spMk id="41" creationId="{C656333A-12AB-4C8A-A78D-11F6ECDA5AA5}"/>
          </ac:spMkLst>
        </pc:spChg>
      </pc:sldChg>
      <pc:sldChg chg="modSp mod">
        <pc:chgData name="Théodora DUPONT-COURTADE" userId="b06d61bd-3bc1-47a9-8acb-1faed11547af" providerId="ADAL" clId="{B6284D1A-71B0-43D0-A276-BF5B1397783A}" dt="2020-10-02T07:30:49.164" v="622" actId="20577"/>
        <pc:sldMkLst>
          <pc:docMk/>
          <pc:sldMk cId="76837937" sldId="6855"/>
        </pc:sldMkLst>
        <pc:spChg chg="mod">
          <ac:chgData name="Théodora DUPONT-COURTADE" userId="b06d61bd-3bc1-47a9-8acb-1faed11547af" providerId="ADAL" clId="{B6284D1A-71B0-43D0-A276-BF5B1397783A}" dt="2020-10-02T07:30:49.164" v="622" actId="20577"/>
          <ac:spMkLst>
            <pc:docMk/>
            <pc:sldMk cId="76837937" sldId="6855"/>
            <ac:spMk id="70" creationId="{9B377CD1-2797-433B-A193-0F7519A1D5DE}"/>
          </ac:spMkLst>
        </pc:spChg>
      </pc:sldChg>
      <pc:sldChg chg="addSp modSp mod">
        <pc:chgData name="Théodora DUPONT-COURTADE" userId="b06d61bd-3bc1-47a9-8acb-1faed11547af" providerId="ADAL" clId="{B6284D1A-71B0-43D0-A276-BF5B1397783A}" dt="2020-10-02T12:11:59.786" v="4581" actId="27918"/>
        <pc:sldMkLst>
          <pc:docMk/>
          <pc:sldMk cId="106942386" sldId="6857"/>
        </pc:sldMkLst>
        <pc:spChg chg="add mod">
          <ac:chgData name="Théodora DUPONT-COURTADE" userId="b06d61bd-3bc1-47a9-8acb-1faed11547af" providerId="ADAL" clId="{B6284D1A-71B0-43D0-A276-BF5B1397783A}" dt="2020-10-02T07:35:11.449" v="772" actId="207"/>
          <ac:spMkLst>
            <pc:docMk/>
            <pc:sldMk cId="106942386" sldId="6857"/>
            <ac:spMk id="4" creationId="{08400ACF-D748-4273-96A6-73DE66954BAA}"/>
          </ac:spMkLst>
        </pc:spChg>
        <pc:spChg chg="mod">
          <ac:chgData name="Théodora DUPONT-COURTADE" userId="b06d61bd-3bc1-47a9-8acb-1faed11547af" providerId="ADAL" clId="{B6284D1A-71B0-43D0-A276-BF5B1397783A}" dt="2020-10-02T12:09:32.584" v="4566" actId="1076"/>
          <ac:spMkLst>
            <pc:docMk/>
            <pc:sldMk cId="106942386" sldId="6857"/>
            <ac:spMk id="33" creationId="{2F1ED0FD-CDEC-450F-B543-1CE32E396CAA}"/>
          </ac:spMkLst>
        </pc:spChg>
        <pc:graphicFrameChg chg="mod">
          <ac:chgData name="Théodora DUPONT-COURTADE" userId="b06d61bd-3bc1-47a9-8acb-1faed11547af" providerId="ADAL" clId="{B6284D1A-71B0-43D0-A276-BF5B1397783A}" dt="2020-10-02T12:09:48.494" v="4572" actId="404"/>
          <ac:graphicFrameMkLst>
            <pc:docMk/>
            <pc:sldMk cId="106942386" sldId="6857"/>
            <ac:graphicFrameMk id="8" creationId="{256AEEA1-5D55-4724-A980-03F17A2BB8E7}"/>
          </ac:graphicFrameMkLst>
        </pc:graphicFrameChg>
        <pc:graphicFrameChg chg="mod">
          <ac:chgData name="Théodora DUPONT-COURTADE" userId="b06d61bd-3bc1-47a9-8acb-1faed11547af" providerId="ADAL" clId="{B6284D1A-71B0-43D0-A276-BF5B1397783A}" dt="2020-10-02T12:11:47.670" v="4579"/>
          <ac:graphicFrameMkLst>
            <pc:docMk/>
            <pc:sldMk cId="106942386" sldId="6857"/>
            <ac:graphicFrameMk id="25" creationId="{AF78BBC2-D582-413C-B8BD-D350092B8080}"/>
          </ac:graphicFrameMkLst>
        </pc:graphicFrameChg>
      </pc:sldChg>
      <pc:sldChg chg="del">
        <pc:chgData name="Théodora DUPONT-COURTADE" userId="b06d61bd-3bc1-47a9-8acb-1faed11547af" providerId="ADAL" clId="{B6284D1A-71B0-43D0-A276-BF5B1397783A}" dt="2020-10-02T14:53:37.913" v="15167" actId="47"/>
        <pc:sldMkLst>
          <pc:docMk/>
          <pc:sldMk cId="609955169" sldId="6874"/>
        </pc:sldMkLst>
      </pc:sldChg>
      <pc:sldChg chg="addSp delSp modSp mod">
        <pc:chgData name="Théodora DUPONT-COURTADE" userId="b06d61bd-3bc1-47a9-8acb-1faed11547af" providerId="ADAL" clId="{B6284D1A-71B0-43D0-A276-BF5B1397783A}" dt="2020-10-07T08:52:12.146" v="16403"/>
        <pc:sldMkLst>
          <pc:docMk/>
          <pc:sldMk cId="692933560" sldId="6895"/>
        </pc:sldMkLst>
        <pc:spChg chg="mod">
          <ac:chgData name="Théodora DUPONT-COURTADE" userId="b06d61bd-3bc1-47a9-8acb-1faed11547af" providerId="ADAL" clId="{B6284D1A-71B0-43D0-A276-BF5B1397783A}" dt="2020-10-02T13:13:42.952" v="9249" actId="20577"/>
          <ac:spMkLst>
            <pc:docMk/>
            <pc:sldMk cId="692933560" sldId="6895"/>
            <ac:spMk id="2" creationId="{41BBF145-A48D-4579-9141-BF43E68DBC5B}"/>
          </ac:spMkLst>
        </pc:spChg>
        <pc:spChg chg="add del mod">
          <ac:chgData name="Théodora DUPONT-COURTADE" userId="b06d61bd-3bc1-47a9-8acb-1faed11547af" providerId="ADAL" clId="{B6284D1A-71B0-43D0-A276-BF5B1397783A}" dt="2020-10-02T13:40:24.242" v="9663" actId="478"/>
          <ac:spMkLst>
            <pc:docMk/>
            <pc:sldMk cId="692933560" sldId="6895"/>
            <ac:spMk id="4" creationId="{44D8DD85-ECA3-4FEE-AE13-8EFB70CB02F7}"/>
          </ac:spMkLst>
        </pc:spChg>
        <pc:spChg chg="mod">
          <ac:chgData name="Théodora DUPONT-COURTADE" userId="b06d61bd-3bc1-47a9-8acb-1faed11547af" providerId="ADAL" clId="{B6284D1A-71B0-43D0-A276-BF5B1397783A}" dt="2020-10-02T13:13:43.508" v="9270" actId="6549"/>
          <ac:spMkLst>
            <pc:docMk/>
            <pc:sldMk cId="692933560" sldId="6895"/>
            <ac:spMk id="7" creationId="{4A6022E3-4DB9-46DF-966E-81EED0537A86}"/>
          </ac:spMkLst>
        </pc:spChg>
        <pc:spChg chg="del">
          <ac:chgData name="Théodora DUPONT-COURTADE" userId="b06d61bd-3bc1-47a9-8acb-1faed11547af" providerId="ADAL" clId="{B6284D1A-71B0-43D0-A276-BF5B1397783A}" dt="2020-10-07T08:52:11.521" v="16402" actId="478"/>
          <ac:spMkLst>
            <pc:docMk/>
            <pc:sldMk cId="692933560" sldId="6895"/>
            <ac:spMk id="79" creationId="{CD19E6A4-8567-4F4C-8660-64A9310AA4D4}"/>
          </ac:spMkLst>
        </pc:spChg>
        <pc:spChg chg="del">
          <ac:chgData name="Théodora DUPONT-COURTADE" userId="b06d61bd-3bc1-47a9-8acb-1faed11547af" providerId="ADAL" clId="{B6284D1A-71B0-43D0-A276-BF5B1397783A}" dt="2020-10-07T08:52:11.521" v="16402" actId="478"/>
          <ac:spMkLst>
            <pc:docMk/>
            <pc:sldMk cId="692933560" sldId="6895"/>
            <ac:spMk id="105" creationId="{E92375EC-AC16-49B1-A7A3-A8E21EC34E98}"/>
          </ac:spMkLst>
        </pc:spChg>
        <pc:spChg chg="mod">
          <ac:chgData name="Théodora DUPONT-COURTADE" userId="b06d61bd-3bc1-47a9-8acb-1faed11547af" providerId="ADAL" clId="{B6284D1A-71B0-43D0-A276-BF5B1397783A}" dt="2020-10-07T08:52:12.146" v="16403"/>
          <ac:spMkLst>
            <pc:docMk/>
            <pc:sldMk cId="692933560" sldId="6895"/>
            <ac:spMk id="117" creationId="{BCC6F20B-F860-4485-B019-B1FC536696DA}"/>
          </ac:spMkLst>
        </pc:spChg>
        <pc:spChg chg="mod">
          <ac:chgData name="Théodora DUPONT-COURTADE" userId="b06d61bd-3bc1-47a9-8acb-1faed11547af" providerId="ADAL" clId="{B6284D1A-71B0-43D0-A276-BF5B1397783A}" dt="2020-10-07T08:52:12.146" v="16403"/>
          <ac:spMkLst>
            <pc:docMk/>
            <pc:sldMk cId="692933560" sldId="6895"/>
            <ac:spMk id="119" creationId="{D2F48D5B-0410-4768-BF57-73D23F1F07EF}"/>
          </ac:spMkLst>
        </pc:spChg>
        <pc:spChg chg="mod">
          <ac:chgData name="Théodora DUPONT-COURTADE" userId="b06d61bd-3bc1-47a9-8acb-1faed11547af" providerId="ADAL" clId="{B6284D1A-71B0-43D0-A276-BF5B1397783A}" dt="2020-10-07T08:52:12.146" v="16403"/>
          <ac:spMkLst>
            <pc:docMk/>
            <pc:sldMk cId="692933560" sldId="6895"/>
            <ac:spMk id="120" creationId="{8150A045-D917-4933-926F-2938A9F02BB6}"/>
          </ac:spMkLst>
        </pc:spChg>
        <pc:spChg chg="mod">
          <ac:chgData name="Théodora DUPONT-COURTADE" userId="b06d61bd-3bc1-47a9-8acb-1faed11547af" providerId="ADAL" clId="{B6284D1A-71B0-43D0-A276-BF5B1397783A}" dt="2020-10-07T08:52:12.146" v="16403"/>
          <ac:spMkLst>
            <pc:docMk/>
            <pc:sldMk cId="692933560" sldId="6895"/>
            <ac:spMk id="121" creationId="{CC43BE00-BADD-4478-8D76-AF8C16CA9322}"/>
          </ac:spMkLst>
        </pc:spChg>
        <pc:spChg chg="mod">
          <ac:chgData name="Théodora DUPONT-COURTADE" userId="b06d61bd-3bc1-47a9-8acb-1faed11547af" providerId="ADAL" clId="{B6284D1A-71B0-43D0-A276-BF5B1397783A}" dt="2020-10-07T08:52:12.146" v="16403"/>
          <ac:spMkLst>
            <pc:docMk/>
            <pc:sldMk cId="692933560" sldId="6895"/>
            <ac:spMk id="122" creationId="{8075563C-1D35-4797-9C74-85C338BB7CA9}"/>
          </ac:spMkLst>
        </pc:spChg>
        <pc:spChg chg="mod">
          <ac:chgData name="Théodora DUPONT-COURTADE" userId="b06d61bd-3bc1-47a9-8acb-1faed11547af" providerId="ADAL" clId="{B6284D1A-71B0-43D0-A276-BF5B1397783A}" dt="2020-10-07T08:52:12.146" v="16403"/>
          <ac:spMkLst>
            <pc:docMk/>
            <pc:sldMk cId="692933560" sldId="6895"/>
            <ac:spMk id="123" creationId="{36E3BB9E-54F7-4901-87E2-8769F10BC610}"/>
          </ac:spMkLst>
        </pc:spChg>
        <pc:spChg chg="mod">
          <ac:chgData name="Théodora DUPONT-COURTADE" userId="b06d61bd-3bc1-47a9-8acb-1faed11547af" providerId="ADAL" clId="{B6284D1A-71B0-43D0-A276-BF5B1397783A}" dt="2020-10-07T08:52:12.146" v="16403"/>
          <ac:spMkLst>
            <pc:docMk/>
            <pc:sldMk cId="692933560" sldId="6895"/>
            <ac:spMk id="124" creationId="{3694C639-0A70-4CC6-AF89-2DF0BBE0BB6B}"/>
          </ac:spMkLst>
        </pc:spChg>
        <pc:spChg chg="mod">
          <ac:chgData name="Théodora DUPONT-COURTADE" userId="b06d61bd-3bc1-47a9-8acb-1faed11547af" providerId="ADAL" clId="{B6284D1A-71B0-43D0-A276-BF5B1397783A}" dt="2020-10-07T08:52:12.146" v="16403"/>
          <ac:spMkLst>
            <pc:docMk/>
            <pc:sldMk cId="692933560" sldId="6895"/>
            <ac:spMk id="125" creationId="{36843667-20D8-42B0-BC03-215E24083561}"/>
          </ac:spMkLst>
        </pc:spChg>
        <pc:spChg chg="del">
          <ac:chgData name="Théodora DUPONT-COURTADE" userId="b06d61bd-3bc1-47a9-8acb-1faed11547af" providerId="ADAL" clId="{B6284D1A-71B0-43D0-A276-BF5B1397783A}" dt="2020-10-07T08:52:11.521" v="16402" actId="478"/>
          <ac:spMkLst>
            <pc:docMk/>
            <pc:sldMk cId="692933560" sldId="6895"/>
            <ac:spMk id="128" creationId="{C0F92185-9C8F-4BA9-8E20-EB8DDC6845CD}"/>
          </ac:spMkLst>
        </pc:spChg>
        <pc:spChg chg="del">
          <ac:chgData name="Théodora DUPONT-COURTADE" userId="b06d61bd-3bc1-47a9-8acb-1faed11547af" providerId="ADAL" clId="{B6284D1A-71B0-43D0-A276-BF5B1397783A}" dt="2020-10-07T08:52:11.521" v="16402" actId="478"/>
          <ac:spMkLst>
            <pc:docMk/>
            <pc:sldMk cId="692933560" sldId="6895"/>
            <ac:spMk id="149" creationId="{08D37570-30EB-4498-9E35-93598876D4E3}"/>
          </ac:spMkLst>
        </pc:spChg>
        <pc:spChg chg="del">
          <ac:chgData name="Théodora DUPONT-COURTADE" userId="b06d61bd-3bc1-47a9-8acb-1faed11547af" providerId="ADAL" clId="{B6284D1A-71B0-43D0-A276-BF5B1397783A}" dt="2020-10-07T08:52:11.521" v="16402" actId="478"/>
          <ac:spMkLst>
            <pc:docMk/>
            <pc:sldMk cId="692933560" sldId="6895"/>
            <ac:spMk id="154" creationId="{B19B1ADF-CC50-48C1-88DF-722192706A3A}"/>
          </ac:spMkLst>
        </pc:spChg>
        <pc:spChg chg="del">
          <ac:chgData name="Théodora DUPONT-COURTADE" userId="b06d61bd-3bc1-47a9-8acb-1faed11547af" providerId="ADAL" clId="{B6284D1A-71B0-43D0-A276-BF5B1397783A}" dt="2020-10-07T08:52:11.521" v="16402" actId="478"/>
          <ac:spMkLst>
            <pc:docMk/>
            <pc:sldMk cId="692933560" sldId="6895"/>
            <ac:spMk id="158" creationId="{00E0A54E-CC87-4D77-BADE-B73A1EDF6FB0}"/>
          </ac:spMkLst>
        </pc:spChg>
        <pc:spChg chg="del">
          <ac:chgData name="Théodora DUPONT-COURTADE" userId="b06d61bd-3bc1-47a9-8acb-1faed11547af" providerId="ADAL" clId="{B6284D1A-71B0-43D0-A276-BF5B1397783A}" dt="2020-10-07T08:52:11.521" v="16402" actId="478"/>
          <ac:spMkLst>
            <pc:docMk/>
            <pc:sldMk cId="692933560" sldId="6895"/>
            <ac:spMk id="159" creationId="{4432DE0B-F8E8-46C0-B317-D0F87591A648}"/>
          </ac:spMkLst>
        </pc:spChg>
        <pc:spChg chg="del">
          <ac:chgData name="Théodora DUPONT-COURTADE" userId="b06d61bd-3bc1-47a9-8acb-1faed11547af" providerId="ADAL" clId="{B6284D1A-71B0-43D0-A276-BF5B1397783A}" dt="2020-10-07T08:52:11.521" v="16402" actId="478"/>
          <ac:spMkLst>
            <pc:docMk/>
            <pc:sldMk cId="692933560" sldId="6895"/>
            <ac:spMk id="162" creationId="{B20293F7-2FD4-4117-B8E3-C47A6A364F61}"/>
          </ac:spMkLst>
        </pc:spChg>
        <pc:spChg chg="del">
          <ac:chgData name="Théodora DUPONT-COURTADE" userId="b06d61bd-3bc1-47a9-8acb-1faed11547af" providerId="ADAL" clId="{B6284D1A-71B0-43D0-A276-BF5B1397783A}" dt="2020-10-07T08:52:11.521" v="16402" actId="478"/>
          <ac:spMkLst>
            <pc:docMk/>
            <pc:sldMk cId="692933560" sldId="6895"/>
            <ac:spMk id="163" creationId="{0B0FCE98-B965-42F7-9055-55144AA964A4}"/>
          </ac:spMkLst>
        </pc:spChg>
        <pc:spChg chg="del">
          <ac:chgData name="Théodora DUPONT-COURTADE" userId="b06d61bd-3bc1-47a9-8acb-1faed11547af" providerId="ADAL" clId="{B6284D1A-71B0-43D0-A276-BF5B1397783A}" dt="2020-10-07T08:52:11.521" v="16402" actId="478"/>
          <ac:spMkLst>
            <pc:docMk/>
            <pc:sldMk cId="692933560" sldId="6895"/>
            <ac:spMk id="165" creationId="{57445F20-D853-4EFC-A11E-E9185A736D50}"/>
          </ac:spMkLst>
        </pc:spChg>
        <pc:spChg chg="del">
          <ac:chgData name="Théodora DUPONT-COURTADE" userId="b06d61bd-3bc1-47a9-8acb-1faed11547af" providerId="ADAL" clId="{B6284D1A-71B0-43D0-A276-BF5B1397783A}" dt="2020-10-07T08:52:11.521" v="16402" actId="478"/>
          <ac:spMkLst>
            <pc:docMk/>
            <pc:sldMk cId="692933560" sldId="6895"/>
            <ac:spMk id="166" creationId="{51C0B985-2173-47FE-80E9-59F87780289E}"/>
          </ac:spMkLst>
        </pc:spChg>
        <pc:spChg chg="mod">
          <ac:chgData name="Théodora DUPONT-COURTADE" userId="b06d61bd-3bc1-47a9-8acb-1faed11547af" providerId="ADAL" clId="{B6284D1A-71B0-43D0-A276-BF5B1397783A}" dt="2020-10-07T08:52:12.146" v="16403"/>
          <ac:spMkLst>
            <pc:docMk/>
            <pc:sldMk cId="692933560" sldId="6895"/>
            <ac:spMk id="167" creationId="{EBF64854-68EF-4565-8BDC-747CCD5C739E}"/>
          </ac:spMkLst>
        </pc:spChg>
        <pc:spChg chg="mod">
          <ac:chgData name="Théodora DUPONT-COURTADE" userId="b06d61bd-3bc1-47a9-8acb-1faed11547af" providerId="ADAL" clId="{B6284D1A-71B0-43D0-A276-BF5B1397783A}" dt="2020-10-07T08:52:12.146" v="16403"/>
          <ac:spMkLst>
            <pc:docMk/>
            <pc:sldMk cId="692933560" sldId="6895"/>
            <ac:spMk id="168" creationId="{F7BF6B1E-8B51-4F77-93E9-803CC6007EB2}"/>
          </ac:spMkLst>
        </pc:spChg>
        <pc:spChg chg="mod">
          <ac:chgData name="Théodora DUPONT-COURTADE" userId="b06d61bd-3bc1-47a9-8acb-1faed11547af" providerId="ADAL" clId="{B6284D1A-71B0-43D0-A276-BF5B1397783A}" dt="2020-10-07T08:52:12.146" v="16403"/>
          <ac:spMkLst>
            <pc:docMk/>
            <pc:sldMk cId="692933560" sldId="6895"/>
            <ac:spMk id="169" creationId="{7F1617CF-A5A9-4CD9-806D-B914998695D7}"/>
          </ac:spMkLst>
        </pc:spChg>
        <pc:spChg chg="mod">
          <ac:chgData name="Théodora DUPONT-COURTADE" userId="b06d61bd-3bc1-47a9-8acb-1faed11547af" providerId="ADAL" clId="{B6284D1A-71B0-43D0-A276-BF5B1397783A}" dt="2020-10-07T08:52:12.146" v="16403"/>
          <ac:spMkLst>
            <pc:docMk/>
            <pc:sldMk cId="692933560" sldId="6895"/>
            <ac:spMk id="170" creationId="{3587C7CF-E610-4217-9B50-9BD08E6CB608}"/>
          </ac:spMkLst>
        </pc:spChg>
        <pc:spChg chg="mod">
          <ac:chgData name="Théodora DUPONT-COURTADE" userId="b06d61bd-3bc1-47a9-8acb-1faed11547af" providerId="ADAL" clId="{B6284D1A-71B0-43D0-A276-BF5B1397783A}" dt="2020-10-07T08:52:12.146" v="16403"/>
          <ac:spMkLst>
            <pc:docMk/>
            <pc:sldMk cId="692933560" sldId="6895"/>
            <ac:spMk id="171" creationId="{4DE89761-E9AA-4C56-B23C-4FBEB7943D6B}"/>
          </ac:spMkLst>
        </pc:spChg>
        <pc:spChg chg="mod">
          <ac:chgData name="Théodora DUPONT-COURTADE" userId="b06d61bd-3bc1-47a9-8acb-1faed11547af" providerId="ADAL" clId="{B6284D1A-71B0-43D0-A276-BF5B1397783A}" dt="2020-10-07T08:52:12.146" v="16403"/>
          <ac:spMkLst>
            <pc:docMk/>
            <pc:sldMk cId="692933560" sldId="6895"/>
            <ac:spMk id="172" creationId="{0A92AB54-0042-4F29-AC70-91AD5BC47130}"/>
          </ac:spMkLst>
        </pc:spChg>
        <pc:spChg chg="mod">
          <ac:chgData name="Théodora DUPONT-COURTADE" userId="b06d61bd-3bc1-47a9-8acb-1faed11547af" providerId="ADAL" clId="{B6284D1A-71B0-43D0-A276-BF5B1397783A}" dt="2020-10-07T08:52:12.146" v="16403"/>
          <ac:spMkLst>
            <pc:docMk/>
            <pc:sldMk cId="692933560" sldId="6895"/>
            <ac:spMk id="173" creationId="{3A7BBBC7-F06C-4D9E-967D-99613877AAB5}"/>
          </ac:spMkLst>
        </pc:spChg>
        <pc:spChg chg="mod">
          <ac:chgData name="Théodora DUPONT-COURTADE" userId="b06d61bd-3bc1-47a9-8acb-1faed11547af" providerId="ADAL" clId="{B6284D1A-71B0-43D0-A276-BF5B1397783A}" dt="2020-10-07T08:52:12.146" v="16403"/>
          <ac:spMkLst>
            <pc:docMk/>
            <pc:sldMk cId="692933560" sldId="6895"/>
            <ac:spMk id="174" creationId="{9B1A0EEB-1FFF-46AD-B005-88B3F4EFC10E}"/>
          </ac:spMkLst>
        </pc:spChg>
        <pc:spChg chg="mod">
          <ac:chgData name="Théodora DUPONT-COURTADE" userId="b06d61bd-3bc1-47a9-8acb-1faed11547af" providerId="ADAL" clId="{B6284D1A-71B0-43D0-A276-BF5B1397783A}" dt="2020-10-07T08:52:12.146" v="16403"/>
          <ac:spMkLst>
            <pc:docMk/>
            <pc:sldMk cId="692933560" sldId="6895"/>
            <ac:spMk id="175" creationId="{99991AD9-E657-4774-BB36-6B61324CC742}"/>
          </ac:spMkLst>
        </pc:spChg>
        <pc:spChg chg="mod">
          <ac:chgData name="Théodora DUPONT-COURTADE" userId="b06d61bd-3bc1-47a9-8acb-1faed11547af" providerId="ADAL" clId="{B6284D1A-71B0-43D0-A276-BF5B1397783A}" dt="2020-10-07T08:52:12.146" v="16403"/>
          <ac:spMkLst>
            <pc:docMk/>
            <pc:sldMk cId="692933560" sldId="6895"/>
            <ac:spMk id="176" creationId="{E0DBF8C8-BE3E-4172-82F0-4CEBC402E733}"/>
          </ac:spMkLst>
        </pc:spChg>
        <pc:spChg chg="mod">
          <ac:chgData name="Théodora DUPONT-COURTADE" userId="b06d61bd-3bc1-47a9-8acb-1faed11547af" providerId="ADAL" clId="{B6284D1A-71B0-43D0-A276-BF5B1397783A}" dt="2020-10-07T08:52:12.146" v="16403"/>
          <ac:spMkLst>
            <pc:docMk/>
            <pc:sldMk cId="692933560" sldId="6895"/>
            <ac:spMk id="177" creationId="{816039AF-D261-4DCB-AE12-DB90079C2A49}"/>
          </ac:spMkLst>
        </pc:spChg>
        <pc:spChg chg="mod">
          <ac:chgData name="Théodora DUPONT-COURTADE" userId="b06d61bd-3bc1-47a9-8acb-1faed11547af" providerId="ADAL" clId="{B6284D1A-71B0-43D0-A276-BF5B1397783A}" dt="2020-10-07T08:52:12.146" v="16403"/>
          <ac:spMkLst>
            <pc:docMk/>
            <pc:sldMk cId="692933560" sldId="6895"/>
            <ac:spMk id="178" creationId="{0564E4E3-04B3-45F1-BAAF-A857966380ED}"/>
          </ac:spMkLst>
        </pc:spChg>
        <pc:spChg chg="mod">
          <ac:chgData name="Théodora DUPONT-COURTADE" userId="b06d61bd-3bc1-47a9-8acb-1faed11547af" providerId="ADAL" clId="{B6284D1A-71B0-43D0-A276-BF5B1397783A}" dt="2020-10-07T08:52:12.146" v="16403"/>
          <ac:spMkLst>
            <pc:docMk/>
            <pc:sldMk cId="692933560" sldId="6895"/>
            <ac:spMk id="179" creationId="{DC595800-BAAF-43EE-A838-E48BF4A1F75D}"/>
          </ac:spMkLst>
        </pc:spChg>
        <pc:spChg chg="mod">
          <ac:chgData name="Théodora DUPONT-COURTADE" userId="b06d61bd-3bc1-47a9-8acb-1faed11547af" providerId="ADAL" clId="{B6284D1A-71B0-43D0-A276-BF5B1397783A}" dt="2020-10-07T08:52:12.146" v="16403"/>
          <ac:spMkLst>
            <pc:docMk/>
            <pc:sldMk cId="692933560" sldId="6895"/>
            <ac:spMk id="180" creationId="{B9B0AE36-DF0E-4C5F-827F-F90B5F4463A1}"/>
          </ac:spMkLst>
        </pc:spChg>
        <pc:spChg chg="mod">
          <ac:chgData name="Théodora DUPONT-COURTADE" userId="b06d61bd-3bc1-47a9-8acb-1faed11547af" providerId="ADAL" clId="{B6284D1A-71B0-43D0-A276-BF5B1397783A}" dt="2020-10-07T08:52:12.146" v="16403"/>
          <ac:spMkLst>
            <pc:docMk/>
            <pc:sldMk cId="692933560" sldId="6895"/>
            <ac:spMk id="183" creationId="{965A5403-2924-4C63-9EAA-45740279EC66}"/>
          </ac:spMkLst>
        </pc:spChg>
        <pc:spChg chg="add mod">
          <ac:chgData name="Théodora DUPONT-COURTADE" userId="b06d61bd-3bc1-47a9-8acb-1faed11547af" providerId="ADAL" clId="{B6284D1A-71B0-43D0-A276-BF5B1397783A}" dt="2020-10-07T08:52:12.146" v="16403"/>
          <ac:spMkLst>
            <pc:docMk/>
            <pc:sldMk cId="692933560" sldId="6895"/>
            <ac:spMk id="190" creationId="{18B72B61-722B-465F-B21C-2871F924C6FB}"/>
          </ac:spMkLst>
        </pc:spChg>
        <pc:spChg chg="add mod">
          <ac:chgData name="Théodora DUPONT-COURTADE" userId="b06d61bd-3bc1-47a9-8acb-1faed11547af" providerId="ADAL" clId="{B6284D1A-71B0-43D0-A276-BF5B1397783A}" dt="2020-10-07T08:52:12.146" v="16403"/>
          <ac:spMkLst>
            <pc:docMk/>
            <pc:sldMk cId="692933560" sldId="6895"/>
            <ac:spMk id="191" creationId="{9FE16E0D-FB4A-4D6F-8602-6388DA3FB892}"/>
          </ac:spMkLst>
        </pc:spChg>
        <pc:spChg chg="add mod">
          <ac:chgData name="Théodora DUPONT-COURTADE" userId="b06d61bd-3bc1-47a9-8acb-1faed11547af" providerId="ADAL" clId="{B6284D1A-71B0-43D0-A276-BF5B1397783A}" dt="2020-10-07T08:52:12.146" v="16403"/>
          <ac:spMkLst>
            <pc:docMk/>
            <pc:sldMk cId="692933560" sldId="6895"/>
            <ac:spMk id="192" creationId="{33842B82-7F31-421C-9AED-F4A8C1780615}"/>
          </ac:spMkLst>
        </pc:spChg>
        <pc:spChg chg="add mod">
          <ac:chgData name="Théodora DUPONT-COURTADE" userId="b06d61bd-3bc1-47a9-8acb-1faed11547af" providerId="ADAL" clId="{B6284D1A-71B0-43D0-A276-BF5B1397783A}" dt="2020-10-07T08:52:12.146" v="16403"/>
          <ac:spMkLst>
            <pc:docMk/>
            <pc:sldMk cId="692933560" sldId="6895"/>
            <ac:spMk id="193" creationId="{C1D403CC-CA1A-4149-AE95-BB19663BF8FC}"/>
          </ac:spMkLst>
        </pc:spChg>
        <pc:spChg chg="add mod">
          <ac:chgData name="Théodora DUPONT-COURTADE" userId="b06d61bd-3bc1-47a9-8acb-1faed11547af" providerId="ADAL" clId="{B6284D1A-71B0-43D0-A276-BF5B1397783A}" dt="2020-10-07T08:52:12.146" v="16403"/>
          <ac:spMkLst>
            <pc:docMk/>
            <pc:sldMk cId="692933560" sldId="6895"/>
            <ac:spMk id="194" creationId="{DE838C4A-ED25-4635-BC59-F10D8BAE6580}"/>
          </ac:spMkLst>
        </pc:spChg>
        <pc:spChg chg="add mod">
          <ac:chgData name="Théodora DUPONT-COURTADE" userId="b06d61bd-3bc1-47a9-8acb-1faed11547af" providerId="ADAL" clId="{B6284D1A-71B0-43D0-A276-BF5B1397783A}" dt="2020-10-07T08:52:12.146" v="16403"/>
          <ac:spMkLst>
            <pc:docMk/>
            <pc:sldMk cId="692933560" sldId="6895"/>
            <ac:spMk id="195" creationId="{DBEEB92D-8259-4EFA-93FB-9F6ED0D35C01}"/>
          </ac:spMkLst>
        </pc:spChg>
        <pc:spChg chg="add mod">
          <ac:chgData name="Théodora DUPONT-COURTADE" userId="b06d61bd-3bc1-47a9-8acb-1faed11547af" providerId="ADAL" clId="{B6284D1A-71B0-43D0-A276-BF5B1397783A}" dt="2020-10-07T08:52:12.146" v="16403"/>
          <ac:spMkLst>
            <pc:docMk/>
            <pc:sldMk cId="692933560" sldId="6895"/>
            <ac:spMk id="196" creationId="{B13E1BEE-CBB1-4A90-9862-B8A554372458}"/>
          </ac:spMkLst>
        </pc:spChg>
        <pc:spChg chg="add mod">
          <ac:chgData name="Théodora DUPONT-COURTADE" userId="b06d61bd-3bc1-47a9-8acb-1faed11547af" providerId="ADAL" clId="{B6284D1A-71B0-43D0-A276-BF5B1397783A}" dt="2020-10-07T08:52:12.146" v="16403"/>
          <ac:spMkLst>
            <pc:docMk/>
            <pc:sldMk cId="692933560" sldId="6895"/>
            <ac:spMk id="197" creationId="{C152EBCD-4DF4-40CB-A949-37854F363B9C}"/>
          </ac:spMkLst>
        </pc:spChg>
        <pc:spChg chg="add mod">
          <ac:chgData name="Théodora DUPONT-COURTADE" userId="b06d61bd-3bc1-47a9-8acb-1faed11547af" providerId="ADAL" clId="{B6284D1A-71B0-43D0-A276-BF5B1397783A}" dt="2020-10-07T08:52:12.146" v="16403"/>
          <ac:spMkLst>
            <pc:docMk/>
            <pc:sldMk cId="692933560" sldId="6895"/>
            <ac:spMk id="198" creationId="{30130B97-4C6D-41B9-8EE4-50714B975FCE}"/>
          </ac:spMkLst>
        </pc:spChg>
        <pc:spChg chg="add mod">
          <ac:chgData name="Théodora DUPONT-COURTADE" userId="b06d61bd-3bc1-47a9-8acb-1faed11547af" providerId="ADAL" clId="{B6284D1A-71B0-43D0-A276-BF5B1397783A}" dt="2020-10-07T08:52:12.146" v="16403"/>
          <ac:spMkLst>
            <pc:docMk/>
            <pc:sldMk cId="692933560" sldId="6895"/>
            <ac:spMk id="199" creationId="{68258119-FE29-4D13-8326-9714A4B91B10}"/>
          </ac:spMkLst>
        </pc:spChg>
        <pc:spChg chg="add mod">
          <ac:chgData name="Théodora DUPONT-COURTADE" userId="b06d61bd-3bc1-47a9-8acb-1faed11547af" providerId="ADAL" clId="{B6284D1A-71B0-43D0-A276-BF5B1397783A}" dt="2020-10-07T08:52:12.146" v="16403"/>
          <ac:spMkLst>
            <pc:docMk/>
            <pc:sldMk cId="692933560" sldId="6895"/>
            <ac:spMk id="200" creationId="{A743F051-0F16-468B-A305-5F2C2E307ED3}"/>
          </ac:spMkLst>
        </pc:spChg>
        <pc:spChg chg="add mod">
          <ac:chgData name="Théodora DUPONT-COURTADE" userId="b06d61bd-3bc1-47a9-8acb-1faed11547af" providerId="ADAL" clId="{B6284D1A-71B0-43D0-A276-BF5B1397783A}" dt="2020-10-07T08:52:12.146" v="16403"/>
          <ac:spMkLst>
            <pc:docMk/>
            <pc:sldMk cId="692933560" sldId="6895"/>
            <ac:spMk id="201" creationId="{974AE068-6B68-4B61-8998-3EB142545D3A}"/>
          </ac:spMkLst>
        </pc:spChg>
        <pc:spChg chg="add mod">
          <ac:chgData name="Théodora DUPONT-COURTADE" userId="b06d61bd-3bc1-47a9-8acb-1faed11547af" providerId="ADAL" clId="{B6284D1A-71B0-43D0-A276-BF5B1397783A}" dt="2020-10-07T08:52:12.146" v="16403"/>
          <ac:spMkLst>
            <pc:docMk/>
            <pc:sldMk cId="692933560" sldId="6895"/>
            <ac:spMk id="202" creationId="{E46D1829-ECCA-4941-998B-3E688FA295D8}"/>
          </ac:spMkLst>
        </pc:spChg>
        <pc:spChg chg="add mod">
          <ac:chgData name="Théodora DUPONT-COURTADE" userId="b06d61bd-3bc1-47a9-8acb-1faed11547af" providerId="ADAL" clId="{B6284D1A-71B0-43D0-A276-BF5B1397783A}" dt="2020-10-07T08:52:12.146" v="16403"/>
          <ac:spMkLst>
            <pc:docMk/>
            <pc:sldMk cId="692933560" sldId="6895"/>
            <ac:spMk id="203" creationId="{AE512BE9-4929-4FE7-9CC8-D6AA7DC70709}"/>
          </ac:spMkLst>
        </pc:spChg>
        <pc:spChg chg="add mod">
          <ac:chgData name="Théodora DUPONT-COURTADE" userId="b06d61bd-3bc1-47a9-8acb-1faed11547af" providerId="ADAL" clId="{B6284D1A-71B0-43D0-A276-BF5B1397783A}" dt="2020-10-07T08:52:12.146" v="16403"/>
          <ac:spMkLst>
            <pc:docMk/>
            <pc:sldMk cId="692933560" sldId="6895"/>
            <ac:spMk id="204" creationId="{76CC7ECF-0897-487E-AC75-991483DFD952}"/>
          </ac:spMkLst>
        </pc:spChg>
        <pc:spChg chg="add mod">
          <ac:chgData name="Théodora DUPONT-COURTADE" userId="b06d61bd-3bc1-47a9-8acb-1faed11547af" providerId="ADAL" clId="{B6284D1A-71B0-43D0-A276-BF5B1397783A}" dt="2020-10-07T08:52:12.146" v="16403"/>
          <ac:spMkLst>
            <pc:docMk/>
            <pc:sldMk cId="692933560" sldId="6895"/>
            <ac:spMk id="205" creationId="{CE400A8B-2677-4F5F-93AF-4F4B33FBF653}"/>
          </ac:spMkLst>
        </pc:spChg>
        <pc:spChg chg="add mod">
          <ac:chgData name="Théodora DUPONT-COURTADE" userId="b06d61bd-3bc1-47a9-8acb-1faed11547af" providerId="ADAL" clId="{B6284D1A-71B0-43D0-A276-BF5B1397783A}" dt="2020-10-07T08:52:12.146" v="16403"/>
          <ac:spMkLst>
            <pc:docMk/>
            <pc:sldMk cId="692933560" sldId="6895"/>
            <ac:spMk id="206" creationId="{B0D17245-1A03-473A-ADF5-DD297C65295F}"/>
          </ac:spMkLst>
        </pc:spChg>
        <pc:spChg chg="add mod">
          <ac:chgData name="Théodora DUPONT-COURTADE" userId="b06d61bd-3bc1-47a9-8acb-1faed11547af" providerId="ADAL" clId="{B6284D1A-71B0-43D0-A276-BF5B1397783A}" dt="2020-10-07T08:52:12.146" v="16403"/>
          <ac:spMkLst>
            <pc:docMk/>
            <pc:sldMk cId="692933560" sldId="6895"/>
            <ac:spMk id="207" creationId="{7AEB5943-EB8E-446B-B339-797534210291}"/>
          </ac:spMkLst>
        </pc:spChg>
        <pc:spChg chg="add mod">
          <ac:chgData name="Théodora DUPONT-COURTADE" userId="b06d61bd-3bc1-47a9-8acb-1faed11547af" providerId="ADAL" clId="{B6284D1A-71B0-43D0-A276-BF5B1397783A}" dt="2020-10-07T08:52:12.146" v="16403"/>
          <ac:spMkLst>
            <pc:docMk/>
            <pc:sldMk cId="692933560" sldId="6895"/>
            <ac:spMk id="208" creationId="{D8D7A478-8F67-48C5-BFC0-DD2A84BAD683}"/>
          </ac:spMkLst>
        </pc:spChg>
        <pc:spChg chg="add mod">
          <ac:chgData name="Théodora DUPONT-COURTADE" userId="b06d61bd-3bc1-47a9-8acb-1faed11547af" providerId="ADAL" clId="{B6284D1A-71B0-43D0-A276-BF5B1397783A}" dt="2020-10-07T08:52:12.146" v="16403"/>
          <ac:spMkLst>
            <pc:docMk/>
            <pc:sldMk cId="692933560" sldId="6895"/>
            <ac:spMk id="209" creationId="{81AF9597-3576-48A6-AF70-A1EFAAB3044D}"/>
          </ac:spMkLst>
        </pc:spChg>
        <pc:spChg chg="add mod">
          <ac:chgData name="Théodora DUPONT-COURTADE" userId="b06d61bd-3bc1-47a9-8acb-1faed11547af" providerId="ADAL" clId="{B6284D1A-71B0-43D0-A276-BF5B1397783A}" dt="2020-10-07T08:52:12.146" v="16403"/>
          <ac:spMkLst>
            <pc:docMk/>
            <pc:sldMk cId="692933560" sldId="6895"/>
            <ac:spMk id="210" creationId="{2D77B878-8DF4-4BA2-8C43-7BABA8F7B43E}"/>
          </ac:spMkLst>
        </pc:spChg>
        <pc:grpChg chg="del">
          <ac:chgData name="Théodora DUPONT-COURTADE" userId="b06d61bd-3bc1-47a9-8acb-1faed11547af" providerId="ADAL" clId="{B6284D1A-71B0-43D0-A276-BF5B1397783A}" dt="2020-10-07T08:52:11.521" v="16402" actId="478"/>
          <ac:grpSpMkLst>
            <pc:docMk/>
            <pc:sldMk cId="692933560" sldId="6895"/>
            <ac:grpSpMk id="45" creationId="{A0DE1324-304F-4C8F-BB1A-90BEF7E15A5D}"/>
          </ac:grpSpMkLst>
        </pc:grpChg>
        <pc:grpChg chg="add mod">
          <ac:chgData name="Théodora DUPONT-COURTADE" userId="b06d61bd-3bc1-47a9-8acb-1faed11547af" providerId="ADAL" clId="{B6284D1A-71B0-43D0-A276-BF5B1397783A}" dt="2020-10-07T08:52:12.146" v="16403"/>
          <ac:grpSpMkLst>
            <pc:docMk/>
            <pc:sldMk cId="692933560" sldId="6895"/>
            <ac:grpSpMk id="116" creationId="{6C2F0CB6-ABE4-4B19-A890-ED7BB4E116E9}"/>
          </ac:grpSpMkLst>
        </pc:grpChg>
        <pc:graphicFrameChg chg="mod">
          <ac:chgData name="Théodora DUPONT-COURTADE" userId="b06d61bd-3bc1-47a9-8acb-1faed11547af" providerId="ADAL" clId="{B6284D1A-71B0-43D0-A276-BF5B1397783A}" dt="2020-10-02T13:13:43.546" v="9272"/>
          <ac:graphicFrameMkLst>
            <pc:docMk/>
            <pc:sldMk cId="692933560" sldId="6895"/>
            <ac:graphicFrameMk id="8" creationId="{E7D38F5E-F154-4DC7-8F4C-7E25FC6151BB}"/>
          </ac:graphicFrameMkLst>
        </pc:graphicFrameChg>
        <pc:graphicFrameChg chg="mod">
          <ac:chgData name="Théodora DUPONT-COURTADE" userId="b06d61bd-3bc1-47a9-8acb-1faed11547af" providerId="ADAL" clId="{B6284D1A-71B0-43D0-A276-BF5B1397783A}" dt="2020-10-07T08:52:12.146" v="16403"/>
          <ac:graphicFrameMkLst>
            <pc:docMk/>
            <pc:sldMk cId="692933560" sldId="6895"/>
            <ac:graphicFrameMk id="118" creationId="{301FB4BB-8209-42F0-8064-E151BBAC1402}"/>
          </ac:graphicFrameMkLst>
        </pc:graphicFrameChg>
        <pc:cxnChg chg="del">
          <ac:chgData name="Théodora DUPONT-COURTADE" userId="b06d61bd-3bc1-47a9-8acb-1faed11547af" providerId="ADAL" clId="{B6284D1A-71B0-43D0-A276-BF5B1397783A}" dt="2020-10-07T08:52:11.521" v="16402" actId="478"/>
          <ac:cxnSpMkLst>
            <pc:docMk/>
            <pc:sldMk cId="692933560" sldId="6895"/>
            <ac:cxnSpMk id="29" creationId="{457E11E8-660B-49F3-B83F-02E89B5405AC}"/>
          </ac:cxnSpMkLst>
        </pc:cxnChg>
        <pc:cxnChg chg="mod">
          <ac:chgData name="Théodora DUPONT-COURTADE" userId="b06d61bd-3bc1-47a9-8acb-1faed11547af" providerId="ADAL" clId="{B6284D1A-71B0-43D0-A276-BF5B1397783A}" dt="2020-10-07T08:52:12.146" v="16403"/>
          <ac:cxnSpMkLst>
            <pc:docMk/>
            <pc:sldMk cId="692933560" sldId="6895"/>
            <ac:cxnSpMk id="181" creationId="{9236DE85-4818-444C-B1F0-B716219EC4DD}"/>
          </ac:cxnSpMkLst>
        </pc:cxnChg>
        <pc:cxnChg chg="mod">
          <ac:chgData name="Théodora DUPONT-COURTADE" userId="b06d61bd-3bc1-47a9-8acb-1faed11547af" providerId="ADAL" clId="{B6284D1A-71B0-43D0-A276-BF5B1397783A}" dt="2020-10-07T08:52:12.146" v="16403"/>
          <ac:cxnSpMkLst>
            <pc:docMk/>
            <pc:sldMk cId="692933560" sldId="6895"/>
            <ac:cxnSpMk id="182" creationId="{9C4897B6-C05A-4B07-B074-FD27FD4FE164}"/>
          </ac:cxnSpMkLst>
        </pc:cxnChg>
        <pc:cxnChg chg="mod">
          <ac:chgData name="Théodora DUPONT-COURTADE" userId="b06d61bd-3bc1-47a9-8acb-1faed11547af" providerId="ADAL" clId="{B6284D1A-71B0-43D0-A276-BF5B1397783A}" dt="2020-10-07T08:52:12.146" v="16403"/>
          <ac:cxnSpMkLst>
            <pc:docMk/>
            <pc:sldMk cId="692933560" sldId="6895"/>
            <ac:cxnSpMk id="184" creationId="{7ED0F90F-1C94-4036-A523-B84F524A8B93}"/>
          </ac:cxnSpMkLst>
        </pc:cxnChg>
        <pc:cxnChg chg="mod">
          <ac:chgData name="Théodora DUPONT-COURTADE" userId="b06d61bd-3bc1-47a9-8acb-1faed11547af" providerId="ADAL" clId="{B6284D1A-71B0-43D0-A276-BF5B1397783A}" dt="2020-10-07T08:52:12.146" v="16403"/>
          <ac:cxnSpMkLst>
            <pc:docMk/>
            <pc:sldMk cId="692933560" sldId="6895"/>
            <ac:cxnSpMk id="185" creationId="{57366154-D64F-4663-A660-22CA8BB233F8}"/>
          </ac:cxnSpMkLst>
        </pc:cxnChg>
        <pc:cxnChg chg="mod">
          <ac:chgData name="Théodora DUPONT-COURTADE" userId="b06d61bd-3bc1-47a9-8acb-1faed11547af" providerId="ADAL" clId="{B6284D1A-71B0-43D0-A276-BF5B1397783A}" dt="2020-10-07T08:52:12.146" v="16403"/>
          <ac:cxnSpMkLst>
            <pc:docMk/>
            <pc:sldMk cId="692933560" sldId="6895"/>
            <ac:cxnSpMk id="186" creationId="{549D0A1D-5471-4175-B000-3A62A236F6C9}"/>
          </ac:cxnSpMkLst>
        </pc:cxnChg>
        <pc:cxnChg chg="mod">
          <ac:chgData name="Théodora DUPONT-COURTADE" userId="b06d61bd-3bc1-47a9-8acb-1faed11547af" providerId="ADAL" clId="{B6284D1A-71B0-43D0-A276-BF5B1397783A}" dt="2020-10-07T08:52:12.146" v="16403"/>
          <ac:cxnSpMkLst>
            <pc:docMk/>
            <pc:sldMk cId="692933560" sldId="6895"/>
            <ac:cxnSpMk id="187" creationId="{C0C4E755-3623-4DB4-9363-28E8ABFB5A0D}"/>
          </ac:cxnSpMkLst>
        </pc:cxnChg>
        <pc:cxnChg chg="mod">
          <ac:chgData name="Théodora DUPONT-COURTADE" userId="b06d61bd-3bc1-47a9-8acb-1faed11547af" providerId="ADAL" clId="{B6284D1A-71B0-43D0-A276-BF5B1397783A}" dt="2020-10-07T08:52:12.146" v="16403"/>
          <ac:cxnSpMkLst>
            <pc:docMk/>
            <pc:sldMk cId="692933560" sldId="6895"/>
            <ac:cxnSpMk id="188" creationId="{D35C1ECF-327B-4954-A369-84FC9CA183D9}"/>
          </ac:cxnSpMkLst>
        </pc:cxnChg>
        <pc:cxnChg chg="add mod">
          <ac:chgData name="Théodora DUPONT-COURTADE" userId="b06d61bd-3bc1-47a9-8acb-1faed11547af" providerId="ADAL" clId="{B6284D1A-71B0-43D0-A276-BF5B1397783A}" dt="2020-10-07T08:52:12.146" v="16403"/>
          <ac:cxnSpMkLst>
            <pc:docMk/>
            <pc:sldMk cId="692933560" sldId="6895"/>
            <ac:cxnSpMk id="189" creationId="{CC3F2603-E281-49EF-B505-C414178A8731}"/>
          </ac:cxnSpMkLst>
        </pc:cxnChg>
      </pc:sldChg>
      <pc:sldChg chg="modSp">
        <pc:chgData name="Théodora DUPONT-COURTADE" userId="b06d61bd-3bc1-47a9-8acb-1faed11547af" providerId="ADAL" clId="{B6284D1A-71B0-43D0-A276-BF5B1397783A}" dt="2020-10-02T12:51:14.888" v="5950"/>
        <pc:sldMkLst>
          <pc:docMk/>
          <pc:sldMk cId="4048367762" sldId="6898"/>
        </pc:sldMkLst>
        <pc:spChg chg="mod">
          <ac:chgData name="Théodora DUPONT-COURTADE" userId="b06d61bd-3bc1-47a9-8acb-1faed11547af" providerId="ADAL" clId="{B6284D1A-71B0-43D0-A276-BF5B1397783A}" dt="2020-10-02T12:51:14.888" v="5950"/>
          <ac:spMkLst>
            <pc:docMk/>
            <pc:sldMk cId="4048367762" sldId="6898"/>
            <ac:spMk id="143" creationId="{CCB0ACA4-B47C-46AD-A4B0-BA70FD66DF17}"/>
          </ac:spMkLst>
        </pc:spChg>
      </pc:sldChg>
      <pc:sldChg chg="addSp modSp mod">
        <pc:chgData name="Théodora DUPONT-COURTADE" userId="b06d61bd-3bc1-47a9-8acb-1faed11547af" providerId="ADAL" clId="{B6284D1A-71B0-43D0-A276-BF5B1397783A}" dt="2020-10-02T07:33:19.143" v="682" actId="1076"/>
        <pc:sldMkLst>
          <pc:docMk/>
          <pc:sldMk cId="2836452418" sldId="6916"/>
        </pc:sldMkLst>
        <pc:spChg chg="add mod">
          <ac:chgData name="Théodora DUPONT-COURTADE" userId="b06d61bd-3bc1-47a9-8acb-1faed11547af" providerId="ADAL" clId="{B6284D1A-71B0-43D0-A276-BF5B1397783A}" dt="2020-10-02T07:33:19.143" v="682" actId="1076"/>
          <ac:spMkLst>
            <pc:docMk/>
            <pc:sldMk cId="2836452418" sldId="6916"/>
            <ac:spMk id="13" creationId="{DC19DC90-7E4F-4F4E-BAAF-82808A3E6992}"/>
          </ac:spMkLst>
        </pc:spChg>
      </pc:sldChg>
      <pc:sldChg chg="modSp">
        <pc:chgData name="Théodora DUPONT-COURTADE" userId="b06d61bd-3bc1-47a9-8acb-1faed11547af" providerId="ADAL" clId="{B6284D1A-71B0-43D0-A276-BF5B1397783A}" dt="2020-10-02T12:15:00.429" v="4612" actId="404"/>
        <pc:sldMkLst>
          <pc:docMk/>
          <pc:sldMk cId="1878143679" sldId="6922"/>
        </pc:sldMkLst>
        <pc:graphicFrameChg chg="mod">
          <ac:chgData name="Théodora DUPONT-COURTADE" userId="b06d61bd-3bc1-47a9-8acb-1faed11547af" providerId="ADAL" clId="{B6284D1A-71B0-43D0-A276-BF5B1397783A}" dt="2020-10-02T12:15:00.429" v="4612" actId="404"/>
          <ac:graphicFrameMkLst>
            <pc:docMk/>
            <pc:sldMk cId="1878143679" sldId="6922"/>
            <ac:graphicFrameMk id="8" creationId="{256AEEA1-5D55-4724-A980-03F17A2BB8E7}"/>
          </ac:graphicFrameMkLst>
        </pc:graphicFrameChg>
        <pc:graphicFrameChg chg="mod">
          <ac:chgData name="Théodora DUPONT-COURTADE" userId="b06d61bd-3bc1-47a9-8acb-1faed11547af" providerId="ADAL" clId="{B6284D1A-71B0-43D0-A276-BF5B1397783A}" dt="2020-10-02T12:14:38.946" v="4609" actId="404"/>
          <ac:graphicFrameMkLst>
            <pc:docMk/>
            <pc:sldMk cId="1878143679" sldId="6922"/>
            <ac:graphicFrameMk id="36" creationId="{906A83E0-196F-40CC-85C5-35D0F3A88309}"/>
          </ac:graphicFrameMkLst>
        </pc:graphicFrameChg>
      </pc:sldChg>
      <pc:sldChg chg="modSp">
        <pc:chgData name="Théodora DUPONT-COURTADE" userId="b06d61bd-3bc1-47a9-8acb-1faed11547af" providerId="ADAL" clId="{B6284D1A-71B0-43D0-A276-BF5B1397783A}" dt="2020-10-02T12:13:22.726" v="4595"/>
        <pc:sldMkLst>
          <pc:docMk/>
          <pc:sldMk cId="820320975" sldId="6923"/>
        </pc:sldMkLst>
        <pc:graphicFrameChg chg="mod">
          <ac:chgData name="Théodora DUPONT-COURTADE" userId="b06d61bd-3bc1-47a9-8acb-1faed11547af" providerId="ADAL" clId="{B6284D1A-71B0-43D0-A276-BF5B1397783A}" dt="2020-10-02T12:13:07.478" v="4585" actId="404"/>
          <ac:graphicFrameMkLst>
            <pc:docMk/>
            <pc:sldMk cId="820320975" sldId="6923"/>
            <ac:graphicFrameMk id="8" creationId="{256AEEA1-5D55-4724-A980-03F17A2BB8E7}"/>
          </ac:graphicFrameMkLst>
        </pc:graphicFrameChg>
        <pc:graphicFrameChg chg="mod">
          <ac:chgData name="Théodora DUPONT-COURTADE" userId="b06d61bd-3bc1-47a9-8acb-1faed11547af" providerId="ADAL" clId="{B6284D1A-71B0-43D0-A276-BF5B1397783A}" dt="2020-10-02T12:13:22.726" v="4595"/>
          <ac:graphicFrameMkLst>
            <pc:docMk/>
            <pc:sldMk cId="820320975" sldId="6923"/>
            <ac:graphicFrameMk id="25" creationId="{AF78BBC2-D582-413C-B8BD-D350092B8080}"/>
          </ac:graphicFrameMkLst>
        </pc:graphicFrameChg>
      </pc:sldChg>
      <pc:sldChg chg="modSp mod">
        <pc:chgData name="Théodora DUPONT-COURTADE" userId="b06d61bd-3bc1-47a9-8acb-1faed11547af" providerId="ADAL" clId="{B6284D1A-71B0-43D0-A276-BF5B1397783A}" dt="2020-10-02T07:33:54.888" v="715" actId="1036"/>
        <pc:sldMkLst>
          <pc:docMk/>
          <pc:sldMk cId="1924704819" sldId="6937"/>
        </pc:sldMkLst>
        <pc:spChg chg="mod">
          <ac:chgData name="Théodora DUPONT-COURTADE" userId="b06d61bd-3bc1-47a9-8acb-1faed11547af" providerId="ADAL" clId="{B6284D1A-71B0-43D0-A276-BF5B1397783A}" dt="2020-10-02T07:33:54.888" v="715" actId="1036"/>
          <ac:spMkLst>
            <pc:docMk/>
            <pc:sldMk cId="1924704819" sldId="6937"/>
            <ac:spMk id="38" creationId="{3A9C706A-9D6A-4698-B3EC-9EA0F5048A02}"/>
          </ac:spMkLst>
        </pc:spChg>
      </pc:sldChg>
      <pc:sldChg chg="modSp mod">
        <pc:chgData name="Théodora DUPONT-COURTADE" userId="b06d61bd-3bc1-47a9-8acb-1faed11547af" providerId="ADAL" clId="{B6284D1A-71B0-43D0-A276-BF5B1397783A}" dt="2020-10-07T09:00:57.824" v="16616" actId="1076"/>
        <pc:sldMkLst>
          <pc:docMk/>
          <pc:sldMk cId="3276115457" sldId="6939"/>
        </pc:sldMkLst>
        <pc:spChg chg="mod">
          <ac:chgData name="Théodora DUPONT-COURTADE" userId="b06d61bd-3bc1-47a9-8acb-1faed11547af" providerId="ADAL" clId="{B6284D1A-71B0-43D0-A276-BF5B1397783A}" dt="2020-10-07T09:00:57.824" v="16616" actId="1076"/>
          <ac:spMkLst>
            <pc:docMk/>
            <pc:sldMk cId="3276115457" sldId="6939"/>
            <ac:spMk id="76" creationId="{B235BFB5-D869-46B2-83ED-072C48D2FB34}"/>
          </ac:spMkLst>
        </pc:spChg>
      </pc:sldChg>
      <pc:sldChg chg="addSp delSp modSp mod">
        <pc:chgData name="Théodora DUPONT-COURTADE" userId="b06d61bd-3bc1-47a9-8acb-1faed11547af" providerId="ADAL" clId="{B6284D1A-71B0-43D0-A276-BF5B1397783A}" dt="2020-10-02T14:41:10.082" v="14298" actId="114"/>
        <pc:sldMkLst>
          <pc:docMk/>
          <pc:sldMk cId="2819355768" sldId="6948"/>
        </pc:sldMkLst>
        <pc:spChg chg="mod ord">
          <ac:chgData name="Théodora DUPONT-COURTADE" userId="b06d61bd-3bc1-47a9-8acb-1faed11547af" providerId="ADAL" clId="{B6284D1A-71B0-43D0-A276-BF5B1397783A}" dt="2020-10-02T13:12:51.712" v="9102"/>
          <ac:spMkLst>
            <pc:docMk/>
            <pc:sldMk cId="2819355768" sldId="6948"/>
            <ac:spMk id="3" creationId="{30953E26-7813-417B-AC0B-7AC74C77D79F}"/>
          </ac:spMkLst>
        </pc:spChg>
        <pc:spChg chg="mod ord">
          <ac:chgData name="Théodora DUPONT-COURTADE" userId="b06d61bd-3bc1-47a9-8acb-1faed11547af" providerId="ADAL" clId="{B6284D1A-71B0-43D0-A276-BF5B1397783A}" dt="2020-10-02T13:12:51.706" v="9094"/>
          <ac:spMkLst>
            <pc:docMk/>
            <pc:sldMk cId="2819355768" sldId="6948"/>
            <ac:spMk id="4" creationId="{CFDA14E9-D9F6-4D44-A466-BF298653DD71}"/>
          </ac:spMkLst>
        </pc:spChg>
        <pc:spChg chg="add del mod ord">
          <ac:chgData name="Théodora DUPONT-COURTADE" userId="b06d61bd-3bc1-47a9-8acb-1faed11547af" providerId="ADAL" clId="{B6284D1A-71B0-43D0-A276-BF5B1397783A}" dt="2020-10-02T13:49:24.343" v="9820" actId="478"/>
          <ac:spMkLst>
            <pc:docMk/>
            <pc:sldMk cId="2819355768" sldId="6948"/>
            <ac:spMk id="10" creationId="{567C5CCB-51D1-4661-9C48-6394529C706E}"/>
          </ac:spMkLst>
        </pc:spChg>
        <pc:spChg chg="add mod">
          <ac:chgData name="Théodora DUPONT-COURTADE" userId="b06d61bd-3bc1-47a9-8acb-1faed11547af" providerId="ADAL" clId="{B6284D1A-71B0-43D0-A276-BF5B1397783A}" dt="2020-10-02T07:51:42.314" v="3654" actId="20577"/>
          <ac:spMkLst>
            <pc:docMk/>
            <pc:sldMk cId="2819355768" sldId="6948"/>
            <ac:spMk id="11" creationId="{8273BE62-9C2D-445B-B900-BBCC40AF8572}"/>
          </ac:spMkLst>
        </pc:spChg>
        <pc:spChg chg="add del mod">
          <ac:chgData name="Théodora DUPONT-COURTADE" userId="b06d61bd-3bc1-47a9-8acb-1faed11547af" providerId="ADAL" clId="{B6284D1A-71B0-43D0-A276-BF5B1397783A}" dt="2020-10-02T13:49:29.473" v="9823" actId="478"/>
          <ac:spMkLst>
            <pc:docMk/>
            <pc:sldMk cId="2819355768" sldId="6948"/>
            <ac:spMk id="13" creationId="{E9F0F556-81FD-477B-91CE-1B38A9EE14B7}"/>
          </ac:spMkLst>
        </pc:spChg>
        <pc:spChg chg="mod ord">
          <ac:chgData name="Théodora DUPONT-COURTADE" userId="b06d61bd-3bc1-47a9-8acb-1faed11547af" providerId="ADAL" clId="{B6284D1A-71B0-43D0-A276-BF5B1397783A}" dt="2020-10-02T13:44:26.560" v="9679" actId="1076"/>
          <ac:spMkLst>
            <pc:docMk/>
            <pc:sldMk cId="2819355768" sldId="6948"/>
            <ac:spMk id="14" creationId="{92FC6C6C-155F-4C1A-890E-114863D14568}"/>
          </ac:spMkLst>
        </pc:spChg>
        <pc:spChg chg="add del mod ord">
          <ac:chgData name="Théodora DUPONT-COURTADE" userId="b06d61bd-3bc1-47a9-8acb-1faed11547af" providerId="ADAL" clId="{B6284D1A-71B0-43D0-A276-BF5B1397783A}" dt="2020-10-02T14:41:10.082" v="14298" actId="114"/>
          <ac:spMkLst>
            <pc:docMk/>
            <pc:sldMk cId="2819355768" sldId="6948"/>
            <ac:spMk id="16" creationId="{EACE795C-C806-425F-8AA4-8EFA6F2CB1B5}"/>
          </ac:spMkLst>
        </pc:spChg>
        <pc:spChg chg="mod">
          <ac:chgData name="Théodora DUPONT-COURTADE" userId="b06d61bd-3bc1-47a9-8acb-1faed11547af" providerId="ADAL" clId="{B6284D1A-71B0-43D0-A276-BF5B1397783A}" dt="2020-10-02T13:12:51.718" v="9109"/>
          <ac:spMkLst>
            <pc:docMk/>
            <pc:sldMk cId="2819355768" sldId="6948"/>
            <ac:spMk id="32" creationId="{67E6AF95-05B2-4079-804A-A740FD7FD88F}"/>
          </ac:spMkLst>
        </pc:spChg>
        <pc:spChg chg="mod ord">
          <ac:chgData name="Théodora DUPONT-COURTADE" userId="b06d61bd-3bc1-47a9-8acb-1faed11547af" providerId="ADAL" clId="{B6284D1A-71B0-43D0-A276-BF5B1397783A}" dt="2020-10-02T13:12:51.720" v="9111"/>
          <ac:spMkLst>
            <pc:docMk/>
            <pc:sldMk cId="2819355768" sldId="6948"/>
            <ac:spMk id="33" creationId="{35668BE3-A578-4550-A106-E1FC96FFA984}"/>
          </ac:spMkLst>
        </pc:spChg>
        <pc:spChg chg="mod ord">
          <ac:chgData name="Théodora DUPONT-COURTADE" userId="b06d61bd-3bc1-47a9-8acb-1faed11547af" providerId="ADAL" clId="{B6284D1A-71B0-43D0-A276-BF5B1397783A}" dt="2020-10-02T13:12:51.715" v="9106"/>
          <ac:spMkLst>
            <pc:docMk/>
            <pc:sldMk cId="2819355768" sldId="6948"/>
            <ac:spMk id="47" creationId="{C85B0421-5BDB-4848-914A-867C2D466E74}"/>
          </ac:spMkLst>
        </pc:spChg>
        <pc:spChg chg="mod ord">
          <ac:chgData name="Théodora DUPONT-COURTADE" userId="b06d61bd-3bc1-47a9-8acb-1faed11547af" providerId="ADAL" clId="{B6284D1A-71B0-43D0-A276-BF5B1397783A}" dt="2020-10-02T13:12:51.717" v="9108"/>
          <ac:spMkLst>
            <pc:docMk/>
            <pc:sldMk cId="2819355768" sldId="6948"/>
            <ac:spMk id="48" creationId="{4A9A9C35-FBD0-4A84-AAD1-D2EF1546575F}"/>
          </ac:spMkLst>
        </pc:spChg>
        <pc:spChg chg="mod ord">
          <ac:chgData name="Théodora DUPONT-COURTADE" userId="b06d61bd-3bc1-47a9-8acb-1faed11547af" providerId="ADAL" clId="{B6284D1A-71B0-43D0-A276-BF5B1397783A}" dt="2020-10-02T13:12:51.737" v="9127"/>
          <ac:spMkLst>
            <pc:docMk/>
            <pc:sldMk cId="2819355768" sldId="6948"/>
            <ac:spMk id="95" creationId="{92AD7220-4C75-42B1-A0FA-59E9A0490D1F}"/>
          </ac:spMkLst>
        </pc:spChg>
        <pc:spChg chg="add del">
          <ac:chgData name="Théodora DUPONT-COURTADE" userId="b06d61bd-3bc1-47a9-8acb-1faed11547af" providerId="ADAL" clId="{B6284D1A-71B0-43D0-A276-BF5B1397783A}" dt="2020-10-02T07:51:29.340" v="3624" actId="478"/>
          <ac:spMkLst>
            <pc:docMk/>
            <pc:sldMk cId="2819355768" sldId="6948"/>
            <ac:spMk id="112" creationId="{4039CEE9-0225-43CF-9134-1D4E2CCF2A2B}"/>
          </ac:spMkLst>
        </pc:spChg>
        <pc:spChg chg="del">
          <ac:chgData name="Théodora DUPONT-COURTADE" userId="b06d61bd-3bc1-47a9-8acb-1faed11547af" providerId="ADAL" clId="{B6284D1A-71B0-43D0-A276-BF5B1397783A}" dt="2020-10-02T13:12:32.869" v="6237" actId="478"/>
          <ac:spMkLst>
            <pc:docMk/>
            <pc:sldMk cId="2819355768" sldId="6948"/>
            <ac:spMk id="113" creationId="{6EAF8DE2-BBBA-48AB-A7B2-060D1235155D}"/>
          </ac:spMkLst>
        </pc:spChg>
        <pc:spChg chg="del">
          <ac:chgData name="Théodora DUPONT-COURTADE" userId="b06d61bd-3bc1-47a9-8acb-1faed11547af" providerId="ADAL" clId="{B6284D1A-71B0-43D0-A276-BF5B1397783A}" dt="2020-10-02T13:12:30.740" v="6236" actId="478"/>
          <ac:spMkLst>
            <pc:docMk/>
            <pc:sldMk cId="2819355768" sldId="6948"/>
            <ac:spMk id="115" creationId="{011F7ED9-36BA-4919-BAD4-AEE2E1201810}"/>
          </ac:spMkLst>
        </pc:spChg>
        <pc:spChg chg="add mod ord">
          <ac:chgData name="Théodora DUPONT-COURTADE" userId="b06d61bd-3bc1-47a9-8acb-1faed11547af" providerId="ADAL" clId="{B6284D1A-71B0-43D0-A276-BF5B1397783A}" dt="2020-10-02T13:12:51.847" v="9235"/>
          <ac:spMkLst>
            <pc:docMk/>
            <pc:sldMk cId="2819355768" sldId="6948"/>
            <ac:spMk id="118" creationId="{AB7F8803-B289-4BFE-AE58-54E4FDC5547B}"/>
          </ac:spMkLst>
        </pc:spChg>
        <pc:spChg chg="add mod ord">
          <ac:chgData name="Théodora DUPONT-COURTADE" userId="b06d61bd-3bc1-47a9-8acb-1faed11547af" providerId="ADAL" clId="{B6284D1A-71B0-43D0-A276-BF5B1397783A}" dt="2020-10-02T13:12:51.709" v="9098"/>
          <ac:spMkLst>
            <pc:docMk/>
            <pc:sldMk cId="2819355768" sldId="6948"/>
            <ac:spMk id="120" creationId="{451FD8CF-BE07-44B0-868C-DC919AA954D7}"/>
          </ac:spMkLst>
        </pc:spChg>
        <pc:spChg chg="mod ord">
          <ac:chgData name="Théodora DUPONT-COURTADE" userId="b06d61bd-3bc1-47a9-8acb-1faed11547af" providerId="ADAL" clId="{B6284D1A-71B0-43D0-A276-BF5B1397783A}" dt="2020-10-02T13:12:51.738" v="9129"/>
          <ac:spMkLst>
            <pc:docMk/>
            <pc:sldMk cId="2819355768" sldId="6948"/>
            <ac:spMk id="209" creationId="{370E683B-F1A2-4001-9FAE-8438E0423D61}"/>
          </ac:spMkLst>
        </pc:spChg>
        <pc:spChg chg="mod ord">
          <ac:chgData name="Théodora DUPONT-COURTADE" userId="b06d61bd-3bc1-47a9-8acb-1faed11547af" providerId="ADAL" clId="{B6284D1A-71B0-43D0-A276-BF5B1397783A}" dt="2020-10-02T13:12:51.711" v="9100"/>
          <ac:spMkLst>
            <pc:docMk/>
            <pc:sldMk cId="2819355768" sldId="6948"/>
            <ac:spMk id="280" creationId="{A7E7A95C-41FE-40CB-B158-36E75885A03A}"/>
          </ac:spMkLst>
        </pc:spChg>
        <pc:spChg chg="mod ord">
          <ac:chgData name="Théodora DUPONT-COURTADE" userId="b06d61bd-3bc1-47a9-8acb-1faed11547af" providerId="ADAL" clId="{B6284D1A-71B0-43D0-A276-BF5B1397783A}" dt="2020-10-02T13:12:51.740" v="9131"/>
          <ac:spMkLst>
            <pc:docMk/>
            <pc:sldMk cId="2819355768" sldId="6948"/>
            <ac:spMk id="281" creationId="{B8CAD4E8-C98F-460F-A5D1-B925F30A5C03}"/>
          </ac:spMkLst>
        </pc:spChg>
        <pc:spChg chg="mod ord">
          <ac:chgData name="Théodora DUPONT-COURTADE" userId="b06d61bd-3bc1-47a9-8acb-1faed11547af" providerId="ADAL" clId="{B6284D1A-71B0-43D0-A276-BF5B1397783A}" dt="2020-10-02T13:12:51.741" v="9133"/>
          <ac:spMkLst>
            <pc:docMk/>
            <pc:sldMk cId="2819355768" sldId="6948"/>
            <ac:spMk id="282" creationId="{1F0F2177-09F5-460B-896D-D63391B41E6C}"/>
          </ac:spMkLst>
        </pc:spChg>
        <pc:spChg chg="del mod">
          <ac:chgData name="Théodora DUPONT-COURTADE" userId="b06d61bd-3bc1-47a9-8acb-1faed11547af" providerId="ADAL" clId="{B6284D1A-71B0-43D0-A276-BF5B1397783A}" dt="2020-10-02T13:44:24.468" v="9677" actId="478"/>
          <ac:spMkLst>
            <pc:docMk/>
            <pc:sldMk cId="2819355768" sldId="6948"/>
            <ac:spMk id="294" creationId="{F05CE6D0-53F8-4866-BBE8-08E714873EDF}"/>
          </ac:spMkLst>
        </pc:spChg>
        <pc:spChg chg="mod">
          <ac:chgData name="Théodora DUPONT-COURTADE" userId="b06d61bd-3bc1-47a9-8acb-1faed11547af" providerId="ADAL" clId="{B6284D1A-71B0-43D0-A276-BF5B1397783A}" dt="2020-10-02T13:12:51.763" v="9159"/>
          <ac:spMkLst>
            <pc:docMk/>
            <pc:sldMk cId="2819355768" sldId="6948"/>
            <ac:spMk id="295" creationId="{46B3103C-B011-4050-9308-7682C2786A94}"/>
          </ac:spMkLst>
        </pc:spChg>
        <pc:spChg chg="mod">
          <ac:chgData name="Théodora DUPONT-COURTADE" userId="b06d61bd-3bc1-47a9-8acb-1faed11547af" providerId="ADAL" clId="{B6284D1A-71B0-43D0-A276-BF5B1397783A}" dt="2020-10-02T13:12:51.765" v="9160"/>
          <ac:spMkLst>
            <pc:docMk/>
            <pc:sldMk cId="2819355768" sldId="6948"/>
            <ac:spMk id="296" creationId="{20ABFB18-92B3-4581-849D-D6C5F42002DE}"/>
          </ac:spMkLst>
        </pc:spChg>
        <pc:spChg chg="mod">
          <ac:chgData name="Théodora DUPONT-COURTADE" userId="b06d61bd-3bc1-47a9-8acb-1faed11547af" providerId="ADAL" clId="{B6284D1A-71B0-43D0-A276-BF5B1397783A}" dt="2020-10-02T13:12:51.766" v="9161"/>
          <ac:spMkLst>
            <pc:docMk/>
            <pc:sldMk cId="2819355768" sldId="6948"/>
            <ac:spMk id="297" creationId="{8FD9938C-F978-46AE-BB3A-EDEDFF7FD70A}"/>
          </ac:spMkLst>
        </pc:spChg>
        <pc:spChg chg="del mod">
          <ac:chgData name="Théodora DUPONT-COURTADE" userId="b06d61bd-3bc1-47a9-8acb-1faed11547af" providerId="ADAL" clId="{B6284D1A-71B0-43D0-A276-BF5B1397783A}" dt="2020-10-02T13:44:23.500" v="9676" actId="478"/>
          <ac:spMkLst>
            <pc:docMk/>
            <pc:sldMk cId="2819355768" sldId="6948"/>
            <ac:spMk id="298" creationId="{19BD0584-735D-43A7-B72F-9CD40765384D}"/>
          </ac:spMkLst>
        </pc:spChg>
        <pc:spChg chg="mod">
          <ac:chgData name="Théodora DUPONT-COURTADE" userId="b06d61bd-3bc1-47a9-8acb-1faed11547af" providerId="ADAL" clId="{B6284D1A-71B0-43D0-A276-BF5B1397783A}" dt="2020-10-02T13:12:51.769" v="9163"/>
          <ac:spMkLst>
            <pc:docMk/>
            <pc:sldMk cId="2819355768" sldId="6948"/>
            <ac:spMk id="299" creationId="{5656A40E-94D2-4D19-9FCB-B644FC3F1A54}"/>
          </ac:spMkLst>
        </pc:spChg>
        <pc:spChg chg="mod">
          <ac:chgData name="Théodora DUPONT-COURTADE" userId="b06d61bd-3bc1-47a9-8acb-1faed11547af" providerId="ADAL" clId="{B6284D1A-71B0-43D0-A276-BF5B1397783A}" dt="2020-10-02T13:12:51.770" v="9164"/>
          <ac:spMkLst>
            <pc:docMk/>
            <pc:sldMk cId="2819355768" sldId="6948"/>
            <ac:spMk id="300" creationId="{6D559518-E8C1-46B8-9B52-9036FEE0B55E}"/>
          </ac:spMkLst>
        </pc:spChg>
        <pc:spChg chg="mod">
          <ac:chgData name="Théodora DUPONT-COURTADE" userId="b06d61bd-3bc1-47a9-8acb-1faed11547af" providerId="ADAL" clId="{B6284D1A-71B0-43D0-A276-BF5B1397783A}" dt="2020-10-02T13:12:51.771" v="9165"/>
          <ac:spMkLst>
            <pc:docMk/>
            <pc:sldMk cId="2819355768" sldId="6948"/>
            <ac:spMk id="301" creationId="{A9A0C130-CA17-448C-B406-947373E76974}"/>
          </ac:spMkLst>
        </pc:spChg>
        <pc:spChg chg="mod">
          <ac:chgData name="Théodora DUPONT-COURTADE" userId="b06d61bd-3bc1-47a9-8acb-1faed11547af" providerId="ADAL" clId="{B6284D1A-71B0-43D0-A276-BF5B1397783A}" dt="2020-10-02T13:12:51.772" v="9166"/>
          <ac:spMkLst>
            <pc:docMk/>
            <pc:sldMk cId="2819355768" sldId="6948"/>
            <ac:spMk id="302" creationId="{24DBBEC1-2EBC-4025-BAED-993C2FA9EB18}"/>
          </ac:spMkLst>
        </pc:spChg>
        <pc:spChg chg="mod">
          <ac:chgData name="Théodora DUPONT-COURTADE" userId="b06d61bd-3bc1-47a9-8acb-1faed11547af" providerId="ADAL" clId="{B6284D1A-71B0-43D0-A276-BF5B1397783A}" dt="2020-10-02T13:12:51.773" v="9167"/>
          <ac:spMkLst>
            <pc:docMk/>
            <pc:sldMk cId="2819355768" sldId="6948"/>
            <ac:spMk id="303" creationId="{FDD0A22E-D044-4738-A846-D69DD4EC1C73}"/>
          </ac:spMkLst>
        </pc:spChg>
        <pc:spChg chg="mod">
          <ac:chgData name="Théodora DUPONT-COURTADE" userId="b06d61bd-3bc1-47a9-8acb-1faed11547af" providerId="ADAL" clId="{B6284D1A-71B0-43D0-A276-BF5B1397783A}" dt="2020-10-02T13:12:51.774" v="9168"/>
          <ac:spMkLst>
            <pc:docMk/>
            <pc:sldMk cId="2819355768" sldId="6948"/>
            <ac:spMk id="304" creationId="{8C66A17F-8A18-4E0C-B25E-892F3E969D94}"/>
          </ac:spMkLst>
        </pc:spChg>
        <pc:spChg chg="del mod">
          <ac:chgData name="Théodora DUPONT-COURTADE" userId="b06d61bd-3bc1-47a9-8acb-1faed11547af" providerId="ADAL" clId="{B6284D1A-71B0-43D0-A276-BF5B1397783A}" dt="2020-10-02T13:44:31.632" v="9680" actId="478"/>
          <ac:spMkLst>
            <pc:docMk/>
            <pc:sldMk cId="2819355768" sldId="6948"/>
            <ac:spMk id="305" creationId="{BD03CE83-5B80-4222-9DF4-8B8CDD6253FD}"/>
          </ac:spMkLst>
        </pc:spChg>
        <pc:spChg chg="del mod">
          <ac:chgData name="Théodora DUPONT-COURTADE" userId="b06d61bd-3bc1-47a9-8acb-1faed11547af" providerId="ADAL" clId="{B6284D1A-71B0-43D0-A276-BF5B1397783A}" dt="2020-10-02T13:44:31.632" v="9680" actId="478"/>
          <ac:spMkLst>
            <pc:docMk/>
            <pc:sldMk cId="2819355768" sldId="6948"/>
            <ac:spMk id="306" creationId="{96ACD372-FEF3-47D1-B300-A297F400E38C}"/>
          </ac:spMkLst>
        </pc:spChg>
        <pc:spChg chg="del mod">
          <ac:chgData name="Théodora DUPONT-COURTADE" userId="b06d61bd-3bc1-47a9-8acb-1faed11547af" providerId="ADAL" clId="{B6284D1A-71B0-43D0-A276-BF5B1397783A}" dt="2020-10-02T13:44:31.632" v="9680" actId="478"/>
          <ac:spMkLst>
            <pc:docMk/>
            <pc:sldMk cId="2819355768" sldId="6948"/>
            <ac:spMk id="307" creationId="{1DE28F63-AB22-4CC0-A2FB-42770F0DA4C5}"/>
          </ac:spMkLst>
        </pc:spChg>
        <pc:spChg chg="del mod">
          <ac:chgData name="Théodora DUPONT-COURTADE" userId="b06d61bd-3bc1-47a9-8acb-1faed11547af" providerId="ADAL" clId="{B6284D1A-71B0-43D0-A276-BF5B1397783A}" dt="2020-10-02T13:44:31.632" v="9680" actId="478"/>
          <ac:spMkLst>
            <pc:docMk/>
            <pc:sldMk cId="2819355768" sldId="6948"/>
            <ac:spMk id="308" creationId="{B7012B39-405B-48CB-AB07-FC31E3EAF9AA}"/>
          </ac:spMkLst>
        </pc:spChg>
        <pc:spChg chg="del mod">
          <ac:chgData name="Théodora DUPONT-COURTADE" userId="b06d61bd-3bc1-47a9-8acb-1faed11547af" providerId="ADAL" clId="{B6284D1A-71B0-43D0-A276-BF5B1397783A}" dt="2020-10-02T13:44:31.632" v="9680" actId="478"/>
          <ac:spMkLst>
            <pc:docMk/>
            <pc:sldMk cId="2819355768" sldId="6948"/>
            <ac:spMk id="309" creationId="{DE44398E-CA7D-423C-B470-AEEC17B9CEF1}"/>
          </ac:spMkLst>
        </pc:spChg>
        <pc:spChg chg="del mod">
          <ac:chgData name="Théodora DUPONT-COURTADE" userId="b06d61bd-3bc1-47a9-8acb-1faed11547af" providerId="ADAL" clId="{B6284D1A-71B0-43D0-A276-BF5B1397783A}" dt="2020-10-02T13:44:23.500" v="9676" actId="478"/>
          <ac:spMkLst>
            <pc:docMk/>
            <pc:sldMk cId="2819355768" sldId="6948"/>
            <ac:spMk id="310" creationId="{41BAEDB9-ABF1-40DF-B0EE-8DAE21411DCE}"/>
          </ac:spMkLst>
        </pc:spChg>
        <pc:spChg chg="del mod">
          <ac:chgData name="Théodora DUPONT-COURTADE" userId="b06d61bd-3bc1-47a9-8acb-1faed11547af" providerId="ADAL" clId="{B6284D1A-71B0-43D0-A276-BF5B1397783A}" dt="2020-10-02T13:44:23.500" v="9676" actId="478"/>
          <ac:spMkLst>
            <pc:docMk/>
            <pc:sldMk cId="2819355768" sldId="6948"/>
            <ac:spMk id="311" creationId="{ACB2F137-2C20-476F-8A5F-CB5C1DB3BABB}"/>
          </ac:spMkLst>
        </pc:spChg>
        <pc:spChg chg="mod ord">
          <ac:chgData name="Théodora DUPONT-COURTADE" userId="b06d61bd-3bc1-47a9-8acb-1faed11547af" providerId="ADAL" clId="{B6284D1A-71B0-43D0-A276-BF5B1397783A}" dt="2020-10-02T13:12:51.796" v="9177"/>
          <ac:spMkLst>
            <pc:docMk/>
            <pc:sldMk cId="2819355768" sldId="6948"/>
            <ac:spMk id="312" creationId="{B88B1108-0092-4AF0-9274-78C36552DF38}"/>
          </ac:spMkLst>
        </pc:spChg>
        <pc:spChg chg="mod ord">
          <ac:chgData name="Théodora DUPONT-COURTADE" userId="b06d61bd-3bc1-47a9-8acb-1faed11547af" providerId="ADAL" clId="{B6284D1A-71B0-43D0-A276-BF5B1397783A}" dt="2020-10-02T13:12:51.797" v="9179"/>
          <ac:spMkLst>
            <pc:docMk/>
            <pc:sldMk cId="2819355768" sldId="6948"/>
            <ac:spMk id="313" creationId="{ACC55E45-D91A-4E5A-B55D-CC1C31EE3885}"/>
          </ac:spMkLst>
        </pc:spChg>
        <pc:spChg chg="mod ord">
          <ac:chgData name="Théodora DUPONT-COURTADE" userId="b06d61bd-3bc1-47a9-8acb-1faed11547af" providerId="ADAL" clId="{B6284D1A-71B0-43D0-A276-BF5B1397783A}" dt="2020-10-02T13:12:51.798" v="9181"/>
          <ac:spMkLst>
            <pc:docMk/>
            <pc:sldMk cId="2819355768" sldId="6948"/>
            <ac:spMk id="314" creationId="{D4489E23-9F70-4A58-BC89-401B9D993A86}"/>
          </ac:spMkLst>
        </pc:spChg>
        <pc:spChg chg="mod ord">
          <ac:chgData name="Théodora DUPONT-COURTADE" userId="b06d61bd-3bc1-47a9-8acb-1faed11547af" providerId="ADAL" clId="{B6284D1A-71B0-43D0-A276-BF5B1397783A}" dt="2020-10-02T13:12:51.800" v="9183"/>
          <ac:spMkLst>
            <pc:docMk/>
            <pc:sldMk cId="2819355768" sldId="6948"/>
            <ac:spMk id="315" creationId="{C7A85204-D779-4BC9-8681-F532B6318218}"/>
          </ac:spMkLst>
        </pc:spChg>
        <pc:spChg chg="del mod">
          <ac:chgData name="Théodora DUPONT-COURTADE" userId="b06d61bd-3bc1-47a9-8acb-1faed11547af" providerId="ADAL" clId="{B6284D1A-71B0-43D0-A276-BF5B1397783A}" dt="2020-10-02T13:44:37.146" v="9681" actId="478"/>
          <ac:spMkLst>
            <pc:docMk/>
            <pc:sldMk cId="2819355768" sldId="6948"/>
            <ac:spMk id="327" creationId="{BD03CE83-5B80-4222-9DF4-8B8CDD6253FD}"/>
          </ac:spMkLst>
        </pc:spChg>
        <pc:spChg chg="mod">
          <ac:chgData name="Théodora DUPONT-COURTADE" userId="b06d61bd-3bc1-47a9-8acb-1faed11547af" providerId="ADAL" clId="{B6284D1A-71B0-43D0-A276-BF5B1397783A}" dt="2020-10-02T13:12:51.817" v="9203"/>
          <ac:spMkLst>
            <pc:docMk/>
            <pc:sldMk cId="2819355768" sldId="6948"/>
            <ac:spMk id="328" creationId="{FDD0A22E-D044-4738-A846-D69DD4EC1C73}"/>
          </ac:spMkLst>
        </pc:spChg>
        <pc:spChg chg="mod">
          <ac:chgData name="Théodora DUPONT-COURTADE" userId="b06d61bd-3bc1-47a9-8acb-1faed11547af" providerId="ADAL" clId="{B6284D1A-71B0-43D0-A276-BF5B1397783A}" dt="2020-10-02T13:12:51.818" v="9204"/>
          <ac:spMkLst>
            <pc:docMk/>
            <pc:sldMk cId="2819355768" sldId="6948"/>
            <ac:spMk id="329" creationId="{24DBBEC1-2EBC-4025-BAED-993C2FA9EB18}"/>
          </ac:spMkLst>
        </pc:spChg>
        <pc:spChg chg="mod">
          <ac:chgData name="Théodora DUPONT-COURTADE" userId="b06d61bd-3bc1-47a9-8acb-1faed11547af" providerId="ADAL" clId="{B6284D1A-71B0-43D0-A276-BF5B1397783A}" dt="2020-10-02T13:12:51.819" v="9205"/>
          <ac:spMkLst>
            <pc:docMk/>
            <pc:sldMk cId="2819355768" sldId="6948"/>
            <ac:spMk id="330" creationId="{20ABFB18-92B3-4581-849D-D6C5F42002DE}"/>
          </ac:spMkLst>
        </pc:spChg>
        <pc:spChg chg="mod">
          <ac:chgData name="Théodora DUPONT-COURTADE" userId="b06d61bd-3bc1-47a9-8acb-1faed11547af" providerId="ADAL" clId="{B6284D1A-71B0-43D0-A276-BF5B1397783A}" dt="2020-10-02T13:12:51.820" v="9206"/>
          <ac:spMkLst>
            <pc:docMk/>
            <pc:sldMk cId="2819355768" sldId="6948"/>
            <ac:spMk id="331" creationId="{8FD9938C-F978-46AE-BB3A-EDEDFF7FD70A}"/>
          </ac:spMkLst>
        </pc:spChg>
        <pc:spChg chg="mod">
          <ac:chgData name="Théodora DUPONT-COURTADE" userId="b06d61bd-3bc1-47a9-8acb-1faed11547af" providerId="ADAL" clId="{B6284D1A-71B0-43D0-A276-BF5B1397783A}" dt="2020-10-02T13:12:51.821" v="9207"/>
          <ac:spMkLst>
            <pc:docMk/>
            <pc:sldMk cId="2819355768" sldId="6948"/>
            <ac:spMk id="332" creationId="{A9A0C130-CA17-448C-B406-947373E76974}"/>
          </ac:spMkLst>
        </pc:spChg>
        <pc:spChg chg="mod">
          <ac:chgData name="Théodora DUPONT-COURTADE" userId="b06d61bd-3bc1-47a9-8acb-1faed11547af" providerId="ADAL" clId="{B6284D1A-71B0-43D0-A276-BF5B1397783A}" dt="2020-10-02T13:12:51.822" v="9208"/>
          <ac:spMkLst>
            <pc:docMk/>
            <pc:sldMk cId="2819355768" sldId="6948"/>
            <ac:spMk id="333" creationId="{5656A40E-94D2-4D19-9FCB-B644FC3F1A54}"/>
          </ac:spMkLst>
        </pc:spChg>
        <pc:spChg chg="mod">
          <ac:chgData name="Théodora DUPONT-COURTADE" userId="b06d61bd-3bc1-47a9-8acb-1faed11547af" providerId="ADAL" clId="{B6284D1A-71B0-43D0-A276-BF5B1397783A}" dt="2020-10-02T13:12:51.823" v="9209"/>
          <ac:spMkLst>
            <pc:docMk/>
            <pc:sldMk cId="2819355768" sldId="6948"/>
            <ac:spMk id="334" creationId="{6D559518-E8C1-46B8-9B52-9036FEE0B55E}"/>
          </ac:spMkLst>
        </pc:spChg>
        <pc:spChg chg="mod">
          <ac:chgData name="Théodora DUPONT-COURTADE" userId="b06d61bd-3bc1-47a9-8acb-1faed11547af" providerId="ADAL" clId="{B6284D1A-71B0-43D0-A276-BF5B1397783A}" dt="2020-10-02T13:12:51.824" v="9210"/>
          <ac:spMkLst>
            <pc:docMk/>
            <pc:sldMk cId="2819355768" sldId="6948"/>
            <ac:spMk id="335" creationId="{46B3103C-B011-4050-9308-7682C2786A94}"/>
          </ac:spMkLst>
        </pc:spChg>
        <pc:spChg chg="del mod">
          <ac:chgData name="Théodora DUPONT-COURTADE" userId="b06d61bd-3bc1-47a9-8acb-1faed11547af" providerId="ADAL" clId="{B6284D1A-71B0-43D0-A276-BF5B1397783A}" dt="2020-10-02T13:44:21.139" v="9675" actId="478"/>
          <ac:spMkLst>
            <pc:docMk/>
            <pc:sldMk cId="2819355768" sldId="6948"/>
            <ac:spMk id="336" creationId="{96ACD372-FEF3-47D1-B300-A297F400E38C}"/>
          </ac:spMkLst>
        </pc:spChg>
        <pc:spChg chg="mod">
          <ac:chgData name="Théodora DUPONT-COURTADE" userId="b06d61bd-3bc1-47a9-8acb-1faed11547af" providerId="ADAL" clId="{B6284D1A-71B0-43D0-A276-BF5B1397783A}" dt="2020-10-02T13:12:51.826" v="9212"/>
          <ac:spMkLst>
            <pc:docMk/>
            <pc:sldMk cId="2819355768" sldId="6948"/>
            <ac:spMk id="337" creationId="{8C66A17F-8A18-4E0C-B25E-892F3E969D94}"/>
          </ac:spMkLst>
        </pc:spChg>
        <pc:spChg chg="del mod">
          <ac:chgData name="Théodora DUPONT-COURTADE" userId="b06d61bd-3bc1-47a9-8acb-1faed11547af" providerId="ADAL" clId="{B6284D1A-71B0-43D0-A276-BF5B1397783A}" dt="2020-10-02T13:44:21.139" v="9675" actId="478"/>
          <ac:spMkLst>
            <pc:docMk/>
            <pc:sldMk cId="2819355768" sldId="6948"/>
            <ac:spMk id="338" creationId="{1DE28F63-AB22-4CC0-A2FB-42770F0DA4C5}"/>
          </ac:spMkLst>
        </pc:spChg>
        <pc:spChg chg="del mod">
          <ac:chgData name="Théodora DUPONT-COURTADE" userId="b06d61bd-3bc1-47a9-8acb-1faed11547af" providerId="ADAL" clId="{B6284D1A-71B0-43D0-A276-BF5B1397783A}" dt="2020-10-02T13:44:21.139" v="9675" actId="478"/>
          <ac:spMkLst>
            <pc:docMk/>
            <pc:sldMk cId="2819355768" sldId="6948"/>
            <ac:spMk id="339" creationId="{B7012B39-405B-48CB-AB07-FC31E3EAF9AA}"/>
          </ac:spMkLst>
        </pc:spChg>
        <pc:spChg chg="del mod">
          <ac:chgData name="Théodora DUPONT-COURTADE" userId="b06d61bd-3bc1-47a9-8acb-1faed11547af" providerId="ADAL" clId="{B6284D1A-71B0-43D0-A276-BF5B1397783A}" dt="2020-10-02T13:44:37.146" v="9681" actId="478"/>
          <ac:spMkLst>
            <pc:docMk/>
            <pc:sldMk cId="2819355768" sldId="6948"/>
            <ac:spMk id="340" creationId="{DE44398E-CA7D-423C-B470-AEEC17B9CEF1}"/>
          </ac:spMkLst>
        </pc:spChg>
        <pc:spChg chg="del mod">
          <ac:chgData name="Théodora DUPONT-COURTADE" userId="b06d61bd-3bc1-47a9-8acb-1faed11547af" providerId="ADAL" clId="{B6284D1A-71B0-43D0-A276-BF5B1397783A}" dt="2020-10-02T13:44:37.146" v="9681" actId="478"/>
          <ac:spMkLst>
            <pc:docMk/>
            <pc:sldMk cId="2819355768" sldId="6948"/>
            <ac:spMk id="341" creationId="{41BAEDB9-ABF1-40DF-B0EE-8DAE21411DCE}"/>
          </ac:spMkLst>
        </pc:spChg>
        <pc:spChg chg="del mod">
          <ac:chgData name="Théodora DUPONT-COURTADE" userId="b06d61bd-3bc1-47a9-8acb-1faed11547af" providerId="ADAL" clId="{B6284D1A-71B0-43D0-A276-BF5B1397783A}" dt="2020-10-02T13:44:37.146" v="9681" actId="478"/>
          <ac:spMkLst>
            <pc:docMk/>
            <pc:sldMk cId="2819355768" sldId="6948"/>
            <ac:spMk id="342" creationId="{19BD0584-735D-43A7-B72F-9CD40765384D}"/>
          </ac:spMkLst>
        </pc:spChg>
        <pc:spChg chg="del mod">
          <ac:chgData name="Théodora DUPONT-COURTADE" userId="b06d61bd-3bc1-47a9-8acb-1faed11547af" providerId="ADAL" clId="{B6284D1A-71B0-43D0-A276-BF5B1397783A}" dt="2020-10-02T13:44:37.146" v="9681" actId="478"/>
          <ac:spMkLst>
            <pc:docMk/>
            <pc:sldMk cId="2819355768" sldId="6948"/>
            <ac:spMk id="343" creationId="{ACB2F137-2C20-476F-8A5F-CB5C1DB3BABB}"/>
          </ac:spMkLst>
        </pc:spChg>
        <pc:spChg chg="del mod">
          <ac:chgData name="Théodora DUPONT-COURTADE" userId="b06d61bd-3bc1-47a9-8acb-1faed11547af" providerId="ADAL" clId="{B6284D1A-71B0-43D0-A276-BF5B1397783A}" dt="2020-10-02T13:44:37.146" v="9681" actId="478"/>
          <ac:spMkLst>
            <pc:docMk/>
            <pc:sldMk cId="2819355768" sldId="6948"/>
            <ac:spMk id="344" creationId="{F05CE6D0-53F8-4866-BBE8-08E714873EDF}"/>
          </ac:spMkLst>
        </pc:spChg>
        <pc:spChg chg="mod ord">
          <ac:chgData name="Théodora DUPONT-COURTADE" userId="b06d61bd-3bc1-47a9-8acb-1faed11547af" providerId="ADAL" clId="{B6284D1A-71B0-43D0-A276-BF5B1397783A}" dt="2020-10-02T13:42:37.476" v="9670" actId="1076"/>
          <ac:spMkLst>
            <pc:docMk/>
            <pc:sldMk cId="2819355768" sldId="6948"/>
            <ac:spMk id="345" creationId="{B88B1108-0092-4AF0-9274-78C36552DF38}"/>
          </ac:spMkLst>
        </pc:spChg>
        <pc:spChg chg="mod ord">
          <ac:chgData name="Théodora DUPONT-COURTADE" userId="b06d61bd-3bc1-47a9-8acb-1faed11547af" providerId="ADAL" clId="{B6284D1A-71B0-43D0-A276-BF5B1397783A}" dt="2020-10-02T13:12:51.836" v="9223"/>
          <ac:spMkLst>
            <pc:docMk/>
            <pc:sldMk cId="2819355768" sldId="6948"/>
            <ac:spMk id="346" creationId="{ACC55E45-D91A-4E5A-B55D-CC1C31EE3885}"/>
          </ac:spMkLst>
        </pc:spChg>
        <pc:spChg chg="mod ord">
          <ac:chgData name="Théodora DUPONT-COURTADE" userId="b06d61bd-3bc1-47a9-8acb-1faed11547af" providerId="ADAL" clId="{B6284D1A-71B0-43D0-A276-BF5B1397783A}" dt="2020-10-02T13:12:51.837" v="9225"/>
          <ac:spMkLst>
            <pc:docMk/>
            <pc:sldMk cId="2819355768" sldId="6948"/>
            <ac:spMk id="347" creationId="{D4489E23-9F70-4A58-BC89-401B9D993A86}"/>
          </ac:spMkLst>
        </pc:spChg>
        <pc:spChg chg="mod ord">
          <ac:chgData name="Théodora DUPONT-COURTADE" userId="b06d61bd-3bc1-47a9-8acb-1faed11547af" providerId="ADAL" clId="{B6284D1A-71B0-43D0-A276-BF5B1397783A}" dt="2020-10-02T13:12:51.839" v="9227"/>
          <ac:spMkLst>
            <pc:docMk/>
            <pc:sldMk cId="2819355768" sldId="6948"/>
            <ac:spMk id="348" creationId="{C7A85204-D779-4BC9-8681-F532B6318218}"/>
          </ac:spMkLst>
        </pc:spChg>
        <pc:grpChg chg="mod ord">
          <ac:chgData name="Théodora DUPONT-COURTADE" userId="b06d61bd-3bc1-47a9-8acb-1faed11547af" providerId="ADAL" clId="{B6284D1A-71B0-43D0-A276-BF5B1397783A}" dt="2020-10-02T13:12:51.726" v="9113"/>
          <ac:grpSpMkLst>
            <pc:docMk/>
            <pc:sldMk cId="2819355768" sldId="6948"/>
            <ac:grpSpMk id="34" creationId="{946985AD-0B42-4FA8-B5BE-141FD9AFA17E}"/>
          </ac:grpSpMkLst>
        </pc:grpChg>
        <pc:grpChg chg="mod ord">
          <ac:chgData name="Théodora DUPONT-COURTADE" userId="b06d61bd-3bc1-47a9-8acb-1faed11547af" providerId="ADAL" clId="{B6284D1A-71B0-43D0-A276-BF5B1397783A}" dt="2020-10-02T13:12:51.734" v="9123"/>
          <ac:grpSpMkLst>
            <pc:docMk/>
            <pc:sldMk cId="2819355768" sldId="6948"/>
            <ac:grpSpMk id="62" creationId="{9688696B-08F1-4F53-825E-065623B03E37}"/>
          </ac:grpSpMkLst>
        </pc:grpChg>
        <pc:grpChg chg="mod ord">
          <ac:chgData name="Théodora DUPONT-COURTADE" userId="b06d61bd-3bc1-47a9-8acb-1faed11547af" providerId="ADAL" clId="{B6284D1A-71B0-43D0-A276-BF5B1397783A}" dt="2020-10-02T13:12:51.735" v="9125"/>
          <ac:grpSpMkLst>
            <pc:docMk/>
            <pc:sldMk cId="2819355768" sldId="6948"/>
            <ac:grpSpMk id="65" creationId="{DBFA3611-9499-45D7-9ACF-F9094E8CD123}"/>
          </ac:grpSpMkLst>
        </pc:grpChg>
        <pc:grpChg chg="mod ord">
          <ac:chgData name="Théodora DUPONT-COURTADE" userId="b06d61bd-3bc1-47a9-8acb-1faed11547af" providerId="ADAL" clId="{B6284D1A-71B0-43D0-A276-BF5B1397783A}" dt="2020-10-02T13:12:51.743" v="9135"/>
          <ac:grpSpMkLst>
            <pc:docMk/>
            <pc:sldMk cId="2819355768" sldId="6948"/>
            <ac:grpSpMk id="275" creationId="{32ED6413-41B4-43D1-A830-6576D919E11D}"/>
          </ac:grpSpMkLst>
        </pc:grpChg>
        <pc:grpChg chg="mod ord">
          <ac:chgData name="Théodora DUPONT-COURTADE" userId="b06d61bd-3bc1-47a9-8acb-1faed11547af" providerId="ADAL" clId="{B6284D1A-71B0-43D0-A276-BF5B1397783A}" dt="2020-10-02T13:12:51.744" v="9137"/>
          <ac:grpSpMkLst>
            <pc:docMk/>
            <pc:sldMk cId="2819355768" sldId="6948"/>
            <ac:grpSpMk id="284" creationId="{F704163F-A488-4BAC-A0C6-EDE9CEE39F2F}"/>
          </ac:grpSpMkLst>
        </pc:grpChg>
        <pc:grpChg chg="mod ord">
          <ac:chgData name="Théodora DUPONT-COURTADE" userId="b06d61bd-3bc1-47a9-8acb-1faed11547af" providerId="ADAL" clId="{B6284D1A-71B0-43D0-A276-BF5B1397783A}" dt="2020-10-02T13:12:51.746" v="9139"/>
          <ac:grpSpMkLst>
            <pc:docMk/>
            <pc:sldMk cId="2819355768" sldId="6948"/>
            <ac:grpSpMk id="287" creationId="{E58CAC32-BD85-4DDE-AD85-12C351214B5D}"/>
          </ac:grpSpMkLst>
        </pc:grpChg>
        <pc:graphicFrameChg chg="mod ord">
          <ac:chgData name="Théodora DUPONT-COURTADE" userId="b06d61bd-3bc1-47a9-8acb-1faed11547af" providerId="ADAL" clId="{B6284D1A-71B0-43D0-A276-BF5B1397783A}" dt="2020-10-02T13:12:51.748" v="9141"/>
          <ac:graphicFrameMkLst>
            <pc:docMk/>
            <pc:sldMk cId="2819355768" sldId="6948"/>
            <ac:graphicFrameMk id="2" creationId="{5D1622A0-1F53-4A71-87C1-678C04DD78C8}"/>
          </ac:graphicFrameMkLst>
        </pc:graphicFrameChg>
        <pc:graphicFrameChg chg="mod ord">
          <ac:chgData name="Théodora DUPONT-COURTADE" userId="b06d61bd-3bc1-47a9-8acb-1faed11547af" providerId="ADAL" clId="{B6284D1A-71B0-43D0-A276-BF5B1397783A}" dt="2020-10-02T13:12:51.853" v="9239"/>
          <ac:graphicFrameMkLst>
            <pc:docMk/>
            <pc:sldMk cId="2819355768" sldId="6948"/>
            <ac:graphicFrameMk id="5" creationId="{EAAA3A35-C6B3-4EE6-9406-A3DBC2CB7256}"/>
          </ac:graphicFrameMkLst>
        </pc:graphicFrameChg>
        <pc:graphicFrameChg chg="mod ord">
          <ac:chgData name="Théodora DUPONT-COURTADE" userId="b06d61bd-3bc1-47a9-8acb-1faed11547af" providerId="ADAL" clId="{B6284D1A-71B0-43D0-A276-BF5B1397783A}" dt="2020-10-02T13:12:51.801" v="9185"/>
          <ac:graphicFrameMkLst>
            <pc:docMk/>
            <pc:sldMk cId="2819355768" sldId="6948"/>
            <ac:graphicFrameMk id="318" creationId="{F3A60FFC-2AF2-4EF4-B110-09BA94B7C99D}"/>
          </ac:graphicFrameMkLst>
        </pc:graphicFrameChg>
        <pc:picChg chg="mod ord">
          <ac:chgData name="Théodora DUPONT-COURTADE" userId="b06d61bd-3bc1-47a9-8acb-1faed11547af" providerId="ADAL" clId="{B6284D1A-71B0-43D0-A276-BF5B1397783A}" dt="2020-10-02T13:12:51.728" v="9115"/>
          <ac:picMkLst>
            <pc:docMk/>
            <pc:sldMk cId="2819355768" sldId="6948"/>
            <ac:picMk id="70" creationId="{CF3D94E5-A284-49D4-A8AC-DE3C7AB4329D}"/>
          </ac:picMkLst>
        </pc:picChg>
        <pc:picChg chg="mod ord">
          <ac:chgData name="Théodora DUPONT-COURTADE" userId="b06d61bd-3bc1-47a9-8acb-1faed11547af" providerId="ADAL" clId="{B6284D1A-71B0-43D0-A276-BF5B1397783A}" dt="2020-10-02T13:12:51.729" v="9117"/>
          <ac:picMkLst>
            <pc:docMk/>
            <pc:sldMk cId="2819355768" sldId="6948"/>
            <ac:picMk id="71" creationId="{B3A77997-D04F-45A1-8783-D8FE6788F413}"/>
          </ac:picMkLst>
        </pc:picChg>
        <pc:picChg chg="mod ord">
          <ac:chgData name="Théodora DUPONT-COURTADE" userId="b06d61bd-3bc1-47a9-8acb-1faed11547af" providerId="ADAL" clId="{B6284D1A-71B0-43D0-A276-BF5B1397783A}" dt="2020-10-02T13:12:51.731" v="9119"/>
          <ac:picMkLst>
            <pc:docMk/>
            <pc:sldMk cId="2819355768" sldId="6948"/>
            <ac:picMk id="72" creationId="{9B128643-634D-4410-BB3C-862F3059746E}"/>
          </ac:picMkLst>
        </pc:picChg>
        <pc:picChg chg="mod ord">
          <ac:chgData name="Théodora DUPONT-COURTADE" userId="b06d61bd-3bc1-47a9-8acb-1faed11547af" providerId="ADAL" clId="{B6284D1A-71B0-43D0-A276-BF5B1397783A}" dt="2020-10-02T13:12:51.732" v="9121"/>
          <ac:picMkLst>
            <pc:docMk/>
            <pc:sldMk cId="2819355768" sldId="6948"/>
            <ac:picMk id="73" creationId="{8CB16AF1-C190-4F31-8C22-F86E85AEF910}"/>
          </ac:picMkLst>
        </pc:picChg>
        <pc:picChg chg="mod ord">
          <ac:chgData name="Théodora DUPONT-COURTADE" userId="b06d61bd-3bc1-47a9-8acb-1faed11547af" providerId="ADAL" clId="{B6284D1A-71B0-43D0-A276-BF5B1397783A}" dt="2020-10-02T13:13:29.345" v="9245" actId="1076"/>
          <ac:picMkLst>
            <pc:docMk/>
            <pc:sldMk cId="2819355768" sldId="6948"/>
            <ac:picMk id="112" creationId="{33D23670-2F42-41B4-B14F-A9E98F2F30F6}"/>
          </ac:picMkLst>
        </pc:picChg>
        <pc:picChg chg="del mod ord">
          <ac:chgData name="Théodora DUPONT-COURTADE" userId="b06d61bd-3bc1-47a9-8acb-1faed11547af" providerId="ADAL" clId="{B6284D1A-71B0-43D0-A276-BF5B1397783A}" dt="2020-10-02T13:13:21.960" v="9243" actId="478"/>
          <ac:picMkLst>
            <pc:docMk/>
            <pc:sldMk cId="2819355768" sldId="6948"/>
            <ac:picMk id="114" creationId="{E4A9D44C-7EAE-4599-AF6E-B02F9CAFAD99}"/>
          </ac:picMkLst>
        </pc:picChg>
        <pc:picChg chg="add mod ord">
          <ac:chgData name="Théodora DUPONT-COURTADE" userId="b06d61bd-3bc1-47a9-8acb-1faed11547af" providerId="ADAL" clId="{B6284D1A-71B0-43D0-A276-BF5B1397783A}" dt="2020-10-02T13:12:51.848" v="9237"/>
          <ac:picMkLst>
            <pc:docMk/>
            <pc:sldMk cId="2819355768" sldId="6948"/>
            <ac:picMk id="119" creationId="{76B9673B-B308-4629-9D82-121F73821EDD}"/>
          </ac:picMkLst>
        </pc:picChg>
        <pc:picChg chg="add mod">
          <ac:chgData name="Théodora DUPONT-COURTADE" userId="b06d61bd-3bc1-47a9-8acb-1faed11547af" providerId="ADAL" clId="{B6284D1A-71B0-43D0-A276-BF5B1397783A}" dt="2020-10-02T13:13:25.539" v="9244" actId="1076"/>
          <ac:picMkLst>
            <pc:docMk/>
            <pc:sldMk cId="2819355768" sldId="6948"/>
            <ac:picMk id="121" creationId="{E5C4FD60-971E-426C-AE10-29252A3D4515}"/>
          </ac:picMkLst>
        </pc:picChg>
        <pc:cxnChg chg="mod ord">
          <ac:chgData name="Théodora DUPONT-COURTADE" userId="b06d61bd-3bc1-47a9-8acb-1faed11547af" providerId="ADAL" clId="{B6284D1A-71B0-43D0-A276-BF5B1397783A}" dt="2020-10-02T13:12:51.749" v="9143"/>
          <ac:cxnSpMkLst>
            <pc:docMk/>
            <pc:sldMk cId="2819355768" sldId="6948"/>
            <ac:cxnSpMk id="6" creationId="{4A55795F-D62D-4477-9539-82C28D7342E9}"/>
          </ac:cxnSpMkLst>
        </pc:cxnChg>
        <pc:cxnChg chg="mod ord">
          <ac:chgData name="Théodora DUPONT-COURTADE" userId="b06d61bd-3bc1-47a9-8acb-1faed11547af" providerId="ADAL" clId="{B6284D1A-71B0-43D0-A276-BF5B1397783A}" dt="2020-10-02T13:12:51.751" v="9145"/>
          <ac:cxnSpMkLst>
            <pc:docMk/>
            <pc:sldMk cId="2819355768" sldId="6948"/>
            <ac:cxnSpMk id="7" creationId="{B290A3BD-3963-4B7E-92DD-9A40BD168973}"/>
          </ac:cxnSpMkLst>
        </pc:cxnChg>
        <pc:cxnChg chg="mod ord">
          <ac:chgData name="Théodora DUPONT-COURTADE" userId="b06d61bd-3bc1-47a9-8acb-1faed11547af" providerId="ADAL" clId="{B6284D1A-71B0-43D0-A276-BF5B1397783A}" dt="2020-10-02T13:12:51.752" v="9147"/>
          <ac:cxnSpMkLst>
            <pc:docMk/>
            <pc:sldMk cId="2819355768" sldId="6948"/>
            <ac:cxnSpMk id="8" creationId="{CCA631A9-EBE4-4A26-8A9C-141C022FFF04}"/>
          </ac:cxnSpMkLst>
        </pc:cxnChg>
        <pc:cxnChg chg="mod ord">
          <ac:chgData name="Théodora DUPONT-COURTADE" userId="b06d61bd-3bc1-47a9-8acb-1faed11547af" providerId="ADAL" clId="{B6284D1A-71B0-43D0-A276-BF5B1397783A}" dt="2020-10-02T13:12:51.754" v="9149"/>
          <ac:cxnSpMkLst>
            <pc:docMk/>
            <pc:sldMk cId="2819355768" sldId="6948"/>
            <ac:cxnSpMk id="9" creationId="{21F2F5BF-3771-483E-8D82-70890A498989}"/>
          </ac:cxnSpMkLst>
        </pc:cxnChg>
        <pc:cxnChg chg="mod ord">
          <ac:chgData name="Théodora DUPONT-COURTADE" userId="b06d61bd-3bc1-47a9-8acb-1faed11547af" providerId="ADAL" clId="{B6284D1A-71B0-43D0-A276-BF5B1397783A}" dt="2020-10-02T13:12:51.755" v="9151"/>
          <ac:cxnSpMkLst>
            <pc:docMk/>
            <pc:sldMk cId="2819355768" sldId="6948"/>
            <ac:cxnSpMk id="290" creationId="{FB66F5B6-FEBB-4558-8E36-6FA0131C39A3}"/>
          </ac:cxnSpMkLst>
        </pc:cxnChg>
        <pc:cxnChg chg="mod ord">
          <ac:chgData name="Théodora DUPONT-COURTADE" userId="b06d61bd-3bc1-47a9-8acb-1faed11547af" providerId="ADAL" clId="{B6284D1A-71B0-43D0-A276-BF5B1397783A}" dt="2020-10-02T13:12:51.757" v="9153"/>
          <ac:cxnSpMkLst>
            <pc:docMk/>
            <pc:sldMk cId="2819355768" sldId="6948"/>
            <ac:cxnSpMk id="291" creationId="{9F69BC4B-2350-4C37-9B91-5ACC1BCC5EBE}"/>
          </ac:cxnSpMkLst>
        </pc:cxnChg>
        <pc:cxnChg chg="mod ord">
          <ac:chgData name="Théodora DUPONT-COURTADE" userId="b06d61bd-3bc1-47a9-8acb-1faed11547af" providerId="ADAL" clId="{B6284D1A-71B0-43D0-A276-BF5B1397783A}" dt="2020-10-02T13:12:51.759" v="9155"/>
          <ac:cxnSpMkLst>
            <pc:docMk/>
            <pc:sldMk cId="2819355768" sldId="6948"/>
            <ac:cxnSpMk id="292" creationId="{0FC3E430-2D11-4503-8A56-046FC19B3A48}"/>
          </ac:cxnSpMkLst>
        </pc:cxnChg>
        <pc:cxnChg chg="mod ord">
          <ac:chgData name="Théodora DUPONT-COURTADE" userId="b06d61bd-3bc1-47a9-8acb-1faed11547af" providerId="ADAL" clId="{B6284D1A-71B0-43D0-A276-BF5B1397783A}" dt="2020-10-02T13:12:51.760" v="9157"/>
          <ac:cxnSpMkLst>
            <pc:docMk/>
            <pc:sldMk cId="2819355768" sldId="6948"/>
            <ac:cxnSpMk id="293" creationId="{E547190D-30A4-433B-BDA8-6D4B2FF9D2FD}"/>
          </ac:cxnSpMkLst>
        </pc:cxnChg>
        <pc:cxnChg chg="mod ord">
          <ac:chgData name="Théodora DUPONT-COURTADE" userId="b06d61bd-3bc1-47a9-8acb-1faed11547af" providerId="ADAL" clId="{B6284D1A-71B0-43D0-A276-BF5B1397783A}" dt="2020-10-02T13:42:34.514" v="9669" actId="14100"/>
          <ac:cxnSpMkLst>
            <pc:docMk/>
            <pc:sldMk cId="2819355768" sldId="6948"/>
            <ac:cxnSpMk id="319" creationId="{4A55795F-D62D-4477-9539-82C28D7342E9}"/>
          </ac:cxnSpMkLst>
        </pc:cxnChg>
        <pc:cxnChg chg="mod ord">
          <ac:chgData name="Théodora DUPONT-COURTADE" userId="b06d61bd-3bc1-47a9-8acb-1faed11547af" providerId="ADAL" clId="{B6284D1A-71B0-43D0-A276-BF5B1397783A}" dt="2020-10-02T13:12:51.804" v="9189"/>
          <ac:cxnSpMkLst>
            <pc:docMk/>
            <pc:sldMk cId="2819355768" sldId="6948"/>
            <ac:cxnSpMk id="320" creationId="{21F2F5BF-3771-483E-8D82-70890A498989}"/>
          </ac:cxnSpMkLst>
        </pc:cxnChg>
        <pc:cxnChg chg="mod ord">
          <ac:chgData name="Théodora DUPONT-COURTADE" userId="b06d61bd-3bc1-47a9-8acb-1faed11547af" providerId="ADAL" clId="{B6284D1A-71B0-43D0-A276-BF5B1397783A}" dt="2020-10-02T13:12:51.805" v="9191"/>
          <ac:cxnSpMkLst>
            <pc:docMk/>
            <pc:sldMk cId="2819355768" sldId="6948"/>
            <ac:cxnSpMk id="321" creationId="{CCA631A9-EBE4-4A26-8A9C-141C022FFF04}"/>
          </ac:cxnSpMkLst>
        </pc:cxnChg>
        <pc:cxnChg chg="mod ord">
          <ac:chgData name="Théodora DUPONT-COURTADE" userId="b06d61bd-3bc1-47a9-8acb-1faed11547af" providerId="ADAL" clId="{B6284D1A-71B0-43D0-A276-BF5B1397783A}" dt="2020-10-02T13:12:51.807" v="9193"/>
          <ac:cxnSpMkLst>
            <pc:docMk/>
            <pc:sldMk cId="2819355768" sldId="6948"/>
            <ac:cxnSpMk id="322" creationId="{B290A3BD-3963-4B7E-92DD-9A40BD168973}"/>
          </ac:cxnSpMkLst>
        </pc:cxnChg>
        <pc:cxnChg chg="mod ord">
          <ac:chgData name="Théodora DUPONT-COURTADE" userId="b06d61bd-3bc1-47a9-8acb-1faed11547af" providerId="ADAL" clId="{B6284D1A-71B0-43D0-A276-BF5B1397783A}" dt="2020-10-02T13:12:51.808" v="9195"/>
          <ac:cxnSpMkLst>
            <pc:docMk/>
            <pc:sldMk cId="2819355768" sldId="6948"/>
            <ac:cxnSpMk id="323" creationId="{FB66F5B6-FEBB-4558-8E36-6FA0131C39A3}"/>
          </ac:cxnSpMkLst>
        </pc:cxnChg>
        <pc:cxnChg chg="mod ord">
          <ac:chgData name="Théodora DUPONT-COURTADE" userId="b06d61bd-3bc1-47a9-8acb-1faed11547af" providerId="ADAL" clId="{B6284D1A-71B0-43D0-A276-BF5B1397783A}" dt="2020-10-02T13:12:51.810" v="9197"/>
          <ac:cxnSpMkLst>
            <pc:docMk/>
            <pc:sldMk cId="2819355768" sldId="6948"/>
            <ac:cxnSpMk id="324" creationId="{9F69BC4B-2350-4C37-9B91-5ACC1BCC5EBE}"/>
          </ac:cxnSpMkLst>
        </pc:cxnChg>
        <pc:cxnChg chg="mod ord">
          <ac:chgData name="Théodora DUPONT-COURTADE" userId="b06d61bd-3bc1-47a9-8acb-1faed11547af" providerId="ADAL" clId="{B6284D1A-71B0-43D0-A276-BF5B1397783A}" dt="2020-10-02T13:12:51.812" v="9199"/>
          <ac:cxnSpMkLst>
            <pc:docMk/>
            <pc:sldMk cId="2819355768" sldId="6948"/>
            <ac:cxnSpMk id="325" creationId="{0FC3E430-2D11-4503-8A56-046FC19B3A48}"/>
          </ac:cxnSpMkLst>
        </pc:cxnChg>
        <pc:cxnChg chg="mod ord">
          <ac:chgData name="Théodora DUPONT-COURTADE" userId="b06d61bd-3bc1-47a9-8acb-1faed11547af" providerId="ADAL" clId="{B6284D1A-71B0-43D0-A276-BF5B1397783A}" dt="2020-10-02T13:12:51.814" v="9201"/>
          <ac:cxnSpMkLst>
            <pc:docMk/>
            <pc:sldMk cId="2819355768" sldId="6948"/>
            <ac:cxnSpMk id="326" creationId="{E547190D-30A4-433B-BDA8-6D4B2FF9D2FD}"/>
          </ac:cxnSpMkLst>
        </pc:cxnChg>
      </pc:sldChg>
      <pc:sldChg chg="addSp delSp modSp mod">
        <pc:chgData name="Théodora DUPONT-COURTADE" userId="b06d61bd-3bc1-47a9-8acb-1faed11547af" providerId="ADAL" clId="{B6284D1A-71B0-43D0-A276-BF5B1397783A}" dt="2020-10-02T13:47:22.639" v="9812" actId="207"/>
        <pc:sldMkLst>
          <pc:docMk/>
          <pc:sldMk cId="3180225553" sldId="6950"/>
        </pc:sldMkLst>
        <pc:spChg chg="add mod ord">
          <ac:chgData name="Théodora DUPONT-COURTADE" userId="b06d61bd-3bc1-47a9-8acb-1faed11547af" providerId="ADAL" clId="{B6284D1A-71B0-43D0-A276-BF5B1397783A}" dt="2020-10-02T11:55:43.582" v="4278" actId="20577"/>
          <ac:spMkLst>
            <pc:docMk/>
            <pc:sldMk cId="3180225553" sldId="6950"/>
            <ac:spMk id="2" creationId="{69B01C19-0B4C-4A02-BD6D-64552DEA313D}"/>
          </ac:spMkLst>
        </pc:spChg>
        <pc:spChg chg="mod ord">
          <ac:chgData name="Théodora DUPONT-COURTADE" userId="b06d61bd-3bc1-47a9-8acb-1faed11547af" providerId="ADAL" clId="{B6284D1A-71B0-43D0-A276-BF5B1397783A}" dt="2020-10-02T07:45:44.707" v="3253"/>
          <ac:spMkLst>
            <pc:docMk/>
            <pc:sldMk cId="3180225553" sldId="6950"/>
            <ac:spMk id="3" creationId="{30953E26-7813-417B-AC0B-7AC74C77D79F}"/>
          </ac:spMkLst>
        </pc:spChg>
        <pc:spChg chg="mod ord">
          <ac:chgData name="Théodora DUPONT-COURTADE" userId="b06d61bd-3bc1-47a9-8acb-1faed11547af" providerId="ADAL" clId="{B6284D1A-71B0-43D0-A276-BF5B1397783A}" dt="2020-10-02T07:45:44.706" v="3251"/>
          <ac:spMkLst>
            <pc:docMk/>
            <pc:sldMk cId="3180225553" sldId="6950"/>
            <ac:spMk id="4" creationId="{CFDA14E9-D9F6-4D44-A466-BF298653DD71}"/>
          </ac:spMkLst>
        </pc:spChg>
        <pc:spChg chg="add del mod">
          <ac:chgData name="Théodora DUPONT-COURTADE" userId="b06d61bd-3bc1-47a9-8acb-1faed11547af" providerId="ADAL" clId="{B6284D1A-71B0-43D0-A276-BF5B1397783A}" dt="2020-10-02T07:48:41.668" v="3488"/>
          <ac:spMkLst>
            <pc:docMk/>
            <pc:sldMk cId="3180225553" sldId="6950"/>
            <ac:spMk id="6" creationId="{22A629BE-8135-4292-BC69-DAC97A8C6846}"/>
          </ac:spMkLst>
        </pc:spChg>
        <pc:spChg chg="add mod">
          <ac:chgData name="Théodora DUPONT-COURTADE" userId="b06d61bd-3bc1-47a9-8acb-1faed11547af" providerId="ADAL" clId="{B6284D1A-71B0-43D0-A276-BF5B1397783A}" dt="2020-10-02T13:47:22.639" v="9812" actId="207"/>
          <ac:spMkLst>
            <pc:docMk/>
            <pc:sldMk cId="3180225553" sldId="6950"/>
            <ac:spMk id="6" creationId="{C23C4D10-B07C-4B1C-B7A4-BED0FB6594FB}"/>
          </ac:spMkLst>
        </pc:spChg>
        <pc:spChg chg="add mod">
          <ac:chgData name="Théodora DUPONT-COURTADE" userId="b06d61bd-3bc1-47a9-8acb-1faed11547af" providerId="ADAL" clId="{B6284D1A-71B0-43D0-A276-BF5B1397783A}" dt="2020-10-02T07:49:10.927" v="3538" actId="1076"/>
          <ac:spMkLst>
            <pc:docMk/>
            <pc:sldMk cId="3180225553" sldId="6950"/>
            <ac:spMk id="7" creationId="{3AFF8B6C-5224-4909-87F0-B98149D544C6}"/>
          </ac:spMkLst>
        </pc:spChg>
        <pc:spChg chg="mod ord">
          <ac:chgData name="Théodora DUPONT-COURTADE" userId="b06d61bd-3bc1-47a9-8acb-1faed11547af" providerId="ADAL" clId="{B6284D1A-71B0-43D0-A276-BF5B1397783A}" dt="2020-10-02T07:45:44.707" v="3255"/>
          <ac:spMkLst>
            <pc:docMk/>
            <pc:sldMk cId="3180225553" sldId="6950"/>
            <ac:spMk id="14" creationId="{92FC6C6C-155F-4C1A-890E-114863D14568}"/>
          </ac:spMkLst>
        </pc:spChg>
        <pc:spChg chg="mod ord">
          <ac:chgData name="Théodora DUPONT-COURTADE" userId="b06d61bd-3bc1-47a9-8acb-1faed11547af" providerId="ADAL" clId="{B6284D1A-71B0-43D0-A276-BF5B1397783A}" dt="2020-10-02T13:32:11.475" v="9610" actId="6549"/>
          <ac:spMkLst>
            <pc:docMk/>
            <pc:sldMk cId="3180225553" sldId="6950"/>
            <ac:spMk id="16" creationId="{EACE795C-C806-425F-8AA4-8EFA6F2CB1B5}"/>
          </ac:spMkLst>
        </pc:spChg>
        <pc:spChg chg="mod">
          <ac:chgData name="Théodora DUPONT-COURTADE" userId="b06d61bd-3bc1-47a9-8acb-1faed11547af" providerId="ADAL" clId="{B6284D1A-71B0-43D0-A276-BF5B1397783A}" dt="2020-10-02T07:45:44.710" v="3262"/>
          <ac:spMkLst>
            <pc:docMk/>
            <pc:sldMk cId="3180225553" sldId="6950"/>
            <ac:spMk id="34" creationId="{E4C834B3-8C96-4B4D-A3B2-401C953956D3}"/>
          </ac:spMkLst>
        </pc:spChg>
        <pc:spChg chg="mod ord">
          <ac:chgData name="Théodora DUPONT-COURTADE" userId="b06d61bd-3bc1-47a9-8acb-1faed11547af" providerId="ADAL" clId="{B6284D1A-71B0-43D0-A276-BF5B1397783A}" dt="2020-10-02T07:45:44.710" v="3264"/>
          <ac:spMkLst>
            <pc:docMk/>
            <pc:sldMk cId="3180225553" sldId="6950"/>
            <ac:spMk id="35" creationId="{0269DD2C-05FB-460F-B6DD-2219DC782E5D}"/>
          </ac:spMkLst>
        </pc:spChg>
        <pc:spChg chg="mod ord">
          <ac:chgData name="Théodora DUPONT-COURTADE" userId="b06d61bd-3bc1-47a9-8acb-1faed11547af" providerId="ADAL" clId="{B6284D1A-71B0-43D0-A276-BF5B1397783A}" dt="2020-10-02T11:33:07.973" v="4168" actId="20577"/>
          <ac:spMkLst>
            <pc:docMk/>
            <pc:sldMk cId="3180225553" sldId="6950"/>
            <ac:spMk id="47" creationId="{C85B0421-5BDB-4848-914A-867C2D466E74}"/>
          </ac:spMkLst>
        </pc:spChg>
        <pc:spChg chg="mod ord">
          <ac:chgData name="Théodora DUPONT-COURTADE" userId="b06d61bd-3bc1-47a9-8acb-1faed11547af" providerId="ADAL" clId="{B6284D1A-71B0-43D0-A276-BF5B1397783A}" dt="2020-10-02T11:33:00.405" v="4165" actId="20577"/>
          <ac:spMkLst>
            <pc:docMk/>
            <pc:sldMk cId="3180225553" sldId="6950"/>
            <ac:spMk id="48" creationId="{4A9A9C35-FBD0-4A84-AAD1-D2EF1546575F}"/>
          </ac:spMkLst>
        </pc:spChg>
        <pc:spChg chg="mod ord">
          <ac:chgData name="Théodora DUPONT-COURTADE" userId="b06d61bd-3bc1-47a9-8acb-1faed11547af" providerId="ADAL" clId="{B6284D1A-71B0-43D0-A276-BF5B1397783A}" dt="2020-10-02T07:45:44.714" v="3272"/>
          <ac:spMkLst>
            <pc:docMk/>
            <pc:sldMk cId="3180225553" sldId="6950"/>
            <ac:spMk id="75" creationId="{2512987A-FDC9-498A-BCB8-28A6CE2D81BE}"/>
          </ac:spMkLst>
        </pc:spChg>
        <pc:spChg chg="mod ord">
          <ac:chgData name="Théodora DUPONT-COURTADE" userId="b06d61bd-3bc1-47a9-8acb-1faed11547af" providerId="ADAL" clId="{B6284D1A-71B0-43D0-A276-BF5B1397783A}" dt="2020-10-02T07:45:44.715" v="3274"/>
          <ac:spMkLst>
            <pc:docMk/>
            <pc:sldMk cId="3180225553" sldId="6950"/>
            <ac:spMk id="76" creationId="{E68A145D-08A7-412E-A54B-7C2CBB75EAB1}"/>
          </ac:spMkLst>
        </pc:spChg>
        <pc:spChg chg="mod ord">
          <ac:chgData name="Théodora DUPONT-COURTADE" userId="b06d61bd-3bc1-47a9-8acb-1faed11547af" providerId="ADAL" clId="{B6284D1A-71B0-43D0-A276-BF5B1397783A}" dt="2020-10-02T07:45:44.718" v="3284"/>
          <ac:spMkLst>
            <pc:docMk/>
            <pc:sldMk cId="3180225553" sldId="6950"/>
            <ac:spMk id="81" creationId="{161C8AFA-B589-42AC-9180-F90F1AFC83EF}"/>
          </ac:spMkLst>
        </pc:spChg>
        <pc:spChg chg="mod ord">
          <ac:chgData name="Théodora DUPONT-COURTADE" userId="b06d61bd-3bc1-47a9-8acb-1faed11547af" providerId="ADAL" clId="{B6284D1A-71B0-43D0-A276-BF5B1397783A}" dt="2020-10-02T07:45:44.718" v="3286"/>
          <ac:spMkLst>
            <pc:docMk/>
            <pc:sldMk cId="3180225553" sldId="6950"/>
            <ac:spMk id="82" creationId="{08389D88-E096-478D-A223-1D7B6CF87F27}"/>
          </ac:spMkLst>
        </pc:spChg>
        <pc:spChg chg="mod ord">
          <ac:chgData name="Théodora DUPONT-COURTADE" userId="b06d61bd-3bc1-47a9-8acb-1faed11547af" providerId="ADAL" clId="{B6284D1A-71B0-43D0-A276-BF5B1397783A}" dt="2020-10-02T07:45:44.719" v="3288"/>
          <ac:spMkLst>
            <pc:docMk/>
            <pc:sldMk cId="3180225553" sldId="6950"/>
            <ac:spMk id="83" creationId="{44EF3646-A171-4ACB-89F4-4BF4584168F6}"/>
          </ac:spMkLst>
        </pc:spChg>
        <pc:spChg chg="mod ord">
          <ac:chgData name="Théodora DUPONT-COURTADE" userId="b06d61bd-3bc1-47a9-8acb-1faed11547af" providerId="ADAL" clId="{B6284D1A-71B0-43D0-A276-BF5B1397783A}" dt="2020-10-02T07:45:44.719" v="3290"/>
          <ac:spMkLst>
            <pc:docMk/>
            <pc:sldMk cId="3180225553" sldId="6950"/>
            <ac:spMk id="84" creationId="{1F10B08E-B981-4C0D-B63F-072F6B4A0200}"/>
          </ac:spMkLst>
        </pc:spChg>
        <pc:spChg chg="add del mod">
          <ac:chgData name="Théodora DUPONT-COURTADE" userId="b06d61bd-3bc1-47a9-8acb-1faed11547af" providerId="ADAL" clId="{B6284D1A-71B0-43D0-A276-BF5B1397783A}" dt="2020-10-02T07:48:41.668" v="3488"/>
          <ac:spMkLst>
            <pc:docMk/>
            <pc:sldMk cId="3180225553" sldId="6950"/>
            <ac:spMk id="103" creationId="{1E351685-0A64-48EB-AF97-803655DDC8F9}"/>
          </ac:spMkLst>
        </pc:spChg>
        <pc:spChg chg="add del mod">
          <ac:chgData name="Théodora DUPONT-COURTADE" userId="b06d61bd-3bc1-47a9-8acb-1faed11547af" providerId="ADAL" clId="{B6284D1A-71B0-43D0-A276-BF5B1397783A}" dt="2020-10-02T07:47:36.267" v="3476" actId="478"/>
          <ac:spMkLst>
            <pc:docMk/>
            <pc:sldMk cId="3180225553" sldId="6950"/>
            <ac:spMk id="104" creationId="{F1F61503-92AF-4D41-91DC-0AE6E2D0C395}"/>
          </ac:spMkLst>
        </pc:spChg>
        <pc:spChg chg="add del mod">
          <ac:chgData name="Théodora DUPONT-COURTADE" userId="b06d61bd-3bc1-47a9-8acb-1faed11547af" providerId="ADAL" clId="{B6284D1A-71B0-43D0-A276-BF5B1397783A}" dt="2020-10-02T07:48:41.668" v="3488"/>
          <ac:spMkLst>
            <pc:docMk/>
            <pc:sldMk cId="3180225553" sldId="6950"/>
            <ac:spMk id="106" creationId="{48426C4B-0E3E-4AFB-BA11-343B6F39226A}"/>
          </ac:spMkLst>
        </pc:spChg>
        <pc:spChg chg="mod">
          <ac:chgData name="Théodora DUPONT-COURTADE" userId="b06d61bd-3bc1-47a9-8acb-1faed11547af" providerId="ADAL" clId="{B6284D1A-71B0-43D0-A276-BF5B1397783A}" dt="2020-10-02T11:56:58.751" v="4332" actId="14100"/>
          <ac:spMkLst>
            <pc:docMk/>
            <pc:sldMk cId="3180225553" sldId="6950"/>
            <ac:spMk id="107" creationId="{A7D45EF5-E7A8-4DB1-A507-8A7EDF03FD56}"/>
          </ac:spMkLst>
        </pc:spChg>
        <pc:spChg chg="mod">
          <ac:chgData name="Théodora DUPONT-COURTADE" userId="b06d61bd-3bc1-47a9-8acb-1faed11547af" providerId="ADAL" clId="{B6284D1A-71B0-43D0-A276-BF5B1397783A}" dt="2020-10-02T07:45:44.725" v="3307"/>
          <ac:spMkLst>
            <pc:docMk/>
            <pc:sldMk cId="3180225553" sldId="6950"/>
            <ac:spMk id="119" creationId="{96ACD372-FEF3-47D1-B300-A297F400E38C}"/>
          </ac:spMkLst>
        </pc:spChg>
        <pc:spChg chg="mod ord">
          <ac:chgData name="Théodora DUPONT-COURTADE" userId="b06d61bd-3bc1-47a9-8acb-1faed11547af" providerId="ADAL" clId="{B6284D1A-71B0-43D0-A276-BF5B1397783A}" dt="2020-10-02T07:45:44.725" v="3309"/>
          <ac:spMkLst>
            <pc:docMk/>
            <pc:sldMk cId="3180225553" sldId="6950"/>
            <ac:spMk id="120" creationId="{24DBBEC1-2EBC-4025-BAED-993C2FA9EB18}"/>
          </ac:spMkLst>
        </pc:spChg>
        <pc:spChg chg="mod ord">
          <ac:chgData name="Théodora DUPONT-COURTADE" userId="b06d61bd-3bc1-47a9-8acb-1faed11547af" providerId="ADAL" clId="{B6284D1A-71B0-43D0-A276-BF5B1397783A}" dt="2020-10-02T07:45:44.726" v="3311"/>
          <ac:spMkLst>
            <pc:docMk/>
            <pc:sldMk cId="3180225553" sldId="6950"/>
            <ac:spMk id="121" creationId="{6D559518-E8C1-46B8-9B52-9036FEE0B55E}"/>
          </ac:spMkLst>
        </pc:spChg>
        <pc:spChg chg="mod ord">
          <ac:chgData name="Théodora DUPONT-COURTADE" userId="b06d61bd-3bc1-47a9-8acb-1faed11547af" providerId="ADAL" clId="{B6284D1A-71B0-43D0-A276-BF5B1397783A}" dt="2020-10-02T07:45:44.726" v="3313"/>
          <ac:spMkLst>
            <pc:docMk/>
            <pc:sldMk cId="3180225553" sldId="6950"/>
            <ac:spMk id="122" creationId="{8C66A17F-8A18-4E0C-B25E-892F3E969D94}"/>
          </ac:spMkLst>
        </pc:spChg>
        <pc:spChg chg="mod ord">
          <ac:chgData name="Théodora DUPONT-COURTADE" userId="b06d61bd-3bc1-47a9-8acb-1faed11547af" providerId="ADAL" clId="{B6284D1A-71B0-43D0-A276-BF5B1397783A}" dt="2020-10-02T07:45:44.727" v="3315"/>
          <ac:spMkLst>
            <pc:docMk/>
            <pc:sldMk cId="3180225553" sldId="6950"/>
            <ac:spMk id="123" creationId="{8FD9938C-F978-46AE-BB3A-EDEDFF7FD70A}"/>
          </ac:spMkLst>
        </pc:spChg>
        <pc:spChg chg="mod ord">
          <ac:chgData name="Théodora DUPONT-COURTADE" userId="b06d61bd-3bc1-47a9-8acb-1faed11547af" providerId="ADAL" clId="{B6284D1A-71B0-43D0-A276-BF5B1397783A}" dt="2020-10-02T07:45:44.728" v="3317"/>
          <ac:spMkLst>
            <pc:docMk/>
            <pc:sldMk cId="3180225553" sldId="6950"/>
            <ac:spMk id="124" creationId="{20ABFB18-92B3-4581-849D-D6C5F42002DE}"/>
          </ac:spMkLst>
        </pc:spChg>
        <pc:spChg chg="mod ord">
          <ac:chgData name="Théodora DUPONT-COURTADE" userId="b06d61bd-3bc1-47a9-8acb-1faed11547af" providerId="ADAL" clId="{B6284D1A-71B0-43D0-A276-BF5B1397783A}" dt="2020-10-02T07:45:44.728" v="3319"/>
          <ac:spMkLst>
            <pc:docMk/>
            <pc:sldMk cId="3180225553" sldId="6950"/>
            <ac:spMk id="125" creationId="{FDD0A22E-D044-4738-A846-D69DD4EC1C73}"/>
          </ac:spMkLst>
        </pc:spChg>
        <pc:spChg chg="mod ord">
          <ac:chgData name="Théodora DUPONT-COURTADE" userId="b06d61bd-3bc1-47a9-8acb-1faed11547af" providerId="ADAL" clId="{B6284D1A-71B0-43D0-A276-BF5B1397783A}" dt="2020-10-02T07:45:44.729" v="3321"/>
          <ac:spMkLst>
            <pc:docMk/>
            <pc:sldMk cId="3180225553" sldId="6950"/>
            <ac:spMk id="126" creationId="{A9A0C130-CA17-448C-B406-947373E76974}"/>
          </ac:spMkLst>
        </pc:spChg>
        <pc:spChg chg="mod ord">
          <ac:chgData name="Théodora DUPONT-COURTADE" userId="b06d61bd-3bc1-47a9-8acb-1faed11547af" providerId="ADAL" clId="{B6284D1A-71B0-43D0-A276-BF5B1397783A}" dt="2020-10-02T07:45:44.730" v="3323"/>
          <ac:spMkLst>
            <pc:docMk/>
            <pc:sldMk cId="3180225553" sldId="6950"/>
            <ac:spMk id="127" creationId="{46B3103C-B011-4050-9308-7682C2786A94}"/>
          </ac:spMkLst>
        </pc:spChg>
        <pc:spChg chg="mod ord">
          <ac:chgData name="Théodora DUPONT-COURTADE" userId="b06d61bd-3bc1-47a9-8acb-1faed11547af" providerId="ADAL" clId="{B6284D1A-71B0-43D0-A276-BF5B1397783A}" dt="2020-10-02T07:45:44.730" v="3325"/>
          <ac:spMkLst>
            <pc:docMk/>
            <pc:sldMk cId="3180225553" sldId="6950"/>
            <ac:spMk id="128" creationId="{5656A40E-94D2-4D19-9FCB-B644FC3F1A54}"/>
          </ac:spMkLst>
        </pc:spChg>
        <pc:spChg chg="mod">
          <ac:chgData name="Théodora DUPONT-COURTADE" userId="b06d61bd-3bc1-47a9-8acb-1faed11547af" providerId="ADAL" clId="{B6284D1A-71B0-43D0-A276-BF5B1397783A}" dt="2020-10-02T07:45:44.731" v="3326"/>
          <ac:spMkLst>
            <pc:docMk/>
            <pc:sldMk cId="3180225553" sldId="6950"/>
            <ac:spMk id="129" creationId="{DE44398E-CA7D-423C-B470-AEEC17B9CEF1}"/>
          </ac:spMkLst>
        </pc:spChg>
        <pc:spChg chg="mod">
          <ac:chgData name="Théodora DUPONT-COURTADE" userId="b06d61bd-3bc1-47a9-8acb-1faed11547af" providerId="ADAL" clId="{B6284D1A-71B0-43D0-A276-BF5B1397783A}" dt="2020-10-02T07:45:44.731" v="3327"/>
          <ac:spMkLst>
            <pc:docMk/>
            <pc:sldMk cId="3180225553" sldId="6950"/>
            <ac:spMk id="130" creationId="{BD03CE83-5B80-4222-9DF4-8B8CDD6253FD}"/>
          </ac:spMkLst>
        </pc:spChg>
        <pc:spChg chg="mod">
          <ac:chgData name="Théodora DUPONT-COURTADE" userId="b06d61bd-3bc1-47a9-8acb-1faed11547af" providerId="ADAL" clId="{B6284D1A-71B0-43D0-A276-BF5B1397783A}" dt="2020-10-02T07:45:44.732" v="3328"/>
          <ac:spMkLst>
            <pc:docMk/>
            <pc:sldMk cId="3180225553" sldId="6950"/>
            <ac:spMk id="131" creationId="{19BD0584-735D-43A7-B72F-9CD40765384D}"/>
          </ac:spMkLst>
        </pc:spChg>
        <pc:spChg chg="mod">
          <ac:chgData name="Théodora DUPONT-COURTADE" userId="b06d61bd-3bc1-47a9-8acb-1faed11547af" providerId="ADAL" clId="{B6284D1A-71B0-43D0-A276-BF5B1397783A}" dt="2020-10-02T07:45:44.732" v="3329"/>
          <ac:spMkLst>
            <pc:docMk/>
            <pc:sldMk cId="3180225553" sldId="6950"/>
            <ac:spMk id="132" creationId="{41BAEDB9-ABF1-40DF-B0EE-8DAE21411DCE}"/>
          </ac:spMkLst>
        </pc:spChg>
        <pc:spChg chg="del mod">
          <ac:chgData name="Théodora DUPONT-COURTADE" userId="b06d61bd-3bc1-47a9-8acb-1faed11547af" providerId="ADAL" clId="{B6284D1A-71B0-43D0-A276-BF5B1397783A}" dt="2020-10-02T11:55:45.369" v="4279" actId="478"/>
          <ac:spMkLst>
            <pc:docMk/>
            <pc:sldMk cId="3180225553" sldId="6950"/>
            <ac:spMk id="135" creationId="{2911FCA8-B37E-46A8-9A1A-0F3852E76816}"/>
          </ac:spMkLst>
        </pc:spChg>
        <pc:spChg chg="mod">
          <ac:chgData name="Théodora DUPONT-COURTADE" userId="b06d61bd-3bc1-47a9-8acb-1faed11547af" providerId="ADAL" clId="{B6284D1A-71B0-43D0-A276-BF5B1397783A}" dt="2020-10-02T07:45:44.733" v="3330"/>
          <ac:spMkLst>
            <pc:docMk/>
            <pc:sldMk cId="3180225553" sldId="6950"/>
            <ac:spMk id="164" creationId="{1DE28F63-AB22-4CC0-A2FB-42770F0DA4C5}"/>
          </ac:spMkLst>
        </pc:spChg>
        <pc:spChg chg="mod">
          <ac:chgData name="Théodora DUPONT-COURTADE" userId="b06d61bd-3bc1-47a9-8acb-1faed11547af" providerId="ADAL" clId="{B6284D1A-71B0-43D0-A276-BF5B1397783A}" dt="2020-10-02T07:45:44.733" v="3331"/>
          <ac:spMkLst>
            <pc:docMk/>
            <pc:sldMk cId="3180225553" sldId="6950"/>
            <ac:spMk id="165" creationId="{B7012B39-405B-48CB-AB07-FC31E3EAF9AA}"/>
          </ac:spMkLst>
        </pc:spChg>
        <pc:spChg chg="mod">
          <ac:chgData name="Théodora DUPONT-COURTADE" userId="b06d61bd-3bc1-47a9-8acb-1faed11547af" providerId="ADAL" clId="{B6284D1A-71B0-43D0-A276-BF5B1397783A}" dt="2020-10-02T07:45:44.733" v="3332"/>
          <ac:spMkLst>
            <pc:docMk/>
            <pc:sldMk cId="3180225553" sldId="6950"/>
            <ac:spMk id="166" creationId="{ACB2F137-2C20-476F-8A5F-CB5C1DB3BABB}"/>
          </ac:spMkLst>
        </pc:spChg>
        <pc:spChg chg="mod">
          <ac:chgData name="Théodora DUPONT-COURTADE" userId="b06d61bd-3bc1-47a9-8acb-1faed11547af" providerId="ADAL" clId="{B6284D1A-71B0-43D0-A276-BF5B1397783A}" dt="2020-10-02T07:45:44.734" v="3333"/>
          <ac:spMkLst>
            <pc:docMk/>
            <pc:sldMk cId="3180225553" sldId="6950"/>
            <ac:spMk id="167" creationId="{F05CE6D0-53F8-4866-BBE8-08E714873EDF}"/>
          </ac:spMkLst>
        </pc:spChg>
        <pc:spChg chg="mod ord">
          <ac:chgData name="Théodora DUPONT-COURTADE" userId="b06d61bd-3bc1-47a9-8acb-1faed11547af" providerId="ADAL" clId="{B6284D1A-71B0-43D0-A276-BF5B1397783A}" dt="2020-10-02T07:45:44.755" v="3398"/>
          <ac:spMkLst>
            <pc:docMk/>
            <pc:sldMk cId="3180225553" sldId="6950"/>
            <ac:spMk id="168" creationId="{B88B1108-0092-4AF0-9274-78C36552DF38}"/>
          </ac:spMkLst>
        </pc:spChg>
        <pc:spChg chg="mod ord">
          <ac:chgData name="Théodora DUPONT-COURTADE" userId="b06d61bd-3bc1-47a9-8acb-1faed11547af" providerId="ADAL" clId="{B6284D1A-71B0-43D0-A276-BF5B1397783A}" dt="2020-10-02T07:45:44.734" v="3335"/>
          <ac:spMkLst>
            <pc:docMk/>
            <pc:sldMk cId="3180225553" sldId="6950"/>
            <ac:spMk id="169" creationId="{ACC55E45-D91A-4E5A-B55D-CC1C31EE3885}"/>
          </ac:spMkLst>
        </pc:spChg>
        <pc:spChg chg="mod ord">
          <ac:chgData name="Théodora DUPONT-COURTADE" userId="b06d61bd-3bc1-47a9-8acb-1faed11547af" providerId="ADAL" clId="{B6284D1A-71B0-43D0-A276-BF5B1397783A}" dt="2020-10-02T07:45:44.735" v="3337"/>
          <ac:spMkLst>
            <pc:docMk/>
            <pc:sldMk cId="3180225553" sldId="6950"/>
            <ac:spMk id="170" creationId="{D4489E23-9F70-4A58-BC89-401B9D993A86}"/>
          </ac:spMkLst>
        </pc:spChg>
        <pc:spChg chg="mod ord">
          <ac:chgData name="Théodora DUPONT-COURTADE" userId="b06d61bd-3bc1-47a9-8acb-1faed11547af" providerId="ADAL" clId="{B6284D1A-71B0-43D0-A276-BF5B1397783A}" dt="2020-10-02T07:45:44.736" v="3339"/>
          <ac:spMkLst>
            <pc:docMk/>
            <pc:sldMk cId="3180225553" sldId="6950"/>
            <ac:spMk id="171" creationId="{C7A85204-D779-4BC9-8681-F532B6318218}"/>
          </ac:spMkLst>
        </pc:spChg>
        <pc:spChg chg="mod ord">
          <ac:chgData name="Théodora DUPONT-COURTADE" userId="b06d61bd-3bc1-47a9-8acb-1faed11547af" providerId="ADAL" clId="{B6284D1A-71B0-43D0-A276-BF5B1397783A}" dt="2020-10-02T07:45:44.741" v="3359"/>
          <ac:spMkLst>
            <pc:docMk/>
            <pc:sldMk cId="3180225553" sldId="6950"/>
            <ac:spMk id="246" creationId="{20ABFB18-92B3-4581-849D-D6C5F42002DE}"/>
          </ac:spMkLst>
        </pc:spChg>
        <pc:spChg chg="mod ord">
          <ac:chgData name="Théodora DUPONT-COURTADE" userId="b06d61bd-3bc1-47a9-8acb-1faed11547af" providerId="ADAL" clId="{B6284D1A-71B0-43D0-A276-BF5B1397783A}" dt="2020-10-02T07:45:44.742" v="3361"/>
          <ac:spMkLst>
            <pc:docMk/>
            <pc:sldMk cId="3180225553" sldId="6950"/>
            <ac:spMk id="247" creationId="{8FD9938C-F978-46AE-BB3A-EDEDFF7FD70A}"/>
          </ac:spMkLst>
        </pc:spChg>
        <pc:spChg chg="mod">
          <ac:chgData name="Théodora DUPONT-COURTADE" userId="b06d61bd-3bc1-47a9-8acb-1faed11547af" providerId="ADAL" clId="{B6284D1A-71B0-43D0-A276-BF5B1397783A}" dt="2020-10-02T07:45:44.742" v="3362"/>
          <ac:spMkLst>
            <pc:docMk/>
            <pc:sldMk cId="3180225553" sldId="6950"/>
            <ac:spMk id="248" creationId="{BD03CE83-5B80-4222-9DF4-8B8CDD6253FD}"/>
          </ac:spMkLst>
        </pc:spChg>
        <pc:spChg chg="mod ord">
          <ac:chgData name="Théodora DUPONT-COURTADE" userId="b06d61bd-3bc1-47a9-8acb-1faed11547af" providerId="ADAL" clId="{B6284D1A-71B0-43D0-A276-BF5B1397783A}" dt="2020-10-02T07:45:44.744" v="3364"/>
          <ac:spMkLst>
            <pc:docMk/>
            <pc:sldMk cId="3180225553" sldId="6950"/>
            <ac:spMk id="249" creationId="{46B3103C-B011-4050-9308-7682C2786A94}"/>
          </ac:spMkLst>
        </pc:spChg>
        <pc:spChg chg="mod">
          <ac:chgData name="Théodora DUPONT-COURTADE" userId="b06d61bd-3bc1-47a9-8acb-1faed11547af" providerId="ADAL" clId="{B6284D1A-71B0-43D0-A276-BF5B1397783A}" dt="2020-10-02T07:45:44.744" v="3365"/>
          <ac:spMkLst>
            <pc:docMk/>
            <pc:sldMk cId="3180225553" sldId="6950"/>
            <ac:spMk id="250" creationId="{96ACD372-FEF3-47D1-B300-A297F400E38C}"/>
          </ac:spMkLst>
        </pc:spChg>
        <pc:spChg chg="mod ord">
          <ac:chgData name="Théodora DUPONT-COURTADE" userId="b06d61bd-3bc1-47a9-8acb-1faed11547af" providerId="ADAL" clId="{B6284D1A-71B0-43D0-A276-BF5B1397783A}" dt="2020-10-02T07:45:44.744" v="3367"/>
          <ac:spMkLst>
            <pc:docMk/>
            <pc:sldMk cId="3180225553" sldId="6950"/>
            <ac:spMk id="251" creationId="{5656A40E-94D2-4D19-9FCB-B644FC3F1A54}"/>
          </ac:spMkLst>
        </pc:spChg>
        <pc:spChg chg="mod ord">
          <ac:chgData name="Théodora DUPONT-COURTADE" userId="b06d61bd-3bc1-47a9-8acb-1faed11547af" providerId="ADAL" clId="{B6284D1A-71B0-43D0-A276-BF5B1397783A}" dt="2020-10-02T07:45:44.745" v="3369"/>
          <ac:spMkLst>
            <pc:docMk/>
            <pc:sldMk cId="3180225553" sldId="6950"/>
            <ac:spMk id="252" creationId="{24DBBEC1-2EBC-4025-BAED-993C2FA9EB18}"/>
          </ac:spMkLst>
        </pc:spChg>
        <pc:spChg chg="mod ord">
          <ac:chgData name="Théodora DUPONT-COURTADE" userId="b06d61bd-3bc1-47a9-8acb-1faed11547af" providerId="ADAL" clId="{B6284D1A-71B0-43D0-A276-BF5B1397783A}" dt="2020-10-02T07:45:44.745" v="3371"/>
          <ac:spMkLst>
            <pc:docMk/>
            <pc:sldMk cId="3180225553" sldId="6950"/>
            <ac:spMk id="253" creationId="{6D559518-E8C1-46B8-9B52-9036FEE0B55E}"/>
          </ac:spMkLst>
        </pc:spChg>
        <pc:spChg chg="mod ord">
          <ac:chgData name="Théodora DUPONT-COURTADE" userId="b06d61bd-3bc1-47a9-8acb-1faed11547af" providerId="ADAL" clId="{B6284D1A-71B0-43D0-A276-BF5B1397783A}" dt="2020-10-02T07:45:44.747" v="3373"/>
          <ac:spMkLst>
            <pc:docMk/>
            <pc:sldMk cId="3180225553" sldId="6950"/>
            <ac:spMk id="254" creationId="{A9A0C130-CA17-448C-B406-947373E76974}"/>
          </ac:spMkLst>
        </pc:spChg>
        <pc:spChg chg="mod ord">
          <ac:chgData name="Théodora DUPONT-COURTADE" userId="b06d61bd-3bc1-47a9-8acb-1faed11547af" providerId="ADAL" clId="{B6284D1A-71B0-43D0-A276-BF5B1397783A}" dt="2020-10-02T07:45:44.747" v="3375"/>
          <ac:spMkLst>
            <pc:docMk/>
            <pc:sldMk cId="3180225553" sldId="6950"/>
            <ac:spMk id="255" creationId="{FDD0A22E-D044-4738-A846-D69DD4EC1C73}"/>
          </ac:spMkLst>
        </pc:spChg>
        <pc:spChg chg="mod ord">
          <ac:chgData name="Théodora DUPONT-COURTADE" userId="b06d61bd-3bc1-47a9-8acb-1faed11547af" providerId="ADAL" clId="{B6284D1A-71B0-43D0-A276-BF5B1397783A}" dt="2020-10-02T07:45:44.747" v="3377"/>
          <ac:spMkLst>
            <pc:docMk/>
            <pc:sldMk cId="3180225553" sldId="6950"/>
            <ac:spMk id="256" creationId="{8C66A17F-8A18-4E0C-B25E-892F3E969D94}"/>
          </ac:spMkLst>
        </pc:spChg>
        <pc:spChg chg="mod">
          <ac:chgData name="Théodora DUPONT-COURTADE" userId="b06d61bd-3bc1-47a9-8acb-1faed11547af" providerId="ADAL" clId="{B6284D1A-71B0-43D0-A276-BF5B1397783A}" dt="2020-10-02T07:45:44.749" v="3378"/>
          <ac:spMkLst>
            <pc:docMk/>
            <pc:sldMk cId="3180225553" sldId="6950"/>
            <ac:spMk id="257" creationId="{19BD0584-735D-43A7-B72F-9CD40765384D}"/>
          </ac:spMkLst>
        </pc:spChg>
        <pc:spChg chg="mod">
          <ac:chgData name="Théodora DUPONT-COURTADE" userId="b06d61bd-3bc1-47a9-8acb-1faed11547af" providerId="ADAL" clId="{B6284D1A-71B0-43D0-A276-BF5B1397783A}" dt="2020-10-02T07:45:44.749" v="3379"/>
          <ac:spMkLst>
            <pc:docMk/>
            <pc:sldMk cId="3180225553" sldId="6950"/>
            <ac:spMk id="258" creationId="{41BAEDB9-ABF1-40DF-B0EE-8DAE21411DCE}"/>
          </ac:spMkLst>
        </pc:spChg>
        <pc:spChg chg="mod">
          <ac:chgData name="Théodora DUPONT-COURTADE" userId="b06d61bd-3bc1-47a9-8acb-1faed11547af" providerId="ADAL" clId="{B6284D1A-71B0-43D0-A276-BF5B1397783A}" dt="2020-10-02T07:45:44.750" v="3380"/>
          <ac:spMkLst>
            <pc:docMk/>
            <pc:sldMk cId="3180225553" sldId="6950"/>
            <ac:spMk id="259" creationId="{1DE28F63-AB22-4CC0-A2FB-42770F0DA4C5}"/>
          </ac:spMkLst>
        </pc:spChg>
        <pc:spChg chg="mod">
          <ac:chgData name="Théodora DUPONT-COURTADE" userId="b06d61bd-3bc1-47a9-8acb-1faed11547af" providerId="ADAL" clId="{B6284D1A-71B0-43D0-A276-BF5B1397783A}" dt="2020-10-02T07:45:44.750" v="3381"/>
          <ac:spMkLst>
            <pc:docMk/>
            <pc:sldMk cId="3180225553" sldId="6950"/>
            <ac:spMk id="260" creationId="{B7012B39-405B-48CB-AB07-FC31E3EAF9AA}"/>
          </ac:spMkLst>
        </pc:spChg>
        <pc:spChg chg="mod">
          <ac:chgData name="Théodora DUPONT-COURTADE" userId="b06d61bd-3bc1-47a9-8acb-1faed11547af" providerId="ADAL" clId="{B6284D1A-71B0-43D0-A276-BF5B1397783A}" dt="2020-10-02T07:45:44.750" v="3382"/>
          <ac:spMkLst>
            <pc:docMk/>
            <pc:sldMk cId="3180225553" sldId="6950"/>
            <ac:spMk id="261" creationId="{DE44398E-CA7D-423C-B470-AEEC17B9CEF1}"/>
          </ac:spMkLst>
        </pc:spChg>
        <pc:spChg chg="mod">
          <ac:chgData name="Théodora DUPONT-COURTADE" userId="b06d61bd-3bc1-47a9-8acb-1faed11547af" providerId="ADAL" clId="{B6284D1A-71B0-43D0-A276-BF5B1397783A}" dt="2020-10-02T07:45:44.750" v="3383"/>
          <ac:spMkLst>
            <pc:docMk/>
            <pc:sldMk cId="3180225553" sldId="6950"/>
            <ac:spMk id="262" creationId="{ACB2F137-2C20-476F-8A5F-CB5C1DB3BABB}"/>
          </ac:spMkLst>
        </pc:spChg>
        <pc:spChg chg="mod">
          <ac:chgData name="Théodora DUPONT-COURTADE" userId="b06d61bd-3bc1-47a9-8acb-1faed11547af" providerId="ADAL" clId="{B6284D1A-71B0-43D0-A276-BF5B1397783A}" dt="2020-10-02T07:45:44.751" v="3384"/>
          <ac:spMkLst>
            <pc:docMk/>
            <pc:sldMk cId="3180225553" sldId="6950"/>
            <ac:spMk id="263" creationId="{F05CE6D0-53F8-4866-BBE8-08E714873EDF}"/>
          </ac:spMkLst>
        </pc:spChg>
        <pc:spChg chg="mod ord">
          <ac:chgData name="Théodora DUPONT-COURTADE" userId="b06d61bd-3bc1-47a9-8acb-1faed11547af" providerId="ADAL" clId="{B6284D1A-71B0-43D0-A276-BF5B1397783A}" dt="2020-10-02T07:45:44.751" v="3386"/>
          <ac:spMkLst>
            <pc:docMk/>
            <pc:sldMk cId="3180225553" sldId="6950"/>
            <ac:spMk id="264" creationId="{B88B1108-0092-4AF0-9274-78C36552DF38}"/>
          </ac:spMkLst>
        </pc:spChg>
        <pc:spChg chg="mod ord">
          <ac:chgData name="Théodora DUPONT-COURTADE" userId="b06d61bd-3bc1-47a9-8acb-1faed11547af" providerId="ADAL" clId="{B6284D1A-71B0-43D0-A276-BF5B1397783A}" dt="2020-10-02T07:45:44.752" v="3388"/>
          <ac:spMkLst>
            <pc:docMk/>
            <pc:sldMk cId="3180225553" sldId="6950"/>
            <ac:spMk id="265" creationId="{ACC55E45-D91A-4E5A-B55D-CC1C31EE3885}"/>
          </ac:spMkLst>
        </pc:spChg>
        <pc:spChg chg="mod ord">
          <ac:chgData name="Théodora DUPONT-COURTADE" userId="b06d61bd-3bc1-47a9-8acb-1faed11547af" providerId="ADAL" clId="{B6284D1A-71B0-43D0-A276-BF5B1397783A}" dt="2020-10-02T07:45:44.753" v="3390"/>
          <ac:spMkLst>
            <pc:docMk/>
            <pc:sldMk cId="3180225553" sldId="6950"/>
            <ac:spMk id="266" creationId="{D4489E23-9F70-4A58-BC89-401B9D993A86}"/>
          </ac:spMkLst>
        </pc:spChg>
        <pc:spChg chg="mod ord">
          <ac:chgData name="Théodora DUPONT-COURTADE" userId="b06d61bd-3bc1-47a9-8acb-1faed11547af" providerId="ADAL" clId="{B6284D1A-71B0-43D0-A276-BF5B1397783A}" dt="2020-10-02T07:45:44.753" v="3392"/>
          <ac:spMkLst>
            <pc:docMk/>
            <pc:sldMk cId="3180225553" sldId="6950"/>
            <ac:spMk id="267" creationId="{C7A85204-D779-4BC9-8681-F532B6318218}"/>
          </ac:spMkLst>
        </pc:spChg>
        <pc:grpChg chg="mod ord">
          <ac:chgData name="Théodora DUPONT-COURTADE" userId="b06d61bd-3bc1-47a9-8acb-1faed11547af" providerId="ADAL" clId="{B6284D1A-71B0-43D0-A276-BF5B1397783A}" dt="2020-10-02T07:45:44.711" v="3266"/>
          <ac:grpSpMkLst>
            <pc:docMk/>
            <pc:sldMk cId="3180225553" sldId="6950"/>
            <ac:grpSpMk id="36" creationId="{A3B40BAB-A07F-48BA-8133-D5706E9A5B37}"/>
          </ac:grpSpMkLst>
        </pc:grpChg>
        <pc:grpChg chg="mod ord">
          <ac:chgData name="Théodora DUPONT-COURTADE" userId="b06d61bd-3bc1-47a9-8acb-1faed11547af" providerId="ADAL" clId="{B6284D1A-71B0-43D0-A276-BF5B1397783A}" dt="2020-10-02T07:45:44.713" v="3268"/>
          <ac:grpSpMkLst>
            <pc:docMk/>
            <pc:sldMk cId="3180225553" sldId="6950"/>
            <ac:grpSpMk id="58" creationId="{DC7CD2E7-68C9-413D-BB3B-4AAB991FF8DA}"/>
          </ac:grpSpMkLst>
        </pc:grpChg>
        <pc:grpChg chg="mod ord">
          <ac:chgData name="Théodora DUPONT-COURTADE" userId="b06d61bd-3bc1-47a9-8acb-1faed11547af" providerId="ADAL" clId="{B6284D1A-71B0-43D0-A276-BF5B1397783A}" dt="2020-10-02T12:23:51.273" v="4773" actId="1076"/>
          <ac:grpSpMkLst>
            <pc:docMk/>
            <pc:sldMk cId="3180225553" sldId="6950"/>
            <ac:grpSpMk id="61" creationId="{99FFA6FA-A015-469A-A5C2-DC99CA832301}"/>
          </ac:grpSpMkLst>
        </pc:grpChg>
        <pc:grpChg chg="del">
          <ac:chgData name="Théodora DUPONT-COURTADE" userId="b06d61bd-3bc1-47a9-8acb-1faed11547af" providerId="ADAL" clId="{B6284D1A-71B0-43D0-A276-BF5B1397783A}" dt="2020-10-02T12:23:24.931" v="4762" actId="478"/>
          <ac:grpSpMkLst>
            <pc:docMk/>
            <pc:sldMk cId="3180225553" sldId="6950"/>
            <ac:grpSpMk id="134" creationId="{66B1F147-2E51-489D-ADF7-621D4AFB4099}"/>
          </ac:grpSpMkLst>
        </pc:grpChg>
        <pc:graphicFrameChg chg="mod ord">
          <ac:chgData name="Théodora DUPONT-COURTADE" userId="b06d61bd-3bc1-47a9-8acb-1faed11547af" providerId="ADAL" clId="{B6284D1A-71B0-43D0-A276-BF5B1397783A}" dt="2020-10-02T07:45:44.758" v="3400"/>
          <ac:graphicFrameMkLst>
            <pc:docMk/>
            <pc:sldMk cId="3180225553" sldId="6950"/>
            <ac:graphicFrameMk id="5" creationId="{EAAA3A35-C6B3-4EE6-9406-A3DBC2CB7256}"/>
          </ac:graphicFrameMkLst>
        </pc:graphicFrameChg>
        <pc:graphicFrameChg chg="mod ord">
          <ac:chgData name="Théodora DUPONT-COURTADE" userId="b06d61bd-3bc1-47a9-8acb-1faed11547af" providerId="ADAL" clId="{B6284D1A-71B0-43D0-A276-BF5B1397783A}" dt="2020-10-02T07:45:44.720" v="3292"/>
          <ac:graphicFrameMkLst>
            <pc:docMk/>
            <pc:sldMk cId="3180225553" sldId="6950"/>
            <ac:graphicFrameMk id="110" creationId="{CFB67084-CC86-4D61-A496-0A3B77BF4620}"/>
          </ac:graphicFrameMkLst>
        </pc:graphicFrameChg>
        <pc:graphicFrameChg chg="mod ord">
          <ac:chgData name="Théodora DUPONT-COURTADE" userId="b06d61bd-3bc1-47a9-8acb-1faed11547af" providerId="ADAL" clId="{B6284D1A-71B0-43D0-A276-BF5B1397783A}" dt="2020-10-02T07:48:01.155" v="3483"/>
          <ac:graphicFrameMkLst>
            <pc:docMk/>
            <pc:sldMk cId="3180225553" sldId="6950"/>
            <ac:graphicFrameMk id="237" creationId="{C516A193-6377-4C41-89AD-32F9F4FC6ECC}"/>
          </ac:graphicFrameMkLst>
        </pc:graphicFrameChg>
        <pc:picChg chg="mod ord">
          <ac:chgData name="Théodora DUPONT-COURTADE" userId="b06d61bd-3bc1-47a9-8acb-1faed11547af" providerId="ADAL" clId="{B6284D1A-71B0-43D0-A276-BF5B1397783A}" dt="2020-10-02T07:45:44.715" v="3276"/>
          <ac:picMkLst>
            <pc:docMk/>
            <pc:sldMk cId="3180225553" sldId="6950"/>
            <ac:picMk id="77" creationId="{B112CDC5-FE8D-4178-8BA3-FC8EA9BBFAA9}"/>
          </ac:picMkLst>
        </pc:picChg>
        <pc:picChg chg="mod ord">
          <ac:chgData name="Théodora DUPONT-COURTADE" userId="b06d61bd-3bc1-47a9-8acb-1faed11547af" providerId="ADAL" clId="{B6284D1A-71B0-43D0-A276-BF5B1397783A}" dt="2020-10-02T07:45:44.716" v="3278"/>
          <ac:picMkLst>
            <pc:docMk/>
            <pc:sldMk cId="3180225553" sldId="6950"/>
            <ac:picMk id="78" creationId="{48C27DDA-CFE3-42D6-9F79-970BF982DB9C}"/>
          </ac:picMkLst>
        </pc:picChg>
        <pc:picChg chg="mod ord">
          <ac:chgData name="Théodora DUPONT-COURTADE" userId="b06d61bd-3bc1-47a9-8acb-1faed11547af" providerId="ADAL" clId="{B6284D1A-71B0-43D0-A276-BF5B1397783A}" dt="2020-10-02T07:45:44.716" v="3280"/>
          <ac:picMkLst>
            <pc:docMk/>
            <pc:sldMk cId="3180225553" sldId="6950"/>
            <ac:picMk id="79" creationId="{D1CC314C-D1A9-44B9-9E41-CAABB5E4AF91}"/>
          </ac:picMkLst>
        </pc:picChg>
        <pc:picChg chg="mod ord">
          <ac:chgData name="Théodora DUPONT-COURTADE" userId="b06d61bd-3bc1-47a9-8acb-1faed11547af" providerId="ADAL" clId="{B6284D1A-71B0-43D0-A276-BF5B1397783A}" dt="2020-10-02T07:45:44.717" v="3282"/>
          <ac:picMkLst>
            <pc:docMk/>
            <pc:sldMk cId="3180225553" sldId="6950"/>
            <ac:picMk id="80" creationId="{D5848057-278A-48E3-AD30-B93CE979AA51}"/>
          </ac:picMkLst>
        </pc:picChg>
        <pc:cxnChg chg="mod ord">
          <ac:chgData name="Théodora DUPONT-COURTADE" userId="b06d61bd-3bc1-47a9-8acb-1faed11547af" providerId="ADAL" clId="{B6284D1A-71B0-43D0-A276-BF5B1397783A}" dt="2020-10-02T07:45:44.755" v="3396"/>
          <ac:cxnSpMkLst>
            <pc:docMk/>
            <pc:sldMk cId="3180225553" sldId="6950"/>
            <ac:cxnSpMk id="111" creationId="{4A55795F-D62D-4477-9539-82C28D7342E9}"/>
          </ac:cxnSpMkLst>
        </pc:cxnChg>
        <pc:cxnChg chg="mod ord">
          <ac:chgData name="Théodora DUPONT-COURTADE" userId="b06d61bd-3bc1-47a9-8acb-1faed11547af" providerId="ADAL" clId="{B6284D1A-71B0-43D0-A276-BF5B1397783A}" dt="2020-10-02T07:45:44.720" v="3294"/>
          <ac:cxnSpMkLst>
            <pc:docMk/>
            <pc:sldMk cId="3180225553" sldId="6950"/>
            <ac:cxnSpMk id="112" creationId="{CCA631A9-EBE4-4A26-8A9C-141C022FFF04}"/>
          </ac:cxnSpMkLst>
        </pc:cxnChg>
        <pc:cxnChg chg="mod ord">
          <ac:chgData name="Théodora DUPONT-COURTADE" userId="b06d61bd-3bc1-47a9-8acb-1faed11547af" providerId="ADAL" clId="{B6284D1A-71B0-43D0-A276-BF5B1397783A}" dt="2020-10-02T07:45:44.721" v="3296"/>
          <ac:cxnSpMkLst>
            <pc:docMk/>
            <pc:sldMk cId="3180225553" sldId="6950"/>
            <ac:cxnSpMk id="113" creationId="{21F2F5BF-3771-483E-8D82-70890A498989}"/>
          </ac:cxnSpMkLst>
        </pc:cxnChg>
        <pc:cxnChg chg="mod ord">
          <ac:chgData name="Théodora DUPONT-COURTADE" userId="b06d61bd-3bc1-47a9-8acb-1faed11547af" providerId="ADAL" clId="{B6284D1A-71B0-43D0-A276-BF5B1397783A}" dt="2020-10-02T07:45:44.721" v="3298"/>
          <ac:cxnSpMkLst>
            <pc:docMk/>
            <pc:sldMk cId="3180225553" sldId="6950"/>
            <ac:cxnSpMk id="114" creationId="{B290A3BD-3963-4B7E-92DD-9A40BD168973}"/>
          </ac:cxnSpMkLst>
        </pc:cxnChg>
        <pc:cxnChg chg="mod ord">
          <ac:chgData name="Théodora DUPONT-COURTADE" userId="b06d61bd-3bc1-47a9-8acb-1faed11547af" providerId="ADAL" clId="{B6284D1A-71B0-43D0-A276-BF5B1397783A}" dt="2020-10-02T07:45:44.722" v="3300"/>
          <ac:cxnSpMkLst>
            <pc:docMk/>
            <pc:sldMk cId="3180225553" sldId="6950"/>
            <ac:cxnSpMk id="115" creationId="{FB66F5B6-FEBB-4558-8E36-6FA0131C39A3}"/>
          </ac:cxnSpMkLst>
        </pc:cxnChg>
        <pc:cxnChg chg="mod ord">
          <ac:chgData name="Théodora DUPONT-COURTADE" userId="b06d61bd-3bc1-47a9-8acb-1faed11547af" providerId="ADAL" clId="{B6284D1A-71B0-43D0-A276-BF5B1397783A}" dt="2020-10-02T07:45:44.723" v="3302"/>
          <ac:cxnSpMkLst>
            <pc:docMk/>
            <pc:sldMk cId="3180225553" sldId="6950"/>
            <ac:cxnSpMk id="116" creationId="{9F69BC4B-2350-4C37-9B91-5ACC1BCC5EBE}"/>
          </ac:cxnSpMkLst>
        </pc:cxnChg>
        <pc:cxnChg chg="mod ord">
          <ac:chgData name="Théodora DUPONT-COURTADE" userId="b06d61bd-3bc1-47a9-8acb-1faed11547af" providerId="ADAL" clId="{B6284D1A-71B0-43D0-A276-BF5B1397783A}" dt="2020-10-02T07:45:44.723" v="3304"/>
          <ac:cxnSpMkLst>
            <pc:docMk/>
            <pc:sldMk cId="3180225553" sldId="6950"/>
            <ac:cxnSpMk id="117" creationId="{0FC3E430-2D11-4503-8A56-046FC19B3A48}"/>
          </ac:cxnSpMkLst>
        </pc:cxnChg>
        <pc:cxnChg chg="mod ord">
          <ac:chgData name="Théodora DUPONT-COURTADE" userId="b06d61bd-3bc1-47a9-8acb-1faed11547af" providerId="ADAL" clId="{B6284D1A-71B0-43D0-A276-BF5B1397783A}" dt="2020-10-02T07:45:44.724" v="3306"/>
          <ac:cxnSpMkLst>
            <pc:docMk/>
            <pc:sldMk cId="3180225553" sldId="6950"/>
            <ac:cxnSpMk id="118" creationId="{E547190D-30A4-433B-BDA8-6D4B2FF9D2FD}"/>
          </ac:cxnSpMkLst>
        </pc:cxnChg>
        <pc:cxnChg chg="mod ord">
          <ac:chgData name="Théodora DUPONT-COURTADE" userId="b06d61bd-3bc1-47a9-8acb-1faed11547af" providerId="ADAL" clId="{B6284D1A-71B0-43D0-A276-BF5B1397783A}" dt="2020-10-02T07:45:44.737" v="3343"/>
          <ac:cxnSpMkLst>
            <pc:docMk/>
            <pc:sldMk cId="3180225553" sldId="6950"/>
            <ac:cxnSpMk id="238" creationId="{4A55795F-D62D-4477-9539-82C28D7342E9}"/>
          </ac:cxnSpMkLst>
        </pc:cxnChg>
        <pc:cxnChg chg="mod ord">
          <ac:chgData name="Théodora DUPONT-COURTADE" userId="b06d61bd-3bc1-47a9-8acb-1faed11547af" providerId="ADAL" clId="{B6284D1A-71B0-43D0-A276-BF5B1397783A}" dt="2020-10-02T07:45:44.738" v="3345"/>
          <ac:cxnSpMkLst>
            <pc:docMk/>
            <pc:sldMk cId="3180225553" sldId="6950"/>
            <ac:cxnSpMk id="239" creationId="{21F2F5BF-3771-483E-8D82-70890A498989}"/>
          </ac:cxnSpMkLst>
        </pc:cxnChg>
        <pc:cxnChg chg="mod ord">
          <ac:chgData name="Théodora DUPONT-COURTADE" userId="b06d61bd-3bc1-47a9-8acb-1faed11547af" providerId="ADAL" clId="{B6284D1A-71B0-43D0-A276-BF5B1397783A}" dt="2020-10-02T07:45:44.738" v="3347"/>
          <ac:cxnSpMkLst>
            <pc:docMk/>
            <pc:sldMk cId="3180225553" sldId="6950"/>
            <ac:cxnSpMk id="240" creationId="{CCA631A9-EBE4-4A26-8A9C-141C022FFF04}"/>
          </ac:cxnSpMkLst>
        </pc:cxnChg>
        <pc:cxnChg chg="mod ord">
          <ac:chgData name="Théodora DUPONT-COURTADE" userId="b06d61bd-3bc1-47a9-8acb-1faed11547af" providerId="ADAL" clId="{B6284D1A-71B0-43D0-A276-BF5B1397783A}" dt="2020-10-02T07:45:44.739" v="3349"/>
          <ac:cxnSpMkLst>
            <pc:docMk/>
            <pc:sldMk cId="3180225553" sldId="6950"/>
            <ac:cxnSpMk id="241" creationId="{B290A3BD-3963-4B7E-92DD-9A40BD168973}"/>
          </ac:cxnSpMkLst>
        </pc:cxnChg>
        <pc:cxnChg chg="mod ord">
          <ac:chgData name="Théodora DUPONT-COURTADE" userId="b06d61bd-3bc1-47a9-8acb-1faed11547af" providerId="ADAL" clId="{B6284D1A-71B0-43D0-A276-BF5B1397783A}" dt="2020-10-02T07:45:44.740" v="3351"/>
          <ac:cxnSpMkLst>
            <pc:docMk/>
            <pc:sldMk cId="3180225553" sldId="6950"/>
            <ac:cxnSpMk id="242" creationId="{FB66F5B6-FEBB-4558-8E36-6FA0131C39A3}"/>
          </ac:cxnSpMkLst>
        </pc:cxnChg>
        <pc:cxnChg chg="mod ord">
          <ac:chgData name="Théodora DUPONT-COURTADE" userId="b06d61bd-3bc1-47a9-8acb-1faed11547af" providerId="ADAL" clId="{B6284D1A-71B0-43D0-A276-BF5B1397783A}" dt="2020-10-02T07:45:44.740" v="3353"/>
          <ac:cxnSpMkLst>
            <pc:docMk/>
            <pc:sldMk cId="3180225553" sldId="6950"/>
            <ac:cxnSpMk id="243" creationId="{9F69BC4B-2350-4C37-9B91-5ACC1BCC5EBE}"/>
          </ac:cxnSpMkLst>
        </pc:cxnChg>
        <pc:cxnChg chg="mod ord">
          <ac:chgData name="Théodora DUPONT-COURTADE" userId="b06d61bd-3bc1-47a9-8acb-1faed11547af" providerId="ADAL" clId="{B6284D1A-71B0-43D0-A276-BF5B1397783A}" dt="2020-10-02T07:45:44.740" v="3355"/>
          <ac:cxnSpMkLst>
            <pc:docMk/>
            <pc:sldMk cId="3180225553" sldId="6950"/>
            <ac:cxnSpMk id="244" creationId="{0FC3E430-2D11-4503-8A56-046FC19B3A48}"/>
          </ac:cxnSpMkLst>
        </pc:cxnChg>
        <pc:cxnChg chg="mod ord">
          <ac:chgData name="Théodora DUPONT-COURTADE" userId="b06d61bd-3bc1-47a9-8acb-1faed11547af" providerId="ADAL" clId="{B6284D1A-71B0-43D0-A276-BF5B1397783A}" dt="2020-10-02T07:45:44.741" v="3357"/>
          <ac:cxnSpMkLst>
            <pc:docMk/>
            <pc:sldMk cId="3180225553" sldId="6950"/>
            <ac:cxnSpMk id="245" creationId="{E547190D-30A4-433B-BDA8-6D4B2FF9D2FD}"/>
          </ac:cxnSpMkLst>
        </pc:cxnChg>
      </pc:sldChg>
      <pc:sldChg chg="addSp delSp modSp mod">
        <pc:chgData name="Théodora DUPONT-COURTADE" userId="b06d61bd-3bc1-47a9-8acb-1faed11547af" providerId="ADAL" clId="{B6284D1A-71B0-43D0-A276-BF5B1397783A}" dt="2020-10-02T13:30:56.669" v="9558" actId="20577"/>
        <pc:sldMkLst>
          <pc:docMk/>
          <pc:sldMk cId="3055682090" sldId="6951"/>
        </pc:sldMkLst>
        <pc:spChg chg="add mod">
          <ac:chgData name="Théodora DUPONT-COURTADE" userId="b06d61bd-3bc1-47a9-8acb-1faed11547af" providerId="ADAL" clId="{B6284D1A-71B0-43D0-A276-BF5B1397783A}" dt="2020-10-02T07:50:48.093" v="3605" actId="207"/>
          <ac:spMkLst>
            <pc:docMk/>
            <pc:sldMk cId="3055682090" sldId="6951"/>
            <ac:spMk id="2" creationId="{4A881902-5571-4E76-BD15-42141D236B48}"/>
          </ac:spMkLst>
        </pc:spChg>
        <pc:spChg chg="mod">
          <ac:chgData name="Théodora DUPONT-COURTADE" userId="b06d61bd-3bc1-47a9-8acb-1faed11547af" providerId="ADAL" clId="{B6284D1A-71B0-43D0-A276-BF5B1397783A}" dt="2020-10-02T12:37:48.192" v="5113" actId="6549"/>
          <ac:spMkLst>
            <pc:docMk/>
            <pc:sldMk cId="3055682090" sldId="6951"/>
            <ac:spMk id="4" creationId="{CFDA14E9-D9F6-4D44-A466-BF298653DD71}"/>
          </ac:spMkLst>
        </pc:spChg>
        <pc:spChg chg="mod">
          <ac:chgData name="Théodora DUPONT-COURTADE" userId="b06d61bd-3bc1-47a9-8acb-1faed11547af" providerId="ADAL" clId="{B6284D1A-71B0-43D0-A276-BF5B1397783A}" dt="2020-10-02T11:32:46.193" v="4158" actId="20577"/>
          <ac:spMkLst>
            <pc:docMk/>
            <pc:sldMk cId="3055682090" sldId="6951"/>
            <ac:spMk id="47" creationId="{C85B0421-5BDB-4848-914A-867C2D466E74}"/>
          </ac:spMkLst>
        </pc:spChg>
        <pc:spChg chg="mod">
          <ac:chgData name="Théodora DUPONT-COURTADE" userId="b06d61bd-3bc1-47a9-8acb-1faed11547af" providerId="ADAL" clId="{B6284D1A-71B0-43D0-A276-BF5B1397783A}" dt="2020-10-02T11:32:49.273" v="4160"/>
          <ac:spMkLst>
            <pc:docMk/>
            <pc:sldMk cId="3055682090" sldId="6951"/>
            <ac:spMk id="48" creationId="{4A9A9C35-FBD0-4A84-AAD1-D2EF1546575F}"/>
          </ac:spMkLst>
        </pc:spChg>
        <pc:spChg chg="mod">
          <ac:chgData name="Théodora DUPONT-COURTADE" userId="b06d61bd-3bc1-47a9-8acb-1faed11547af" providerId="ADAL" clId="{B6284D1A-71B0-43D0-A276-BF5B1397783A}" dt="2020-10-02T13:30:56.669" v="9558" actId="20577"/>
          <ac:spMkLst>
            <pc:docMk/>
            <pc:sldMk cId="3055682090" sldId="6951"/>
            <ac:spMk id="57" creationId="{C7761167-8EEA-4790-9E92-2DF776DF9F92}"/>
          </ac:spMkLst>
        </pc:spChg>
        <pc:spChg chg="mod">
          <ac:chgData name="Théodora DUPONT-COURTADE" userId="b06d61bd-3bc1-47a9-8acb-1faed11547af" providerId="ADAL" clId="{B6284D1A-71B0-43D0-A276-BF5B1397783A}" dt="2020-10-02T12:38:15.751" v="5172" actId="207"/>
          <ac:spMkLst>
            <pc:docMk/>
            <pc:sldMk cId="3055682090" sldId="6951"/>
            <ac:spMk id="102" creationId="{D9C2B907-6242-45DF-B46E-6F35EA341586}"/>
          </ac:spMkLst>
        </pc:spChg>
        <pc:spChg chg="add mod">
          <ac:chgData name="Théodora DUPONT-COURTADE" userId="b06d61bd-3bc1-47a9-8acb-1faed11547af" providerId="ADAL" clId="{B6284D1A-71B0-43D0-A276-BF5B1397783A}" dt="2020-10-02T07:51:10.998" v="3607" actId="1076"/>
          <ac:spMkLst>
            <pc:docMk/>
            <pc:sldMk cId="3055682090" sldId="6951"/>
            <ac:spMk id="104" creationId="{EEDA905A-4D00-4645-B971-C1567FDA840F}"/>
          </ac:spMkLst>
        </pc:spChg>
        <pc:spChg chg="add mod">
          <ac:chgData name="Théodora DUPONT-COURTADE" userId="b06d61bd-3bc1-47a9-8acb-1faed11547af" providerId="ADAL" clId="{B6284D1A-71B0-43D0-A276-BF5B1397783A}" dt="2020-10-02T07:51:16.867" v="3620" actId="20577"/>
          <ac:spMkLst>
            <pc:docMk/>
            <pc:sldMk cId="3055682090" sldId="6951"/>
            <ac:spMk id="105" creationId="{CA1D1C12-4B38-4F18-A754-8BC47CF0AFB9}"/>
          </ac:spMkLst>
        </pc:spChg>
        <pc:spChg chg="add mod">
          <ac:chgData name="Théodora DUPONT-COURTADE" userId="b06d61bd-3bc1-47a9-8acb-1faed11547af" providerId="ADAL" clId="{B6284D1A-71B0-43D0-A276-BF5B1397783A}" dt="2020-10-02T07:51:19.050" v="3621" actId="571"/>
          <ac:spMkLst>
            <pc:docMk/>
            <pc:sldMk cId="3055682090" sldId="6951"/>
            <ac:spMk id="106" creationId="{CD351237-062E-43E7-961A-BD63A9B18F68}"/>
          </ac:spMkLst>
        </pc:spChg>
        <pc:spChg chg="add del mod">
          <ac:chgData name="Théodora DUPONT-COURTADE" userId="b06d61bd-3bc1-47a9-8acb-1faed11547af" providerId="ADAL" clId="{B6284D1A-71B0-43D0-A276-BF5B1397783A}" dt="2020-10-02T12:36:17.557" v="5075" actId="478"/>
          <ac:spMkLst>
            <pc:docMk/>
            <pc:sldMk cId="3055682090" sldId="6951"/>
            <ac:spMk id="107" creationId="{7371AC1A-EB41-4D65-81FB-20A3EF5A4512}"/>
          </ac:spMkLst>
        </pc:spChg>
        <pc:spChg chg="mod">
          <ac:chgData name="Théodora DUPONT-COURTADE" userId="b06d61bd-3bc1-47a9-8acb-1faed11547af" providerId="ADAL" clId="{B6284D1A-71B0-43D0-A276-BF5B1397783A}" dt="2020-10-02T07:55:08.751" v="4029" actId="571"/>
          <ac:spMkLst>
            <pc:docMk/>
            <pc:sldMk cId="3055682090" sldId="6951"/>
            <ac:spMk id="109" creationId="{E129158A-AA29-4043-A605-48806912744E}"/>
          </ac:spMkLst>
        </pc:spChg>
        <pc:spChg chg="mod">
          <ac:chgData name="Théodora DUPONT-COURTADE" userId="b06d61bd-3bc1-47a9-8acb-1faed11547af" providerId="ADAL" clId="{B6284D1A-71B0-43D0-A276-BF5B1397783A}" dt="2020-10-02T07:55:12.450" v="4031" actId="20577"/>
          <ac:spMkLst>
            <pc:docMk/>
            <pc:sldMk cId="3055682090" sldId="6951"/>
            <ac:spMk id="110" creationId="{240E8A00-A762-4347-8B0E-A58EF5660B84}"/>
          </ac:spMkLst>
        </pc:spChg>
        <pc:spChg chg="del mod">
          <ac:chgData name="Théodora DUPONT-COURTADE" userId="b06d61bd-3bc1-47a9-8acb-1faed11547af" providerId="ADAL" clId="{B6284D1A-71B0-43D0-A276-BF5B1397783A}" dt="2020-10-02T13:10:00.501" v="6193" actId="478"/>
          <ac:spMkLst>
            <pc:docMk/>
            <pc:sldMk cId="3055682090" sldId="6951"/>
            <ac:spMk id="113" creationId="{03019474-C46F-4D1F-8B26-967EB88D446A}"/>
          </ac:spMkLst>
        </pc:spChg>
        <pc:spChg chg="del">
          <ac:chgData name="Théodora DUPONT-COURTADE" userId="b06d61bd-3bc1-47a9-8acb-1faed11547af" providerId="ADAL" clId="{B6284D1A-71B0-43D0-A276-BF5B1397783A}" dt="2020-10-02T13:11:28.521" v="6219" actId="478"/>
          <ac:spMkLst>
            <pc:docMk/>
            <pc:sldMk cId="3055682090" sldId="6951"/>
            <ac:spMk id="116" creationId="{D5B75DAF-7DBC-4B73-B02E-57BC7B8E6BF7}"/>
          </ac:spMkLst>
        </pc:spChg>
        <pc:spChg chg="del">
          <ac:chgData name="Théodora DUPONT-COURTADE" userId="b06d61bd-3bc1-47a9-8acb-1faed11547af" providerId="ADAL" clId="{B6284D1A-71B0-43D0-A276-BF5B1397783A}" dt="2020-10-02T13:10:21.170" v="6199" actId="478"/>
          <ac:spMkLst>
            <pc:docMk/>
            <pc:sldMk cId="3055682090" sldId="6951"/>
            <ac:spMk id="119" creationId="{55108368-D278-4879-A489-778CF027539E}"/>
          </ac:spMkLst>
        </pc:spChg>
        <pc:spChg chg="mod">
          <ac:chgData name="Théodora DUPONT-COURTADE" userId="b06d61bd-3bc1-47a9-8acb-1faed11547af" providerId="ADAL" clId="{B6284D1A-71B0-43D0-A276-BF5B1397783A}" dt="2020-10-02T13:10:36.987" v="6202" actId="207"/>
          <ac:spMkLst>
            <pc:docMk/>
            <pc:sldMk cId="3055682090" sldId="6951"/>
            <ac:spMk id="120" creationId="{D9CA344A-D293-40DA-8B5D-B76B4E39DD92}"/>
          </ac:spMkLst>
        </pc:spChg>
        <pc:spChg chg="add mod">
          <ac:chgData name="Théodora DUPONT-COURTADE" userId="b06d61bd-3bc1-47a9-8acb-1faed11547af" providerId="ADAL" clId="{B6284D1A-71B0-43D0-A276-BF5B1397783A}" dt="2020-10-02T13:11:52.342" v="6233" actId="20577"/>
          <ac:spMkLst>
            <pc:docMk/>
            <pc:sldMk cId="3055682090" sldId="6951"/>
            <ac:spMk id="137" creationId="{46E639EE-ABFF-4BBE-ADA2-073AC0FF1356}"/>
          </ac:spMkLst>
        </pc:spChg>
        <pc:spChg chg="mod">
          <ac:chgData name="Théodora DUPONT-COURTADE" userId="b06d61bd-3bc1-47a9-8acb-1faed11547af" providerId="ADAL" clId="{B6284D1A-71B0-43D0-A276-BF5B1397783A}" dt="2020-10-02T13:10:43.322" v="6205" actId="20577"/>
          <ac:spMkLst>
            <pc:docMk/>
            <pc:sldMk cId="3055682090" sldId="6951"/>
            <ac:spMk id="183" creationId="{D458E761-8D37-4B76-985F-EA4DCCEFE449}"/>
          </ac:spMkLst>
        </pc:spChg>
        <pc:spChg chg="mod">
          <ac:chgData name="Théodora DUPONT-COURTADE" userId="b06d61bd-3bc1-47a9-8acb-1faed11547af" providerId="ADAL" clId="{B6284D1A-71B0-43D0-A276-BF5B1397783A}" dt="2020-10-02T13:11:26.801" v="6218" actId="1076"/>
          <ac:spMkLst>
            <pc:docMk/>
            <pc:sldMk cId="3055682090" sldId="6951"/>
            <ac:spMk id="214" creationId="{186F9FE6-6D42-4CD1-9264-BB26E46D58EC}"/>
          </ac:spMkLst>
        </pc:spChg>
        <pc:grpChg chg="add mod">
          <ac:chgData name="Théodora DUPONT-COURTADE" userId="b06d61bd-3bc1-47a9-8acb-1faed11547af" providerId="ADAL" clId="{B6284D1A-71B0-43D0-A276-BF5B1397783A}" dt="2020-10-02T07:55:08.751" v="4029" actId="571"/>
          <ac:grpSpMkLst>
            <pc:docMk/>
            <pc:sldMk cId="3055682090" sldId="6951"/>
            <ac:grpSpMk id="108" creationId="{908C9FDC-B007-43E9-9C99-26DB2BBE9211}"/>
          </ac:grpSpMkLst>
        </pc:grpChg>
        <pc:grpChg chg="del">
          <ac:chgData name="Théodora DUPONT-COURTADE" userId="b06d61bd-3bc1-47a9-8acb-1faed11547af" providerId="ADAL" clId="{B6284D1A-71B0-43D0-A276-BF5B1397783A}" dt="2020-10-02T13:29:03.416" v="9502" actId="478"/>
          <ac:grpSpMkLst>
            <pc:docMk/>
            <pc:sldMk cId="3055682090" sldId="6951"/>
            <ac:grpSpMk id="130" creationId="{05055DCA-BA3D-4B1C-AF89-B81755FFEC8A}"/>
          </ac:grpSpMkLst>
        </pc:grpChg>
        <pc:graphicFrameChg chg="mod">
          <ac:chgData name="Théodora DUPONT-COURTADE" userId="b06d61bd-3bc1-47a9-8acb-1faed11547af" providerId="ADAL" clId="{B6284D1A-71B0-43D0-A276-BF5B1397783A}" dt="2020-10-02T12:38:16.333" v="5174"/>
          <ac:graphicFrameMkLst>
            <pc:docMk/>
            <pc:sldMk cId="3055682090" sldId="6951"/>
            <ac:graphicFrameMk id="5" creationId="{EAAA3A35-C6B3-4EE6-9406-A3DBC2CB7256}"/>
          </ac:graphicFrameMkLst>
        </pc:graphicFrameChg>
        <pc:graphicFrameChg chg="mod">
          <ac:chgData name="Théodora DUPONT-COURTADE" userId="b06d61bd-3bc1-47a9-8acb-1faed11547af" providerId="ADAL" clId="{B6284D1A-71B0-43D0-A276-BF5B1397783A}" dt="2020-10-02T13:10:10.503" v="6196"/>
          <ac:graphicFrameMkLst>
            <pc:docMk/>
            <pc:sldMk cId="3055682090" sldId="6951"/>
            <ac:graphicFrameMk id="156" creationId="{27A44FBB-4467-4B76-AF3C-7528E9F5D887}"/>
          </ac:graphicFrameMkLst>
        </pc:graphicFrameChg>
        <pc:picChg chg="mod">
          <ac:chgData name="Théodora DUPONT-COURTADE" userId="b06d61bd-3bc1-47a9-8acb-1faed11547af" providerId="ADAL" clId="{B6284D1A-71B0-43D0-A276-BF5B1397783A}" dt="2020-10-02T13:10:24.535" v="6200" actId="1076"/>
          <ac:picMkLst>
            <pc:docMk/>
            <pc:sldMk cId="3055682090" sldId="6951"/>
            <ac:picMk id="118" creationId="{42C6B5E4-0439-4A95-9372-1E48D35F6E53}"/>
          </ac:picMkLst>
        </pc:picChg>
        <pc:picChg chg="mod">
          <ac:chgData name="Théodora DUPONT-COURTADE" userId="b06d61bd-3bc1-47a9-8acb-1faed11547af" providerId="ADAL" clId="{B6284D1A-71B0-43D0-A276-BF5B1397783A}" dt="2020-10-02T13:10:32.363" v="6201" actId="1076"/>
          <ac:picMkLst>
            <pc:docMk/>
            <pc:sldMk cId="3055682090" sldId="6951"/>
            <ac:picMk id="121" creationId="{1317366D-981F-4DF4-846C-E7B164B7C6EE}"/>
          </ac:picMkLst>
        </pc:picChg>
        <pc:picChg chg="add mod">
          <ac:chgData name="Théodora DUPONT-COURTADE" userId="b06d61bd-3bc1-47a9-8acb-1faed11547af" providerId="ADAL" clId="{B6284D1A-71B0-43D0-A276-BF5B1397783A}" dt="2020-10-02T11:32:31.492" v="4144"/>
          <ac:picMkLst>
            <pc:docMk/>
            <pc:sldMk cId="3055682090" sldId="6951"/>
            <ac:picMk id="123" creationId="{629B4FA1-0B90-475B-A525-335681344690}"/>
          </ac:picMkLst>
        </pc:picChg>
        <pc:picChg chg="add mod">
          <ac:chgData name="Théodora DUPONT-COURTADE" userId="b06d61bd-3bc1-47a9-8acb-1faed11547af" providerId="ADAL" clId="{B6284D1A-71B0-43D0-A276-BF5B1397783A}" dt="2020-10-02T11:32:31.492" v="4144"/>
          <ac:picMkLst>
            <pc:docMk/>
            <pc:sldMk cId="3055682090" sldId="6951"/>
            <ac:picMk id="124" creationId="{DA425FE1-A935-468F-9D19-332C20D57361}"/>
          </ac:picMkLst>
        </pc:picChg>
        <pc:picChg chg="add mod">
          <ac:chgData name="Théodora DUPONT-COURTADE" userId="b06d61bd-3bc1-47a9-8acb-1faed11547af" providerId="ADAL" clId="{B6284D1A-71B0-43D0-A276-BF5B1397783A}" dt="2020-10-02T11:32:31.492" v="4144"/>
          <ac:picMkLst>
            <pc:docMk/>
            <pc:sldMk cId="3055682090" sldId="6951"/>
            <ac:picMk id="125" creationId="{97BE8877-7B42-444B-9CFB-A47E5F530C79}"/>
          </ac:picMkLst>
        </pc:picChg>
        <pc:picChg chg="add mod">
          <ac:chgData name="Théodora DUPONT-COURTADE" userId="b06d61bd-3bc1-47a9-8acb-1faed11547af" providerId="ADAL" clId="{B6284D1A-71B0-43D0-A276-BF5B1397783A}" dt="2020-10-02T11:32:31.492" v="4144"/>
          <ac:picMkLst>
            <pc:docMk/>
            <pc:sldMk cId="3055682090" sldId="6951"/>
            <ac:picMk id="126" creationId="{D4BB18D2-7FDC-42A0-9F19-1D5D8A9FF382}"/>
          </ac:picMkLst>
        </pc:picChg>
        <pc:picChg chg="add mod">
          <ac:chgData name="Théodora DUPONT-COURTADE" userId="b06d61bd-3bc1-47a9-8acb-1faed11547af" providerId="ADAL" clId="{B6284D1A-71B0-43D0-A276-BF5B1397783A}" dt="2020-10-02T13:10:40.738" v="6203" actId="571"/>
          <ac:picMkLst>
            <pc:docMk/>
            <pc:sldMk cId="3055682090" sldId="6951"/>
            <ac:picMk id="133" creationId="{20039D6F-E21E-449D-A907-1375E4331923}"/>
          </ac:picMkLst>
        </pc:picChg>
        <pc:cxnChg chg="del mod">
          <ac:chgData name="Théodora DUPONT-COURTADE" userId="b06d61bd-3bc1-47a9-8acb-1faed11547af" providerId="ADAL" clId="{B6284D1A-71B0-43D0-A276-BF5B1397783A}" dt="2020-10-02T13:10:00.501" v="6193" actId="478"/>
          <ac:cxnSpMkLst>
            <pc:docMk/>
            <pc:sldMk cId="3055682090" sldId="6951"/>
            <ac:cxnSpMk id="111" creationId="{40E7DFF4-BBC7-47F4-8E12-AC9EEA7C8702}"/>
          </ac:cxnSpMkLst>
        </pc:cxnChg>
        <pc:cxnChg chg="del mod">
          <ac:chgData name="Théodora DUPONT-COURTADE" userId="b06d61bd-3bc1-47a9-8acb-1faed11547af" providerId="ADAL" clId="{B6284D1A-71B0-43D0-A276-BF5B1397783A}" dt="2020-10-02T13:09:54.279" v="6192" actId="478"/>
          <ac:cxnSpMkLst>
            <pc:docMk/>
            <pc:sldMk cId="3055682090" sldId="6951"/>
            <ac:cxnSpMk id="112" creationId="{752FB9CC-2708-4D96-BA55-8BB749E5C009}"/>
          </ac:cxnSpMkLst>
        </pc:cxnChg>
        <pc:cxnChg chg="del mod">
          <ac:chgData name="Théodora DUPONT-COURTADE" userId="b06d61bd-3bc1-47a9-8acb-1faed11547af" providerId="ADAL" clId="{B6284D1A-71B0-43D0-A276-BF5B1397783A}" dt="2020-10-02T13:11:30.446" v="6221" actId="478"/>
          <ac:cxnSpMkLst>
            <pc:docMk/>
            <pc:sldMk cId="3055682090" sldId="6951"/>
            <ac:cxnSpMk id="114" creationId="{26FDCD55-4DD2-46FA-92B9-B128136CA7A9}"/>
          </ac:cxnSpMkLst>
        </pc:cxnChg>
        <pc:cxnChg chg="del">
          <ac:chgData name="Théodora DUPONT-COURTADE" userId="b06d61bd-3bc1-47a9-8acb-1faed11547af" providerId="ADAL" clId="{B6284D1A-71B0-43D0-A276-BF5B1397783A}" dt="2020-10-02T13:11:29.502" v="6220" actId="478"/>
          <ac:cxnSpMkLst>
            <pc:docMk/>
            <pc:sldMk cId="3055682090" sldId="6951"/>
            <ac:cxnSpMk id="115" creationId="{862B633B-3822-455B-A451-2B18EADBB08A}"/>
          </ac:cxnSpMkLst>
        </pc:cxnChg>
        <pc:cxnChg chg="add mod">
          <ac:chgData name="Théodora DUPONT-COURTADE" userId="b06d61bd-3bc1-47a9-8acb-1faed11547af" providerId="ADAL" clId="{B6284D1A-71B0-43D0-A276-BF5B1397783A}" dt="2020-10-02T13:11:42.166" v="6223" actId="14100"/>
          <ac:cxnSpMkLst>
            <pc:docMk/>
            <pc:sldMk cId="3055682090" sldId="6951"/>
            <ac:cxnSpMk id="135" creationId="{E90F4115-8A77-4A8C-9C57-A415646CDA2B}"/>
          </ac:cxnSpMkLst>
        </pc:cxnChg>
        <pc:cxnChg chg="add mod">
          <ac:chgData name="Théodora DUPONT-COURTADE" userId="b06d61bd-3bc1-47a9-8acb-1faed11547af" providerId="ADAL" clId="{B6284D1A-71B0-43D0-A276-BF5B1397783A}" dt="2020-10-02T13:11:38.494" v="6222" actId="571"/>
          <ac:cxnSpMkLst>
            <pc:docMk/>
            <pc:sldMk cId="3055682090" sldId="6951"/>
            <ac:cxnSpMk id="136" creationId="{8E3B8D73-B2C0-4460-A3A1-4AC9E25A0EB6}"/>
          </ac:cxnSpMkLst>
        </pc:cxnChg>
        <pc:cxnChg chg="mod">
          <ac:chgData name="Théodora DUPONT-COURTADE" userId="b06d61bd-3bc1-47a9-8acb-1faed11547af" providerId="ADAL" clId="{B6284D1A-71B0-43D0-A276-BF5B1397783A}" dt="2020-10-02T13:10:08.055" v="6195" actId="14100"/>
          <ac:cxnSpMkLst>
            <pc:docMk/>
            <pc:sldMk cId="3055682090" sldId="6951"/>
            <ac:cxnSpMk id="157" creationId="{F37EC9CB-1C15-4E67-9CAE-A912BF58EC99}"/>
          </ac:cxnSpMkLst>
        </pc:cxnChg>
        <pc:cxnChg chg="mod">
          <ac:chgData name="Théodora DUPONT-COURTADE" userId="b06d61bd-3bc1-47a9-8acb-1faed11547af" providerId="ADAL" clId="{B6284D1A-71B0-43D0-A276-BF5B1397783A}" dt="2020-10-02T13:11:26.801" v="6218" actId="1076"/>
          <ac:cxnSpMkLst>
            <pc:docMk/>
            <pc:sldMk cId="3055682090" sldId="6951"/>
            <ac:cxnSpMk id="188" creationId="{55B0B1DB-3580-4804-AC10-69CBC08306E8}"/>
          </ac:cxnSpMkLst>
        </pc:cxnChg>
      </pc:sldChg>
      <pc:sldChg chg="modSp">
        <pc:chgData name="Théodora DUPONT-COURTADE" userId="b06d61bd-3bc1-47a9-8acb-1faed11547af" providerId="ADAL" clId="{B6284D1A-71B0-43D0-A276-BF5B1397783A}" dt="2020-10-02T12:51:14.888" v="5950"/>
        <pc:sldMkLst>
          <pc:docMk/>
          <pc:sldMk cId="651344601" sldId="6954"/>
        </pc:sldMkLst>
        <pc:spChg chg="mod">
          <ac:chgData name="Théodora DUPONT-COURTADE" userId="b06d61bd-3bc1-47a9-8acb-1faed11547af" providerId="ADAL" clId="{B6284D1A-71B0-43D0-A276-BF5B1397783A}" dt="2020-10-02T12:50:55.801" v="5949"/>
          <ac:spMkLst>
            <pc:docMk/>
            <pc:sldMk cId="651344601" sldId="6954"/>
            <ac:spMk id="11" creationId="{47616165-DDD5-44ED-B592-B1C71E3C74B2}"/>
          </ac:spMkLst>
        </pc:spChg>
        <pc:spChg chg="mod">
          <ac:chgData name="Théodora DUPONT-COURTADE" userId="b06d61bd-3bc1-47a9-8acb-1faed11547af" providerId="ADAL" clId="{B6284D1A-71B0-43D0-A276-BF5B1397783A}" dt="2020-10-02T12:50:55.801" v="5949"/>
          <ac:spMkLst>
            <pc:docMk/>
            <pc:sldMk cId="651344601" sldId="6954"/>
            <ac:spMk id="134" creationId="{B446D2D1-F6BA-4953-8F9C-4F8B9EA7DE5E}"/>
          </ac:spMkLst>
        </pc:spChg>
        <pc:spChg chg="mod">
          <ac:chgData name="Théodora DUPONT-COURTADE" userId="b06d61bd-3bc1-47a9-8acb-1faed11547af" providerId="ADAL" clId="{B6284D1A-71B0-43D0-A276-BF5B1397783A}" dt="2020-10-02T12:51:14.888" v="5950"/>
          <ac:spMkLst>
            <pc:docMk/>
            <pc:sldMk cId="651344601" sldId="6954"/>
            <ac:spMk id="250" creationId="{34C830AF-8CEC-483B-B769-FE7A1B551683}"/>
          </ac:spMkLst>
        </pc:spChg>
      </pc:sldChg>
      <pc:sldChg chg="modSp">
        <pc:chgData name="Théodora DUPONT-COURTADE" userId="b06d61bd-3bc1-47a9-8acb-1faed11547af" providerId="ADAL" clId="{B6284D1A-71B0-43D0-A276-BF5B1397783A}" dt="2020-10-02T12:51:14.888" v="5950"/>
        <pc:sldMkLst>
          <pc:docMk/>
          <pc:sldMk cId="1917388172" sldId="6958"/>
        </pc:sldMkLst>
        <pc:spChg chg="mod">
          <ac:chgData name="Théodora DUPONT-COURTADE" userId="b06d61bd-3bc1-47a9-8acb-1faed11547af" providerId="ADAL" clId="{B6284D1A-71B0-43D0-A276-BF5B1397783A}" dt="2020-10-02T12:51:14.888" v="5950"/>
          <ac:spMkLst>
            <pc:docMk/>
            <pc:sldMk cId="1917388172" sldId="6958"/>
            <ac:spMk id="2" creationId="{3870AB5E-A103-47D5-8E5F-1BD7EDE99C28}"/>
          </ac:spMkLst>
        </pc:spChg>
        <pc:spChg chg="mod">
          <ac:chgData name="Théodora DUPONT-COURTADE" userId="b06d61bd-3bc1-47a9-8acb-1faed11547af" providerId="ADAL" clId="{B6284D1A-71B0-43D0-A276-BF5B1397783A}" dt="2020-10-02T12:50:55.801" v="5949"/>
          <ac:spMkLst>
            <pc:docMk/>
            <pc:sldMk cId="1917388172" sldId="6958"/>
            <ac:spMk id="16" creationId="{99A85B47-9B6A-409E-925C-8CA1206520DF}"/>
          </ac:spMkLst>
        </pc:spChg>
      </pc:sldChg>
      <pc:sldChg chg="modSp">
        <pc:chgData name="Théodora DUPONT-COURTADE" userId="b06d61bd-3bc1-47a9-8acb-1faed11547af" providerId="ADAL" clId="{B6284D1A-71B0-43D0-A276-BF5B1397783A}" dt="2020-10-02T12:51:14.888" v="5950"/>
        <pc:sldMkLst>
          <pc:docMk/>
          <pc:sldMk cId="2931811662" sldId="6960"/>
        </pc:sldMkLst>
        <pc:spChg chg="mod">
          <ac:chgData name="Théodora DUPONT-COURTADE" userId="b06d61bd-3bc1-47a9-8acb-1faed11547af" providerId="ADAL" clId="{B6284D1A-71B0-43D0-A276-BF5B1397783A}" dt="2020-10-02T12:51:14.888" v="5950"/>
          <ac:spMkLst>
            <pc:docMk/>
            <pc:sldMk cId="2931811662" sldId="6960"/>
            <ac:spMk id="9" creationId="{B668F350-174C-4180-88F1-4A1670AD56AA}"/>
          </ac:spMkLst>
        </pc:spChg>
      </pc:sldChg>
      <pc:sldChg chg="modSp mod">
        <pc:chgData name="Théodora DUPONT-COURTADE" userId="b06d61bd-3bc1-47a9-8acb-1faed11547af" providerId="ADAL" clId="{B6284D1A-71B0-43D0-A276-BF5B1397783A}" dt="2020-10-02T07:28:31.982" v="594" actId="20577"/>
        <pc:sldMkLst>
          <pc:docMk/>
          <pc:sldMk cId="1360834780" sldId="6961"/>
        </pc:sldMkLst>
        <pc:spChg chg="mod">
          <ac:chgData name="Théodora DUPONT-COURTADE" userId="b06d61bd-3bc1-47a9-8acb-1faed11547af" providerId="ADAL" clId="{B6284D1A-71B0-43D0-A276-BF5B1397783A}" dt="2020-10-02T07:28:31.982" v="594" actId="20577"/>
          <ac:spMkLst>
            <pc:docMk/>
            <pc:sldMk cId="1360834780" sldId="6961"/>
            <ac:spMk id="85" creationId="{B8FD6C57-6B26-4D03-BEED-78C382D632FB}"/>
          </ac:spMkLst>
        </pc:spChg>
      </pc:sldChg>
      <pc:sldChg chg="modSp mod">
        <pc:chgData name="Théodora DUPONT-COURTADE" userId="b06d61bd-3bc1-47a9-8acb-1faed11547af" providerId="ADAL" clId="{B6284D1A-71B0-43D0-A276-BF5B1397783A}" dt="2020-10-02T12:28:19.515" v="4874" actId="20577"/>
        <pc:sldMkLst>
          <pc:docMk/>
          <pc:sldMk cId="783706327" sldId="6970"/>
        </pc:sldMkLst>
        <pc:spChg chg="mod">
          <ac:chgData name="Théodora DUPONT-COURTADE" userId="b06d61bd-3bc1-47a9-8acb-1faed11547af" providerId="ADAL" clId="{B6284D1A-71B0-43D0-A276-BF5B1397783A}" dt="2020-10-02T12:28:19.515" v="4874" actId="20577"/>
          <ac:spMkLst>
            <pc:docMk/>
            <pc:sldMk cId="783706327" sldId="6970"/>
            <ac:spMk id="69" creationId="{D07E061F-D086-4449-A323-D8BDA97BC0F0}"/>
          </ac:spMkLst>
        </pc:spChg>
      </pc:sldChg>
      <pc:sldChg chg="addSp delSp modSp mod">
        <pc:chgData name="Théodora DUPONT-COURTADE" userId="b06d61bd-3bc1-47a9-8acb-1faed11547af" providerId="ADAL" clId="{B6284D1A-71B0-43D0-A276-BF5B1397783A}" dt="2020-10-05T13:14:22.201" v="15660"/>
        <pc:sldMkLst>
          <pc:docMk/>
          <pc:sldMk cId="172779121" sldId="6971"/>
        </pc:sldMkLst>
        <pc:spChg chg="del">
          <ac:chgData name="Théodora DUPONT-COURTADE" userId="b06d61bd-3bc1-47a9-8acb-1faed11547af" providerId="ADAL" clId="{B6284D1A-71B0-43D0-A276-BF5B1397783A}" dt="2020-10-02T13:38:21.958" v="9641" actId="478"/>
          <ac:spMkLst>
            <pc:docMk/>
            <pc:sldMk cId="172779121" sldId="6971"/>
            <ac:spMk id="60" creationId="{25ED01A2-BFD5-4EB1-882F-424490193B29}"/>
          </ac:spMkLst>
        </pc:spChg>
        <pc:spChg chg="add del mod">
          <ac:chgData name="Théodora DUPONT-COURTADE" userId="b06d61bd-3bc1-47a9-8acb-1faed11547af" providerId="ADAL" clId="{B6284D1A-71B0-43D0-A276-BF5B1397783A}" dt="2020-10-02T13:36:22.697" v="9633" actId="478"/>
          <ac:spMkLst>
            <pc:docMk/>
            <pc:sldMk cId="172779121" sldId="6971"/>
            <ac:spMk id="79" creationId="{54D23A71-F6A1-4B7A-8917-CB377B0D2985}"/>
          </ac:spMkLst>
        </pc:spChg>
        <pc:spChg chg="mod">
          <ac:chgData name="Théodora DUPONT-COURTADE" userId="b06d61bd-3bc1-47a9-8acb-1faed11547af" providerId="ADAL" clId="{B6284D1A-71B0-43D0-A276-BF5B1397783A}" dt="2020-10-02T13:38:28.409" v="9643" actId="1076"/>
          <ac:spMkLst>
            <pc:docMk/>
            <pc:sldMk cId="172779121" sldId="6971"/>
            <ac:spMk id="92" creationId="{06700BFA-DEE3-4F86-9D33-386D9140B42C}"/>
          </ac:spMkLst>
        </pc:spChg>
        <pc:spChg chg="mod">
          <ac:chgData name="Théodora DUPONT-COURTADE" userId="b06d61bd-3bc1-47a9-8acb-1faed11547af" providerId="ADAL" clId="{B6284D1A-71B0-43D0-A276-BF5B1397783A}" dt="2020-10-02T13:37:40.909" v="9639" actId="20577"/>
          <ac:spMkLst>
            <pc:docMk/>
            <pc:sldMk cId="172779121" sldId="6971"/>
            <ac:spMk id="100" creationId="{0AA3095B-D11C-4573-9112-D8BEE96FA726}"/>
          </ac:spMkLst>
        </pc:spChg>
        <pc:spChg chg="del">
          <ac:chgData name="Théodora DUPONT-COURTADE" userId="b06d61bd-3bc1-47a9-8acb-1faed11547af" providerId="ADAL" clId="{B6284D1A-71B0-43D0-A276-BF5B1397783A}" dt="2020-10-02T13:40:16.665" v="9662" actId="478"/>
          <ac:spMkLst>
            <pc:docMk/>
            <pc:sldMk cId="172779121" sldId="6971"/>
            <ac:spMk id="124" creationId="{CC898BD2-115A-4A86-8934-EF125BED9274}"/>
          </ac:spMkLst>
        </pc:spChg>
        <pc:graphicFrameChg chg="mod">
          <ac:chgData name="Théodora DUPONT-COURTADE" userId="b06d61bd-3bc1-47a9-8acb-1faed11547af" providerId="ADAL" clId="{B6284D1A-71B0-43D0-A276-BF5B1397783A}" dt="2020-10-05T13:14:22.201" v="15660"/>
          <ac:graphicFrameMkLst>
            <pc:docMk/>
            <pc:sldMk cId="172779121" sldId="6971"/>
            <ac:graphicFrameMk id="6" creationId="{AD4B08B2-619E-4D59-883D-3F3DAC1E6634}"/>
          </ac:graphicFrameMkLst>
        </pc:graphicFrameChg>
        <pc:graphicFrameChg chg="mod modGraphic">
          <ac:chgData name="Théodora DUPONT-COURTADE" userId="b06d61bd-3bc1-47a9-8acb-1faed11547af" providerId="ADAL" clId="{B6284D1A-71B0-43D0-A276-BF5B1397783A}" dt="2020-10-02T13:40:11.753" v="9661" actId="20577"/>
          <ac:graphicFrameMkLst>
            <pc:docMk/>
            <pc:sldMk cId="172779121" sldId="6971"/>
            <ac:graphicFrameMk id="84" creationId="{AA5A143F-52B6-4DFB-8692-865A5D3BBD16}"/>
          </ac:graphicFrameMkLst>
        </pc:graphicFrameChg>
        <pc:cxnChg chg="del">
          <ac:chgData name="Théodora DUPONT-COURTADE" userId="b06d61bd-3bc1-47a9-8acb-1faed11547af" providerId="ADAL" clId="{B6284D1A-71B0-43D0-A276-BF5B1397783A}" dt="2020-10-02T13:38:20.287" v="9640" actId="478"/>
          <ac:cxnSpMkLst>
            <pc:docMk/>
            <pc:sldMk cId="172779121" sldId="6971"/>
            <ac:cxnSpMk id="23" creationId="{6999601C-9864-4824-9D79-17BF77670B7F}"/>
          </ac:cxnSpMkLst>
        </pc:cxnChg>
        <pc:cxnChg chg="mod">
          <ac:chgData name="Théodora DUPONT-COURTADE" userId="b06d61bd-3bc1-47a9-8acb-1faed11547af" providerId="ADAL" clId="{B6284D1A-71B0-43D0-A276-BF5B1397783A}" dt="2020-10-02T13:38:24.840" v="9642" actId="14100"/>
          <ac:cxnSpMkLst>
            <pc:docMk/>
            <pc:sldMk cId="172779121" sldId="6971"/>
            <ac:cxnSpMk id="91" creationId="{02D1E337-EE53-4680-82EB-7D6FF5BDDDF3}"/>
          </ac:cxnSpMkLst>
        </pc:cxnChg>
      </pc:sldChg>
      <pc:sldChg chg="modSp">
        <pc:chgData name="Théodora DUPONT-COURTADE" userId="b06d61bd-3bc1-47a9-8acb-1faed11547af" providerId="ADAL" clId="{B6284D1A-71B0-43D0-A276-BF5B1397783A}" dt="2020-10-02T12:20:41.386" v="4736" actId="404"/>
        <pc:sldMkLst>
          <pc:docMk/>
          <pc:sldMk cId="2309580848" sldId="6976"/>
        </pc:sldMkLst>
        <pc:graphicFrameChg chg="mod">
          <ac:chgData name="Théodora DUPONT-COURTADE" userId="b06d61bd-3bc1-47a9-8acb-1faed11547af" providerId="ADAL" clId="{B6284D1A-71B0-43D0-A276-BF5B1397783A}" dt="2020-10-02T12:20:41.386" v="4736" actId="404"/>
          <ac:graphicFrameMkLst>
            <pc:docMk/>
            <pc:sldMk cId="2309580848" sldId="6976"/>
            <ac:graphicFrameMk id="34" creationId="{9700E973-FF04-420F-9D2B-4F1BF210342A}"/>
          </ac:graphicFrameMkLst>
        </pc:graphicFrameChg>
      </pc:sldChg>
      <pc:sldChg chg="modSp mod">
        <pc:chgData name="Théodora DUPONT-COURTADE" userId="b06d61bd-3bc1-47a9-8acb-1faed11547af" providerId="ADAL" clId="{B6284D1A-71B0-43D0-A276-BF5B1397783A}" dt="2020-10-07T08:58:47.861" v="16580" actId="20577"/>
        <pc:sldMkLst>
          <pc:docMk/>
          <pc:sldMk cId="3002270694" sldId="6978"/>
        </pc:sldMkLst>
        <pc:spChg chg="mod">
          <ac:chgData name="Théodora DUPONT-COURTADE" userId="b06d61bd-3bc1-47a9-8acb-1faed11547af" providerId="ADAL" clId="{B6284D1A-71B0-43D0-A276-BF5B1397783A}" dt="2020-10-07T08:58:47.861" v="16580" actId="20577"/>
          <ac:spMkLst>
            <pc:docMk/>
            <pc:sldMk cId="3002270694" sldId="6978"/>
            <ac:spMk id="3" creationId="{7D73B612-83D0-4797-9341-963BC626A21C}"/>
          </ac:spMkLst>
        </pc:spChg>
        <pc:spChg chg="mod">
          <ac:chgData name="Théodora DUPONT-COURTADE" userId="b06d61bd-3bc1-47a9-8acb-1faed11547af" providerId="ADAL" clId="{B6284D1A-71B0-43D0-A276-BF5B1397783A}" dt="2020-10-02T07:24:35.443" v="437" actId="207"/>
          <ac:spMkLst>
            <pc:docMk/>
            <pc:sldMk cId="3002270694" sldId="6978"/>
            <ac:spMk id="106" creationId="{58266FBD-2E8F-4FE3-8AC2-09AD83524CD9}"/>
          </ac:spMkLst>
        </pc:spChg>
      </pc:sldChg>
      <pc:sldChg chg="modSp">
        <pc:chgData name="Théodora DUPONT-COURTADE" userId="b06d61bd-3bc1-47a9-8acb-1faed11547af" providerId="ADAL" clId="{B6284D1A-71B0-43D0-A276-BF5B1397783A}" dt="2020-10-02T12:51:14.888" v="5950"/>
        <pc:sldMkLst>
          <pc:docMk/>
          <pc:sldMk cId="2669007869" sldId="6993"/>
        </pc:sldMkLst>
        <pc:spChg chg="mod">
          <ac:chgData name="Théodora DUPONT-COURTADE" userId="b06d61bd-3bc1-47a9-8acb-1faed11547af" providerId="ADAL" clId="{B6284D1A-71B0-43D0-A276-BF5B1397783A}" dt="2020-10-02T12:51:14.888" v="5950"/>
          <ac:spMkLst>
            <pc:docMk/>
            <pc:sldMk cId="2669007869" sldId="6993"/>
            <ac:spMk id="4" creationId="{F0A06676-82C0-4F43-87A1-A34EA0E8CFAF}"/>
          </ac:spMkLst>
        </pc:spChg>
      </pc:sldChg>
      <pc:sldChg chg="addSp delSp modSp mod">
        <pc:chgData name="Théodora DUPONT-COURTADE" userId="b06d61bd-3bc1-47a9-8acb-1faed11547af" providerId="ADAL" clId="{B6284D1A-71B0-43D0-A276-BF5B1397783A}" dt="2020-10-05T08:12:14.394" v="15621" actId="20577"/>
        <pc:sldMkLst>
          <pc:docMk/>
          <pc:sldMk cId="2838286066" sldId="6995"/>
        </pc:sldMkLst>
        <pc:spChg chg="add del mod">
          <ac:chgData name="Théodora DUPONT-COURTADE" userId="b06d61bd-3bc1-47a9-8acb-1faed11547af" providerId="ADAL" clId="{B6284D1A-71B0-43D0-A276-BF5B1397783A}" dt="2020-10-02T11:58:39.873" v="4346" actId="478"/>
          <ac:spMkLst>
            <pc:docMk/>
            <pc:sldMk cId="2838286066" sldId="6995"/>
            <ac:spMk id="2" creationId="{995FD57F-6544-4618-B9A6-3391B4E6913A}"/>
          </ac:spMkLst>
        </pc:spChg>
        <pc:spChg chg="mod">
          <ac:chgData name="Théodora DUPONT-COURTADE" userId="b06d61bd-3bc1-47a9-8acb-1faed11547af" providerId="ADAL" clId="{B6284D1A-71B0-43D0-A276-BF5B1397783A}" dt="2020-10-02T11:52:02.512" v="4212" actId="20577"/>
          <ac:spMkLst>
            <pc:docMk/>
            <pc:sldMk cId="2838286066" sldId="6995"/>
            <ac:spMk id="3" creationId="{130A723F-4D8B-40D5-A87C-4C1A87D5173A}"/>
          </ac:spMkLst>
        </pc:spChg>
        <pc:spChg chg="del">
          <ac:chgData name="Théodora DUPONT-COURTADE" userId="b06d61bd-3bc1-47a9-8acb-1faed11547af" providerId="ADAL" clId="{B6284D1A-71B0-43D0-A276-BF5B1397783A}" dt="2020-10-02T14:41:25.554" v="14299" actId="478"/>
          <ac:spMkLst>
            <pc:docMk/>
            <pc:sldMk cId="2838286066" sldId="6995"/>
            <ac:spMk id="9" creationId="{2F3F50B6-7C6C-4F71-A49B-E6576E7DB1A8}"/>
          </ac:spMkLst>
        </pc:spChg>
        <pc:spChg chg="add mod">
          <ac:chgData name="Théodora DUPONT-COURTADE" userId="b06d61bd-3bc1-47a9-8acb-1faed11547af" providerId="ADAL" clId="{B6284D1A-71B0-43D0-A276-BF5B1397783A}" dt="2020-10-05T08:12:14.394" v="15621" actId="20577"/>
          <ac:spMkLst>
            <pc:docMk/>
            <pc:sldMk cId="2838286066" sldId="6995"/>
            <ac:spMk id="9" creationId="{444F0171-ACA9-48E5-A37C-EE87F0324EC1}"/>
          </ac:spMkLst>
        </pc:spChg>
        <pc:spChg chg="mod">
          <ac:chgData name="Théodora DUPONT-COURTADE" userId="b06d61bd-3bc1-47a9-8acb-1faed11547af" providerId="ADAL" clId="{B6284D1A-71B0-43D0-A276-BF5B1397783A}" dt="2020-10-02T11:59:06.692" v="4347" actId="1076"/>
          <ac:spMkLst>
            <pc:docMk/>
            <pc:sldMk cId="2838286066" sldId="6995"/>
            <ac:spMk id="13" creationId="{694C4C19-04E1-4F91-A6DD-A55644294499}"/>
          </ac:spMkLst>
        </pc:spChg>
        <pc:spChg chg="mod">
          <ac:chgData name="Théodora DUPONT-COURTADE" userId="b06d61bd-3bc1-47a9-8acb-1faed11547af" providerId="ADAL" clId="{B6284D1A-71B0-43D0-A276-BF5B1397783A}" dt="2020-10-02T11:59:06.692" v="4347" actId="1076"/>
          <ac:spMkLst>
            <pc:docMk/>
            <pc:sldMk cId="2838286066" sldId="6995"/>
            <ac:spMk id="18" creationId="{BC4D1E3D-9683-4F4B-924B-969775C99AB4}"/>
          </ac:spMkLst>
        </pc:spChg>
        <pc:spChg chg="mod">
          <ac:chgData name="Théodora DUPONT-COURTADE" userId="b06d61bd-3bc1-47a9-8acb-1faed11547af" providerId="ADAL" clId="{B6284D1A-71B0-43D0-A276-BF5B1397783A}" dt="2020-10-02T11:59:06.692" v="4347" actId="1076"/>
          <ac:spMkLst>
            <pc:docMk/>
            <pc:sldMk cId="2838286066" sldId="6995"/>
            <ac:spMk id="47" creationId="{DEAA47E5-C751-41D3-970D-0967FF70378E}"/>
          </ac:spMkLst>
        </pc:spChg>
        <pc:spChg chg="add mod">
          <ac:chgData name="Théodora DUPONT-COURTADE" userId="b06d61bd-3bc1-47a9-8acb-1faed11547af" providerId="ADAL" clId="{B6284D1A-71B0-43D0-A276-BF5B1397783A}" dt="2020-10-02T12:25:22.670" v="4775" actId="1076"/>
          <ac:spMkLst>
            <pc:docMk/>
            <pc:sldMk cId="2838286066" sldId="6995"/>
            <ac:spMk id="54" creationId="{687C6B1D-964F-48A7-B779-D31B3B439767}"/>
          </ac:spMkLst>
        </pc:spChg>
        <pc:spChg chg="add mod">
          <ac:chgData name="Théodora DUPONT-COURTADE" userId="b06d61bd-3bc1-47a9-8acb-1faed11547af" providerId="ADAL" clId="{B6284D1A-71B0-43D0-A276-BF5B1397783A}" dt="2020-10-02T12:25:22.670" v="4775" actId="1076"/>
          <ac:spMkLst>
            <pc:docMk/>
            <pc:sldMk cId="2838286066" sldId="6995"/>
            <ac:spMk id="59" creationId="{233B2146-6AF6-459D-8D77-A0AC1C0EFA42}"/>
          </ac:spMkLst>
        </pc:spChg>
        <pc:spChg chg="add mod">
          <ac:chgData name="Théodora DUPONT-COURTADE" userId="b06d61bd-3bc1-47a9-8acb-1faed11547af" providerId="ADAL" clId="{B6284D1A-71B0-43D0-A276-BF5B1397783A}" dt="2020-10-02T12:25:28.846" v="4782" actId="20577"/>
          <ac:spMkLst>
            <pc:docMk/>
            <pc:sldMk cId="2838286066" sldId="6995"/>
            <ac:spMk id="60" creationId="{F401BD09-3346-486E-821A-85AABF891840}"/>
          </ac:spMkLst>
        </pc:spChg>
        <pc:spChg chg="mod">
          <ac:chgData name="Théodora DUPONT-COURTADE" userId="b06d61bd-3bc1-47a9-8acb-1faed11547af" providerId="ADAL" clId="{B6284D1A-71B0-43D0-A276-BF5B1397783A}" dt="2020-10-02T11:59:06.692" v="4347" actId="1076"/>
          <ac:spMkLst>
            <pc:docMk/>
            <pc:sldMk cId="2838286066" sldId="6995"/>
            <ac:spMk id="67" creationId="{7C9B0F8C-595C-45F1-8260-384F42A043F7}"/>
          </ac:spMkLst>
        </pc:spChg>
        <pc:spChg chg="mod">
          <ac:chgData name="Théodora DUPONT-COURTADE" userId="b06d61bd-3bc1-47a9-8acb-1faed11547af" providerId="ADAL" clId="{B6284D1A-71B0-43D0-A276-BF5B1397783A}" dt="2020-10-02T11:59:06.692" v="4347" actId="1076"/>
          <ac:spMkLst>
            <pc:docMk/>
            <pc:sldMk cId="2838286066" sldId="6995"/>
            <ac:spMk id="68" creationId="{FF288548-CDB1-446F-8A56-991904D556E0}"/>
          </ac:spMkLst>
        </pc:spChg>
        <pc:graphicFrameChg chg="mod">
          <ac:chgData name="Théodora DUPONT-COURTADE" userId="b06d61bd-3bc1-47a9-8acb-1faed11547af" providerId="ADAL" clId="{B6284D1A-71B0-43D0-A276-BF5B1397783A}" dt="2020-10-02T11:59:11.396" v="4348" actId="1076"/>
          <ac:graphicFrameMkLst>
            <pc:docMk/>
            <pc:sldMk cId="2838286066" sldId="6995"/>
            <ac:graphicFrameMk id="11" creationId="{373E9F32-3508-4699-B95C-446417612343}"/>
          </ac:graphicFrameMkLst>
        </pc:graphicFrameChg>
      </pc:sldChg>
      <pc:sldChg chg="addSp delSp modSp mod">
        <pc:chgData name="Théodora DUPONT-COURTADE" userId="b06d61bd-3bc1-47a9-8acb-1faed11547af" providerId="ADAL" clId="{B6284D1A-71B0-43D0-A276-BF5B1397783A}" dt="2020-10-02T13:54:14.183" v="10052" actId="207"/>
        <pc:sldMkLst>
          <pc:docMk/>
          <pc:sldMk cId="104034165" sldId="6997"/>
        </pc:sldMkLst>
        <pc:spChg chg="mod">
          <ac:chgData name="Théodora DUPONT-COURTADE" userId="b06d61bd-3bc1-47a9-8acb-1faed11547af" providerId="ADAL" clId="{B6284D1A-71B0-43D0-A276-BF5B1397783A}" dt="2020-10-02T07:19:03.777" v="149" actId="207"/>
          <ac:spMkLst>
            <pc:docMk/>
            <pc:sldMk cId="104034165" sldId="6997"/>
            <ac:spMk id="2" creationId="{85719187-3176-4DF6-907D-B341547AB7A2}"/>
          </ac:spMkLst>
        </pc:spChg>
        <pc:spChg chg="mod">
          <ac:chgData name="Théodora DUPONT-COURTADE" userId="b06d61bd-3bc1-47a9-8acb-1faed11547af" providerId="ADAL" clId="{B6284D1A-71B0-43D0-A276-BF5B1397783A}" dt="2020-10-02T07:18:06.745" v="23" actId="6549"/>
          <ac:spMkLst>
            <pc:docMk/>
            <pc:sldMk cId="104034165" sldId="6997"/>
            <ac:spMk id="8" creationId="{0DA3D0BC-DA7E-4962-A114-29DB29712CF8}"/>
          </ac:spMkLst>
        </pc:spChg>
        <pc:spChg chg="add del mod">
          <ac:chgData name="Théodora DUPONT-COURTADE" userId="b06d61bd-3bc1-47a9-8acb-1faed11547af" providerId="ADAL" clId="{B6284D1A-71B0-43D0-A276-BF5B1397783A}" dt="2020-10-02T11:30:12.342" v="4133" actId="478"/>
          <ac:spMkLst>
            <pc:docMk/>
            <pc:sldMk cId="104034165" sldId="6997"/>
            <ac:spMk id="11" creationId="{5251D2AE-3DDF-43CA-A687-A5F50B4115D0}"/>
          </ac:spMkLst>
        </pc:spChg>
        <pc:spChg chg="mod">
          <ac:chgData name="Théodora DUPONT-COURTADE" userId="b06d61bd-3bc1-47a9-8acb-1faed11547af" providerId="ADAL" clId="{B6284D1A-71B0-43D0-A276-BF5B1397783A}" dt="2020-10-02T12:50:55.801" v="5949"/>
          <ac:spMkLst>
            <pc:docMk/>
            <pc:sldMk cId="104034165" sldId="6997"/>
            <ac:spMk id="13" creationId="{AF62AA6B-1731-4411-B315-DEB7B769EDEC}"/>
          </ac:spMkLst>
        </pc:spChg>
        <pc:spChg chg="mod">
          <ac:chgData name="Théodora DUPONT-COURTADE" userId="b06d61bd-3bc1-47a9-8acb-1faed11547af" providerId="ADAL" clId="{B6284D1A-71B0-43D0-A276-BF5B1397783A}" dt="2020-10-02T13:54:14.183" v="10052" actId="207"/>
          <ac:spMkLst>
            <pc:docMk/>
            <pc:sldMk cId="104034165" sldId="6997"/>
            <ac:spMk id="26" creationId="{03EB0B39-D44D-4B19-8751-410B622C1472}"/>
          </ac:spMkLst>
        </pc:spChg>
        <pc:spChg chg="mod">
          <ac:chgData name="Théodora DUPONT-COURTADE" userId="b06d61bd-3bc1-47a9-8acb-1faed11547af" providerId="ADAL" clId="{B6284D1A-71B0-43D0-A276-BF5B1397783A}" dt="2020-10-02T12:51:14.888" v="5950"/>
          <ac:spMkLst>
            <pc:docMk/>
            <pc:sldMk cId="104034165" sldId="6997"/>
            <ac:spMk id="99" creationId="{9BEFB677-1618-447E-A371-00CE8D90916A}"/>
          </ac:spMkLst>
        </pc:spChg>
        <pc:spChg chg="mod">
          <ac:chgData name="Théodora DUPONT-COURTADE" userId="b06d61bd-3bc1-47a9-8acb-1faed11547af" providerId="ADAL" clId="{B6284D1A-71B0-43D0-A276-BF5B1397783A}" dt="2020-10-02T13:49:38.439" v="9824" actId="1076"/>
          <ac:spMkLst>
            <pc:docMk/>
            <pc:sldMk cId="104034165" sldId="6997"/>
            <ac:spMk id="115" creationId="{0087F620-E298-4A6A-9103-8C758191D5E8}"/>
          </ac:spMkLst>
        </pc:spChg>
        <pc:graphicFrameChg chg="mod">
          <ac:chgData name="Théodora DUPONT-COURTADE" userId="b06d61bd-3bc1-47a9-8acb-1faed11547af" providerId="ADAL" clId="{B6284D1A-71B0-43D0-A276-BF5B1397783A}" dt="2020-10-02T07:19:04.307" v="151"/>
          <ac:graphicFrameMkLst>
            <pc:docMk/>
            <pc:sldMk cId="104034165" sldId="6997"/>
            <ac:graphicFrameMk id="10" creationId="{71E427E5-3948-4905-9E33-F6E47047EC29}"/>
          </ac:graphicFrameMkLst>
        </pc:graphicFrameChg>
      </pc:sldChg>
      <pc:sldChg chg="modSp">
        <pc:chgData name="Théodora DUPONT-COURTADE" userId="b06d61bd-3bc1-47a9-8acb-1faed11547af" providerId="ADAL" clId="{B6284D1A-71B0-43D0-A276-BF5B1397783A}" dt="2020-10-02T12:51:14.888" v="5950"/>
        <pc:sldMkLst>
          <pc:docMk/>
          <pc:sldMk cId="3896457780" sldId="6998"/>
        </pc:sldMkLst>
        <pc:spChg chg="mod">
          <ac:chgData name="Théodora DUPONT-COURTADE" userId="b06d61bd-3bc1-47a9-8acb-1faed11547af" providerId="ADAL" clId="{B6284D1A-71B0-43D0-A276-BF5B1397783A}" dt="2020-10-02T12:51:14.888" v="5950"/>
          <ac:spMkLst>
            <pc:docMk/>
            <pc:sldMk cId="3896457780" sldId="6998"/>
            <ac:spMk id="4" creationId="{F0A06676-82C0-4F43-87A1-A34EA0E8CFAF}"/>
          </ac:spMkLst>
        </pc:spChg>
      </pc:sldChg>
      <pc:sldChg chg="modSp">
        <pc:chgData name="Théodora DUPONT-COURTADE" userId="b06d61bd-3bc1-47a9-8acb-1faed11547af" providerId="ADAL" clId="{B6284D1A-71B0-43D0-A276-BF5B1397783A}" dt="2020-10-02T12:51:14.888" v="5950"/>
        <pc:sldMkLst>
          <pc:docMk/>
          <pc:sldMk cId="689191810" sldId="6999"/>
        </pc:sldMkLst>
        <pc:spChg chg="mod">
          <ac:chgData name="Théodora DUPONT-COURTADE" userId="b06d61bd-3bc1-47a9-8acb-1faed11547af" providerId="ADAL" clId="{B6284D1A-71B0-43D0-A276-BF5B1397783A}" dt="2020-10-02T12:51:14.888" v="5950"/>
          <ac:spMkLst>
            <pc:docMk/>
            <pc:sldMk cId="689191810" sldId="6999"/>
            <ac:spMk id="4" creationId="{F0A06676-82C0-4F43-87A1-A34EA0E8CFAF}"/>
          </ac:spMkLst>
        </pc:spChg>
      </pc:sldChg>
      <pc:sldChg chg="modSp">
        <pc:chgData name="Théodora DUPONT-COURTADE" userId="b06d61bd-3bc1-47a9-8acb-1faed11547af" providerId="ADAL" clId="{B6284D1A-71B0-43D0-A276-BF5B1397783A}" dt="2020-10-02T12:51:14.888" v="5950"/>
        <pc:sldMkLst>
          <pc:docMk/>
          <pc:sldMk cId="4208723415" sldId="7002"/>
        </pc:sldMkLst>
        <pc:spChg chg="mod">
          <ac:chgData name="Théodora DUPONT-COURTADE" userId="b06d61bd-3bc1-47a9-8acb-1faed11547af" providerId="ADAL" clId="{B6284D1A-71B0-43D0-A276-BF5B1397783A}" dt="2020-10-02T12:51:14.888" v="5950"/>
          <ac:spMkLst>
            <pc:docMk/>
            <pc:sldMk cId="4208723415" sldId="7002"/>
            <ac:spMk id="2" creationId="{7D7E6DAC-9585-4765-BAA6-94FE40B43AD2}"/>
          </ac:spMkLst>
        </pc:spChg>
      </pc:sldChg>
      <pc:sldChg chg="modSp">
        <pc:chgData name="Théodora DUPONT-COURTADE" userId="b06d61bd-3bc1-47a9-8acb-1faed11547af" providerId="ADAL" clId="{B6284D1A-71B0-43D0-A276-BF5B1397783A}" dt="2020-10-02T12:51:14.888" v="5950"/>
        <pc:sldMkLst>
          <pc:docMk/>
          <pc:sldMk cId="337664102" sldId="7006"/>
        </pc:sldMkLst>
        <pc:spChg chg="mod">
          <ac:chgData name="Théodora DUPONT-COURTADE" userId="b06d61bd-3bc1-47a9-8acb-1faed11547af" providerId="ADAL" clId="{B6284D1A-71B0-43D0-A276-BF5B1397783A}" dt="2020-10-02T12:51:14.888" v="5950"/>
          <ac:spMkLst>
            <pc:docMk/>
            <pc:sldMk cId="337664102" sldId="7006"/>
            <ac:spMk id="4" creationId="{F0A06676-82C0-4F43-87A1-A34EA0E8CFAF}"/>
          </ac:spMkLst>
        </pc:spChg>
      </pc:sldChg>
      <pc:sldChg chg="modSp">
        <pc:chgData name="Théodora DUPONT-COURTADE" userId="b06d61bd-3bc1-47a9-8acb-1faed11547af" providerId="ADAL" clId="{B6284D1A-71B0-43D0-A276-BF5B1397783A}" dt="2020-10-02T12:51:14.888" v="5950"/>
        <pc:sldMkLst>
          <pc:docMk/>
          <pc:sldMk cId="98982834" sldId="7007"/>
        </pc:sldMkLst>
        <pc:spChg chg="mod">
          <ac:chgData name="Théodora DUPONT-COURTADE" userId="b06d61bd-3bc1-47a9-8acb-1faed11547af" providerId="ADAL" clId="{B6284D1A-71B0-43D0-A276-BF5B1397783A}" dt="2020-10-02T12:51:14.888" v="5950"/>
          <ac:spMkLst>
            <pc:docMk/>
            <pc:sldMk cId="98982834" sldId="7007"/>
            <ac:spMk id="4" creationId="{F0A06676-82C0-4F43-87A1-A34EA0E8CFAF}"/>
          </ac:spMkLst>
        </pc:spChg>
      </pc:sldChg>
      <pc:sldChg chg="modSp">
        <pc:chgData name="Théodora DUPONT-COURTADE" userId="b06d61bd-3bc1-47a9-8acb-1faed11547af" providerId="ADAL" clId="{B6284D1A-71B0-43D0-A276-BF5B1397783A}" dt="2020-10-02T12:51:14.888" v="5950"/>
        <pc:sldMkLst>
          <pc:docMk/>
          <pc:sldMk cId="2896264086" sldId="7008"/>
        </pc:sldMkLst>
        <pc:spChg chg="mod">
          <ac:chgData name="Théodora DUPONT-COURTADE" userId="b06d61bd-3bc1-47a9-8acb-1faed11547af" providerId="ADAL" clId="{B6284D1A-71B0-43D0-A276-BF5B1397783A}" dt="2020-10-02T12:51:14.888" v="5950"/>
          <ac:spMkLst>
            <pc:docMk/>
            <pc:sldMk cId="2896264086" sldId="7008"/>
            <ac:spMk id="4" creationId="{F0A06676-82C0-4F43-87A1-A34EA0E8CFAF}"/>
          </ac:spMkLst>
        </pc:spChg>
      </pc:sldChg>
      <pc:sldChg chg="addSp modSp mod">
        <pc:chgData name="Théodora DUPONT-COURTADE" userId="b06d61bd-3bc1-47a9-8acb-1faed11547af" providerId="ADAL" clId="{B6284D1A-71B0-43D0-A276-BF5B1397783A}" dt="2020-10-02T12:05:34.582" v="4519" actId="20577"/>
        <pc:sldMkLst>
          <pc:docMk/>
          <pc:sldMk cId="2190796301" sldId="7009"/>
        </pc:sldMkLst>
        <pc:spChg chg="add mod">
          <ac:chgData name="Théodora DUPONT-COURTADE" userId="b06d61bd-3bc1-47a9-8acb-1faed11547af" providerId="ADAL" clId="{B6284D1A-71B0-43D0-A276-BF5B1397783A}" dt="2020-10-02T12:05:34.582" v="4519" actId="20577"/>
          <ac:spMkLst>
            <pc:docMk/>
            <pc:sldMk cId="2190796301" sldId="7009"/>
            <ac:spMk id="8" creationId="{F74BF5DD-9C3E-4107-B2F6-6C1B3C8E01F3}"/>
          </ac:spMkLst>
        </pc:spChg>
      </pc:sldChg>
      <pc:sldChg chg="modSp mod">
        <pc:chgData name="Théodora DUPONT-COURTADE" userId="b06d61bd-3bc1-47a9-8acb-1faed11547af" providerId="ADAL" clId="{B6284D1A-71B0-43D0-A276-BF5B1397783A}" dt="2020-10-02T07:30:40.530" v="621"/>
        <pc:sldMkLst>
          <pc:docMk/>
          <pc:sldMk cId="2784942929" sldId="7024"/>
        </pc:sldMkLst>
        <pc:spChg chg="mod">
          <ac:chgData name="Théodora DUPONT-COURTADE" userId="b06d61bd-3bc1-47a9-8acb-1faed11547af" providerId="ADAL" clId="{B6284D1A-71B0-43D0-A276-BF5B1397783A}" dt="2020-10-02T07:30:29.852" v="618" actId="207"/>
          <ac:spMkLst>
            <pc:docMk/>
            <pc:sldMk cId="2784942929" sldId="7024"/>
            <ac:spMk id="88" creationId="{3D96B937-A45B-4D62-93D2-1DEA368625D9}"/>
          </ac:spMkLst>
        </pc:spChg>
        <pc:spChg chg="mod">
          <ac:chgData name="Théodora DUPONT-COURTADE" userId="b06d61bd-3bc1-47a9-8acb-1faed11547af" providerId="ADAL" clId="{B6284D1A-71B0-43D0-A276-BF5B1397783A}" dt="2020-10-02T07:30:40.530" v="621"/>
          <ac:spMkLst>
            <pc:docMk/>
            <pc:sldMk cId="2784942929" sldId="7024"/>
            <ac:spMk id="95" creationId="{9D8CF3E7-6537-4A4C-8B3C-DC4694F2828B}"/>
          </ac:spMkLst>
        </pc:spChg>
      </pc:sldChg>
      <pc:sldChg chg="modSp mod">
        <pc:chgData name="Théodora DUPONT-COURTADE" userId="b06d61bd-3bc1-47a9-8acb-1faed11547af" providerId="ADAL" clId="{B6284D1A-71B0-43D0-A276-BF5B1397783A}" dt="2020-10-02T07:30:08.400" v="607" actId="6549"/>
        <pc:sldMkLst>
          <pc:docMk/>
          <pc:sldMk cId="1591776323" sldId="7040"/>
        </pc:sldMkLst>
        <pc:spChg chg="mod">
          <ac:chgData name="Théodora DUPONT-COURTADE" userId="b06d61bd-3bc1-47a9-8acb-1faed11547af" providerId="ADAL" clId="{B6284D1A-71B0-43D0-A276-BF5B1397783A}" dt="2020-10-02T07:30:08.400" v="607" actId="6549"/>
          <ac:spMkLst>
            <pc:docMk/>
            <pc:sldMk cId="1591776323" sldId="7040"/>
            <ac:spMk id="74" creationId="{CF092BA7-2077-438B-8B3B-6D9A36B05732}"/>
          </ac:spMkLst>
        </pc:spChg>
      </pc:sldChg>
      <pc:sldChg chg="addSp modSp mod">
        <pc:chgData name="Théodora DUPONT-COURTADE" userId="b06d61bd-3bc1-47a9-8acb-1faed11547af" providerId="ADAL" clId="{B6284D1A-71B0-43D0-A276-BF5B1397783A}" dt="2020-10-02T11:31:45.622" v="4141" actId="14100"/>
        <pc:sldMkLst>
          <pc:docMk/>
          <pc:sldMk cId="3327230433" sldId="7041"/>
        </pc:sldMkLst>
        <pc:spChg chg="mod">
          <ac:chgData name="Théodora DUPONT-COURTADE" userId="b06d61bd-3bc1-47a9-8acb-1faed11547af" providerId="ADAL" clId="{B6284D1A-71B0-43D0-A276-BF5B1397783A}" dt="2020-10-02T11:31:45.622" v="4141" actId="14100"/>
          <ac:spMkLst>
            <pc:docMk/>
            <pc:sldMk cId="3327230433" sldId="7041"/>
            <ac:spMk id="36" creationId="{C6D0C044-C513-49E0-A4D4-0DCFA7C746D8}"/>
          </ac:spMkLst>
        </pc:spChg>
        <pc:spChg chg="mod">
          <ac:chgData name="Théodora DUPONT-COURTADE" userId="b06d61bd-3bc1-47a9-8acb-1faed11547af" providerId="ADAL" clId="{B6284D1A-71B0-43D0-A276-BF5B1397783A}" dt="2020-10-02T11:31:30.780" v="4136" actId="1076"/>
          <ac:spMkLst>
            <pc:docMk/>
            <pc:sldMk cId="3327230433" sldId="7041"/>
            <ac:spMk id="46" creationId="{040F7C19-B6E5-4504-BF40-FD6794D2C55D}"/>
          </ac:spMkLst>
        </pc:spChg>
        <pc:picChg chg="add mod">
          <ac:chgData name="Théodora DUPONT-COURTADE" userId="b06d61bd-3bc1-47a9-8acb-1faed11547af" providerId="ADAL" clId="{B6284D1A-71B0-43D0-A276-BF5B1397783A}" dt="2020-10-02T11:31:27.317" v="4135" actId="1076"/>
          <ac:picMkLst>
            <pc:docMk/>
            <pc:sldMk cId="3327230433" sldId="7041"/>
            <ac:picMk id="48" creationId="{96E38DE7-CB6C-4BAE-9F7C-7D6F1656A0E1}"/>
          </ac:picMkLst>
        </pc:picChg>
        <pc:picChg chg="add mod">
          <ac:chgData name="Théodora DUPONT-COURTADE" userId="b06d61bd-3bc1-47a9-8acb-1faed11547af" providerId="ADAL" clId="{B6284D1A-71B0-43D0-A276-BF5B1397783A}" dt="2020-10-02T11:31:27.317" v="4135" actId="1076"/>
          <ac:picMkLst>
            <pc:docMk/>
            <pc:sldMk cId="3327230433" sldId="7041"/>
            <ac:picMk id="54" creationId="{6F520380-1422-4297-9BF8-326BA101B014}"/>
          </ac:picMkLst>
        </pc:picChg>
        <pc:picChg chg="add mod">
          <ac:chgData name="Théodora DUPONT-COURTADE" userId="b06d61bd-3bc1-47a9-8acb-1faed11547af" providerId="ADAL" clId="{B6284D1A-71B0-43D0-A276-BF5B1397783A}" dt="2020-10-02T11:31:27.317" v="4135" actId="1076"/>
          <ac:picMkLst>
            <pc:docMk/>
            <pc:sldMk cId="3327230433" sldId="7041"/>
            <ac:picMk id="55" creationId="{602357A3-51E6-4244-989E-AC9AA2C27656}"/>
          </ac:picMkLst>
        </pc:picChg>
        <pc:picChg chg="add mod">
          <ac:chgData name="Théodora DUPONT-COURTADE" userId="b06d61bd-3bc1-47a9-8acb-1faed11547af" providerId="ADAL" clId="{B6284D1A-71B0-43D0-A276-BF5B1397783A}" dt="2020-10-02T11:31:40.488" v="4139" actId="1076"/>
          <ac:picMkLst>
            <pc:docMk/>
            <pc:sldMk cId="3327230433" sldId="7041"/>
            <ac:picMk id="56" creationId="{724244C0-26CA-4041-A521-5DFD2D1E79BF}"/>
          </ac:picMkLst>
        </pc:picChg>
      </pc:sldChg>
      <pc:sldChg chg="delSp modSp mod">
        <pc:chgData name="Théodora DUPONT-COURTADE" userId="b06d61bd-3bc1-47a9-8acb-1faed11547af" providerId="ADAL" clId="{B6284D1A-71B0-43D0-A276-BF5B1397783A}" dt="2020-10-02T12:48:51.911" v="5945" actId="478"/>
        <pc:sldMkLst>
          <pc:docMk/>
          <pc:sldMk cId="1680654699" sldId="7042"/>
        </pc:sldMkLst>
        <pc:spChg chg="del mod">
          <ac:chgData name="Théodora DUPONT-COURTADE" userId="b06d61bd-3bc1-47a9-8acb-1faed11547af" providerId="ADAL" clId="{B6284D1A-71B0-43D0-A276-BF5B1397783A}" dt="2020-10-02T12:48:51.911" v="5945" actId="478"/>
          <ac:spMkLst>
            <pc:docMk/>
            <pc:sldMk cId="1680654699" sldId="7042"/>
            <ac:spMk id="4" creationId="{1B2F9E94-D975-4BC6-823B-62815D511CCF}"/>
          </ac:spMkLst>
        </pc:spChg>
        <pc:spChg chg="mod">
          <ac:chgData name="Théodora DUPONT-COURTADE" userId="b06d61bd-3bc1-47a9-8acb-1faed11547af" providerId="ADAL" clId="{B6284D1A-71B0-43D0-A276-BF5B1397783A}" dt="2020-10-02T12:48:41.607" v="5943" actId="313"/>
          <ac:spMkLst>
            <pc:docMk/>
            <pc:sldMk cId="1680654699" sldId="7042"/>
            <ac:spMk id="232" creationId="{087B148F-19A4-4D25-BA72-DFC5C6DA69F6}"/>
          </ac:spMkLst>
        </pc:spChg>
        <pc:spChg chg="mod">
          <ac:chgData name="Théodora DUPONT-COURTADE" userId="b06d61bd-3bc1-47a9-8acb-1faed11547af" providerId="ADAL" clId="{B6284D1A-71B0-43D0-A276-BF5B1397783A}" dt="2020-10-02T12:48:47.767" v="5944" actId="207"/>
          <ac:spMkLst>
            <pc:docMk/>
            <pc:sldMk cId="1680654699" sldId="7042"/>
            <ac:spMk id="233" creationId="{89F50210-22A9-44C8-AA14-AD786D159246}"/>
          </ac:spMkLst>
        </pc:spChg>
      </pc:sldChg>
      <pc:sldChg chg="addSp modSp add del mod">
        <pc:chgData name="Théodora DUPONT-COURTADE" userId="b06d61bd-3bc1-47a9-8acb-1faed11547af" providerId="ADAL" clId="{B6284D1A-71B0-43D0-A276-BF5B1397783A}" dt="2020-10-05T12:30:58.701" v="15637" actId="207"/>
        <pc:sldMkLst>
          <pc:docMk/>
          <pc:sldMk cId="1994795878" sldId="7046"/>
        </pc:sldMkLst>
        <pc:spChg chg="add mod">
          <ac:chgData name="Théodora DUPONT-COURTADE" userId="b06d61bd-3bc1-47a9-8acb-1faed11547af" providerId="ADAL" clId="{B6284D1A-71B0-43D0-A276-BF5B1397783A}" dt="2020-10-02T10:11:27.353" v="4132" actId="1076"/>
          <ac:spMkLst>
            <pc:docMk/>
            <pc:sldMk cId="1994795878" sldId="7046"/>
            <ac:spMk id="6" creationId="{652FB3AF-53CC-437B-879C-39DFECEE7DEF}"/>
          </ac:spMkLst>
        </pc:spChg>
        <pc:spChg chg="mod">
          <ac:chgData name="Théodora DUPONT-COURTADE" userId="b06d61bd-3bc1-47a9-8acb-1faed11547af" providerId="ADAL" clId="{B6284D1A-71B0-43D0-A276-BF5B1397783A}" dt="2020-10-05T08:03:11.904" v="15549" actId="14100"/>
          <ac:spMkLst>
            <pc:docMk/>
            <pc:sldMk cId="1994795878" sldId="7046"/>
            <ac:spMk id="7" creationId="{975274F2-756A-4D52-A87D-7979645FF2DF}"/>
          </ac:spMkLst>
        </pc:spChg>
        <pc:spChg chg="mod">
          <ac:chgData name="Théodora DUPONT-COURTADE" userId="b06d61bd-3bc1-47a9-8acb-1faed11547af" providerId="ADAL" clId="{B6284D1A-71B0-43D0-A276-BF5B1397783A}" dt="2020-10-05T08:03:14.339" v="15552" actId="1036"/>
          <ac:spMkLst>
            <pc:docMk/>
            <pc:sldMk cId="1994795878" sldId="7046"/>
            <ac:spMk id="14" creationId="{0F0196F5-98A8-4179-87C3-1F36BC555C8C}"/>
          </ac:spMkLst>
        </pc:spChg>
        <pc:spChg chg="mod">
          <ac:chgData name="Théodora DUPONT-COURTADE" userId="b06d61bd-3bc1-47a9-8acb-1faed11547af" providerId="ADAL" clId="{B6284D1A-71B0-43D0-A276-BF5B1397783A}" dt="2020-10-05T12:30:58.701" v="15637" actId="207"/>
          <ac:spMkLst>
            <pc:docMk/>
            <pc:sldMk cId="1994795878" sldId="7046"/>
            <ac:spMk id="22" creationId="{B9E99B41-30E9-454D-A29F-FC1B9E7412E9}"/>
          </ac:spMkLst>
        </pc:spChg>
        <pc:spChg chg="mod">
          <ac:chgData name="Théodora DUPONT-COURTADE" userId="b06d61bd-3bc1-47a9-8acb-1faed11547af" providerId="ADAL" clId="{B6284D1A-71B0-43D0-A276-BF5B1397783A}" dt="2020-10-02T12:04:35.766" v="4495" actId="1036"/>
          <ac:spMkLst>
            <pc:docMk/>
            <pc:sldMk cId="1994795878" sldId="7046"/>
            <ac:spMk id="61" creationId="{73F804CB-2413-45A0-AC42-A6E95CC1DCD5}"/>
          </ac:spMkLst>
        </pc:spChg>
        <pc:spChg chg="add mod">
          <ac:chgData name="Théodora DUPONT-COURTADE" userId="b06d61bd-3bc1-47a9-8acb-1faed11547af" providerId="ADAL" clId="{B6284D1A-71B0-43D0-A276-BF5B1397783A}" dt="2020-10-05T08:05:15.604" v="15559" actId="1076"/>
          <ac:spMkLst>
            <pc:docMk/>
            <pc:sldMk cId="1994795878" sldId="7046"/>
            <ac:spMk id="63" creationId="{B6122666-8394-4E89-A95F-D00B8EF6066A}"/>
          </ac:spMkLst>
        </pc:spChg>
        <pc:spChg chg="mod">
          <ac:chgData name="Théodora DUPONT-COURTADE" userId="b06d61bd-3bc1-47a9-8acb-1faed11547af" providerId="ADAL" clId="{B6284D1A-71B0-43D0-A276-BF5B1397783A}" dt="2020-10-05T12:30:34.534" v="15634" actId="1038"/>
          <ac:spMkLst>
            <pc:docMk/>
            <pc:sldMk cId="1994795878" sldId="7046"/>
            <ac:spMk id="105" creationId="{35202EA5-0390-4841-9605-EC6579E9EC26}"/>
          </ac:spMkLst>
        </pc:spChg>
        <pc:spChg chg="mod">
          <ac:chgData name="Théodora DUPONT-COURTADE" userId="b06d61bd-3bc1-47a9-8acb-1faed11547af" providerId="ADAL" clId="{B6284D1A-71B0-43D0-A276-BF5B1397783A}" dt="2020-10-05T12:30:34.534" v="15634" actId="1038"/>
          <ac:spMkLst>
            <pc:docMk/>
            <pc:sldMk cId="1994795878" sldId="7046"/>
            <ac:spMk id="106" creationId="{B34EE8BA-FD88-42D4-B084-A96D490A2DE9}"/>
          </ac:spMkLst>
        </pc:spChg>
        <pc:graphicFrameChg chg="mod">
          <ac:chgData name="Théodora DUPONT-COURTADE" userId="b06d61bd-3bc1-47a9-8acb-1faed11547af" providerId="ADAL" clId="{B6284D1A-71B0-43D0-A276-BF5B1397783A}" dt="2020-10-02T12:04:29.780" v="4486"/>
          <ac:graphicFrameMkLst>
            <pc:docMk/>
            <pc:sldMk cId="1994795878" sldId="7046"/>
            <ac:graphicFrameMk id="60" creationId="{12A28C36-BA84-4CF8-893D-17B8E2D7D1C5}"/>
          </ac:graphicFrameMkLst>
        </pc:graphicFrameChg>
        <pc:graphicFrameChg chg="mod modGraphic">
          <ac:chgData name="Théodora DUPONT-COURTADE" userId="b06d61bd-3bc1-47a9-8acb-1faed11547af" providerId="ADAL" clId="{B6284D1A-71B0-43D0-A276-BF5B1397783A}" dt="2020-10-05T12:30:50.054" v="15636" actId="404"/>
          <ac:graphicFrameMkLst>
            <pc:docMk/>
            <pc:sldMk cId="1994795878" sldId="7046"/>
            <ac:graphicFrameMk id="92" creationId="{A5E2EAAC-F1DB-4E02-BCD9-15F6F2418CC3}"/>
          </ac:graphicFrameMkLst>
        </pc:graphicFrameChg>
      </pc:sldChg>
      <pc:sldChg chg="addSp modSp mod">
        <pc:chgData name="Théodora DUPONT-COURTADE" userId="b06d61bd-3bc1-47a9-8acb-1faed11547af" providerId="ADAL" clId="{B6284D1A-71B0-43D0-A276-BF5B1397783A}" dt="2020-10-07T08:57:41.493" v="16555" actId="20577"/>
        <pc:sldMkLst>
          <pc:docMk/>
          <pc:sldMk cId="2517844644" sldId="7047"/>
        </pc:sldMkLst>
        <pc:spChg chg="mod">
          <ac:chgData name="Théodora DUPONT-COURTADE" userId="b06d61bd-3bc1-47a9-8acb-1faed11547af" providerId="ADAL" clId="{B6284D1A-71B0-43D0-A276-BF5B1397783A}" dt="2020-10-02T12:05:04.029" v="4497" actId="14100"/>
          <ac:spMkLst>
            <pc:docMk/>
            <pc:sldMk cId="2517844644" sldId="7047"/>
            <ac:spMk id="61" creationId="{73F804CB-2413-45A0-AC42-A6E95CC1DCD5}"/>
          </ac:spMkLst>
        </pc:spChg>
        <pc:spChg chg="mod">
          <ac:chgData name="Théodora DUPONT-COURTADE" userId="b06d61bd-3bc1-47a9-8acb-1faed11547af" providerId="ADAL" clId="{B6284D1A-71B0-43D0-A276-BF5B1397783A}" dt="2020-10-07T08:57:41.493" v="16555" actId="20577"/>
          <ac:spMkLst>
            <pc:docMk/>
            <pc:sldMk cId="2517844644" sldId="7047"/>
            <ac:spMk id="65" creationId="{766BF357-E9E8-419A-BF37-D07CE983ABEA}"/>
          </ac:spMkLst>
        </pc:spChg>
        <pc:spChg chg="mod">
          <ac:chgData name="Théodora DUPONT-COURTADE" userId="b06d61bd-3bc1-47a9-8acb-1faed11547af" providerId="ADAL" clId="{B6284D1A-71B0-43D0-A276-BF5B1397783A}" dt="2020-10-05T08:03:25.263" v="15554" actId="14100"/>
          <ac:spMkLst>
            <pc:docMk/>
            <pc:sldMk cId="2517844644" sldId="7047"/>
            <ac:spMk id="78" creationId="{508212BC-E494-41E0-A327-C262D672C486}"/>
          </ac:spMkLst>
        </pc:spChg>
        <pc:spChg chg="mod">
          <ac:chgData name="Théodora DUPONT-COURTADE" userId="b06d61bd-3bc1-47a9-8acb-1faed11547af" providerId="ADAL" clId="{B6284D1A-71B0-43D0-A276-BF5B1397783A}" dt="2020-10-05T08:03:30.741" v="15555" actId="1076"/>
          <ac:spMkLst>
            <pc:docMk/>
            <pc:sldMk cId="2517844644" sldId="7047"/>
            <ac:spMk id="84" creationId="{0B8BE03D-788C-4517-899A-9DDC9BE3E5D5}"/>
          </ac:spMkLst>
        </pc:spChg>
        <pc:spChg chg="add mod">
          <ac:chgData name="Théodora DUPONT-COURTADE" userId="b06d61bd-3bc1-47a9-8acb-1faed11547af" providerId="ADAL" clId="{B6284D1A-71B0-43D0-A276-BF5B1397783A}" dt="2020-10-05T08:02:40.042" v="15545" actId="1076"/>
          <ac:spMkLst>
            <pc:docMk/>
            <pc:sldMk cId="2517844644" sldId="7047"/>
            <ac:spMk id="85" creationId="{462B6909-4394-4470-8BBA-DFFFC3E5C0F2}"/>
          </ac:spMkLst>
        </pc:spChg>
        <pc:spChg chg="mod">
          <ac:chgData name="Théodora DUPONT-COURTADE" userId="b06d61bd-3bc1-47a9-8acb-1faed11547af" providerId="ADAL" clId="{B6284D1A-71B0-43D0-A276-BF5B1397783A}" dt="2020-10-07T08:46:29.268" v="16308" actId="242"/>
          <ac:spMkLst>
            <pc:docMk/>
            <pc:sldMk cId="2517844644" sldId="7047"/>
            <ac:spMk id="89" creationId="{E995632E-D7BD-4CA6-9402-36B1F2DDD5C7}"/>
          </ac:spMkLst>
        </pc:spChg>
        <pc:spChg chg="mod">
          <ac:chgData name="Théodora DUPONT-COURTADE" userId="b06d61bd-3bc1-47a9-8acb-1faed11547af" providerId="ADAL" clId="{B6284D1A-71B0-43D0-A276-BF5B1397783A}" dt="2020-10-07T08:46:29.268" v="16308" actId="242"/>
          <ac:spMkLst>
            <pc:docMk/>
            <pc:sldMk cId="2517844644" sldId="7047"/>
            <ac:spMk id="97" creationId="{34319CD3-4F43-47D4-A96F-3DE7FF61CA2A}"/>
          </ac:spMkLst>
        </pc:spChg>
        <pc:graphicFrameChg chg="modGraphic">
          <ac:chgData name="Théodora DUPONT-COURTADE" userId="b06d61bd-3bc1-47a9-8acb-1faed11547af" providerId="ADAL" clId="{B6284D1A-71B0-43D0-A276-BF5B1397783A}" dt="2020-10-07T08:17:54.786" v="16306"/>
          <ac:graphicFrameMkLst>
            <pc:docMk/>
            <pc:sldMk cId="2517844644" sldId="7047"/>
            <ac:graphicFrameMk id="86" creationId="{BA2AF189-1E67-45EF-99C7-DC394435859A}"/>
          </ac:graphicFrameMkLst>
        </pc:graphicFrameChg>
      </pc:sldChg>
      <pc:sldChg chg="modSp">
        <pc:chgData name="Théodora DUPONT-COURTADE" userId="b06d61bd-3bc1-47a9-8acb-1faed11547af" providerId="ADAL" clId="{B6284D1A-71B0-43D0-A276-BF5B1397783A}" dt="2020-10-02T12:51:14.888" v="5950"/>
        <pc:sldMkLst>
          <pc:docMk/>
          <pc:sldMk cId="3357989335" sldId="7051"/>
        </pc:sldMkLst>
        <pc:spChg chg="mod">
          <ac:chgData name="Théodora DUPONT-COURTADE" userId="b06d61bd-3bc1-47a9-8acb-1faed11547af" providerId="ADAL" clId="{B6284D1A-71B0-43D0-A276-BF5B1397783A}" dt="2020-10-02T12:51:14.888" v="5950"/>
          <ac:spMkLst>
            <pc:docMk/>
            <pc:sldMk cId="3357989335" sldId="7051"/>
            <ac:spMk id="103" creationId="{C8A52D54-9E96-4855-BF97-88907E41C19C}"/>
          </ac:spMkLst>
        </pc:spChg>
        <pc:spChg chg="mod">
          <ac:chgData name="Théodora DUPONT-COURTADE" userId="b06d61bd-3bc1-47a9-8acb-1faed11547af" providerId="ADAL" clId="{B6284D1A-71B0-43D0-A276-BF5B1397783A}" dt="2020-10-02T12:50:55.801" v="5949"/>
          <ac:spMkLst>
            <pc:docMk/>
            <pc:sldMk cId="3357989335" sldId="7051"/>
            <ac:spMk id="137" creationId="{3A4BBA4A-35A4-446D-9CBE-B5F06DD9BADB}"/>
          </ac:spMkLst>
        </pc:spChg>
      </pc:sldChg>
      <pc:sldChg chg="modSp">
        <pc:chgData name="Théodora DUPONT-COURTADE" userId="b06d61bd-3bc1-47a9-8acb-1faed11547af" providerId="ADAL" clId="{B6284D1A-71B0-43D0-A276-BF5B1397783A}" dt="2020-10-02T12:51:14.888" v="5950"/>
        <pc:sldMkLst>
          <pc:docMk/>
          <pc:sldMk cId="659755073" sldId="7059"/>
        </pc:sldMkLst>
        <pc:spChg chg="mod">
          <ac:chgData name="Théodora DUPONT-COURTADE" userId="b06d61bd-3bc1-47a9-8acb-1faed11547af" providerId="ADAL" clId="{B6284D1A-71B0-43D0-A276-BF5B1397783A}" dt="2020-10-02T12:51:14.888" v="5950"/>
          <ac:spMkLst>
            <pc:docMk/>
            <pc:sldMk cId="659755073" sldId="7059"/>
            <ac:spMk id="218" creationId="{275C9947-B21E-4431-8FDF-58D67AA835B7}"/>
          </ac:spMkLst>
        </pc:spChg>
      </pc:sldChg>
      <pc:sldChg chg="modSp">
        <pc:chgData name="Théodora DUPONT-COURTADE" userId="b06d61bd-3bc1-47a9-8acb-1faed11547af" providerId="ADAL" clId="{B6284D1A-71B0-43D0-A276-BF5B1397783A}" dt="2020-10-02T12:51:14.888" v="5950"/>
        <pc:sldMkLst>
          <pc:docMk/>
          <pc:sldMk cId="3758819461" sldId="7062"/>
        </pc:sldMkLst>
        <pc:spChg chg="mod">
          <ac:chgData name="Théodora DUPONT-COURTADE" userId="b06d61bd-3bc1-47a9-8acb-1faed11547af" providerId="ADAL" clId="{B6284D1A-71B0-43D0-A276-BF5B1397783A}" dt="2020-10-02T12:51:14.888" v="5950"/>
          <ac:spMkLst>
            <pc:docMk/>
            <pc:sldMk cId="3758819461" sldId="7062"/>
            <ac:spMk id="9" creationId="{90F5C331-5229-44DC-8968-9742E0B316F3}"/>
          </ac:spMkLst>
        </pc:spChg>
        <pc:spChg chg="mod">
          <ac:chgData name="Théodora DUPONT-COURTADE" userId="b06d61bd-3bc1-47a9-8acb-1faed11547af" providerId="ADAL" clId="{B6284D1A-71B0-43D0-A276-BF5B1397783A}" dt="2020-10-02T12:51:14.888" v="5950"/>
          <ac:spMkLst>
            <pc:docMk/>
            <pc:sldMk cId="3758819461" sldId="7062"/>
            <ac:spMk id="46" creationId="{0DCA7B07-46A8-4103-8735-35697202D62C}"/>
          </ac:spMkLst>
        </pc:spChg>
        <pc:spChg chg="mod">
          <ac:chgData name="Théodora DUPONT-COURTADE" userId="b06d61bd-3bc1-47a9-8acb-1faed11547af" providerId="ADAL" clId="{B6284D1A-71B0-43D0-A276-BF5B1397783A}" dt="2020-10-02T12:51:14.888" v="5950"/>
          <ac:spMkLst>
            <pc:docMk/>
            <pc:sldMk cId="3758819461" sldId="7062"/>
            <ac:spMk id="86" creationId="{1BDDBE1A-EE27-4088-9346-64903104833E}"/>
          </ac:spMkLst>
        </pc:spChg>
      </pc:sldChg>
      <pc:sldChg chg="modSp mod">
        <pc:chgData name="Théodora DUPONT-COURTADE" userId="b06d61bd-3bc1-47a9-8acb-1faed11547af" providerId="ADAL" clId="{B6284D1A-71B0-43D0-A276-BF5B1397783A}" dt="2020-10-02T12:51:14.888" v="5950"/>
        <pc:sldMkLst>
          <pc:docMk/>
          <pc:sldMk cId="1880852289" sldId="7066"/>
        </pc:sldMkLst>
        <pc:spChg chg="mod">
          <ac:chgData name="Théodora DUPONT-COURTADE" userId="b06d61bd-3bc1-47a9-8acb-1faed11547af" providerId="ADAL" clId="{B6284D1A-71B0-43D0-A276-BF5B1397783A}" dt="2020-10-02T12:50:55.801" v="5949"/>
          <ac:spMkLst>
            <pc:docMk/>
            <pc:sldMk cId="1880852289" sldId="7066"/>
            <ac:spMk id="8" creationId="{08A59771-940F-4947-9BC4-234C966D900A}"/>
          </ac:spMkLst>
        </pc:spChg>
        <pc:spChg chg="mod">
          <ac:chgData name="Théodora DUPONT-COURTADE" userId="b06d61bd-3bc1-47a9-8acb-1faed11547af" providerId="ADAL" clId="{B6284D1A-71B0-43D0-A276-BF5B1397783A}" dt="2020-10-02T12:51:14.888" v="5950"/>
          <ac:spMkLst>
            <pc:docMk/>
            <pc:sldMk cId="1880852289" sldId="7066"/>
            <ac:spMk id="30" creationId="{9EFD046E-124A-402E-9542-DD3EAC8266AD}"/>
          </ac:spMkLst>
        </pc:spChg>
        <pc:spChg chg="mod">
          <ac:chgData name="Théodora DUPONT-COURTADE" userId="b06d61bd-3bc1-47a9-8acb-1faed11547af" providerId="ADAL" clId="{B6284D1A-71B0-43D0-A276-BF5B1397783A}" dt="2020-10-02T12:51:14.888" v="5950"/>
          <ac:spMkLst>
            <pc:docMk/>
            <pc:sldMk cId="1880852289" sldId="7066"/>
            <ac:spMk id="35" creationId="{388CDE67-420A-49C4-8B0A-D6C2142A684C}"/>
          </ac:spMkLst>
        </pc:spChg>
        <pc:spChg chg="mod">
          <ac:chgData name="Théodora DUPONT-COURTADE" userId="b06d61bd-3bc1-47a9-8acb-1faed11547af" providerId="ADAL" clId="{B6284D1A-71B0-43D0-A276-BF5B1397783A}" dt="2020-10-02T12:06:53.471" v="4524" actId="1076"/>
          <ac:spMkLst>
            <pc:docMk/>
            <pc:sldMk cId="1880852289" sldId="7066"/>
            <ac:spMk id="108" creationId="{4B6D73F7-F12F-427C-BFC4-676ED1BE4232}"/>
          </ac:spMkLst>
        </pc:spChg>
        <pc:spChg chg="mod">
          <ac:chgData name="Théodora DUPONT-COURTADE" userId="b06d61bd-3bc1-47a9-8acb-1faed11547af" providerId="ADAL" clId="{B6284D1A-71B0-43D0-A276-BF5B1397783A}" dt="2020-10-02T12:06:53.471" v="4524" actId="1076"/>
          <ac:spMkLst>
            <pc:docMk/>
            <pc:sldMk cId="1880852289" sldId="7066"/>
            <ac:spMk id="113" creationId="{F6E625FF-664F-4EAC-A4AA-2056644711D0}"/>
          </ac:spMkLst>
        </pc:spChg>
      </pc:sldChg>
      <pc:sldChg chg="modSp">
        <pc:chgData name="Théodora DUPONT-COURTADE" userId="b06d61bd-3bc1-47a9-8acb-1faed11547af" providerId="ADAL" clId="{B6284D1A-71B0-43D0-A276-BF5B1397783A}" dt="2020-10-02T12:51:14.888" v="5950"/>
        <pc:sldMkLst>
          <pc:docMk/>
          <pc:sldMk cId="4012805871" sldId="7067"/>
        </pc:sldMkLst>
        <pc:spChg chg="mod">
          <ac:chgData name="Théodora DUPONT-COURTADE" userId="b06d61bd-3bc1-47a9-8acb-1faed11547af" providerId="ADAL" clId="{B6284D1A-71B0-43D0-A276-BF5B1397783A}" dt="2020-10-02T12:51:14.888" v="5950"/>
          <ac:spMkLst>
            <pc:docMk/>
            <pc:sldMk cId="4012805871" sldId="7067"/>
            <ac:spMk id="2" creationId="{7C0E641A-DF41-4C6A-A5DB-AE017CB89662}"/>
          </ac:spMkLst>
        </pc:spChg>
        <pc:spChg chg="mod">
          <ac:chgData name="Théodora DUPONT-COURTADE" userId="b06d61bd-3bc1-47a9-8acb-1faed11547af" providerId="ADAL" clId="{B6284D1A-71B0-43D0-A276-BF5B1397783A}" dt="2020-10-02T12:51:14.888" v="5950"/>
          <ac:spMkLst>
            <pc:docMk/>
            <pc:sldMk cId="4012805871" sldId="7067"/>
            <ac:spMk id="38" creationId="{40582762-A04E-4AD0-8292-1867E94D5C16}"/>
          </ac:spMkLst>
        </pc:spChg>
        <pc:spChg chg="mod">
          <ac:chgData name="Théodora DUPONT-COURTADE" userId="b06d61bd-3bc1-47a9-8acb-1faed11547af" providerId="ADAL" clId="{B6284D1A-71B0-43D0-A276-BF5B1397783A}" dt="2020-10-02T12:51:14.888" v="5950"/>
          <ac:spMkLst>
            <pc:docMk/>
            <pc:sldMk cId="4012805871" sldId="7067"/>
            <ac:spMk id="39" creationId="{B6D2A71D-15F8-4868-8A22-57E5A307A840}"/>
          </ac:spMkLst>
        </pc:spChg>
      </pc:sldChg>
      <pc:sldChg chg="addSp modSp mod">
        <pc:chgData name="Théodora DUPONT-COURTADE" userId="b06d61bd-3bc1-47a9-8acb-1faed11547af" providerId="ADAL" clId="{B6284D1A-71B0-43D0-A276-BF5B1397783A}" dt="2020-10-02T12:50:55.801" v="5949"/>
        <pc:sldMkLst>
          <pc:docMk/>
          <pc:sldMk cId="1376864738" sldId="7069"/>
        </pc:sldMkLst>
        <pc:spChg chg="add mod">
          <ac:chgData name="Théodora DUPONT-COURTADE" userId="b06d61bd-3bc1-47a9-8acb-1faed11547af" providerId="ADAL" clId="{B6284D1A-71B0-43D0-A276-BF5B1397783A}" dt="2020-10-02T12:07:47.576" v="4565" actId="20577"/>
          <ac:spMkLst>
            <pc:docMk/>
            <pc:sldMk cId="1376864738" sldId="7069"/>
            <ac:spMk id="2" creationId="{351B8235-C62D-4709-90E3-2682B61A25D1}"/>
          </ac:spMkLst>
        </pc:spChg>
        <pc:spChg chg="mod">
          <ac:chgData name="Théodora DUPONT-COURTADE" userId="b06d61bd-3bc1-47a9-8acb-1faed11547af" providerId="ADAL" clId="{B6284D1A-71B0-43D0-A276-BF5B1397783A}" dt="2020-10-02T12:50:55.801" v="5949"/>
          <ac:spMkLst>
            <pc:docMk/>
            <pc:sldMk cId="1376864738" sldId="7069"/>
            <ac:spMk id="33" creationId="{A1FDEDE9-E5E2-4EBC-A5B8-4EEF0C822E21}"/>
          </ac:spMkLst>
        </pc:spChg>
        <pc:spChg chg="mod">
          <ac:chgData name="Théodora DUPONT-COURTADE" userId="b06d61bd-3bc1-47a9-8acb-1faed11547af" providerId="ADAL" clId="{B6284D1A-71B0-43D0-A276-BF5B1397783A}" dt="2020-10-02T12:50:55.801" v="5949"/>
          <ac:spMkLst>
            <pc:docMk/>
            <pc:sldMk cId="1376864738" sldId="7069"/>
            <ac:spMk id="34" creationId="{E4C834B3-8C96-4B4D-A3B2-401C953956D3}"/>
          </ac:spMkLst>
        </pc:spChg>
        <pc:spChg chg="mod">
          <ac:chgData name="Théodora DUPONT-COURTADE" userId="b06d61bd-3bc1-47a9-8acb-1faed11547af" providerId="ADAL" clId="{B6284D1A-71B0-43D0-A276-BF5B1397783A}" dt="2020-10-02T12:50:55.801" v="5949"/>
          <ac:spMkLst>
            <pc:docMk/>
            <pc:sldMk cId="1376864738" sldId="7069"/>
            <ac:spMk id="47" creationId="{C85B0421-5BDB-4848-914A-867C2D466E74}"/>
          </ac:spMkLst>
        </pc:spChg>
        <pc:spChg chg="mod">
          <ac:chgData name="Théodora DUPONT-COURTADE" userId="b06d61bd-3bc1-47a9-8acb-1faed11547af" providerId="ADAL" clId="{B6284D1A-71B0-43D0-A276-BF5B1397783A}" dt="2020-10-02T12:50:55.801" v="5949"/>
          <ac:spMkLst>
            <pc:docMk/>
            <pc:sldMk cId="1376864738" sldId="7069"/>
            <ac:spMk id="194" creationId="{D2F9D774-2CB5-45E6-8AEE-E74405319A23}"/>
          </ac:spMkLst>
        </pc:spChg>
      </pc:sldChg>
      <pc:sldChg chg="addSp modSp mod">
        <pc:chgData name="Théodora DUPONT-COURTADE" userId="b06d61bd-3bc1-47a9-8acb-1faed11547af" providerId="ADAL" clId="{B6284D1A-71B0-43D0-A276-BF5B1397783A}" dt="2020-10-05T12:32:01.515" v="15645" actId="20577"/>
        <pc:sldMkLst>
          <pc:docMk/>
          <pc:sldMk cId="1492206073" sldId="7071"/>
        </pc:sldMkLst>
        <pc:spChg chg="add mod">
          <ac:chgData name="Théodora DUPONT-COURTADE" userId="b06d61bd-3bc1-47a9-8acb-1faed11547af" providerId="ADAL" clId="{B6284D1A-71B0-43D0-A276-BF5B1397783A}" dt="2020-10-02T07:39:17.574" v="1057" actId="1076"/>
          <ac:spMkLst>
            <pc:docMk/>
            <pc:sldMk cId="1492206073" sldId="7071"/>
            <ac:spMk id="7" creationId="{2B40F955-758D-4A83-974E-CB44947260A0}"/>
          </ac:spMkLst>
        </pc:spChg>
        <pc:spChg chg="add mod">
          <ac:chgData name="Théodora DUPONT-COURTADE" userId="b06d61bd-3bc1-47a9-8acb-1faed11547af" providerId="ADAL" clId="{B6284D1A-71B0-43D0-A276-BF5B1397783A}" dt="2020-10-05T08:07:33.010" v="15570" actId="20577"/>
          <ac:spMkLst>
            <pc:docMk/>
            <pc:sldMk cId="1492206073" sldId="7071"/>
            <ac:spMk id="7" creationId="{E0B8D098-2263-4E44-810B-DF97E1D986BD}"/>
          </ac:spMkLst>
        </pc:spChg>
        <pc:spChg chg="mod">
          <ac:chgData name="Théodora DUPONT-COURTADE" userId="b06d61bd-3bc1-47a9-8acb-1faed11547af" providerId="ADAL" clId="{B6284D1A-71B0-43D0-A276-BF5B1397783A}" dt="2020-10-02T12:28:08.302" v="4869" actId="20577"/>
          <ac:spMkLst>
            <pc:docMk/>
            <pc:sldMk cId="1492206073" sldId="7071"/>
            <ac:spMk id="16" creationId="{EACE795C-C806-425F-8AA4-8EFA6F2CB1B5}"/>
          </ac:spMkLst>
        </pc:spChg>
        <pc:spChg chg="mod">
          <ac:chgData name="Théodora DUPONT-COURTADE" userId="b06d61bd-3bc1-47a9-8acb-1faed11547af" providerId="ADAL" clId="{B6284D1A-71B0-43D0-A276-BF5B1397783A}" dt="2020-10-05T12:32:01.515" v="15645" actId="20577"/>
          <ac:spMkLst>
            <pc:docMk/>
            <pc:sldMk cId="1492206073" sldId="7071"/>
            <ac:spMk id="155" creationId="{DC679D19-7F2E-45B1-AE81-E01BC1E9553E}"/>
          </ac:spMkLst>
        </pc:spChg>
      </pc:sldChg>
      <pc:sldChg chg="addSp delSp modSp mod">
        <pc:chgData name="Théodora DUPONT-COURTADE" userId="b06d61bd-3bc1-47a9-8acb-1faed11547af" providerId="ADAL" clId="{B6284D1A-71B0-43D0-A276-BF5B1397783A}" dt="2020-10-02T13:33:56.217" v="9632" actId="14100"/>
        <pc:sldMkLst>
          <pc:docMk/>
          <pc:sldMk cId="631260809" sldId="7081"/>
        </pc:sldMkLst>
        <pc:spChg chg="mod">
          <ac:chgData name="Théodora DUPONT-COURTADE" userId="b06d61bd-3bc1-47a9-8acb-1faed11547af" providerId="ADAL" clId="{B6284D1A-71B0-43D0-A276-BF5B1397783A}" dt="2020-10-02T13:33:56.217" v="9632" actId="14100"/>
          <ac:spMkLst>
            <pc:docMk/>
            <pc:sldMk cId="631260809" sldId="7081"/>
            <ac:spMk id="21" creationId="{F639CB13-89E0-4076-8B02-146C16F07D20}"/>
          </ac:spMkLst>
        </pc:spChg>
        <pc:picChg chg="add del mod">
          <ac:chgData name="Théodora DUPONT-COURTADE" userId="b06d61bd-3bc1-47a9-8acb-1faed11547af" providerId="ADAL" clId="{B6284D1A-71B0-43D0-A276-BF5B1397783A}" dt="2020-10-02T11:32:11.612" v="4143" actId="478"/>
          <ac:picMkLst>
            <pc:docMk/>
            <pc:sldMk cId="631260809" sldId="7081"/>
            <ac:picMk id="48" creationId="{957E0547-36E6-4F16-BAD8-50D19BC2CD4D}"/>
          </ac:picMkLst>
        </pc:picChg>
        <pc:picChg chg="add del mod">
          <ac:chgData name="Théodora DUPONT-COURTADE" userId="b06d61bd-3bc1-47a9-8acb-1faed11547af" providerId="ADAL" clId="{B6284D1A-71B0-43D0-A276-BF5B1397783A}" dt="2020-10-02T11:32:11.612" v="4143" actId="478"/>
          <ac:picMkLst>
            <pc:docMk/>
            <pc:sldMk cId="631260809" sldId="7081"/>
            <ac:picMk id="49" creationId="{100D29E7-85EE-4C97-9C3B-14620D587560}"/>
          </ac:picMkLst>
        </pc:picChg>
        <pc:picChg chg="add del mod">
          <ac:chgData name="Théodora DUPONT-COURTADE" userId="b06d61bd-3bc1-47a9-8acb-1faed11547af" providerId="ADAL" clId="{B6284D1A-71B0-43D0-A276-BF5B1397783A}" dt="2020-10-02T11:32:11.612" v="4143" actId="478"/>
          <ac:picMkLst>
            <pc:docMk/>
            <pc:sldMk cId="631260809" sldId="7081"/>
            <ac:picMk id="50" creationId="{CDFC9EA3-7D2E-4D2E-8B1F-74A9E5D6D71B}"/>
          </ac:picMkLst>
        </pc:picChg>
        <pc:picChg chg="add del mod">
          <ac:chgData name="Théodora DUPONT-COURTADE" userId="b06d61bd-3bc1-47a9-8acb-1faed11547af" providerId="ADAL" clId="{B6284D1A-71B0-43D0-A276-BF5B1397783A}" dt="2020-10-02T11:32:11.612" v="4143" actId="478"/>
          <ac:picMkLst>
            <pc:docMk/>
            <pc:sldMk cId="631260809" sldId="7081"/>
            <ac:picMk id="51" creationId="{B9848BD2-2171-4358-918F-DBC21FEE0132}"/>
          </ac:picMkLst>
        </pc:picChg>
      </pc:sldChg>
      <pc:sldChg chg="modSp">
        <pc:chgData name="Théodora DUPONT-COURTADE" userId="b06d61bd-3bc1-47a9-8acb-1faed11547af" providerId="ADAL" clId="{B6284D1A-71B0-43D0-A276-BF5B1397783A}" dt="2020-10-02T12:51:14.888" v="5950"/>
        <pc:sldMkLst>
          <pc:docMk/>
          <pc:sldMk cId="4019796020" sldId="7082"/>
        </pc:sldMkLst>
        <pc:spChg chg="mod">
          <ac:chgData name="Théodora DUPONT-COURTADE" userId="b06d61bd-3bc1-47a9-8acb-1faed11547af" providerId="ADAL" clId="{B6284D1A-71B0-43D0-A276-BF5B1397783A}" dt="2020-10-02T12:51:14.888" v="5950"/>
          <ac:spMkLst>
            <pc:docMk/>
            <pc:sldMk cId="4019796020" sldId="7082"/>
            <ac:spMk id="21" creationId="{F639CB13-89E0-4076-8B02-146C16F07D20}"/>
          </ac:spMkLst>
        </pc:spChg>
      </pc:sldChg>
      <pc:sldChg chg="delSp modSp mod">
        <pc:chgData name="Théodora DUPONT-COURTADE" userId="b06d61bd-3bc1-47a9-8acb-1faed11547af" providerId="ADAL" clId="{B6284D1A-71B0-43D0-A276-BF5B1397783A}" dt="2020-10-02T12:55:51.694" v="6048" actId="478"/>
        <pc:sldMkLst>
          <pc:docMk/>
          <pc:sldMk cId="1230945878" sldId="7083"/>
        </pc:sldMkLst>
        <pc:spChg chg="mod">
          <ac:chgData name="Théodora DUPONT-COURTADE" userId="b06d61bd-3bc1-47a9-8acb-1faed11547af" providerId="ADAL" clId="{B6284D1A-71B0-43D0-A276-BF5B1397783A}" dt="2020-10-02T12:55:49.607" v="6045" actId="313"/>
          <ac:spMkLst>
            <pc:docMk/>
            <pc:sldMk cId="1230945878" sldId="7083"/>
            <ac:spMk id="2" creationId="{1D825224-5426-45FB-95E4-C5F4C82DBF4A}"/>
          </ac:spMkLst>
        </pc:spChg>
        <pc:spChg chg="mod">
          <ac:chgData name="Théodora DUPONT-COURTADE" userId="b06d61bd-3bc1-47a9-8acb-1faed11547af" providerId="ADAL" clId="{B6284D1A-71B0-43D0-A276-BF5B1397783A}" dt="2020-10-02T12:55:23.362" v="6029" actId="6549"/>
          <ac:spMkLst>
            <pc:docMk/>
            <pc:sldMk cId="1230945878" sldId="7083"/>
            <ac:spMk id="20" creationId="{D7D998A4-C0A2-4344-97DF-ADA1A0B20363}"/>
          </ac:spMkLst>
        </pc:spChg>
        <pc:spChg chg="mod">
          <ac:chgData name="Théodora DUPONT-COURTADE" userId="b06d61bd-3bc1-47a9-8acb-1faed11547af" providerId="ADAL" clId="{B6284D1A-71B0-43D0-A276-BF5B1397783A}" dt="2020-10-02T12:54:02.471" v="6000" actId="20577"/>
          <ac:spMkLst>
            <pc:docMk/>
            <pc:sldMk cId="1230945878" sldId="7083"/>
            <ac:spMk id="21" creationId="{F639CB13-89E0-4076-8B02-146C16F07D20}"/>
          </ac:spMkLst>
        </pc:spChg>
        <pc:spChg chg="del mod">
          <ac:chgData name="Théodora DUPONT-COURTADE" userId="b06d61bd-3bc1-47a9-8acb-1faed11547af" providerId="ADAL" clId="{B6284D1A-71B0-43D0-A276-BF5B1397783A}" dt="2020-10-02T12:55:51.694" v="6048" actId="478"/>
          <ac:spMkLst>
            <pc:docMk/>
            <pc:sldMk cId="1230945878" sldId="7083"/>
            <ac:spMk id="25" creationId="{8F532164-A4D3-4EC0-AA50-253751120C49}"/>
          </ac:spMkLst>
        </pc:spChg>
        <pc:spChg chg="del mod">
          <ac:chgData name="Théodora DUPONT-COURTADE" userId="b06d61bd-3bc1-47a9-8acb-1faed11547af" providerId="ADAL" clId="{B6284D1A-71B0-43D0-A276-BF5B1397783A}" dt="2020-10-02T12:54:11.373" v="6001" actId="478"/>
          <ac:spMkLst>
            <pc:docMk/>
            <pc:sldMk cId="1230945878" sldId="7083"/>
            <ac:spMk id="92" creationId="{5B518F53-6C91-4740-8FE3-55448BD7CD2F}"/>
          </ac:spMkLst>
        </pc:spChg>
        <pc:graphicFrameChg chg="mod">
          <ac:chgData name="Théodora DUPONT-COURTADE" userId="b06d61bd-3bc1-47a9-8acb-1faed11547af" providerId="ADAL" clId="{B6284D1A-71B0-43D0-A276-BF5B1397783A}" dt="2020-10-02T12:55:50.133" v="6047"/>
          <ac:graphicFrameMkLst>
            <pc:docMk/>
            <pc:sldMk cId="1230945878" sldId="7083"/>
            <ac:graphicFrameMk id="14" creationId="{7ECA7587-5D4D-4C77-BC7A-FBCB26E9B679}"/>
          </ac:graphicFrameMkLst>
        </pc:graphicFrameChg>
      </pc:sldChg>
      <pc:sldChg chg="addSp delSp modSp mod">
        <pc:chgData name="Théodora DUPONT-COURTADE" userId="b06d61bd-3bc1-47a9-8acb-1faed11547af" providerId="ADAL" clId="{B6284D1A-71B0-43D0-A276-BF5B1397783A}" dt="2020-10-02T12:57:55.910" v="6094" actId="14100"/>
        <pc:sldMkLst>
          <pc:docMk/>
          <pc:sldMk cId="3417722506" sldId="7084"/>
        </pc:sldMkLst>
        <pc:spChg chg="add del mod">
          <ac:chgData name="Théodora DUPONT-COURTADE" userId="b06d61bd-3bc1-47a9-8acb-1faed11547af" providerId="ADAL" clId="{B6284D1A-71B0-43D0-A276-BF5B1397783A}" dt="2020-10-02T07:40:25.704" v="1063" actId="478"/>
          <ac:spMkLst>
            <pc:docMk/>
            <pc:sldMk cId="3417722506" sldId="7084"/>
            <ac:spMk id="81" creationId="{AA4E2A81-F4EA-40F5-B97A-58BD07136C7D}"/>
          </ac:spMkLst>
        </pc:spChg>
        <pc:spChg chg="mod">
          <ac:chgData name="Théodora DUPONT-COURTADE" userId="b06d61bd-3bc1-47a9-8acb-1faed11547af" providerId="ADAL" clId="{B6284D1A-71B0-43D0-A276-BF5B1397783A}" dt="2020-10-02T07:40:31.839" v="1066" actId="1036"/>
          <ac:spMkLst>
            <pc:docMk/>
            <pc:sldMk cId="3417722506" sldId="7084"/>
            <ac:spMk id="83" creationId="{84614B6A-76F1-4F8D-8B85-0BE8EA314788}"/>
          </ac:spMkLst>
        </pc:spChg>
        <pc:spChg chg="mod">
          <ac:chgData name="Théodora DUPONT-COURTADE" userId="b06d61bd-3bc1-47a9-8acb-1faed11547af" providerId="ADAL" clId="{B6284D1A-71B0-43D0-A276-BF5B1397783A}" dt="2020-10-02T07:40:31.839" v="1066" actId="1036"/>
          <ac:spMkLst>
            <pc:docMk/>
            <pc:sldMk cId="3417722506" sldId="7084"/>
            <ac:spMk id="84" creationId="{672375FE-ACAC-4E16-B68A-1339BCA187F9}"/>
          </ac:spMkLst>
        </pc:spChg>
        <pc:spChg chg="mod">
          <ac:chgData name="Théodora DUPONT-COURTADE" userId="b06d61bd-3bc1-47a9-8acb-1faed11547af" providerId="ADAL" clId="{B6284D1A-71B0-43D0-A276-BF5B1397783A}" dt="2020-10-02T07:40:31.839" v="1066" actId="1036"/>
          <ac:spMkLst>
            <pc:docMk/>
            <pc:sldMk cId="3417722506" sldId="7084"/>
            <ac:spMk id="85" creationId="{4D614D04-DE13-4256-A152-4CA80E5F0C56}"/>
          </ac:spMkLst>
        </pc:spChg>
        <pc:spChg chg="mod">
          <ac:chgData name="Théodora DUPONT-COURTADE" userId="b06d61bd-3bc1-47a9-8acb-1faed11547af" providerId="ADAL" clId="{B6284D1A-71B0-43D0-A276-BF5B1397783A}" dt="2020-10-02T07:40:31.839" v="1066" actId="1036"/>
          <ac:spMkLst>
            <pc:docMk/>
            <pc:sldMk cId="3417722506" sldId="7084"/>
            <ac:spMk id="86" creationId="{671ABB24-F485-4496-978C-E639B2D11B0D}"/>
          </ac:spMkLst>
        </pc:spChg>
        <pc:spChg chg="mod">
          <ac:chgData name="Théodora DUPONT-COURTADE" userId="b06d61bd-3bc1-47a9-8acb-1faed11547af" providerId="ADAL" clId="{B6284D1A-71B0-43D0-A276-BF5B1397783A}" dt="2020-10-02T07:40:31.839" v="1066" actId="1036"/>
          <ac:spMkLst>
            <pc:docMk/>
            <pc:sldMk cId="3417722506" sldId="7084"/>
            <ac:spMk id="87" creationId="{0DEC53A4-42F1-493B-A889-3F09565FE1F0}"/>
          </ac:spMkLst>
        </pc:spChg>
        <pc:spChg chg="mod">
          <ac:chgData name="Théodora DUPONT-COURTADE" userId="b06d61bd-3bc1-47a9-8acb-1faed11547af" providerId="ADAL" clId="{B6284D1A-71B0-43D0-A276-BF5B1397783A}" dt="2020-10-02T07:40:31.839" v="1066" actId="1036"/>
          <ac:spMkLst>
            <pc:docMk/>
            <pc:sldMk cId="3417722506" sldId="7084"/>
            <ac:spMk id="88" creationId="{39EA766C-87E3-4D86-820F-CB0A2A364FDC}"/>
          </ac:spMkLst>
        </pc:spChg>
        <pc:spChg chg="mod">
          <ac:chgData name="Théodora DUPONT-COURTADE" userId="b06d61bd-3bc1-47a9-8acb-1faed11547af" providerId="ADAL" clId="{B6284D1A-71B0-43D0-A276-BF5B1397783A}" dt="2020-10-02T07:40:31.839" v="1066" actId="1036"/>
          <ac:spMkLst>
            <pc:docMk/>
            <pc:sldMk cId="3417722506" sldId="7084"/>
            <ac:spMk id="89" creationId="{79C1BD73-1D53-4556-BBBE-14A2C7627E8C}"/>
          </ac:spMkLst>
        </pc:spChg>
        <pc:spChg chg="mod">
          <ac:chgData name="Théodora DUPONT-COURTADE" userId="b06d61bd-3bc1-47a9-8acb-1faed11547af" providerId="ADAL" clId="{B6284D1A-71B0-43D0-A276-BF5B1397783A}" dt="2020-10-02T07:40:31.839" v="1066" actId="1036"/>
          <ac:spMkLst>
            <pc:docMk/>
            <pc:sldMk cId="3417722506" sldId="7084"/>
            <ac:spMk id="90" creationId="{EA4A4C15-C5D6-4193-832F-20BA301A6E72}"/>
          </ac:spMkLst>
        </pc:spChg>
        <pc:spChg chg="mod">
          <ac:chgData name="Théodora DUPONT-COURTADE" userId="b06d61bd-3bc1-47a9-8acb-1faed11547af" providerId="ADAL" clId="{B6284D1A-71B0-43D0-A276-BF5B1397783A}" dt="2020-10-02T07:40:31.839" v="1066" actId="1036"/>
          <ac:spMkLst>
            <pc:docMk/>
            <pc:sldMk cId="3417722506" sldId="7084"/>
            <ac:spMk id="91" creationId="{60C65167-17D7-4075-A94F-03905E060773}"/>
          </ac:spMkLst>
        </pc:spChg>
        <pc:spChg chg="mod">
          <ac:chgData name="Théodora DUPONT-COURTADE" userId="b06d61bd-3bc1-47a9-8acb-1faed11547af" providerId="ADAL" clId="{B6284D1A-71B0-43D0-A276-BF5B1397783A}" dt="2020-10-02T07:40:31.839" v="1066" actId="1036"/>
          <ac:spMkLst>
            <pc:docMk/>
            <pc:sldMk cId="3417722506" sldId="7084"/>
            <ac:spMk id="92" creationId="{75C6CFC2-3159-4150-B9E8-D2441190A6D6}"/>
          </ac:spMkLst>
        </pc:spChg>
        <pc:spChg chg="mod">
          <ac:chgData name="Théodora DUPONT-COURTADE" userId="b06d61bd-3bc1-47a9-8acb-1faed11547af" providerId="ADAL" clId="{B6284D1A-71B0-43D0-A276-BF5B1397783A}" dt="2020-10-02T07:40:31.839" v="1066" actId="1036"/>
          <ac:spMkLst>
            <pc:docMk/>
            <pc:sldMk cId="3417722506" sldId="7084"/>
            <ac:spMk id="93" creationId="{77D92081-8297-4B10-A3A1-5B1D3088B391}"/>
          </ac:spMkLst>
        </pc:spChg>
        <pc:spChg chg="mod">
          <ac:chgData name="Théodora DUPONT-COURTADE" userId="b06d61bd-3bc1-47a9-8acb-1faed11547af" providerId="ADAL" clId="{B6284D1A-71B0-43D0-A276-BF5B1397783A}" dt="2020-10-02T07:40:31.839" v="1066" actId="1036"/>
          <ac:spMkLst>
            <pc:docMk/>
            <pc:sldMk cId="3417722506" sldId="7084"/>
            <ac:spMk id="94" creationId="{0F98824F-B0F5-4593-8FB5-99790051EECB}"/>
          </ac:spMkLst>
        </pc:spChg>
        <pc:spChg chg="add mod">
          <ac:chgData name="Théodora DUPONT-COURTADE" userId="b06d61bd-3bc1-47a9-8acb-1faed11547af" providerId="ADAL" clId="{B6284D1A-71B0-43D0-A276-BF5B1397783A}" dt="2020-10-02T12:57:55.910" v="6094" actId="14100"/>
          <ac:spMkLst>
            <pc:docMk/>
            <pc:sldMk cId="3417722506" sldId="7084"/>
            <ac:spMk id="95" creationId="{99674C1F-DA9B-4456-B8C5-93B9907C5D3B}"/>
          </ac:spMkLst>
        </pc:spChg>
        <pc:spChg chg="mod">
          <ac:chgData name="Théodora DUPONT-COURTADE" userId="b06d61bd-3bc1-47a9-8acb-1faed11547af" providerId="ADAL" clId="{B6284D1A-71B0-43D0-A276-BF5B1397783A}" dt="2020-10-02T07:41:23.427" v="1069" actId="20577"/>
          <ac:spMkLst>
            <pc:docMk/>
            <pc:sldMk cId="3417722506" sldId="7084"/>
            <ac:spMk id="97" creationId="{68D5AEF2-3B8F-4C68-AE2C-DF55AFFCE731}"/>
          </ac:spMkLst>
        </pc:spChg>
        <pc:spChg chg="mod">
          <ac:chgData name="Théodora DUPONT-COURTADE" userId="b06d61bd-3bc1-47a9-8acb-1faed11547af" providerId="ADAL" clId="{B6284D1A-71B0-43D0-A276-BF5B1397783A}" dt="2020-10-02T12:56:30.606" v="6060" actId="20577"/>
          <ac:spMkLst>
            <pc:docMk/>
            <pc:sldMk cId="3417722506" sldId="7084"/>
            <ac:spMk id="100" creationId="{30F4EEA7-E5FC-4CBC-B703-9B3100778458}"/>
          </ac:spMkLst>
        </pc:spChg>
        <pc:spChg chg="mod">
          <ac:chgData name="Théodora DUPONT-COURTADE" userId="b06d61bd-3bc1-47a9-8acb-1faed11547af" providerId="ADAL" clId="{B6284D1A-71B0-43D0-A276-BF5B1397783A}" dt="2020-10-02T07:40:15.860" v="1061" actId="208"/>
          <ac:spMkLst>
            <pc:docMk/>
            <pc:sldMk cId="3417722506" sldId="7084"/>
            <ac:spMk id="101" creationId="{0AA09C67-16AE-4EA0-9BBF-7DF54EA56637}"/>
          </ac:spMkLst>
        </pc:spChg>
        <pc:spChg chg="mod">
          <ac:chgData name="Théodora DUPONT-COURTADE" userId="b06d61bd-3bc1-47a9-8acb-1faed11547af" providerId="ADAL" clId="{B6284D1A-71B0-43D0-A276-BF5B1397783A}" dt="2020-10-02T07:40:15.860" v="1061" actId="208"/>
          <ac:spMkLst>
            <pc:docMk/>
            <pc:sldMk cId="3417722506" sldId="7084"/>
            <ac:spMk id="102" creationId="{34D6A713-6BBF-4CF3-A09F-1A588BB762D8}"/>
          </ac:spMkLst>
        </pc:spChg>
        <pc:spChg chg="mod">
          <ac:chgData name="Théodora DUPONT-COURTADE" userId="b06d61bd-3bc1-47a9-8acb-1faed11547af" providerId="ADAL" clId="{B6284D1A-71B0-43D0-A276-BF5B1397783A}" dt="2020-10-02T07:40:15.860" v="1061" actId="208"/>
          <ac:spMkLst>
            <pc:docMk/>
            <pc:sldMk cId="3417722506" sldId="7084"/>
            <ac:spMk id="103" creationId="{0003CD2D-2D46-4917-882C-E758A007C9D8}"/>
          </ac:spMkLst>
        </pc:spChg>
        <pc:spChg chg="mod">
          <ac:chgData name="Théodora DUPONT-COURTADE" userId="b06d61bd-3bc1-47a9-8acb-1faed11547af" providerId="ADAL" clId="{B6284D1A-71B0-43D0-A276-BF5B1397783A}" dt="2020-10-02T07:40:15.860" v="1061" actId="208"/>
          <ac:spMkLst>
            <pc:docMk/>
            <pc:sldMk cId="3417722506" sldId="7084"/>
            <ac:spMk id="104" creationId="{2BF4F422-5695-4F9D-9EDA-1E5EC85A3312}"/>
          </ac:spMkLst>
        </pc:spChg>
        <pc:spChg chg="mod">
          <ac:chgData name="Théodora DUPONT-COURTADE" userId="b06d61bd-3bc1-47a9-8acb-1faed11547af" providerId="ADAL" clId="{B6284D1A-71B0-43D0-A276-BF5B1397783A}" dt="2020-10-02T07:40:15.860" v="1061" actId="208"/>
          <ac:spMkLst>
            <pc:docMk/>
            <pc:sldMk cId="3417722506" sldId="7084"/>
            <ac:spMk id="105" creationId="{DC903008-8519-43D0-AE9F-DC8EFC5DCBE3}"/>
          </ac:spMkLst>
        </pc:spChg>
        <pc:spChg chg="mod">
          <ac:chgData name="Théodora DUPONT-COURTADE" userId="b06d61bd-3bc1-47a9-8acb-1faed11547af" providerId="ADAL" clId="{B6284D1A-71B0-43D0-A276-BF5B1397783A}" dt="2020-10-02T12:57:28.506" v="6077" actId="20577"/>
          <ac:spMkLst>
            <pc:docMk/>
            <pc:sldMk cId="3417722506" sldId="7084"/>
            <ac:spMk id="106" creationId="{0F646353-9C4D-4C65-9F17-6D8AED1AE9BE}"/>
          </ac:spMkLst>
        </pc:spChg>
        <pc:spChg chg="mod">
          <ac:chgData name="Théodora DUPONT-COURTADE" userId="b06d61bd-3bc1-47a9-8acb-1faed11547af" providerId="ADAL" clId="{B6284D1A-71B0-43D0-A276-BF5B1397783A}" dt="2020-10-02T12:57:38.580" v="6078" actId="571"/>
          <ac:spMkLst>
            <pc:docMk/>
            <pc:sldMk cId="3417722506" sldId="7084"/>
            <ac:spMk id="153" creationId="{7720DBF2-942C-4D16-A45B-A384EA5F708C}"/>
          </ac:spMkLst>
        </pc:spChg>
        <pc:spChg chg="mod">
          <ac:chgData name="Théodora DUPONT-COURTADE" userId="b06d61bd-3bc1-47a9-8acb-1faed11547af" providerId="ADAL" clId="{B6284D1A-71B0-43D0-A276-BF5B1397783A}" dt="2020-10-02T12:57:38.580" v="6078" actId="571"/>
          <ac:spMkLst>
            <pc:docMk/>
            <pc:sldMk cId="3417722506" sldId="7084"/>
            <ac:spMk id="154" creationId="{053E4388-7215-410B-85B9-81BB11E696EA}"/>
          </ac:spMkLst>
        </pc:spChg>
        <pc:spChg chg="mod">
          <ac:chgData name="Théodora DUPONT-COURTADE" userId="b06d61bd-3bc1-47a9-8acb-1faed11547af" providerId="ADAL" clId="{B6284D1A-71B0-43D0-A276-BF5B1397783A}" dt="2020-10-02T12:57:38.580" v="6078" actId="571"/>
          <ac:spMkLst>
            <pc:docMk/>
            <pc:sldMk cId="3417722506" sldId="7084"/>
            <ac:spMk id="155" creationId="{895AE859-DFD7-474E-852B-59184DC7B451}"/>
          </ac:spMkLst>
        </pc:spChg>
        <pc:spChg chg="mod">
          <ac:chgData name="Théodora DUPONT-COURTADE" userId="b06d61bd-3bc1-47a9-8acb-1faed11547af" providerId="ADAL" clId="{B6284D1A-71B0-43D0-A276-BF5B1397783A}" dt="2020-10-02T12:57:38.580" v="6078" actId="571"/>
          <ac:spMkLst>
            <pc:docMk/>
            <pc:sldMk cId="3417722506" sldId="7084"/>
            <ac:spMk id="156" creationId="{E7EEF5EE-58FC-4431-BB3B-FC575194C6CB}"/>
          </ac:spMkLst>
        </pc:spChg>
        <pc:spChg chg="mod">
          <ac:chgData name="Théodora DUPONT-COURTADE" userId="b06d61bd-3bc1-47a9-8acb-1faed11547af" providerId="ADAL" clId="{B6284D1A-71B0-43D0-A276-BF5B1397783A}" dt="2020-10-02T12:57:38.580" v="6078" actId="571"/>
          <ac:spMkLst>
            <pc:docMk/>
            <pc:sldMk cId="3417722506" sldId="7084"/>
            <ac:spMk id="157" creationId="{4DCC8AE3-2B6B-4848-84DE-D14A12B8C2F8}"/>
          </ac:spMkLst>
        </pc:spChg>
        <pc:spChg chg="mod">
          <ac:chgData name="Théodora DUPONT-COURTADE" userId="b06d61bd-3bc1-47a9-8acb-1faed11547af" providerId="ADAL" clId="{B6284D1A-71B0-43D0-A276-BF5B1397783A}" dt="2020-10-02T12:57:38.580" v="6078" actId="571"/>
          <ac:spMkLst>
            <pc:docMk/>
            <pc:sldMk cId="3417722506" sldId="7084"/>
            <ac:spMk id="158" creationId="{29B05885-1FE9-45E7-84ED-532DCD4BDA6E}"/>
          </ac:spMkLst>
        </pc:spChg>
        <pc:spChg chg="mod">
          <ac:chgData name="Théodora DUPONT-COURTADE" userId="b06d61bd-3bc1-47a9-8acb-1faed11547af" providerId="ADAL" clId="{B6284D1A-71B0-43D0-A276-BF5B1397783A}" dt="2020-10-02T12:57:38.580" v="6078" actId="571"/>
          <ac:spMkLst>
            <pc:docMk/>
            <pc:sldMk cId="3417722506" sldId="7084"/>
            <ac:spMk id="159" creationId="{164A2F1B-83DF-4DF4-B060-8BBDA2C11914}"/>
          </ac:spMkLst>
        </pc:spChg>
        <pc:spChg chg="mod">
          <ac:chgData name="Théodora DUPONT-COURTADE" userId="b06d61bd-3bc1-47a9-8acb-1faed11547af" providerId="ADAL" clId="{B6284D1A-71B0-43D0-A276-BF5B1397783A}" dt="2020-10-02T12:57:38.580" v="6078" actId="571"/>
          <ac:spMkLst>
            <pc:docMk/>
            <pc:sldMk cId="3417722506" sldId="7084"/>
            <ac:spMk id="160" creationId="{2B7EE5CD-1D25-4C56-9523-65A8A66AF416}"/>
          </ac:spMkLst>
        </pc:spChg>
        <pc:spChg chg="mod">
          <ac:chgData name="Théodora DUPONT-COURTADE" userId="b06d61bd-3bc1-47a9-8acb-1faed11547af" providerId="ADAL" clId="{B6284D1A-71B0-43D0-A276-BF5B1397783A}" dt="2020-10-02T12:57:38.580" v="6078" actId="571"/>
          <ac:spMkLst>
            <pc:docMk/>
            <pc:sldMk cId="3417722506" sldId="7084"/>
            <ac:spMk id="161" creationId="{38BEAD55-FF7A-4D4E-BAD3-FA22BE0B9232}"/>
          </ac:spMkLst>
        </pc:spChg>
        <pc:spChg chg="mod">
          <ac:chgData name="Théodora DUPONT-COURTADE" userId="b06d61bd-3bc1-47a9-8acb-1faed11547af" providerId="ADAL" clId="{B6284D1A-71B0-43D0-A276-BF5B1397783A}" dt="2020-10-02T12:57:38.580" v="6078" actId="571"/>
          <ac:spMkLst>
            <pc:docMk/>
            <pc:sldMk cId="3417722506" sldId="7084"/>
            <ac:spMk id="162" creationId="{0503694D-D82C-4A95-978C-97720BC31C91}"/>
          </ac:spMkLst>
        </pc:spChg>
        <pc:spChg chg="mod">
          <ac:chgData name="Théodora DUPONT-COURTADE" userId="b06d61bd-3bc1-47a9-8acb-1faed11547af" providerId="ADAL" clId="{B6284D1A-71B0-43D0-A276-BF5B1397783A}" dt="2020-10-02T12:57:38.580" v="6078" actId="571"/>
          <ac:spMkLst>
            <pc:docMk/>
            <pc:sldMk cId="3417722506" sldId="7084"/>
            <ac:spMk id="163" creationId="{ECBD1F4D-B6E0-4C15-A259-380973571E7D}"/>
          </ac:spMkLst>
        </pc:spChg>
        <pc:spChg chg="mod">
          <ac:chgData name="Théodora DUPONT-COURTADE" userId="b06d61bd-3bc1-47a9-8acb-1faed11547af" providerId="ADAL" clId="{B6284D1A-71B0-43D0-A276-BF5B1397783A}" dt="2020-10-02T12:57:38.580" v="6078" actId="571"/>
          <ac:spMkLst>
            <pc:docMk/>
            <pc:sldMk cId="3417722506" sldId="7084"/>
            <ac:spMk id="164" creationId="{C9784ED0-2E9E-4B04-A9BB-8BDBE1D12D70}"/>
          </ac:spMkLst>
        </pc:spChg>
        <pc:grpChg chg="add mod">
          <ac:chgData name="Théodora DUPONT-COURTADE" userId="b06d61bd-3bc1-47a9-8acb-1faed11547af" providerId="ADAL" clId="{B6284D1A-71B0-43D0-A276-BF5B1397783A}" dt="2020-10-02T07:40:31.839" v="1066" actId="1036"/>
          <ac:grpSpMkLst>
            <pc:docMk/>
            <pc:sldMk cId="3417722506" sldId="7084"/>
            <ac:grpSpMk id="82" creationId="{D5BE3789-609C-4CC2-9EE2-8319CCF9785F}"/>
          </ac:grpSpMkLst>
        </pc:grpChg>
        <pc:grpChg chg="add mod">
          <ac:chgData name="Théodora DUPONT-COURTADE" userId="b06d61bd-3bc1-47a9-8acb-1faed11547af" providerId="ADAL" clId="{B6284D1A-71B0-43D0-A276-BF5B1397783A}" dt="2020-10-02T12:57:38.580" v="6078" actId="571"/>
          <ac:grpSpMkLst>
            <pc:docMk/>
            <pc:sldMk cId="3417722506" sldId="7084"/>
            <ac:grpSpMk id="152" creationId="{78E470A0-F979-406D-81E2-CA94C9BB68B3}"/>
          </ac:grpSpMkLst>
        </pc:grpChg>
      </pc:sldChg>
      <pc:sldChg chg="addSp delSp modSp mod">
        <pc:chgData name="Théodora DUPONT-COURTADE" userId="b06d61bd-3bc1-47a9-8acb-1faed11547af" providerId="ADAL" clId="{B6284D1A-71B0-43D0-A276-BF5B1397783A}" dt="2020-10-02T13:47:06.331" v="9781" actId="948"/>
        <pc:sldMkLst>
          <pc:docMk/>
          <pc:sldMk cId="1837159450" sldId="7085"/>
        </pc:sldMkLst>
        <pc:spChg chg="add del mod">
          <ac:chgData name="Théodora DUPONT-COURTADE" userId="b06d61bd-3bc1-47a9-8acb-1faed11547af" providerId="ADAL" clId="{B6284D1A-71B0-43D0-A276-BF5B1397783A}" dt="2020-10-02T13:46:15.906" v="9744" actId="478"/>
          <ac:spMkLst>
            <pc:docMk/>
            <pc:sldMk cId="1837159450" sldId="7085"/>
            <ac:spMk id="4" creationId="{1E6AEE7D-5D62-4C67-AA81-0A29E0F2AB9A}"/>
          </ac:spMkLst>
        </pc:spChg>
        <pc:spChg chg="mod">
          <ac:chgData name="Théodora DUPONT-COURTADE" userId="b06d61bd-3bc1-47a9-8acb-1faed11547af" providerId="ADAL" clId="{B6284D1A-71B0-43D0-A276-BF5B1397783A}" dt="2020-10-02T07:42:05.410" v="1070" actId="207"/>
          <ac:spMkLst>
            <pc:docMk/>
            <pc:sldMk cId="1837159450" sldId="7085"/>
            <ac:spMk id="55" creationId="{BC1CA0FF-8AEF-4307-9369-5C5EE7A5F189}"/>
          </ac:spMkLst>
        </pc:spChg>
        <pc:spChg chg="mod">
          <ac:chgData name="Théodora DUPONT-COURTADE" userId="b06d61bd-3bc1-47a9-8acb-1faed11547af" providerId="ADAL" clId="{B6284D1A-71B0-43D0-A276-BF5B1397783A}" dt="2020-10-02T13:47:06.331" v="9781" actId="948"/>
          <ac:spMkLst>
            <pc:docMk/>
            <pc:sldMk cId="1837159450" sldId="7085"/>
            <ac:spMk id="270" creationId="{EE8FF9BB-191A-489D-86A8-71487C277B94}"/>
          </ac:spMkLst>
        </pc:spChg>
      </pc:sldChg>
      <pc:sldChg chg="modSp mod">
        <pc:chgData name="Théodora DUPONT-COURTADE" userId="b06d61bd-3bc1-47a9-8acb-1faed11547af" providerId="ADAL" clId="{B6284D1A-71B0-43D0-A276-BF5B1397783A}" dt="2020-10-02T07:49:45.739" v="3544" actId="6549"/>
        <pc:sldMkLst>
          <pc:docMk/>
          <pc:sldMk cId="4166291675" sldId="7086"/>
        </pc:sldMkLst>
        <pc:spChg chg="mod">
          <ac:chgData name="Théodora DUPONT-COURTADE" userId="b06d61bd-3bc1-47a9-8acb-1faed11547af" providerId="ADAL" clId="{B6284D1A-71B0-43D0-A276-BF5B1397783A}" dt="2020-10-02T07:49:45.739" v="3544" actId="6549"/>
          <ac:spMkLst>
            <pc:docMk/>
            <pc:sldMk cId="4166291675" sldId="7086"/>
            <ac:spMk id="21" creationId="{F639CB13-89E0-4076-8B02-146C16F07D20}"/>
          </ac:spMkLst>
        </pc:spChg>
        <pc:spChg chg="mod">
          <ac:chgData name="Théodora DUPONT-COURTADE" userId="b06d61bd-3bc1-47a9-8acb-1faed11547af" providerId="ADAL" clId="{B6284D1A-71B0-43D0-A276-BF5B1397783A}" dt="2020-10-02T07:49:27.454" v="3540" actId="207"/>
          <ac:spMkLst>
            <pc:docMk/>
            <pc:sldMk cId="4166291675" sldId="7086"/>
            <ac:spMk id="42" creationId="{5F629B99-01EE-46E7-8762-68B039E51D99}"/>
          </ac:spMkLst>
        </pc:spChg>
      </pc:sldChg>
      <pc:sldChg chg="delSp modSp mod">
        <pc:chgData name="Théodora DUPONT-COURTADE" userId="b06d61bd-3bc1-47a9-8acb-1faed11547af" providerId="ADAL" clId="{B6284D1A-71B0-43D0-A276-BF5B1397783A}" dt="2020-10-02T13:07:45.150" v="6173" actId="207"/>
        <pc:sldMkLst>
          <pc:docMk/>
          <pc:sldMk cId="853049378" sldId="7087"/>
        </pc:sldMkLst>
        <pc:spChg chg="mod">
          <ac:chgData name="Théodora DUPONT-COURTADE" userId="b06d61bd-3bc1-47a9-8acb-1faed11547af" providerId="ADAL" clId="{B6284D1A-71B0-43D0-A276-BF5B1397783A}" dt="2020-10-02T13:03:21.496" v="6137" actId="6549"/>
          <ac:spMkLst>
            <pc:docMk/>
            <pc:sldMk cId="853049378" sldId="7087"/>
            <ac:spMk id="2" creationId="{1D825224-5426-45FB-95E4-C5F4C82DBF4A}"/>
          </ac:spMkLst>
        </pc:spChg>
        <pc:spChg chg="del">
          <ac:chgData name="Théodora DUPONT-COURTADE" userId="b06d61bd-3bc1-47a9-8acb-1faed11547af" providerId="ADAL" clId="{B6284D1A-71B0-43D0-A276-BF5B1397783A}" dt="2020-10-02T13:06:47.587" v="6162" actId="478"/>
          <ac:spMkLst>
            <pc:docMk/>
            <pc:sldMk cId="853049378" sldId="7087"/>
            <ac:spMk id="4" creationId="{95FF805A-CC87-4AC0-8B4E-37D7811F5119}"/>
          </ac:spMkLst>
        </pc:spChg>
        <pc:spChg chg="mod">
          <ac:chgData name="Théodora DUPONT-COURTADE" userId="b06d61bd-3bc1-47a9-8acb-1faed11547af" providerId="ADAL" clId="{B6284D1A-71B0-43D0-A276-BF5B1397783A}" dt="2020-10-02T12:22:43.552" v="4761" actId="6549"/>
          <ac:spMkLst>
            <pc:docMk/>
            <pc:sldMk cId="853049378" sldId="7087"/>
            <ac:spMk id="17" creationId="{85D65150-60A3-4C47-88CD-107E3DDF8567}"/>
          </ac:spMkLst>
        </pc:spChg>
        <pc:spChg chg="mod">
          <ac:chgData name="Théodora DUPONT-COURTADE" userId="b06d61bd-3bc1-47a9-8acb-1faed11547af" providerId="ADAL" clId="{B6284D1A-71B0-43D0-A276-BF5B1397783A}" dt="2020-10-02T13:03:21.327" v="6133" actId="6549"/>
          <ac:spMkLst>
            <pc:docMk/>
            <pc:sldMk cId="853049378" sldId="7087"/>
            <ac:spMk id="20" creationId="{D7D998A4-C0A2-4344-97DF-ADA1A0B20363}"/>
          </ac:spMkLst>
        </pc:spChg>
        <pc:spChg chg="mod">
          <ac:chgData name="Théodora DUPONT-COURTADE" userId="b06d61bd-3bc1-47a9-8acb-1faed11547af" providerId="ADAL" clId="{B6284D1A-71B0-43D0-A276-BF5B1397783A}" dt="2020-10-02T13:05:30.917" v="6161" actId="6549"/>
          <ac:spMkLst>
            <pc:docMk/>
            <pc:sldMk cId="853049378" sldId="7087"/>
            <ac:spMk id="21" creationId="{F639CB13-89E0-4076-8B02-146C16F07D20}"/>
          </ac:spMkLst>
        </pc:spChg>
        <pc:spChg chg="del">
          <ac:chgData name="Théodora DUPONT-COURTADE" userId="b06d61bd-3bc1-47a9-8acb-1faed11547af" providerId="ADAL" clId="{B6284D1A-71B0-43D0-A276-BF5B1397783A}" dt="2020-10-02T13:03:31.416" v="6140" actId="478"/>
          <ac:spMkLst>
            <pc:docMk/>
            <pc:sldMk cId="853049378" sldId="7087"/>
            <ac:spMk id="36" creationId="{9DE32B66-83A3-4B68-8110-6E0424751A5A}"/>
          </ac:spMkLst>
        </pc:spChg>
        <pc:spChg chg="mod">
          <ac:chgData name="Théodora DUPONT-COURTADE" userId="b06d61bd-3bc1-47a9-8acb-1faed11547af" providerId="ADAL" clId="{B6284D1A-71B0-43D0-A276-BF5B1397783A}" dt="2020-10-02T13:07:45.150" v="6173" actId="207"/>
          <ac:spMkLst>
            <pc:docMk/>
            <pc:sldMk cId="853049378" sldId="7087"/>
            <ac:spMk id="62" creationId="{8FEA233B-E030-43CC-8BB2-501CFC0FB963}"/>
          </ac:spMkLst>
        </pc:spChg>
        <pc:spChg chg="del">
          <ac:chgData name="Théodora DUPONT-COURTADE" userId="b06d61bd-3bc1-47a9-8acb-1faed11547af" providerId="ADAL" clId="{B6284D1A-71B0-43D0-A276-BF5B1397783A}" dt="2020-10-02T13:06:50.832" v="6163" actId="478"/>
          <ac:spMkLst>
            <pc:docMk/>
            <pc:sldMk cId="853049378" sldId="7087"/>
            <ac:spMk id="87" creationId="{B45E02C2-ED5A-450D-A9FA-8B8094A57CF2}"/>
          </ac:spMkLst>
        </pc:spChg>
        <pc:spChg chg="del">
          <ac:chgData name="Théodora DUPONT-COURTADE" userId="b06d61bd-3bc1-47a9-8acb-1faed11547af" providerId="ADAL" clId="{B6284D1A-71B0-43D0-A276-BF5B1397783A}" dt="2020-10-02T13:07:14.246" v="6172" actId="478"/>
          <ac:spMkLst>
            <pc:docMk/>
            <pc:sldMk cId="853049378" sldId="7087"/>
            <ac:spMk id="88" creationId="{C21DEAE7-6759-4A96-86F1-860557645CAC}"/>
          </ac:spMkLst>
        </pc:spChg>
        <pc:graphicFrameChg chg="mod">
          <ac:chgData name="Théodora DUPONT-COURTADE" userId="b06d61bd-3bc1-47a9-8acb-1faed11547af" providerId="ADAL" clId="{B6284D1A-71B0-43D0-A276-BF5B1397783A}" dt="2020-10-02T13:03:22.031" v="6139"/>
          <ac:graphicFrameMkLst>
            <pc:docMk/>
            <pc:sldMk cId="853049378" sldId="7087"/>
            <ac:graphicFrameMk id="14" creationId="{7ECA7587-5D4D-4C77-BC7A-FBCB26E9B679}"/>
          </ac:graphicFrameMkLst>
        </pc:graphicFrameChg>
      </pc:sldChg>
      <pc:sldChg chg="addSp delSp modSp del mod">
        <pc:chgData name="Théodora DUPONT-COURTADE" userId="b06d61bd-3bc1-47a9-8acb-1faed11547af" providerId="ADAL" clId="{B6284D1A-71B0-43D0-A276-BF5B1397783A}" dt="2020-10-02T13:33:22.401" v="9620" actId="47"/>
        <pc:sldMkLst>
          <pc:docMk/>
          <pc:sldMk cId="554771587" sldId="7089"/>
        </pc:sldMkLst>
        <pc:spChg chg="add del">
          <ac:chgData name="Théodora DUPONT-COURTADE" userId="b06d61bd-3bc1-47a9-8acb-1faed11547af" providerId="ADAL" clId="{B6284D1A-71B0-43D0-A276-BF5B1397783A}" dt="2020-10-02T07:23:19.003" v="431" actId="478"/>
          <ac:spMkLst>
            <pc:docMk/>
            <pc:sldMk cId="554771587" sldId="7089"/>
            <ac:spMk id="4" creationId="{A0FAFCF9-A9FF-4AE1-9F2C-0C650DAA83BA}"/>
          </ac:spMkLst>
        </pc:spChg>
        <pc:spChg chg="mod">
          <ac:chgData name="Théodora DUPONT-COURTADE" userId="b06d61bd-3bc1-47a9-8acb-1faed11547af" providerId="ADAL" clId="{B6284D1A-71B0-43D0-A276-BF5B1397783A}" dt="2020-10-02T12:51:14.888" v="5950"/>
          <ac:spMkLst>
            <pc:docMk/>
            <pc:sldMk cId="554771587" sldId="7089"/>
            <ac:spMk id="70" creationId="{D6ECC423-047F-4FFA-A595-20B725419789}"/>
          </ac:spMkLst>
        </pc:spChg>
        <pc:spChg chg="add mod">
          <ac:chgData name="Théodora DUPONT-COURTADE" userId="b06d61bd-3bc1-47a9-8acb-1faed11547af" providerId="ADAL" clId="{B6284D1A-71B0-43D0-A276-BF5B1397783A}" dt="2020-10-02T07:56:45.108" v="4116" actId="20577"/>
          <ac:spMkLst>
            <pc:docMk/>
            <pc:sldMk cId="554771587" sldId="7089"/>
            <ac:spMk id="170" creationId="{1C48ADE2-F6FF-426A-BBA4-50E75CA8948A}"/>
          </ac:spMkLst>
        </pc:spChg>
      </pc:sldChg>
      <pc:sldChg chg="modSp">
        <pc:chgData name="Théodora DUPONT-COURTADE" userId="b06d61bd-3bc1-47a9-8acb-1faed11547af" providerId="ADAL" clId="{B6284D1A-71B0-43D0-A276-BF5B1397783A}" dt="2020-10-02T12:50:55.801" v="5949"/>
        <pc:sldMkLst>
          <pc:docMk/>
          <pc:sldMk cId="3793351039" sldId="7090"/>
        </pc:sldMkLst>
        <pc:spChg chg="mod">
          <ac:chgData name="Théodora DUPONT-COURTADE" userId="b06d61bd-3bc1-47a9-8acb-1faed11547af" providerId="ADAL" clId="{B6284D1A-71B0-43D0-A276-BF5B1397783A}" dt="2020-10-02T12:50:55.801" v="5949"/>
          <ac:spMkLst>
            <pc:docMk/>
            <pc:sldMk cId="3793351039" sldId="7090"/>
            <ac:spMk id="9" creationId="{624CC054-0A35-4E7C-A671-C465564E0783}"/>
          </ac:spMkLst>
        </pc:spChg>
      </pc:sldChg>
      <pc:sldChg chg="modSp">
        <pc:chgData name="Théodora DUPONT-COURTADE" userId="b06d61bd-3bc1-47a9-8acb-1faed11547af" providerId="ADAL" clId="{B6284D1A-71B0-43D0-A276-BF5B1397783A}" dt="2020-10-02T12:50:55.801" v="5949"/>
        <pc:sldMkLst>
          <pc:docMk/>
          <pc:sldMk cId="3679436148" sldId="7091"/>
        </pc:sldMkLst>
        <pc:spChg chg="mod">
          <ac:chgData name="Théodora DUPONT-COURTADE" userId="b06d61bd-3bc1-47a9-8acb-1faed11547af" providerId="ADAL" clId="{B6284D1A-71B0-43D0-A276-BF5B1397783A}" dt="2020-10-02T12:50:55.801" v="5949"/>
          <ac:spMkLst>
            <pc:docMk/>
            <pc:sldMk cId="3679436148" sldId="7091"/>
            <ac:spMk id="9" creationId="{624CC054-0A35-4E7C-A671-C465564E0783}"/>
          </ac:spMkLst>
        </pc:spChg>
      </pc:sldChg>
      <pc:sldChg chg="modSp mod">
        <pc:chgData name="Théodora DUPONT-COURTADE" userId="b06d61bd-3bc1-47a9-8acb-1faed11547af" providerId="ADAL" clId="{B6284D1A-71B0-43D0-A276-BF5B1397783A}" dt="2020-10-02T12:52:43.912" v="5975" actId="20577"/>
        <pc:sldMkLst>
          <pc:docMk/>
          <pc:sldMk cId="1289821407" sldId="7092"/>
        </pc:sldMkLst>
        <pc:spChg chg="mod">
          <ac:chgData name="Théodora DUPONT-COURTADE" userId="b06d61bd-3bc1-47a9-8acb-1faed11547af" providerId="ADAL" clId="{B6284D1A-71B0-43D0-A276-BF5B1397783A}" dt="2020-10-02T12:50:55.801" v="5949"/>
          <ac:spMkLst>
            <pc:docMk/>
            <pc:sldMk cId="1289821407" sldId="7092"/>
            <ac:spMk id="2" creationId="{1D825224-5426-45FB-95E4-C5F4C82DBF4A}"/>
          </ac:spMkLst>
        </pc:spChg>
        <pc:spChg chg="mod">
          <ac:chgData name="Théodora DUPONT-COURTADE" userId="b06d61bd-3bc1-47a9-8acb-1faed11547af" providerId="ADAL" clId="{B6284D1A-71B0-43D0-A276-BF5B1397783A}" dt="2020-10-02T12:52:43.912" v="5975" actId="20577"/>
          <ac:spMkLst>
            <pc:docMk/>
            <pc:sldMk cId="1289821407" sldId="7092"/>
            <ac:spMk id="21" creationId="{F639CB13-89E0-4076-8B02-146C16F07D20}"/>
          </ac:spMkLst>
        </pc:spChg>
        <pc:spChg chg="mod">
          <ac:chgData name="Théodora DUPONT-COURTADE" userId="b06d61bd-3bc1-47a9-8acb-1faed11547af" providerId="ADAL" clId="{B6284D1A-71B0-43D0-A276-BF5B1397783A}" dt="2020-10-02T12:50:55.801" v="5949"/>
          <ac:spMkLst>
            <pc:docMk/>
            <pc:sldMk cId="1289821407" sldId="7092"/>
            <ac:spMk id="28" creationId="{97F94F33-7EAF-42D8-8360-C29C2FD824E8}"/>
          </ac:spMkLst>
        </pc:spChg>
        <pc:spChg chg="mod">
          <ac:chgData name="Théodora DUPONT-COURTADE" userId="b06d61bd-3bc1-47a9-8acb-1faed11547af" providerId="ADAL" clId="{B6284D1A-71B0-43D0-A276-BF5B1397783A}" dt="2020-10-02T12:50:55.801" v="5949"/>
          <ac:spMkLst>
            <pc:docMk/>
            <pc:sldMk cId="1289821407" sldId="7092"/>
            <ac:spMk id="47" creationId="{CE606840-EBDB-45C2-BC52-FC4AB35FAAD2}"/>
          </ac:spMkLst>
        </pc:spChg>
        <pc:spChg chg="mod">
          <ac:chgData name="Théodora DUPONT-COURTADE" userId="b06d61bd-3bc1-47a9-8acb-1faed11547af" providerId="ADAL" clId="{B6284D1A-71B0-43D0-A276-BF5B1397783A}" dt="2020-10-02T12:50:42.297" v="5948"/>
          <ac:spMkLst>
            <pc:docMk/>
            <pc:sldMk cId="1289821407" sldId="7092"/>
            <ac:spMk id="63" creationId="{A31FAE80-DEAB-4E1D-843B-4F047FD7013E}"/>
          </ac:spMkLst>
        </pc:spChg>
        <pc:spChg chg="mod">
          <ac:chgData name="Théodora DUPONT-COURTADE" userId="b06d61bd-3bc1-47a9-8acb-1faed11547af" providerId="ADAL" clId="{B6284D1A-71B0-43D0-A276-BF5B1397783A}" dt="2020-10-02T12:50:55.801" v="5949"/>
          <ac:spMkLst>
            <pc:docMk/>
            <pc:sldMk cId="1289821407" sldId="7092"/>
            <ac:spMk id="68" creationId="{E453CFA4-F568-411F-9677-654351120C36}"/>
          </ac:spMkLst>
        </pc:spChg>
        <pc:spChg chg="mod">
          <ac:chgData name="Théodora DUPONT-COURTADE" userId="b06d61bd-3bc1-47a9-8acb-1faed11547af" providerId="ADAL" clId="{B6284D1A-71B0-43D0-A276-BF5B1397783A}" dt="2020-10-02T12:50:55.801" v="5949"/>
          <ac:spMkLst>
            <pc:docMk/>
            <pc:sldMk cId="1289821407" sldId="7092"/>
            <ac:spMk id="70" creationId="{963F2C6E-D916-472D-80A0-39A6BF67CCE7}"/>
          </ac:spMkLst>
        </pc:spChg>
      </pc:sldChg>
      <pc:sldChg chg="addSp delSp modSp mod">
        <pc:chgData name="Théodora DUPONT-COURTADE" userId="b06d61bd-3bc1-47a9-8acb-1faed11547af" providerId="ADAL" clId="{B6284D1A-71B0-43D0-A276-BF5B1397783A}" dt="2020-10-07T08:52:25.924" v="16405"/>
        <pc:sldMkLst>
          <pc:docMk/>
          <pc:sldMk cId="2603419662" sldId="7093"/>
        </pc:sldMkLst>
        <pc:spChg chg="mod">
          <ac:chgData name="Théodora DUPONT-COURTADE" userId="b06d61bd-3bc1-47a9-8acb-1faed11547af" providerId="ADAL" clId="{B6284D1A-71B0-43D0-A276-BF5B1397783A}" dt="2020-10-02T13:32:37.057" v="9617" actId="6549"/>
          <ac:spMkLst>
            <pc:docMk/>
            <pc:sldMk cId="2603419662" sldId="7093"/>
            <ac:spMk id="68" creationId="{EACF4C40-5F5A-4F7F-BA6B-57A106712858}"/>
          </ac:spMkLst>
        </pc:spChg>
        <pc:spChg chg="mod">
          <ac:chgData name="Théodora DUPONT-COURTADE" userId="b06d61bd-3bc1-47a9-8acb-1faed11547af" providerId="ADAL" clId="{B6284D1A-71B0-43D0-A276-BF5B1397783A}" dt="2020-10-02T13:27:28.917" v="9430" actId="1035"/>
          <ac:spMkLst>
            <pc:docMk/>
            <pc:sldMk cId="2603419662" sldId="7093"/>
            <ac:spMk id="69" creationId="{14932ABF-B3F2-4614-9FA3-744906B2F197}"/>
          </ac:spMkLst>
        </pc:spChg>
        <pc:spChg chg="mod">
          <ac:chgData name="Théodora DUPONT-COURTADE" userId="b06d61bd-3bc1-47a9-8acb-1faed11547af" providerId="ADAL" clId="{B6284D1A-71B0-43D0-A276-BF5B1397783A}" dt="2020-10-02T13:27:35.276" v="9437" actId="1036"/>
          <ac:spMkLst>
            <pc:docMk/>
            <pc:sldMk cId="2603419662" sldId="7093"/>
            <ac:spMk id="70" creationId="{D6ECC423-047F-4FFA-A595-20B725419789}"/>
          </ac:spMkLst>
        </pc:spChg>
        <pc:spChg chg="mod">
          <ac:chgData name="Théodora DUPONT-COURTADE" userId="b06d61bd-3bc1-47a9-8acb-1faed11547af" providerId="ADAL" clId="{B6284D1A-71B0-43D0-A276-BF5B1397783A}" dt="2020-10-02T13:27:18.915" v="9422" actId="1076"/>
          <ac:spMkLst>
            <pc:docMk/>
            <pc:sldMk cId="2603419662" sldId="7093"/>
            <ac:spMk id="71" creationId="{AD9B7B8C-EC95-4D2A-9D6F-36CF469DC9DC}"/>
          </ac:spMkLst>
        </pc:spChg>
        <pc:spChg chg="del mod">
          <ac:chgData name="Théodora DUPONT-COURTADE" userId="b06d61bd-3bc1-47a9-8acb-1faed11547af" providerId="ADAL" clId="{B6284D1A-71B0-43D0-A276-BF5B1397783A}" dt="2020-10-07T08:52:25.269" v="16404" actId="478"/>
          <ac:spMkLst>
            <pc:docMk/>
            <pc:sldMk cId="2603419662" sldId="7093"/>
            <ac:spMk id="79" creationId="{CD19E6A4-8567-4F4C-8660-64A9310AA4D4}"/>
          </ac:spMkLst>
        </pc:spChg>
        <pc:spChg chg="mod">
          <ac:chgData name="Théodora DUPONT-COURTADE" userId="b06d61bd-3bc1-47a9-8acb-1faed11547af" providerId="ADAL" clId="{B6284D1A-71B0-43D0-A276-BF5B1397783A}" dt="2020-10-02T13:27:35.276" v="9437" actId="1036"/>
          <ac:spMkLst>
            <pc:docMk/>
            <pc:sldMk cId="2603419662" sldId="7093"/>
            <ac:spMk id="80" creationId="{85224B74-BFCF-40D4-8F5A-4DBD358E4A6A}"/>
          </ac:spMkLst>
        </pc:spChg>
        <pc:spChg chg="mod">
          <ac:chgData name="Théodora DUPONT-COURTADE" userId="b06d61bd-3bc1-47a9-8acb-1faed11547af" providerId="ADAL" clId="{B6284D1A-71B0-43D0-A276-BF5B1397783A}" dt="2020-10-02T13:27:35.276" v="9437" actId="1036"/>
          <ac:spMkLst>
            <pc:docMk/>
            <pc:sldMk cId="2603419662" sldId="7093"/>
            <ac:spMk id="81" creationId="{67520AEC-ABAB-415A-ADD8-DF870797CCB0}"/>
          </ac:spMkLst>
        </pc:spChg>
        <pc:spChg chg="mod">
          <ac:chgData name="Théodora DUPONT-COURTADE" userId="b06d61bd-3bc1-47a9-8acb-1faed11547af" providerId="ADAL" clId="{B6284D1A-71B0-43D0-A276-BF5B1397783A}" dt="2020-10-02T13:27:18.915" v="9422" actId="1076"/>
          <ac:spMkLst>
            <pc:docMk/>
            <pc:sldMk cId="2603419662" sldId="7093"/>
            <ac:spMk id="82" creationId="{24EAE7A4-064F-4847-974C-384E1DE8F678}"/>
          </ac:spMkLst>
        </pc:spChg>
        <pc:spChg chg="mod">
          <ac:chgData name="Théodora DUPONT-COURTADE" userId="b06d61bd-3bc1-47a9-8acb-1faed11547af" providerId="ADAL" clId="{B6284D1A-71B0-43D0-A276-BF5B1397783A}" dt="2020-10-02T13:27:18.915" v="9422" actId="1076"/>
          <ac:spMkLst>
            <pc:docMk/>
            <pc:sldMk cId="2603419662" sldId="7093"/>
            <ac:spMk id="94" creationId="{9C9F2D24-9073-45C0-B88A-BB6D0AD2D5D0}"/>
          </ac:spMkLst>
        </pc:spChg>
        <pc:spChg chg="mod">
          <ac:chgData name="Théodora DUPONT-COURTADE" userId="b06d61bd-3bc1-47a9-8acb-1faed11547af" providerId="ADAL" clId="{B6284D1A-71B0-43D0-A276-BF5B1397783A}" dt="2020-10-02T13:27:18.915" v="9422" actId="1076"/>
          <ac:spMkLst>
            <pc:docMk/>
            <pc:sldMk cId="2603419662" sldId="7093"/>
            <ac:spMk id="95" creationId="{FE9A3CCF-0E1C-4A01-B825-6EC293BD6D25}"/>
          </ac:spMkLst>
        </pc:spChg>
        <pc:spChg chg="mod">
          <ac:chgData name="Théodora DUPONT-COURTADE" userId="b06d61bd-3bc1-47a9-8acb-1faed11547af" providerId="ADAL" clId="{B6284D1A-71B0-43D0-A276-BF5B1397783A}" dt="2020-10-02T13:27:18.915" v="9422" actId="1076"/>
          <ac:spMkLst>
            <pc:docMk/>
            <pc:sldMk cId="2603419662" sldId="7093"/>
            <ac:spMk id="96" creationId="{7F6CF344-8867-42BA-B9C8-1B0814B86C77}"/>
          </ac:spMkLst>
        </pc:spChg>
        <pc:spChg chg="mod">
          <ac:chgData name="Théodora DUPONT-COURTADE" userId="b06d61bd-3bc1-47a9-8acb-1faed11547af" providerId="ADAL" clId="{B6284D1A-71B0-43D0-A276-BF5B1397783A}" dt="2020-10-02T13:27:28.917" v="9430" actId="1035"/>
          <ac:spMkLst>
            <pc:docMk/>
            <pc:sldMk cId="2603419662" sldId="7093"/>
            <ac:spMk id="97" creationId="{89FD5C46-1A02-4BD4-BDD0-AE2F9F2302BC}"/>
          </ac:spMkLst>
        </pc:spChg>
        <pc:spChg chg="mod">
          <ac:chgData name="Théodora DUPONT-COURTADE" userId="b06d61bd-3bc1-47a9-8acb-1faed11547af" providerId="ADAL" clId="{B6284D1A-71B0-43D0-A276-BF5B1397783A}" dt="2020-10-02T13:27:35.276" v="9437" actId="1036"/>
          <ac:spMkLst>
            <pc:docMk/>
            <pc:sldMk cId="2603419662" sldId="7093"/>
            <ac:spMk id="103" creationId="{61ABFF05-F090-4F9C-9748-EB4E2AC9ACBA}"/>
          </ac:spMkLst>
        </pc:spChg>
        <pc:spChg chg="mod">
          <ac:chgData name="Théodora DUPONT-COURTADE" userId="b06d61bd-3bc1-47a9-8acb-1faed11547af" providerId="ADAL" clId="{B6284D1A-71B0-43D0-A276-BF5B1397783A}" dt="2020-10-02T13:27:35.276" v="9437" actId="1036"/>
          <ac:spMkLst>
            <pc:docMk/>
            <pc:sldMk cId="2603419662" sldId="7093"/>
            <ac:spMk id="105" creationId="{202D74BB-1153-480E-86C5-37803D6DAC96}"/>
          </ac:spMkLst>
        </pc:spChg>
        <pc:spChg chg="del mod">
          <ac:chgData name="Théodora DUPONT-COURTADE" userId="b06d61bd-3bc1-47a9-8acb-1faed11547af" providerId="ADAL" clId="{B6284D1A-71B0-43D0-A276-BF5B1397783A}" dt="2020-10-02T12:44:12.595" v="5874" actId="478"/>
          <ac:spMkLst>
            <pc:docMk/>
            <pc:sldMk cId="2603419662" sldId="7093"/>
            <ac:spMk id="106" creationId="{2B897715-BE05-46EF-9E42-F344C6AA0952}"/>
          </ac:spMkLst>
        </pc:spChg>
        <pc:spChg chg="del">
          <ac:chgData name="Théodora DUPONT-COURTADE" userId="b06d61bd-3bc1-47a9-8acb-1faed11547af" providerId="ADAL" clId="{B6284D1A-71B0-43D0-A276-BF5B1397783A}" dt="2020-10-07T08:52:25.269" v="16404" actId="478"/>
          <ac:spMkLst>
            <pc:docMk/>
            <pc:sldMk cId="2603419662" sldId="7093"/>
            <ac:spMk id="107" creationId="{F42A5BD0-E80E-4EEC-9F82-E2A7919A8C2F}"/>
          </ac:spMkLst>
        </pc:spChg>
        <pc:spChg chg="del">
          <ac:chgData name="Théodora DUPONT-COURTADE" userId="b06d61bd-3bc1-47a9-8acb-1faed11547af" providerId="ADAL" clId="{B6284D1A-71B0-43D0-A276-BF5B1397783A}" dt="2020-10-07T08:52:25.269" v="16404" actId="478"/>
          <ac:spMkLst>
            <pc:docMk/>
            <pc:sldMk cId="2603419662" sldId="7093"/>
            <ac:spMk id="108" creationId="{71297F2A-22AF-4273-AB75-E9257870BCD0}"/>
          </ac:spMkLst>
        </pc:spChg>
        <pc:spChg chg="mod">
          <ac:chgData name="Théodora DUPONT-COURTADE" userId="b06d61bd-3bc1-47a9-8acb-1faed11547af" providerId="ADAL" clId="{B6284D1A-71B0-43D0-A276-BF5B1397783A}" dt="2020-10-02T13:28:02.474" v="9441" actId="207"/>
          <ac:spMkLst>
            <pc:docMk/>
            <pc:sldMk cId="2603419662" sldId="7093"/>
            <ac:spMk id="109" creationId="{4ECC307B-5762-484B-95C3-CE4E6DCFD810}"/>
          </ac:spMkLst>
        </pc:spChg>
        <pc:spChg chg="mod">
          <ac:chgData name="Théodora DUPONT-COURTADE" userId="b06d61bd-3bc1-47a9-8acb-1faed11547af" providerId="ADAL" clId="{B6284D1A-71B0-43D0-A276-BF5B1397783A}" dt="2020-10-02T13:27:40.491" v="9438" actId="1076"/>
          <ac:spMkLst>
            <pc:docMk/>
            <pc:sldMk cId="2603419662" sldId="7093"/>
            <ac:spMk id="110" creationId="{31B10026-F685-4E9C-8685-A675CDC44995}"/>
          </ac:spMkLst>
        </pc:spChg>
        <pc:spChg chg="del">
          <ac:chgData name="Théodora DUPONT-COURTADE" userId="b06d61bd-3bc1-47a9-8acb-1faed11547af" providerId="ADAL" clId="{B6284D1A-71B0-43D0-A276-BF5B1397783A}" dt="2020-10-07T08:52:25.269" v="16404" actId="478"/>
          <ac:spMkLst>
            <pc:docMk/>
            <pc:sldMk cId="2603419662" sldId="7093"/>
            <ac:spMk id="111" creationId="{BA4013AB-A1BB-4C7F-96C7-0043FB082A14}"/>
          </ac:spMkLst>
        </pc:spChg>
        <pc:spChg chg="del">
          <ac:chgData name="Théodora DUPONT-COURTADE" userId="b06d61bd-3bc1-47a9-8acb-1faed11547af" providerId="ADAL" clId="{B6284D1A-71B0-43D0-A276-BF5B1397783A}" dt="2020-10-07T08:52:25.269" v="16404" actId="478"/>
          <ac:spMkLst>
            <pc:docMk/>
            <pc:sldMk cId="2603419662" sldId="7093"/>
            <ac:spMk id="112" creationId="{996054D1-362E-4A44-9F70-1EB73929E241}"/>
          </ac:spMkLst>
        </pc:spChg>
        <pc:spChg chg="del">
          <ac:chgData name="Théodora DUPONT-COURTADE" userId="b06d61bd-3bc1-47a9-8acb-1faed11547af" providerId="ADAL" clId="{B6284D1A-71B0-43D0-A276-BF5B1397783A}" dt="2020-10-07T08:52:25.269" v="16404" actId="478"/>
          <ac:spMkLst>
            <pc:docMk/>
            <pc:sldMk cId="2603419662" sldId="7093"/>
            <ac:spMk id="113" creationId="{A5D2FBC2-480D-40B2-B6AB-71BA0AF90709}"/>
          </ac:spMkLst>
        </pc:spChg>
        <pc:spChg chg="del">
          <ac:chgData name="Théodora DUPONT-COURTADE" userId="b06d61bd-3bc1-47a9-8acb-1faed11547af" providerId="ADAL" clId="{B6284D1A-71B0-43D0-A276-BF5B1397783A}" dt="2020-10-07T08:52:25.269" v="16404" actId="478"/>
          <ac:spMkLst>
            <pc:docMk/>
            <pc:sldMk cId="2603419662" sldId="7093"/>
            <ac:spMk id="114" creationId="{A95A70E3-C536-4333-B49C-26943B6E4B30}"/>
          </ac:spMkLst>
        </pc:spChg>
        <pc:spChg chg="del">
          <ac:chgData name="Théodora DUPONT-COURTADE" userId="b06d61bd-3bc1-47a9-8acb-1faed11547af" providerId="ADAL" clId="{B6284D1A-71B0-43D0-A276-BF5B1397783A}" dt="2020-10-07T08:52:25.269" v="16404" actId="478"/>
          <ac:spMkLst>
            <pc:docMk/>
            <pc:sldMk cId="2603419662" sldId="7093"/>
            <ac:spMk id="115" creationId="{24CFE668-5AC9-4A43-B174-5BBF906202FA}"/>
          </ac:spMkLst>
        </pc:spChg>
        <pc:spChg chg="del">
          <ac:chgData name="Théodora DUPONT-COURTADE" userId="b06d61bd-3bc1-47a9-8acb-1faed11547af" providerId="ADAL" clId="{B6284D1A-71B0-43D0-A276-BF5B1397783A}" dt="2020-10-07T08:52:25.269" v="16404" actId="478"/>
          <ac:spMkLst>
            <pc:docMk/>
            <pc:sldMk cId="2603419662" sldId="7093"/>
            <ac:spMk id="116" creationId="{40105ED7-D619-46F0-89FD-F790CECB3749}"/>
          </ac:spMkLst>
        </pc:spChg>
        <pc:spChg chg="del">
          <ac:chgData name="Théodora DUPONT-COURTADE" userId="b06d61bd-3bc1-47a9-8acb-1faed11547af" providerId="ADAL" clId="{B6284D1A-71B0-43D0-A276-BF5B1397783A}" dt="2020-10-07T08:52:25.269" v="16404" actId="478"/>
          <ac:spMkLst>
            <pc:docMk/>
            <pc:sldMk cId="2603419662" sldId="7093"/>
            <ac:spMk id="117" creationId="{4A6CB72F-28D5-499A-850E-080518157925}"/>
          </ac:spMkLst>
        </pc:spChg>
        <pc:spChg chg="del">
          <ac:chgData name="Théodora DUPONT-COURTADE" userId="b06d61bd-3bc1-47a9-8acb-1faed11547af" providerId="ADAL" clId="{B6284D1A-71B0-43D0-A276-BF5B1397783A}" dt="2020-10-07T08:52:25.269" v="16404" actId="478"/>
          <ac:spMkLst>
            <pc:docMk/>
            <pc:sldMk cId="2603419662" sldId="7093"/>
            <ac:spMk id="118" creationId="{D3DCC2E6-3AF2-49A4-8319-9E474B7210F8}"/>
          </ac:spMkLst>
        </pc:spChg>
        <pc:spChg chg="del">
          <ac:chgData name="Théodora DUPONT-COURTADE" userId="b06d61bd-3bc1-47a9-8acb-1faed11547af" providerId="ADAL" clId="{B6284D1A-71B0-43D0-A276-BF5B1397783A}" dt="2020-10-07T08:52:25.269" v="16404" actId="478"/>
          <ac:spMkLst>
            <pc:docMk/>
            <pc:sldMk cId="2603419662" sldId="7093"/>
            <ac:spMk id="119" creationId="{DE6DC09B-DEE5-47F0-B615-D67FA0019436}"/>
          </ac:spMkLst>
        </pc:spChg>
        <pc:spChg chg="del">
          <ac:chgData name="Théodora DUPONT-COURTADE" userId="b06d61bd-3bc1-47a9-8acb-1faed11547af" providerId="ADAL" clId="{B6284D1A-71B0-43D0-A276-BF5B1397783A}" dt="2020-10-07T08:52:25.269" v="16404" actId="478"/>
          <ac:spMkLst>
            <pc:docMk/>
            <pc:sldMk cId="2603419662" sldId="7093"/>
            <ac:spMk id="120" creationId="{7D7D4D8D-C456-4C9B-B253-16133C482ABB}"/>
          </ac:spMkLst>
        </pc:spChg>
        <pc:spChg chg="del">
          <ac:chgData name="Théodora DUPONT-COURTADE" userId="b06d61bd-3bc1-47a9-8acb-1faed11547af" providerId="ADAL" clId="{B6284D1A-71B0-43D0-A276-BF5B1397783A}" dt="2020-10-07T08:52:25.269" v="16404" actId="478"/>
          <ac:spMkLst>
            <pc:docMk/>
            <pc:sldMk cId="2603419662" sldId="7093"/>
            <ac:spMk id="121" creationId="{A0C9A264-CD6D-47D6-B48C-141753842E2E}"/>
          </ac:spMkLst>
        </pc:spChg>
        <pc:spChg chg="del">
          <ac:chgData name="Théodora DUPONT-COURTADE" userId="b06d61bd-3bc1-47a9-8acb-1faed11547af" providerId="ADAL" clId="{B6284D1A-71B0-43D0-A276-BF5B1397783A}" dt="2020-10-07T08:52:25.269" v="16404" actId="478"/>
          <ac:spMkLst>
            <pc:docMk/>
            <pc:sldMk cId="2603419662" sldId="7093"/>
            <ac:spMk id="122" creationId="{070E1D8A-F6C2-4466-9565-F3DC4F29AA37}"/>
          </ac:spMkLst>
        </pc:spChg>
        <pc:spChg chg="del">
          <ac:chgData name="Théodora DUPONT-COURTADE" userId="b06d61bd-3bc1-47a9-8acb-1faed11547af" providerId="ADAL" clId="{B6284D1A-71B0-43D0-A276-BF5B1397783A}" dt="2020-10-07T08:52:25.269" v="16404" actId="478"/>
          <ac:spMkLst>
            <pc:docMk/>
            <pc:sldMk cId="2603419662" sldId="7093"/>
            <ac:spMk id="123" creationId="{8C0D003C-0CA8-49D8-A3B0-8AE3B7DBA5A8}"/>
          </ac:spMkLst>
        </pc:spChg>
        <pc:spChg chg="del">
          <ac:chgData name="Théodora DUPONT-COURTADE" userId="b06d61bd-3bc1-47a9-8acb-1faed11547af" providerId="ADAL" clId="{B6284D1A-71B0-43D0-A276-BF5B1397783A}" dt="2020-10-07T08:52:25.269" v="16404" actId="478"/>
          <ac:spMkLst>
            <pc:docMk/>
            <pc:sldMk cId="2603419662" sldId="7093"/>
            <ac:spMk id="124" creationId="{4C8102E8-4819-48C7-B2F2-344B8E8304E6}"/>
          </ac:spMkLst>
        </pc:spChg>
        <pc:spChg chg="del">
          <ac:chgData name="Théodora DUPONT-COURTADE" userId="b06d61bd-3bc1-47a9-8acb-1faed11547af" providerId="ADAL" clId="{B6284D1A-71B0-43D0-A276-BF5B1397783A}" dt="2020-10-07T08:52:25.269" v="16404" actId="478"/>
          <ac:spMkLst>
            <pc:docMk/>
            <pc:sldMk cId="2603419662" sldId="7093"/>
            <ac:spMk id="125" creationId="{F9FEFD59-D97E-4EE1-A552-45C6D22E6F53}"/>
          </ac:spMkLst>
        </pc:spChg>
        <pc:spChg chg="mod">
          <ac:chgData name="Théodora DUPONT-COURTADE" userId="b06d61bd-3bc1-47a9-8acb-1faed11547af" providerId="ADAL" clId="{B6284D1A-71B0-43D0-A276-BF5B1397783A}" dt="2020-10-02T13:32:31.967" v="9611" actId="20577"/>
          <ac:spMkLst>
            <pc:docMk/>
            <pc:sldMk cId="2603419662" sldId="7093"/>
            <ac:spMk id="128" creationId="{D1AA31DB-E764-4FC5-BEF5-895B2C06956F}"/>
          </ac:spMkLst>
        </pc:spChg>
        <pc:spChg chg="mod">
          <ac:chgData name="Théodora DUPONT-COURTADE" userId="b06d61bd-3bc1-47a9-8acb-1faed11547af" providerId="ADAL" clId="{B6284D1A-71B0-43D0-A276-BF5B1397783A}" dt="2020-10-02T13:27:18.915" v="9422" actId="1076"/>
          <ac:spMkLst>
            <pc:docMk/>
            <pc:sldMk cId="2603419662" sldId="7093"/>
            <ac:spMk id="149" creationId="{DC34049B-0477-4731-8D3A-BEA957D6CD1A}"/>
          </ac:spMkLst>
        </pc:spChg>
        <pc:spChg chg="add del mod">
          <ac:chgData name="Théodora DUPONT-COURTADE" userId="b06d61bd-3bc1-47a9-8acb-1faed11547af" providerId="ADAL" clId="{B6284D1A-71B0-43D0-A276-BF5B1397783A}" dt="2020-10-02T13:33:04.496" v="9618" actId="478"/>
          <ac:spMkLst>
            <pc:docMk/>
            <pc:sldMk cId="2603419662" sldId="7093"/>
            <ac:spMk id="170" creationId="{6FF2B3DF-E4D9-4DE1-89E1-712822B3AA7A}"/>
          </ac:spMkLst>
        </pc:spChg>
        <pc:spChg chg="del">
          <ac:chgData name="Théodora DUPONT-COURTADE" userId="b06d61bd-3bc1-47a9-8acb-1faed11547af" providerId="ADAL" clId="{B6284D1A-71B0-43D0-A276-BF5B1397783A}" dt="2020-10-07T08:52:25.269" v="16404" actId="478"/>
          <ac:spMkLst>
            <pc:docMk/>
            <pc:sldMk cId="2603419662" sldId="7093"/>
            <ac:spMk id="171" creationId="{46FECBFB-84D5-4862-A130-CC0FEC9A4953}"/>
          </ac:spMkLst>
        </pc:spChg>
        <pc:spChg chg="del">
          <ac:chgData name="Théodora DUPONT-COURTADE" userId="b06d61bd-3bc1-47a9-8acb-1faed11547af" providerId="ADAL" clId="{B6284D1A-71B0-43D0-A276-BF5B1397783A}" dt="2020-10-07T08:52:25.269" v="16404" actId="478"/>
          <ac:spMkLst>
            <pc:docMk/>
            <pc:sldMk cId="2603419662" sldId="7093"/>
            <ac:spMk id="172" creationId="{5931969C-533C-4BE7-B262-1966F7EB6C46}"/>
          </ac:spMkLst>
        </pc:spChg>
        <pc:spChg chg="del">
          <ac:chgData name="Théodora DUPONT-COURTADE" userId="b06d61bd-3bc1-47a9-8acb-1faed11547af" providerId="ADAL" clId="{B6284D1A-71B0-43D0-A276-BF5B1397783A}" dt="2020-10-07T08:52:25.269" v="16404" actId="478"/>
          <ac:spMkLst>
            <pc:docMk/>
            <pc:sldMk cId="2603419662" sldId="7093"/>
            <ac:spMk id="173" creationId="{404C3D98-D2D9-4D5C-AD8C-1154CFBE2329}"/>
          </ac:spMkLst>
        </pc:spChg>
        <pc:spChg chg="mod">
          <ac:chgData name="Théodora DUPONT-COURTADE" userId="b06d61bd-3bc1-47a9-8acb-1faed11547af" providerId="ADAL" clId="{B6284D1A-71B0-43D0-A276-BF5B1397783A}" dt="2020-10-07T08:52:25.924" v="16405"/>
          <ac:spMkLst>
            <pc:docMk/>
            <pc:sldMk cId="2603419662" sldId="7093"/>
            <ac:spMk id="174" creationId="{92ED022E-CD8D-43DD-95B5-B7AF6F902775}"/>
          </ac:spMkLst>
        </pc:spChg>
        <pc:spChg chg="mod">
          <ac:chgData name="Théodora DUPONT-COURTADE" userId="b06d61bd-3bc1-47a9-8acb-1faed11547af" providerId="ADAL" clId="{B6284D1A-71B0-43D0-A276-BF5B1397783A}" dt="2020-10-07T08:52:25.924" v="16405"/>
          <ac:spMkLst>
            <pc:docMk/>
            <pc:sldMk cId="2603419662" sldId="7093"/>
            <ac:spMk id="176" creationId="{03F1EBC9-EE27-4103-9225-CEDCC1316A2A}"/>
          </ac:spMkLst>
        </pc:spChg>
        <pc:spChg chg="mod">
          <ac:chgData name="Théodora DUPONT-COURTADE" userId="b06d61bd-3bc1-47a9-8acb-1faed11547af" providerId="ADAL" clId="{B6284D1A-71B0-43D0-A276-BF5B1397783A}" dt="2020-10-07T08:52:25.924" v="16405"/>
          <ac:spMkLst>
            <pc:docMk/>
            <pc:sldMk cId="2603419662" sldId="7093"/>
            <ac:spMk id="177" creationId="{B2853EE1-8807-4371-B9C3-4558C1751B6F}"/>
          </ac:spMkLst>
        </pc:spChg>
        <pc:spChg chg="mod">
          <ac:chgData name="Théodora DUPONT-COURTADE" userId="b06d61bd-3bc1-47a9-8acb-1faed11547af" providerId="ADAL" clId="{B6284D1A-71B0-43D0-A276-BF5B1397783A}" dt="2020-10-07T08:52:25.924" v="16405"/>
          <ac:spMkLst>
            <pc:docMk/>
            <pc:sldMk cId="2603419662" sldId="7093"/>
            <ac:spMk id="178" creationId="{AD3F5321-1E74-4B5E-86AC-6AB666C25BBB}"/>
          </ac:spMkLst>
        </pc:spChg>
        <pc:spChg chg="mod">
          <ac:chgData name="Théodora DUPONT-COURTADE" userId="b06d61bd-3bc1-47a9-8acb-1faed11547af" providerId="ADAL" clId="{B6284D1A-71B0-43D0-A276-BF5B1397783A}" dt="2020-10-07T08:52:25.924" v="16405"/>
          <ac:spMkLst>
            <pc:docMk/>
            <pc:sldMk cId="2603419662" sldId="7093"/>
            <ac:spMk id="179" creationId="{03F55C19-41AE-411B-9B35-12F0C5C56264}"/>
          </ac:spMkLst>
        </pc:spChg>
        <pc:spChg chg="mod">
          <ac:chgData name="Théodora DUPONT-COURTADE" userId="b06d61bd-3bc1-47a9-8acb-1faed11547af" providerId="ADAL" clId="{B6284D1A-71B0-43D0-A276-BF5B1397783A}" dt="2020-10-07T08:52:25.924" v="16405"/>
          <ac:spMkLst>
            <pc:docMk/>
            <pc:sldMk cId="2603419662" sldId="7093"/>
            <ac:spMk id="180" creationId="{ACC0F8D9-B541-401A-8134-79E2D8C741CA}"/>
          </ac:spMkLst>
        </pc:spChg>
        <pc:spChg chg="mod">
          <ac:chgData name="Théodora DUPONT-COURTADE" userId="b06d61bd-3bc1-47a9-8acb-1faed11547af" providerId="ADAL" clId="{B6284D1A-71B0-43D0-A276-BF5B1397783A}" dt="2020-10-07T08:52:25.924" v="16405"/>
          <ac:spMkLst>
            <pc:docMk/>
            <pc:sldMk cId="2603419662" sldId="7093"/>
            <ac:spMk id="181" creationId="{D7CC21CD-DB09-41EB-A05E-703B5421A02B}"/>
          </ac:spMkLst>
        </pc:spChg>
        <pc:spChg chg="mod">
          <ac:chgData name="Théodora DUPONT-COURTADE" userId="b06d61bd-3bc1-47a9-8acb-1faed11547af" providerId="ADAL" clId="{B6284D1A-71B0-43D0-A276-BF5B1397783A}" dt="2020-10-07T08:52:25.924" v="16405"/>
          <ac:spMkLst>
            <pc:docMk/>
            <pc:sldMk cId="2603419662" sldId="7093"/>
            <ac:spMk id="182" creationId="{F221834C-F534-4FF9-816D-F3A8D5656D8D}"/>
          </ac:spMkLst>
        </pc:spChg>
        <pc:spChg chg="mod">
          <ac:chgData name="Théodora DUPONT-COURTADE" userId="b06d61bd-3bc1-47a9-8acb-1faed11547af" providerId="ADAL" clId="{B6284D1A-71B0-43D0-A276-BF5B1397783A}" dt="2020-10-07T08:52:25.924" v="16405"/>
          <ac:spMkLst>
            <pc:docMk/>
            <pc:sldMk cId="2603419662" sldId="7093"/>
            <ac:spMk id="183" creationId="{2DBE5F81-6957-4830-8BC5-894E5C74673E}"/>
          </ac:spMkLst>
        </pc:spChg>
        <pc:spChg chg="mod">
          <ac:chgData name="Théodora DUPONT-COURTADE" userId="b06d61bd-3bc1-47a9-8acb-1faed11547af" providerId="ADAL" clId="{B6284D1A-71B0-43D0-A276-BF5B1397783A}" dt="2020-10-07T08:52:25.924" v="16405"/>
          <ac:spMkLst>
            <pc:docMk/>
            <pc:sldMk cId="2603419662" sldId="7093"/>
            <ac:spMk id="184" creationId="{B28A600C-774D-4516-AA3F-A8B6A2439718}"/>
          </ac:spMkLst>
        </pc:spChg>
        <pc:spChg chg="mod">
          <ac:chgData name="Théodora DUPONT-COURTADE" userId="b06d61bd-3bc1-47a9-8acb-1faed11547af" providerId="ADAL" clId="{B6284D1A-71B0-43D0-A276-BF5B1397783A}" dt="2020-10-07T08:52:25.924" v="16405"/>
          <ac:spMkLst>
            <pc:docMk/>
            <pc:sldMk cId="2603419662" sldId="7093"/>
            <ac:spMk id="185" creationId="{898D1B71-72AD-4AD3-B710-68246C8356A9}"/>
          </ac:spMkLst>
        </pc:spChg>
        <pc:spChg chg="mod">
          <ac:chgData name="Théodora DUPONT-COURTADE" userId="b06d61bd-3bc1-47a9-8acb-1faed11547af" providerId="ADAL" clId="{B6284D1A-71B0-43D0-A276-BF5B1397783A}" dt="2020-10-07T08:52:25.924" v="16405"/>
          <ac:spMkLst>
            <pc:docMk/>
            <pc:sldMk cId="2603419662" sldId="7093"/>
            <ac:spMk id="186" creationId="{1AB68B18-A13A-4F27-9AFC-7E940F231152}"/>
          </ac:spMkLst>
        </pc:spChg>
        <pc:spChg chg="mod">
          <ac:chgData name="Théodora DUPONT-COURTADE" userId="b06d61bd-3bc1-47a9-8acb-1faed11547af" providerId="ADAL" clId="{B6284D1A-71B0-43D0-A276-BF5B1397783A}" dt="2020-10-07T08:52:25.924" v="16405"/>
          <ac:spMkLst>
            <pc:docMk/>
            <pc:sldMk cId="2603419662" sldId="7093"/>
            <ac:spMk id="187" creationId="{0B4AC973-FC8B-4E17-A4DB-1EB063BDC5C2}"/>
          </ac:spMkLst>
        </pc:spChg>
        <pc:spChg chg="mod">
          <ac:chgData name="Théodora DUPONT-COURTADE" userId="b06d61bd-3bc1-47a9-8acb-1faed11547af" providerId="ADAL" clId="{B6284D1A-71B0-43D0-A276-BF5B1397783A}" dt="2020-10-07T08:52:25.924" v="16405"/>
          <ac:spMkLst>
            <pc:docMk/>
            <pc:sldMk cId="2603419662" sldId="7093"/>
            <ac:spMk id="188" creationId="{2261DFC6-40E1-43CA-B7CE-E36A094CC4B6}"/>
          </ac:spMkLst>
        </pc:spChg>
        <pc:spChg chg="mod">
          <ac:chgData name="Théodora DUPONT-COURTADE" userId="b06d61bd-3bc1-47a9-8acb-1faed11547af" providerId="ADAL" clId="{B6284D1A-71B0-43D0-A276-BF5B1397783A}" dt="2020-10-07T08:52:25.924" v="16405"/>
          <ac:spMkLst>
            <pc:docMk/>
            <pc:sldMk cId="2603419662" sldId="7093"/>
            <ac:spMk id="189" creationId="{8678B25D-693D-44C9-B16E-423A69A659BA}"/>
          </ac:spMkLst>
        </pc:spChg>
        <pc:spChg chg="mod">
          <ac:chgData name="Théodora DUPONT-COURTADE" userId="b06d61bd-3bc1-47a9-8acb-1faed11547af" providerId="ADAL" clId="{B6284D1A-71B0-43D0-A276-BF5B1397783A}" dt="2020-10-07T08:52:25.924" v="16405"/>
          <ac:spMkLst>
            <pc:docMk/>
            <pc:sldMk cId="2603419662" sldId="7093"/>
            <ac:spMk id="190" creationId="{56D7EDEF-2616-403A-9860-E0F0717F042F}"/>
          </ac:spMkLst>
        </pc:spChg>
        <pc:spChg chg="mod">
          <ac:chgData name="Théodora DUPONT-COURTADE" userId="b06d61bd-3bc1-47a9-8acb-1faed11547af" providerId="ADAL" clId="{B6284D1A-71B0-43D0-A276-BF5B1397783A}" dt="2020-10-07T08:52:25.924" v="16405"/>
          <ac:spMkLst>
            <pc:docMk/>
            <pc:sldMk cId="2603419662" sldId="7093"/>
            <ac:spMk id="191" creationId="{4D43ED5B-8B35-4A65-B54D-B914AF61F9E8}"/>
          </ac:spMkLst>
        </pc:spChg>
        <pc:spChg chg="mod">
          <ac:chgData name="Théodora DUPONT-COURTADE" userId="b06d61bd-3bc1-47a9-8acb-1faed11547af" providerId="ADAL" clId="{B6284D1A-71B0-43D0-A276-BF5B1397783A}" dt="2020-10-07T08:52:25.924" v="16405"/>
          <ac:spMkLst>
            <pc:docMk/>
            <pc:sldMk cId="2603419662" sldId="7093"/>
            <ac:spMk id="192" creationId="{96C5730C-FEF9-498A-95CE-6F9DD9BF553F}"/>
          </ac:spMkLst>
        </pc:spChg>
        <pc:spChg chg="mod">
          <ac:chgData name="Théodora DUPONT-COURTADE" userId="b06d61bd-3bc1-47a9-8acb-1faed11547af" providerId="ADAL" clId="{B6284D1A-71B0-43D0-A276-BF5B1397783A}" dt="2020-10-07T08:52:25.924" v="16405"/>
          <ac:spMkLst>
            <pc:docMk/>
            <pc:sldMk cId="2603419662" sldId="7093"/>
            <ac:spMk id="193" creationId="{8F9F8DA6-494B-456E-A42A-79B97D496C00}"/>
          </ac:spMkLst>
        </pc:spChg>
        <pc:spChg chg="mod">
          <ac:chgData name="Théodora DUPONT-COURTADE" userId="b06d61bd-3bc1-47a9-8acb-1faed11547af" providerId="ADAL" clId="{B6284D1A-71B0-43D0-A276-BF5B1397783A}" dt="2020-10-07T08:52:25.924" v="16405"/>
          <ac:spMkLst>
            <pc:docMk/>
            <pc:sldMk cId="2603419662" sldId="7093"/>
            <ac:spMk id="194" creationId="{1A4FA6D6-A65F-46D0-9758-003B6D63CD96}"/>
          </ac:spMkLst>
        </pc:spChg>
        <pc:spChg chg="mod">
          <ac:chgData name="Théodora DUPONT-COURTADE" userId="b06d61bd-3bc1-47a9-8acb-1faed11547af" providerId="ADAL" clId="{B6284D1A-71B0-43D0-A276-BF5B1397783A}" dt="2020-10-07T08:52:25.924" v="16405"/>
          <ac:spMkLst>
            <pc:docMk/>
            <pc:sldMk cId="2603419662" sldId="7093"/>
            <ac:spMk id="195" creationId="{4C7E400B-87D1-4D48-A29B-56823A70C92A}"/>
          </ac:spMkLst>
        </pc:spChg>
        <pc:spChg chg="mod">
          <ac:chgData name="Théodora DUPONT-COURTADE" userId="b06d61bd-3bc1-47a9-8acb-1faed11547af" providerId="ADAL" clId="{B6284D1A-71B0-43D0-A276-BF5B1397783A}" dt="2020-10-07T08:52:25.924" v="16405"/>
          <ac:spMkLst>
            <pc:docMk/>
            <pc:sldMk cId="2603419662" sldId="7093"/>
            <ac:spMk id="196" creationId="{4FCA7CA0-C0B3-4C69-BD22-A1FB21B1ACC9}"/>
          </ac:spMkLst>
        </pc:spChg>
        <pc:spChg chg="mod">
          <ac:chgData name="Théodora DUPONT-COURTADE" userId="b06d61bd-3bc1-47a9-8acb-1faed11547af" providerId="ADAL" clId="{B6284D1A-71B0-43D0-A276-BF5B1397783A}" dt="2020-10-07T08:52:25.924" v="16405"/>
          <ac:spMkLst>
            <pc:docMk/>
            <pc:sldMk cId="2603419662" sldId="7093"/>
            <ac:spMk id="199" creationId="{504534A3-79AA-4088-8CC9-72F345D35758}"/>
          </ac:spMkLst>
        </pc:spChg>
        <pc:spChg chg="add mod">
          <ac:chgData name="Théodora DUPONT-COURTADE" userId="b06d61bd-3bc1-47a9-8acb-1faed11547af" providerId="ADAL" clId="{B6284D1A-71B0-43D0-A276-BF5B1397783A}" dt="2020-10-07T08:52:25.924" v="16405"/>
          <ac:spMkLst>
            <pc:docMk/>
            <pc:sldMk cId="2603419662" sldId="7093"/>
            <ac:spMk id="206" creationId="{897B5A13-ABE6-47F5-9D05-F3792212786A}"/>
          </ac:spMkLst>
        </pc:spChg>
        <pc:spChg chg="add mod">
          <ac:chgData name="Théodora DUPONT-COURTADE" userId="b06d61bd-3bc1-47a9-8acb-1faed11547af" providerId="ADAL" clId="{B6284D1A-71B0-43D0-A276-BF5B1397783A}" dt="2020-10-07T08:52:25.924" v="16405"/>
          <ac:spMkLst>
            <pc:docMk/>
            <pc:sldMk cId="2603419662" sldId="7093"/>
            <ac:spMk id="207" creationId="{905E8E6E-C9A5-4341-983A-DD77521F9AAA}"/>
          </ac:spMkLst>
        </pc:spChg>
        <pc:spChg chg="add mod">
          <ac:chgData name="Théodora DUPONT-COURTADE" userId="b06d61bd-3bc1-47a9-8acb-1faed11547af" providerId="ADAL" clId="{B6284D1A-71B0-43D0-A276-BF5B1397783A}" dt="2020-10-07T08:52:25.924" v="16405"/>
          <ac:spMkLst>
            <pc:docMk/>
            <pc:sldMk cId="2603419662" sldId="7093"/>
            <ac:spMk id="208" creationId="{CC20E3C2-FA02-404C-930C-73F5DA25BA52}"/>
          </ac:spMkLst>
        </pc:spChg>
        <pc:spChg chg="add mod">
          <ac:chgData name="Théodora DUPONT-COURTADE" userId="b06d61bd-3bc1-47a9-8acb-1faed11547af" providerId="ADAL" clId="{B6284D1A-71B0-43D0-A276-BF5B1397783A}" dt="2020-10-07T08:52:25.924" v="16405"/>
          <ac:spMkLst>
            <pc:docMk/>
            <pc:sldMk cId="2603419662" sldId="7093"/>
            <ac:spMk id="209" creationId="{3D89DEE1-BE9A-4081-82EC-B5EDBBF62200}"/>
          </ac:spMkLst>
        </pc:spChg>
        <pc:spChg chg="add mod">
          <ac:chgData name="Théodora DUPONT-COURTADE" userId="b06d61bd-3bc1-47a9-8acb-1faed11547af" providerId="ADAL" clId="{B6284D1A-71B0-43D0-A276-BF5B1397783A}" dt="2020-10-07T08:52:25.924" v="16405"/>
          <ac:spMkLst>
            <pc:docMk/>
            <pc:sldMk cId="2603419662" sldId="7093"/>
            <ac:spMk id="210" creationId="{9CFD1992-0996-4A63-95BE-E0C0CC4BBB44}"/>
          </ac:spMkLst>
        </pc:spChg>
        <pc:spChg chg="add mod">
          <ac:chgData name="Théodora DUPONT-COURTADE" userId="b06d61bd-3bc1-47a9-8acb-1faed11547af" providerId="ADAL" clId="{B6284D1A-71B0-43D0-A276-BF5B1397783A}" dt="2020-10-07T08:52:25.924" v="16405"/>
          <ac:spMkLst>
            <pc:docMk/>
            <pc:sldMk cId="2603419662" sldId="7093"/>
            <ac:spMk id="211" creationId="{4653C8D1-FB7D-4A6F-B9A4-D23AE20BB867}"/>
          </ac:spMkLst>
        </pc:spChg>
        <pc:spChg chg="add mod">
          <ac:chgData name="Théodora DUPONT-COURTADE" userId="b06d61bd-3bc1-47a9-8acb-1faed11547af" providerId="ADAL" clId="{B6284D1A-71B0-43D0-A276-BF5B1397783A}" dt="2020-10-07T08:52:25.924" v="16405"/>
          <ac:spMkLst>
            <pc:docMk/>
            <pc:sldMk cId="2603419662" sldId="7093"/>
            <ac:spMk id="212" creationId="{91A59E3A-D5D0-4FB3-99E3-6FBECCF9641D}"/>
          </ac:spMkLst>
        </pc:spChg>
        <pc:spChg chg="add mod">
          <ac:chgData name="Théodora DUPONT-COURTADE" userId="b06d61bd-3bc1-47a9-8acb-1faed11547af" providerId="ADAL" clId="{B6284D1A-71B0-43D0-A276-BF5B1397783A}" dt="2020-10-07T08:52:25.924" v="16405"/>
          <ac:spMkLst>
            <pc:docMk/>
            <pc:sldMk cId="2603419662" sldId="7093"/>
            <ac:spMk id="213" creationId="{5A41CA91-0E88-4428-9C1E-C1EDDFA2871C}"/>
          </ac:spMkLst>
        </pc:spChg>
        <pc:spChg chg="add mod">
          <ac:chgData name="Théodora DUPONT-COURTADE" userId="b06d61bd-3bc1-47a9-8acb-1faed11547af" providerId="ADAL" clId="{B6284D1A-71B0-43D0-A276-BF5B1397783A}" dt="2020-10-07T08:52:25.924" v="16405"/>
          <ac:spMkLst>
            <pc:docMk/>
            <pc:sldMk cId="2603419662" sldId="7093"/>
            <ac:spMk id="214" creationId="{307EC465-A3E7-4ACE-B1D8-C70FF64D1BCA}"/>
          </ac:spMkLst>
        </pc:spChg>
        <pc:spChg chg="add mod">
          <ac:chgData name="Théodora DUPONT-COURTADE" userId="b06d61bd-3bc1-47a9-8acb-1faed11547af" providerId="ADAL" clId="{B6284D1A-71B0-43D0-A276-BF5B1397783A}" dt="2020-10-07T08:52:25.924" v="16405"/>
          <ac:spMkLst>
            <pc:docMk/>
            <pc:sldMk cId="2603419662" sldId="7093"/>
            <ac:spMk id="215" creationId="{30EB4849-7E53-4306-8153-A88317441E8D}"/>
          </ac:spMkLst>
        </pc:spChg>
        <pc:spChg chg="add mod">
          <ac:chgData name="Théodora DUPONT-COURTADE" userId="b06d61bd-3bc1-47a9-8acb-1faed11547af" providerId="ADAL" clId="{B6284D1A-71B0-43D0-A276-BF5B1397783A}" dt="2020-10-07T08:52:25.924" v="16405"/>
          <ac:spMkLst>
            <pc:docMk/>
            <pc:sldMk cId="2603419662" sldId="7093"/>
            <ac:spMk id="216" creationId="{2BAA2CB9-E7B4-4F4C-B3C8-3D094DF04E62}"/>
          </ac:spMkLst>
        </pc:spChg>
        <pc:spChg chg="add mod">
          <ac:chgData name="Théodora DUPONT-COURTADE" userId="b06d61bd-3bc1-47a9-8acb-1faed11547af" providerId="ADAL" clId="{B6284D1A-71B0-43D0-A276-BF5B1397783A}" dt="2020-10-07T08:52:25.924" v="16405"/>
          <ac:spMkLst>
            <pc:docMk/>
            <pc:sldMk cId="2603419662" sldId="7093"/>
            <ac:spMk id="217" creationId="{FB5C989D-191E-4BA3-95E0-2BCC70EB9788}"/>
          </ac:spMkLst>
        </pc:spChg>
        <pc:spChg chg="add mod">
          <ac:chgData name="Théodora DUPONT-COURTADE" userId="b06d61bd-3bc1-47a9-8acb-1faed11547af" providerId="ADAL" clId="{B6284D1A-71B0-43D0-A276-BF5B1397783A}" dt="2020-10-07T08:52:25.924" v="16405"/>
          <ac:spMkLst>
            <pc:docMk/>
            <pc:sldMk cId="2603419662" sldId="7093"/>
            <ac:spMk id="218" creationId="{B67913E9-3BA4-4D8F-8474-C25AF13B31BC}"/>
          </ac:spMkLst>
        </pc:spChg>
        <pc:spChg chg="add mod">
          <ac:chgData name="Théodora DUPONT-COURTADE" userId="b06d61bd-3bc1-47a9-8acb-1faed11547af" providerId="ADAL" clId="{B6284D1A-71B0-43D0-A276-BF5B1397783A}" dt="2020-10-07T08:52:25.924" v="16405"/>
          <ac:spMkLst>
            <pc:docMk/>
            <pc:sldMk cId="2603419662" sldId="7093"/>
            <ac:spMk id="219" creationId="{4A12E8EC-CA4C-4423-9CDF-074E62797389}"/>
          </ac:spMkLst>
        </pc:spChg>
        <pc:spChg chg="add mod">
          <ac:chgData name="Théodora DUPONT-COURTADE" userId="b06d61bd-3bc1-47a9-8acb-1faed11547af" providerId="ADAL" clId="{B6284D1A-71B0-43D0-A276-BF5B1397783A}" dt="2020-10-07T08:52:25.924" v="16405"/>
          <ac:spMkLst>
            <pc:docMk/>
            <pc:sldMk cId="2603419662" sldId="7093"/>
            <ac:spMk id="220" creationId="{1893681E-8767-49B0-9E1E-0065B8805DC7}"/>
          </ac:spMkLst>
        </pc:spChg>
        <pc:spChg chg="add mod">
          <ac:chgData name="Théodora DUPONT-COURTADE" userId="b06d61bd-3bc1-47a9-8acb-1faed11547af" providerId="ADAL" clId="{B6284D1A-71B0-43D0-A276-BF5B1397783A}" dt="2020-10-07T08:52:25.924" v="16405"/>
          <ac:spMkLst>
            <pc:docMk/>
            <pc:sldMk cId="2603419662" sldId="7093"/>
            <ac:spMk id="221" creationId="{5CE2A868-A669-48A2-B986-A018579C4858}"/>
          </ac:spMkLst>
        </pc:spChg>
        <pc:spChg chg="add mod">
          <ac:chgData name="Théodora DUPONT-COURTADE" userId="b06d61bd-3bc1-47a9-8acb-1faed11547af" providerId="ADAL" clId="{B6284D1A-71B0-43D0-A276-BF5B1397783A}" dt="2020-10-07T08:52:25.924" v="16405"/>
          <ac:spMkLst>
            <pc:docMk/>
            <pc:sldMk cId="2603419662" sldId="7093"/>
            <ac:spMk id="222" creationId="{1F2DAEDD-8ECF-434E-8B38-6B5C9D62876F}"/>
          </ac:spMkLst>
        </pc:spChg>
        <pc:spChg chg="add mod">
          <ac:chgData name="Théodora DUPONT-COURTADE" userId="b06d61bd-3bc1-47a9-8acb-1faed11547af" providerId="ADAL" clId="{B6284D1A-71B0-43D0-A276-BF5B1397783A}" dt="2020-10-07T08:52:25.924" v="16405"/>
          <ac:spMkLst>
            <pc:docMk/>
            <pc:sldMk cId="2603419662" sldId="7093"/>
            <ac:spMk id="223" creationId="{71F21BA9-7D4F-4F07-B2E8-F8C501D90158}"/>
          </ac:spMkLst>
        </pc:spChg>
        <pc:spChg chg="add del mod">
          <ac:chgData name="Théodora DUPONT-COURTADE" userId="b06d61bd-3bc1-47a9-8acb-1faed11547af" providerId="ADAL" clId="{B6284D1A-71B0-43D0-A276-BF5B1397783A}" dt="2020-10-02T13:25:45.439" v="9346" actId="478"/>
          <ac:spMkLst>
            <pc:docMk/>
            <pc:sldMk cId="2603419662" sldId="7093"/>
            <ac:spMk id="223" creationId="{80F2F780-DB1E-4E08-BA5B-253992869A6E}"/>
          </ac:spMkLst>
        </pc:spChg>
        <pc:spChg chg="add mod">
          <ac:chgData name="Théodora DUPONT-COURTADE" userId="b06d61bd-3bc1-47a9-8acb-1faed11547af" providerId="ADAL" clId="{B6284D1A-71B0-43D0-A276-BF5B1397783A}" dt="2020-10-07T08:52:25.924" v="16405"/>
          <ac:spMkLst>
            <pc:docMk/>
            <pc:sldMk cId="2603419662" sldId="7093"/>
            <ac:spMk id="224" creationId="{DEA39C9F-C160-42F7-8537-FC59F0004CFF}"/>
          </ac:spMkLst>
        </pc:spChg>
        <pc:spChg chg="add mod">
          <ac:chgData name="Théodora DUPONT-COURTADE" userId="b06d61bd-3bc1-47a9-8acb-1faed11547af" providerId="ADAL" clId="{B6284D1A-71B0-43D0-A276-BF5B1397783A}" dt="2020-10-07T08:52:25.924" v="16405"/>
          <ac:spMkLst>
            <pc:docMk/>
            <pc:sldMk cId="2603419662" sldId="7093"/>
            <ac:spMk id="225" creationId="{DBB85967-C6F3-4248-B21A-F5A48E70D578}"/>
          </ac:spMkLst>
        </pc:spChg>
        <pc:spChg chg="add mod">
          <ac:chgData name="Théodora DUPONT-COURTADE" userId="b06d61bd-3bc1-47a9-8acb-1faed11547af" providerId="ADAL" clId="{B6284D1A-71B0-43D0-A276-BF5B1397783A}" dt="2020-10-07T08:52:25.924" v="16405"/>
          <ac:spMkLst>
            <pc:docMk/>
            <pc:sldMk cId="2603419662" sldId="7093"/>
            <ac:spMk id="226" creationId="{F16EE641-BA64-4254-B648-C0D87D12FB17}"/>
          </ac:spMkLst>
        </pc:spChg>
        <pc:grpChg chg="del">
          <ac:chgData name="Théodora DUPONT-COURTADE" userId="b06d61bd-3bc1-47a9-8acb-1faed11547af" providerId="ADAL" clId="{B6284D1A-71B0-43D0-A276-BF5B1397783A}" dt="2020-10-07T08:52:25.269" v="16404" actId="478"/>
          <ac:grpSpMkLst>
            <pc:docMk/>
            <pc:sldMk cId="2603419662" sldId="7093"/>
            <ac:grpSpMk id="45" creationId="{A0DE1324-304F-4C8F-BB1A-90BEF7E15A5D}"/>
          </ac:grpSpMkLst>
        </pc:grpChg>
        <pc:grpChg chg="mod">
          <ac:chgData name="Théodora DUPONT-COURTADE" userId="b06d61bd-3bc1-47a9-8acb-1faed11547af" providerId="ADAL" clId="{B6284D1A-71B0-43D0-A276-BF5B1397783A}" dt="2020-10-02T13:27:35.276" v="9437" actId="1036"/>
          <ac:grpSpMkLst>
            <pc:docMk/>
            <pc:sldMk cId="2603419662" sldId="7093"/>
            <ac:grpSpMk id="99" creationId="{BE545D98-E5E5-43F0-9614-8F69D021EDCE}"/>
          </ac:grpSpMkLst>
        </pc:grpChg>
        <pc:grpChg chg="mod">
          <ac:chgData name="Théodora DUPONT-COURTADE" userId="b06d61bd-3bc1-47a9-8acb-1faed11547af" providerId="ADAL" clId="{B6284D1A-71B0-43D0-A276-BF5B1397783A}" dt="2020-10-02T13:27:35.276" v="9437" actId="1036"/>
          <ac:grpSpMkLst>
            <pc:docMk/>
            <pc:sldMk cId="2603419662" sldId="7093"/>
            <ac:grpSpMk id="132" creationId="{1690D086-D53E-49B8-960E-745EBEB0F0AE}"/>
          </ac:grpSpMkLst>
        </pc:grpChg>
        <pc:grpChg chg="mod">
          <ac:chgData name="Théodora DUPONT-COURTADE" userId="b06d61bd-3bc1-47a9-8acb-1faed11547af" providerId="ADAL" clId="{B6284D1A-71B0-43D0-A276-BF5B1397783A}" dt="2020-10-02T13:27:57.385" v="9440" actId="1076"/>
          <ac:grpSpMkLst>
            <pc:docMk/>
            <pc:sldMk cId="2603419662" sldId="7093"/>
            <ac:grpSpMk id="152" creationId="{BF36767E-8DF8-4EFB-8DE7-E59D3D7A7237}"/>
          </ac:grpSpMkLst>
        </pc:grpChg>
        <pc:grpChg chg="mod">
          <ac:chgData name="Théodora DUPONT-COURTADE" userId="b06d61bd-3bc1-47a9-8acb-1faed11547af" providerId="ADAL" clId="{B6284D1A-71B0-43D0-A276-BF5B1397783A}" dt="2020-10-02T13:27:18.915" v="9422" actId="1076"/>
          <ac:grpSpMkLst>
            <pc:docMk/>
            <pc:sldMk cId="2603419662" sldId="7093"/>
            <ac:grpSpMk id="158" creationId="{EA3C8649-D715-46B5-B20E-76F08F8CC150}"/>
          </ac:grpSpMkLst>
        </pc:grpChg>
        <pc:grpChg chg="mod">
          <ac:chgData name="Théodora DUPONT-COURTADE" userId="b06d61bd-3bc1-47a9-8acb-1faed11547af" providerId="ADAL" clId="{B6284D1A-71B0-43D0-A276-BF5B1397783A}" dt="2020-10-02T13:27:18.915" v="9422" actId="1076"/>
          <ac:grpSpMkLst>
            <pc:docMk/>
            <pc:sldMk cId="2603419662" sldId="7093"/>
            <ac:grpSpMk id="164" creationId="{1F792940-E9CE-49D5-87F3-B2457DD679B2}"/>
          </ac:grpSpMkLst>
        </pc:grpChg>
        <pc:grpChg chg="add mod">
          <ac:chgData name="Théodora DUPONT-COURTADE" userId="b06d61bd-3bc1-47a9-8acb-1faed11547af" providerId="ADAL" clId="{B6284D1A-71B0-43D0-A276-BF5B1397783A}" dt="2020-10-07T08:52:25.924" v="16405"/>
          <ac:grpSpMkLst>
            <pc:docMk/>
            <pc:sldMk cId="2603419662" sldId="7093"/>
            <ac:grpSpMk id="170" creationId="{B4C73986-C6B3-4567-B9AC-8AF6B5088D33}"/>
          </ac:grpSpMkLst>
        </pc:grpChg>
        <pc:graphicFrameChg chg="mod">
          <ac:chgData name="Théodora DUPONT-COURTADE" userId="b06d61bd-3bc1-47a9-8acb-1faed11547af" providerId="ADAL" clId="{B6284D1A-71B0-43D0-A276-BF5B1397783A}" dt="2020-10-07T08:52:25.924" v="16405"/>
          <ac:graphicFrameMkLst>
            <pc:docMk/>
            <pc:sldMk cId="2603419662" sldId="7093"/>
            <ac:graphicFrameMk id="175" creationId="{8CC35C20-45E0-410C-B362-0E641F577E4C}"/>
          </ac:graphicFrameMkLst>
        </pc:graphicFrameChg>
        <pc:cxnChg chg="del">
          <ac:chgData name="Théodora DUPONT-COURTADE" userId="b06d61bd-3bc1-47a9-8acb-1faed11547af" providerId="ADAL" clId="{B6284D1A-71B0-43D0-A276-BF5B1397783A}" dt="2020-10-07T08:52:25.269" v="16404" actId="478"/>
          <ac:cxnSpMkLst>
            <pc:docMk/>
            <pc:sldMk cId="2603419662" sldId="7093"/>
            <ac:cxnSpMk id="29" creationId="{457E11E8-660B-49F3-B83F-02E89B5405AC}"/>
          </ac:cxnSpMkLst>
        </pc:cxnChg>
        <pc:cxnChg chg="mod">
          <ac:chgData name="Théodora DUPONT-COURTADE" userId="b06d61bd-3bc1-47a9-8acb-1faed11547af" providerId="ADAL" clId="{B6284D1A-71B0-43D0-A276-BF5B1397783A}" dt="2020-10-07T08:52:25.924" v="16405"/>
          <ac:cxnSpMkLst>
            <pc:docMk/>
            <pc:sldMk cId="2603419662" sldId="7093"/>
            <ac:cxnSpMk id="197" creationId="{08D78962-93B7-4704-8381-B771591FC9DC}"/>
          </ac:cxnSpMkLst>
        </pc:cxnChg>
        <pc:cxnChg chg="mod">
          <ac:chgData name="Théodora DUPONT-COURTADE" userId="b06d61bd-3bc1-47a9-8acb-1faed11547af" providerId="ADAL" clId="{B6284D1A-71B0-43D0-A276-BF5B1397783A}" dt="2020-10-07T08:52:25.924" v="16405"/>
          <ac:cxnSpMkLst>
            <pc:docMk/>
            <pc:sldMk cId="2603419662" sldId="7093"/>
            <ac:cxnSpMk id="198" creationId="{212544B9-8056-4D9A-95E8-39D7714914BD}"/>
          </ac:cxnSpMkLst>
        </pc:cxnChg>
        <pc:cxnChg chg="mod">
          <ac:chgData name="Théodora DUPONT-COURTADE" userId="b06d61bd-3bc1-47a9-8acb-1faed11547af" providerId="ADAL" clId="{B6284D1A-71B0-43D0-A276-BF5B1397783A}" dt="2020-10-07T08:52:25.924" v="16405"/>
          <ac:cxnSpMkLst>
            <pc:docMk/>
            <pc:sldMk cId="2603419662" sldId="7093"/>
            <ac:cxnSpMk id="200" creationId="{22C61A40-30B2-489E-A6BB-2712EFD90340}"/>
          </ac:cxnSpMkLst>
        </pc:cxnChg>
        <pc:cxnChg chg="mod">
          <ac:chgData name="Théodora DUPONT-COURTADE" userId="b06d61bd-3bc1-47a9-8acb-1faed11547af" providerId="ADAL" clId="{B6284D1A-71B0-43D0-A276-BF5B1397783A}" dt="2020-10-07T08:52:25.924" v="16405"/>
          <ac:cxnSpMkLst>
            <pc:docMk/>
            <pc:sldMk cId="2603419662" sldId="7093"/>
            <ac:cxnSpMk id="201" creationId="{6FF8D539-C270-4BDD-BF5D-C243AAEC9FE5}"/>
          </ac:cxnSpMkLst>
        </pc:cxnChg>
        <pc:cxnChg chg="mod">
          <ac:chgData name="Théodora DUPONT-COURTADE" userId="b06d61bd-3bc1-47a9-8acb-1faed11547af" providerId="ADAL" clId="{B6284D1A-71B0-43D0-A276-BF5B1397783A}" dt="2020-10-07T08:52:25.924" v="16405"/>
          <ac:cxnSpMkLst>
            <pc:docMk/>
            <pc:sldMk cId="2603419662" sldId="7093"/>
            <ac:cxnSpMk id="202" creationId="{22E10386-A05E-431C-B20D-815C8BA8BE2D}"/>
          </ac:cxnSpMkLst>
        </pc:cxnChg>
        <pc:cxnChg chg="mod">
          <ac:chgData name="Théodora DUPONT-COURTADE" userId="b06d61bd-3bc1-47a9-8acb-1faed11547af" providerId="ADAL" clId="{B6284D1A-71B0-43D0-A276-BF5B1397783A}" dt="2020-10-07T08:52:25.924" v="16405"/>
          <ac:cxnSpMkLst>
            <pc:docMk/>
            <pc:sldMk cId="2603419662" sldId="7093"/>
            <ac:cxnSpMk id="203" creationId="{681A31CF-4FE3-4C51-8772-07B9BF118BF1}"/>
          </ac:cxnSpMkLst>
        </pc:cxnChg>
        <pc:cxnChg chg="mod">
          <ac:chgData name="Théodora DUPONT-COURTADE" userId="b06d61bd-3bc1-47a9-8acb-1faed11547af" providerId="ADAL" clId="{B6284D1A-71B0-43D0-A276-BF5B1397783A}" dt="2020-10-07T08:52:25.924" v="16405"/>
          <ac:cxnSpMkLst>
            <pc:docMk/>
            <pc:sldMk cId="2603419662" sldId="7093"/>
            <ac:cxnSpMk id="204" creationId="{78A934E6-5D0C-4DFA-BD06-A4F510849C1E}"/>
          </ac:cxnSpMkLst>
        </pc:cxnChg>
        <pc:cxnChg chg="add mod">
          <ac:chgData name="Théodora DUPONT-COURTADE" userId="b06d61bd-3bc1-47a9-8acb-1faed11547af" providerId="ADAL" clId="{B6284D1A-71B0-43D0-A276-BF5B1397783A}" dt="2020-10-07T08:52:25.924" v="16405"/>
          <ac:cxnSpMkLst>
            <pc:docMk/>
            <pc:sldMk cId="2603419662" sldId="7093"/>
            <ac:cxnSpMk id="205" creationId="{EFEAF531-7909-4C2B-BD00-193EBCB132C2}"/>
          </ac:cxnSpMkLst>
        </pc:cxnChg>
      </pc:sldChg>
      <pc:sldChg chg="addSp delSp modSp mod">
        <pc:chgData name="Théodora DUPONT-COURTADE" userId="b06d61bd-3bc1-47a9-8acb-1faed11547af" providerId="ADAL" clId="{B6284D1A-71B0-43D0-A276-BF5B1397783A}" dt="2020-10-07T08:54:32.352" v="16541"/>
        <pc:sldMkLst>
          <pc:docMk/>
          <pc:sldMk cId="2575659523" sldId="7094"/>
        </pc:sldMkLst>
        <pc:spChg chg="mod">
          <ac:chgData name="Théodora DUPONT-COURTADE" userId="b06d61bd-3bc1-47a9-8acb-1faed11547af" providerId="ADAL" clId="{B6284D1A-71B0-43D0-A276-BF5B1397783A}" dt="2020-10-07T08:54:32.334" v="16539" actId="20577"/>
          <ac:spMkLst>
            <pc:docMk/>
            <pc:sldMk cId="2575659523" sldId="7094"/>
            <ac:spMk id="2" creationId="{1D825224-5426-45FB-95E4-C5F4C82DBF4A}"/>
          </ac:spMkLst>
        </pc:spChg>
        <pc:spChg chg="mod">
          <ac:chgData name="Théodora DUPONT-COURTADE" userId="b06d61bd-3bc1-47a9-8acb-1faed11547af" providerId="ADAL" clId="{B6284D1A-71B0-43D0-A276-BF5B1397783A}" dt="2020-10-02T12:36:59.133" v="5087" actId="14100"/>
          <ac:spMkLst>
            <pc:docMk/>
            <pc:sldMk cId="2575659523" sldId="7094"/>
            <ac:spMk id="4" creationId="{0E1A51D9-4D5F-44CF-B77C-91E2E5C460EC}"/>
          </ac:spMkLst>
        </pc:spChg>
        <pc:spChg chg="add del mod">
          <ac:chgData name="Théodora DUPONT-COURTADE" userId="b06d61bd-3bc1-47a9-8acb-1faed11547af" providerId="ADAL" clId="{B6284D1A-71B0-43D0-A276-BF5B1397783A}" dt="2020-10-02T12:31:16.833" v="4907" actId="21"/>
          <ac:spMkLst>
            <pc:docMk/>
            <pc:sldMk cId="2575659523" sldId="7094"/>
            <ac:spMk id="5" creationId="{5DE21D44-EFBE-4B4E-9A08-DF0DD96A5D69}"/>
          </ac:spMkLst>
        </pc:spChg>
        <pc:spChg chg="mod">
          <ac:chgData name="Théodora DUPONT-COURTADE" userId="b06d61bd-3bc1-47a9-8acb-1faed11547af" providerId="ADAL" clId="{B6284D1A-71B0-43D0-A276-BF5B1397783A}" dt="2020-10-07T08:53:58.320" v="16498" actId="6549"/>
          <ac:spMkLst>
            <pc:docMk/>
            <pc:sldMk cId="2575659523" sldId="7094"/>
            <ac:spMk id="20" creationId="{D7D998A4-C0A2-4344-97DF-ADA1A0B20363}"/>
          </ac:spMkLst>
        </pc:spChg>
        <pc:spChg chg="mod">
          <ac:chgData name="Théodora DUPONT-COURTADE" userId="b06d61bd-3bc1-47a9-8acb-1faed11547af" providerId="ADAL" clId="{B6284D1A-71B0-43D0-A276-BF5B1397783A}" dt="2020-10-02T13:30:24.300" v="9522" actId="1036"/>
          <ac:spMkLst>
            <pc:docMk/>
            <pc:sldMk cId="2575659523" sldId="7094"/>
            <ac:spMk id="35" creationId="{C80DE3B2-6CEF-4BAF-A3E0-AF0F83476960}"/>
          </ac:spMkLst>
        </pc:spChg>
        <pc:spChg chg="mod">
          <ac:chgData name="Théodora DUPONT-COURTADE" userId="b06d61bd-3bc1-47a9-8acb-1faed11547af" providerId="ADAL" clId="{B6284D1A-71B0-43D0-A276-BF5B1397783A}" dt="2020-10-02T13:30:24.300" v="9522" actId="1036"/>
          <ac:spMkLst>
            <pc:docMk/>
            <pc:sldMk cId="2575659523" sldId="7094"/>
            <ac:spMk id="36" creationId="{92D5B810-0807-4DA5-9DE3-F075B8292439}"/>
          </ac:spMkLst>
        </pc:spChg>
        <pc:spChg chg="mod">
          <ac:chgData name="Théodora DUPONT-COURTADE" userId="b06d61bd-3bc1-47a9-8acb-1faed11547af" providerId="ADAL" clId="{B6284D1A-71B0-43D0-A276-BF5B1397783A}" dt="2020-10-02T07:52:30.507" v="3655" actId="207"/>
          <ac:spMkLst>
            <pc:docMk/>
            <pc:sldMk cId="2575659523" sldId="7094"/>
            <ac:spMk id="41" creationId="{57FAD347-7765-4AC9-AAFB-71F4E2695161}"/>
          </ac:spMkLst>
        </pc:spChg>
        <pc:spChg chg="mod">
          <ac:chgData name="Théodora DUPONT-COURTADE" userId="b06d61bd-3bc1-47a9-8acb-1faed11547af" providerId="ADAL" clId="{B6284D1A-71B0-43D0-A276-BF5B1397783A}" dt="2020-10-02T07:52:30.507" v="3655" actId="207"/>
          <ac:spMkLst>
            <pc:docMk/>
            <pc:sldMk cId="2575659523" sldId="7094"/>
            <ac:spMk id="42" creationId="{5F629B99-01EE-46E7-8762-68B039E51D99}"/>
          </ac:spMkLst>
        </pc:spChg>
        <pc:spChg chg="mod">
          <ac:chgData name="Théodora DUPONT-COURTADE" userId="b06d61bd-3bc1-47a9-8acb-1faed11547af" providerId="ADAL" clId="{B6284D1A-71B0-43D0-A276-BF5B1397783A}" dt="2020-10-02T07:52:33.311" v="3656" actId="207"/>
          <ac:spMkLst>
            <pc:docMk/>
            <pc:sldMk cId="2575659523" sldId="7094"/>
            <ac:spMk id="43" creationId="{9765D66E-D23C-4481-AEBA-6839A65505B8}"/>
          </ac:spMkLst>
        </pc:spChg>
        <pc:spChg chg="add del mod">
          <ac:chgData name="Théodora DUPONT-COURTADE" userId="b06d61bd-3bc1-47a9-8acb-1faed11547af" providerId="ADAL" clId="{B6284D1A-71B0-43D0-A276-BF5B1397783A}" dt="2020-10-02T12:16:48.429" v="4620" actId="21"/>
          <ac:spMkLst>
            <pc:docMk/>
            <pc:sldMk cId="2575659523" sldId="7094"/>
            <ac:spMk id="52" creationId="{ABC3D3F9-82B2-425C-B4AA-6401AEF67EB1}"/>
          </ac:spMkLst>
        </pc:spChg>
        <pc:spChg chg="mod">
          <ac:chgData name="Théodora DUPONT-COURTADE" userId="b06d61bd-3bc1-47a9-8acb-1faed11547af" providerId="ADAL" clId="{B6284D1A-71B0-43D0-A276-BF5B1397783A}" dt="2020-10-02T12:36:45.265" v="5084" actId="948"/>
          <ac:spMkLst>
            <pc:docMk/>
            <pc:sldMk cId="2575659523" sldId="7094"/>
            <ac:spMk id="53" creationId="{85C9B527-FA33-4B57-916D-41117BE16110}"/>
          </ac:spMkLst>
        </pc:spChg>
        <pc:spChg chg="mod">
          <ac:chgData name="Théodora DUPONT-COURTADE" userId="b06d61bd-3bc1-47a9-8acb-1faed11547af" providerId="ADAL" clId="{B6284D1A-71B0-43D0-A276-BF5B1397783A}" dt="2020-10-02T12:36:34.324" v="5083" actId="14100"/>
          <ac:spMkLst>
            <pc:docMk/>
            <pc:sldMk cId="2575659523" sldId="7094"/>
            <ac:spMk id="54" creationId="{30202BE6-4338-4A9A-BDBC-513CA66AA913}"/>
          </ac:spMkLst>
        </pc:spChg>
        <pc:spChg chg="mod">
          <ac:chgData name="Théodora DUPONT-COURTADE" userId="b06d61bd-3bc1-47a9-8acb-1faed11547af" providerId="ADAL" clId="{B6284D1A-71B0-43D0-A276-BF5B1397783A}" dt="2020-10-02T12:17:50.635" v="4712"/>
          <ac:spMkLst>
            <pc:docMk/>
            <pc:sldMk cId="2575659523" sldId="7094"/>
            <ac:spMk id="57" creationId="{C3FCF3BC-BDB5-4FC8-8193-DE7CACE16EBE}"/>
          </ac:spMkLst>
        </pc:spChg>
        <pc:spChg chg="mod">
          <ac:chgData name="Théodora DUPONT-COURTADE" userId="b06d61bd-3bc1-47a9-8acb-1faed11547af" providerId="ADAL" clId="{B6284D1A-71B0-43D0-A276-BF5B1397783A}" dt="2020-10-02T12:35:31.350" v="5050" actId="1076"/>
          <ac:spMkLst>
            <pc:docMk/>
            <pc:sldMk cId="2575659523" sldId="7094"/>
            <ac:spMk id="65" creationId="{5395328B-7CCC-41F7-B6AF-0ACA664DF620}"/>
          </ac:spMkLst>
        </pc:spChg>
        <pc:spChg chg="mod">
          <ac:chgData name="Théodora DUPONT-COURTADE" userId="b06d61bd-3bc1-47a9-8acb-1faed11547af" providerId="ADAL" clId="{B6284D1A-71B0-43D0-A276-BF5B1397783A}" dt="2020-10-02T13:29:38.414" v="9507" actId="14100"/>
          <ac:spMkLst>
            <pc:docMk/>
            <pc:sldMk cId="2575659523" sldId="7094"/>
            <ac:spMk id="66" creationId="{E6BDF360-DB3D-4CF8-B16E-DC935FB35B3E}"/>
          </ac:spMkLst>
        </pc:spChg>
        <pc:spChg chg="mod">
          <ac:chgData name="Théodora DUPONT-COURTADE" userId="b06d61bd-3bc1-47a9-8acb-1faed11547af" providerId="ADAL" clId="{B6284D1A-71B0-43D0-A276-BF5B1397783A}" dt="2020-10-02T13:30:19.910" v="9514" actId="1036"/>
          <ac:spMkLst>
            <pc:docMk/>
            <pc:sldMk cId="2575659523" sldId="7094"/>
            <ac:spMk id="67" creationId="{323A694C-FF5E-4302-8C5A-9BB0A925FF28}"/>
          </ac:spMkLst>
        </pc:spChg>
        <pc:spChg chg="mod">
          <ac:chgData name="Théodora DUPONT-COURTADE" userId="b06d61bd-3bc1-47a9-8acb-1faed11547af" providerId="ADAL" clId="{B6284D1A-71B0-43D0-A276-BF5B1397783A}" dt="2020-10-02T12:17:54.017" v="4714" actId="20577"/>
          <ac:spMkLst>
            <pc:docMk/>
            <pc:sldMk cId="2575659523" sldId="7094"/>
            <ac:spMk id="68" creationId="{A9A84AE3-D2DC-4351-8E70-1E16E888CA94}"/>
          </ac:spMkLst>
        </pc:spChg>
        <pc:spChg chg="mod">
          <ac:chgData name="Théodora DUPONT-COURTADE" userId="b06d61bd-3bc1-47a9-8acb-1faed11547af" providerId="ADAL" clId="{B6284D1A-71B0-43D0-A276-BF5B1397783A}" dt="2020-10-02T12:17:58.904" v="4715" actId="571"/>
          <ac:spMkLst>
            <pc:docMk/>
            <pc:sldMk cId="2575659523" sldId="7094"/>
            <ac:spMk id="70" creationId="{56B033F2-4463-4800-8C97-AF4F2DB2BFAE}"/>
          </ac:spMkLst>
        </pc:spChg>
        <pc:spChg chg="mod">
          <ac:chgData name="Théodora DUPONT-COURTADE" userId="b06d61bd-3bc1-47a9-8acb-1faed11547af" providerId="ADAL" clId="{B6284D1A-71B0-43D0-A276-BF5B1397783A}" dt="2020-10-02T12:18:00.856" v="4717" actId="20577"/>
          <ac:spMkLst>
            <pc:docMk/>
            <pc:sldMk cId="2575659523" sldId="7094"/>
            <ac:spMk id="71" creationId="{692982A3-FEC9-4ABA-88F3-C1BC36500BBF}"/>
          </ac:spMkLst>
        </pc:spChg>
        <pc:spChg chg="mod">
          <ac:chgData name="Théodora DUPONT-COURTADE" userId="b06d61bd-3bc1-47a9-8acb-1faed11547af" providerId="ADAL" clId="{B6284D1A-71B0-43D0-A276-BF5B1397783A}" dt="2020-10-02T12:18:06.330" v="4718" actId="571"/>
          <ac:spMkLst>
            <pc:docMk/>
            <pc:sldMk cId="2575659523" sldId="7094"/>
            <ac:spMk id="73" creationId="{68C6FCB2-4B89-4DE7-ABE2-4F3B184AD667}"/>
          </ac:spMkLst>
        </pc:spChg>
        <pc:spChg chg="mod">
          <ac:chgData name="Théodora DUPONT-COURTADE" userId="b06d61bd-3bc1-47a9-8acb-1faed11547af" providerId="ADAL" clId="{B6284D1A-71B0-43D0-A276-BF5B1397783A}" dt="2020-10-02T12:18:12.356" v="4722" actId="20577"/>
          <ac:spMkLst>
            <pc:docMk/>
            <pc:sldMk cId="2575659523" sldId="7094"/>
            <ac:spMk id="74" creationId="{3EE567D1-AB5F-4536-98B0-5C19A2BF3325}"/>
          </ac:spMkLst>
        </pc:spChg>
        <pc:grpChg chg="mod">
          <ac:chgData name="Théodora DUPONT-COURTADE" userId="b06d61bd-3bc1-47a9-8acb-1faed11547af" providerId="ADAL" clId="{B6284D1A-71B0-43D0-A276-BF5B1397783A}" dt="2020-10-02T13:30:24.300" v="9522" actId="1036"/>
          <ac:grpSpMkLst>
            <pc:docMk/>
            <pc:sldMk cId="2575659523" sldId="7094"/>
            <ac:grpSpMk id="34" creationId="{70CC677D-8B0C-4BFD-902E-19EDC32D4225}"/>
          </ac:grpSpMkLst>
        </pc:grpChg>
        <pc:grpChg chg="add mod">
          <ac:chgData name="Théodora DUPONT-COURTADE" userId="b06d61bd-3bc1-47a9-8acb-1faed11547af" providerId="ADAL" clId="{B6284D1A-71B0-43D0-A276-BF5B1397783A}" dt="2020-10-02T12:17:50.635" v="4712"/>
          <ac:grpSpMkLst>
            <pc:docMk/>
            <pc:sldMk cId="2575659523" sldId="7094"/>
            <ac:grpSpMk id="55" creationId="{A9115D41-40B8-4E00-997F-58775A2EB136}"/>
          </ac:grpSpMkLst>
        </pc:grpChg>
        <pc:grpChg chg="mod">
          <ac:chgData name="Théodora DUPONT-COURTADE" userId="b06d61bd-3bc1-47a9-8acb-1faed11547af" providerId="ADAL" clId="{B6284D1A-71B0-43D0-A276-BF5B1397783A}" dt="2020-10-02T12:35:35.766" v="5051" actId="1076"/>
          <ac:grpSpMkLst>
            <pc:docMk/>
            <pc:sldMk cId="2575659523" sldId="7094"/>
            <ac:grpSpMk id="63" creationId="{68016B45-48AF-4CE4-82E6-0BA07CC2AEAD}"/>
          </ac:grpSpMkLst>
        </pc:grpChg>
        <pc:grpChg chg="add mod">
          <ac:chgData name="Théodora DUPONT-COURTADE" userId="b06d61bd-3bc1-47a9-8acb-1faed11547af" providerId="ADAL" clId="{B6284D1A-71B0-43D0-A276-BF5B1397783A}" dt="2020-10-02T12:17:58.904" v="4715" actId="571"/>
          <ac:grpSpMkLst>
            <pc:docMk/>
            <pc:sldMk cId="2575659523" sldId="7094"/>
            <ac:grpSpMk id="69" creationId="{9BEF36D9-2EEA-4614-AC57-95D4A9D54545}"/>
          </ac:grpSpMkLst>
        </pc:grpChg>
        <pc:grpChg chg="add mod">
          <ac:chgData name="Théodora DUPONT-COURTADE" userId="b06d61bd-3bc1-47a9-8acb-1faed11547af" providerId="ADAL" clId="{B6284D1A-71B0-43D0-A276-BF5B1397783A}" dt="2020-10-02T12:18:06.330" v="4718" actId="571"/>
          <ac:grpSpMkLst>
            <pc:docMk/>
            <pc:sldMk cId="2575659523" sldId="7094"/>
            <ac:grpSpMk id="72" creationId="{6354CBFA-D14C-423E-A09C-AB1D46055E68}"/>
          </ac:grpSpMkLst>
        </pc:grpChg>
        <pc:graphicFrameChg chg="mod">
          <ac:chgData name="Théodora DUPONT-COURTADE" userId="b06d61bd-3bc1-47a9-8acb-1faed11547af" providerId="ADAL" clId="{B6284D1A-71B0-43D0-A276-BF5B1397783A}" dt="2020-10-07T08:54:32.352" v="16541"/>
          <ac:graphicFrameMkLst>
            <pc:docMk/>
            <pc:sldMk cId="2575659523" sldId="7094"/>
            <ac:graphicFrameMk id="14" creationId="{7ECA7587-5D4D-4C77-BC7A-FBCB26E9B679}"/>
          </ac:graphicFrameMkLst>
        </pc:graphicFrameChg>
        <pc:cxnChg chg="mod">
          <ac:chgData name="Théodora DUPONT-COURTADE" userId="b06d61bd-3bc1-47a9-8acb-1faed11547af" providerId="ADAL" clId="{B6284D1A-71B0-43D0-A276-BF5B1397783A}" dt="2020-10-02T13:30:26.746" v="9523" actId="14100"/>
          <ac:cxnSpMkLst>
            <pc:docMk/>
            <pc:sldMk cId="2575659523" sldId="7094"/>
            <ac:cxnSpMk id="8" creationId="{C008E6F0-6420-4509-B51B-25EA2963AE72}"/>
          </ac:cxnSpMkLst>
        </pc:cxnChg>
      </pc:sldChg>
      <pc:sldChg chg="del">
        <pc:chgData name="Théodora DUPONT-COURTADE" userId="b06d61bd-3bc1-47a9-8acb-1faed11547af" providerId="ADAL" clId="{B6284D1A-71B0-43D0-A276-BF5B1397783A}" dt="2020-10-02T13:14:18.839" v="9273" actId="47"/>
        <pc:sldMkLst>
          <pc:docMk/>
          <pc:sldMk cId="1454722016" sldId="7095"/>
        </pc:sldMkLst>
      </pc:sldChg>
      <pc:sldChg chg="addSp delSp modSp mod">
        <pc:chgData name="Théodora DUPONT-COURTADE" userId="b06d61bd-3bc1-47a9-8acb-1faed11547af" providerId="ADAL" clId="{B6284D1A-71B0-43D0-A276-BF5B1397783A}" dt="2020-10-07T09:00:08.783" v="16611" actId="20577"/>
        <pc:sldMkLst>
          <pc:docMk/>
          <pc:sldMk cId="1503655535" sldId="7096"/>
        </pc:sldMkLst>
        <pc:spChg chg="mod">
          <ac:chgData name="Théodora DUPONT-COURTADE" userId="b06d61bd-3bc1-47a9-8acb-1faed11547af" providerId="ADAL" clId="{B6284D1A-71B0-43D0-A276-BF5B1397783A}" dt="2020-10-07T08:48:28.684" v="16346" actId="14100"/>
          <ac:spMkLst>
            <pc:docMk/>
            <pc:sldMk cId="1503655535" sldId="7096"/>
            <ac:spMk id="2" creationId="{A9C092F8-DE50-48F2-8C73-D86A5F6F272A}"/>
          </ac:spMkLst>
        </pc:spChg>
        <pc:spChg chg="mod">
          <ac:chgData name="Théodora DUPONT-COURTADE" userId="b06d61bd-3bc1-47a9-8acb-1faed11547af" providerId="ADAL" clId="{B6284D1A-71B0-43D0-A276-BF5B1397783A}" dt="2020-10-07T09:00:08.783" v="16611" actId="20577"/>
          <ac:spMkLst>
            <pc:docMk/>
            <pc:sldMk cId="1503655535" sldId="7096"/>
            <ac:spMk id="3" creationId="{7851D9B2-2606-4A80-88A9-9AB3D973C3CD}"/>
          </ac:spMkLst>
        </pc:spChg>
        <pc:spChg chg="mod">
          <ac:chgData name="Théodora DUPONT-COURTADE" userId="b06d61bd-3bc1-47a9-8acb-1faed11547af" providerId="ADAL" clId="{B6284D1A-71B0-43D0-A276-BF5B1397783A}" dt="2020-10-07T08:48:29.511" v="16367" actId="6549"/>
          <ac:spMkLst>
            <pc:docMk/>
            <pc:sldMk cId="1503655535" sldId="7096"/>
            <ac:spMk id="12" creationId="{619634F8-055C-4FE0-B70D-01CBBCB4F21F}"/>
          </ac:spMkLst>
        </pc:spChg>
        <pc:spChg chg="mod">
          <ac:chgData name="Théodora DUPONT-COURTADE" userId="b06d61bd-3bc1-47a9-8acb-1faed11547af" providerId="ADAL" clId="{B6284D1A-71B0-43D0-A276-BF5B1397783A}" dt="2020-10-07T08:48:25.794" v="16345"/>
          <ac:spMkLst>
            <pc:docMk/>
            <pc:sldMk cId="1503655535" sldId="7096"/>
            <ac:spMk id="39" creationId="{D939CDD4-A5E5-4ED1-A8F8-DF6ABE2BC609}"/>
          </ac:spMkLst>
        </pc:spChg>
        <pc:spChg chg="mod">
          <ac:chgData name="Théodora DUPONT-COURTADE" userId="b06d61bd-3bc1-47a9-8acb-1faed11547af" providerId="ADAL" clId="{B6284D1A-71B0-43D0-A276-BF5B1397783A}" dt="2020-10-07T08:48:25.794" v="16345"/>
          <ac:spMkLst>
            <pc:docMk/>
            <pc:sldMk cId="1503655535" sldId="7096"/>
            <ac:spMk id="40" creationId="{99965D74-DD1B-4878-B5FD-FA6E55C29A74}"/>
          </ac:spMkLst>
        </pc:spChg>
        <pc:spChg chg="mod">
          <ac:chgData name="Théodora DUPONT-COURTADE" userId="b06d61bd-3bc1-47a9-8acb-1faed11547af" providerId="ADAL" clId="{B6284D1A-71B0-43D0-A276-BF5B1397783A}" dt="2020-10-07T08:48:25.794" v="16345"/>
          <ac:spMkLst>
            <pc:docMk/>
            <pc:sldMk cId="1503655535" sldId="7096"/>
            <ac:spMk id="41" creationId="{8458869D-3DE1-49E7-8E2A-4AC1E7D7F5C7}"/>
          </ac:spMkLst>
        </pc:spChg>
        <pc:spChg chg="mod">
          <ac:chgData name="Théodora DUPONT-COURTADE" userId="b06d61bd-3bc1-47a9-8acb-1faed11547af" providerId="ADAL" clId="{B6284D1A-71B0-43D0-A276-BF5B1397783A}" dt="2020-10-07T08:48:25.794" v="16345"/>
          <ac:spMkLst>
            <pc:docMk/>
            <pc:sldMk cId="1503655535" sldId="7096"/>
            <ac:spMk id="42" creationId="{EFCB1A6C-3008-481A-A58C-F76B73E248F0}"/>
          </ac:spMkLst>
        </pc:spChg>
        <pc:spChg chg="mod">
          <ac:chgData name="Théodora DUPONT-COURTADE" userId="b06d61bd-3bc1-47a9-8acb-1faed11547af" providerId="ADAL" clId="{B6284D1A-71B0-43D0-A276-BF5B1397783A}" dt="2020-10-07T08:48:25.794" v="16345"/>
          <ac:spMkLst>
            <pc:docMk/>
            <pc:sldMk cId="1503655535" sldId="7096"/>
            <ac:spMk id="50" creationId="{4A33E7D6-39CA-4488-B55D-31484323F65F}"/>
          </ac:spMkLst>
        </pc:spChg>
        <pc:spChg chg="mod">
          <ac:chgData name="Théodora DUPONT-COURTADE" userId="b06d61bd-3bc1-47a9-8acb-1faed11547af" providerId="ADAL" clId="{B6284D1A-71B0-43D0-A276-BF5B1397783A}" dt="2020-10-07T08:48:42.513" v="16374"/>
          <ac:spMkLst>
            <pc:docMk/>
            <pc:sldMk cId="1503655535" sldId="7096"/>
            <ac:spMk id="52" creationId="{60A0B93C-C422-430A-AF95-D3426C2C1B5F}"/>
          </ac:spMkLst>
        </pc:spChg>
        <pc:spChg chg="mod">
          <ac:chgData name="Théodora DUPONT-COURTADE" userId="b06d61bd-3bc1-47a9-8acb-1faed11547af" providerId="ADAL" clId="{B6284D1A-71B0-43D0-A276-BF5B1397783A}" dt="2020-10-07T08:48:42.513" v="16374"/>
          <ac:spMkLst>
            <pc:docMk/>
            <pc:sldMk cId="1503655535" sldId="7096"/>
            <ac:spMk id="53" creationId="{07579B39-723B-49BC-931E-FF3A799E4200}"/>
          </ac:spMkLst>
        </pc:spChg>
        <pc:spChg chg="mod">
          <ac:chgData name="Théodora DUPONT-COURTADE" userId="b06d61bd-3bc1-47a9-8acb-1faed11547af" providerId="ADAL" clId="{B6284D1A-71B0-43D0-A276-BF5B1397783A}" dt="2020-10-07T08:48:42.513" v="16374"/>
          <ac:spMkLst>
            <pc:docMk/>
            <pc:sldMk cId="1503655535" sldId="7096"/>
            <ac:spMk id="54" creationId="{BAE14039-B1CD-4615-B721-DEAFA44AE936}"/>
          </ac:spMkLst>
        </pc:spChg>
        <pc:spChg chg="mod">
          <ac:chgData name="Théodora DUPONT-COURTADE" userId="b06d61bd-3bc1-47a9-8acb-1faed11547af" providerId="ADAL" clId="{B6284D1A-71B0-43D0-A276-BF5B1397783A}" dt="2020-10-07T08:48:42.513" v="16374"/>
          <ac:spMkLst>
            <pc:docMk/>
            <pc:sldMk cId="1503655535" sldId="7096"/>
            <ac:spMk id="55" creationId="{CAF5684F-13EC-4E37-A567-7E55EBA83DED}"/>
          </ac:spMkLst>
        </pc:spChg>
        <pc:spChg chg="mod">
          <ac:chgData name="Théodora DUPONT-COURTADE" userId="b06d61bd-3bc1-47a9-8acb-1faed11547af" providerId="ADAL" clId="{B6284D1A-71B0-43D0-A276-BF5B1397783A}" dt="2020-10-07T08:48:42.513" v="16374"/>
          <ac:spMkLst>
            <pc:docMk/>
            <pc:sldMk cId="1503655535" sldId="7096"/>
            <ac:spMk id="60" creationId="{D8D6C641-7FAD-4C28-A8BA-6D35863AA44E}"/>
          </ac:spMkLst>
        </pc:spChg>
        <pc:grpChg chg="add del mod">
          <ac:chgData name="Théodora DUPONT-COURTADE" userId="b06d61bd-3bc1-47a9-8acb-1faed11547af" providerId="ADAL" clId="{B6284D1A-71B0-43D0-A276-BF5B1397783A}" dt="2020-10-07T08:48:42.076" v="16373" actId="478"/>
          <ac:grpSpMkLst>
            <pc:docMk/>
            <pc:sldMk cId="1503655535" sldId="7096"/>
            <ac:grpSpMk id="38" creationId="{F19E259D-F8A8-45D2-A92A-DF63244D2D46}"/>
          </ac:grpSpMkLst>
        </pc:grpChg>
        <pc:grpChg chg="add mod">
          <ac:chgData name="Théodora DUPONT-COURTADE" userId="b06d61bd-3bc1-47a9-8acb-1faed11547af" providerId="ADAL" clId="{B6284D1A-71B0-43D0-A276-BF5B1397783A}" dt="2020-10-07T08:48:42.513" v="16374"/>
          <ac:grpSpMkLst>
            <pc:docMk/>
            <pc:sldMk cId="1503655535" sldId="7096"/>
            <ac:grpSpMk id="51" creationId="{80F6340F-2B9D-455C-93DB-4911F538A5A4}"/>
          </ac:grpSpMkLst>
        </pc:grpChg>
        <pc:graphicFrameChg chg="mod">
          <ac:chgData name="Théodora DUPONT-COURTADE" userId="b06d61bd-3bc1-47a9-8acb-1faed11547af" providerId="ADAL" clId="{B6284D1A-71B0-43D0-A276-BF5B1397783A}" dt="2020-10-07T08:48:29.535" v="16369"/>
          <ac:graphicFrameMkLst>
            <pc:docMk/>
            <pc:sldMk cId="1503655535" sldId="7096"/>
            <ac:graphicFrameMk id="11" creationId="{E122C107-C2A1-4953-9350-91B7A10F6DE1}"/>
          </ac:graphicFrameMkLst>
        </pc:graphicFrameChg>
        <pc:picChg chg="mod">
          <ac:chgData name="Théodora DUPONT-COURTADE" userId="b06d61bd-3bc1-47a9-8acb-1faed11547af" providerId="ADAL" clId="{B6284D1A-71B0-43D0-A276-BF5B1397783A}" dt="2020-10-07T08:48:25.794" v="16345"/>
          <ac:picMkLst>
            <pc:docMk/>
            <pc:sldMk cId="1503655535" sldId="7096"/>
            <ac:picMk id="43" creationId="{CD294676-6B06-4446-886B-6C812CDE79EE}"/>
          </ac:picMkLst>
        </pc:picChg>
        <pc:picChg chg="mod">
          <ac:chgData name="Théodora DUPONT-COURTADE" userId="b06d61bd-3bc1-47a9-8acb-1faed11547af" providerId="ADAL" clId="{B6284D1A-71B0-43D0-A276-BF5B1397783A}" dt="2020-10-07T08:48:25.794" v="16345"/>
          <ac:picMkLst>
            <pc:docMk/>
            <pc:sldMk cId="1503655535" sldId="7096"/>
            <ac:picMk id="44" creationId="{3E96F848-475F-4410-A011-2B8CECF6C8B2}"/>
          </ac:picMkLst>
        </pc:picChg>
        <pc:picChg chg="mod">
          <ac:chgData name="Théodora DUPONT-COURTADE" userId="b06d61bd-3bc1-47a9-8acb-1faed11547af" providerId="ADAL" clId="{B6284D1A-71B0-43D0-A276-BF5B1397783A}" dt="2020-10-07T08:48:25.794" v="16345"/>
          <ac:picMkLst>
            <pc:docMk/>
            <pc:sldMk cId="1503655535" sldId="7096"/>
            <ac:picMk id="45" creationId="{BBDFA9DE-8664-4E85-A8D6-0F889572DDE0}"/>
          </ac:picMkLst>
        </pc:picChg>
        <pc:picChg chg="mod">
          <ac:chgData name="Théodora DUPONT-COURTADE" userId="b06d61bd-3bc1-47a9-8acb-1faed11547af" providerId="ADAL" clId="{B6284D1A-71B0-43D0-A276-BF5B1397783A}" dt="2020-10-07T08:48:25.794" v="16345"/>
          <ac:picMkLst>
            <pc:docMk/>
            <pc:sldMk cId="1503655535" sldId="7096"/>
            <ac:picMk id="46" creationId="{9C7DC204-B777-44FE-A09C-09271E10DB03}"/>
          </ac:picMkLst>
        </pc:picChg>
        <pc:picChg chg="del mod">
          <ac:chgData name="Théodora DUPONT-COURTADE" userId="b06d61bd-3bc1-47a9-8acb-1faed11547af" providerId="ADAL" clId="{B6284D1A-71B0-43D0-A276-BF5B1397783A}" dt="2020-10-07T08:48:30.710" v="16370" actId="478"/>
          <ac:picMkLst>
            <pc:docMk/>
            <pc:sldMk cId="1503655535" sldId="7096"/>
            <ac:picMk id="47" creationId="{678E1DD4-33ED-4332-872B-5393411279FD}"/>
          </ac:picMkLst>
        </pc:picChg>
        <pc:picChg chg="del mod">
          <ac:chgData name="Théodora DUPONT-COURTADE" userId="b06d61bd-3bc1-47a9-8acb-1faed11547af" providerId="ADAL" clId="{B6284D1A-71B0-43D0-A276-BF5B1397783A}" dt="2020-10-07T08:48:31.919" v="16371" actId="478"/>
          <ac:picMkLst>
            <pc:docMk/>
            <pc:sldMk cId="1503655535" sldId="7096"/>
            <ac:picMk id="48" creationId="{8141F017-D602-4D5E-984C-7A9FB9EDBCBB}"/>
          </ac:picMkLst>
        </pc:picChg>
        <pc:picChg chg="del mod">
          <ac:chgData name="Théodora DUPONT-COURTADE" userId="b06d61bd-3bc1-47a9-8acb-1faed11547af" providerId="ADAL" clId="{B6284D1A-71B0-43D0-A276-BF5B1397783A}" dt="2020-10-07T08:48:33.272" v="16372" actId="478"/>
          <ac:picMkLst>
            <pc:docMk/>
            <pc:sldMk cId="1503655535" sldId="7096"/>
            <ac:picMk id="49" creationId="{86C0B45B-D15F-46ED-A81D-C5AA91ACF36C}"/>
          </ac:picMkLst>
        </pc:picChg>
        <pc:picChg chg="mod">
          <ac:chgData name="Théodora DUPONT-COURTADE" userId="b06d61bd-3bc1-47a9-8acb-1faed11547af" providerId="ADAL" clId="{B6284D1A-71B0-43D0-A276-BF5B1397783A}" dt="2020-10-07T08:48:42.513" v="16374"/>
          <ac:picMkLst>
            <pc:docMk/>
            <pc:sldMk cId="1503655535" sldId="7096"/>
            <ac:picMk id="56" creationId="{C06E8CA4-6097-49B4-8906-26197DF574EF}"/>
          </ac:picMkLst>
        </pc:picChg>
        <pc:picChg chg="mod">
          <ac:chgData name="Théodora DUPONT-COURTADE" userId="b06d61bd-3bc1-47a9-8acb-1faed11547af" providerId="ADAL" clId="{B6284D1A-71B0-43D0-A276-BF5B1397783A}" dt="2020-10-07T08:48:42.513" v="16374"/>
          <ac:picMkLst>
            <pc:docMk/>
            <pc:sldMk cId="1503655535" sldId="7096"/>
            <ac:picMk id="57" creationId="{4FC03CC4-8CDC-4766-9EBA-EE1086311A3D}"/>
          </ac:picMkLst>
        </pc:picChg>
        <pc:picChg chg="mod">
          <ac:chgData name="Théodora DUPONT-COURTADE" userId="b06d61bd-3bc1-47a9-8acb-1faed11547af" providerId="ADAL" clId="{B6284D1A-71B0-43D0-A276-BF5B1397783A}" dt="2020-10-07T08:48:42.513" v="16374"/>
          <ac:picMkLst>
            <pc:docMk/>
            <pc:sldMk cId="1503655535" sldId="7096"/>
            <ac:picMk id="58" creationId="{E83FECC4-6014-4D01-B8C6-F3F2EA893CF1}"/>
          </ac:picMkLst>
        </pc:picChg>
        <pc:picChg chg="mod">
          <ac:chgData name="Théodora DUPONT-COURTADE" userId="b06d61bd-3bc1-47a9-8acb-1faed11547af" providerId="ADAL" clId="{B6284D1A-71B0-43D0-A276-BF5B1397783A}" dt="2020-10-07T08:48:42.513" v="16374"/>
          <ac:picMkLst>
            <pc:docMk/>
            <pc:sldMk cId="1503655535" sldId="7096"/>
            <ac:picMk id="59" creationId="{EA634130-507E-4A08-B49F-F311FE7B673D}"/>
          </ac:picMkLst>
        </pc:picChg>
      </pc:sldChg>
      <pc:sldChg chg="del">
        <pc:chgData name="Théodora DUPONT-COURTADE" userId="b06d61bd-3bc1-47a9-8acb-1faed11547af" providerId="ADAL" clId="{B6284D1A-71B0-43D0-A276-BF5B1397783A}" dt="2020-10-02T12:43:27.509" v="5852" actId="47"/>
        <pc:sldMkLst>
          <pc:docMk/>
          <pc:sldMk cId="2909195475" sldId="7097"/>
        </pc:sldMkLst>
      </pc:sldChg>
      <pc:sldChg chg="addSp delSp modSp new add mod delAnim modAnim">
        <pc:chgData name="Théodora DUPONT-COURTADE" userId="b06d61bd-3bc1-47a9-8acb-1faed11547af" providerId="ADAL" clId="{B6284D1A-71B0-43D0-A276-BF5B1397783A}" dt="2020-10-07T08:56:10.745" v="16547" actId="20577"/>
        <pc:sldMkLst>
          <pc:docMk/>
          <pc:sldMk cId="932497199" sldId="7098"/>
        </pc:sldMkLst>
        <pc:spChg chg="mod">
          <ac:chgData name="Théodora DUPONT-COURTADE" userId="b06d61bd-3bc1-47a9-8acb-1faed11547af" providerId="ADAL" clId="{B6284D1A-71B0-43D0-A276-BF5B1397783A}" dt="2020-10-07T08:53:49.474" v="16452" actId="14100"/>
          <ac:spMkLst>
            <pc:docMk/>
            <pc:sldMk cId="932497199" sldId="7098"/>
            <ac:spMk id="2" creationId="{76220716-6EE1-49C9-8E19-B2AD0F45E33F}"/>
          </ac:spMkLst>
        </pc:spChg>
        <pc:spChg chg="mod ord">
          <ac:chgData name="Théodora DUPONT-COURTADE" userId="b06d61bd-3bc1-47a9-8acb-1faed11547af" providerId="ADAL" clId="{B6284D1A-71B0-43D0-A276-BF5B1397783A}" dt="2020-10-02T14:15:20.937" v="12996"/>
          <ac:spMkLst>
            <pc:docMk/>
            <pc:sldMk cId="932497199" sldId="7098"/>
            <ac:spMk id="3" creationId="{753942E6-140C-4FC4-B3C6-37607A76B89E}"/>
          </ac:spMkLst>
        </pc:spChg>
        <pc:spChg chg="add del mod ord">
          <ac:chgData name="Théodora DUPONT-COURTADE" userId="b06d61bd-3bc1-47a9-8acb-1faed11547af" providerId="ADAL" clId="{B6284D1A-71B0-43D0-A276-BF5B1397783A}" dt="2020-10-02T14:36:19.692" v="14222" actId="478"/>
          <ac:spMkLst>
            <pc:docMk/>
            <pc:sldMk cId="932497199" sldId="7098"/>
            <ac:spMk id="4" creationId="{7169D6B0-FD38-40E5-96BE-4E37B4BBB8BB}"/>
          </ac:spMkLst>
        </pc:spChg>
        <pc:spChg chg="mod">
          <ac:chgData name="Théodora DUPONT-COURTADE" userId="b06d61bd-3bc1-47a9-8acb-1faed11547af" providerId="ADAL" clId="{B6284D1A-71B0-43D0-A276-BF5B1397783A}" dt="2020-10-02T12:17:13.138" v="4625"/>
          <ac:spMkLst>
            <pc:docMk/>
            <pc:sldMk cId="932497199" sldId="7098"/>
            <ac:spMk id="6" creationId="{3DD4ADB5-78F1-4B30-9D1E-A69DBEBAE479}"/>
          </ac:spMkLst>
        </pc:spChg>
        <pc:spChg chg="mod">
          <ac:chgData name="Théodora DUPONT-COURTADE" userId="b06d61bd-3bc1-47a9-8acb-1faed11547af" providerId="ADAL" clId="{B6284D1A-71B0-43D0-A276-BF5B1397783A}" dt="2020-10-02T12:17:40.841" v="4711" actId="20577"/>
          <ac:spMkLst>
            <pc:docMk/>
            <pc:sldMk cId="932497199" sldId="7098"/>
            <ac:spMk id="7" creationId="{649BC23B-4D27-4EC5-BD78-4FF49D86A982}"/>
          </ac:spMkLst>
        </pc:spChg>
        <pc:spChg chg="mod">
          <ac:chgData name="Théodora DUPONT-COURTADE" userId="b06d61bd-3bc1-47a9-8acb-1faed11547af" providerId="ADAL" clId="{B6284D1A-71B0-43D0-A276-BF5B1397783A}" dt="2020-10-02T12:17:31.652" v="4642"/>
          <ac:spMkLst>
            <pc:docMk/>
            <pc:sldMk cId="932497199" sldId="7098"/>
            <ac:spMk id="10" creationId="{33E03342-5CD7-4F16-8158-A47BB38FFA64}"/>
          </ac:spMkLst>
        </pc:spChg>
        <pc:spChg chg="mod">
          <ac:chgData name="Théodora DUPONT-COURTADE" userId="b06d61bd-3bc1-47a9-8acb-1faed11547af" providerId="ADAL" clId="{B6284D1A-71B0-43D0-A276-BF5B1397783A}" dt="2020-10-02T12:17:31.652" v="4642"/>
          <ac:spMkLst>
            <pc:docMk/>
            <pc:sldMk cId="932497199" sldId="7098"/>
            <ac:spMk id="11" creationId="{CA7088DA-4CA1-4D4F-8941-9B1AD29A118A}"/>
          </ac:spMkLst>
        </pc:spChg>
        <pc:spChg chg="mod">
          <ac:chgData name="Théodora DUPONT-COURTADE" userId="b06d61bd-3bc1-47a9-8acb-1faed11547af" providerId="ADAL" clId="{B6284D1A-71B0-43D0-A276-BF5B1397783A}" dt="2020-10-02T12:17:31.652" v="4642"/>
          <ac:spMkLst>
            <pc:docMk/>
            <pc:sldMk cId="932497199" sldId="7098"/>
            <ac:spMk id="12" creationId="{23F4FA1C-8507-49EC-A33E-A20F0ACE2ACD}"/>
          </ac:spMkLst>
        </pc:spChg>
        <pc:spChg chg="mod">
          <ac:chgData name="Théodora DUPONT-COURTADE" userId="b06d61bd-3bc1-47a9-8acb-1faed11547af" providerId="ADAL" clId="{B6284D1A-71B0-43D0-A276-BF5B1397783A}" dt="2020-10-02T12:17:31.652" v="4642"/>
          <ac:spMkLst>
            <pc:docMk/>
            <pc:sldMk cId="932497199" sldId="7098"/>
            <ac:spMk id="13" creationId="{CF9E3071-400A-4C92-BB0B-5D8D0C6DD5CA}"/>
          </ac:spMkLst>
        </pc:spChg>
        <pc:spChg chg="mod">
          <ac:chgData name="Théodora DUPONT-COURTADE" userId="b06d61bd-3bc1-47a9-8acb-1faed11547af" providerId="ADAL" clId="{B6284D1A-71B0-43D0-A276-BF5B1397783A}" dt="2020-10-02T12:17:31.652" v="4642"/>
          <ac:spMkLst>
            <pc:docMk/>
            <pc:sldMk cId="932497199" sldId="7098"/>
            <ac:spMk id="21" creationId="{467614D8-3BAD-48DF-B33D-3942A80EC6D4}"/>
          </ac:spMkLst>
        </pc:spChg>
        <pc:spChg chg="add mod ord">
          <ac:chgData name="Théodora DUPONT-COURTADE" userId="b06d61bd-3bc1-47a9-8acb-1faed11547af" providerId="ADAL" clId="{B6284D1A-71B0-43D0-A276-BF5B1397783A}" dt="2020-10-02T14:15:20.941" v="13002"/>
          <ac:spMkLst>
            <pc:docMk/>
            <pc:sldMk cId="932497199" sldId="7098"/>
            <ac:spMk id="22" creationId="{864C235E-E2F1-4549-888E-51EFC79E8D30}"/>
          </ac:spMkLst>
        </pc:spChg>
        <pc:spChg chg="add mod ord modVis">
          <ac:chgData name="Théodora DUPONT-COURTADE" userId="b06d61bd-3bc1-47a9-8acb-1faed11547af" providerId="ADAL" clId="{B6284D1A-71B0-43D0-A276-BF5B1397783A}" dt="2020-10-07T08:53:50.308" v="16474" actId="6549"/>
          <ac:spMkLst>
            <pc:docMk/>
            <pc:sldMk cId="932497199" sldId="7098"/>
            <ac:spMk id="23" creationId="{CADFD501-5D43-4106-92F2-67EDE24A876F}"/>
          </ac:spMkLst>
        </pc:spChg>
        <pc:spChg chg="add del mod ord">
          <ac:chgData name="Théodora DUPONT-COURTADE" userId="b06d61bd-3bc1-47a9-8acb-1faed11547af" providerId="ADAL" clId="{B6284D1A-71B0-43D0-A276-BF5B1397783A}" dt="2020-10-02T14:37:01.518" v="14257" actId="478"/>
          <ac:spMkLst>
            <pc:docMk/>
            <pc:sldMk cId="932497199" sldId="7098"/>
            <ac:spMk id="24" creationId="{584A5822-6730-4DF3-951C-5078996C120F}"/>
          </ac:spMkLst>
        </pc:spChg>
        <pc:spChg chg="add del mod ord">
          <ac:chgData name="Théodora DUPONT-COURTADE" userId="b06d61bd-3bc1-47a9-8acb-1faed11547af" providerId="ADAL" clId="{B6284D1A-71B0-43D0-A276-BF5B1397783A}" dt="2020-10-02T13:57:39.613" v="10745" actId="478"/>
          <ac:spMkLst>
            <pc:docMk/>
            <pc:sldMk cId="932497199" sldId="7098"/>
            <ac:spMk id="25" creationId="{5AFC34F6-D973-4304-B8B4-99994F2B150A}"/>
          </ac:spMkLst>
        </pc:spChg>
        <pc:spChg chg="add mod ord">
          <ac:chgData name="Théodora DUPONT-COURTADE" userId="b06d61bd-3bc1-47a9-8acb-1faed11547af" providerId="ADAL" clId="{B6284D1A-71B0-43D0-A276-BF5B1397783A}" dt="2020-10-02T14:38:36.344" v="14290" actId="1035"/>
          <ac:spMkLst>
            <pc:docMk/>
            <pc:sldMk cId="932497199" sldId="7098"/>
            <ac:spMk id="27" creationId="{B87C2E06-4688-4B04-9566-5A29A235D5F9}"/>
          </ac:spMkLst>
        </pc:spChg>
        <pc:spChg chg="add del mod">
          <ac:chgData name="Théodora DUPONT-COURTADE" userId="b06d61bd-3bc1-47a9-8acb-1faed11547af" providerId="ADAL" clId="{B6284D1A-71B0-43D0-A276-BF5B1397783A}" dt="2020-10-02T14:21:06.765" v="13165" actId="478"/>
          <ac:spMkLst>
            <pc:docMk/>
            <pc:sldMk cId="932497199" sldId="7098"/>
            <ac:spMk id="28" creationId="{5C7A8CF7-0EE6-4DFE-A41D-760AD813DECA}"/>
          </ac:spMkLst>
        </pc:spChg>
        <pc:spChg chg="add del mod">
          <ac:chgData name="Théodora DUPONT-COURTADE" userId="b06d61bd-3bc1-47a9-8acb-1faed11547af" providerId="ADAL" clId="{B6284D1A-71B0-43D0-A276-BF5B1397783A}" dt="2020-10-02T14:28:23.384" v="13750" actId="478"/>
          <ac:spMkLst>
            <pc:docMk/>
            <pc:sldMk cId="932497199" sldId="7098"/>
            <ac:spMk id="29" creationId="{063F801A-F39E-4776-9539-3476412077B3}"/>
          </ac:spMkLst>
        </pc:spChg>
        <pc:spChg chg="add del mod">
          <ac:chgData name="Théodora DUPONT-COURTADE" userId="b06d61bd-3bc1-47a9-8acb-1faed11547af" providerId="ADAL" clId="{B6284D1A-71B0-43D0-A276-BF5B1397783A}" dt="2020-10-02T14:28:26.065" v="13752" actId="478"/>
          <ac:spMkLst>
            <pc:docMk/>
            <pc:sldMk cId="932497199" sldId="7098"/>
            <ac:spMk id="30" creationId="{2F395568-EAAF-451B-8789-6EAF5931742B}"/>
          </ac:spMkLst>
        </pc:spChg>
        <pc:spChg chg="add mod">
          <ac:chgData name="Théodora DUPONT-COURTADE" userId="b06d61bd-3bc1-47a9-8acb-1faed11547af" providerId="ADAL" clId="{B6284D1A-71B0-43D0-A276-BF5B1397783A}" dt="2020-10-02T14:28:21.690" v="13749" actId="478"/>
          <ac:spMkLst>
            <pc:docMk/>
            <pc:sldMk cId="932497199" sldId="7098"/>
            <ac:spMk id="31" creationId="{60E4B1D7-18CD-41B5-AFD8-577DD89A3638}"/>
          </ac:spMkLst>
        </pc:spChg>
        <pc:spChg chg="add mod">
          <ac:chgData name="Théodora DUPONT-COURTADE" userId="b06d61bd-3bc1-47a9-8acb-1faed11547af" providerId="ADAL" clId="{B6284D1A-71B0-43D0-A276-BF5B1397783A}" dt="2020-10-02T14:28:21.690" v="13749" actId="478"/>
          <ac:spMkLst>
            <pc:docMk/>
            <pc:sldMk cId="932497199" sldId="7098"/>
            <ac:spMk id="32" creationId="{5FB67252-F6B7-403E-B22A-DB99462718FB}"/>
          </ac:spMkLst>
        </pc:spChg>
        <pc:spChg chg="add mod">
          <ac:chgData name="Théodora DUPONT-COURTADE" userId="b06d61bd-3bc1-47a9-8acb-1faed11547af" providerId="ADAL" clId="{B6284D1A-71B0-43D0-A276-BF5B1397783A}" dt="2020-10-02T14:28:21.690" v="13749" actId="478"/>
          <ac:spMkLst>
            <pc:docMk/>
            <pc:sldMk cId="932497199" sldId="7098"/>
            <ac:spMk id="33" creationId="{8089E78C-96F8-48F0-A522-541E2C71F201}"/>
          </ac:spMkLst>
        </pc:spChg>
        <pc:spChg chg="add del mod">
          <ac:chgData name="Théodora DUPONT-COURTADE" userId="b06d61bd-3bc1-47a9-8acb-1faed11547af" providerId="ADAL" clId="{B6284D1A-71B0-43D0-A276-BF5B1397783A}" dt="2020-10-02T14:28:21.690" v="13749" actId="478"/>
          <ac:spMkLst>
            <pc:docMk/>
            <pc:sldMk cId="932497199" sldId="7098"/>
            <ac:spMk id="34" creationId="{E794BC48-44C1-45C2-AB97-B4C35D7D9E09}"/>
          </ac:spMkLst>
        </pc:spChg>
        <pc:spChg chg="add del mod">
          <ac:chgData name="Théodora DUPONT-COURTADE" userId="b06d61bd-3bc1-47a9-8acb-1faed11547af" providerId="ADAL" clId="{B6284D1A-71B0-43D0-A276-BF5B1397783A}" dt="2020-10-02T14:28:28.502" v="13753" actId="478"/>
          <ac:spMkLst>
            <pc:docMk/>
            <pc:sldMk cId="932497199" sldId="7098"/>
            <ac:spMk id="35" creationId="{E9FE7A11-B5FC-4452-9206-AE8347A4E908}"/>
          </ac:spMkLst>
        </pc:spChg>
        <pc:spChg chg="add del mod">
          <ac:chgData name="Théodora DUPONT-COURTADE" userId="b06d61bd-3bc1-47a9-8acb-1faed11547af" providerId="ADAL" clId="{B6284D1A-71B0-43D0-A276-BF5B1397783A}" dt="2020-10-02T14:21:08.752" v="13166" actId="478"/>
          <ac:spMkLst>
            <pc:docMk/>
            <pc:sldMk cId="932497199" sldId="7098"/>
            <ac:spMk id="36" creationId="{7D265C63-B294-4B58-A166-7722F1699352}"/>
          </ac:spMkLst>
        </pc:spChg>
        <pc:spChg chg="add del mod ord">
          <ac:chgData name="Théodora DUPONT-COURTADE" userId="b06d61bd-3bc1-47a9-8acb-1faed11547af" providerId="ADAL" clId="{B6284D1A-71B0-43D0-A276-BF5B1397783A}" dt="2020-10-02T14:20:02.857" v="13065" actId="478"/>
          <ac:spMkLst>
            <pc:docMk/>
            <pc:sldMk cId="932497199" sldId="7098"/>
            <ac:spMk id="38" creationId="{E1EEF800-39D5-41C0-826F-B8A535882EC7}"/>
          </ac:spMkLst>
        </pc:spChg>
        <pc:spChg chg="add del mod">
          <ac:chgData name="Théodora DUPONT-COURTADE" userId="b06d61bd-3bc1-47a9-8acb-1faed11547af" providerId="ADAL" clId="{B6284D1A-71B0-43D0-A276-BF5B1397783A}" dt="2020-10-02T14:03:54.893" v="11825" actId="478"/>
          <ac:spMkLst>
            <pc:docMk/>
            <pc:sldMk cId="932497199" sldId="7098"/>
            <ac:spMk id="39" creationId="{BD40F951-25A7-4BE6-8374-CEE7782B4B1D}"/>
          </ac:spMkLst>
        </pc:spChg>
        <pc:spChg chg="mod ord topLvl">
          <ac:chgData name="Théodora DUPONT-COURTADE" userId="b06d61bd-3bc1-47a9-8acb-1faed11547af" providerId="ADAL" clId="{B6284D1A-71B0-43D0-A276-BF5B1397783A}" dt="2020-10-02T14:14:15.274" v="12295"/>
          <ac:spMkLst>
            <pc:docMk/>
            <pc:sldMk cId="932497199" sldId="7098"/>
            <ac:spMk id="43" creationId="{652294AB-D697-4906-8521-739CCAF30901}"/>
          </ac:spMkLst>
        </pc:spChg>
        <pc:spChg chg="mod ord topLvl">
          <ac:chgData name="Théodora DUPONT-COURTADE" userId="b06d61bd-3bc1-47a9-8acb-1faed11547af" providerId="ADAL" clId="{B6284D1A-71B0-43D0-A276-BF5B1397783A}" dt="2020-10-02T14:14:15.275" v="12297"/>
          <ac:spMkLst>
            <pc:docMk/>
            <pc:sldMk cId="932497199" sldId="7098"/>
            <ac:spMk id="44" creationId="{6D744996-1E7B-4864-992C-691926A3D1C8}"/>
          </ac:spMkLst>
        </pc:spChg>
        <pc:spChg chg="mod ord topLvl">
          <ac:chgData name="Théodora DUPONT-COURTADE" userId="b06d61bd-3bc1-47a9-8acb-1faed11547af" providerId="ADAL" clId="{B6284D1A-71B0-43D0-A276-BF5B1397783A}" dt="2020-10-02T14:14:15.276" v="12299"/>
          <ac:spMkLst>
            <pc:docMk/>
            <pc:sldMk cId="932497199" sldId="7098"/>
            <ac:spMk id="45" creationId="{EF41D204-1EB6-495C-A94D-DD93BE60B903}"/>
          </ac:spMkLst>
        </pc:spChg>
        <pc:spChg chg="mod ord topLvl">
          <ac:chgData name="Théodora DUPONT-COURTADE" userId="b06d61bd-3bc1-47a9-8acb-1faed11547af" providerId="ADAL" clId="{B6284D1A-71B0-43D0-A276-BF5B1397783A}" dt="2020-10-02T14:14:15.277" v="12301"/>
          <ac:spMkLst>
            <pc:docMk/>
            <pc:sldMk cId="932497199" sldId="7098"/>
            <ac:spMk id="46" creationId="{3DF3BAEF-8812-486A-93CF-09CA09293C09}"/>
          </ac:spMkLst>
        </pc:spChg>
        <pc:spChg chg="mod ord topLvl">
          <ac:chgData name="Théodora DUPONT-COURTADE" userId="b06d61bd-3bc1-47a9-8acb-1faed11547af" providerId="ADAL" clId="{B6284D1A-71B0-43D0-A276-BF5B1397783A}" dt="2020-10-02T14:14:15.220" v="12217"/>
          <ac:spMkLst>
            <pc:docMk/>
            <pc:sldMk cId="932497199" sldId="7098"/>
            <ac:spMk id="50" creationId="{047D8B9D-9E67-4A16-A340-8E4EE54047F8}"/>
          </ac:spMkLst>
        </pc:spChg>
        <pc:spChg chg="mod ord topLvl">
          <ac:chgData name="Théodora DUPONT-COURTADE" userId="b06d61bd-3bc1-47a9-8acb-1faed11547af" providerId="ADAL" clId="{B6284D1A-71B0-43D0-A276-BF5B1397783A}" dt="2020-10-02T14:14:15.221" v="12219"/>
          <ac:spMkLst>
            <pc:docMk/>
            <pc:sldMk cId="932497199" sldId="7098"/>
            <ac:spMk id="51" creationId="{DFBE5F8C-962C-4CC1-B3F4-4AF409CA175B}"/>
          </ac:spMkLst>
        </pc:spChg>
        <pc:spChg chg="mod ord topLvl">
          <ac:chgData name="Théodora DUPONT-COURTADE" userId="b06d61bd-3bc1-47a9-8acb-1faed11547af" providerId="ADAL" clId="{B6284D1A-71B0-43D0-A276-BF5B1397783A}" dt="2020-10-02T14:14:15.222" v="12221"/>
          <ac:spMkLst>
            <pc:docMk/>
            <pc:sldMk cId="932497199" sldId="7098"/>
            <ac:spMk id="52" creationId="{8C4E6533-9246-4D71-BCB8-45F39073DDBF}"/>
          </ac:spMkLst>
        </pc:spChg>
        <pc:spChg chg="mod ord topLvl">
          <ac:chgData name="Théodora DUPONT-COURTADE" userId="b06d61bd-3bc1-47a9-8acb-1faed11547af" providerId="ADAL" clId="{B6284D1A-71B0-43D0-A276-BF5B1397783A}" dt="2020-10-02T14:14:15.230" v="12225"/>
          <ac:spMkLst>
            <pc:docMk/>
            <pc:sldMk cId="932497199" sldId="7098"/>
            <ac:spMk id="54" creationId="{1B2584D6-EAB3-4B7E-A43E-6D6042332316}"/>
          </ac:spMkLst>
        </pc:spChg>
        <pc:spChg chg="mod ord topLvl">
          <ac:chgData name="Théodora DUPONT-COURTADE" userId="b06d61bd-3bc1-47a9-8acb-1faed11547af" providerId="ADAL" clId="{B6284D1A-71B0-43D0-A276-BF5B1397783A}" dt="2020-10-02T14:14:15.231" v="12227"/>
          <ac:spMkLst>
            <pc:docMk/>
            <pc:sldMk cId="932497199" sldId="7098"/>
            <ac:spMk id="55" creationId="{B54E6D51-A005-499F-AE74-3995D05EC322}"/>
          </ac:spMkLst>
        </pc:spChg>
        <pc:spChg chg="mod ord topLvl">
          <ac:chgData name="Théodora DUPONT-COURTADE" userId="b06d61bd-3bc1-47a9-8acb-1faed11547af" providerId="ADAL" clId="{B6284D1A-71B0-43D0-A276-BF5B1397783A}" dt="2020-10-02T14:16:15.988" v="13035" actId="207"/>
          <ac:spMkLst>
            <pc:docMk/>
            <pc:sldMk cId="932497199" sldId="7098"/>
            <ac:spMk id="57" creationId="{FCDBEA10-2479-4614-B809-BDE9A1C80103}"/>
          </ac:spMkLst>
        </pc:spChg>
        <pc:spChg chg="mod ord topLvl">
          <ac:chgData name="Théodora DUPONT-COURTADE" userId="b06d61bd-3bc1-47a9-8acb-1faed11547af" providerId="ADAL" clId="{B6284D1A-71B0-43D0-A276-BF5B1397783A}" dt="2020-10-02T14:14:15.241" v="12241"/>
          <ac:spMkLst>
            <pc:docMk/>
            <pc:sldMk cId="932497199" sldId="7098"/>
            <ac:spMk id="62" creationId="{FD663C11-C069-4724-A909-091C75F717A4}"/>
          </ac:spMkLst>
        </pc:spChg>
        <pc:spChg chg="mod">
          <ac:chgData name="Théodora DUPONT-COURTADE" userId="b06d61bd-3bc1-47a9-8acb-1faed11547af" providerId="ADAL" clId="{B6284D1A-71B0-43D0-A276-BF5B1397783A}" dt="2020-10-02T14:10:10.870" v="12036" actId="790"/>
          <ac:spMkLst>
            <pc:docMk/>
            <pc:sldMk cId="932497199" sldId="7098"/>
            <ac:spMk id="71" creationId="{25E2CEBE-A570-47D7-A126-44A9A31586F3}"/>
          </ac:spMkLst>
        </pc:spChg>
        <pc:spChg chg="mod ord topLvl">
          <ac:chgData name="Théodora DUPONT-COURTADE" userId="b06d61bd-3bc1-47a9-8acb-1faed11547af" providerId="ADAL" clId="{B6284D1A-71B0-43D0-A276-BF5B1397783A}" dt="2020-10-02T14:14:15.269" v="12285"/>
          <ac:spMkLst>
            <pc:docMk/>
            <pc:sldMk cId="932497199" sldId="7098"/>
            <ac:spMk id="72" creationId="{DFBE39D5-0B5F-470D-B3B7-940FAF0A83E4}"/>
          </ac:spMkLst>
        </pc:spChg>
        <pc:spChg chg="mod ord topLvl">
          <ac:chgData name="Théodora DUPONT-COURTADE" userId="b06d61bd-3bc1-47a9-8acb-1faed11547af" providerId="ADAL" clId="{B6284D1A-71B0-43D0-A276-BF5B1397783A}" dt="2020-10-02T14:14:15.270" v="12287"/>
          <ac:spMkLst>
            <pc:docMk/>
            <pc:sldMk cId="932497199" sldId="7098"/>
            <ac:spMk id="73" creationId="{E45C9D33-828A-4DC2-90FB-72AE60D2065A}"/>
          </ac:spMkLst>
        </pc:spChg>
        <pc:spChg chg="mod ord topLvl">
          <ac:chgData name="Théodora DUPONT-COURTADE" userId="b06d61bd-3bc1-47a9-8acb-1faed11547af" providerId="ADAL" clId="{B6284D1A-71B0-43D0-A276-BF5B1397783A}" dt="2020-10-02T14:14:15.246" v="12251"/>
          <ac:spMkLst>
            <pc:docMk/>
            <pc:sldMk cId="932497199" sldId="7098"/>
            <ac:spMk id="76" creationId="{7E3A6622-DA2C-4CBF-A071-0905CA30C72D}"/>
          </ac:spMkLst>
        </pc:spChg>
        <pc:spChg chg="mod ord topLvl">
          <ac:chgData name="Théodora DUPONT-COURTADE" userId="b06d61bd-3bc1-47a9-8acb-1faed11547af" providerId="ADAL" clId="{B6284D1A-71B0-43D0-A276-BF5B1397783A}" dt="2020-10-02T14:42:10.051" v="14315" actId="20577"/>
          <ac:spMkLst>
            <pc:docMk/>
            <pc:sldMk cId="932497199" sldId="7098"/>
            <ac:spMk id="77" creationId="{21A6A5A7-D6EE-4C86-A5D0-EB57C2D12212}"/>
          </ac:spMkLst>
        </pc:spChg>
        <pc:spChg chg="mod ord topLvl">
          <ac:chgData name="Théodora DUPONT-COURTADE" userId="b06d61bd-3bc1-47a9-8acb-1faed11547af" providerId="ADAL" clId="{B6284D1A-71B0-43D0-A276-BF5B1397783A}" dt="2020-10-02T14:14:15.265" v="12279"/>
          <ac:spMkLst>
            <pc:docMk/>
            <pc:sldMk cId="932497199" sldId="7098"/>
            <ac:spMk id="79" creationId="{B2482321-9596-4493-A47C-9AC0F5E9949C}"/>
          </ac:spMkLst>
        </pc:spChg>
        <pc:spChg chg="mod ord topLvl">
          <ac:chgData name="Théodora DUPONT-COURTADE" userId="b06d61bd-3bc1-47a9-8acb-1faed11547af" providerId="ADAL" clId="{B6284D1A-71B0-43D0-A276-BF5B1397783A}" dt="2020-10-02T14:55:48.177" v="15179" actId="6549"/>
          <ac:spMkLst>
            <pc:docMk/>
            <pc:sldMk cId="932497199" sldId="7098"/>
            <ac:spMk id="80" creationId="{EFEC8738-2623-4984-A7BD-91F0EA34CA02}"/>
          </ac:spMkLst>
        </pc:spChg>
        <pc:spChg chg="mod ord topLvl">
          <ac:chgData name="Théodora DUPONT-COURTADE" userId="b06d61bd-3bc1-47a9-8acb-1faed11547af" providerId="ADAL" clId="{B6284D1A-71B0-43D0-A276-BF5B1397783A}" dt="2020-10-02T14:14:15.260" v="12273"/>
          <ac:spMkLst>
            <pc:docMk/>
            <pc:sldMk cId="932497199" sldId="7098"/>
            <ac:spMk id="82" creationId="{1279FFBC-B559-40B6-B515-327546E258DE}"/>
          </ac:spMkLst>
        </pc:spChg>
        <pc:spChg chg="mod ord topLvl">
          <ac:chgData name="Théodora DUPONT-COURTADE" userId="b06d61bd-3bc1-47a9-8acb-1faed11547af" providerId="ADAL" clId="{B6284D1A-71B0-43D0-A276-BF5B1397783A}" dt="2020-10-02T14:42:23.183" v="14333" actId="6549"/>
          <ac:spMkLst>
            <pc:docMk/>
            <pc:sldMk cId="932497199" sldId="7098"/>
            <ac:spMk id="83" creationId="{AFD5ECC1-60DE-4134-A9CB-C055CA979799}"/>
          </ac:spMkLst>
        </pc:spChg>
        <pc:spChg chg="mod">
          <ac:chgData name="Théodora DUPONT-COURTADE" userId="b06d61bd-3bc1-47a9-8acb-1faed11547af" providerId="ADAL" clId="{B6284D1A-71B0-43D0-A276-BF5B1397783A}" dt="2020-10-02T14:17:30.885" v="13061" actId="1036"/>
          <ac:spMkLst>
            <pc:docMk/>
            <pc:sldMk cId="932497199" sldId="7098"/>
            <ac:spMk id="86" creationId="{C9750923-53C0-4298-8621-D773634B662A}"/>
          </ac:spMkLst>
        </pc:spChg>
        <pc:spChg chg="mod">
          <ac:chgData name="Théodora DUPONT-COURTADE" userId="b06d61bd-3bc1-47a9-8acb-1faed11547af" providerId="ADAL" clId="{B6284D1A-71B0-43D0-A276-BF5B1397783A}" dt="2020-10-02T14:17:37.604" v="13062" actId="14100"/>
          <ac:spMkLst>
            <pc:docMk/>
            <pc:sldMk cId="932497199" sldId="7098"/>
            <ac:spMk id="87" creationId="{BF289C96-7579-421C-8A1E-AC9341A6E51C}"/>
          </ac:spMkLst>
        </pc:spChg>
        <pc:spChg chg="mod">
          <ac:chgData name="Théodora DUPONT-COURTADE" userId="b06d61bd-3bc1-47a9-8acb-1faed11547af" providerId="ADAL" clId="{B6284D1A-71B0-43D0-A276-BF5B1397783A}" dt="2020-10-02T14:10:10.870" v="12036" actId="790"/>
          <ac:spMkLst>
            <pc:docMk/>
            <pc:sldMk cId="932497199" sldId="7098"/>
            <ac:spMk id="88" creationId="{7A60A4EE-8D49-4E1E-BE54-26B297802B3C}"/>
          </ac:spMkLst>
        </pc:spChg>
        <pc:spChg chg="mod">
          <ac:chgData name="Théodora DUPONT-COURTADE" userId="b06d61bd-3bc1-47a9-8acb-1faed11547af" providerId="ADAL" clId="{B6284D1A-71B0-43D0-A276-BF5B1397783A}" dt="2020-10-02T14:16:17.545" v="13037" actId="207"/>
          <ac:spMkLst>
            <pc:docMk/>
            <pc:sldMk cId="932497199" sldId="7098"/>
            <ac:spMk id="94" creationId="{134725CA-88FC-4FA5-AD51-C9C2D892338A}"/>
          </ac:spMkLst>
        </pc:spChg>
        <pc:spChg chg="mod">
          <ac:chgData name="Théodora DUPONT-COURTADE" userId="b06d61bd-3bc1-47a9-8acb-1faed11547af" providerId="ADAL" clId="{B6284D1A-71B0-43D0-A276-BF5B1397783A}" dt="2020-10-02T14:10:10.870" v="12036" actId="790"/>
          <ac:spMkLst>
            <pc:docMk/>
            <pc:sldMk cId="932497199" sldId="7098"/>
            <ac:spMk id="95" creationId="{B9291A80-B08C-4D8F-85D5-216D966F336B}"/>
          </ac:spMkLst>
        </pc:spChg>
        <pc:spChg chg="mod">
          <ac:chgData name="Théodora DUPONT-COURTADE" userId="b06d61bd-3bc1-47a9-8acb-1faed11547af" providerId="ADAL" clId="{B6284D1A-71B0-43D0-A276-BF5B1397783A}" dt="2020-10-02T14:10:10.870" v="12036" actId="790"/>
          <ac:spMkLst>
            <pc:docMk/>
            <pc:sldMk cId="932497199" sldId="7098"/>
            <ac:spMk id="98" creationId="{ECF5DF67-DABC-434A-BC5E-617A901E2B28}"/>
          </ac:spMkLst>
        </pc:spChg>
        <pc:spChg chg="mod">
          <ac:chgData name="Théodora DUPONT-COURTADE" userId="b06d61bd-3bc1-47a9-8acb-1faed11547af" providerId="ADAL" clId="{B6284D1A-71B0-43D0-A276-BF5B1397783A}" dt="2020-10-02T14:10:10.870" v="12036" actId="790"/>
          <ac:spMkLst>
            <pc:docMk/>
            <pc:sldMk cId="932497199" sldId="7098"/>
            <ac:spMk id="99" creationId="{A1FD2D6F-F1B7-4093-8239-151E7E8D951A}"/>
          </ac:spMkLst>
        </pc:spChg>
        <pc:spChg chg="mod ord topLvl">
          <ac:chgData name="Théodora DUPONT-COURTADE" userId="b06d61bd-3bc1-47a9-8acb-1faed11547af" providerId="ADAL" clId="{B6284D1A-71B0-43D0-A276-BF5B1397783A}" dt="2020-10-02T14:14:15.217" v="12211"/>
          <ac:spMkLst>
            <pc:docMk/>
            <pc:sldMk cId="932497199" sldId="7098"/>
            <ac:spMk id="103" creationId="{ADE13D4E-E23B-4900-BA26-A4A9F2866C06}"/>
          </ac:spMkLst>
        </pc:spChg>
        <pc:spChg chg="mod ord topLvl">
          <ac:chgData name="Théodora DUPONT-COURTADE" userId="b06d61bd-3bc1-47a9-8acb-1faed11547af" providerId="ADAL" clId="{B6284D1A-71B0-43D0-A276-BF5B1397783A}" dt="2020-10-02T14:43:26.254" v="14364" actId="20577"/>
          <ac:spMkLst>
            <pc:docMk/>
            <pc:sldMk cId="932497199" sldId="7098"/>
            <ac:spMk id="104" creationId="{919EE1AA-8C98-494A-8D2A-8DF8FDE645D3}"/>
          </ac:spMkLst>
        </pc:spChg>
        <pc:spChg chg="mod ord topLvl">
          <ac:chgData name="Théodora DUPONT-COURTADE" userId="b06d61bd-3bc1-47a9-8acb-1faed11547af" providerId="ADAL" clId="{B6284D1A-71B0-43D0-A276-BF5B1397783A}" dt="2020-10-02T14:14:15.256" v="12267"/>
          <ac:spMkLst>
            <pc:docMk/>
            <pc:sldMk cId="932497199" sldId="7098"/>
            <ac:spMk id="105" creationId="{9DE1639A-CCB0-49C2-979E-911553446F5C}"/>
          </ac:spMkLst>
        </pc:spChg>
        <pc:spChg chg="mod ord topLvl">
          <ac:chgData name="Théodora DUPONT-COURTADE" userId="b06d61bd-3bc1-47a9-8acb-1faed11547af" providerId="ADAL" clId="{B6284D1A-71B0-43D0-A276-BF5B1397783A}" dt="2020-10-02T14:14:15.259" v="12271"/>
          <ac:spMkLst>
            <pc:docMk/>
            <pc:sldMk cId="932497199" sldId="7098"/>
            <ac:spMk id="107" creationId="{F6C89389-C125-4AC7-94DC-81A467F0D738}"/>
          </ac:spMkLst>
        </pc:spChg>
        <pc:spChg chg="mod ord topLvl">
          <ac:chgData name="Théodora DUPONT-COURTADE" userId="b06d61bd-3bc1-47a9-8acb-1faed11547af" providerId="ADAL" clId="{B6284D1A-71B0-43D0-A276-BF5B1397783A}" dt="2020-10-02T14:14:15.253" v="12261"/>
          <ac:spMkLst>
            <pc:docMk/>
            <pc:sldMk cId="932497199" sldId="7098"/>
            <ac:spMk id="108" creationId="{F2BB2114-F979-4B2D-B6D9-2A1B40C1CC46}"/>
          </ac:spMkLst>
        </pc:spChg>
        <pc:spChg chg="mod ord topLvl">
          <ac:chgData name="Théodora DUPONT-COURTADE" userId="b06d61bd-3bc1-47a9-8acb-1faed11547af" providerId="ADAL" clId="{B6284D1A-71B0-43D0-A276-BF5B1397783A}" dt="2020-10-02T14:14:15.254" v="12263"/>
          <ac:spMkLst>
            <pc:docMk/>
            <pc:sldMk cId="932497199" sldId="7098"/>
            <ac:spMk id="109" creationId="{B8AF6D38-7D74-4FD2-99B3-390A31C550D9}"/>
          </ac:spMkLst>
        </pc:spChg>
        <pc:spChg chg="mod ord topLvl">
          <ac:chgData name="Théodora DUPONT-COURTADE" userId="b06d61bd-3bc1-47a9-8acb-1faed11547af" providerId="ADAL" clId="{B6284D1A-71B0-43D0-A276-BF5B1397783A}" dt="2020-10-02T14:14:15.249" v="12255"/>
          <ac:spMkLst>
            <pc:docMk/>
            <pc:sldMk cId="932497199" sldId="7098"/>
            <ac:spMk id="111" creationId="{81766C2E-872A-4286-9184-456F79DDB8A8}"/>
          </ac:spMkLst>
        </pc:spChg>
        <pc:spChg chg="mod ord topLvl">
          <ac:chgData name="Théodora DUPONT-COURTADE" userId="b06d61bd-3bc1-47a9-8acb-1faed11547af" providerId="ADAL" clId="{B6284D1A-71B0-43D0-A276-BF5B1397783A}" dt="2020-10-07T08:56:10.745" v="16547" actId="20577"/>
          <ac:spMkLst>
            <pc:docMk/>
            <pc:sldMk cId="932497199" sldId="7098"/>
            <ac:spMk id="112" creationId="{96F4A199-2CDD-4377-893C-0E1F63969FB7}"/>
          </ac:spMkLst>
        </pc:spChg>
        <pc:spChg chg="add del mod ord">
          <ac:chgData name="Théodora DUPONT-COURTADE" userId="b06d61bd-3bc1-47a9-8acb-1faed11547af" providerId="ADAL" clId="{B6284D1A-71B0-43D0-A276-BF5B1397783A}" dt="2020-10-02T14:15:25.920" v="13016" actId="478"/>
          <ac:spMkLst>
            <pc:docMk/>
            <pc:sldMk cId="932497199" sldId="7098"/>
            <ac:spMk id="116" creationId="{FC7EBC6C-893C-4FD3-A160-C0B9B695B3FF}"/>
          </ac:spMkLst>
        </pc:spChg>
        <pc:spChg chg="add mod ord">
          <ac:chgData name="Théodora DUPONT-COURTADE" userId="b06d61bd-3bc1-47a9-8acb-1faed11547af" providerId="ADAL" clId="{B6284D1A-71B0-43D0-A276-BF5B1397783A}" dt="2020-10-02T14:15:47.920" v="13028" actId="1076"/>
          <ac:spMkLst>
            <pc:docMk/>
            <pc:sldMk cId="932497199" sldId="7098"/>
            <ac:spMk id="118" creationId="{EE87FEAC-3C51-45D0-81EF-F4D4724BD43E}"/>
          </ac:spMkLst>
        </pc:spChg>
        <pc:spChg chg="add mod ord">
          <ac:chgData name="Théodora DUPONT-COURTADE" userId="b06d61bd-3bc1-47a9-8acb-1faed11547af" providerId="ADAL" clId="{B6284D1A-71B0-43D0-A276-BF5B1397783A}" dt="2020-10-02T14:15:20.928" v="12985"/>
          <ac:spMkLst>
            <pc:docMk/>
            <pc:sldMk cId="932497199" sldId="7098"/>
            <ac:spMk id="119" creationId="{CBEF2824-6C32-4F46-BCA6-BA2EB328B21D}"/>
          </ac:spMkLst>
        </pc:spChg>
        <pc:spChg chg="add mod ord">
          <ac:chgData name="Théodora DUPONT-COURTADE" userId="b06d61bd-3bc1-47a9-8acb-1faed11547af" providerId="ADAL" clId="{B6284D1A-71B0-43D0-A276-BF5B1397783A}" dt="2020-10-05T12:33:37.258" v="15659" actId="6549"/>
          <ac:spMkLst>
            <pc:docMk/>
            <pc:sldMk cId="932497199" sldId="7098"/>
            <ac:spMk id="120" creationId="{AE6C35D3-BB1E-4486-8C4A-32E725ECE125}"/>
          </ac:spMkLst>
        </pc:spChg>
        <pc:grpChg chg="add mod ord">
          <ac:chgData name="Théodora DUPONT-COURTADE" userId="b06d61bd-3bc1-47a9-8acb-1faed11547af" providerId="ADAL" clId="{B6284D1A-71B0-43D0-A276-BF5B1397783A}" dt="2020-10-02T14:15:20.938" v="12998"/>
          <ac:grpSpMkLst>
            <pc:docMk/>
            <pc:sldMk cId="932497199" sldId="7098"/>
            <ac:grpSpMk id="5" creationId="{6F5A8237-4174-4A7E-9094-84EB711494A5}"/>
          </ac:grpSpMkLst>
        </pc:grpChg>
        <pc:grpChg chg="add mod ord">
          <ac:chgData name="Théodora DUPONT-COURTADE" userId="b06d61bd-3bc1-47a9-8acb-1faed11547af" providerId="ADAL" clId="{B6284D1A-71B0-43D0-A276-BF5B1397783A}" dt="2020-10-02T14:15:20.940" v="13000"/>
          <ac:grpSpMkLst>
            <pc:docMk/>
            <pc:sldMk cId="932497199" sldId="7098"/>
            <ac:grpSpMk id="9" creationId="{A9BF82F0-93D9-4299-A764-076401DEBA4B}"/>
          </ac:grpSpMkLst>
        </pc:grpChg>
        <pc:grpChg chg="add del mod">
          <ac:chgData name="Théodora DUPONT-COURTADE" userId="b06d61bd-3bc1-47a9-8acb-1faed11547af" providerId="ADAL" clId="{B6284D1A-71B0-43D0-A276-BF5B1397783A}" dt="2020-10-02T14:31:04.410" v="13940" actId="478"/>
          <ac:grpSpMkLst>
            <pc:docMk/>
            <pc:sldMk cId="932497199" sldId="7098"/>
            <ac:grpSpMk id="37" creationId="{53876E6A-E15D-488F-B18F-28C8BCBF1810}"/>
          </ac:grpSpMkLst>
        </pc:grpChg>
        <pc:grpChg chg="add del mod">
          <ac:chgData name="Théodora DUPONT-COURTADE" userId="b06d61bd-3bc1-47a9-8acb-1faed11547af" providerId="ADAL" clId="{B6284D1A-71B0-43D0-A276-BF5B1397783A}" dt="2020-10-02T14:03:57.037" v="11826" actId="165"/>
          <ac:grpSpMkLst>
            <pc:docMk/>
            <pc:sldMk cId="932497199" sldId="7098"/>
            <ac:grpSpMk id="40" creationId="{8571593E-0ECC-487C-B5BD-3DF4FFB6D80C}"/>
          </ac:grpSpMkLst>
        </pc:grpChg>
        <pc:grpChg chg="del mod topLvl">
          <ac:chgData name="Théodora DUPONT-COURTADE" userId="b06d61bd-3bc1-47a9-8acb-1faed11547af" providerId="ADAL" clId="{B6284D1A-71B0-43D0-A276-BF5B1397783A}" dt="2020-10-02T14:04:01.994" v="11827" actId="165"/>
          <ac:grpSpMkLst>
            <pc:docMk/>
            <pc:sldMk cId="932497199" sldId="7098"/>
            <ac:grpSpMk id="41" creationId="{7762A3B1-C3DD-4971-95F4-B165F5973614}"/>
          </ac:grpSpMkLst>
        </pc:grpChg>
        <pc:grpChg chg="del mod topLvl">
          <ac:chgData name="Théodora DUPONT-COURTADE" userId="b06d61bd-3bc1-47a9-8acb-1faed11547af" providerId="ADAL" clId="{B6284D1A-71B0-43D0-A276-BF5B1397783A}" dt="2020-10-02T14:04:24.310" v="11831" actId="165"/>
          <ac:grpSpMkLst>
            <pc:docMk/>
            <pc:sldMk cId="932497199" sldId="7098"/>
            <ac:grpSpMk id="48" creationId="{F22623EF-1D42-4895-928E-3537A4047A9C}"/>
          </ac:grpSpMkLst>
        </pc:grpChg>
        <pc:grpChg chg="mod ord topLvl">
          <ac:chgData name="Théodora DUPONT-COURTADE" userId="b06d61bd-3bc1-47a9-8acb-1faed11547af" providerId="ADAL" clId="{B6284D1A-71B0-43D0-A276-BF5B1397783A}" dt="2020-10-02T14:14:15.225" v="12223"/>
          <ac:grpSpMkLst>
            <pc:docMk/>
            <pc:sldMk cId="932497199" sldId="7098"/>
            <ac:grpSpMk id="53" creationId="{AF8A4172-895B-4E2D-B4B3-F03B9B295B80}"/>
          </ac:grpSpMkLst>
        </pc:grpChg>
        <pc:grpChg chg="mod ord topLvl">
          <ac:chgData name="Théodora DUPONT-COURTADE" userId="b06d61bd-3bc1-47a9-8acb-1faed11547af" providerId="ADAL" clId="{B6284D1A-71B0-43D0-A276-BF5B1397783A}" dt="2020-10-02T14:14:15.233" v="12229"/>
          <ac:grpSpMkLst>
            <pc:docMk/>
            <pc:sldMk cId="932497199" sldId="7098"/>
            <ac:grpSpMk id="56" creationId="{46421386-DE91-454C-84FF-6CCD1EC401C7}"/>
          </ac:grpSpMkLst>
        </pc:grpChg>
        <pc:grpChg chg="mod ord topLvl">
          <ac:chgData name="Théodora DUPONT-COURTADE" userId="b06d61bd-3bc1-47a9-8acb-1faed11547af" providerId="ADAL" clId="{B6284D1A-71B0-43D0-A276-BF5B1397783A}" dt="2020-10-02T14:14:15.242" v="12243"/>
          <ac:grpSpMkLst>
            <pc:docMk/>
            <pc:sldMk cId="932497199" sldId="7098"/>
            <ac:grpSpMk id="63" creationId="{F0BF362C-27B7-47E2-BD47-B05AFEB328D5}"/>
          </ac:grpSpMkLst>
        </pc:grpChg>
        <pc:grpChg chg="del mod topLvl">
          <ac:chgData name="Théodora DUPONT-COURTADE" userId="b06d61bd-3bc1-47a9-8acb-1faed11547af" providerId="ADAL" clId="{B6284D1A-71B0-43D0-A276-BF5B1397783A}" dt="2020-10-02T14:04:24.310" v="11831" actId="165"/>
          <ac:grpSpMkLst>
            <pc:docMk/>
            <pc:sldMk cId="932497199" sldId="7098"/>
            <ac:grpSpMk id="67" creationId="{3BEE3D16-02EE-4F4C-B20A-06E949DF409A}"/>
          </ac:grpSpMkLst>
        </pc:grpChg>
        <pc:grpChg chg="del mod topLvl">
          <ac:chgData name="Théodora DUPONT-COURTADE" userId="b06d61bd-3bc1-47a9-8acb-1faed11547af" providerId="ADAL" clId="{B6284D1A-71B0-43D0-A276-BF5B1397783A}" dt="2020-10-02T14:04:59.951" v="11835" actId="165"/>
          <ac:grpSpMkLst>
            <pc:docMk/>
            <pc:sldMk cId="932497199" sldId="7098"/>
            <ac:grpSpMk id="68" creationId="{58A2629D-7A1A-4FD4-9827-D3412AAEAC4B}"/>
          </ac:grpSpMkLst>
        </pc:grpChg>
        <pc:grpChg chg="mod ord topLvl">
          <ac:chgData name="Théodora DUPONT-COURTADE" userId="b06d61bd-3bc1-47a9-8acb-1faed11547af" providerId="ADAL" clId="{B6284D1A-71B0-43D0-A276-BF5B1397783A}" dt="2020-10-02T14:14:15.272" v="12291"/>
          <ac:grpSpMkLst>
            <pc:docMk/>
            <pc:sldMk cId="932497199" sldId="7098"/>
            <ac:grpSpMk id="69" creationId="{1CE0E7D6-ADE6-4687-BD0B-5806B40F47B5}"/>
          </ac:grpSpMkLst>
        </pc:grpChg>
        <pc:grpChg chg="del mod topLvl">
          <ac:chgData name="Théodora DUPONT-COURTADE" userId="b06d61bd-3bc1-47a9-8acb-1faed11547af" providerId="ADAL" clId="{B6284D1A-71B0-43D0-A276-BF5B1397783A}" dt="2020-10-02T14:04:59.951" v="11835" actId="165"/>
          <ac:grpSpMkLst>
            <pc:docMk/>
            <pc:sldMk cId="932497199" sldId="7098"/>
            <ac:grpSpMk id="75" creationId="{77194FC2-8795-4803-86A3-61700C4C2214}"/>
          </ac:grpSpMkLst>
        </pc:grpChg>
        <pc:grpChg chg="del mod topLvl">
          <ac:chgData name="Théodora DUPONT-COURTADE" userId="b06d61bd-3bc1-47a9-8acb-1faed11547af" providerId="ADAL" clId="{B6284D1A-71B0-43D0-A276-BF5B1397783A}" dt="2020-10-02T14:04:59.951" v="11835" actId="165"/>
          <ac:grpSpMkLst>
            <pc:docMk/>
            <pc:sldMk cId="932497199" sldId="7098"/>
            <ac:grpSpMk id="78" creationId="{BEE3512D-FF86-48DE-83A4-FDB2EC363263}"/>
          </ac:grpSpMkLst>
        </pc:grpChg>
        <pc:grpChg chg="mod">
          <ac:chgData name="Théodora DUPONT-COURTADE" userId="b06d61bd-3bc1-47a9-8acb-1faed11547af" providerId="ADAL" clId="{B6284D1A-71B0-43D0-A276-BF5B1397783A}" dt="2020-10-02T14:03:54.893" v="11825" actId="478"/>
          <ac:grpSpMkLst>
            <pc:docMk/>
            <pc:sldMk cId="932497199" sldId="7098"/>
            <ac:grpSpMk id="85" creationId="{A65A748F-DE57-4681-B5DA-3ED9B6A91204}"/>
          </ac:grpSpMkLst>
        </pc:grpChg>
        <pc:grpChg chg="mod">
          <ac:chgData name="Théodora DUPONT-COURTADE" userId="b06d61bd-3bc1-47a9-8acb-1faed11547af" providerId="ADAL" clId="{B6284D1A-71B0-43D0-A276-BF5B1397783A}" dt="2020-10-02T14:03:54.893" v="11825" actId="478"/>
          <ac:grpSpMkLst>
            <pc:docMk/>
            <pc:sldMk cId="932497199" sldId="7098"/>
            <ac:grpSpMk id="89" creationId="{71AF90DF-5B39-4FC1-8A91-B9FE69609B00}"/>
          </ac:grpSpMkLst>
        </pc:grpChg>
        <pc:grpChg chg="mod">
          <ac:chgData name="Théodora DUPONT-COURTADE" userId="b06d61bd-3bc1-47a9-8acb-1faed11547af" providerId="ADAL" clId="{B6284D1A-71B0-43D0-A276-BF5B1397783A}" dt="2020-10-02T14:03:54.893" v="11825" actId="478"/>
          <ac:grpSpMkLst>
            <pc:docMk/>
            <pc:sldMk cId="932497199" sldId="7098"/>
            <ac:grpSpMk id="96" creationId="{40F1354A-7B0B-495C-9EDF-223F82A50233}"/>
          </ac:grpSpMkLst>
        </pc:grpChg>
        <pc:grpChg chg="del mod topLvl">
          <ac:chgData name="Théodora DUPONT-COURTADE" userId="b06d61bd-3bc1-47a9-8acb-1faed11547af" providerId="ADAL" clId="{B6284D1A-71B0-43D0-A276-BF5B1397783A}" dt="2020-10-02T14:04:59.951" v="11835" actId="165"/>
          <ac:grpSpMkLst>
            <pc:docMk/>
            <pc:sldMk cId="932497199" sldId="7098"/>
            <ac:grpSpMk id="100" creationId="{F4FAF622-8D57-4BD4-85AC-722977D3B6BF}"/>
          </ac:grpSpMkLst>
        </pc:grpChg>
        <pc:grpChg chg="del mod topLvl">
          <ac:chgData name="Théodora DUPONT-COURTADE" userId="b06d61bd-3bc1-47a9-8acb-1faed11547af" providerId="ADAL" clId="{B6284D1A-71B0-43D0-A276-BF5B1397783A}" dt="2020-10-02T14:04:59.951" v="11835" actId="165"/>
          <ac:grpSpMkLst>
            <pc:docMk/>
            <pc:sldMk cId="932497199" sldId="7098"/>
            <ac:grpSpMk id="101" creationId="{43CE3944-76B4-469E-A91B-C18864F25D04}"/>
          </ac:grpSpMkLst>
        </pc:grpChg>
        <pc:grpChg chg="del mod topLvl">
          <ac:chgData name="Théodora DUPONT-COURTADE" userId="b06d61bd-3bc1-47a9-8acb-1faed11547af" providerId="ADAL" clId="{B6284D1A-71B0-43D0-A276-BF5B1397783A}" dt="2020-10-02T14:04:59.951" v="11835" actId="165"/>
          <ac:grpSpMkLst>
            <pc:docMk/>
            <pc:sldMk cId="932497199" sldId="7098"/>
            <ac:grpSpMk id="102" creationId="{9E1FEB19-DE35-45DB-B8C9-3213A13F9E68}"/>
          </ac:grpSpMkLst>
        </pc:grpChg>
        <pc:grpChg chg="add del mod">
          <ac:chgData name="Théodora DUPONT-COURTADE" userId="b06d61bd-3bc1-47a9-8acb-1faed11547af" providerId="ADAL" clId="{B6284D1A-71B0-43D0-A276-BF5B1397783A}" dt="2020-10-02T14:03:54.893" v="11825" actId="478"/>
          <ac:grpSpMkLst>
            <pc:docMk/>
            <pc:sldMk cId="932497199" sldId="7098"/>
            <ac:grpSpMk id="114" creationId="{60B415CA-739B-4937-A0D7-CE8C0E3A7503}"/>
          </ac:grpSpMkLst>
        </pc:grpChg>
        <pc:grpChg chg="add del">
          <ac:chgData name="Théodora DUPONT-COURTADE" userId="b06d61bd-3bc1-47a9-8acb-1faed11547af" providerId="ADAL" clId="{B6284D1A-71B0-43D0-A276-BF5B1397783A}" dt="2020-10-02T14:04:58.850" v="11834" actId="165"/>
          <ac:grpSpMkLst>
            <pc:docMk/>
            <pc:sldMk cId="932497199" sldId="7098"/>
            <ac:grpSpMk id="115" creationId="{CB780042-207B-48F4-8068-C1E4520B69B6}"/>
          </ac:grpSpMkLst>
        </pc:grpChg>
        <pc:grpChg chg="add mod ord">
          <ac:chgData name="Théodora DUPONT-COURTADE" userId="b06d61bd-3bc1-47a9-8acb-1faed11547af" providerId="ADAL" clId="{B6284D1A-71B0-43D0-A276-BF5B1397783A}" dt="2020-10-02T14:15:51.525" v="13029" actId="1076"/>
          <ac:grpSpMkLst>
            <pc:docMk/>
            <pc:sldMk cId="932497199" sldId="7098"/>
            <ac:grpSpMk id="117" creationId="{632E5AF1-6B10-4D6E-8504-7470E9F4B8BD}"/>
          </ac:grpSpMkLst>
        </pc:grpChg>
        <pc:graphicFrameChg chg="add mod ord modVis">
          <ac:chgData name="Théodora DUPONT-COURTADE" userId="b06d61bd-3bc1-47a9-8acb-1faed11547af" providerId="ADAL" clId="{B6284D1A-71B0-43D0-A276-BF5B1397783A}" dt="2020-10-07T08:53:50.314" v="16476"/>
          <ac:graphicFrameMkLst>
            <pc:docMk/>
            <pc:sldMk cId="932497199" sldId="7098"/>
            <ac:graphicFrameMk id="8" creationId="{E3094C17-2AAB-497A-83FA-D4C368CBAB53}"/>
          </ac:graphicFrameMkLst>
        </pc:graphicFrameChg>
        <pc:picChg chg="mod">
          <ac:chgData name="Théodora DUPONT-COURTADE" userId="b06d61bd-3bc1-47a9-8acb-1faed11547af" providerId="ADAL" clId="{B6284D1A-71B0-43D0-A276-BF5B1397783A}" dt="2020-10-02T12:17:31.652" v="4642"/>
          <ac:picMkLst>
            <pc:docMk/>
            <pc:sldMk cId="932497199" sldId="7098"/>
            <ac:picMk id="14" creationId="{1DBE795B-FF0C-43D2-994C-D6CB1A7EC4D7}"/>
          </ac:picMkLst>
        </pc:picChg>
        <pc:picChg chg="mod">
          <ac:chgData name="Théodora DUPONT-COURTADE" userId="b06d61bd-3bc1-47a9-8acb-1faed11547af" providerId="ADAL" clId="{B6284D1A-71B0-43D0-A276-BF5B1397783A}" dt="2020-10-02T12:17:31.652" v="4642"/>
          <ac:picMkLst>
            <pc:docMk/>
            <pc:sldMk cId="932497199" sldId="7098"/>
            <ac:picMk id="15" creationId="{BDAF94EE-BCD3-4124-AFA4-CE43F29BB61A}"/>
          </ac:picMkLst>
        </pc:picChg>
        <pc:picChg chg="mod">
          <ac:chgData name="Théodora DUPONT-COURTADE" userId="b06d61bd-3bc1-47a9-8acb-1faed11547af" providerId="ADAL" clId="{B6284D1A-71B0-43D0-A276-BF5B1397783A}" dt="2020-10-02T12:17:31.652" v="4642"/>
          <ac:picMkLst>
            <pc:docMk/>
            <pc:sldMk cId="932497199" sldId="7098"/>
            <ac:picMk id="16" creationId="{F23DBE21-33FA-46BD-BEBE-28AB2F9AD18B}"/>
          </ac:picMkLst>
        </pc:picChg>
        <pc:picChg chg="mod">
          <ac:chgData name="Théodora DUPONT-COURTADE" userId="b06d61bd-3bc1-47a9-8acb-1faed11547af" providerId="ADAL" clId="{B6284D1A-71B0-43D0-A276-BF5B1397783A}" dt="2020-10-02T12:17:31.652" v="4642"/>
          <ac:picMkLst>
            <pc:docMk/>
            <pc:sldMk cId="932497199" sldId="7098"/>
            <ac:picMk id="17" creationId="{BE09FB27-372D-46AE-B5CE-76C7807FDA9E}"/>
          </ac:picMkLst>
        </pc:picChg>
        <pc:picChg chg="mod">
          <ac:chgData name="Théodora DUPONT-COURTADE" userId="b06d61bd-3bc1-47a9-8acb-1faed11547af" providerId="ADAL" clId="{B6284D1A-71B0-43D0-A276-BF5B1397783A}" dt="2020-10-02T12:17:31.652" v="4642"/>
          <ac:picMkLst>
            <pc:docMk/>
            <pc:sldMk cId="932497199" sldId="7098"/>
            <ac:picMk id="18" creationId="{B8178ECC-0C3E-436A-AB2E-15D80E1C8A34}"/>
          </ac:picMkLst>
        </pc:picChg>
        <pc:picChg chg="mod">
          <ac:chgData name="Théodora DUPONT-COURTADE" userId="b06d61bd-3bc1-47a9-8acb-1faed11547af" providerId="ADAL" clId="{B6284D1A-71B0-43D0-A276-BF5B1397783A}" dt="2020-10-02T12:17:31.652" v="4642"/>
          <ac:picMkLst>
            <pc:docMk/>
            <pc:sldMk cId="932497199" sldId="7098"/>
            <ac:picMk id="19" creationId="{B4CBDB09-06DE-4C39-8574-5F0F419542BD}"/>
          </ac:picMkLst>
        </pc:picChg>
        <pc:picChg chg="mod">
          <ac:chgData name="Théodora DUPONT-COURTADE" userId="b06d61bd-3bc1-47a9-8acb-1faed11547af" providerId="ADAL" clId="{B6284D1A-71B0-43D0-A276-BF5B1397783A}" dt="2020-10-02T12:17:31.652" v="4642"/>
          <ac:picMkLst>
            <pc:docMk/>
            <pc:sldMk cId="932497199" sldId="7098"/>
            <ac:picMk id="20" creationId="{D22B2499-6CC6-4824-A897-823A003B5BCE}"/>
          </ac:picMkLst>
        </pc:picChg>
        <pc:picChg chg="mod ord topLvl">
          <ac:chgData name="Théodora DUPONT-COURTADE" userId="b06d61bd-3bc1-47a9-8acb-1faed11547af" providerId="ADAL" clId="{B6284D1A-71B0-43D0-A276-BF5B1397783A}" dt="2020-10-02T14:39:09.988" v="14293" actId="1036"/>
          <ac:picMkLst>
            <pc:docMk/>
            <pc:sldMk cId="932497199" sldId="7098"/>
            <ac:picMk id="42" creationId="{6A54DC70-7073-437C-A595-D732343E9E4E}"/>
          </ac:picMkLst>
        </pc:picChg>
        <pc:picChg chg="mod ord topLvl">
          <ac:chgData name="Théodora DUPONT-COURTADE" userId="b06d61bd-3bc1-47a9-8acb-1faed11547af" providerId="ADAL" clId="{B6284D1A-71B0-43D0-A276-BF5B1397783A}" dt="2020-10-02T14:14:15.215" v="12209"/>
          <ac:picMkLst>
            <pc:docMk/>
            <pc:sldMk cId="932497199" sldId="7098"/>
            <ac:picMk id="47" creationId="{A3CA0870-9352-443A-A8A5-A563D2D8FA83}"/>
          </ac:picMkLst>
        </pc:picChg>
        <pc:picChg chg="mod ord topLvl">
          <ac:chgData name="Théodora DUPONT-COURTADE" userId="b06d61bd-3bc1-47a9-8acb-1faed11547af" providerId="ADAL" clId="{B6284D1A-71B0-43D0-A276-BF5B1397783A}" dt="2020-10-02T14:16:13.100" v="13034" actId="207"/>
          <ac:picMkLst>
            <pc:docMk/>
            <pc:sldMk cId="932497199" sldId="7098"/>
            <ac:picMk id="49" creationId="{4309239E-C53B-4683-91E9-91B15D4A7FD7}"/>
          </ac:picMkLst>
        </pc:picChg>
        <pc:picChg chg="mod ord topLvl">
          <ac:chgData name="Théodora DUPONT-COURTADE" userId="b06d61bd-3bc1-47a9-8acb-1faed11547af" providerId="ADAL" clId="{B6284D1A-71B0-43D0-A276-BF5B1397783A}" dt="2020-10-02T14:14:15.236" v="12233"/>
          <ac:picMkLst>
            <pc:docMk/>
            <pc:sldMk cId="932497199" sldId="7098"/>
            <ac:picMk id="58" creationId="{FFDF3B9F-7477-44EB-98AA-352D0FD81D78}"/>
          </ac:picMkLst>
        </pc:picChg>
        <pc:picChg chg="mod ord topLvl">
          <ac:chgData name="Théodora DUPONT-COURTADE" userId="b06d61bd-3bc1-47a9-8acb-1faed11547af" providerId="ADAL" clId="{B6284D1A-71B0-43D0-A276-BF5B1397783A}" dt="2020-10-02T14:14:15.237" v="12235"/>
          <ac:picMkLst>
            <pc:docMk/>
            <pc:sldMk cId="932497199" sldId="7098"/>
            <ac:picMk id="59" creationId="{AF4C64F0-B2CF-4501-A230-FAB3E10BFA88}"/>
          </ac:picMkLst>
        </pc:picChg>
        <pc:picChg chg="mod ord topLvl">
          <ac:chgData name="Théodora DUPONT-COURTADE" userId="b06d61bd-3bc1-47a9-8acb-1faed11547af" providerId="ADAL" clId="{B6284D1A-71B0-43D0-A276-BF5B1397783A}" dt="2020-10-02T14:14:15.238" v="12237"/>
          <ac:picMkLst>
            <pc:docMk/>
            <pc:sldMk cId="932497199" sldId="7098"/>
            <ac:picMk id="60" creationId="{804D891C-E52B-4175-9171-0AA9670BA2CE}"/>
          </ac:picMkLst>
        </pc:picChg>
        <pc:picChg chg="mod ord topLvl">
          <ac:chgData name="Théodora DUPONT-COURTADE" userId="b06d61bd-3bc1-47a9-8acb-1faed11547af" providerId="ADAL" clId="{B6284D1A-71B0-43D0-A276-BF5B1397783A}" dt="2020-10-02T14:14:15.240" v="12239"/>
          <ac:picMkLst>
            <pc:docMk/>
            <pc:sldMk cId="932497199" sldId="7098"/>
            <ac:picMk id="61" creationId="{1EBB8E51-F617-4446-B95F-74FB91A58CE5}"/>
          </ac:picMkLst>
        </pc:picChg>
        <pc:picChg chg="mod ord topLvl">
          <ac:chgData name="Théodora DUPONT-COURTADE" userId="b06d61bd-3bc1-47a9-8acb-1faed11547af" providerId="ADAL" clId="{B6284D1A-71B0-43D0-A276-BF5B1397783A}" dt="2020-10-02T14:14:15.243" v="12245"/>
          <ac:picMkLst>
            <pc:docMk/>
            <pc:sldMk cId="932497199" sldId="7098"/>
            <ac:picMk id="64" creationId="{32A733E5-FF34-421C-83D1-588BBBED0595}"/>
          </ac:picMkLst>
        </pc:picChg>
        <pc:picChg chg="mod ord topLvl">
          <ac:chgData name="Théodora DUPONT-COURTADE" userId="b06d61bd-3bc1-47a9-8acb-1faed11547af" providerId="ADAL" clId="{B6284D1A-71B0-43D0-A276-BF5B1397783A}" dt="2020-10-02T14:14:15.244" v="12247"/>
          <ac:picMkLst>
            <pc:docMk/>
            <pc:sldMk cId="932497199" sldId="7098"/>
            <ac:picMk id="65" creationId="{CFA4FDCD-73D7-47C8-9A82-BC3C17726C60}"/>
          </ac:picMkLst>
        </pc:picChg>
        <pc:picChg chg="mod ord topLvl">
          <ac:chgData name="Théodora DUPONT-COURTADE" userId="b06d61bd-3bc1-47a9-8acb-1faed11547af" providerId="ADAL" clId="{B6284D1A-71B0-43D0-A276-BF5B1397783A}" dt="2020-10-02T14:14:15.245" v="12249"/>
          <ac:picMkLst>
            <pc:docMk/>
            <pc:sldMk cId="932497199" sldId="7098"/>
            <ac:picMk id="66" creationId="{4246C199-CA33-4044-9CA3-FAA49F55FDE0}"/>
          </ac:picMkLst>
        </pc:picChg>
        <pc:picChg chg="mod">
          <ac:chgData name="Théodora DUPONT-COURTADE" userId="b06d61bd-3bc1-47a9-8acb-1faed11547af" providerId="ADAL" clId="{B6284D1A-71B0-43D0-A276-BF5B1397783A}" dt="2020-10-02T14:03:54.893" v="11825" actId="478"/>
          <ac:picMkLst>
            <pc:docMk/>
            <pc:sldMk cId="932497199" sldId="7098"/>
            <ac:picMk id="70" creationId="{05D8CB99-75C2-4A87-AD3D-F55231B92274}"/>
          </ac:picMkLst>
        </pc:picChg>
        <pc:picChg chg="mod ord topLvl">
          <ac:chgData name="Théodora DUPONT-COURTADE" userId="b06d61bd-3bc1-47a9-8acb-1faed11547af" providerId="ADAL" clId="{B6284D1A-71B0-43D0-A276-BF5B1397783A}" dt="2020-10-02T14:14:15.271" v="12289"/>
          <ac:picMkLst>
            <pc:docMk/>
            <pc:sldMk cId="932497199" sldId="7098"/>
            <ac:picMk id="74" creationId="{1906D50D-B4E6-4005-B2B8-E5E337D17F10}"/>
          </ac:picMkLst>
        </pc:picChg>
        <pc:picChg chg="mod ord topLvl">
          <ac:chgData name="Théodora DUPONT-COURTADE" userId="b06d61bd-3bc1-47a9-8acb-1faed11547af" providerId="ADAL" clId="{B6284D1A-71B0-43D0-A276-BF5B1397783A}" dt="2020-10-02T14:14:15.267" v="12283"/>
          <ac:picMkLst>
            <pc:docMk/>
            <pc:sldMk cId="932497199" sldId="7098"/>
            <ac:picMk id="81" creationId="{63613394-12B0-43D1-A8DF-11D48830CFF7}"/>
          </ac:picMkLst>
        </pc:picChg>
        <pc:picChg chg="mod ord topLvl">
          <ac:chgData name="Théodora DUPONT-COURTADE" userId="b06d61bd-3bc1-47a9-8acb-1faed11547af" providerId="ADAL" clId="{B6284D1A-71B0-43D0-A276-BF5B1397783A}" dt="2020-10-02T14:14:15.263" v="12277"/>
          <ac:picMkLst>
            <pc:docMk/>
            <pc:sldMk cId="932497199" sldId="7098"/>
            <ac:picMk id="84" creationId="{8265B643-0CB6-458A-B5EC-6B22D61C48BB}"/>
          </ac:picMkLst>
        </pc:picChg>
        <pc:picChg chg="mod">
          <ac:chgData name="Théodora DUPONT-COURTADE" userId="b06d61bd-3bc1-47a9-8acb-1faed11547af" providerId="ADAL" clId="{B6284D1A-71B0-43D0-A276-BF5B1397783A}" dt="2020-10-02T14:03:54.893" v="11825" actId="478"/>
          <ac:picMkLst>
            <pc:docMk/>
            <pc:sldMk cId="932497199" sldId="7098"/>
            <ac:picMk id="90" creationId="{A0CB5E8C-E698-46C5-8CDA-E499F1FFE0AC}"/>
          </ac:picMkLst>
        </pc:picChg>
        <pc:picChg chg="mod">
          <ac:chgData name="Théodora DUPONT-COURTADE" userId="b06d61bd-3bc1-47a9-8acb-1faed11547af" providerId="ADAL" clId="{B6284D1A-71B0-43D0-A276-BF5B1397783A}" dt="2020-10-02T14:03:54.893" v="11825" actId="478"/>
          <ac:picMkLst>
            <pc:docMk/>
            <pc:sldMk cId="932497199" sldId="7098"/>
            <ac:picMk id="91" creationId="{F16CCE7E-93E8-4F31-9A78-6D852CEC757F}"/>
          </ac:picMkLst>
        </pc:picChg>
        <pc:picChg chg="mod">
          <ac:chgData name="Théodora DUPONT-COURTADE" userId="b06d61bd-3bc1-47a9-8acb-1faed11547af" providerId="ADAL" clId="{B6284D1A-71B0-43D0-A276-BF5B1397783A}" dt="2020-10-02T14:03:54.893" v="11825" actId="478"/>
          <ac:picMkLst>
            <pc:docMk/>
            <pc:sldMk cId="932497199" sldId="7098"/>
            <ac:picMk id="92" creationId="{6861B275-535A-4259-9C4C-B3E64BE36651}"/>
          </ac:picMkLst>
        </pc:picChg>
        <pc:picChg chg="mod">
          <ac:chgData name="Théodora DUPONT-COURTADE" userId="b06d61bd-3bc1-47a9-8acb-1faed11547af" providerId="ADAL" clId="{B6284D1A-71B0-43D0-A276-BF5B1397783A}" dt="2020-10-02T14:03:54.893" v="11825" actId="478"/>
          <ac:picMkLst>
            <pc:docMk/>
            <pc:sldMk cId="932497199" sldId="7098"/>
            <ac:picMk id="93" creationId="{70EF4394-CCA9-4B4D-9AA0-5BADB39425AC}"/>
          </ac:picMkLst>
        </pc:picChg>
        <pc:picChg chg="mod">
          <ac:chgData name="Théodora DUPONT-COURTADE" userId="b06d61bd-3bc1-47a9-8acb-1faed11547af" providerId="ADAL" clId="{B6284D1A-71B0-43D0-A276-BF5B1397783A}" dt="2020-10-02T14:03:54.893" v="11825" actId="478"/>
          <ac:picMkLst>
            <pc:docMk/>
            <pc:sldMk cId="932497199" sldId="7098"/>
            <ac:picMk id="97" creationId="{924139B8-E07C-432B-881A-7C91E99E3E46}"/>
          </ac:picMkLst>
        </pc:picChg>
        <pc:picChg chg="mod ord topLvl">
          <ac:chgData name="Théodora DUPONT-COURTADE" userId="b06d61bd-3bc1-47a9-8acb-1faed11547af" providerId="ADAL" clId="{B6284D1A-71B0-43D0-A276-BF5B1397783A}" dt="2020-10-02T14:14:15.258" v="12269"/>
          <ac:picMkLst>
            <pc:docMk/>
            <pc:sldMk cId="932497199" sldId="7098"/>
            <ac:picMk id="106" creationId="{F072705C-A836-4DE3-86DD-40EE51ABC26D}"/>
          </ac:picMkLst>
        </pc:picChg>
        <pc:picChg chg="mod ord topLvl">
          <ac:chgData name="Théodora DUPONT-COURTADE" userId="b06d61bd-3bc1-47a9-8acb-1faed11547af" providerId="ADAL" clId="{B6284D1A-71B0-43D0-A276-BF5B1397783A}" dt="2020-10-02T14:14:15.255" v="12265"/>
          <ac:picMkLst>
            <pc:docMk/>
            <pc:sldMk cId="932497199" sldId="7098"/>
            <ac:picMk id="110" creationId="{D918B7B0-3683-4B3F-BDD5-B051A6CAD794}"/>
          </ac:picMkLst>
        </pc:picChg>
        <pc:picChg chg="mod ord topLvl">
          <ac:chgData name="Théodora DUPONT-COURTADE" userId="b06d61bd-3bc1-47a9-8acb-1faed11547af" providerId="ADAL" clId="{B6284D1A-71B0-43D0-A276-BF5B1397783A}" dt="2020-10-02T14:14:15.251" v="12259"/>
          <ac:picMkLst>
            <pc:docMk/>
            <pc:sldMk cId="932497199" sldId="7098"/>
            <ac:picMk id="113" creationId="{3C5E9C67-153D-4463-830D-6F535F9E8648}"/>
          </ac:picMkLst>
        </pc:picChg>
        <pc:cxnChg chg="add mod ord">
          <ac:chgData name="Théodora DUPONT-COURTADE" userId="b06d61bd-3bc1-47a9-8acb-1faed11547af" providerId="ADAL" clId="{B6284D1A-71B0-43D0-A276-BF5B1397783A}" dt="2020-10-02T14:15:20.932" v="12991"/>
          <ac:cxnSpMkLst>
            <pc:docMk/>
            <pc:sldMk cId="932497199" sldId="7098"/>
            <ac:cxnSpMk id="26" creationId="{9CD60947-5793-4F81-BBE8-D776302C86C9}"/>
          </ac:cxnSpMkLst>
        </pc:cxnChg>
      </pc:sldChg>
      <pc:sldChg chg="addSp modSp mod">
        <pc:chgData name="Théodora DUPONT-COURTADE" userId="b06d61bd-3bc1-47a9-8acb-1faed11547af" providerId="ADAL" clId="{B6284D1A-71B0-43D0-A276-BF5B1397783A}" dt="2020-10-07T08:48:20.025" v="16344"/>
        <pc:sldMkLst>
          <pc:docMk/>
          <pc:sldMk cId="376755772" sldId="7099"/>
        </pc:sldMkLst>
        <pc:spChg chg="mod">
          <ac:chgData name="Théodora DUPONT-COURTADE" userId="b06d61bd-3bc1-47a9-8acb-1faed11547af" providerId="ADAL" clId="{B6284D1A-71B0-43D0-A276-BF5B1397783A}" dt="2020-10-07T08:48:19.483" v="16342" actId="14100"/>
          <ac:spMkLst>
            <pc:docMk/>
            <pc:sldMk cId="376755772" sldId="7099"/>
            <ac:spMk id="2" creationId="{3D5F3CBF-1CC1-410B-9384-ECBE8A2E4680}"/>
          </ac:spMkLst>
        </pc:spChg>
        <pc:spChg chg="mod">
          <ac:chgData name="Théodora DUPONT-COURTADE" userId="b06d61bd-3bc1-47a9-8acb-1faed11547af" providerId="ADAL" clId="{B6284D1A-71B0-43D0-A276-BF5B1397783A}" dt="2020-10-07T08:47:57.441" v="16332" actId="6549"/>
          <ac:spMkLst>
            <pc:docMk/>
            <pc:sldMk cId="376755772" sldId="7099"/>
            <ac:spMk id="55" creationId="{8EE86343-74BC-4E2D-BB6A-24861BB9D9BF}"/>
          </ac:spMkLst>
        </pc:spChg>
        <pc:spChg chg="mod">
          <ac:chgData name="Théodora DUPONT-COURTADE" userId="b06d61bd-3bc1-47a9-8acb-1faed11547af" providerId="ADAL" clId="{B6284D1A-71B0-43D0-A276-BF5B1397783A}" dt="2020-10-07T08:48:16.947" v="16341"/>
          <ac:spMkLst>
            <pc:docMk/>
            <pc:sldMk cId="376755772" sldId="7099"/>
            <ac:spMk id="57" creationId="{A869933F-94AC-46D2-964C-917227BFFA77}"/>
          </ac:spMkLst>
        </pc:spChg>
        <pc:spChg chg="mod">
          <ac:chgData name="Théodora DUPONT-COURTADE" userId="b06d61bd-3bc1-47a9-8acb-1faed11547af" providerId="ADAL" clId="{B6284D1A-71B0-43D0-A276-BF5B1397783A}" dt="2020-10-07T08:48:16.947" v="16341"/>
          <ac:spMkLst>
            <pc:docMk/>
            <pc:sldMk cId="376755772" sldId="7099"/>
            <ac:spMk id="58" creationId="{B1ABD5EE-E8FF-4523-A81C-663E6F5071B1}"/>
          </ac:spMkLst>
        </pc:spChg>
        <pc:spChg chg="mod">
          <ac:chgData name="Théodora DUPONT-COURTADE" userId="b06d61bd-3bc1-47a9-8acb-1faed11547af" providerId="ADAL" clId="{B6284D1A-71B0-43D0-A276-BF5B1397783A}" dt="2020-10-07T08:48:16.947" v="16341"/>
          <ac:spMkLst>
            <pc:docMk/>
            <pc:sldMk cId="376755772" sldId="7099"/>
            <ac:spMk id="59" creationId="{6A39A781-2533-438E-B804-AE108B0A3FD2}"/>
          </ac:spMkLst>
        </pc:spChg>
        <pc:spChg chg="mod">
          <ac:chgData name="Théodora DUPONT-COURTADE" userId="b06d61bd-3bc1-47a9-8acb-1faed11547af" providerId="ADAL" clId="{B6284D1A-71B0-43D0-A276-BF5B1397783A}" dt="2020-10-07T08:48:16.947" v="16341"/>
          <ac:spMkLst>
            <pc:docMk/>
            <pc:sldMk cId="376755772" sldId="7099"/>
            <ac:spMk id="60" creationId="{FCB8AE78-2225-4A97-BCAB-6C417FD99E9B}"/>
          </ac:spMkLst>
        </pc:spChg>
        <pc:spChg chg="mod">
          <ac:chgData name="Théodora DUPONT-COURTADE" userId="b06d61bd-3bc1-47a9-8acb-1faed11547af" providerId="ADAL" clId="{B6284D1A-71B0-43D0-A276-BF5B1397783A}" dt="2020-10-07T08:48:16.947" v="16341"/>
          <ac:spMkLst>
            <pc:docMk/>
            <pc:sldMk cId="376755772" sldId="7099"/>
            <ac:spMk id="68" creationId="{F98AAD54-52D6-40A9-A7A0-28A8B5970722}"/>
          </ac:spMkLst>
        </pc:spChg>
        <pc:grpChg chg="add mod">
          <ac:chgData name="Théodora DUPONT-COURTADE" userId="b06d61bd-3bc1-47a9-8acb-1faed11547af" providerId="ADAL" clId="{B6284D1A-71B0-43D0-A276-BF5B1397783A}" dt="2020-10-07T08:48:16.947" v="16341"/>
          <ac:grpSpMkLst>
            <pc:docMk/>
            <pc:sldMk cId="376755772" sldId="7099"/>
            <ac:grpSpMk id="56" creationId="{6E396C7C-7339-4ABB-943C-1195E0F3990D}"/>
          </ac:grpSpMkLst>
        </pc:grpChg>
        <pc:graphicFrameChg chg="mod">
          <ac:chgData name="Théodora DUPONT-COURTADE" userId="b06d61bd-3bc1-47a9-8acb-1faed11547af" providerId="ADAL" clId="{B6284D1A-71B0-43D0-A276-BF5B1397783A}" dt="2020-10-07T08:48:20.025" v="16344"/>
          <ac:graphicFrameMkLst>
            <pc:docMk/>
            <pc:sldMk cId="376755772" sldId="7099"/>
            <ac:graphicFrameMk id="33" creationId="{86158E79-F997-40AF-B834-92852138EB03}"/>
          </ac:graphicFrameMkLst>
        </pc:graphicFrameChg>
        <pc:picChg chg="mod">
          <ac:chgData name="Théodora DUPONT-COURTADE" userId="b06d61bd-3bc1-47a9-8acb-1faed11547af" providerId="ADAL" clId="{B6284D1A-71B0-43D0-A276-BF5B1397783A}" dt="2020-10-07T08:48:16.947" v="16341"/>
          <ac:picMkLst>
            <pc:docMk/>
            <pc:sldMk cId="376755772" sldId="7099"/>
            <ac:picMk id="61" creationId="{B776669D-40D5-4CF6-8BB6-D31217A53715}"/>
          </ac:picMkLst>
        </pc:picChg>
        <pc:picChg chg="mod">
          <ac:chgData name="Théodora DUPONT-COURTADE" userId="b06d61bd-3bc1-47a9-8acb-1faed11547af" providerId="ADAL" clId="{B6284D1A-71B0-43D0-A276-BF5B1397783A}" dt="2020-10-07T08:48:16.947" v="16341"/>
          <ac:picMkLst>
            <pc:docMk/>
            <pc:sldMk cId="376755772" sldId="7099"/>
            <ac:picMk id="62" creationId="{23B1925D-FD5C-4B45-A7F1-B4866911D0FC}"/>
          </ac:picMkLst>
        </pc:picChg>
        <pc:picChg chg="mod">
          <ac:chgData name="Théodora DUPONT-COURTADE" userId="b06d61bd-3bc1-47a9-8acb-1faed11547af" providerId="ADAL" clId="{B6284D1A-71B0-43D0-A276-BF5B1397783A}" dt="2020-10-07T08:48:16.947" v="16341"/>
          <ac:picMkLst>
            <pc:docMk/>
            <pc:sldMk cId="376755772" sldId="7099"/>
            <ac:picMk id="63" creationId="{60ED14AF-10BA-4BA4-9BF6-21F825699F67}"/>
          </ac:picMkLst>
        </pc:picChg>
        <pc:picChg chg="mod">
          <ac:chgData name="Théodora DUPONT-COURTADE" userId="b06d61bd-3bc1-47a9-8acb-1faed11547af" providerId="ADAL" clId="{B6284D1A-71B0-43D0-A276-BF5B1397783A}" dt="2020-10-07T08:48:16.947" v="16341"/>
          <ac:picMkLst>
            <pc:docMk/>
            <pc:sldMk cId="376755772" sldId="7099"/>
            <ac:picMk id="64" creationId="{50942A9A-7F25-421B-98D5-2FE522D6EFDB}"/>
          </ac:picMkLst>
        </pc:picChg>
        <pc:picChg chg="mod">
          <ac:chgData name="Théodora DUPONT-COURTADE" userId="b06d61bd-3bc1-47a9-8acb-1faed11547af" providerId="ADAL" clId="{B6284D1A-71B0-43D0-A276-BF5B1397783A}" dt="2020-10-07T08:48:16.947" v="16341"/>
          <ac:picMkLst>
            <pc:docMk/>
            <pc:sldMk cId="376755772" sldId="7099"/>
            <ac:picMk id="65" creationId="{B844C581-F181-4DA6-ACB7-2A3AD74BCC7C}"/>
          </ac:picMkLst>
        </pc:picChg>
        <pc:picChg chg="mod">
          <ac:chgData name="Théodora DUPONT-COURTADE" userId="b06d61bd-3bc1-47a9-8acb-1faed11547af" providerId="ADAL" clId="{B6284D1A-71B0-43D0-A276-BF5B1397783A}" dt="2020-10-07T08:48:16.947" v="16341"/>
          <ac:picMkLst>
            <pc:docMk/>
            <pc:sldMk cId="376755772" sldId="7099"/>
            <ac:picMk id="66" creationId="{FCD5FF77-AF2D-4E5D-9FCA-74D89180E25C}"/>
          </ac:picMkLst>
        </pc:picChg>
        <pc:picChg chg="mod">
          <ac:chgData name="Théodora DUPONT-COURTADE" userId="b06d61bd-3bc1-47a9-8acb-1faed11547af" providerId="ADAL" clId="{B6284D1A-71B0-43D0-A276-BF5B1397783A}" dt="2020-10-07T08:48:16.947" v="16341"/>
          <ac:picMkLst>
            <pc:docMk/>
            <pc:sldMk cId="376755772" sldId="7099"/>
            <ac:picMk id="67" creationId="{83DC89C9-8158-4B53-BF2D-FD10E094777C}"/>
          </ac:picMkLst>
        </pc:picChg>
      </pc:sldChg>
      <pc:sldChg chg="modSp add">
        <pc:chgData name="Théodora DUPONT-COURTADE" userId="b06d61bd-3bc1-47a9-8acb-1faed11547af" providerId="ADAL" clId="{B6284D1A-71B0-43D0-A276-BF5B1397783A}" dt="2020-10-07T08:51:55.640" v="16401"/>
        <pc:sldMkLst>
          <pc:docMk/>
          <pc:sldMk cId="2991055858" sldId="7100"/>
        </pc:sldMkLst>
        <pc:graphicFrameChg chg="modGraphic">
          <ac:chgData name="Théodora DUPONT-COURTADE" userId="b06d61bd-3bc1-47a9-8acb-1faed11547af" providerId="ADAL" clId="{B6284D1A-71B0-43D0-A276-BF5B1397783A}" dt="2020-10-07T08:51:55.640" v="16401"/>
          <ac:graphicFrameMkLst>
            <pc:docMk/>
            <pc:sldMk cId="2991055858" sldId="7100"/>
            <ac:graphicFrameMk id="65" creationId="{D9E26B0B-AE1C-43CB-BBCC-B338EDC9EE65}"/>
          </ac:graphicFrameMkLst>
        </pc:graphicFrameChg>
      </pc:sldChg>
      <pc:sldChg chg="addSp modSp mod">
        <pc:chgData name="Théodora DUPONT-COURTADE" userId="b06d61bd-3bc1-47a9-8acb-1faed11547af" providerId="ADAL" clId="{B6284D1A-71B0-43D0-A276-BF5B1397783A}" dt="2020-10-07T09:00:16.893" v="16614" actId="20577"/>
        <pc:sldMkLst>
          <pc:docMk/>
          <pc:sldMk cId="3483647417" sldId="7103"/>
        </pc:sldMkLst>
        <pc:spChg chg="mod">
          <ac:chgData name="Théodora DUPONT-COURTADE" userId="b06d61bd-3bc1-47a9-8acb-1faed11547af" providerId="ADAL" clId="{B6284D1A-71B0-43D0-A276-BF5B1397783A}" dt="2020-10-07T08:49:06.779" v="16376" actId="14100"/>
          <ac:spMkLst>
            <pc:docMk/>
            <pc:sldMk cId="3483647417" sldId="7103"/>
            <ac:spMk id="2" creationId="{A9C092F8-DE50-48F2-8C73-D86A5F6F272A}"/>
          </ac:spMkLst>
        </pc:spChg>
        <pc:spChg chg="mod">
          <ac:chgData name="Théodora DUPONT-COURTADE" userId="b06d61bd-3bc1-47a9-8acb-1faed11547af" providerId="ADAL" clId="{B6284D1A-71B0-43D0-A276-BF5B1397783A}" dt="2020-10-07T09:00:16.893" v="16614" actId="20577"/>
          <ac:spMkLst>
            <pc:docMk/>
            <pc:sldMk cId="3483647417" sldId="7103"/>
            <ac:spMk id="3" creationId="{7851D9B2-2606-4A80-88A9-9AB3D973C3CD}"/>
          </ac:spMkLst>
        </pc:spChg>
        <pc:spChg chg="mod">
          <ac:chgData name="Théodora DUPONT-COURTADE" userId="b06d61bd-3bc1-47a9-8acb-1faed11547af" providerId="ADAL" clId="{B6284D1A-71B0-43D0-A276-BF5B1397783A}" dt="2020-10-07T08:49:07.422" v="16397" actId="6549"/>
          <ac:spMkLst>
            <pc:docMk/>
            <pc:sldMk cId="3483647417" sldId="7103"/>
            <ac:spMk id="12" creationId="{619634F8-055C-4FE0-B70D-01CBBCB4F21F}"/>
          </ac:spMkLst>
        </pc:spChg>
        <pc:spChg chg="mod">
          <ac:chgData name="Théodora DUPONT-COURTADE" userId="b06d61bd-3bc1-47a9-8acb-1faed11547af" providerId="ADAL" clId="{B6284D1A-71B0-43D0-A276-BF5B1397783A}" dt="2020-10-07T08:49:04.776" v="16375"/>
          <ac:spMkLst>
            <pc:docMk/>
            <pc:sldMk cId="3483647417" sldId="7103"/>
            <ac:spMk id="60" creationId="{4B2EDB05-7342-43BD-980E-C2CCDBBA5C89}"/>
          </ac:spMkLst>
        </pc:spChg>
        <pc:spChg chg="mod">
          <ac:chgData name="Théodora DUPONT-COURTADE" userId="b06d61bd-3bc1-47a9-8acb-1faed11547af" providerId="ADAL" clId="{B6284D1A-71B0-43D0-A276-BF5B1397783A}" dt="2020-10-07T08:49:04.776" v="16375"/>
          <ac:spMkLst>
            <pc:docMk/>
            <pc:sldMk cId="3483647417" sldId="7103"/>
            <ac:spMk id="62" creationId="{232D6E8D-8CD2-4F8D-A675-A7228F67DCCC}"/>
          </ac:spMkLst>
        </pc:spChg>
        <pc:spChg chg="mod">
          <ac:chgData name="Théodora DUPONT-COURTADE" userId="b06d61bd-3bc1-47a9-8acb-1faed11547af" providerId="ADAL" clId="{B6284D1A-71B0-43D0-A276-BF5B1397783A}" dt="2020-10-07T08:49:04.776" v="16375"/>
          <ac:spMkLst>
            <pc:docMk/>
            <pc:sldMk cId="3483647417" sldId="7103"/>
            <ac:spMk id="63" creationId="{5860B381-454B-4F85-AE1F-73037DD4B0AC}"/>
          </ac:spMkLst>
        </pc:spChg>
        <pc:spChg chg="mod">
          <ac:chgData name="Théodora DUPONT-COURTADE" userId="b06d61bd-3bc1-47a9-8acb-1faed11547af" providerId="ADAL" clId="{B6284D1A-71B0-43D0-A276-BF5B1397783A}" dt="2020-10-07T08:49:04.776" v="16375"/>
          <ac:spMkLst>
            <pc:docMk/>
            <pc:sldMk cId="3483647417" sldId="7103"/>
            <ac:spMk id="64" creationId="{4F256B23-79E5-4C73-B2C2-A6D5E51FE9A7}"/>
          </ac:spMkLst>
        </pc:spChg>
        <pc:spChg chg="mod">
          <ac:chgData name="Théodora DUPONT-COURTADE" userId="b06d61bd-3bc1-47a9-8acb-1faed11547af" providerId="ADAL" clId="{B6284D1A-71B0-43D0-A276-BF5B1397783A}" dt="2020-10-07T08:49:04.776" v="16375"/>
          <ac:spMkLst>
            <pc:docMk/>
            <pc:sldMk cId="3483647417" sldId="7103"/>
            <ac:spMk id="65" creationId="{A35F9E4F-4114-4667-8F84-150720137BF1}"/>
          </ac:spMkLst>
        </pc:spChg>
        <pc:spChg chg="mod">
          <ac:chgData name="Théodora DUPONT-COURTADE" userId="b06d61bd-3bc1-47a9-8acb-1faed11547af" providerId="ADAL" clId="{B6284D1A-71B0-43D0-A276-BF5B1397783A}" dt="2020-10-07T08:49:04.776" v="16375"/>
          <ac:spMkLst>
            <pc:docMk/>
            <pc:sldMk cId="3483647417" sldId="7103"/>
            <ac:spMk id="69" creationId="{468AA9F5-6111-4A60-A9FC-3FD667441880}"/>
          </ac:spMkLst>
        </pc:spChg>
        <pc:grpChg chg="add mod">
          <ac:chgData name="Théodora DUPONT-COURTADE" userId="b06d61bd-3bc1-47a9-8acb-1faed11547af" providerId="ADAL" clId="{B6284D1A-71B0-43D0-A276-BF5B1397783A}" dt="2020-10-07T08:49:04.776" v="16375"/>
          <ac:grpSpMkLst>
            <pc:docMk/>
            <pc:sldMk cId="3483647417" sldId="7103"/>
            <ac:grpSpMk id="35" creationId="{6A748FD7-D76C-41B7-932A-3971ADB1C0F0}"/>
          </ac:grpSpMkLst>
        </pc:grpChg>
        <pc:grpChg chg="mod">
          <ac:chgData name="Théodora DUPONT-COURTADE" userId="b06d61bd-3bc1-47a9-8acb-1faed11547af" providerId="ADAL" clId="{B6284D1A-71B0-43D0-A276-BF5B1397783A}" dt="2020-10-07T08:49:04.776" v="16375"/>
          <ac:grpSpMkLst>
            <pc:docMk/>
            <pc:sldMk cId="3483647417" sldId="7103"/>
            <ac:grpSpMk id="61" creationId="{F1A7C22F-9159-436D-A229-CF207123211E}"/>
          </ac:grpSpMkLst>
        </pc:grpChg>
        <pc:graphicFrameChg chg="mod">
          <ac:chgData name="Théodora DUPONT-COURTADE" userId="b06d61bd-3bc1-47a9-8acb-1faed11547af" providerId="ADAL" clId="{B6284D1A-71B0-43D0-A276-BF5B1397783A}" dt="2020-10-07T08:49:07.443" v="16399"/>
          <ac:graphicFrameMkLst>
            <pc:docMk/>
            <pc:sldMk cId="3483647417" sldId="7103"/>
            <ac:graphicFrameMk id="11" creationId="{E122C107-C2A1-4953-9350-91B7A10F6DE1}"/>
          </ac:graphicFrameMkLst>
        </pc:graphicFrameChg>
        <pc:picChg chg="mod">
          <ac:chgData name="Théodora DUPONT-COURTADE" userId="b06d61bd-3bc1-47a9-8acb-1faed11547af" providerId="ADAL" clId="{B6284D1A-71B0-43D0-A276-BF5B1397783A}" dt="2020-10-07T08:49:04.776" v="16375"/>
          <ac:picMkLst>
            <pc:docMk/>
            <pc:sldMk cId="3483647417" sldId="7103"/>
            <ac:picMk id="57" creationId="{DD45652A-FD5A-46B7-93D6-322E72322D2D}"/>
          </ac:picMkLst>
        </pc:picChg>
        <pc:picChg chg="mod">
          <ac:chgData name="Théodora DUPONT-COURTADE" userId="b06d61bd-3bc1-47a9-8acb-1faed11547af" providerId="ADAL" clId="{B6284D1A-71B0-43D0-A276-BF5B1397783A}" dt="2020-10-07T08:49:04.776" v="16375"/>
          <ac:picMkLst>
            <pc:docMk/>
            <pc:sldMk cId="3483647417" sldId="7103"/>
            <ac:picMk id="58" creationId="{C94B5EDB-5751-474B-AE85-F69D04E7B205}"/>
          </ac:picMkLst>
        </pc:picChg>
        <pc:picChg chg="mod">
          <ac:chgData name="Théodora DUPONT-COURTADE" userId="b06d61bd-3bc1-47a9-8acb-1faed11547af" providerId="ADAL" clId="{B6284D1A-71B0-43D0-A276-BF5B1397783A}" dt="2020-10-07T08:49:04.776" v="16375"/>
          <ac:picMkLst>
            <pc:docMk/>
            <pc:sldMk cId="3483647417" sldId="7103"/>
            <ac:picMk id="59" creationId="{FD54D9D3-A460-4BC2-B786-3194CD96BA0F}"/>
          </ac:picMkLst>
        </pc:picChg>
        <pc:picChg chg="mod">
          <ac:chgData name="Théodora DUPONT-COURTADE" userId="b06d61bd-3bc1-47a9-8acb-1faed11547af" providerId="ADAL" clId="{B6284D1A-71B0-43D0-A276-BF5B1397783A}" dt="2020-10-07T08:49:04.776" v="16375"/>
          <ac:picMkLst>
            <pc:docMk/>
            <pc:sldMk cId="3483647417" sldId="7103"/>
            <ac:picMk id="66" creationId="{4C05DE4D-1549-42D9-A9BB-F5E6A3A9FC84}"/>
          </ac:picMkLst>
        </pc:picChg>
        <pc:picChg chg="mod">
          <ac:chgData name="Théodora DUPONT-COURTADE" userId="b06d61bd-3bc1-47a9-8acb-1faed11547af" providerId="ADAL" clId="{B6284D1A-71B0-43D0-A276-BF5B1397783A}" dt="2020-10-07T08:49:04.776" v="16375"/>
          <ac:picMkLst>
            <pc:docMk/>
            <pc:sldMk cId="3483647417" sldId="7103"/>
            <ac:picMk id="67" creationId="{C62D7DE6-29D5-4859-8E7E-0FCB43C144C2}"/>
          </ac:picMkLst>
        </pc:picChg>
        <pc:picChg chg="mod">
          <ac:chgData name="Théodora DUPONT-COURTADE" userId="b06d61bd-3bc1-47a9-8acb-1faed11547af" providerId="ADAL" clId="{B6284D1A-71B0-43D0-A276-BF5B1397783A}" dt="2020-10-07T08:49:04.776" v="16375"/>
          <ac:picMkLst>
            <pc:docMk/>
            <pc:sldMk cId="3483647417" sldId="7103"/>
            <ac:picMk id="68" creationId="{E6D88789-3294-41A8-9C87-0D387A4BB36C}"/>
          </ac:picMkLst>
        </pc:picChg>
      </pc:sldChg>
      <pc:sldChg chg="modSp mod">
        <pc:chgData name="Théodora DUPONT-COURTADE" userId="b06d61bd-3bc1-47a9-8acb-1faed11547af" providerId="ADAL" clId="{B6284D1A-71B0-43D0-A276-BF5B1397783A}" dt="2020-10-07T08:46:22.803" v="16307" actId="242"/>
        <pc:sldMkLst>
          <pc:docMk/>
          <pc:sldMk cId="1053969278" sldId="7104"/>
        </pc:sldMkLst>
        <pc:spChg chg="mod">
          <ac:chgData name="Théodora DUPONT-COURTADE" userId="b06d61bd-3bc1-47a9-8acb-1faed11547af" providerId="ADAL" clId="{B6284D1A-71B0-43D0-A276-BF5B1397783A}" dt="2020-10-07T08:46:22.803" v="16307" actId="242"/>
          <ac:spMkLst>
            <pc:docMk/>
            <pc:sldMk cId="1053969278" sldId="7104"/>
            <ac:spMk id="6" creationId="{3C9DAC80-53E9-4285-B7D4-A9875E5FBE2A}"/>
          </ac:spMkLst>
        </pc:spChg>
        <pc:spChg chg="mod">
          <ac:chgData name="Théodora DUPONT-COURTADE" userId="b06d61bd-3bc1-47a9-8acb-1faed11547af" providerId="ADAL" clId="{B6284D1A-71B0-43D0-A276-BF5B1397783A}" dt="2020-10-07T08:46:22.803" v="16307" actId="242"/>
          <ac:spMkLst>
            <pc:docMk/>
            <pc:sldMk cId="1053969278" sldId="7104"/>
            <ac:spMk id="65" creationId="{128A090C-1758-42F2-92C8-1E5EBE7FC784}"/>
          </ac:spMkLst>
        </pc:spChg>
        <pc:spChg chg="mod">
          <ac:chgData name="Théodora DUPONT-COURTADE" userId="b06d61bd-3bc1-47a9-8acb-1faed11547af" providerId="ADAL" clId="{B6284D1A-71B0-43D0-A276-BF5B1397783A}" dt="2020-10-07T08:46:22.803" v="16307" actId="242"/>
          <ac:spMkLst>
            <pc:docMk/>
            <pc:sldMk cId="1053969278" sldId="7104"/>
            <ac:spMk id="66" creationId="{17598A8D-F999-4800-940F-77F9E56E86D3}"/>
          </ac:spMkLst>
        </pc:spChg>
        <pc:spChg chg="mod">
          <ac:chgData name="Théodora DUPONT-COURTADE" userId="b06d61bd-3bc1-47a9-8acb-1faed11547af" providerId="ADAL" clId="{B6284D1A-71B0-43D0-A276-BF5B1397783A}" dt="2020-10-07T08:46:22.803" v="16307" actId="242"/>
          <ac:spMkLst>
            <pc:docMk/>
            <pc:sldMk cId="1053969278" sldId="7104"/>
            <ac:spMk id="74" creationId="{0E6193B6-6BA0-494F-9F9B-19586AC22164}"/>
          </ac:spMkLst>
        </pc:spChg>
      </pc:sldChg>
      <pc:sldMasterChg chg="delSldLayout">
        <pc:chgData name="Théodora DUPONT-COURTADE" userId="b06d61bd-3bc1-47a9-8acb-1faed11547af" providerId="ADAL" clId="{B6284D1A-71B0-43D0-A276-BF5B1397783A}" dt="2020-10-02T14:02:35.841" v="11774" actId="47"/>
        <pc:sldMasterMkLst>
          <pc:docMk/>
          <pc:sldMasterMk cId="71096945" sldId="2147483691"/>
        </pc:sldMasterMkLst>
        <pc:sldLayoutChg chg="del">
          <pc:chgData name="Théodora DUPONT-COURTADE" userId="b06d61bd-3bc1-47a9-8acb-1faed11547af" providerId="ADAL" clId="{B6284D1A-71B0-43D0-A276-BF5B1397783A}" dt="2020-10-02T14:00:50.839" v="11431" actId="47"/>
          <pc:sldLayoutMkLst>
            <pc:docMk/>
            <pc:sldMasterMk cId="71096945" sldId="2147483691"/>
            <pc:sldLayoutMk cId="2470640041" sldId="2147483713"/>
          </pc:sldLayoutMkLst>
        </pc:sldLayoutChg>
        <pc:sldLayoutChg chg="del">
          <pc:chgData name="Théodora DUPONT-COURTADE" userId="b06d61bd-3bc1-47a9-8acb-1faed11547af" providerId="ADAL" clId="{B6284D1A-71B0-43D0-A276-BF5B1397783A}" dt="2020-10-02T14:02:35.841" v="11774" actId="47"/>
          <pc:sldLayoutMkLst>
            <pc:docMk/>
            <pc:sldMasterMk cId="71096945" sldId="2147483691"/>
            <pc:sldLayoutMk cId="3630010450" sldId="2147483714"/>
          </pc:sldLayoutMkLst>
        </pc:sldLayoutChg>
      </pc:sldMasterChg>
    </pc:docChg>
  </pc:docChgLst>
  <pc:docChgLst>
    <pc:chgData name="Théodora DUPONT-COURTADE" userId="b06d61bd-3bc1-47a9-8acb-1faed11547af" providerId="ADAL" clId="{46492A7A-5491-48FF-8472-B7AB0047A0D2}"/>
    <pc:docChg chg="undo redo custSel modSld">
      <pc:chgData name="Théodora DUPONT-COURTADE" userId="b06d61bd-3bc1-47a9-8acb-1faed11547af" providerId="ADAL" clId="{46492A7A-5491-48FF-8472-B7AB0047A0D2}" dt="2020-11-09T12:43:16.059" v="981" actId="12788"/>
      <pc:docMkLst>
        <pc:docMk/>
      </pc:docMkLst>
      <pc:sldChg chg="modSp mod">
        <pc:chgData name="Théodora DUPONT-COURTADE" userId="b06d61bd-3bc1-47a9-8acb-1faed11547af" providerId="ADAL" clId="{46492A7A-5491-48FF-8472-B7AB0047A0D2}" dt="2020-11-09T08:32:58.025" v="898" actId="20577"/>
        <pc:sldMkLst>
          <pc:docMk/>
          <pc:sldMk cId="2842113706" sldId="3950"/>
        </pc:sldMkLst>
        <pc:spChg chg="mod">
          <ac:chgData name="Théodora DUPONT-COURTADE" userId="b06d61bd-3bc1-47a9-8acb-1faed11547af" providerId="ADAL" clId="{46492A7A-5491-48FF-8472-B7AB0047A0D2}" dt="2020-11-09T08:32:41.248" v="871" actId="20577"/>
          <ac:spMkLst>
            <pc:docMk/>
            <pc:sldMk cId="2842113706" sldId="3950"/>
            <ac:spMk id="2" creationId="{571E510F-89DB-463C-9F67-14CAB3AD246A}"/>
          </ac:spMkLst>
        </pc:spChg>
        <pc:spChg chg="mod">
          <ac:chgData name="Théodora DUPONT-COURTADE" userId="b06d61bd-3bc1-47a9-8acb-1faed11547af" providerId="ADAL" clId="{46492A7A-5491-48FF-8472-B7AB0047A0D2}" dt="2020-11-09T08:32:41.808" v="892" actId="6549"/>
          <ac:spMkLst>
            <pc:docMk/>
            <pc:sldMk cId="2842113706" sldId="3950"/>
            <ac:spMk id="4" creationId="{4C5B4747-7853-4F07-8623-5A614B1D9B24}"/>
          </ac:spMkLst>
        </pc:spChg>
        <pc:spChg chg="mod">
          <ac:chgData name="Théodora DUPONT-COURTADE" userId="b06d61bd-3bc1-47a9-8acb-1faed11547af" providerId="ADAL" clId="{46492A7A-5491-48FF-8472-B7AB0047A0D2}" dt="2020-11-09T08:32:50.538" v="895" actId="20577"/>
          <ac:spMkLst>
            <pc:docMk/>
            <pc:sldMk cId="2842113706" sldId="3950"/>
            <ac:spMk id="39" creationId="{1120DF80-31C6-48CA-8C1D-A508EDBCBBEB}"/>
          </ac:spMkLst>
        </pc:spChg>
        <pc:spChg chg="mod">
          <ac:chgData name="Théodora DUPONT-COURTADE" userId="b06d61bd-3bc1-47a9-8acb-1faed11547af" providerId="ADAL" clId="{46492A7A-5491-48FF-8472-B7AB0047A0D2}" dt="2020-11-09T08:32:58.025" v="898" actId="20577"/>
          <ac:spMkLst>
            <pc:docMk/>
            <pc:sldMk cId="2842113706" sldId="3950"/>
            <ac:spMk id="72" creationId="{1903763E-9449-4AD6-B709-B9C3447B8FE1}"/>
          </ac:spMkLst>
        </pc:spChg>
        <pc:graphicFrameChg chg="mod">
          <ac:chgData name="Théodora DUPONT-COURTADE" userId="b06d61bd-3bc1-47a9-8acb-1faed11547af" providerId="ADAL" clId="{46492A7A-5491-48FF-8472-B7AB0047A0D2}" dt="2020-11-09T08:32:41.829" v="894"/>
          <ac:graphicFrameMkLst>
            <pc:docMk/>
            <pc:sldMk cId="2842113706" sldId="3950"/>
            <ac:graphicFrameMk id="5" creationId="{40BA3694-E559-4BD8-B30F-49F93995F5E2}"/>
          </ac:graphicFrameMkLst>
        </pc:graphicFrameChg>
      </pc:sldChg>
      <pc:sldChg chg="modSp">
        <pc:chgData name="Théodora DUPONT-COURTADE" userId="b06d61bd-3bc1-47a9-8acb-1faed11547af" providerId="ADAL" clId="{46492A7A-5491-48FF-8472-B7AB0047A0D2}" dt="2020-11-09T08:27:34.590" v="772"/>
        <pc:sldMkLst>
          <pc:docMk/>
          <pc:sldMk cId="3253080124" sldId="4848"/>
        </pc:sldMkLst>
        <pc:spChg chg="mod">
          <ac:chgData name="Théodora DUPONT-COURTADE" userId="b06d61bd-3bc1-47a9-8acb-1faed11547af" providerId="ADAL" clId="{46492A7A-5491-48FF-8472-B7AB0047A0D2}" dt="2020-11-09T08:27:34.590" v="772"/>
          <ac:spMkLst>
            <pc:docMk/>
            <pc:sldMk cId="3253080124" sldId="4848"/>
            <ac:spMk id="42" creationId="{0C3B24B9-2A8C-44FF-962E-77E310953AB2}"/>
          </ac:spMkLst>
        </pc:spChg>
      </pc:sldChg>
      <pc:sldChg chg="modSp mod">
        <pc:chgData name="Théodora DUPONT-COURTADE" userId="b06d61bd-3bc1-47a9-8acb-1faed11547af" providerId="ADAL" clId="{46492A7A-5491-48FF-8472-B7AB0047A0D2}" dt="2020-11-09T12:43:16.059" v="981" actId="12788"/>
        <pc:sldMkLst>
          <pc:docMk/>
          <pc:sldMk cId="1092298302" sldId="4910"/>
        </pc:sldMkLst>
        <pc:spChg chg="mod">
          <ac:chgData name="Théodora DUPONT-COURTADE" userId="b06d61bd-3bc1-47a9-8acb-1faed11547af" providerId="ADAL" clId="{46492A7A-5491-48FF-8472-B7AB0047A0D2}" dt="2020-11-09T12:43:16.059" v="981" actId="12788"/>
          <ac:spMkLst>
            <pc:docMk/>
            <pc:sldMk cId="1092298302" sldId="4910"/>
            <ac:spMk id="7" creationId="{C1F6D9E0-1BF3-414C-B043-078D59ED26B1}"/>
          </ac:spMkLst>
        </pc:spChg>
        <pc:spChg chg="mod">
          <ac:chgData name="Théodora DUPONT-COURTADE" userId="b06d61bd-3bc1-47a9-8acb-1faed11547af" providerId="ADAL" clId="{46492A7A-5491-48FF-8472-B7AB0047A0D2}" dt="2020-11-09T12:43:16.059" v="981" actId="12788"/>
          <ac:spMkLst>
            <pc:docMk/>
            <pc:sldMk cId="1092298302" sldId="4910"/>
            <ac:spMk id="17" creationId="{B6E2BF46-448F-4046-BDE6-055311F7B6C9}"/>
          </ac:spMkLst>
        </pc:spChg>
      </pc:sldChg>
      <pc:sldChg chg="modSp mod">
        <pc:chgData name="Théodora DUPONT-COURTADE" userId="b06d61bd-3bc1-47a9-8acb-1faed11547af" providerId="ADAL" clId="{46492A7A-5491-48FF-8472-B7AB0047A0D2}" dt="2020-11-09T08:30:44.499" v="810" actId="20577"/>
        <pc:sldMkLst>
          <pc:docMk/>
          <pc:sldMk cId="740883891" sldId="4920"/>
        </pc:sldMkLst>
        <pc:spChg chg="mod">
          <ac:chgData name="Théodora DUPONT-COURTADE" userId="b06d61bd-3bc1-47a9-8acb-1faed11547af" providerId="ADAL" clId="{46492A7A-5491-48FF-8472-B7AB0047A0D2}" dt="2020-11-09T08:30:44.499" v="810" actId="20577"/>
          <ac:spMkLst>
            <pc:docMk/>
            <pc:sldMk cId="740883891" sldId="4920"/>
            <ac:spMk id="17" creationId="{A288E874-9442-4EDE-925F-CF5FFBF5C20F}"/>
          </ac:spMkLst>
        </pc:spChg>
      </pc:sldChg>
      <pc:sldChg chg="modSp mod">
        <pc:chgData name="Théodora DUPONT-COURTADE" userId="b06d61bd-3bc1-47a9-8acb-1faed11547af" providerId="ADAL" clId="{46492A7A-5491-48FF-8472-B7AB0047A0D2}" dt="2020-11-09T08:32:21.853" v="865" actId="554"/>
        <pc:sldMkLst>
          <pc:docMk/>
          <pc:sldMk cId="588035919" sldId="6632"/>
        </pc:sldMkLst>
        <pc:spChg chg="mod">
          <ac:chgData name="Théodora DUPONT-COURTADE" userId="b06d61bd-3bc1-47a9-8acb-1faed11547af" providerId="ADAL" clId="{46492A7A-5491-48FF-8472-B7AB0047A0D2}" dt="2020-11-09T08:30:55.612" v="813" actId="20577"/>
          <ac:spMkLst>
            <pc:docMk/>
            <pc:sldMk cId="588035919" sldId="6632"/>
            <ac:spMk id="2" creationId="{A6651C34-A612-43D2-B5FE-7CB36E0A852E}"/>
          </ac:spMkLst>
        </pc:spChg>
        <pc:spChg chg="mod">
          <ac:chgData name="Théodora DUPONT-COURTADE" userId="b06d61bd-3bc1-47a9-8acb-1faed11547af" providerId="ADAL" clId="{46492A7A-5491-48FF-8472-B7AB0047A0D2}" dt="2020-11-09T08:30:56.199" v="834" actId="6549"/>
          <ac:spMkLst>
            <pc:docMk/>
            <pc:sldMk cId="588035919" sldId="6632"/>
            <ac:spMk id="5" creationId="{349B7D58-C617-49E9-89B9-1AC0FF651F74}"/>
          </ac:spMkLst>
        </pc:spChg>
        <pc:spChg chg="mod">
          <ac:chgData name="Théodora DUPONT-COURTADE" userId="b06d61bd-3bc1-47a9-8acb-1faed11547af" providerId="ADAL" clId="{46492A7A-5491-48FF-8472-B7AB0047A0D2}" dt="2020-11-09T08:31:01.753" v="839" actId="20577"/>
          <ac:spMkLst>
            <pc:docMk/>
            <pc:sldMk cId="588035919" sldId="6632"/>
            <ac:spMk id="10" creationId="{5983FA2E-54BB-46E8-AFCE-1A44F4E558A1}"/>
          </ac:spMkLst>
        </pc:spChg>
        <pc:spChg chg="mod">
          <ac:chgData name="Théodora DUPONT-COURTADE" userId="b06d61bd-3bc1-47a9-8acb-1faed11547af" providerId="ADAL" clId="{46492A7A-5491-48FF-8472-B7AB0047A0D2}" dt="2020-11-09T08:32:21.853" v="865" actId="554"/>
          <ac:spMkLst>
            <pc:docMk/>
            <pc:sldMk cId="588035919" sldId="6632"/>
            <ac:spMk id="32" creationId="{EE6042B6-A9EB-4CF2-8FE1-56CAD51DD305}"/>
          </ac:spMkLst>
        </pc:spChg>
        <pc:spChg chg="mod">
          <ac:chgData name="Théodora DUPONT-COURTADE" userId="b06d61bd-3bc1-47a9-8acb-1faed11547af" providerId="ADAL" clId="{46492A7A-5491-48FF-8472-B7AB0047A0D2}" dt="2020-11-09T08:32:21.853" v="865" actId="554"/>
          <ac:spMkLst>
            <pc:docMk/>
            <pc:sldMk cId="588035919" sldId="6632"/>
            <ac:spMk id="33" creationId="{43623613-D13D-48F7-8961-3CCFF428006B}"/>
          </ac:spMkLst>
        </pc:spChg>
        <pc:spChg chg="mod">
          <ac:chgData name="Théodora DUPONT-COURTADE" userId="b06d61bd-3bc1-47a9-8acb-1faed11547af" providerId="ADAL" clId="{46492A7A-5491-48FF-8472-B7AB0047A0D2}" dt="2020-11-09T08:31:07.329" v="842" actId="20577"/>
          <ac:spMkLst>
            <pc:docMk/>
            <pc:sldMk cId="588035919" sldId="6632"/>
            <ac:spMk id="37" creationId="{56D89242-0B0F-4AF3-BA64-33D2293FE228}"/>
          </ac:spMkLst>
        </pc:spChg>
        <pc:spChg chg="mod">
          <ac:chgData name="Théodora DUPONT-COURTADE" userId="b06d61bd-3bc1-47a9-8acb-1faed11547af" providerId="ADAL" clId="{46492A7A-5491-48FF-8472-B7AB0047A0D2}" dt="2020-11-09T08:31:58.507" v="845" actId="20577"/>
          <ac:spMkLst>
            <pc:docMk/>
            <pc:sldMk cId="588035919" sldId="6632"/>
            <ac:spMk id="277" creationId="{822213BF-125B-4631-AAF7-A7C905D8D431}"/>
          </ac:spMkLst>
        </pc:spChg>
        <pc:graphicFrameChg chg="mod">
          <ac:chgData name="Théodora DUPONT-COURTADE" userId="b06d61bd-3bc1-47a9-8acb-1faed11547af" providerId="ADAL" clId="{46492A7A-5491-48FF-8472-B7AB0047A0D2}" dt="2020-11-09T08:30:56.214" v="836"/>
          <ac:graphicFrameMkLst>
            <pc:docMk/>
            <pc:sldMk cId="588035919" sldId="6632"/>
            <ac:graphicFrameMk id="6" creationId="{8F84A34F-E8AA-4AED-8B88-FCB0E5AC2159}"/>
          </ac:graphicFrameMkLst>
        </pc:graphicFrameChg>
      </pc:sldChg>
      <pc:sldChg chg="modSp mod">
        <pc:chgData name="Théodora DUPONT-COURTADE" userId="b06d61bd-3bc1-47a9-8acb-1faed11547af" providerId="ADAL" clId="{46492A7A-5491-48FF-8472-B7AB0047A0D2}" dt="2020-11-09T08:27:34.590" v="772"/>
        <pc:sldMkLst>
          <pc:docMk/>
          <pc:sldMk cId="2982811336" sldId="6703"/>
        </pc:sldMkLst>
        <pc:spChg chg="mod">
          <ac:chgData name="Théodora DUPONT-COURTADE" userId="b06d61bd-3bc1-47a9-8acb-1faed11547af" providerId="ADAL" clId="{46492A7A-5491-48FF-8472-B7AB0047A0D2}" dt="2020-11-09T07:55:56.474" v="179" actId="20577"/>
          <ac:spMkLst>
            <pc:docMk/>
            <pc:sldMk cId="2982811336" sldId="6703"/>
            <ac:spMk id="2" creationId="{27A24D8A-BD67-454E-B336-4A9DD9C3559E}"/>
          </ac:spMkLst>
        </pc:spChg>
        <pc:spChg chg="mod">
          <ac:chgData name="Théodora DUPONT-COURTADE" userId="b06d61bd-3bc1-47a9-8acb-1faed11547af" providerId="ADAL" clId="{46492A7A-5491-48FF-8472-B7AB0047A0D2}" dt="2020-11-09T07:55:42.301" v="168" actId="6549"/>
          <ac:spMkLst>
            <pc:docMk/>
            <pc:sldMk cId="2982811336" sldId="6703"/>
            <ac:spMk id="11" creationId="{ACF22D3B-6FB4-4CCA-9776-EA522339A097}"/>
          </ac:spMkLst>
        </pc:spChg>
        <pc:spChg chg="mod">
          <ac:chgData name="Théodora DUPONT-COURTADE" userId="b06d61bd-3bc1-47a9-8acb-1faed11547af" providerId="ADAL" clId="{46492A7A-5491-48FF-8472-B7AB0047A0D2}" dt="2020-11-09T08:27:34.590" v="772"/>
          <ac:spMkLst>
            <pc:docMk/>
            <pc:sldMk cId="2982811336" sldId="6703"/>
            <ac:spMk id="105" creationId="{D2B9FD11-2B87-4D59-8373-5A12D1F6CF63}"/>
          </ac:spMkLst>
        </pc:spChg>
        <pc:graphicFrameChg chg="mod">
          <ac:chgData name="Théodora DUPONT-COURTADE" userId="b06d61bd-3bc1-47a9-8acb-1faed11547af" providerId="ADAL" clId="{46492A7A-5491-48FF-8472-B7AB0047A0D2}" dt="2020-11-09T07:55:56.995" v="181"/>
          <ac:graphicFrameMkLst>
            <pc:docMk/>
            <pc:sldMk cId="2982811336" sldId="6703"/>
            <ac:graphicFrameMk id="25" creationId="{D6D8D382-B063-424E-86DB-F9AD197EF54A}"/>
          </ac:graphicFrameMkLst>
        </pc:graphicFrameChg>
      </pc:sldChg>
      <pc:sldChg chg="modSp">
        <pc:chgData name="Théodora DUPONT-COURTADE" userId="b06d61bd-3bc1-47a9-8acb-1faed11547af" providerId="ADAL" clId="{46492A7A-5491-48FF-8472-B7AB0047A0D2}" dt="2020-11-09T08:27:34.590" v="772"/>
        <pc:sldMkLst>
          <pc:docMk/>
          <pc:sldMk cId="1525157620" sldId="6714"/>
        </pc:sldMkLst>
        <pc:spChg chg="mod">
          <ac:chgData name="Théodora DUPONT-COURTADE" userId="b06d61bd-3bc1-47a9-8acb-1faed11547af" providerId="ADAL" clId="{46492A7A-5491-48FF-8472-B7AB0047A0D2}" dt="2020-11-09T08:27:34.590" v="772"/>
          <ac:spMkLst>
            <pc:docMk/>
            <pc:sldMk cId="1525157620" sldId="6714"/>
            <ac:spMk id="60" creationId="{ECA532A6-9551-45B1-9166-8989F6767722}"/>
          </ac:spMkLst>
        </pc:spChg>
      </pc:sldChg>
      <pc:sldChg chg="modSp mod">
        <pc:chgData name="Théodora DUPONT-COURTADE" userId="b06d61bd-3bc1-47a9-8acb-1faed11547af" providerId="ADAL" clId="{46492A7A-5491-48FF-8472-B7AB0047A0D2}" dt="2020-11-09T08:30:12.958" v="801" actId="20577"/>
        <pc:sldMkLst>
          <pc:docMk/>
          <pc:sldMk cId="1770045098" sldId="6727"/>
        </pc:sldMkLst>
        <pc:spChg chg="mod">
          <ac:chgData name="Théodora DUPONT-COURTADE" userId="b06d61bd-3bc1-47a9-8acb-1faed11547af" providerId="ADAL" clId="{46492A7A-5491-48FF-8472-B7AB0047A0D2}" dt="2020-11-09T08:30:12.958" v="801" actId="20577"/>
          <ac:spMkLst>
            <pc:docMk/>
            <pc:sldMk cId="1770045098" sldId="6727"/>
            <ac:spMk id="34" creationId="{25BFF712-FBF1-4DF2-AD8D-6466B435F2D6}"/>
          </ac:spMkLst>
        </pc:spChg>
      </pc:sldChg>
      <pc:sldChg chg="modSp mod">
        <pc:chgData name="Théodora DUPONT-COURTADE" userId="b06d61bd-3bc1-47a9-8acb-1faed11547af" providerId="ADAL" clId="{46492A7A-5491-48FF-8472-B7AB0047A0D2}" dt="2020-11-09T08:29:53.081" v="798" actId="20577"/>
        <pc:sldMkLst>
          <pc:docMk/>
          <pc:sldMk cId="729228182" sldId="6731"/>
        </pc:sldMkLst>
        <pc:spChg chg="mod">
          <ac:chgData name="Théodora DUPONT-COURTADE" userId="b06d61bd-3bc1-47a9-8acb-1faed11547af" providerId="ADAL" clId="{46492A7A-5491-48FF-8472-B7AB0047A0D2}" dt="2020-11-09T08:29:53.081" v="798" actId="20577"/>
          <ac:spMkLst>
            <pc:docMk/>
            <pc:sldMk cId="729228182" sldId="6731"/>
            <ac:spMk id="54" creationId="{CAEA9FB2-2EF4-4D1B-B3F4-484DE219648D}"/>
          </ac:spMkLst>
        </pc:spChg>
      </pc:sldChg>
      <pc:sldChg chg="modSp">
        <pc:chgData name="Théodora DUPONT-COURTADE" userId="b06d61bd-3bc1-47a9-8acb-1faed11547af" providerId="ADAL" clId="{46492A7A-5491-48FF-8472-B7AB0047A0D2}" dt="2020-11-09T08:27:34.590" v="772"/>
        <pc:sldMkLst>
          <pc:docMk/>
          <pc:sldMk cId="2321206819" sldId="6738"/>
        </pc:sldMkLst>
        <pc:spChg chg="mod">
          <ac:chgData name="Théodora DUPONT-COURTADE" userId="b06d61bd-3bc1-47a9-8acb-1faed11547af" providerId="ADAL" clId="{46492A7A-5491-48FF-8472-B7AB0047A0D2}" dt="2020-11-09T08:27:34.590" v="772"/>
          <ac:spMkLst>
            <pc:docMk/>
            <pc:sldMk cId="2321206819" sldId="6738"/>
            <ac:spMk id="5" creationId="{4AADB979-6E29-4F1F-A113-2E8F47475B16}"/>
          </ac:spMkLst>
        </pc:spChg>
        <pc:spChg chg="mod">
          <ac:chgData name="Théodora DUPONT-COURTADE" userId="b06d61bd-3bc1-47a9-8acb-1faed11547af" providerId="ADAL" clId="{46492A7A-5491-48FF-8472-B7AB0047A0D2}" dt="2020-11-09T08:27:34.590" v="772"/>
          <ac:spMkLst>
            <pc:docMk/>
            <pc:sldMk cId="2321206819" sldId="6738"/>
            <ac:spMk id="28" creationId="{D3A8106A-6C07-463C-AFE5-15E7A4099B43}"/>
          </ac:spMkLst>
        </pc:spChg>
      </pc:sldChg>
      <pc:sldChg chg="modSp mod">
        <pc:chgData name="Théodora DUPONT-COURTADE" userId="b06d61bd-3bc1-47a9-8acb-1faed11547af" providerId="ADAL" clId="{46492A7A-5491-48FF-8472-B7AB0047A0D2}" dt="2020-11-09T08:24:27.370" v="726" actId="20577"/>
        <pc:sldMkLst>
          <pc:docMk/>
          <pc:sldMk cId="2642514524" sldId="6746"/>
        </pc:sldMkLst>
        <pc:spChg chg="mod">
          <ac:chgData name="Théodora DUPONT-COURTADE" userId="b06d61bd-3bc1-47a9-8acb-1faed11547af" providerId="ADAL" clId="{46492A7A-5491-48FF-8472-B7AB0047A0D2}" dt="2020-11-09T08:24:27.370" v="726" actId="20577"/>
          <ac:spMkLst>
            <pc:docMk/>
            <pc:sldMk cId="2642514524" sldId="6746"/>
            <ac:spMk id="92" creationId="{0EA9FDC3-A65A-453A-BA53-BB397A328033}"/>
          </ac:spMkLst>
        </pc:spChg>
      </pc:sldChg>
      <pc:sldChg chg="modSp">
        <pc:chgData name="Théodora DUPONT-COURTADE" userId="b06d61bd-3bc1-47a9-8acb-1faed11547af" providerId="ADAL" clId="{46492A7A-5491-48FF-8472-B7AB0047A0D2}" dt="2020-11-09T08:27:34.590" v="772"/>
        <pc:sldMkLst>
          <pc:docMk/>
          <pc:sldMk cId="2845273452" sldId="6748"/>
        </pc:sldMkLst>
        <pc:spChg chg="mod">
          <ac:chgData name="Théodora DUPONT-COURTADE" userId="b06d61bd-3bc1-47a9-8acb-1faed11547af" providerId="ADAL" clId="{46492A7A-5491-48FF-8472-B7AB0047A0D2}" dt="2020-11-09T08:27:34.590" v="772"/>
          <ac:spMkLst>
            <pc:docMk/>
            <pc:sldMk cId="2845273452" sldId="6748"/>
            <ac:spMk id="57" creationId="{4F74728F-E608-4246-A1A6-B32D3E3DD913}"/>
          </ac:spMkLst>
        </pc:spChg>
        <pc:spChg chg="mod">
          <ac:chgData name="Théodora DUPONT-COURTADE" userId="b06d61bd-3bc1-47a9-8acb-1faed11547af" providerId="ADAL" clId="{46492A7A-5491-48FF-8472-B7AB0047A0D2}" dt="2020-11-09T08:27:34.590" v="772"/>
          <ac:spMkLst>
            <pc:docMk/>
            <pc:sldMk cId="2845273452" sldId="6748"/>
            <ac:spMk id="63" creationId="{15F6F7AA-F855-4DE9-993C-27876583ADBB}"/>
          </ac:spMkLst>
        </pc:spChg>
        <pc:spChg chg="mod">
          <ac:chgData name="Théodora DUPONT-COURTADE" userId="b06d61bd-3bc1-47a9-8acb-1faed11547af" providerId="ADAL" clId="{46492A7A-5491-48FF-8472-B7AB0047A0D2}" dt="2020-11-09T08:27:34.590" v="772"/>
          <ac:spMkLst>
            <pc:docMk/>
            <pc:sldMk cId="2845273452" sldId="6748"/>
            <ac:spMk id="67" creationId="{7ABF8075-9C7D-4EAA-88C6-EFF392413CC9}"/>
          </ac:spMkLst>
        </pc:spChg>
        <pc:spChg chg="mod">
          <ac:chgData name="Théodora DUPONT-COURTADE" userId="b06d61bd-3bc1-47a9-8acb-1faed11547af" providerId="ADAL" clId="{46492A7A-5491-48FF-8472-B7AB0047A0D2}" dt="2020-11-09T08:27:34.590" v="772"/>
          <ac:spMkLst>
            <pc:docMk/>
            <pc:sldMk cId="2845273452" sldId="6748"/>
            <ac:spMk id="83" creationId="{2FE5A9DF-FB29-439E-85E2-4C391FD2B41F}"/>
          </ac:spMkLst>
        </pc:spChg>
      </pc:sldChg>
      <pc:sldChg chg="modSp mod">
        <pc:chgData name="Théodora DUPONT-COURTADE" userId="b06d61bd-3bc1-47a9-8acb-1faed11547af" providerId="ADAL" clId="{46492A7A-5491-48FF-8472-B7AB0047A0D2}" dt="2020-11-09T07:49:54.623" v="121" actId="20577"/>
        <pc:sldMkLst>
          <pc:docMk/>
          <pc:sldMk cId="2666686246" sldId="6793"/>
        </pc:sldMkLst>
        <pc:spChg chg="mod">
          <ac:chgData name="Théodora DUPONT-COURTADE" userId="b06d61bd-3bc1-47a9-8acb-1faed11547af" providerId="ADAL" clId="{46492A7A-5491-48FF-8472-B7AB0047A0D2}" dt="2020-11-09T07:49:54.623" v="121" actId="20577"/>
          <ac:spMkLst>
            <pc:docMk/>
            <pc:sldMk cId="2666686246" sldId="6793"/>
            <ac:spMk id="23" creationId="{FA2EE836-863C-44A9-A66F-C961A59B0D93}"/>
          </ac:spMkLst>
        </pc:spChg>
        <pc:spChg chg="mod">
          <ac:chgData name="Théodora DUPONT-COURTADE" userId="b06d61bd-3bc1-47a9-8acb-1faed11547af" providerId="ADAL" clId="{46492A7A-5491-48FF-8472-B7AB0047A0D2}" dt="2020-11-09T07:49:32.033" v="88" actId="20577"/>
          <ac:spMkLst>
            <pc:docMk/>
            <pc:sldMk cId="2666686246" sldId="6793"/>
            <ac:spMk id="32" creationId="{D5C5C981-D95A-4008-8124-B1C7433D105A}"/>
          </ac:spMkLst>
        </pc:spChg>
      </pc:sldChg>
      <pc:sldChg chg="modSp mod">
        <pc:chgData name="Théodora DUPONT-COURTADE" userId="b06d61bd-3bc1-47a9-8acb-1faed11547af" providerId="ADAL" clId="{46492A7A-5491-48FF-8472-B7AB0047A0D2}" dt="2020-11-09T08:27:34.590" v="772"/>
        <pc:sldMkLst>
          <pc:docMk/>
          <pc:sldMk cId="3163263851" sldId="6794"/>
        </pc:sldMkLst>
        <pc:spChg chg="mod">
          <ac:chgData name="Théodora DUPONT-COURTADE" userId="b06d61bd-3bc1-47a9-8acb-1faed11547af" providerId="ADAL" clId="{46492A7A-5491-48FF-8472-B7AB0047A0D2}" dt="2020-11-09T08:09:10.664" v="427" actId="6549"/>
          <ac:spMkLst>
            <pc:docMk/>
            <pc:sldMk cId="3163263851" sldId="6794"/>
            <ac:spMk id="111" creationId="{BC2BBFB2-B38F-4036-992E-F1ACB52FEC45}"/>
          </ac:spMkLst>
        </pc:spChg>
        <pc:spChg chg="mod">
          <ac:chgData name="Théodora DUPONT-COURTADE" userId="b06d61bd-3bc1-47a9-8acb-1faed11547af" providerId="ADAL" clId="{46492A7A-5491-48FF-8472-B7AB0047A0D2}" dt="2020-11-09T08:27:34.590" v="772"/>
          <ac:spMkLst>
            <pc:docMk/>
            <pc:sldMk cId="3163263851" sldId="6794"/>
            <ac:spMk id="215" creationId="{2D3C648A-3E61-4DF7-A2F2-90E1C27C1457}"/>
          </ac:spMkLst>
        </pc:spChg>
      </pc:sldChg>
      <pc:sldChg chg="modSp mod">
        <pc:chgData name="Théodora DUPONT-COURTADE" userId="b06d61bd-3bc1-47a9-8acb-1faed11547af" providerId="ADAL" clId="{46492A7A-5491-48FF-8472-B7AB0047A0D2}" dt="2020-11-09T08:27:34.590" v="772"/>
        <pc:sldMkLst>
          <pc:docMk/>
          <pc:sldMk cId="1258214133" sldId="6802"/>
        </pc:sldMkLst>
        <pc:spChg chg="mod">
          <ac:chgData name="Théodora DUPONT-COURTADE" userId="b06d61bd-3bc1-47a9-8acb-1faed11547af" providerId="ADAL" clId="{46492A7A-5491-48FF-8472-B7AB0047A0D2}" dt="2020-11-09T07:58:30.072" v="265" actId="6549"/>
          <ac:spMkLst>
            <pc:docMk/>
            <pc:sldMk cId="1258214133" sldId="6802"/>
            <ac:spMk id="16" creationId="{D7F9D24A-267A-4D3A-AD93-E4A81173FBE7}"/>
          </ac:spMkLst>
        </pc:spChg>
        <pc:spChg chg="mod">
          <ac:chgData name="Théodora DUPONT-COURTADE" userId="b06d61bd-3bc1-47a9-8acb-1faed11547af" providerId="ADAL" clId="{46492A7A-5491-48FF-8472-B7AB0047A0D2}" dt="2020-11-09T08:00:49.355" v="278" actId="20577"/>
          <ac:spMkLst>
            <pc:docMk/>
            <pc:sldMk cId="1258214133" sldId="6802"/>
            <ac:spMk id="17" creationId="{E7AE1134-0B25-41A9-87E8-21696D9A2FF3}"/>
          </ac:spMkLst>
        </pc:spChg>
        <pc:spChg chg="mod">
          <ac:chgData name="Théodora DUPONT-COURTADE" userId="b06d61bd-3bc1-47a9-8acb-1faed11547af" providerId="ADAL" clId="{46492A7A-5491-48FF-8472-B7AB0047A0D2}" dt="2020-11-09T08:27:34.590" v="772"/>
          <ac:spMkLst>
            <pc:docMk/>
            <pc:sldMk cId="1258214133" sldId="6802"/>
            <ac:spMk id="27" creationId="{111E6808-C8DC-4E32-AFD0-B27629D13FF8}"/>
          </ac:spMkLst>
        </pc:spChg>
        <pc:spChg chg="mod">
          <ac:chgData name="Théodora DUPONT-COURTADE" userId="b06d61bd-3bc1-47a9-8acb-1faed11547af" providerId="ADAL" clId="{46492A7A-5491-48FF-8472-B7AB0047A0D2}" dt="2020-11-09T08:00:29.369" v="268" actId="20577"/>
          <ac:spMkLst>
            <pc:docMk/>
            <pc:sldMk cId="1258214133" sldId="6802"/>
            <ac:spMk id="48" creationId="{AA8D6570-96E9-476A-97D9-B06C69039E61}"/>
          </ac:spMkLst>
        </pc:spChg>
      </pc:sldChg>
      <pc:sldChg chg="modNotes">
        <pc:chgData name="Théodora DUPONT-COURTADE" userId="b06d61bd-3bc1-47a9-8acb-1faed11547af" providerId="ADAL" clId="{46492A7A-5491-48FF-8472-B7AB0047A0D2}" dt="2020-11-09T08:27:34.590" v="772"/>
        <pc:sldMkLst>
          <pc:docMk/>
          <pc:sldMk cId="292603242" sldId="6803"/>
        </pc:sldMkLst>
      </pc:sldChg>
      <pc:sldChg chg="modSp mod">
        <pc:chgData name="Théodora DUPONT-COURTADE" userId="b06d61bd-3bc1-47a9-8acb-1faed11547af" providerId="ADAL" clId="{46492A7A-5491-48FF-8472-B7AB0047A0D2}" dt="2020-11-09T08:27:34.590" v="772"/>
        <pc:sldMkLst>
          <pc:docMk/>
          <pc:sldMk cId="33923800" sldId="6804"/>
        </pc:sldMkLst>
        <pc:spChg chg="mod">
          <ac:chgData name="Théodora DUPONT-COURTADE" userId="b06d61bd-3bc1-47a9-8acb-1faed11547af" providerId="ADAL" clId="{46492A7A-5491-48FF-8472-B7AB0047A0D2}" dt="2020-11-09T08:27:34.590" v="772"/>
          <ac:spMkLst>
            <pc:docMk/>
            <pc:sldMk cId="33923800" sldId="6804"/>
            <ac:spMk id="18" creationId="{00000000-0000-0000-0000-000000000000}"/>
          </ac:spMkLst>
        </pc:spChg>
        <pc:spChg chg="mod">
          <ac:chgData name="Théodora DUPONT-COURTADE" userId="b06d61bd-3bc1-47a9-8acb-1faed11547af" providerId="ADAL" clId="{46492A7A-5491-48FF-8472-B7AB0047A0D2}" dt="2020-11-09T08:27:34.590" v="772"/>
          <ac:spMkLst>
            <pc:docMk/>
            <pc:sldMk cId="33923800" sldId="6804"/>
            <ac:spMk id="28" creationId="{00000000-0000-0000-0000-000000000000}"/>
          </ac:spMkLst>
        </pc:spChg>
        <pc:spChg chg="mod">
          <ac:chgData name="Théodora DUPONT-COURTADE" userId="b06d61bd-3bc1-47a9-8acb-1faed11547af" providerId="ADAL" clId="{46492A7A-5491-48FF-8472-B7AB0047A0D2}" dt="2020-11-09T08:23:59.702" v="720" actId="20577"/>
          <ac:spMkLst>
            <pc:docMk/>
            <pc:sldMk cId="33923800" sldId="6804"/>
            <ac:spMk id="58" creationId="{55A4685E-E8BA-4E91-A20B-7A3A53BBD80C}"/>
          </ac:spMkLst>
        </pc:spChg>
        <pc:spChg chg="mod">
          <ac:chgData name="Théodora DUPONT-COURTADE" userId="b06d61bd-3bc1-47a9-8acb-1faed11547af" providerId="ADAL" clId="{46492A7A-5491-48FF-8472-B7AB0047A0D2}" dt="2020-11-09T08:23:02.073" v="712" actId="20577"/>
          <ac:spMkLst>
            <pc:docMk/>
            <pc:sldMk cId="33923800" sldId="6804"/>
            <ac:spMk id="129" creationId="{837A178A-58DE-412E-AED3-8A2590F16DD6}"/>
          </ac:spMkLst>
        </pc:spChg>
      </pc:sldChg>
      <pc:sldChg chg="modSp mod">
        <pc:chgData name="Théodora DUPONT-COURTADE" userId="b06d61bd-3bc1-47a9-8acb-1faed11547af" providerId="ADAL" clId="{46492A7A-5491-48FF-8472-B7AB0047A0D2}" dt="2020-11-09T08:33:19.699" v="930"/>
        <pc:sldMkLst>
          <pc:docMk/>
          <pc:sldMk cId="1079866240" sldId="6809"/>
        </pc:sldMkLst>
        <pc:spChg chg="mod">
          <ac:chgData name="Théodora DUPONT-COURTADE" userId="b06d61bd-3bc1-47a9-8acb-1faed11547af" providerId="ADAL" clId="{46492A7A-5491-48FF-8472-B7AB0047A0D2}" dt="2020-11-09T08:33:15.675" v="925" actId="6549"/>
          <ac:spMkLst>
            <pc:docMk/>
            <pc:sldMk cId="1079866240" sldId="6809"/>
            <ac:spMk id="2" creationId="{3EED7867-D88E-480E-BDFF-2CB02D29B807}"/>
          </ac:spMkLst>
        </pc:spChg>
        <pc:spChg chg="mod">
          <ac:chgData name="Théodora DUPONT-COURTADE" userId="b06d61bd-3bc1-47a9-8acb-1faed11547af" providerId="ADAL" clId="{46492A7A-5491-48FF-8472-B7AB0047A0D2}" dt="2020-11-09T08:33:19.070" v="928" actId="14100"/>
          <ac:spMkLst>
            <pc:docMk/>
            <pc:sldMk cId="1079866240" sldId="6809"/>
            <ac:spMk id="3" creationId="{AFF29DAC-7E9F-4518-B749-BE02D7EBF18F}"/>
          </ac:spMkLst>
        </pc:spChg>
        <pc:graphicFrameChg chg="mod">
          <ac:chgData name="Théodora DUPONT-COURTADE" userId="b06d61bd-3bc1-47a9-8acb-1faed11547af" providerId="ADAL" clId="{46492A7A-5491-48FF-8472-B7AB0047A0D2}" dt="2020-11-09T08:33:19.699" v="930"/>
          <ac:graphicFrameMkLst>
            <pc:docMk/>
            <pc:sldMk cId="1079866240" sldId="6809"/>
            <ac:graphicFrameMk id="4" creationId="{4B5EBFA0-6C56-43F0-8621-857D9BED234C}"/>
          </ac:graphicFrameMkLst>
        </pc:graphicFrameChg>
      </pc:sldChg>
      <pc:sldChg chg="modSp mod">
        <pc:chgData name="Théodora DUPONT-COURTADE" userId="b06d61bd-3bc1-47a9-8acb-1faed11547af" providerId="ADAL" clId="{46492A7A-5491-48FF-8472-B7AB0047A0D2}" dt="2020-11-09T08:15:18.952" v="629" actId="20577"/>
        <pc:sldMkLst>
          <pc:docMk/>
          <pc:sldMk cId="1563937854" sldId="6818"/>
        </pc:sldMkLst>
        <pc:spChg chg="mod">
          <ac:chgData name="Théodora DUPONT-COURTADE" userId="b06d61bd-3bc1-47a9-8acb-1faed11547af" providerId="ADAL" clId="{46492A7A-5491-48FF-8472-B7AB0047A0D2}" dt="2020-11-09T08:15:18.952" v="629" actId="20577"/>
          <ac:spMkLst>
            <pc:docMk/>
            <pc:sldMk cId="1563937854" sldId="6818"/>
            <ac:spMk id="16" creationId="{100819F2-19AC-403C-B699-F0704CB12284}"/>
          </ac:spMkLst>
        </pc:spChg>
      </pc:sldChg>
      <pc:sldChg chg="modSp mod">
        <pc:chgData name="Théodora DUPONT-COURTADE" userId="b06d61bd-3bc1-47a9-8acb-1faed11547af" providerId="ADAL" clId="{46492A7A-5491-48FF-8472-B7AB0047A0D2}" dt="2020-11-09T08:05:01.018" v="386" actId="6549"/>
        <pc:sldMkLst>
          <pc:docMk/>
          <pc:sldMk cId="3853263897" sldId="6820"/>
        </pc:sldMkLst>
        <pc:spChg chg="mod">
          <ac:chgData name="Théodora DUPONT-COURTADE" userId="b06d61bd-3bc1-47a9-8acb-1faed11547af" providerId="ADAL" clId="{46492A7A-5491-48FF-8472-B7AB0047A0D2}" dt="2020-11-09T08:05:01.018" v="386" actId="6549"/>
          <ac:spMkLst>
            <pc:docMk/>
            <pc:sldMk cId="3853263897" sldId="6820"/>
            <ac:spMk id="86" creationId="{67CB0E55-3C2A-4261-8FE5-C95C12E5E748}"/>
          </ac:spMkLst>
        </pc:spChg>
      </pc:sldChg>
      <pc:sldChg chg="modSp">
        <pc:chgData name="Théodora DUPONT-COURTADE" userId="b06d61bd-3bc1-47a9-8acb-1faed11547af" providerId="ADAL" clId="{46492A7A-5491-48FF-8472-B7AB0047A0D2}" dt="2020-11-09T08:27:34.590" v="772"/>
        <pc:sldMkLst>
          <pc:docMk/>
          <pc:sldMk cId="1453778405" sldId="6821"/>
        </pc:sldMkLst>
        <pc:spChg chg="mod">
          <ac:chgData name="Théodora DUPONT-COURTADE" userId="b06d61bd-3bc1-47a9-8acb-1faed11547af" providerId="ADAL" clId="{46492A7A-5491-48FF-8472-B7AB0047A0D2}" dt="2020-11-09T08:27:34.590" v="772"/>
          <ac:spMkLst>
            <pc:docMk/>
            <pc:sldMk cId="1453778405" sldId="6821"/>
            <ac:spMk id="117" creationId="{2C0C9B01-668F-4E19-AC82-59F047775920}"/>
          </ac:spMkLst>
        </pc:spChg>
      </pc:sldChg>
      <pc:sldChg chg="modSp mod">
        <pc:chgData name="Théodora DUPONT-COURTADE" userId="b06d61bd-3bc1-47a9-8acb-1faed11547af" providerId="ADAL" clId="{46492A7A-5491-48FF-8472-B7AB0047A0D2}" dt="2020-11-09T08:27:08.125" v="769" actId="6549"/>
        <pc:sldMkLst>
          <pc:docMk/>
          <pc:sldMk cId="1784659859" sldId="6832"/>
        </pc:sldMkLst>
        <pc:spChg chg="mod">
          <ac:chgData name="Théodora DUPONT-COURTADE" userId="b06d61bd-3bc1-47a9-8acb-1faed11547af" providerId="ADAL" clId="{46492A7A-5491-48FF-8472-B7AB0047A0D2}" dt="2020-11-09T08:27:08.125" v="769" actId="6549"/>
          <ac:spMkLst>
            <pc:docMk/>
            <pc:sldMk cId="1784659859" sldId="6832"/>
            <ac:spMk id="5" creationId="{E94AA131-FA5F-4874-B3F5-D569D0AF09AB}"/>
          </ac:spMkLst>
        </pc:spChg>
      </pc:sldChg>
      <pc:sldChg chg="modSp mod">
        <pc:chgData name="Théodora DUPONT-COURTADE" userId="b06d61bd-3bc1-47a9-8acb-1faed11547af" providerId="ADAL" clId="{46492A7A-5491-48FF-8472-B7AB0047A0D2}" dt="2020-11-09T08:06:53.278" v="398"/>
        <pc:sldMkLst>
          <pc:docMk/>
          <pc:sldMk cId="2763404743" sldId="6833"/>
        </pc:sldMkLst>
        <pc:spChg chg="mod">
          <ac:chgData name="Théodora DUPONT-COURTADE" userId="b06d61bd-3bc1-47a9-8acb-1faed11547af" providerId="ADAL" clId="{46492A7A-5491-48FF-8472-B7AB0047A0D2}" dt="2020-11-09T08:06:53.278" v="398"/>
          <ac:spMkLst>
            <pc:docMk/>
            <pc:sldMk cId="2763404743" sldId="6833"/>
            <ac:spMk id="103" creationId="{C8A52D54-9E96-4855-BF97-88907E41C19C}"/>
          </ac:spMkLst>
        </pc:spChg>
      </pc:sldChg>
      <pc:sldChg chg="modSp mod">
        <pc:chgData name="Théodora DUPONT-COURTADE" userId="b06d61bd-3bc1-47a9-8acb-1faed11547af" providerId="ADAL" clId="{46492A7A-5491-48FF-8472-B7AB0047A0D2}" dt="2020-11-09T08:34:03.198" v="977" actId="20577"/>
        <pc:sldMkLst>
          <pc:docMk/>
          <pc:sldMk cId="244205625" sldId="6834"/>
        </pc:sldMkLst>
        <pc:spChg chg="mod">
          <ac:chgData name="Théodora DUPONT-COURTADE" userId="b06d61bd-3bc1-47a9-8acb-1faed11547af" providerId="ADAL" clId="{46492A7A-5491-48FF-8472-B7AB0047A0D2}" dt="2020-11-09T08:27:15.709" v="770" actId="6549"/>
          <ac:spMkLst>
            <pc:docMk/>
            <pc:sldMk cId="244205625" sldId="6834"/>
            <ac:spMk id="10" creationId="{D6FD555F-DC62-4966-822A-52A5E7ABE1D6}"/>
          </ac:spMkLst>
        </pc:spChg>
        <pc:spChg chg="mod">
          <ac:chgData name="Théodora DUPONT-COURTADE" userId="b06d61bd-3bc1-47a9-8acb-1faed11547af" providerId="ADAL" clId="{46492A7A-5491-48FF-8472-B7AB0047A0D2}" dt="2020-11-09T08:34:03.198" v="977" actId="20577"/>
          <ac:spMkLst>
            <pc:docMk/>
            <pc:sldMk cId="244205625" sldId="6834"/>
            <ac:spMk id="188" creationId="{9CFCF654-AC70-452A-9A40-1A03CA433DE0}"/>
          </ac:spMkLst>
        </pc:spChg>
      </pc:sldChg>
      <pc:sldChg chg="modSp mod">
        <pc:chgData name="Théodora DUPONT-COURTADE" userId="b06d61bd-3bc1-47a9-8acb-1faed11547af" providerId="ADAL" clId="{46492A7A-5491-48FF-8472-B7AB0047A0D2}" dt="2020-11-09T08:34:10.767" v="980" actId="20577"/>
        <pc:sldMkLst>
          <pc:docMk/>
          <pc:sldMk cId="2927211765" sldId="6835"/>
        </pc:sldMkLst>
        <pc:spChg chg="mod">
          <ac:chgData name="Théodora DUPONT-COURTADE" userId="b06d61bd-3bc1-47a9-8acb-1faed11547af" providerId="ADAL" clId="{46492A7A-5491-48FF-8472-B7AB0047A0D2}" dt="2020-11-09T08:10:17.746" v="475" actId="20577"/>
          <ac:spMkLst>
            <pc:docMk/>
            <pc:sldMk cId="2927211765" sldId="6835"/>
            <ac:spMk id="2" creationId="{7DD4096A-2CFA-41F0-A233-B6A26E14CFA0}"/>
          </ac:spMkLst>
        </pc:spChg>
        <pc:spChg chg="mod">
          <ac:chgData name="Théodora DUPONT-COURTADE" userId="b06d61bd-3bc1-47a9-8acb-1faed11547af" providerId="ADAL" clId="{46492A7A-5491-48FF-8472-B7AB0047A0D2}" dt="2020-11-09T08:09:58.116" v="450" actId="6549"/>
          <ac:spMkLst>
            <pc:docMk/>
            <pc:sldMk cId="2927211765" sldId="6835"/>
            <ac:spMk id="52" creationId="{919D0193-389E-4BC7-99D5-A13F90E20ACD}"/>
          </ac:spMkLst>
        </pc:spChg>
        <pc:spChg chg="mod">
          <ac:chgData name="Théodora DUPONT-COURTADE" userId="b06d61bd-3bc1-47a9-8acb-1faed11547af" providerId="ADAL" clId="{46492A7A-5491-48FF-8472-B7AB0047A0D2}" dt="2020-11-09T08:34:10.767" v="980" actId="20577"/>
          <ac:spMkLst>
            <pc:docMk/>
            <pc:sldMk cId="2927211765" sldId="6835"/>
            <ac:spMk id="130" creationId="{93E6F954-0C02-4F9A-92B5-5DB430D68935}"/>
          </ac:spMkLst>
        </pc:spChg>
        <pc:spChg chg="mod">
          <ac:chgData name="Théodora DUPONT-COURTADE" userId="b06d61bd-3bc1-47a9-8acb-1faed11547af" providerId="ADAL" clId="{46492A7A-5491-48FF-8472-B7AB0047A0D2}" dt="2020-11-09T08:10:57.045" v="500" actId="1035"/>
          <ac:spMkLst>
            <pc:docMk/>
            <pc:sldMk cId="2927211765" sldId="6835"/>
            <ac:spMk id="168" creationId="{0D6E560B-F3A8-4FEF-91EC-AB77183C265C}"/>
          </ac:spMkLst>
        </pc:spChg>
        <pc:spChg chg="mod">
          <ac:chgData name="Théodora DUPONT-COURTADE" userId="b06d61bd-3bc1-47a9-8acb-1faed11547af" providerId="ADAL" clId="{46492A7A-5491-48FF-8472-B7AB0047A0D2}" dt="2020-11-09T08:11:35.760" v="523" actId="20577"/>
          <ac:spMkLst>
            <pc:docMk/>
            <pc:sldMk cId="2927211765" sldId="6835"/>
            <ac:spMk id="248" creationId="{4F9E61F9-311D-46D5-A160-1F7948CA264D}"/>
          </ac:spMkLst>
        </pc:spChg>
        <pc:graphicFrameChg chg="mod">
          <ac:chgData name="Théodora DUPONT-COURTADE" userId="b06d61bd-3bc1-47a9-8acb-1faed11547af" providerId="ADAL" clId="{46492A7A-5491-48FF-8472-B7AB0047A0D2}" dt="2020-11-09T08:10:18.287" v="477"/>
          <ac:graphicFrameMkLst>
            <pc:docMk/>
            <pc:sldMk cId="2927211765" sldId="6835"/>
            <ac:graphicFrameMk id="53" creationId="{5C682453-EB6E-4B48-8E3B-D55C3F5B37B1}"/>
          </ac:graphicFrameMkLst>
        </pc:graphicFrameChg>
      </pc:sldChg>
      <pc:sldChg chg="modSp mod">
        <pc:chgData name="Théodora DUPONT-COURTADE" userId="b06d61bd-3bc1-47a9-8acb-1faed11547af" providerId="ADAL" clId="{46492A7A-5491-48FF-8472-B7AB0047A0D2}" dt="2020-11-09T08:27:19.080" v="771" actId="6549"/>
        <pc:sldMkLst>
          <pc:docMk/>
          <pc:sldMk cId="2737421190" sldId="6836"/>
        </pc:sldMkLst>
        <pc:spChg chg="mod">
          <ac:chgData name="Théodora DUPONT-COURTADE" userId="b06d61bd-3bc1-47a9-8acb-1faed11547af" providerId="ADAL" clId="{46492A7A-5491-48FF-8472-B7AB0047A0D2}" dt="2020-11-09T08:27:19.080" v="771" actId="6549"/>
          <ac:spMkLst>
            <pc:docMk/>
            <pc:sldMk cId="2737421190" sldId="6836"/>
            <ac:spMk id="133" creationId="{6A336E35-1326-4CFE-9C2E-9C3078D1D378}"/>
          </ac:spMkLst>
        </pc:spChg>
      </pc:sldChg>
      <pc:sldChg chg="modSp mod">
        <pc:chgData name="Théodora DUPONT-COURTADE" userId="b06d61bd-3bc1-47a9-8acb-1faed11547af" providerId="ADAL" clId="{46492A7A-5491-48FF-8472-B7AB0047A0D2}" dt="2020-11-09T08:25:19.065" v="740" actId="6549"/>
        <pc:sldMkLst>
          <pc:docMk/>
          <pc:sldMk cId="1314010191" sldId="6852"/>
        </pc:sldMkLst>
        <pc:spChg chg="mod">
          <ac:chgData name="Théodora DUPONT-COURTADE" userId="b06d61bd-3bc1-47a9-8acb-1faed11547af" providerId="ADAL" clId="{46492A7A-5491-48FF-8472-B7AB0047A0D2}" dt="2020-11-09T08:02:20.616" v="315" actId="20577"/>
          <ac:spMkLst>
            <pc:docMk/>
            <pc:sldMk cId="1314010191" sldId="6852"/>
            <ac:spMk id="8" creationId="{C3940C02-2558-4390-8EF3-2B588F010A5A}"/>
          </ac:spMkLst>
        </pc:spChg>
        <pc:spChg chg="mod">
          <ac:chgData name="Théodora DUPONT-COURTADE" userId="b06d61bd-3bc1-47a9-8acb-1faed11547af" providerId="ADAL" clId="{46492A7A-5491-48FF-8472-B7AB0047A0D2}" dt="2020-11-09T08:03:35.588" v="373" actId="6549"/>
          <ac:spMkLst>
            <pc:docMk/>
            <pc:sldMk cId="1314010191" sldId="6852"/>
            <ac:spMk id="14" creationId="{FD5E9477-2947-4ED1-A8E6-682C7C039F4D}"/>
          </ac:spMkLst>
        </pc:spChg>
        <pc:spChg chg="mod">
          <ac:chgData name="Théodora DUPONT-COURTADE" userId="b06d61bd-3bc1-47a9-8acb-1faed11547af" providerId="ADAL" clId="{46492A7A-5491-48FF-8472-B7AB0047A0D2}" dt="2020-11-09T08:03:13.522" v="338" actId="20577"/>
          <ac:spMkLst>
            <pc:docMk/>
            <pc:sldMk cId="1314010191" sldId="6852"/>
            <ac:spMk id="16" creationId="{8FB163A9-02E6-438A-8835-52F9CC9CEBEB}"/>
          </ac:spMkLst>
        </pc:spChg>
        <pc:spChg chg="mod">
          <ac:chgData name="Théodora DUPONT-COURTADE" userId="b06d61bd-3bc1-47a9-8acb-1faed11547af" providerId="ADAL" clId="{46492A7A-5491-48FF-8472-B7AB0047A0D2}" dt="2020-11-09T08:02:21.963" v="316" actId="20577"/>
          <ac:spMkLst>
            <pc:docMk/>
            <pc:sldMk cId="1314010191" sldId="6852"/>
            <ac:spMk id="39" creationId="{3BF89C4F-B632-44E1-AEB0-11FBF95A23A2}"/>
          </ac:spMkLst>
        </pc:spChg>
        <pc:spChg chg="mod">
          <ac:chgData name="Théodora DUPONT-COURTADE" userId="b06d61bd-3bc1-47a9-8acb-1faed11547af" providerId="ADAL" clId="{46492A7A-5491-48FF-8472-B7AB0047A0D2}" dt="2020-11-09T08:25:19.065" v="740" actId="6549"/>
          <ac:spMkLst>
            <pc:docMk/>
            <pc:sldMk cId="1314010191" sldId="6852"/>
            <ac:spMk id="51" creationId="{76A9C32D-69B4-434B-94AD-C9B3E06CCB9C}"/>
          </ac:spMkLst>
        </pc:spChg>
      </pc:sldChg>
      <pc:sldChg chg="modSp mod">
        <pc:chgData name="Théodora DUPONT-COURTADE" userId="b06d61bd-3bc1-47a9-8acb-1faed11547af" providerId="ADAL" clId="{46492A7A-5491-48FF-8472-B7AB0047A0D2}" dt="2020-11-09T08:14:25.823" v="627" actId="207"/>
        <pc:sldMkLst>
          <pc:docMk/>
          <pc:sldMk cId="76837937" sldId="6855"/>
        </pc:sldMkLst>
        <pc:spChg chg="mod">
          <ac:chgData name="Théodora DUPONT-COURTADE" userId="b06d61bd-3bc1-47a9-8acb-1faed11547af" providerId="ADAL" clId="{46492A7A-5491-48FF-8472-B7AB0047A0D2}" dt="2020-11-09T08:13:16.417" v="565" actId="14100"/>
          <ac:spMkLst>
            <pc:docMk/>
            <pc:sldMk cId="76837937" sldId="6855"/>
            <ac:spMk id="2" creationId="{2881A290-A964-4589-8D4A-32237EA140FB}"/>
          </ac:spMkLst>
        </pc:spChg>
        <pc:spChg chg="mod">
          <ac:chgData name="Théodora DUPONT-COURTADE" userId="b06d61bd-3bc1-47a9-8acb-1faed11547af" providerId="ADAL" clId="{46492A7A-5491-48FF-8472-B7AB0047A0D2}" dt="2020-11-09T08:12:40.517" v="545" actId="6549"/>
          <ac:spMkLst>
            <pc:docMk/>
            <pc:sldMk cId="76837937" sldId="6855"/>
            <ac:spMk id="5" creationId="{40FFA6C4-FB36-4810-8985-357F47AC8D3F}"/>
          </ac:spMkLst>
        </pc:spChg>
        <pc:spChg chg="mod">
          <ac:chgData name="Théodora DUPONT-COURTADE" userId="b06d61bd-3bc1-47a9-8acb-1faed11547af" providerId="ADAL" clId="{46492A7A-5491-48FF-8472-B7AB0047A0D2}" dt="2020-11-09T08:14:25.823" v="627" actId="207"/>
          <ac:spMkLst>
            <pc:docMk/>
            <pc:sldMk cId="76837937" sldId="6855"/>
            <ac:spMk id="15" creationId="{BF51A5FD-83D7-4EAB-9121-E3DD28C61779}"/>
          </ac:spMkLst>
        </pc:spChg>
        <pc:graphicFrameChg chg="mod">
          <ac:chgData name="Théodora DUPONT-COURTADE" userId="b06d61bd-3bc1-47a9-8acb-1faed11547af" providerId="ADAL" clId="{46492A7A-5491-48FF-8472-B7AB0047A0D2}" dt="2020-11-09T08:13:17.110" v="567"/>
          <ac:graphicFrameMkLst>
            <pc:docMk/>
            <pc:sldMk cId="76837937" sldId="6855"/>
            <ac:graphicFrameMk id="8" creationId="{6BE29950-9222-4340-87A9-F71DECD42118}"/>
          </ac:graphicFrameMkLst>
        </pc:graphicFrameChg>
      </pc:sldChg>
      <pc:sldChg chg="modSp mod">
        <pc:chgData name="Théodora DUPONT-COURTADE" userId="b06d61bd-3bc1-47a9-8acb-1faed11547af" providerId="ADAL" clId="{46492A7A-5491-48FF-8472-B7AB0047A0D2}" dt="2020-11-09T08:33:05.755" v="901" actId="20577"/>
        <pc:sldMkLst>
          <pc:docMk/>
          <pc:sldMk cId="457903863" sldId="6861"/>
        </pc:sldMkLst>
        <pc:spChg chg="mod">
          <ac:chgData name="Théodora DUPONT-COURTADE" userId="b06d61bd-3bc1-47a9-8acb-1faed11547af" providerId="ADAL" clId="{46492A7A-5491-48FF-8472-B7AB0047A0D2}" dt="2020-11-09T08:33:05.755" v="901" actId="20577"/>
          <ac:spMkLst>
            <pc:docMk/>
            <pc:sldMk cId="457903863" sldId="6861"/>
            <ac:spMk id="85" creationId="{DFC5F28B-DCD3-47DF-99BA-363600A631AB}"/>
          </ac:spMkLst>
        </pc:spChg>
      </pc:sldChg>
      <pc:sldChg chg="addSp delSp modSp mod">
        <pc:chgData name="Théodora DUPONT-COURTADE" userId="b06d61bd-3bc1-47a9-8acb-1faed11547af" providerId="ADAL" clId="{46492A7A-5491-48FF-8472-B7AB0047A0D2}" dt="2020-11-09T08:16:25.058" v="662" actId="20577"/>
        <pc:sldMkLst>
          <pc:docMk/>
          <pc:sldMk cId="1456459348" sldId="6884"/>
        </pc:sldMkLst>
        <pc:spChg chg="del">
          <ac:chgData name="Théodora DUPONT-COURTADE" userId="b06d61bd-3bc1-47a9-8acb-1faed11547af" providerId="ADAL" clId="{46492A7A-5491-48FF-8472-B7AB0047A0D2}" dt="2020-11-09T08:16:20.551" v="658" actId="478"/>
          <ac:spMkLst>
            <pc:docMk/>
            <pc:sldMk cId="1456459348" sldId="6884"/>
            <ac:spMk id="62" creationId="{F0FBE6A4-FA16-42D9-A59F-299921BD22E9}"/>
          </ac:spMkLst>
        </pc:spChg>
        <pc:spChg chg="mod">
          <ac:chgData name="Théodora DUPONT-COURTADE" userId="b06d61bd-3bc1-47a9-8acb-1faed11547af" providerId="ADAL" clId="{46492A7A-5491-48FF-8472-B7AB0047A0D2}" dt="2020-11-09T08:16:25.058" v="662" actId="20577"/>
          <ac:spMkLst>
            <pc:docMk/>
            <pc:sldMk cId="1456459348" sldId="6884"/>
            <ac:spMk id="64" creationId="{36C26947-885E-4CF2-9380-E2E5974FEEF4}"/>
          </ac:spMkLst>
        </pc:spChg>
        <pc:spChg chg="add mod">
          <ac:chgData name="Théodora DUPONT-COURTADE" userId="b06d61bd-3bc1-47a9-8acb-1faed11547af" providerId="ADAL" clId="{46492A7A-5491-48FF-8472-B7AB0047A0D2}" dt="2020-11-09T08:16:21.622" v="659"/>
          <ac:spMkLst>
            <pc:docMk/>
            <pc:sldMk cId="1456459348" sldId="6884"/>
            <ac:spMk id="73" creationId="{807A18A5-00D4-4FBC-90FD-7BFB1FE56C6A}"/>
          </ac:spMkLst>
        </pc:spChg>
        <pc:spChg chg="add mod">
          <ac:chgData name="Théodora DUPONT-COURTADE" userId="b06d61bd-3bc1-47a9-8acb-1faed11547af" providerId="ADAL" clId="{46492A7A-5491-48FF-8472-B7AB0047A0D2}" dt="2020-11-09T08:16:21.622" v="659"/>
          <ac:spMkLst>
            <pc:docMk/>
            <pc:sldMk cId="1456459348" sldId="6884"/>
            <ac:spMk id="74" creationId="{79E62823-2791-4873-9826-8CF863C230C8}"/>
          </ac:spMkLst>
        </pc:spChg>
        <pc:spChg chg="del">
          <ac:chgData name="Théodora DUPONT-COURTADE" userId="b06d61bd-3bc1-47a9-8acb-1faed11547af" providerId="ADAL" clId="{46492A7A-5491-48FF-8472-B7AB0047A0D2}" dt="2020-11-09T08:16:20.551" v="658" actId="478"/>
          <ac:spMkLst>
            <pc:docMk/>
            <pc:sldMk cId="1456459348" sldId="6884"/>
            <ac:spMk id="139" creationId="{75CC1791-0479-40C3-B805-4CB0F788187D}"/>
          </ac:spMkLst>
        </pc:spChg>
      </pc:sldChg>
      <pc:sldChg chg="modSp mod">
        <pc:chgData name="Théodora DUPONT-COURTADE" userId="b06d61bd-3bc1-47a9-8acb-1faed11547af" providerId="ADAL" clId="{46492A7A-5491-48FF-8472-B7AB0047A0D2}" dt="2020-11-09T08:25:39.412" v="746" actId="6549"/>
        <pc:sldMkLst>
          <pc:docMk/>
          <pc:sldMk cId="1030086371" sldId="6902"/>
        </pc:sldMkLst>
        <pc:spChg chg="mod">
          <ac:chgData name="Théodora DUPONT-COURTADE" userId="b06d61bd-3bc1-47a9-8acb-1faed11547af" providerId="ADAL" clId="{46492A7A-5491-48FF-8472-B7AB0047A0D2}" dt="2020-11-09T08:25:24.821" v="741" actId="6549"/>
          <ac:spMkLst>
            <pc:docMk/>
            <pc:sldMk cId="1030086371" sldId="6902"/>
            <ac:spMk id="8" creationId="{CB1BE7F2-FBB2-4FD3-948E-9C8EDCDBA0F1}"/>
          </ac:spMkLst>
        </pc:spChg>
        <pc:spChg chg="mod">
          <ac:chgData name="Théodora DUPONT-COURTADE" userId="b06d61bd-3bc1-47a9-8acb-1faed11547af" providerId="ADAL" clId="{46492A7A-5491-48FF-8472-B7AB0047A0D2}" dt="2020-11-09T08:25:34.822" v="745" actId="20577"/>
          <ac:spMkLst>
            <pc:docMk/>
            <pc:sldMk cId="1030086371" sldId="6902"/>
            <ac:spMk id="16" creationId="{F75F6C43-0E02-4BE4-A0AF-02C157F90161}"/>
          </ac:spMkLst>
        </pc:spChg>
        <pc:spChg chg="mod">
          <ac:chgData name="Théodora DUPONT-COURTADE" userId="b06d61bd-3bc1-47a9-8acb-1faed11547af" providerId="ADAL" clId="{46492A7A-5491-48FF-8472-B7AB0047A0D2}" dt="2020-11-09T08:25:39.412" v="746" actId="6549"/>
          <ac:spMkLst>
            <pc:docMk/>
            <pc:sldMk cId="1030086371" sldId="6902"/>
            <ac:spMk id="30" creationId="{114B25CB-2398-4D9C-98CC-CB44E2D72F75}"/>
          </ac:spMkLst>
        </pc:spChg>
      </pc:sldChg>
      <pc:sldChg chg="modSp mod">
        <pc:chgData name="Théodora DUPONT-COURTADE" userId="b06d61bd-3bc1-47a9-8acb-1faed11547af" providerId="ADAL" clId="{46492A7A-5491-48FF-8472-B7AB0047A0D2}" dt="2020-11-09T08:25:49.903" v="750" actId="6549"/>
        <pc:sldMkLst>
          <pc:docMk/>
          <pc:sldMk cId="3680184187" sldId="6904"/>
        </pc:sldMkLst>
        <pc:spChg chg="mod">
          <ac:chgData name="Théodora DUPONT-COURTADE" userId="b06d61bd-3bc1-47a9-8acb-1faed11547af" providerId="ADAL" clId="{46492A7A-5491-48FF-8472-B7AB0047A0D2}" dt="2020-11-09T08:25:42.482" v="747" actId="6549"/>
          <ac:spMkLst>
            <pc:docMk/>
            <pc:sldMk cId="3680184187" sldId="6904"/>
            <ac:spMk id="8" creationId="{CB1BE7F2-FBB2-4FD3-948E-9C8EDCDBA0F1}"/>
          </ac:spMkLst>
        </pc:spChg>
        <pc:spChg chg="mod">
          <ac:chgData name="Théodora DUPONT-COURTADE" userId="b06d61bd-3bc1-47a9-8acb-1faed11547af" providerId="ADAL" clId="{46492A7A-5491-48FF-8472-B7AB0047A0D2}" dt="2020-11-09T08:25:48.013" v="749" actId="6549"/>
          <ac:spMkLst>
            <pc:docMk/>
            <pc:sldMk cId="3680184187" sldId="6904"/>
            <ac:spMk id="16" creationId="{EC1BC621-DF60-4775-9A38-F64F06321CCF}"/>
          </ac:spMkLst>
        </pc:spChg>
        <pc:spChg chg="mod">
          <ac:chgData name="Théodora DUPONT-COURTADE" userId="b06d61bd-3bc1-47a9-8acb-1faed11547af" providerId="ADAL" clId="{46492A7A-5491-48FF-8472-B7AB0047A0D2}" dt="2020-11-09T08:25:49.903" v="750" actId="6549"/>
          <ac:spMkLst>
            <pc:docMk/>
            <pc:sldMk cId="3680184187" sldId="6904"/>
            <ac:spMk id="35" creationId="{9030E3A4-64D5-46FE-88C9-781622E6C8BE}"/>
          </ac:spMkLst>
        </pc:spChg>
      </pc:sldChg>
      <pc:sldChg chg="modSp mod">
        <pc:chgData name="Théodora DUPONT-COURTADE" userId="b06d61bd-3bc1-47a9-8acb-1faed11547af" providerId="ADAL" clId="{46492A7A-5491-48FF-8472-B7AB0047A0D2}" dt="2020-11-09T08:24:55.311" v="733" actId="6549"/>
        <pc:sldMkLst>
          <pc:docMk/>
          <pc:sldMk cId="1343468430" sldId="6909"/>
        </pc:sldMkLst>
        <pc:spChg chg="mod">
          <ac:chgData name="Théodora DUPONT-COURTADE" userId="b06d61bd-3bc1-47a9-8acb-1faed11547af" providerId="ADAL" clId="{46492A7A-5491-48FF-8472-B7AB0047A0D2}" dt="2020-11-09T08:24:55.311" v="733" actId="6549"/>
          <ac:spMkLst>
            <pc:docMk/>
            <pc:sldMk cId="1343468430" sldId="6909"/>
            <ac:spMk id="8" creationId="{A2AC5C70-8EB5-4F0C-A842-AADC34B04F23}"/>
          </ac:spMkLst>
        </pc:spChg>
      </pc:sldChg>
      <pc:sldChg chg="modSp mod">
        <pc:chgData name="Théodora DUPONT-COURTADE" userId="b06d61bd-3bc1-47a9-8acb-1faed11547af" providerId="ADAL" clId="{46492A7A-5491-48FF-8472-B7AB0047A0D2}" dt="2020-11-09T08:24:45.391" v="731" actId="20577"/>
        <pc:sldMkLst>
          <pc:docMk/>
          <pc:sldMk cId="2836452418" sldId="6916"/>
        </pc:sldMkLst>
        <pc:spChg chg="mod">
          <ac:chgData name="Théodora DUPONT-COURTADE" userId="b06d61bd-3bc1-47a9-8acb-1faed11547af" providerId="ADAL" clId="{46492A7A-5491-48FF-8472-B7AB0047A0D2}" dt="2020-11-09T08:24:42.293" v="730" actId="20577"/>
          <ac:spMkLst>
            <pc:docMk/>
            <pc:sldMk cId="2836452418" sldId="6916"/>
            <ac:spMk id="41" creationId="{C656333A-12AB-4C8A-A78D-11F6ECDA5AA5}"/>
          </ac:spMkLst>
        </pc:spChg>
        <pc:spChg chg="mod">
          <ac:chgData name="Théodora DUPONT-COURTADE" userId="b06d61bd-3bc1-47a9-8acb-1faed11547af" providerId="ADAL" clId="{46492A7A-5491-48FF-8472-B7AB0047A0D2}" dt="2020-11-09T08:24:45.391" v="731" actId="20577"/>
          <ac:spMkLst>
            <pc:docMk/>
            <pc:sldMk cId="2836452418" sldId="6916"/>
            <ac:spMk id="42" creationId="{9B81E6F6-5347-4682-884D-4CB78A092A68}"/>
          </ac:spMkLst>
        </pc:spChg>
      </pc:sldChg>
      <pc:sldChg chg="modSp mod">
        <pc:chgData name="Théodora DUPONT-COURTADE" userId="b06d61bd-3bc1-47a9-8acb-1faed11547af" providerId="ADAL" clId="{46492A7A-5491-48FF-8472-B7AB0047A0D2}" dt="2020-11-09T08:25:03.162" v="735" actId="20577"/>
        <pc:sldMkLst>
          <pc:docMk/>
          <pc:sldMk cId="3683193157" sldId="6920"/>
        </pc:sldMkLst>
        <pc:spChg chg="mod">
          <ac:chgData name="Théodora DUPONT-COURTADE" userId="b06d61bd-3bc1-47a9-8acb-1faed11547af" providerId="ADAL" clId="{46492A7A-5491-48FF-8472-B7AB0047A0D2}" dt="2020-11-09T08:25:03.162" v="735" actId="20577"/>
          <ac:spMkLst>
            <pc:docMk/>
            <pc:sldMk cId="3683193157" sldId="6920"/>
            <ac:spMk id="54" creationId="{2B4667C3-C0F6-43CD-9824-272478C1ADEE}"/>
          </ac:spMkLst>
        </pc:spChg>
        <pc:spChg chg="mod">
          <ac:chgData name="Théodora DUPONT-COURTADE" userId="b06d61bd-3bc1-47a9-8acb-1faed11547af" providerId="ADAL" clId="{46492A7A-5491-48FF-8472-B7AB0047A0D2}" dt="2020-11-09T08:25:00.325" v="734" actId="6549"/>
          <ac:spMkLst>
            <pc:docMk/>
            <pc:sldMk cId="3683193157" sldId="6920"/>
            <ac:spMk id="56" creationId="{3D04210C-A6AE-4263-A4B3-ABED7FE32EE9}"/>
          </ac:spMkLst>
        </pc:spChg>
      </pc:sldChg>
      <pc:sldChg chg="modSp mod">
        <pc:chgData name="Théodora DUPONT-COURTADE" userId="b06d61bd-3bc1-47a9-8acb-1faed11547af" providerId="ADAL" clId="{46492A7A-5491-48FF-8472-B7AB0047A0D2}" dt="2020-11-09T08:30:28.929" v="804" actId="20577"/>
        <pc:sldMkLst>
          <pc:docMk/>
          <pc:sldMk cId="4222955874" sldId="6934"/>
        </pc:sldMkLst>
        <pc:spChg chg="mod">
          <ac:chgData name="Théodora DUPONT-COURTADE" userId="b06d61bd-3bc1-47a9-8acb-1faed11547af" providerId="ADAL" clId="{46492A7A-5491-48FF-8472-B7AB0047A0D2}" dt="2020-11-09T08:27:34.590" v="772"/>
          <ac:spMkLst>
            <pc:docMk/>
            <pc:sldMk cId="4222955874" sldId="6934"/>
            <ac:spMk id="92" creationId="{D9D9F08E-B027-4B85-8840-FB0E30E39398}"/>
          </ac:spMkLst>
        </pc:spChg>
        <pc:spChg chg="mod">
          <ac:chgData name="Théodora DUPONT-COURTADE" userId="b06d61bd-3bc1-47a9-8acb-1faed11547af" providerId="ADAL" clId="{46492A7A-5491-48FF-8472-B7AB0047A0D2}" dt="2020-11-09T08:30:28.929" v="804" actId="20577"/>
          <ac:spMkLst>
            <pc:docMk/>
            <pc:sldMk cId="4222955874" sldId="6934"/>
            <ac:spMk id="120" creationId="{20F7CBB8-D0FC-4D3E-A69E-1E08DA071689}"/>
          </ac:spMkLst>
        </pc:spChg>
      </pc:sldChg>
      <pc:sldChg chg="modSp mod">
        <pc:chgData name="Théodora DUPONT-COURTADE" userId="b06d61bd-3bc1-47a9-8acb-1faed11547af" providerId="ADAL" clId="{46492A7A-5491-48FF-8472-B7AB0047A0D2}" dt="2020-11-09T08:24:38.485" v="729" actId="6549"/>
        <pc:sldMkLst>
          <pc:docMk/>
          <pc:sldMk cId="1924704819" sldId="6937"/>
        </pc:sldMkLst>
        <pc:spChg chg="mod">
          <ac:chgData name="Théodora DUPONT-COURTADE" userId="b06d61bd-3bc1-47a9-8acb-1faed11547af" providerId="ADAL" clId="{46492A7A-5491-48FF-8472-B7AB0047A0D2}" dt="2020-11-09T08:24:38.485" v="729" actId="6549"/>
          <ac:spMkLst>
            <pc:docMk/>
            <pc:sldMk cId="1924704819" sldId="6937"/>
            <ac:spMk id="39" creationId="{CBDF6B1C-0B00-48F1-B35B-862F35B1A685}"/>
          </ac:spMkLst>
        </pc:spChg>
      </pc:sldChg>
      <pc:sldChg chg="modSp mod">
        <pc:chgData name="Théodora DUPONT-COURTADE" userId="b06d61bd-3bc1-47a9-8acb-1faed11547af" providerId="ADAL" clId="{46492A7A-5491-48FF-8472-B7AB0047A0D2}" dt="2020-11-09T08:26:10.284" v="752" actId="6549"/>
        <pc:sldMkLst>
          <pc:docMk/>
          <pc:sldMk cId="2819355768" sldId="6948"/>
        </pc:sldMkLst>
        <pc:spChg chg="mod">
          <ac:chgData name="Théodora DUPONT-COURTADE" userId="b06d61bd-3bc1-47a9-8acb-1faed11547af" providerId="ADAL" clId="{46492A7A-5491-48FF-8472-B7AB0047A0D2}" dt="2020-11-09T08:26:08.381" v="751" actId="6549"/>
          <ac:spMkLst>
            <pc:docMk/>
            <pc:sldMk cId="2819355768" sldId="6948"/>
            <ac:spMk id="47" creationId="{C85B0421-5BDB-4848-914A-867C2D466E74}"/>
          </ac:spMkLst>
        </pc:spChg>
        <pc:spChg chg="mod">
          <ac:chgData name="Théodora DUPONT-COURTADE" userId="b06d61bd-3bc1-47a9-8acb-1faed11547af" providerId="ADAL" clId="{46492A7A-5491-48FF-8472-B7AB0047A0D2}" dt="2020-11-09T08:26:10.284" v="752" actId="6549"/>
          <ac:spMkLst>
            <pc:docMk/>
            <pc:sldMk cId="2819355768" sldId="6948"/>
            <ac:spMk id="48" creationId="{4A9A9C35-FBD0-4A84-AAD1-D2EF1546575F}"/>
          </ac:spMkLst>
        </pc:spChg>
      </pc:sldChg>
      <pc:sldChg chg="modSp mod">
        <pc:chgData name="Théodora DUPONT-COURTADE" userId="b06d61bd-3bc1-47a9-8acb-1faed11547af" providerId="ADAL" clId="{46492A7A-5491-48FF-8472-B7AB0047A0D2}" dt="2020-11-09T08:26:23.642" v="756" actId="6549"/>
        <pc:sldMkLst>
          <pc:docMk/>
          <pc:sldMk cId="3180225553" sldId="6950"/>
        </pc:sldMkLst>
        <pc:spChg chg="mod">
          <ac:chgData name="Théodora DUPONT-COURTADE" userId="b06d61bd-3bc1-47a9-8acb-1faed11547af" providerId="ADAL" clId="{46492A7A-5491-48FF-8472-B7AB0047A0D2}" dt="2020-11-09T08:26:21.952" v="755" actId="6549"/>
          <ac:spMkLst>
            <pc:docMk/>
            <pc:sldMk cId="3180225553" sldId="6950"/>
            <ac:spMk id="47" creationId="{C85B0421-5BDB-4848-914A-867C2D466E74}"/>
          </ac:spMkLst>
        </pc:spChg>
        <pc:spChg chg="mod">
          <ac:chgData name="Théodora DUPONT-COURTADE" userId="b06d61bd-3bc1-47a9-8acb-1faed11547af" providerId="ADAL" clId="{46492A7A-5491-48FF-8472-B7AB0047A0D2}" dt="2020-11-09T08:26:23.642" v="756" actId="6549"/>
          <ac:spMkLst>
            <pc:docMk/>
            <pc:sldMk cId="3180225553" sldId="6950"/>
            <ac:spMk id="48" creationId="{4A9A9C35-FBD0-4A84-AAD1-D2EF1546575F}"/>
          </ac:spMkLst>
        </pc:spChg>
      </pc:sldChg>
      <pc:sldChg chg="modSp mod">
        <pc:chgData name="Théodora DUPONT-COURTADE" userId="b06d61bd-3bc1-47a9-8acb-1faed11547af" providerId="ADAL" clId="{46492A7A-5491-48FF-8472-B7AB0047A0D2}" dt="2020-11-09T08:26:36.511" v="760" actId="6549"/>
        <pc:sldMkLst>
          <pc:docMk/>
          <pc:sldMk cId="3055682090" sldId="6951"/>
        </pc:sldMkLst>
        <pc:spChg chg="mod">
          <ac:chgData name="Théodora DUPONT-COURTADE" userId="b06d61bd-3bc1-47a9-8acb-1faed11547af" providerId="ADAL" clId="{46492A7A-5491-48FF-8472-B7AB0047A0D2}" dt="2020-11-09T08:26:34.511" v="759" actId="6549"/>
          <ac:spMkLst>
            <pc:docMk/>
            <pc:sldMk cId="3055682090" sldId="6951"/>
            <ac:spMk id="47" creationId="{C85B0421-5BDB-4848-914A-867C2D466E74}"/>
          </ac:spMkLst>
        </pc:spChg>
        <pc:spChg chg="mod">
          <ac:chgData name="Théodora DUPONT-COURTADE" userId="b06d61bd-3bc1-47a9-8acb-1faed11547af" providerId="ADAL" clId="{46492A7A-5491-48FF-8472-B7AB0047A0D2}" dt="2020-11-09T08:26:36.511" v="760" actId="6549"/>
          <ac:spMkLst>
            <pc:docMk/>
            <pc:sldMk cId="3055682090" sldId="6951"/>
            <ac:spMk id="48" creationId="{4A9A9C35-FBD0-4A84-AAD1-D2EF1546575F}"/>
          </ac:spMkLst>
        </pc:spChg>
      </pc:sldChg>
      <pc:sldChg chg="modSp mod">
        <pc:chgData name="Théodora DUPONT-COURTADE" userId="b06d61bd-3bc1-47a9-8acb-1faed11547af" providerId="ADAL" clId="{46492A7A-5491-48FF-8472-B7AB0047A0D2}" dt="2020-11-09T08:07:59.290" v="415" actId="14100"/>
        <pc:sldMkLst>
          <pc:docMk/>
          <pc:sldMk cId="651344601" sldId="6954"/>
        </pc:sldMkLst>
        <pc:spChg chg="mod">
          <ac:chgData name="Théodora DUPONT-COURTADE" userId="b06d61bd-3bc1-47a9-8acb-1faed11547af" providerId="ADAL" clId="{46492A7A-5491-48FF-8472-B7AB0047A0D2}" dt="2020-11-09T08:07:43.818" v="402" actId="20577"/>
          <ac:spMkLst>
            <pc:docMk/>
            <pc:sldMk cId="651344601" sldId="6954"/>
            <ac:spMk id="4" creationId="{4E1304A4-3819-4E1D-8689-F8C8B3486596}"/>
          </ac:spMkLst>
        </pc:spChg>
        <pc:spChg chg="mod">
          <ac:chgData name="Théodora DUPONT-COURTADE" userId="b06d61bd-3bc1-47a9-8acb-1faed11547af" providerId="ADAL" clId="{46492A7A-5491-48FF-8472-B7AB0047A0D2}" dt="2020-11-09T08:07:59.290" v="415" actId="14100"/>
          <ac:spMkLst>
            <pc:docMk/>
            <pc:sldMk cId="651344601" sldId="6954"/>
            <ac:spMk id="114" creationId="{1D944720-1761-4BB2-A793-02A46C0BB385}"/>
          </ac:spMkLst>
        </pc:spChg>
      </pc:sldChg>
      <pc:sldChg chg="modSp mod">
        <pc:chgData name="Théodora DUPONT-COURTADE" userId="b06d61bd-3bc1-47a9-8acb-1faed11547af" providerId="ADAL" clId="{46492A7A-5491-48FF-8472-B7AB0047A0D2}" dt="2020-11-09T08:01:41.453" v="314"/>
        <pc:sldMkLst>
          <pc:docMk/>
          <pc:sldMk cId="1917388172" sldId="6958"/>
        </pc:sldMkLst>
        <pc:spChg chg="mod">
          <ac:chgData name="Théodora DUPONT-COURTADE" userId="b06d61bd-3bc1-47a9-8acb-1faed11547af" providerId="ADAL" clId="{46492A7A-5491-48FF-8472-B7AB0047A0D2}" dt="2020-11-09T08:01:40.931" v="312" actId="6549"/>
          <ac:spMkLst>
            <pc:docMk/>
            <pc:sldMk cId="1917388172" sldId="6958"/>
            <ac:spMk id="2" creationId="{3870AB5E-A103-47D5-8E5F-1BD7EDE99C28}"/>
          </ac:spMkLst>
        </pc:spChg>
        <pc:spChg chg="mod">
          <ac:chgData name="Théodora DUPONT-COURTADE" userId="b06d61bd-3bc1-47a9-8acb-1faed11547af" providerId="ADAL" clId="{46492A7A-5491-48FF-8472-B7AB0047A0D2}" dt="2020-11-09T08:01:26.519" v="301" actId="6549"/>
          <ac:spMkLst>
            <pc:docMk/>
            <pc:sldMk cId="1917388172" sldId="6958"/>
            <ac:spMk id="20" creationId="{09B840F8-497F-4061-BCB3-52E61A3148E7}"/>
          </ac:spMkLst>
        </pc:spChg>
        <pc:graphicFrameChg chg="mod">
          <ac:chgData name="Théodora DUPONT-COURTADE" userId="b06d61bd-3bc1-47a9-8acb-1faed11547af" providerId="ADAL" clId="{46492A7A-5491-48FF-8472-B7AB0047A0D2}" dt="2020-11-09T08:01:41.453" v="314"/>
          <ac:graphicFrameMkLst>
            <pc:docMk/>
            <pc:sldMk cId="1917388172" sldId="6958"/>
            <ac:graphicFrameMk id="26" creationId="{A4938685-CD3E-4297-9299-8EFD9F88E830}"/>
          </ac:graphicFrameMkLst>
        </pc:graphicFrameChg>
      </pc:sldChg>
      <pc:sldChg chg="modSp mod">
        <pc:chgData name="Théodora DUPONT-COURTADE" userId="b06d61bd-3bc1-47a9-8acb-1faed11547af" providerId="ADAL" clId="{46492A7A-5491-48FF-8472-B7AB0047A0D2}" dt="2020-11-09T07:48:46.022" v="68" actId="1036"/>
        <pc:sldMkLst>
          <pc:docMk/>
          <pc:sldMk cId="2931811662" sldId="6960"/>
        </pc:sldMkLst>
        <pc:spChg chg="mod">
          <ac:chgData name="Théodora DUPONT-COURTADE" userId="b06d61bd-3bc1-47a9-8acb-1faed11547af" providerId="ADAL" clId="{46492A7A-5491-48FF-8472-B7AB0047A0D2}" dt="2020-11-09T07:47:32.915" v="21" actId="6549"/>
          <ac:spMkLst>
            <pc:docMk/>
            <pc:sldMk cId="2931811662" sldId="6960"/>
            <ac:spMk id="21" creationId="{FCCE2A74-0914-49FA-A9F8-4CA92AF47D8B}"/>
          </ac:spMkLst>
        </pc:spChg>
        <pc:spChg chg="mod">
          <ac:chgData name="Théodora DUPONT-COURTADE" userId="b06d61bd-3bc1-47a9-8acb-1faed11547af" providerId="ADAL" clId="{46492A7A-5491-48FF-8472-B7AB0047A0D2}" dt="2020-11-09T07:47:49.070" v="43" actId="20577"/>
          <ac:spMkLst>
            <pc:docMk/>
            <pc:sldMk cId="2931811662" sldId="6960"/>
            <ac:spMk id="149" creationId="{D90A03B8-BD0A-4166-9D3E-236BAC83FBD1}"/>
          </ac:spMkLst>
        </pc:spChg>
        <pc:spChg chg="mod">
          <ac:chgData name="Théodora DUPONT-COURTADE" userId="b06d61bd-3bc1-47a9-8acb-1faed11547af" providerId="ADAL" clId="{46492A7A-5491-48FF-8472-B7AB0047A0D2}" dt="2020-11-09T07:47:54.939" v="46" actId="20577"/>
          <ac:spMkLst>
            <pc:docMk/>
            <pc:sldMk cId="2931811662" sldId="6960"/>
            <ac:spMk id="151" creationId="{D1802E84-F32B-4F5B-9D93-B30EBF9A32B5}"/>
          </ac:spMkLst>
        </pc:spChg>
        <pc:spChg chg="mod">
          <ac:chgData name="Théodora DUPONT-COURTADE" userId="b06d61bd-3bc1-47a9-8acb-1faed11547af" providerId="ADAL" clId="{46492A7A-5491-48FF-8472-B7AB0047A0D2}" dt="2020-11-09T07:47:37.153" v="40" actId="20577"/>
          <ac:spMkLst>
            <pc:docMk/>
            <pc:sldMk cId="2931811662" sldId="6960"/>
            <ac:spMk id="178" creationId="{A794636B-EC13-4E23-BA75-40709BF85190}"/>
          </ac:spMkLst>
        </pc:spChg>
        <pc:graphicFrameChg chg="mod">
          <ac:chgData name="Théodora DUPONT-COURTADE" userId="b06d61bd-3bc1-47a9-8acb-1faed11547af" providerId="ADAL" clId="{46492A7A-5491-48FF-8472-B7AB0047A0D2}" dt="2020-11-09T07:47:37.667" v="42"/>
          <ac:graphicFrameMkLst>
            <pc:docMk/>
            <pc:sldMk cId="2931811662" sldId="6960"/>
            <ac:graphicFrameMk id="22" creationId="{3DD7E849-ED47-4715-B12A-ED6CFDE616BA}"/>
          </ac:graphicFrameMkLst>
        </pc:graphicFrameChg>
        <pc:picChg chg="mod">
          <ac:chgData name="Théodora DUPONT-COURTADE" userId="b06d61bd-3bc1-47a9-8acb-1faed11547af" providerId="ADAL" clId="{46492A7A-5491-48FF-8472-B7AB0047A0D2}" dt="2020-11-09T07:48:41.014" v="63" actId="1036"/>
          <ac:picMkLst>
            <pc:docMk/>
            <pc:sldMk cId="2931811662" sldId="6960"/>
            <ac:picMk id="156" creationId="{6A2BA39A-78D5-4934-8781-E457C7FF0E0D}"/>
          </ac:picMkLst>
        </pc:picChg>
        <pc:picChg chg="mod">
          <ac:chgData name="Théodora DUPONT-COURTADE" userId="b06d61bd-3bc1-47a9-8acb-1faed11547af" providerId="ADAL" clId="{46492A7A-5491-48FF-8472-B7AB0047A0D2}" dt="2020-11-09T07:48:31.686" v="47" actId="14100"/>
          <ac:picMkLst>
            <pc:docMk/>
            <pc:sldMk cId="2931811662" sldId="6960"/>
            <ac:picMk id="116738" creationId="{9D6D6B9F-275C-4207-9D41-CB853850893F}"/>
          </ac:picMkLst>
        </pc:picChg>
        <pc:cxnChg chg="mod">
          <ac:chgData name="Théodora DUPONT-COURTADE" userId="b06d61bd-3bc1-47a9-8acb-1faed11547af" providerId="ADAL" clId="{46492A7A-5491-48FF-8472-B7AB0047A0D2}" dt="2020-11-09T07:48:46.022" v="68" actId="1036"/>
          <ac:cxnSpMkLst>
            <pc:docMk/>
            <pc:sldMk cId="2931811662" sldId="6960"/>
            <ac:cxnSpMk id="14" creationId="{76E54763-2FBA-4457-BF0C-2407BE92E914}"/>
          </ac:cxnSpMkLst>
        </pc:cxnChg>
      </pc:sldChg>
      <pc:sldChg chg="modSp mod">
        <pc:chgData name="Théodora DUPONT-COURTADE" userId="b06d61bd-3bc1-47a9-8acb-1faed11547af" providerId="ADAL" clId="{46492A7A-5491-48FF-8472-B7AB0047A0D2}" dt="2020-11-09T08:25:10.931" v="739" actId="6549"/>
        <pc:sldMkLst>
          <pc:docMk/>
          <pc:sldMk cId="4165085356" sldId="6975"/>
        </pc:sldMkLst>
        <pc:spChg chg="mod">
          <ac:chgData name="Théodora DUPONT-COURTADE" userId="b06d61bd-3bc1-47a9-8acb-1faed11547af" providerId="ADAL" clId="{46492A7A-5491-48FF-8472-B7AB0047A0D2}" dt="2020-11-09T08:25:10.931" v="739" actId="6549"/>
          <ac:spMkLst>
            <pc:docMk/>
            <pc:sldMk cId="4165085356" sldId="6975"/>
            <ac:spMk id="8" creationId="{A2AC5C70-8EB5-4F0C-A842-AADC34B04F23}"/>
          </ac:spMkLst>
        </pc:spChg>
      </pc:sldChg>
      <pc:sldChg chg="modSp mod">
        <pc:chgData name="Théodora DUPONT-COURTADE" userId="b06d61bd-3bc1-47a9-8acb-1faed11547af" providerId="ADAL" clId="{46492A7A-5491-48FF-8472-B7AB0047A0D2}" dt="2020-11-09T08:27:03.632" v="768" actId="6549"/>
        <pc:sldMkLst>
          <pc:docMk/>
          <pc:sldMk cId="2838286066" sldId="6995"/>
        </pc:sldMkLst>
        <pc:spChg chg="mod">
          <ac:chgData name="Théodora DUPONT-COURTADE" userId="b06d61bd-3bc1-47a9-8acb-1faed11547af" providerId="ADAL" clId="{46492A7A-5491-48FF-8472-B7AB0047A0D2}" dt="2020-11-09T08:27:03.632" v="768" actId="6549"/>
          <ac:spMkLst>
            <pc:docMk/>
            <pc:sldMk cId="2838286066" sldId="6995"/>
            <ac:spMk id="5" creationId="{6D9258D7-7340-4D8A-95DA-B6AC917746BD}"/>
          </ac:spMkLst>
        </pc:spChg>
        <pc:spChg chg="mod">
          <ac:chgData name="Théodora DUPONT-COURTADE" userId="b06d61bd-3bc1-47a9-8acb-1faed11547af" providerId="ADAL" clId="{46492A7A-5491-48FF-8472-B7AB0047A0D2}" dt="2020-11-09T08:26:54.231" v="764" actId="6549"/>
          <ac:spMkLst>
            <pc:docMk/>
            <pc:sldMk cId="2838286066" sldId="6995"/>
            <ac:spMk id="13" creationId="{694C4C19-04E1-4F91-A6DD-A55644294499}"/>
          </ac:spMkLst>
        </pc:spChg>
        <pc:spChg chg="mod">
          <ac:chgData name="Théodora DUPONT-COURTADE" userId="b06d61bd-3bc1-47a9-8acb-1faed11547af" providerId="ADAL" clId="{46492A7A-5491-48FF-8472-B7AB0047A0D2}" dt="2020-11-09T08:26:48.382" v="763" actId="6549"/>
          <ac:spMkLst>
            <pc:docMk/>
            <pc:sldMk cId="2838286066" sldId="6995"/>
            <ac:spMk id="33" creationId="{9E63C95D-1808-49DA-AF51-7A2B446970FD}"/>
          </ac:spMkLst>
        </pc:spChg>
        <pc:spChg chg="mod">
          <ac:chgData name="Théodora DUPONT-COURTADE" userId="b06d61bd-3bc1-47a9-8acb-1faed11547af" providerId="ADAL" clId="{46492A7A-5491-48FF-8472-B7AB0047A0D2}" dt="2020-11-09T08:26:55.350" v="765" actId="6549"/>
          <ac:spMkLst>
            <pc:docMk/>
            <pc:sldMk cId="2838286066" sldId="6995"/>
            <ac:spMk id="66" creationId="{5495D559-5AD5-4BB7-8F14-0A0F57C38508}"/>
          </ac:spMkLst>
        </pc:spChg>
        <pc:spChg chg="mod">
          <ac:chgData name="Théodora DUPONT-COURTADE" userId="b06d61bd-3bc1-47a9-8acb-1faed11547af" providerId="ADAL" clId="{46492A7A-5491-48FF-8472-B7AB0047A0D2}" dt="2020-11-09T08:26:56.860" v="766" actId="6549"/>
          <ac:spMkLst>
            <pc:docMk/>
            <pc:sldMk cId="2838286066" sldId="6995"/>
            <ac:spMk id="68" creationId="{FF288548-CDB1-446F-8A56-991904D556E0}"/>
          </ac:spMkLst>
        </pc:spChg>
        <pc:spChg chg="mod">
          <ac:chgData name="Théodora DUPONT-COURTADE" userId="b06d61bd-3bc1-47a9-8acb-1faed11547af" providerId="ADAL" clId="{46492A7A-5491-48FF-8472-B7AB0047A0D2}" dt="2020-11-09T08:27:00.560" v="767" actId="6549"/>
          <ac:spMkLst>
            <pc:docMk/>
            <pc:sldMk cId="2838286066" sldId="6995"/>
            <ac:spMk id="69" creationId="{495C44C9-E739-4255-B4DB-FE60DB6E2D87}"/>
          </ac:spMkLst>
        </pc:spChg>
      </pc:sldChg>
      <pc:sldChg chg="modSp mod">
        <pc:chgData name="Théodora DUPONT-COURTADE" userId="b06d61bd-3bc1-47a9-8acb-1faed11547af" providerId="ADAL" clId="{46492A7A-5491-48FF-8472-B7AB0047A0D2}" dt="2020-11-09T08:33:55.818" v="974" actId="20577"/>
        <pc:sldMkLst>
          <pc:docMk/>
          <pc:sldMk cId="104034165" sldId="6997"/>
        </pc:sldMkLst>
        <pc:spChg chg="mod">
          <ac:chgData name="Théodora DUPONT-COURTADE" userId="b06d61bd-3bc1-47a9-8acb-1faed11547af" providerId="ADAL" clId="{46492A7A-5491-48FF-8472-B7AB0047A0D2}" dt="2020-11-09T08:33:48.609" v="969" actId="20577"/>
          <ac:spMkLst>
            <pc:docMk/>
            <pc:sldMk cId="104034165" sldId="6997"/>
            <ac:spMk id="2" creationId="{85719187-3176-4DF6-907D-B341547AB7A2}"/>
          </ac:spMkLst>
        </pc:spChg>
        <pc:spChg chg="mod">
          <ac:chgData name="Théodora DUPONT-COURTADE" userId="b06d61bd-3bc1-47a9-8acb-1faed11547af" providerId="ADAL" clId="{46492A7A-5491-48FF-8472-B7AB0047A0D2}" dt="2020-11-09T08:33:47.138" v="962" actId="6549"/>
          <ac:spMkLst>
            <pc:docMk/>
            <pc:sldMk cId="104034165" sldId="6997"/>
            <ac:spMk id="8" creationId="{0DA3D0BC-DA7E-4962-A114-29DB29712CF8}"/>
          </ac:spMkLst>
        </pc:spChg>
        <pc:spChg chg="mod">
          <ac:chgData name="Théodora DUPONT-COURTADE" userId="b06d61bd-3bc1-47a9-8acb-1faed11547af" providerId="ADAL" clId="{46492A7A-5491-48FF-8472-B7AB0047A0D2}" dt="2020-11-09T08:33:55.818" v="974" actId="20577"/>
          <ac:spMkLst>
            <pc:docMk/>
            <pc:sldMk cId="104034165" sldId="6997"/>
            <ac:spMk id="42" creationId="{90FB813A-34C3-4737-AAA2-22847CB895B2}"/>
          </ac:spMkLst>
        </pc:spChg>
        <pc:graphicFrameChg chg="mod">
          <ac:chgData name="Théodora DUPONT-COURTADE" userId="b06d61bd-3bc1-47a9-8acb-1faed11547af" providerId="ADAL" clId="{46492A7A-5491-48FF-8472-B7AB0047A0D2}" dt="2020-11-09T08:33:49.124" v="971"/>
          <ac:graphicFrameMkLst>
            <pc:docMk/>
            <pc:sldMk cId="104034165" sldId="6997"/>
            <ac:graphicFrameMk id="10" creationId="{71E427E5-3948-4905-9E33-F6E47047EC29}"/>
          </ac:graphicFrameMkLst>
        </pc:graphicFrameChg>
      </pc:sldChg>
      <pc:sldChg chg="modSp">
        <pc:chgData name="Théodora DUPONT-COURTADE" userId="b06d61bd-3bc1-47a9-8acb-1faed11547af" providerId="ADAL" clId="{46492A7A-5491-48FF-8472-B7AB0047A0D2}" dt="2020-11-09T08:27:34.590" v="772"/>
        <pc:sldMkLst>
          <pc:docMk/>
          <pc:sldMk cId="2190796301" sldId="7009"/>
        </pc:sldMkLst>
        <pc:spChg chg="mod">
          <ac:chgData name="Théodora DUPONT-COURTADE" userId="b06d61bd-3bc1-47a9-8acb-1faed11547af" providerId="ADAL" clId="{46492A7A-5491-48FF-8472-B7AB0047A0D2}" dt="2020-11-09T08:27:34.590" v="772"/>
          <ac:spMkLst>
            <pc:docMk/>
            <pc:sldMk cId="2190796301" sldId="7009"/>
            <ac:spMk id="19" creationId="{49A05D93-7CA8-4353-B161-43B4768B24DC}"/>
          </ac:spMkLst>
        </pc:spChg>
        <pc:spChg chg="mod">
          <ac:chgData name="Théodora DUPONT-COURTADE" userId="b06d61bd-3bc1-47a9-8acb-1faed11547af" providerId="ADAL" clId="{46492A7A-5491-48FF-8472-B7AB0047A0D2}" dt="2020-11-09T08:27:34.590" v="772"/>
          <ac:spMkLst>
            <pc:docMk/>
            <pc:sldMk cId="2190796301" sldId="7009"/>
            <ac:spMk id="38" creationId="{19958C83-CA2C-45E2-A9D5-146D8A1C38CE}"/>
          </ac:spMkLst>
        </pc:spChg>
      </pc:sldChg>
      <pc:sldChg chg="modSp mod">
        <pc:chgData name="Théodora DUPONT-COURTADE" userId="b06d61bd-3bc1-47a9-8acb-1faed11547af" providerId="ADAL" clId="{46492A7A-5491-48FF-8472-B7AB0047A0D2}" dt="2020-11-09T08:32:32.993" v="868" actId="20577"/>
        <pc:sldMkLst>
          <pc:docMk/>
          <pc:sldMk cId="747328579" sldId="7023"/>
        </pc:sldMkLst>
        <pc:spChg chg="mod">
          <ac:chgData name="Théodora DUPONT-COURTADE" userId="b06d61bd-3bc1-47a9-8acb-1faed11547af" providerId="ADAL" clId="{46492A7A-5491-48FF-8472-B7AB0047A0D2}" dt="2020-11-09T08:20:02.578" v="665" actId="6549"/>
          <ac:spMkLst>
            <pc:docMk/>
            <pc:sldMk cId="747328579" sldId="7023"/>
            <ac:spMk id="2" creationId="{23325090-E6AD-4579-8BBB-5145185C4FBA}"/>
          </ac:spMkLst>
        </pc:spChg>
        <pc:spChg chg="mod">
          <ac:chgData name="Théodora DUPONT-COURTADE" userId="b06d61bd-3bc1-47a9-8acb-1faed11547af" providerId="ADAL" clId="{46492A7A-5491-48FF-8472-B7AB0047A0D2}" dt="2020-11-09T08:20:11.070" v="689" actId="20577"/>
          <ac:spMkLst>
            <pc:docMk/>
            <pc:sldMk cId="747328579" sldId="7023"/>
            <ac:spMk id="6" creationId="{3FE12521-EEA8-4DE6-B205-9D74694BC96C}"/>
          </ac:spMkLst>
        </pc:spChg>
        <pc:spChg chg="mod">
          <ac:chgData name="Théodora DUPONT-COURTADE" userId="b06d61bd-3bc1-47a9-8acb-1faed11547af" providerId="ADAL" clId="{46492A7A-5491-48FF-8472-B7AB0047A0D2}" dt="2020-11-09T08:32:32.993" v="868" actId="20577"/>
          <ac:spMkLst>
            <pc:docMk/>
            <pc:sldMk cId="747328579" sldId="7023"/>
            <ac:spMk id="82" creationId="{F9CE50F4-559F-4A63-8DED-004E061F20DD}"/>
          </ac:spMkLst>
        </pc:spChg>
        <pc:spChg chg="mod">
          <ac:chgData name="Théodora DUPONT-COURTADE" userId="b06d61bd-3bc1-47a9-8acb-1faed11547af" providerId="ADAL" clId="{46492A7A-5491-48FF-8472-B7AB0047A0D2}" dt="2020-11-09T08:20:03.184" v="686" actId="6549"/>
          <ac:spMkLst>
            <pc:docMk/>
            <pc:sldMk cId="747328579" sldId="7023"/>
            <ac:spMk id="86" creationId="{ACE56A5D-72B2-46F1-B100-4883F6AE1D78}"/>
          </ac:spMkLst>
        </pc:spChg>
        <pc:spChg chg="mod">
          <ac:chgData name="Théodora DUPONT-COURTADE" userId="b06d61bd-3bc1-47a9-8acb-1faed11547af" providerId="ADAL" clId="{46492A7A-5491-48FF-8472-B7AB0047A0D2}" dt="2020-11-09T08:20:47.833" v="710" actId="6549"/>
          <ac:spMkLst>
            <pc:docMk/>
            <pc:sldMk cId="747328579" sldId="7023"/>
            <ac:spMk id="103" creationId="{DDAD27AB-985E-4685-BBDB-60A95AFDDE42}"/>
          </ac:spMkLst>
        </pc:spChg>
        <pc:spChg chg="mod">
          <ac:chgData name="Théodora DUPONT-COURTADE" userId="b06d61bd-3bc1-47a9-8acb-1faed11547af" providerId="ADAL" clId="{46492A7A-5491-48FF-8472-B7AB0047A0D2}" dt="2020-11-09T08:20:35.892" v="708" actId="14100"/>
          <ac:spMkLst>
            <pc:docMk/>
            <pc:sldMk cId="747328579" sldId="7023"/>
            <ac:spMk id="161" creationId="{BDB95085-8BE5-4A53-971E-2C30D51783DF}"/>
          </ac:spMkLst>
        </pc:spChg>
        <pc:graphicFrameChg chg="mod">
          <ac:chgData name="Théodora DUPONT-COURTADE" userId="b06d61bd-3bc1-47a9-8acb-1faed11547af" providerId="ADAL" clId="{46492A7A-5491-48FF-8472-B7AB0047A0D2}" dt="2020-11-09T08:20:03.201" v="688"/>
          <ac:graphicFrameMkLst>
            <pc:docMk/>
            <pc:sldMk cId="747328579" sldId="7023"/>
            <ac:graphicFrameMk id="87" creationId="{D818AF6D-5973-439D-8C0E-24C6D2531456}"/>
          </ac:graphicFrameMkLst>
        </pc:graphicFrameChg>
      </pc:sldChg>
      <pc:sldChg chg="modSp">
        <pc:chgData name="Théodora DUPONT-COURTADE" userId="b06d61bd-3bc1-47a9-8acb-1faed11547af" providerId="ADAL" clId="{46492A7A-5491-48FF-8472-B7AB0047A0D2}" dt="2020-11-09T08:27:34.590" v="772"/>
        <pc:sldMkLst>
          <pc:docMk/>
          <pc:sldMk cId="2517844644" sldId="7047"/>
        </pc:sldMkLst>
        <pc:spChg chg="mod">
          <ac:chgData name="Théodora DUPONT-COURTADE" userId="b06d61bd-3bc1-47a9-8acb-1faed11547af" providerId="ADAL" clId="{46492A7A-5491-48FF-8472-B7AB0047A0D2}" dt="2020-11-09T08:27:34.590" v="772"/>
          <ac:spMkLst>
            <pc:docMk/>
            <pc:sldMk cId="2517844644" sldId="7047"/>
            <ac:spMk id="97" creationId="{34319CD3-4F43-47D4-A96F-3DE7FF61CA2A}"/>
          </ac:spMkLst>
        </pc:spChg>
      </pc:sldChg>
      <pc:sldChg chg="modSp mod">
        <pc:chgData name="Théodora DUPONT-COURTADE" userId="b06d61bd-3bc1-47a9-8acb-1faed11547af" providerId="ADAL" clId="{46492A7A-5491-48FF-8472-B7AB0047A0D2}" dt="2020-11-09T08:06:40.262" v="396" actId="6549"/>
        <pc:sldMkLst>
          <pc:docMk/>
          <pc:sldMk cId="3357989335" sldId="7051"/>
        </pc:sldMkLst>
        <pc:spChg chg="mod">
          <ac:chgData name="Théodora DUPONT-COURTADE" userId="b06d61bd-3bc1-47a9-8acb-1faed11547af" providerId="ADAL" clId="{46492A7A-5491-48FF-8472-B7AB0047A0D2}" dt="2020-11-09T08:06:40.262" v="396" actId="6549"/>
          <ac:spMkLst>
            <pc:docMk/>
            <pc:sldMk cId="3357989335" sldId="7051"/>
            <ac:spMk id="103" creationId="{C8A52D54-9E96-4855-BF97-88907E41C19C}"/>
          </ac:spMkLst>
        </pc:spChg>
      </pc:sldChg>
      <pc:sldChg chg="modSp mod">
        <pc:chgData name="Théodora DUPONT-COURTADE" userId="b06d61bd-3bc1-47a9-8acb-1faed11547af" providerId="ADAL" clId="{46492A7A-5491-48FF-8472-B7AB0047A0D2}" dt="2020-11-09T08:16:04.875" v="657" actId="20577"/>
        <pc:sldMkLst>
          <pc:docMk/>
          <pc:sldMk cId="3989485105" sldId="7052"/>
        </pc:sldMkLst>
        <pc:spChg chg="mod">
          <ac:chgData name="Théodora DUPONT-COURTADE" userId="b06d61bd-3bc1-47a9-8acb-1faed11547af" providerId="ADAL" clId="{46492A7A-5491-48FF-8472-B7AB0047A0D2}" dt="2020-11-09T08:15:56.929" v="654" actId="20577"/>
          <ac:spMkLst>
            <pc:docMk/>
            <pc:sldMk cId="3989485105" sldId="7052"/>
            <ac:spMk id="62" creationId="{F0FBE6A4-FA16-42D9-A59F-299921BD22E9}"/>
          </ac:spMkLst>
        </pc:spChg>
        <pc:spChg chg="mod">
          <ac:chgData name="Théodora DUPONT-COURTADE" userId="b06d61bd-3bc1-47a9-8acb-1faed11547af" providerId="ADAL" clId="{46492A7A-5491-48FF-8472-B7AB0047A0D2}" dt="2020-11-09T08:16:04.875" v="657" actId="20577"/>
          <ac:spMkLst>
            <pc:docMk/>
            <pc:sldMk cId="3989485105" sldId="7052"/>
            <ac:spMk id="64" creationId="{36C26947-885E-4CF2-9380-E2E5974FEEF4}"/>
          </ac:spMkLst>
        </pc:spChg>
        <pc:spChg chg="mod">
          <ac:chgData name="Théodora DUPONT-COURTADE" userId="b06d61bd-3bc1-47a9-8acb-1faed11547af" providerId="ADAL" clId="{46492A7A-5491-48FF-8472-B7AB0047A0D2}" dt="2020-11-09T08:15:46.596" v="643" actId="207"/>
          <ac:spMkLst>
            <pc:docMk/>
            <pc:sldMk cId="3989485105" sldId="7052"/>
            <ac:spMk id="139" creationId="{75CC1791-0479-40C3-B805-4CB0F788187D}"/>
          </ac:spMkLst>
        </pc:spChg>
      </pc:sldChg>
      <pc:sldChg chg="modSp mod">
        <pc:chgData name="Théodora DUPONT-COURTADE" userId="b06d61bd-3bc1-47a9-8acb-1faed11547af" providerId="ADAL" clId="{46492A7A-5491-48FF-8472-B7AB0047A0D2}" dt="2020-11-09T07:55:00.874" v="144" actId="1037"/>
        <pc:sldMkLst>
          <pc:docMk/>
          <pc:sldMk cId="659755073" sldId="7059"/>
        </pc:sldMkLst>
        <pc:spChg chg="mod">
          <ac:chgData name="Théodora DUPONT-COURTADE" userId="b06d61bd-3bc1-47a9-8acb-1faed11547af" providerId="ADAL" clId="{46492A7A-5491-48FF-8472-B7AB0047A0D2}" dt="2020-11-09T07:54:49.420" v="125" actId="20577"/>
          <ac:spMkLst>
            <pc:docMk/>
            <pc:sldMk cId="659755073" sldId="7059"/>
            <ac:spMk id="159" creationId="{5D2C67CC-C3A2-46F3-BF08-3DBB3494BA53}"/>
          </ac:spMkLst>
        </pc:spChg>
        <pc:spChg chg="mod">
          <ac:chgData name="Théodora DUPONT-COURTADE" userId="b06d61bd-3bc1-47a9-8acb-1faed11547af" providerId="ADAL" clId="{46492A7A-5491-48FF-8472-B7AB0047A0D2}" dt="2020-11-09T07:54:47.291" v="122" actId="20577"/>
          <ac:spMkLst>
            <pc:docMk/>
            <pc:sldMk cId="659755073" sldId="7059"/>
            <ac:spMk id="220" creationId="{6CA62E96-D2CE-4E36-B548-E66F8EC39ACE}"/>
          </ac:spMkLst>
        </pc:spChg>
        <pc:picChg chg="mod">
          <ac:chgData name="Théodora DUPONT-COURTADE" userId="b06d61bd-3bc1-47a9-8acb-1faed11547af" providerId="ADAL" clId="{46492A7A-5491-48FF-8472-B7AB0047A0D2}" dt="2020-11-09T07:55:00.874" v="144" actId="1037"/>
          <ac:picMkLst>
            <pc:docMk/>
            <pc:sldMk cId="659755073" sldId="7059"/>
            <ac:picMk id="235" creationId="{8F196962-4FAE-45AC-AE64-A2FD6A88EC3B}"/>
          </ac:picMkLst>
        </pc:picChg>
        <pc:picChg chg="mod">
          <ac:chgData name="Théodora DUPONT-COURTADE" userId="b06d61bd-3bc1-47a9-8acb-1faed11547af" providerId="ADAL" clId="{46492A7A-5491-48FF-8472-B7AB0047A0D2}" dt="2020-11-09T07:54:53.396" v="129" actId="1038"/>
          <ac:picMkLst>
            <pc:docMk/>
            <pc:sldMk cId="659755073" sldId="7059"/>
            <ac:picMk id="258" creationId="{6F622106-853D-48B5-9583-10BC847E86A3}"/>
          </ac:picMkLst>
        </pc:picChg>
        <pc:cxnChg chg="mod">
          <ac:chgData name="Théodora DUPONT-COURTADE" userId="b06d61bd-3bc1-47a9-8acb-1faed11547af" providerId="ADAL" clId="{46492A7A-5491-48FF-8472-B7AB0047A0D2}" dt="2020-11-09T07:54:57.340" v="134" actId="1038"/>
          <ac:cxnSpMkLst>
            <pc:docMk/>
            <pc:sldMk cId="659755073" sldId="7059"/>
            <ac:cxnSpMk id="259" creationId="{70D0326D-794D-4368-B47C-65D9A7F591CC}"/>
          </ac:cxnSpMkLst>
        </pc:cxnChg>
      </pc:sldChg>
      <pc:sldChg chg="modSp mod">
        <pc:chgData name="Théodora DUPONT-COURTADE" userId="b06d61bd-3bc1-47a9-8acb-1faed11547af" providerId="ADAL" clId="{46492A7A-5491-48FF-8472-B7AB0047A0D2}" dt="2020-11-09T08:33:23.929" v="933" actId="20577"/>
        <pc:sldMkLst>
          <pc:docMk/>
          <pc:sldMk cId="1880852289" sldId="7066"/>
        </pc:sldMkLst>
        <pc:spChg chg="mod">
          <ac:chgData name="Théodora DUPONT-COURTADE" userId="b06d61bd-3bc1-47a9-8acb-1faed11547af" providerId="ADAL" clId="{46492A7A-5491-48FF-8472-B7AB0047A0D2}" dt="2020-11-09T07:57:37.268" v="244" actId="6549"/>
          <ac:spMkLst>
            <pc:docMk/>
            <pc:sldMk cId="1880852289" sldId="7066"/>
            <ac:spMk id="6" creationId="{7BB59633-86D0-4B3A-8BFB-35A6ECF6D9DF}"/>
          </ac:spMkLst>
        </pc:spChg>
        <pc:spChg chg="mod">
          <ac:chgData name="Théodora DUPONT-COURTADE" userId="b06d61bd-3bc1-47a9-8acb-1faed11547af" providerId="ADAL" clId="{46492A7A-5491-48FF-8472-B7AB0047A0D2}" dt="2020-11-09T07:56:56.822" v="218" actId="1036"/>
          <ac:spMkLst>
            <pc:docMk/>
            <pc:sldMk cId="1880852289" sldId="7066"/>
            <ac:spMk id="29" creationId="{68D3E6BB-722F-421E-ABAC-8D8002D4291A}"/>
          </ac:spMkLst>
        </pc:spChg>
        <pc:spChg chg="mod">
          <ac:chgData name="Théodora DUPONT-COURTADE" userId="b06d61bd-3bc1-47a9-8acb-1faed11547af" providerId="ADAL" clId="{46492A7A-5491-48FF-8472-B7AB0047A0D2}" dt="2020-11-09T07:58:06.087" v="263" actId="14100"/>
          <ac:spMkLst>
            <pc:docMk/>
            <pc:sldMk cId="1880852289" sldId="7066"/>
            <ac:spMk id="37" creationId="{0C493F4D-B61E-4002-8723-8E051757A953}"/>
          </ac:spMkLst>
        </pc:spChg>
        <pc:spChg chg="mod">
          <ac:chgData name="Théodora DUPONT-COURTADE" userId="b06d61bd-3bc1-47a9-8acb-1faed11547af" providerId="ADAL" clId="{46492A7A-5491-48FF-8472-B7AB0047A0D2}" dt="2020-11-09T07:57:29.289" v="242" actId="1035"/>
          <ac:spMkLst>
            <pc:docMk/>
            <pc:sldMk cId="1880852289" sldId="7066"/>
            <ac:spMk id="43" creationId="{27DE2BD2-975A-4C81-8EF4-27C15FFB98D5}"/>
          </ac:spMkLst>
        </pc:spChg>
        <pc:spChg chg="mod">
          <ac:chgData name="Théodora DUPONT-COURTADE" userId="b06d61bd-3bc1-47a9-8acb-1faed11547af" providerId="ADAL" clId="{46492A7A-5491-48FF-8472-B7AB0047A0D2}" dt="2020-11-09T07:57:44.790" v="246" actId="20577"/>
          <ac:spMkLst>
            <pc:docMk/>
            <pc:sldMk cId="1880852289" sldId="7066"/>
            <ac:spMk id="58" creationId="{8B757A5D-D613-4DF5-A2D4-054A6A31B2D3}"/>
          </ac:spMkLst>
        </pc:spChg>
        <pc:spChg chg="mod">
          <ac:chgData name="Théodora DUPONT-COURTADE" userId="b06d61bd-3bc1-47a9-8acb-1faed11547af" providerId="ADAL" clId="{46492A7A-5491-48FF-8472-B7AB0047A0D2}" dt="2020-11-09T08:33:23.929" v="933" actId="20577"/>
          <ac:spMkLst>
            <pc:docMk/>
            <pc:sldMk cId="1880852289" sldId="7066"/>
            <ac:spMk id="111" creationId="{C3292A45-E203-4D92-A0E9-634CFAB0B314}"/>
          </ac:spMkLst>
        </pc:spChg>
      </pc:sldChg>
      <pc:sldChg chg="modSp">
        <pc:chgData name="Théodora DUPONT-COURTADE" userId="b06d61bd-3bc1-47a9-8acb-1faed11547af" providerId="ADAL" clId="{46492A7A-5491-48FF-8472-B7AB0047A0D2}" dt="2020-11-09T08:27:34.590" v="772"/>
        <pc:sldMkLst>
          <pc:docMk/>
          <pc:sldMk cId="4012805871" sldId="7067"/>
        </pc:sldMkLst>
        <pc:spChg chg="mod">
          <ac:chgData name="Théodora DUPONT-COURTADE" userId="b06d61bd-3bc1-47a9-8acb-1faed11547af" providerId="ADAL" clId="{46492A7A-5491-48FF-8472-B7AB0047A0D2}" dt="2020-11-09T08:27:34.590" v="772"/>
          <ac:spMkLst>
            <pc:docMk/>
            <pc:sldMk cId="4012805871" sldId="7067"/>
            <ac:spMk id="6" creationId="{4002F52B-3495-415A-B262-7FFC832AAF2F}"/>
          </ac:spMkLst>
        </pc:spChg>
        <pc:graphicFrameChg chg="mod">
          <ac:chgData name="Théodora DUPONT-COURTADE" userId="b06d61bd-3bc1-47a9-8acb-1faed11547af" providerId="ADAL" clId="{46492A7A-5491-48FF-8472-B7AB0047A0D2}" dt="2020-11-09T08:27:34.590" v="772"/>
          <ac:graphicFrameMkLst>
            <pc:docMk/>
            <pc:sldMk cId="4012805871" sldId="7067"/>
            <ac:graphicFrameMk id="16" creationId="{2FD05142-33E1-4410-A3C4-50EAFB7C946E}"/>
          </ac:graphicFrameMkLst>
        </pc:graphicFrameChg>
        <pc:graphicFrameChg chg="mod">
          <ac:chgData name="Théodora DUPONT-COURTADE" userId="b06d61bd-3bc1-47a9-8acb-1faed11547af" providerId="ADAL" clId="{46492A7A-5491-48FF-8472-B7AB0047A0D2}" dt="2020-11-09T08:27:34.590" v="772"/>
          <ac:graphicFrameMkLst>
            <pc:docMk/>
            <pc:sldMk cId="4012805871" sldId="7067"/>
            <ac:graphicFrameMk id="26" creationId="{B7D79CA9-CD28-4261-AC1B-594946002DC6}"/>
          </ac:graphicFrameMkLst>
        </pc:graphicFrameChg>
      </pc:sldChg>
      <pc:sldChg chg="modSp">
        <pc:chgData name="Théodora DUPONT-COURTADE" userId="b06d61bd-3bc1-47a9-8acb-1faed11547af" providerId="ADAL" clId="{46492A7A-5491-48FF-8472-B7AB0047A0D2}" dt="2020-11-09T08:27:34.590" v="772"/>
        <pc:sldMkLst>
          <pc:docMk/>
          <pc:sldMk cId="1492206073" sldId="7071"/>
        </pc:sldMkLst>
        <pc:spChg chg="mod">
          <ac:chgData name="Théodora DUPONT-COURTADE" userId="b06d61bd-3bc1-47a9-8acb-1faed11547af" providerId="ADAL" clId="{46492A7A-5491-48FF-8472-B7AB0047A0D2}" dt="2020-11-09T08:27:34.590" v="772"/>
          <ac:spMkLst>
            <pc:docMk/>
            <pc:sldMk cId="1492206073" sldId="7071"/>
            <ac:spMk id="16" creationId="{EACE795C-C806-425F-8AA4-8EFA6F2CB1B5}"/>
          </ac:spMkLst>
        </pc:spChg>
      </pc:sldChg>
      <pc:sldChg chg="modSp mod">
        <pc:chgData name="Théodora DUPONT-COURTADE" userId="b06d61bd-3bc1-47a9-8acb-1faed11547af" providerId="ADAL" clId="{46492A7A-5491-48FF-8472-B7AB0047A0D2}" dt="2020-11-09T08:26:19.132" v="754" actId="6549"/>
        <pc:sldMkLst>
          <pc:docMk/>
          <pc:sldMk cId="4019796020" sldId="7082"/>
        </pc:sldMkLst>
        <pc:spChg chg="mod">
          <ac:chgData name="Théodora DUPONT-COURTADE" userId="b06d61bd-3bc1-47a9-8acb-1faed11547af" providerId="ADAL" clId="{46492A7A-5491-48FF-8472-B7AB0047A0D2}" dt="2020-11-09T08:26:19.132" v="754" actId="6549"/>
          <ac:spMkLst>
            <pc:docMk/>
            <pc:sldMk cId="4019796020" sldId="7082"/>
            <ac:spMk id="21" creationId="{F639CB13-89E0-4076-8B02-146C16F07D20}"/>
          </ac:spMkLst>
        </pc:spChg>
      </pc:sldChg>
      <pc:sldChg chg="modSp mod">
        <pc:chgData name="Théodora DUPONT-COURTADE" userId="b06d61bd-3bc1-47a9-8acb-1faed11547af" providerId="ADAL" clId="{46492A7A-5491-48FF-8472-B7AB0047A0D2}" dt="2020-11-09T08:33:35.225" v="936" actId="20577"/>
        <pc:sldMkLst>
          <pc:docMk/>
          <pc:sldMk cId="1230945878" sldId="7083"/>
        </pc:sldMkLst>
        <pc:spChg chg="mod">
          <ac:chgData name="Théodora DUPONT-COURTADE" userId="b06d61bd-3bc1-47a9-8acb-1faed11547af" providerId="ADAL" clId="{46492A7A-5491-48FF-8472-B7AB0047A0D2}" dt="2020-11-09T08:33:35.225" v="936" actId="20577"/>
          <ac:spMkLst>
            <pc:docMk/>
            <pc:sldMk cId="1230945878" sldId="7083"/>
            <ac:spMk id="104" creationId="{5249DF09-DA80-4D06-87AC-ADB7E05E637F}"/>
          </ac:spMkLst>
        </pc:spChg>
        <pc:spChg chg="mod">
          <ac:chgData name="Théodora DUPONT-COURTADE" userId="b06d61bd-3bc1-47a9-8acb-1faed11547af" providerId="ADAL" clId="{46492A7A-5491-48FF-8472-B7AB0047A0D2}" dt="2020-11-09T08:26:16.015" v="753" actId="20577"/>
          <ac:spMkLst>
            <pc:docMk/>
            <pc:sldMk cId="1230945878" sldId="7083"/>
            <ac:spMk id="106" creationId="{5BC541B6-7A65-4287-B7CC-CEF207455FB1}"/>
          </ac:spMkLst>
        </pc:spChg>
      </pc:sldChg>
      <pc:sldChg chg="modSp mod">
        <pc:chgData name="Théodora DUPONT-COURTADE" userId="b06d61bd-3bc1-47a9-8acb-1faed11547af" providerId="ADAL" clId="{46492A7A-5491-48FF-8472-B7AB0047A0D2}" dt="2020-11-09T08:26:26.412" v="757" actId="6549"/>
        <pc:sldMkLst>
          <pc:docMk/>
          <pc:sldMk cId="4166291675" sldId="7086"/>
        </pc:sldMkLst>
        <pc:spChg chg="mod">
          <ac:chgData name="Théodora DUPONT-COURTADE" userId="b06d61bd-3bc1-47a9-8acb-1faed11547af" providerId="ADAL" clId="{46492A7A-5491-48FF-8472-B7AB0047A0D2}" dt="2020-11-09T08:26:26.412" v="757" actId="6549"/>
          <ac:spMkLst>
            <pc:docMk/>
            <pc:sldMk cId="4166291675" sldId="7086"/>
            <ac:spMk id="33" creationId="{46269B51-26D3-40B3-A2E1-7033585D2220}"/>
          </ac:spMkLst>
        </pc:spChg>
      </pc:sldChg>
      <pc:sldChg chg="modSp mod">
        <pc:chgData name="Théodora DUPONT-COURTADE" userId="b06d61bd-3bc1-47a9-8acb-1faed11547af" providerId="ADAL" clId="{46492A7A-5491-48FF-8472-B7AB0047A0D2}" dt="2020-11-09T08:26:31.152" v="758" actId="6549"/>
        <pc:sldMkLst>
          <pc:docMk/>
          <pc:sldMk cId="853049378" sldId="7087"/>
        </pc:sldMkLst>
        <pc:spChg chg="mod">
          <ac:chgData name="Théodora DUPONT-COURTADE" userId="b06d61bd-3bc1-47a9-8acb-1faed11547af" providerId="ADAL" clId="{46492A7A-5491-48FF-8472-B7AB0047A0D2}" dt="2020-11-09T08:26:31.152" v="758" actId="6549"/>
          <ac:spMkLst>
            <pc:docMk/>
            <pc:sldMk cId="853049378" sldId="7087"/>
            <ac:spMk id="63" creationId="{E73DC046-4319-4414-9D8C-4348FDC58A67}"/>
          </ac:spMkLst>
        </pc:spChg>
      </pc:sldChg>
      <pc:sldChg chg="modSp mod">
        <pc:chgData name="Théodora DUPONT-COURTADE" userId="b06d61bd-3bc1-47a9-8acb-1faed11547af" providerId="ADAL" clId="{46492A7A-5491-48FF-8472-B7AB0047A0D2}" dt="2020-11-09T08:24:04.708" v="721" actId="6549"/>
        <pc:sldMkLst>
          <pc:docMk/>
          <pc:sldMk cId="1503655535" sldId="7096"/>
        </pc:sldMkLst>
        <pc:spChg chg="mod">
          <ac:chgData name="Théodora DUPONT-COURTADE" userId="b06d61bd-3bc1-47a9-8acb-1faed11547af" providerId="ADAL" clId="{46492A7A-5491-48FF-8472-B7AB0047A0D2}" dt="2020-11-09T08:24:04.708" v="721" actId="6549"/>
          <ac:spMkLst>
            <pc:docMk/>
            <pc:sldMk cId="1503655535" sldId="7096"/>
            <ac:spMk id="25" creationId="{A96489D2-D155-4818-938A-09D81DF8CE88}"/>
          </ac:spMkLst>
        </pc:spChg>
      </pc:sldChg>
      <pc:sldChg chg="modSp mod">
        <pc:chgData name="Théodora DUPONT-COURTADE" userId="b06d61bd-3bc1-47a9-8acb-1faed11547af" providerId="ADAL" clId="{46492A7A-5491-48FF-8472-B7AB0047A0D2}" dt="2020-11-09T08:33:40.848" v="939" actId="20577"/>
        <pc:sldMkLst>
          <pc:docMk/>
          <pc:sldMk cId="932497199" sldId="7098"/>
        </pc:sldMkLst>
        <pc:spChg chg="mod">
          <ac:chgData name="Théodora DUPONT-COURTADE" userId="b06d61bd-3bc1-47a9-8acb-1faed11547af" providerId="ADAL" clId="{46492A7A-5491-48FF-8472-B7AB0047A0D2}" dt="2020-11-09T08:33:40.848" v="939" actId="20577"/>
          <ac:spMkLst>
            <pc:docMk/>
            <pc:sldMk cId="932497199" sldId="7098"/>
            <ac:spMk id="120" creationId="{AE6C35D3-BB1E-4486-8C4A-32E725ECE125}"/>
          </ac:spMkLst>
        </pc:spChg>
      </pc:sldChg>
      <pc:sldChg chg="modSp mod">
        <pc:chgData name="Théodora DUPONT-COURTADE" userId="b06d61bd-3bc1-47a9-8acb-1faed11547af" providerId="ADAL" clId="{46492A7A-5491-48FF-8472-B7AB0047A0D2}" dt="2020-11-09T08:27:35.163" v="795"/>
        <pc:sldMkLst>
          <pc:docMk/>
          <pc:sldMk cId="376755772" sldId="7099"/>
        </pc:sldMkLst>
        <pc:spChg chg="mod">
          <ac:chgData name="Théodora DUPONT-COURTADE" userId="b06d61bd-3bc1-47a9-8acb-1faed11547af" providerId="ADAL" clId="{46492A7A-5491-48FF-8472-B7AB0047A0D2}" dt="2020-11-09T08:27:34.590" v="772"/>
          <ac:spMkLst>
            <pc:docMk/>
            <pc:sldMk cId="376755772" sldId="7099"/>
            <ac:spMk id="2" creationId="{3D5F3CBF-1CC1-410B-9384-ECBE8A2E4680}"/>
          </ac:spMkLst>
        </pc:spChg>
        <pc:spChg chg="mod">
          <ac:chgData name="Théodora DUPONT-COURTADE" userId="b06d61bd-3bc1-47a9-8acb-1faed11547af" providerId="ADAL" clId="{46492A7A-5491-48FF-8472-B7AB0047A0D2}" dt="2020-11-09T08:27:34.590" v="772"/>
          <ac:spMkLst>
            <pc:docMk/>
            <pc:sldMk cId="376755772" sldId="7099"/>
            <ac:spMk id="23" creationId="{C34033B3-BAF3-4B98-912B-4132825CB19E}"/>
          </ac:spMkLst>
        </pc:spChg>
        <pc:spChg chg="mod">
          <ac:chgData name="Théodora DUPONT-COURTADE" userId="b06d61bd-3bc1-47a9-8acb-1faed11547af" providerId="ADAL" clId="{46492A7A-5491-48FF-8472-B7AB0047A0D2}" dt="2020-11-09T08:27:34.590" v="772"/>
          <ac:spMkLst>
            <pc:docMk/>
            <pc:sldMk cId="376755772" sldId="7099"/>
            <ac:spMk id="30" creationId="{4A0CBEAD-F285-4B34-BA46-D51708742C4C}"/>
          </ac:spMkLst>
        </pc:spChg>
        <pc:spChg chg="mod">
          <ac:chgData name="Théodora DUPONT-COURTADE" userId="b06d61bd-3bc1-47a9-8acb-1faed11547af" providerId="ADAL" clId="{46492A7A-5491-48FF-8472-B7AB0047A0D2}" dt="2020-11-09T08:27:34.590" v="772"/>
          <ac:spMkLst>
            <pc:docMk/>
            <pc:sldMk cId="376755772" sldId="7099"/>
            <ac:spMk id="42" creationId="{AF9B5A75-943B-4E0A-8576-543C28562AC4}"/>
          </ac:spMkLst>
        </pc:spChg>
        <pc:spChg chg="mod">
          <ac:chgData name="Théodora DUPONT-COURTADE" userId="b06d61bd-3bc1-47a9-8acb-1faed11547af" providerId="ADAL" clId="{46492A7A-5491-48FF-8472-B7AB0047A0D2}" dt="2020-11-09T08:27:35.140" v="793" actId="6549"/>
          <ac:spMkLst>
            <pc:docMk/>
            <pc:sldMk cId="376755772" sldId="7099"/>
            <ac:spMk id="55" creationId="{8EE86343-74BC-4E2D-BB6A-24861BB9D9BF}"/>
          </ac:spMkLst>
        </pc:spChg>
        <pc:graphicFrameChg chg="mod">
          <ac:chgData name="Théodora DUPONT-COURTADE" userId="b06d61bd-3bc1-47a9-8acb-1faed11547af" providerId="ADAL" clId="{46492A7A-5491-48FF-8472-B7AB0047A0D2}" dt="2020-11-09T08:27:35.163" v="795"/>
          <ac:graphicFrameMkLst>
            <pc:docMk/>
            <pc:sldMk cId="376755772" sldId="7099"/>
            <ac:graphicFrameMk id="33" creationId="{86158E79-F997-40AF-B834-92852138EB03}"/>
          </ac:graphicFrameMkLst>
        </pc:graphicFrameChg>
      </pc:sldChg>
      <pc:sldChg chg="modSp mod">
        <pc:chgData name="Théodora DUPONT-COURTADE" userId="b06d61bd-3bc1-47a9-8acb-1faed11547af" providerId="ADAL" clId="{46492A7A-5491-48FF-8472-B7AB0047A0D2}" dt="2020-11-09T08:24:13.541" v="723" actId="6549"/>
        <pc:sldMkLst>
          <pc:docMk/>
          <pc:sldMk cId="161029057" sldId="7101"/>
        </pc:sldMkLst>
        <pc:spChg chg="mod">
          <ac:chgData name="Théodora DUPONT-COURTADE" userId="b06d61bd-3bc1-47a9-8acb-1faed11547af" providerId="ADAL" clId="{46492A7A-5491-48FF-8472-B7AB0047A0D2}" dt="2020-11-09T08:24:13.541" v="723" actId="6549"/>
          <ac:spMkLst>
            <pc:docMk/>
            <pc:sldMk cId="161029057" sldId="7101"/>
            <ac:spMk id="166" creationId="{6051315C-86ED-48F6-AB25-323E1E0B43AA}"/>
          </ac:spMkLst>
        </pc:spChg>
      </pc:sldChg>
      <pc:sldChg chg="modSp mod">
        <pc:chgData name="Théodora DUPONT-COURTADE" userId="b06d61bd-3bc1-47a9-8acb-1faed11547af" providerId="ADAL" clId="{46492A7A-5491-48FF-8472-B7AB0047A0D2}" dt="2020-11-09T08:24:21.742" v="725" actId="20577"/>
        <pc:sldMkLst>
          <pc:docMk/>
          <pc:sldMk cId="3125684111" sldId="7102"/>
        </pc:sldMkLst>
        <pc:spChg chg="mod">
          <ac:chgData name="Théodora DUPONT-COURTADE" userId="b06d61bd-3bc1-47a9-8acb-1faed11547af" providerId="ADAL" clId="{46492A7A-5491-48FF-8472-B7AB0047A0D2}" dt="2020-11-09T08:24:21.742" v="725" actId="20577"/>
          <ac:spMkLst>
            <pc:docMk/>
            <pc:sldMk cId="3125684111" sldId="7102"/>
            <ac:spMk id="41" creationId="{C656333A-12AB-4C8A-A78D-11F6ECDA5AA5}"/>
          </ac:spMkLst>
        </pc:spChg>
        <pc:spChg chg="mod">
          <ac:chgData name="Théodora DUPONT-COURTADE" userId="b06d61bd-3bc1-47a9-8acb-1faed11547af" providerId="ADAL" clId="{46492A7A-5491-48FF-8472-B7AB0047A0D2}" dt="2020-11-09T08:24:17.926" v="724" actId="20577"/>
          <ac:spMkLst>
            <pc:docMk/>
            <pc:sldMk cId="3125684111" sldId="7102"/>
            <ac:spMk id="66" creationId="{DDE8E6A5-D9C2-4569-8B2E-FFD8F8BC53C1}"/>
          </ac:spMkLst>
        </pc:spChg>
      </pc:sldChg>
      <pc:sldChg chg="modSp mod">
        <pc:chgData name="Théodora DUPONT-COURTADE" userId="b06d61bd-3bc1-47a9-8acb-1faed11547af" providerId="ADAL" clId="{46492A7A-5491-48FF-8472-B7AB0047A0D2}" dt="2020-11-09T08:24:32.291" v="727" actId="20577"/>
        <pc:sldMkLst>
          <pc:docMk/>
          <pc:sldMk cId="3483647417" sldId="7103"/>
        </pc:sldMkLst>
        <pc:spChg chg="mod">
          <ac:chgData name="Théodora DUPONT-COURTADE" userId="b06d61bd-3bc1-47a9-8acb-1faed11547af" providerId="ADAL" clId="{46492A7A-5491-48FF-8472-B7AB0047A0D2}" dt="2020-11-09T08:24:32.291" v="727" actId="20577"/>
          <ac:spMkLst>
            <pc:docMk/>
            <pc:sldMk cId="3483647417" sldId="7103"/>
            <ac:spMk id="44" creationId="{F8FBAB61-8009-488D-8954-EF75FBA86C3F}"/>
          </ac:spMkLst>
        </pc:spChg>
      </pc:sldChg>
      <pc:sldChg chg="modSp">
        <pc:chgData name="Théodora DUPONT-COURTADE" userId="b06d61bd-3bc1-47a9-8acb-1faed11547af" providerId="ADAL" clId="{46492A7A-5491-48FF-8472-B7AB0047A0D2}" dt="2020-11-09T08:27:34.590" v="772"/>
        <pc:sldMkLst>
          <pc:docMk/>
          <pc:sldMk cId="1053969278" sldId="7104"/>
        </pc:sldMkLst>
        <pc:spChg chg="mod">
          <ac:chgData name="Théodora DUPONT-COURTADE" userId="b06d61bd-3bc1-47a9-8acb-1faed11547af" providerId="ADAL" clId="{46492A7A-5491-48FF-8472-B7AB0047A0D2}" dt="2020-11-09T08:27:34.590" v="772"/>
          <ac:spMkLst>
            <pc:docMk/>
            <pc:sldMk cId="1053969278" sldId="7104"/>
            <ac:spMk id="74" creationId="{0E6193B6-6BA0-494F-9F9B-19586AC22164}"/>
          </ac:spMkLst>
        </pc:spChg>
      </pc:sldChg>
    </pc:docChg>
  </pc:docChgLst>
  <pc:docChgLst>
    <pc:chgData name="Théodora DUPONT-COURTADE" userId="b06d61bd-3bc1-47a9-8acb-1faed11547af" providerId="ADAL" clId="{BF01119D-6589-412D-8A43-0FA83C6B779F}"/>
    <pc:docChg chg="undo custSel modSld">
      <pc:chgData name="Théodora DUPONT-COURTADE" userId="b06d61bd-3bc1-47a9-8acb-1faed11547af" providerId="ADAL" clId="{BF01119D-6589-412D-8A43-0FA83C6B779F}" dt="2020-10-30T14:16:46.320" v="75" actId="20577"/>
      <pc:docMkLst>
        <pc:docMk/>
      </pc:docMkLst>
      <pc:sldChg chg="addSp delSp modSp mod">
        <pc:chgData name="Théodora DUPONT-COURTADE" userId="b06d61bd-3bc1-47a9-8acb-1faed11547af" providerId="ADAL" clId="{BF01119D-6589-412D-8A43-0FA83C6B779F}" dt="2020-10-30T14:16:46.320" v="75" actId="20577"/>
        <pc:sldMkLst>
          <pc:docMk/>
          <pc:sldMk cId="2362942929" sldId="6726"/>
        </pc:sldMkLst>
        <pc:spChg chg="del">
          <ac:chgData name="Théodora DUPONT-COURTADE" userId="b06d61bd-3bc1-47a9-8acb-1faed11547af" providerId="ADAL" clId="{BF01119D-6589-412D-8A43-0FA83C6B779F}" dt="2020-10-30T14:04:50.343" v="0" actId="21"/>
          <ac:spMkLst>
            <pc:docMk/>
            <pc:sldMk cId="2362942929" sldId="6726"/>
            <ac:spMk id="48" creationId="{BFBB240E-0ED2-45A7-B07E-5177D9D23D67}"/>
          </ac:spMkLst>
        </pc:spChg>
        <pc:spChg chg="mod">
          <ac:chgData name="Théodora DUPONT-COURTADE" userId="b06d61bd-3bc1-47a9-8acb-1faed11547af" providerId="ADAL" clId="{BF01119D-6589-412D-8A43-0FA83C6B779F}" dt="2020-10-30T14:05:03.413" v="28" actId="1035"/>
          <ac:spMkLst>
            <pc:docMk/>
            <pc:sldMk cId="2362942929" sldId="6726"/>
            <ac:spMk id="52" creationId="{E9CB9E6D-B162-4E11-9E61-329207C51FA3}"/>
          </ac:spMkLst>
        </pc:spChg>
        <pc:spChg chg="mod">
          <ac:chgData name="Théodora DUPONT-COURTADE" userId="b06d61bd-3bc1-47a9-8acb-1faed11547af" providerId="ADAL" clId="{BF01119D-6589-412D-8A43-0FA83C6B779F}" dt="2020-10-30T14:05:03.413" v="28" actId="1035"/>
          <ac:spMkLst>
            <pc:docMk/>
            <pc:sldMk cId="2362942929" sldId="6726"/>
            <ac:spMk id="54" creationId="{CFE0DA9C-CA14-4F1D-A1D9-A9C1B3C0DBFF}"/>
          </ac:spMkLst>
        </pc:spChg>
        <pc:spChg chg="del">
          <ac:chgData name="Théodora DUPONT-COURTADE" userId="b06d61bd-3bc1-47a9-8acb-1faed11547af" providerId="ADAL" clId="{BF01119D-6589-412D-8A43-0FA83C6B779F}" dt="2020-10-30T14:04:50.343" v="0" actId="21"/>
          <ac:spMkLst>
            <pc:docMk/>
            <pc:sldMk cId="2362942929" sldId="6726"/>
            <ac:spMk id="55" creationId="{50BC5652-3FC0-4C60-9442-1FA76657F690}"/>
          </ac:spMkLst>
        </pc:spChg>
        <pc:spChg chg="mod">
          <ac:chgData name="Théodora DUPONT-COURTADE" userId="b06d61bd-3bc1-47a9-8acb-1faed11547af" providerId="ADAL" clId="{BF01119D-6589-412D-8A43-0FA83C6B779F}" dt="2020-10-30T14:05:03.413" v="28" actId="1035"/>
          <ac:spMkLst>
            <pc:docMk/>
            <pc:sldMk cId="2362942929" sldId="6726"/>
            <ac:spMk id="56" creationId="{73291E4E-730E-4C6E-B026-1D163A9AAD7F}"/>
          </ac:spMkLst>
        </pc:spChg>
        <pc:spChg chg="mod">
          <ac:chgData name="Théodora DUPONT-COURTADE" userId="b06d61bd-3bc1-47a9-8acb-1faed11547af" providerId="ADAL" clId="{BF01119D-6589-412D-8A43-0FA83C6B779F}" dt="2020-10-30T14:05:03.413" v="28" actId="1035"/>
          <ac:spMkLst>
            <pc:docMk/>
            <pc:sldMk cId="2362942929" sldId="6726"/>
            <ac:spMk id="57" creationId="{5F199639-2799-4520-9CD5-F410B10BBC25}"/>
          </ac:spMkLst>
        </pc:spChg>
        <pc:spChg chg="mod">
          <ac:chgData name="Théodora DUPONT-COURTADE" userId="b06d61bd-3bc1-47a9-8acb-1faed11547af" providerId="ADAL" clId="{BF01119D-6589-412D-8A43-0FA83C6B779F}" dt="2020-10-30T14:16:41.106" v="69" actId="20577"/>
          <ac:spMkLst>
            <pc:docMk/>
            <pc:sldMk cId="2362942929" sldId="6726"/>
            <ac:spMk id="120" creationId="{AC365600-E1B8-41C4-801C-D9B36AAA8AB1}"/>
          </ac:spMkLst>
        </pc:spChg>
        <pc:spChg chg="add mod">
          <ac:chgData name="Théodora DUPONT-COURTADE" userId="b06d61bd-3bc1-47a9-8acb-1faed11547af" providerId="ADAL" clId="{BF01119D-6589-412D-8A43-0FA83C6B779F}" dt="2020-10-30T14:16:46.320" v="75" actId="20577"/>
          <ac:spMkLst>
            <pc:docMk/>
            <pc:sldMk cId="2362942929" sldId="6726"/>
            <ac:spMk id="134" creationId="{D55545FA-5791-4028-A69E-4D874346F1D1}"/>
          </ac:spMkLst>
        </pc:spChg>
        <pc:spChg chg="add mod">
          <ac:chgData name="Théodora DUPONT-COURTADE" userId="b06d61bd-3bc1-47a9-8acb-1faed11547af" providerId="ADAL" clId="{BF01119D-6589-412D-8A43-0FA83C6B779F}" dt="2020-10-30T14:05:08.685" v="61" actId="1035"/>
          <ac:spMkLst>
            <pc:docMk/>
            <pc:sldMk cId="2362942929" sldId="6726"/>
            <ac:spMk id="135" creationId="{5B07B975-1960-4267-A5A0-D401243ABCDE}"/>
          </ac:spMkLst>
        </pc:spChg>
        <pc:picChg chg="mod">
          <ac:chgData name="Théodora DUPONT-COURTADE" userId="b06d61bd-3bc1-47a9-8acb-1faed11547af" providerId="ADAL" clId="{BF01119D-6589-412D-8A43-0FA83C6B779F}" dt="2020-10-30T14:05:03.413" v="28" actId="1035"/>
          <ac:picMkLst>
            <pc:docMk/>
            <pc:sldMk cId="2362942929" sldId="6726"/>
            <ac:picMk id="11" creationId="{37A577BD-73AB-48C2-93FC-38FCEEBE0D91}"/>
          </ac:picMkLst>
        </pc:picChg>
        <pc:picChg chg="mod">
          <ac:chgData name="Théodora DUPONT-COURTADE" userId="b06d61bd-3bc1-47a9-8acb-1faed11547af" providerId="ADAL" clId="{BF01119D-6589-412D-8A43-0FA83C6B779F}" dt="2020-10-30T14:05:03.413" v="28" actId="1035"/>
          <ac:picMkLst>
            <pc:docMk/>
            <pc:sldMk cId="2362942929" sldId="6726"/>
            <ac:picMk id="81" creationId="{A816DCDC-01EB-46A0-BB2B-FF58CF9731F7}"/>
          </ac:picMkLst>
        </pc:picChg>
        <pc:picChg chg="del">
          <ac:chgData name="Théodora DUPONT-COURTADE" userId="b06d61bd-3bc1-47a9-8acb-1faed11547af" providerId="ADAL" clId="{BF01119D-6589-412D-8A43-0FA83C6B779F}" dt="2020-10-30T14:04:50.343" v="0" actId="21"/>
          <ac:picMkLst>
            <pc:docMk/>
            <pc:sldMk cId="2362942929" sldId="6726"/>
            <ac:picMk id="83" creationId="{AFA07830-3C4B-4F87-9990-C1A2C582B337}"/>
          </ac:picMkLst>
        </pc:picChg>
        <pc:picChg chg="add mod">
          <ac:chgData name="Théodora DUPONT-COURTADE" userId="b06d61bd-3bc1-47a9-8acb-1faed11547af" providerId="ADAL" clId="{BF01119D-6589-412D-8A43-0FA83C6B779F}" dt="2020-10-30T14:05:08.685" v="61" actId="1035"/>
          <ac:picMkLst>
            <pc:docMk/>
            <pc:sldMk cId="2362942929" sldId="6726"/>
            <ac:picMk id="107" creationId="{9250AE8E-DE8D-4176-A4DC-F4B2CB930801}"/>
          </ac:picMkLst>
        </pc:picChg>
      </pc:sldChg>
    </pc:docChg>
  </pc:docChgLst>
  <pc:docChgLst>
    <pc:chgData name="Ugo MANTEL" userId="2d5b7065-31bb-4181-a7f8-a73bf0c30211" providerId="ADAL" clId="{31B83507-AB3E-4FC0-ABF2-C6AE29143B33}"/>
    <pc:docChg chg="custSel modSld replTag">
      <pc:chgData name="Ugo MANTEL" userId="2d5b7065-31bb-4181-a7f8-a73bf0c30211" providerId="ADAL" clId="{31B83507-AB3E-4FC0-ABF2-C6AE29143B33}" dt="2021-08-27T14:37:58.208" v="86"/>
      <pc:docMkLst>
        <pc:docMk/>
      </pc:docMkLst>
      <pc:sldChg chg="addSp delSp modSp mod">
        <pc:chgData name="Ugo MANTEL" userId="2d5b7065-31bb-4181-a7f8-a73bf0c30211" providerId="ADAL" clId="{31B83507-AB3E-4FC0-ABF2-C6AE29143B33}" dt="2021-08-27T14:37:58.208" v="86"/>
        <pc:sldMkLst>
          <pc:docMk/>
          <pc:sldMk cId="683207262" sldId="6768"/>
        </pc:sldMkLst>
        <pc:spChg chg="mod">
          <ac:chgData name="Ugo MANTEL" userId="2d5b7065-31bb-4181-a7f8-a73bf0c30211" providerId="ADAL" clId="{31B83507-AB3E-4FC0-ABF2-C6AE29143B33}" dt="2021-08-27T14:37:58.100" v="44"/>
          <ac:spMkLst>
            <pc:docMk/>
            <pc:sldMk cId="683207262" sldId="6768"/>
            <ac:spMk id="4" creationId="{4743645F-F1B2-4106-A826-D519F9D9D826}"/>
          </ac:spMkLst>
        </pc:spChg>
        <pc:spChg chg="add del mod modVis">
          <ac:chgData name="Ugo MANTEL" userId="2d5b7065-31bb-4181-a7f8-a73bf0c30211" providerId="ADAL" clId="{31B83507-AB3E-4FC0-ABF2-C6AE29143B33}" dt="2021-07-22T09:42:54.933" v="39"/>
          <ac:spMkLst>
            <pc:docMk/>
            <pc:sldMk cId="683207262" sldId="6768"/>
            <ac:spMk id="8" creationId="{3ECED400-4520-4248-939B-3FB6275476D3}"/>
          </ac:spMkLst>
        </pc:spChg>
        <pc:spChg chg="add del mod modVis">
          <ac:chgData name="Ugo MANTEL" userId="2d5b7065-31bb-4181-a7f8-a73bf0c30211" providerId="ADAL" clId="{31B83507-AB3E-4FC0-ABF2-C6AE29143B33}" dt="2021-08-27T14:37:58.200" v="84"/>
          <ac:spMkLst>
            <pc:docMk/>
            <pc:sldMk cId="683207262" sldId="6768"/>
            <ac:spMk id="8" creationId="{F3236EFE-D946-457B-BC00-D27F0273894D}"/>
          </ac:spMkLst>
        </pc:spChg>
        <pc:graphicFrameChg chg="mod">
          <ac:chgData name="Ugo MANTEL" userId="2d5b7065-31bb-4181-a7f8-a73bf0c30211" providerId="ADAL" clId="{31B83507-AB3E-4FC0-ABF2-C6AE29143B33}" dt="2021-08-27T14:37:58.208" v="86"/>
          <ac:graphicFrameMkLst>
            <pc:docMk/>
            <pc:sldMk cId="683207262" sldId="6768"/>
            <ac:graphicFrameMk id="6" creationId="{90944F39-7C9D-46A4-9460-7725FFCBEE94}"/>
          </ac:graphicFrameMkLst>
        </pc:graphicFrameChg>
      </pc:sldChg>
      <pc:sldChg chg="addSp delSp modSp">
        <pc:chgData name="Ugo MANTEL" userId="2d5b7065-31bb-4181-a7f8-a73bf0c30211" providerId="ADAL" clId="{31B83507-AB3E-4FC0-ABF2-C6AE29143B33}" dt="2021-08-27T14:36:14.757" v="43" actId="165"/>
        <pc:sldMkLst>
          <pc:docMk/>
          <pc:sldMk cId="659755073" sldId="7059"/>
        </pc:sldMkLst>
        <pc:spChg chg="mod topLvl">
          <ac:chgData name="Ugo MANTEL" userId="2d5b7065-31bb-4181-a7f8-a73bf0c30211" providerId="ADAL" clId="{31B83507-AB3E-4FC0-ABF2-C6AE29143B33}" dt="2021-08-27T14:36:14.757" v="43" actId="165"/>
          <ac:spMkLst>
            <pc:docMk/>
            <pc:sldMk cId="659755073" sldId="7059"/>
            <ac:spMk id="158" creationId="{F016CF25-8CC8-459E-B156-914C2BE45E7A}"/>
          </ac:spMkLst>
        </pc:spChg>
        <pc:spChg chg="mod topLvl">
          <ac:chgData name="Ugo MANTEL" userId="2d5b7065-31bb-4181-a7f8-a73bf0c30211" providerId="ADAL" clId="{31B83507-AB3E-4FC0-ABF2-C6AE29143B33}" dt="2021-08-27T14:36:14.757" v="43" actId="165"/>
          <ac:spMkLst>
            <pc:docMk/>
            <pc:sldMk cId="659755073" sldId="7059"/>
            <ac:spMk id="159" creationId="{5D2C67CC-C3A2-46F3-BF08-3DBB3494BA53}"/>
          </ac:spMkLst>
        </pc:spChg>
        <pc:spChg chg="mod topLvl">
          <ac:chgData name="Ugo MANTEL" userId="2d5b7065-31bb-4181-a7f8-a73bf0c30211" providerId="ADAL" clId="{31B83507-AB3E-4FC0-ABF2-C6AE29143B33}" dt="2021-08-27T14:36:14.757" v="43" actId="165"/>
          <ac:spMkLst>
            <pc:docMk/>
            <pc:sldMk cId="659755073" sldId="7059"/>
            <ac:spMk id="160" creationId="{890CEDBF-2ECB-48B3-BCBB-614CBEEEBB7F}"/>
          </ac:spMkLst>
        </pc:spChg>
        <pc:spChg chg="mod topLvl">
          <ac:chgData name="Ugo MANTEL" userId="2d5b7065-31bb-4181-a7f8-a73bf0c30211" providerId="ADAL" clId="{31B83507-AB3E-4FC0-ABF2-C6AE29143B33}" dt="2021-08-27T14:36:14.757" v="43" actId="165"/>
          <ac:spMkLst>
            <pc:docMk/>
            <pc:sldMk cId="659755073" sldId="7059"/>
            <ac:spMk id="162" creationId="{6F7F3001-4DD6-4B40-867B-914FB1AFDE49}"/>
          </ac:spMkLst>
        </pc:spChg>
        <pc:spChg chg="mod topLvl">
          <ac:chgData name="Ugo MANTEL" userId="2d5b7065-31bb-4181-a7f8-a73bf0c30211" providerId="ADAL" clId="{31B83507-AB3E-4FC0-ABF2-C6AE29143B33}" dt="2021-08-27T14:36:14.757" v="43" actId="165"/>
          <ac:spMkLst>
            <pc:docMk/>
            <pc:sldMk cId="659755073" sldId="7059"/>
            <ac:spMk id="165" creationId="{3ED1EF23-FF28-4018-8935-0E0BCD70837C}"/>
          </ac:spMkLst>
        </pc:spChg>
        <pc:spChg chg="mod topLvl">
          <ac:chgData name="Ugo MANTEL" userId="2d5b7065-31bb-4181-a7f8-a73bf0c30211" providerId="ADAL" clId="{31B83507-AB3E-4FC0-ABF2-C6AE29143B33}" dt="2021-08-27T14:36:14.757" v="43" actId="165"/>
          <ac:spMkLst>
            <pc:docMk/>
            <pc:sldMk cId="659755073" sldId="7059"/>
            <ac:spMk id="166" creationId="{14EB90AA-B852-4AFB-BB8D-033D1E85EBE5}"/>
          </ac:spMkLst>
        </pc:spChg>
        <pc:spChg chg="mod topLvl">
          <ac:chgData name="Ugo MANTEL" userId="2d5b7065-31bb-4181-a7f8-a73bf0c30211" providerId="ADAL" clId="{31B83507-AB3E-4FC0-ABF2-C6AE29143B33}" dt="2021-08-27T14:36:14.757" v="43" actId="165"/>
          <ac:spMkLst>
            <pc:docMk/>
            <pc:sldMk cId="659755073" sldId="7059"/>
            <ac:spMk id="167" creationId="{613313A8-E708-4D42-9E15-825671A67BE3}"/>
          </ac:spMkLst>
        </pc:spChg>
        <pc:spChg chg="mod topLvl">
          <ac:chgData name="Ugo MANTEL" userId="2d5b7065-31bb-4181-a7f8-a73bf0c30211" providerId="ADAL" clId="{31B83507-AB3E-4FC0-ABF2-C6AE29143B33}" dt="2021-08-27T14:36:14.757" v="43" actId="165"/>
          <ac:spMkLst>
            <pc:docMk/>
            <pc:sldMk cId="659755073" sldId="7059"/>
            <ac:spMk id="168" creationId="{E78B2D07-637C-45D6-8C53-1C1581B05C75}"/>
          </ac:spMkLst>
        </pc:spChg>
        <pc:spChg chg="mod topLvl">
          <ac:chgData name="Ugo MANTEL" userId="2d5b7065-31bb-4181-a7f8-a73bf0c30211" providerId="ADAL" clId="{31B83507-AB3E-4FC0-ABF2-C6AE29143B33}" dt="2021-08-27T14:36:14.757" v="43" actId="165"/>
          <ac:spMkLst>
            <pc:docMk/>
            <pc:sldMk cId="659755073" sldId="7059"/>
            <ac:spMk id="170" creationId="{F513C6F0-0468-4C94-A7A5-26390218C174}"/>
          </ac:spMkLst>
        </pc:spChg>
        <pc:spChg chg="mod topLvl">
          <ac:chgData name="Ugo MANTEL" userId="2d5b7065-31bb-4181-a7f8-a73bf0c30211" providerId="ADAL" clId="{31B83507-AB3E-4FC0-ABF2-C6AE29143B33}" dt="2021-08-27T14:36:14.757" v="43" actId="165"/>
          <ac:spMkLst>
            <pc:docMk/>
            <pc:sldMk cId="659755073" sldId="7059"/>
            <ac:spMk id="171" creationId="{6C89E003-BD7D-4EC9-A2BB-40B78756FC71}"/>
          </ac:spMkLst>
        </pc:spChg>
        <pc:spChg chg="mod topLvl">
          <ac:chgData name="Ugo MANTEL" userId="2d5b7065-31bb-4181-a7f8-a73bf0c30211" providerId="ADAL" clId="{31B83507-AB3E-4FC0-ABF2-C6AE29143B33}" dt="2021-08-27T14:36:14.757" v="43" actId="165"/>
          <ac:spMkLst>
            <pc:docMk/>
            <pc:sldMk cId="659755073" sldId="7059"/>
            <ac:spMk id="172" creationId="{93131F15-BE34-4169-8C79-FD23C8878B54}"/>
          </ac:spMkLst>
        </pc:spChg>
        <pc:spChg chg="mod topLvl">
          <ac:chgData name="Ugo MANTEL" userId="2d5b7065-31bb-4181-a7f8-a73bf0c30211" providerId="ADAL" clId="{31B83507-AB3E-4FC0-ABF2-C6AE29143B33}" dt="2021-08-27T14:36:14.757" v="43" actId="165"/>
          <ac:spMkLst>
            <pc:docMk/>
            <pc:sldMk cId="659755073" sldId="7059"/>
            <ac:spMk id="173" creationId="{3BBE6BD2-6F33-4885-B26F-0087F7DB4869}"/>
          </ac:spMkLst>
        </pc:spChg>
        <pc:spChg chg="mod topLvl">
          <ac:chgData name="Ugo MANTEL" userId="2d5b7065-31bb-4181-a7f8-a73bf0c30211" providerId="ADAL" clId="{31B83507-AB3E-4FC0-ABF2-C6AE29143B33}" dt="2021-08-27T14:36:14.757" v="43" actId="165"/>
          <ac:spMkLst>
            <pc:docMk/>
            <pc:sldMk cId="659755073" sldId="7059"/>
            <ac:spMk id="174" creationId="{DA4EA8DF-640F-426F-B82D-DD8111BA3FB0}"/>
          </ac:spMkLst>
        </pc:spChg>
        <pc:spChg chg="mod topLvl">
          <ac:chgData name="Ugo MANTEL" userId="2d5b7065-31bb-4181-a7f8-a73bf0c30211" providerId="ADAL" clId="{31B83507-AB3E-4FC0-ABF2-C6AE29143B33}" dt="2021-08-27T14:36:14.757" v="43" actId="165"/>
          <ac:spMkLst>
            <pc:docMk/>
            <pc:sldMk cId="659755073" sldId="7059"/>
            <ac:spMk id="175" creationId="{AB4AF1B1-C3C6-48A9-AEFA-B85186A5C1BE}"/>
          </ac:spMkLst>
        </pc:spChg>
        <pc:spChg chg="mod topLvl">
          <ac:chgData name="Ugo MANTEL" userId="2d5b7065-31bb-4181-a7f8-a73bf0c30211" providerId="ADAL" clId="{31B83507-AB3E-4FC0-ABF2-C6AE29143B33}" dt="2021-08-27T14:36:14.757" v="43" actId="165"/>
          <ac:spMkLst>
            <pc:docMk/>
            <pc:sldMk cId="659755073" sldId="7059"/>
            <ac:spMk id="177" creationId="{EB5611B2-2F34-483A-BE61-4A770A1CD7EC}"/>
          </ac:spMkLst>
        </pc:spChg>
        <pc:spChg chg="mod topLvl">
          <ac:chgData name="Ugo MANTEL" userId="2d5b7065-31bb-4181-a7f8-a73bf0c30211" providerId="ADAL" clId="{31B83507-AB3E-4FC0-ABF2-C6AE29143B33}" dt="2021-08-27T14:36:14.757" v="43" actId="165"/>
          <ac:spMkLst>
            <pc:docMk/>
            <pc:sldMk cId="659755073" sldId="7059"/>
            <ac:spMk id="179" creationId="{3FD2ABFD-0B90-435F-94EF-0385B7B82E07}"/>
          </ac:spMkLst>
        </pc:spChg>
        <pc:spChg chg="mod topLvl">
          <ac:chgData name="Ugo MANTEL" userId="2d5b7065-31bb-4181-a7f8-a73bf0c30211" providerId="ADAL" clId="{31B83507-AB3E-4FC0-ABF2-C6AE29143B33}" dt="2021-08-27T14:36:14.757" v="43" actId="165"/>
          <ac:spMkLst>
            <pc:docMk/>
            <pc:sldMk cId="659755073" sldId="7059"/>
            <ac:spMk id="180" creationId="{F3C144A8-6716-4ACA-A484-0EAE7975A119}"/>
          </ac:spMkLst>
        </pc:spChg>
        <pc:spChg chg="mod topLvl">
          <ac:chgData name="Ugo MANTEL" userId="2d5b7065-31bb-4181-a7f8-a73bf0c30211" providerId="ADAL" clId="{31B83507-AB3E-4FC0-ABF2-C6AE29143B33}" dt="2021-08-27T14:36:14.757" v="43" actId="165"/>
          <ac:spMkLst>
            <pc:docMk/>
            <pc:sldMk cId="659755073" sldId="7059"/>
            <ac:spMk id="181" creationId="{AC4DB34B-E653-4712-9D86-FEA1C552574B}"/>
          </ac:spMkLst>
        </pc:spChg>
        <pc:spChg chg="mod topLvl">
          <ac:chgData name="Ugo MANTEL" userId="2d5b7065-31bb-4181-a7f8-a73bf0c30211" providerId="ADAL" clId="{31B83507-AB3E-4FC0-ABF2-C6AE29143B33}" dt="2021-08-27T14:36:14.757" v="43" actId="165"/>
          <ac:spMkLst>
            <pc:docMk/>
            <pc:sldMk cId="659755073" sldId="7059"/>
            <ac:spMk id="183" creationId="{DED03CFB-700D-4E36-BFC3-D2A2E1F7C800}"/>
          </ac:spMkLst>
        </pc:spChg>
        <pc:spChg chg="mod topLvl">
          <ac:chgData name="Ugo MANTEL" userId="2d5b7065-31bb-4181-a7f8-a73bf0c30211" providerId="ADAL" clId="{31B83507-AB3E-4FC0-ABF2-C6AE29143B33}" dt="2021-08-27T14:36:14.757" v="43" actId="165"/>
          <ac:spMkLst>
            <pc:docMk/>
            <pc:sldMk cId="659755073" sldId="7059"/>
            <ac:spMk id="184" creationId="{16927871-EF96-451A-9248-C43162CF8DB3}"/>
          </ac:spMkLst>
        </pc:spChg>
        <pc:spChg chg="mod topLvl">
          <ac:chgData name="Ugo MANTEL" userId="2d5b7065-31bb-4181-a7f8-a73bf0c30211" providerId="ADAL" clId="{31B83507-AB3E-4FC0-ABF2-C6AE29143B33}" dt="2021-08-27T14:36:14.757" v="43" actId="165"/>
          <ac:spMkLst>
            <pc:docMk/>
            <pc:sldMk cId="659755073" sldId="7059"/>
            <ac:spMk id="185" creationId="{3B72AEEA-7E25-456E-9E7D-5018D86BA01A}"/>
          </ac:spMkLst>
        </pc:spChg>
        <pc:spChg chg="mod topLvl">
          <ac:chgData name="Ugo MANTEL" userId="2d5b7065-31bb-4181-a7f8-a73bf0c30211" providerId="ADAL" clId="{31B83507-AB3E-4FC0-ABF2-C6AE29143B33}" dt="2021-08-27T14:36:14.757" v="43" actId="165"/>
          <ac:spMkLst>
            <pc:docMk/>
            <pc:sldMk cId="659755073" sldId="7059"/>
            <ac:spMk id="186" creationId="{4D05203C-5ADA-4160-8AE5-A820A1C25BD6}"/>
          </ac:spMkLst>
        </pc:spChg>
        <pc:spChg chg="mod topLvl">
          <ac:chgData name="Ugo MANTEL" userId="2d5b7065-31bb-4181-a7f8-a73bf0c30211" providerId="ADAL" clId="{31B83507-AB3E-4FC0-ABF2-C6AE29143B33}" dt="2021-08-27T14:36:14.757" v="43" actId="165"/>
          <ac:spMkLst>
            <pc:docMk/>
            <pc:sldMk cId="659755073" sldId="7059"/>
            <ac:spMk id="190" creationId="{EFB54921-E92A-46BA-BF59-94022EEB94C4}"/>
          </ac:spMkLst>
        </pc:spChg>
        <pc:spChg chg="mod topLvl">
          <ac:chgData name="Ugo MANTEL" userId="2d5b7065-31bb-4181-a7f8-a73bf0c30211" providerId="ADAL" clId="{31B83507-AB3E-4FC0-ABF2-C6AE29143B33}" dt="2021-08-27T14:36:14.757" v="43" actId="165"/>
          <ac:spMkLst>
            <pc:docMk/>
            <pc:sldMk cId="659755073" sldId="7059"/>
            <ac:spMk id="193" creationId="{3FEB43FF-FAF8-46CC-A3A3-25F606EC794A}"/>
          </ac:spMkLst>
        </pc:spChg>
        <pc:spChg chg="mod topLvl">
          <ac:chgData name="Ugo MANTEL" userId="2d5b7065-31bb-4181-a7f8-a73bf0c30211" providerId="ADAL" clId="{31B83507-AB3E-4FC0-ABF2-C6AE29143B33}" dt="2021-08-27T14:36:14.757" v="43" actId="165"/>
          <ac:spMkLst>
            <pc:docMk/>
            <pc:sldMk cId="659755073" sldId="7059"/>
            <ac:spMk id="194" creationId="{D60BE7F1-F429-4B66-BF08-CB1CA77FCA3D}"/>
          </ac:spMkLst>
        </pc:spChg>
        <pc:spChg chg="mod">
          <ac:chgData name="Ugo MANTEL" userId="2d5b7065-31bb-4181-a7f8-a73bf0c30211" providerId="ADAL" clId="{31B83507-AB3E-4FC0-ABF2-C6AE29143B33}" dt="2021-08-27T14:36:14.757" v="43" actId="165"/>
          <ac:spMkLst>
            <pc:docMk/>
            <pc:sldMk cId="659755073" sldId="7059"/>
            <ac:spMk id="203" creationId="{8F24D87D-B2A0-408E-B250-AFB86C36FC62}"/>
          </ac:spMkLst>
        </pc:spChg>
        <pc:spChg chg="mod">
          <ac:chgData name="Ugo MANTEL" userId="2d5b7065-31bb-4181-a7f8-a73bf0c30211" providerId="ADAL" clId="{31B83507-AB3E-4FC0-ABF2-C6AE29143B33}" dt="2021-08-27T14:36:14.757" v="43" actId="165"/>
          <ac:spMkLst>
            <pc:docMk/>
            <pc:sldMk cId="659755073" sldId="7059"/>
            <ac:spMk id="204" creationId="{8B14F1CD-4C9B-486D-8B80-86A1B32EA510}"/>
          </ac:spMkLst>
        </pc:spChg>
        <pc:spChg chg="mod">
          <ac:chgData name="Ugo MANTEL" userId="2d5b7065-31bb-4181-a7f8-a73bf0c30211" providerId="ADAL" clId="{31B83507-AB3E-4FC0-ABF2-C6AE29143B33}" dt="2021-08-27T14:36:14.757" v="43" actId="165"/>
          <ac:spMkLst>
            <pc:docMk/>
            <pc:sldMk cId="659755073" sldId="7059"/>
            <ac:spMk id="206" creationId="{61D51BE7-8766-494B-AC63-3B76C84B59FD}"/>
          </ac:spMkLst>
        </pc:spChg>
        <pc:spChg chg="mod">
          <ac:chgData name="Ugo MANTEL" userId="2d5b7065-31bb-4181-a7f8-a73bf0c30211" providerId="ADAL" clId="{31B83507-AB3E-4FC0-ABF2-C6AE29143B33}" dt="2021-08-27T14:36:14.757" v="43" actId="165"/>
          <ac:spMkLst>
            <pc:docMk/>
            <pc:sldMk cId="659755073" sldId="7059"/>
            <ac:spMk id="207" creationId="{ADEC5829-6E38-4EDC-AA93-03D2AA75D534}"/>
          </ac:spMkLst>
        </pc:spChg>
        <pc:spChg chg="mod">
          <ac:chgData name="Ugo MANTEL" userId="2d5b7065-31bb-4181-a7f8-a73bf0c30211" providerId="ADAL" clId="{31B83507-AB3E-4FC0-ABF2-C6AE29143B33}" dt="2021-08-27T14:36:14.757" v="43" actId="165"/>
          <ac:spMkLst>
            <pc:docMk/>
            <pc:sldMk cId="659755073" sldId="7059"/>
            <ac:spMk id="209" creationId="{E71DB6E4-0CBE-4B9A-A55C-A4CF28D7101E}"/>
          </ac:spMkLst>
        </pc:spChg>
        <pc:spChg chg="mod">
          <ac:chgData name="Ugo MANTEL" userId="2d5b7065-31bb-4181-a7f8-a73bf0c30211" providerId="ADAL" clId="{31B83507-AB3E-4FC0-ABF2-C6AE29143B33}" dt="2021-08-27T14:36:14.757" v="43" actId="165"/>
          <ac:spMkLst>
            <pc:docMk/>
            <pc:sldMk cId="659755073" sldId="7059"/>
            <ac:spMk id="210" creationId="{1BA34E47-76E4-4751-AE5E-4D5F6B75D5E7}"/>
          </ac:spMkLst>
        </pc:spChg>
        <pc:spChg chg="mod">
          <ac:chgData name="Ugo MANTEL" userId="2d5b7065-31bb-4181-a7f8-a73bf0c30211" providerId="ADAL" clId="{31B83507-AB3E-4FC0-ABF2-C6AE29143B33}" dt="2021-08-27T14:36:14.757" v="43" actId="165"/>
          <ac:spMkLst>
            <pc:docMk/>
            <pc:sldMk cId="659755073" sldId="7059"/>
            <ac:spMk id="212" creationId="{824D6491-4EAF-4928-93E2-11792B5EDF54}"/>
          </ac:spMkLst>
        </pc:spChg>
        <pc:spChg chg="mod">
          <ac:chgData name="Ugo MANTEL" userId="2d5b7065-31bb-4181-a7f8-a73bf0c30211" providerId="ADAL" clId="{31B83507-AB3E-4FC0-ABF2-C6AE29143B33}" dt="2021-08-27T14:36:14.757" v="43" actId="165"/>
          <ac:spMkLst>
            <pc:docMk/>
            <pc:sldMk cId="659755073" sldId="7059"/>
            <ac:spMk id="215" creationId="{C3CDEC37-22A8-49B9-9685-E3C57534E2EE}"/>
          </ac:spMkLst>
        </pc:spChg>
        <pc:spChg chg="mod">
          <ac:chgData name="Ugo MANTEL" userId="2d5b7065-31bb-4181-a7f8-a73bf0c30211" providerId="ADAL" clId="{31B83507-AB3E-4FC0-ABF2-C6AE29143B33}" dt="2021-08-27T14:36:14.757" v="43" actId="165"/>
          <ac:spMkLst>
            <pc:docMk/>
            <pc:sldMk cId="659755073" sldId="7059"/>
            <ac:spMk id="218" creationId="{275C9947-B21E-4431-8FDF-58D67AA835B7}"/>
          </ac:spMkLst>
        </pc:spChg>
        <pc:spChg chg="mod topLvl">
          <ac:chgData name="Ugo MANTEL" userId="2d5b7065-31bb-4181-a7f8-a73bf0c30211" providerId="ADAL" clId="{31B83507-AB3E-4FC0-ABF2-C6AE29143B33}" dt="2021-08-27T14:36:14.757" v="43" actId="165"/>
          <ac:spMkLst>
            <pc:docMk/>
            <pc:sldMk cId="659755073" sldId="7059"/>
            <ac:spMk id="220" creationId="{6CA62E96-D2CE-4E36-B548-E66F8EC39ACE}"/>
          </ac:spMkLst>
        </pc:spChg>
        <pc:spChg chg="mod topLvl">
          <ac:chgData name="Ugo MANTEL" userId="2d5b7065-31bb-4181-a7f8-a73bf0c30211" providerId="ADAL" clId="{31B83507-AB3E-4FC0-ABF2-C6AE29143B33}" dt="2021-08-27T14:36:14.757" v="43" actId="165"/>
          <ac:spMkLst>
            <pc:docMk/>
            <pc:sldMk cId="659755073" sldId="7059"/>
            <ac:spMk id="221" creationId="{784B5EEC-96F9-4B35-B967-5D8534E691AB}"/>
          </ac:spMkLst>
        </pc:spChg>
        <pc:spChg chg="mod topLvl">
          <ac:chgData name="Ugo MANTEL" userId="2d5b7065-31bb-4181-a7f8-a73bf0c30211" providerId="ADAL" clId="{31B83507-AB3E-4FC0-ABF2-C6AE29143B33}" dt="2021-08-27T14:36:14.757" v="43" actId="165"/>
          <ac:spMkLst>
            <pc:docMk/>
            <pc:sldMk cId="659755073" sldId="7059"/>
            <ac:spMk id="222" creationId="{FA8966E5-B684-448C-9F4E-ADDFD7FBBAD0}"/>
          </ac:spMkLst>
        </pc:spChg>
        <pc:spChg chg="mod topLvl">
          <ac:chgData name="Ugo MANTEL" userId="2d5b7065-31bb-4181-a7f8-a73bf0c30211" providerId="ADAL" clId="{31B83507-AB3E-4FC0-ABF2-C6AE29143B33}" dt="2021-08-27T14:36:14.757" v="43" actId="165"/>
          <ac:spMkLst>
            <pc:docMk/>
            <pc:sldMk cId="659755073" sldId="7059"/>
            <ac:spMk id="223" creationId="{4E07C692-306B-4EF6-B26A-7DEBE84F53FC}"/>
          </ac:spMkLst>
        </pc:spChg>
        <pc:spChg chg="mod topLvl">
          <ac:chgData name="Ugo MANTEL" userId="2d5b7065-31bb-4181-a7f8-a73bf0c30211" providerId="ADAL" clId="{31B83507-AB3E-4FC0-ABF2-C6AE29143B33}" dt="2021-08-27T14:36:14.757" v="43" actId="165"/>
          <ac:spMkLst>
            <pc:docMk/>
            <pc:sldMk cId="659755073" sldId="7059"/>
            <ac:spMk id="224" creationId="{70C80ECF-BCAD-4094-8BE3-2C42DC8D660F}"/>
          </ac:spMkLst>
        </pc:spChg>
        <pc:spChg chg="mod topLvl">
          <ac:chgData name="Ugo MANTEL" userId="2d5b7065-31bb-4181-a7f8-a73bf0c30211" providerId="ADAL" clId="{31B83507-AB3E-4FC0-ABF2-C6AE29143B33}" dt="2021-08-27T14:36:14.757" v="43" actId="165"/>
          <ac:spMkLst>
            <pc:docMk/>
            <pc:sldMk cId="659755073" sldId="7059"/>
            <ac:spMk id="225" creationId="{46A17EF3-BF25-42FD-AE94-68E9A76B3E6F}"/>
          </ac:spMkLst>
        </pc:spChg>
        <pc:spChg chg="mod topLvl">
          <ac:chgData name="Ugo MANTEL" userId="2d5b7065-31bb-4181-a7f8-a73bf0c30211" providerId="ADAL" clId="{31B83507-AB3E-4FC0-ABF2-C6AE29143B33}" dt="2021-08-27T14:36:14.757" v="43" actId="165"/>
          <ac:spMkLst>
            <pc:docMk/>
            <pc:sldMk cId="659755073" sldId="7059"/>
            <ac:spMk id="226" creationId="{437394EA-E0E0-414A-A443-C8713F711338}"/>
          </ac:spMkLst>
        </pc:spChg>
        <pc:spChg chg="mod topLvl">
          <ac:chgData name="Ugo MANTEL" userId="2d5b7065-31bb-4181-a7f8-a73bf0c30211" providerId="ADAL" clId="{31B83507-AB3E-4FC0-ABF2-C6AE29143B33}" dt="2021-08-27T14:36:14.757" v="43" actId="165"/>
          <ac:spMkLst>
            <pc:docMk/>
            <pc:sldMk cId="659755073" sldId="7059"/>
            <ac:spMk id="227" creationId="{59C3D538-3BB2-4AE8-84F7-B2F720C2968D}"/>
          </ac:spMkLst>
        </pc:spChg>
        <pc:spChg chg="mod topLvl">
          <ac:chgData name="Ugo MANTEL" userId="2d5b7065-31bb-4181-a7f8-a73bf0c30211" providerId="ADAL" clId="{31B83507-AB3E-4FC0-ABF2-C6AE29143B33}" dt="2021-08-27T14:36:14.757" v="43" actId="165"/>
          <ac:spMkLst>
            <pc:docMk/>
            <pc:sldMk cId="659755073" sldId="7059"/>
            <ac:spMk id="230" creationId="{ECB1F766-EE25-4434-9A0B-BAAEAA3AB6FC}"/>
          </ac:spMkLst>
        </pc:spChg>
        <pc:spChg chg="mod topLvl">
          <ac:chgData name="Ugo MANTEL" userId="2d5b7065-31bb-4181-a7f8-a73bf0c30211" providerId="ADAL" clId="{31B83507-AB3E-4FC0-ABF2-C6AE29143B33}" dt="2021-08-27T14:36:14.757" v="43" actId="165"/>
          <ac:spMkLst>
            <pc:docMk/>
            <pc:sldMk cId="659755073" sldId="7059"/>
            <ac:spMk id="231" creationId="{67A90DF4-CA11-47CE-880B-47A55CACEE52}"/>
          </ac:spMkLst>
        </pc:spChg>
        <pc:spChg chg="mod topLvl">
          <ac:chgData name="Ugo MANTEL" userId="2d5b7065-31bb-4181-a7f8-a73bf0c30211" providerId="ADAL" clId="{31B83507-AB3E-4FC0-ABF2-C6AE29143B33}" dt="2021-08-27T14:36:14.757" v="43" actId="165"/>
          <ac:spMkLst>
            <pc:docMk/>
            <pc:sldMk cId="659755073" sldId="7059"/>
            <ac:spMk id="233" creationId="{C2905768-456D-4588-A84A-97ECF5F1E111}"/>
          </ac:spMkLst>
        </pc:spChg>
        <pc:spChg chg="mod topLvl">
          <ac:chgData name="Ugo MANTEL" userId="2d5b7065-31bb-4181-a7f8-a73bf0c30211" providerId="ADAL" clId="{31B83507-AB3E-4FC0-ABF2-C6AE29143B33}" dt="2021-08-27T14:36:14.757" v="43" actId="165"/>
          <ac:spMkLst>
            <pc:docMk/>
            <pc:sldMk cId="659755073" sldId="7059"/>
            <ac:spMk id="234" creationId="{571C786D-2DAE-4A3B-8D5C-8D3CB56E55D3}"/>
          </ac:spMkLst>
        </pc:spChg>
        <pc:spChg chg="mod topLvl">
          <ac:chgData name="Ugo MANTEL" userId="2d5b7065-31bb-4181-a7f8-a73bf0c30211" providerId="ADAL" clId="{31B83507-AB3E-4FC0-ABF2-C6AE29143B33}" dt="2021-08-27T14:36:14.757" v="43" actId="165"/>
          <ac:spMkLst>
            <pc:docMk/>
            <pc:sldMk cId="659755073" sldId="7059"/>
            <ac:spMk id="239" creationId="{8BB0FC62-D1FC-449E-8E04-7D24C920B5E4}"/>
          </ac:spMkLst>
        </pc:spChg>
        <pc:spChg chg="mod topLvl">
          <ac:chgData name="Ugo MANTEL" userId="2d5b7065-31bb-4181-a7f8-a73bf0c30211" providerId="ADAL" clId="{31B83507-AB3E-4FC0-ABF2-C6AE29143B33}" dt="2021-08-27T14:36:14.757" v="43" actId="165"/>
          <ac:spMkLst>
            <pc:docMk/>
            <pc:sldMk cId="659755073" sldId="7059"/>
            <ac:spMk id="247" creationId="{7E402868-D58F-4E16-81D9-87D15AAB7A41}"/>
          </ac:spMkLst>
        </pc:spChg>
        <pc:spChg chg="mod topLvl">
          <ac:chgData name="Ugo MANTEL" userId="2d5b7065-31bb-4181-a7f8-a73bf0c30211" providerId="ADAL" clId="{31B83507-AB3E-4FC0-ABF2-C6AE29143B33}" dt="2021-08-27T14:36:14.757" v="43" actId="165"/>
          <ac:spMkLst>
            <pc:docMk/>
            <pc:sldMk cId="659755073" sldId="7059"/>
            <ac:spMk id="248" creationId="{A8E1AE40-657F-41DB-B827-601C9890CCB5}"/>
          </ac:spMkLst>
        </pc:spChg>
        <pc:spChg chg="mod topLvl">
          <ac:chgData name="Ugo MANTEL" userId="2d5b7065-31bb-4181-a7f8-a73bf0c30211" providerId="ADAL" clId="{31B83507-AB3E-4FC0-ABF2-C6AE29143B33}" dt="2021-08-27T14:36:14.757" v="43" actId="165"/>
          <ac:spMkLst>
            <pc:docMk/>
            <pc:sldMk cId="659755073" sldId="7059"/>
            <ac:spMk id="249" creationId="{46FA2988-C248-4387-8D81-CFF0FA5696FB}"/>
          </ac:spMkLst>
        </pc:spChg>
        <pc:spChg chg="mod topLvl">
          <ac:chgData name="Ugo MANTEL" userId="2d5b7065-31bb-4181-a7f8-a73bf0c30211" providerId="ADAL" clId="{31B83507-AB3E-4FC0-ABF2-C6AE29143B33}" dt="2021-08-27T14:36:14.757" v="43" actId="165"/>
          <ac:spMkLst>
            <pc:docMk/>
            <pc:sldMk cId="659755073" sldId="7059"/>
            <ac:spMk id="250" creationId="{01A2F0C1-3330-4E8A-AE52-E90EDC972A50}"/>
          </ac:spMkLst>
        </pc:spChg>
        <pc:spChg chg="mod topLvl">
          <ac:chgData name="Ugo MANTEL" userId="2d5b7065-31bb-4181-a7f8-a73bf0c30211" providerId="ADAL" clId="{31B83507-AB3E-4FC0-ABF2-C6AE29143B33}" dt="2021-08-27T14:36:14.757" v="43" actId="165"/>
          <ac:spMkLst>
            <pc:docMk/>
            <pc:sldMk cId="659755073" sldId="7059"/>
            <ac:spMk id="251" creationId="{4455E638-E9EF-4F3C-B119-B048BF292A0F}"/>
          </ac:spMkLst>
        </pc:spChg>
        <pc:spChg chg="mod topLvl">
          <ac:chgData name="Ugo MANTEL" userId="2d5b7065-31bb-4181-a7f8-a73bf0c30211" providerId="ADAL" clId="{31B83507-AB3E-4FC0-ABF2-C6AE29143B33}" dt="2021-08-27T14:36:14.757" v="43" actId="165"/>
          <ac:spMkLst>
            <pc:docMk/>
            <pc:sldMk cId="659755073" sldId="7059"/>
            <ac:spMk id="252" creationId="{53C71C90-2C71-4091-A1EB-1E0D051FE238}"/>
          </ac:spMkLst>
        </pc:spChg>
        <pc:spChg chg="mod topLvl">
          <ac:chgData name="Ugo MANTEL" userId="2d5b7065-31bb-4181-a7f8-a73bf0c30211" providerId="ADAL" clId="{31B83507-AB3E-4FC0-ABF2-C6AE29143B33}" dt="2021-08-27T14:36:14.757" v="43" actId="165"/>
          <ac:spMkLst>
            <pc:docMk/>
            <pc:sldMk cId="659755073" sldId="7059"/>
            <ac:spMk id="253" creationId="{C707FA94-E038-4709-BC8A-FA31C6B4C5D1}"/>
          </ac:spMkLst>
        </pc:spChg>
        <pc:spChg chg="mod topLvl">
          <ac:chgData name="Ugo MANTEL" userId="2d5b7065-31bb-4181-a7f8-a73bf0c30211" providerId="ADAL" clId="{31B83507-AB3E-4FC0-ABF2-C6AE29143B33}" dt="2021-08-27T14:36:14.757" v="43" actId="165"/>
          <ac:spMkLst>
            <pc:docMk/>
            <pc:sldMk cId="659755073" sldId="7059"/>
            <ac:spMk id="257" creationId="{91A1B468-D5F2-47EF-B72B-1A21B947381E}"/>
          </ac:spMkLst>
        </pc:spChg>
        <pc:grpChg chg="add del mod">
          <ac:chgData name="Ugo MANTEL" userId="2d5b7065-31bb-4181-a7f8-a73bf0c30211" providerId="ADAL" clId="{31B83507-AB3E-4FC0-ABF2-C6AE29143B33}" dt="2021-08-27T14:36:14.757" v="43" actId="165"/>
          <ac:grpSpMkLst>
            <pc:docMk/>
            <pc:sldMk cId="659755073" sldId="7059"/>
            <ac:grpSpMk id="2" creationId="{BEF46810-E74A-46FC-906E-EC7B565804E5}"/>
          </ac:grpSpMkLst>
        </pc:grpChg>
        <pc:grpChg chg="mod topLvl">
          <ac:chgData name="Ugo MANTEL" userId="2d5b7065-31bb-4181-a7f8-a73bf0c30211" providerId="ADAL" clId="{31B83507-AB3E-4FC0-ABF2-C6AE29143B33}" dt="2021-08-27T14:36:14.757" v="43" actId="165"/>
          <ac:grpSpMkLst>
            <pc:docMk/>
            <pc:sldMk cId="659755073" sldId="7059"/>
            <ac:grpSpMk id="202" creationId="{401B8A5E-A9D7-4A60-BE9A-E4AF8F467468}"/>
          </ac:grpSpMkLst>
        </pc:grpChg>
        <pc:grpChg chg="mod topLvl">
          <ac:chgData name="Ugo MANTEL" userId="2d5b7065-31bb-4181-a7f8-a73bf0c30211" providerId="ADAL" clId="{31B83507-AB3E-4FC0-ABF2-C6AE29143B33}" dt="2021-08-27T14:36:14.757" v="43" actId="165"/>
          <ac:grpSpMkLst>
            <pc:docMk/>
            <pc:sldMk cId="659755073" sldId="7059"/>
            <ac:grpSpMk id="205" creationId="{E8E44852-C242-4F0B-9998-4001644472DD}"/>
          </ac:grpSpMkLst>
        </pc:grpChg>
        <pc:grpChg chg="mod topLvl">
          <ac:chgData name="Ugo MANTEL" userId="2d5b7065-31bb-4181-a7f8-a73bf0c30211" providerId="ADAL" clId="{31B83507-AB3E-4FC0-ABF2-C6AE29143B33}" dt="2021-08-27T14:36:14.757" v="43" actId="165"/>
          <ac:grpSpMkLst>
            <pc:docMk/>
            <pc:sldMk cId="659755073" sldId="7059"/>
            <ac:grpSpMk id="208" creationId="{B63312A5-FA30-4479-B75F-CAD1E13E78D1}"/>
          </ac:grpSpMkLst>
        </pc:grpChg>
        <pc:grpChg chg="mod topLvl">
          <ac:chgData name="Ugo MANTEL" userId="2d5b7065-31bb-4181-a7f8-a73bf0c30211" providerId="ADAL" clId="{31B83507-AB3E-4FC0-ABF2-C6AE29143B33}" dt="2021-08-27T14:36:14.757" v="43" actId="165"/>
          <ac:grpSpMkLst>
            <pc:docMk/>
            <pc:sldMk cId="659755073" sldId="7059"/>
            <ac:grpSpMk id="211" creationId="{07D05B72-827C-4B6D-A015-8CC1659CBB73}"/>
          </ac:grpSpMkLst>
        </pc:grpChg>
        <pc:grpChg chg="mod topLvl">
          <ac:chgData name="Ugo MANTEL" userId="2d5b7065-31bb-4181-a7f8-a73bf0c30211" providerId="ADAL" clId="{31B83507-AB3E-4FC0-ABF2-C6AE29143B33}" dt="2021-08-27T14:36:14.757" v="43" actId="165"/>
          <ac:grpSpMkLst>
            <pc:docMk/>
            <pc:sldMk cId="659755073" sldId="7059"/>
            <ac:grpSpMk id="214" creationId="{88F3C6CA-3EF8-415A-8B17-0992E238FEB5}"/>
          </ac:grpSpMkLst>
        </pc:grpChg>
        <pc:grpChg chg="mod topLvl">
          <ac:chgData name="Ugo MANTEL" userId="2d5b7065-31bb-4181-a7f8-a73bf0c30211" providerId="ADAL" clId="{31B83507-AB3E-4FC0-ABF2-C6AE29143B33}" dt="2021-08-27T14:36:14.757" v="43" actId="165"/>
          <ac:grpSpMkLst>
            <pc:docMk/>
            <pc:sldMk cId="659755073" sldId="7059"/>
            <ac:grpSpMk id="217" creationId="{6974C6AE-07C0-479E-ADC7-647DB7DD5608}"/>
          </ac:grpSpMkLst>
        </pc:grpChg>
        <pc:picChg chg="mod topLvl">
          <ac:chgData name="Ugo MANTEL" userId="2d5b7065-31bb-4181-a7f8-a73bf0c30211" providerId="ADAL" clId="{31B83507-AB3E-4FC0-ABF2-C6AE29143B33}" dt="2021-08-27T14:36:14.757" v="43" actId="165"/>
          <ac:picMkLst>
            <pc:docMk/>
            <pc:sldMk cId="659755073" sldId="7059"/>
            <ac:picMk id="187" creationId="{3B1F245C-EA85-4C43-9A55-49C9CAB5E966}"/>
          </ac:picMkLst>
        </pc:picChg>
        <pc:picChg chg="mod topLvl">
          <ac:chgData name="Ugo MANTEL" userId="2d5b7065-31bb-4181-a7f8-a73bf0c30211" providerId="ADAL" clId="{31B83507-AB3E-4FC0-ABF2-C6AE29143B33}" dt="2021-08-27T14:36:14.757" v="43" actId="165"/>
          <ac:picMkLst>
            <pc:docMk/>
            <pc:sldMk cId="659755073" sldId="7059"/>
            <ac:picMk id="188" creationId="{BBBE86B3-5B4F-43FC-9180-8C20F810C4BE}"/>
          </ac:picMkLst>
        </pc:picChg>
        <pc:picChg chg="mod topLvl">
          <ac:chgData name="Ugo MANTEL" userId="2d5b7065-31bb-4181-a7f8-a73bf0c30211" providerId="ADAL" clId="{31B83507-AB3E-4FC0-ABF2-C6AE29143B33}" dt="2021-08-27T14:36:14.757" v="43" actId="165"/>
          <ac:picMkLst>
            <pc:docMk/>
            <pc:sldMk cId="659755073" sldId="7059"/>
            <ac:picMk id="192" creationId="{3503C244-102A-4793-8111-A305EF50B056}"/>
          </ac:picMkLst>
        </pc:picChg>
        <pc:picChg chg="mod topLvl">
          <ac:chgData name="Ugo MANTEL" userId="2d5b7065-31bb-4181-a7f8-a73bf0c30211" providerId="ADAL" clId="{31B83507-AB3E-4FC0-ABF2-C6AE29143B33}" dt="2021-08-27T14:36:14.757" v="43" actId="165"/>
          <ac:picMkLst>
            <pc:docMk/>
            <pc:sldMk cId="659755073" sldId="7059"/>
            <ac:picMk id="195" creationId="{E6FDE765-CF09-47EA-BCB1-A2A6EB13C31A}"/>
          </ac:picMkLst>
        </pc:picChg>
        <pc:picChg chg="mod topLvl">
          <ac:chgData name="Ugo MANTEL" userId="2d5b7065-31bb-4181-a7f8-a73bf0c30211" providerId="ADAL" clId="{31B83507-AB3E-4FC0-ABF2-C6AE29143B33}" dt="2021-08-27T14:36:14.757" v="43" actId="165"/>
          <ac:picMkLst>
            <pc:docMk/>
            <pc:sldMk cId="659755073" sldId="7059"/>
            <ac:picMk id="196" creationId="{E9981184-541E-43EF-A265-C4FF29E785C9}"/>
          </ac:picMkLst>
        </pc:picChg>
        <pc:picChg chg="mod topLvl">
          <ac:chgData name="Ugo MANTEL" userId="2d5b7065-31bb-4181-a7f8-a73bf0c30211" providerId="ADAL" clId="{31B83507-AB3E-4FC0-ABF2-C6AE29143B33}" dt="2021-08-27T14:36:14.757" v="43" actId="165"/>
          <ac:picMkLst>
            <pc:docMk/>
            <pc:sldMk cId="659755073" sldId="7059"/>
            <ac:picMk id="198" creationId="{7B68BAA5-9CE2-4C7A-B9C4-61ADCACFF592}"/>
          </ac:picMkLst>
        </pc:picChg>
        <pc:picChg chg="mod topLvl">
          <ac:chgData name="Ugo MANTEL" userId="2d5b7065-31bb-4181-a7f8-a73bf0c30211" providerId="ADAL" clId="{31B83507-AB3E-4FC0-ABF2-C6AE29143B33}" dt="2021-08-27T14:36:14.757" v="43" actId="165"/>
          <ac:picMkLst>
            <pc:docMk/>
            <pc:sldMk cId="659755073" sldId="7059"/>
            <ac:picMk id="199" creationId="{3D24C4CF-A34E-47E4-8049-D81B50A56155}"/>
          </ac:picMkLst>
        </pc:picChg>
        <pc:picChg chg="mod topLvl">
          <ac:chgData name="Ugo MANTEL" userId="2d5b7065-31bb-4181-a7f8-a73bf0c30211" providerId="ADAL" clId="{31B83507-AB3E-4FC0-ABF2-C6AE29143B33}" dt="2021-08-27T14:36:14.757" v="43" actId="165"/>
          <ac:picMkLst>
            <pc:docMk/>
            <pc:sldMk cId="659755073" sldId="7059"/>
            <ac:picMk id="201" creationId="{4232B5B0-6195-4DD4-ACEE-5643EC90A5C8}"/>
          </ac:picMkLst>
        </pc:picChg>
        <pc:picChg chg="mod">
          <ac:chgData name="Ugo MANTEL" userId="2d5b7065-31bb-4181-a7f8-a73bf0c30211" providerId="ADAL" clId="{31B83507-AB3E-4FC0-ABF2-C6AE29143B33}" dt="2021-08-27T14:36:14.757" v="43" actId="165"/>
          <ac:picMkLst>
            <pc:docMk/>
            <pc:sldMk cId="659755073" sldId="7059"/>
            <ac:picMk id="213" creationId="{AADDE984-798D-46A0-9485-A14C8433C70E}"/>
          </ac:picMkLst>
        </pc:picChg>
        <pc:picChg chg="mod">
          <ac:chgData name="Ugo MANTEL" userId="2d5b7065-31bb-4181-a7f8-a73bf0c30211" providerId="ADAL" clId="{31B83507-AB3E-4FC0-ABF2-C6AE29143B33}" dt="2021-08-27T14:36:14.757" v="43" actId="165"/>
          <ac:picMkLst>
            <pc:docMk/>
            <pc:sldMk cId="659755073" sldId="7059"/>
            <ac:picMk id="216" creationId="{EDACE5DE-DD7F-46FD-BBA6-C7B7169B6FDF}"/>
          </ac:picMkLst>
        </pc:picChg>
        <pc:picChg chg="mod">
          <ac:chgData name="Ugo MANTEL" userId="2d5b7065-31bb-4181-a7f8-a73bf0c30211" providerId="ADAL" clId="{31B83507-AB3E-4FC0-ABF2-C6AE29143B33}" dt="2021-08-27T14:36:14.757" v="43" actId="165"/>
          <ac:picMkLst>
            <pc:docMk/>
            <pc:sldMk cId="659755073" sldId="7059"/>
            <ac:picMk id="219" creationId="{0A590C88-AC0B-401C-82A6-CD5E0186693B}"/>
          </ac:picMkLst>
        </pc:picChg>
        <pc:picChg chg="mod topLvl">
          <ac:chgData name="Ugo MANTEL" userId="2d5b7065-31bb-4181-a7f8-a73bf0c30211" providerId="ADAL" clId="{31B83507-AB3E-4FC0-ABF2-C6AE29143B33}" dt="2021-08-27T14:36:14.757" v="43" actId="165"/>
          <ac:picMkLst>
            <pc:docMk/>
            <pc:sldMk cId="659755073" sldId="7059"/>
            <ac:picMk id="228" creationId="{0B13241C-854C-4B08-AD43-8988EBFC17F5}"/>
          </ac:picMkLst>
        </pc:picChg>
        <pc:picChg chg="mod topLvl">
          <ac:chgData name="Ugo MANTEL" userId="2d5b7065-31bb-4181-a7f8-a73bf0c30211" providerId="ADAL" clId="{31B83507-AB3E-4FC0-ABF2-C6AE29143B33}" dt="2021-08-27T14:36:14.757" v="43" actId="165"/>
          <ac:picMkLst>
            <pc:docMk/>
            <pc:sldMk cId="659755073" sldId="7059"/>
            <ac:picMk id="229" creationId="{31161503-8E0C-4E4A-A64B-E506D4D002ED}"/>
          </ac:picMkLst>
        </pc:picChg>
        <pc:picChg chg="mod topLvl">
          <ac:chgData name="Ugo MANTEL" userId="2d5b7065-31bb-4181-a7f8-a73bf0c30211" providerId="ADAL" clId="{31B83507-AB3E-4FC0-ABF2-C6AE29143B33}" dt="2021-08-27T14:36:14.757" v="43" actId="165"/>
          <ac:picMkLst>
            <pc:docMk/>
            <pc:sldMk cId="659755073" sldId="7059"/>
            <ac:picMk id="232" creationId="{BE0BF433-FE52-48C0-A5E2-09AC5E2A6B47}"/>
          </ac:picMkLst>
        </pc:picChg>
        <pc:picChg chg="mod topLvl">
          <ac:chgData name="Ugo MANTEL" userId="2d5b7065-31bb-4181-a7f8-a73bf0c30211" providerId="ADAL" clId="{31B83507-AB3E-4FC0-ABF2-C6AE29143B33}" dt="2021-08-27T14:36:14.757" v="43" actId="165"/>
          <ac:picMkLst>
            <pc:docMk/>
            <pc:sldMk cId="659755073" sldId="7059"/>
            <ac:picMk id="235" creationId="{8F196962-4FAE-45AC-AE64-A2FD6A88EC3B}"/>
          </ac:picMkLst>
        </pc:picChg>
        <pc:picChg chg="mod topLvl">
          <ac:chgData name="Ugo MANTEL" userId="2d5b7065-31bb-4181-a7f8-a73bf0c30211" providerId="ADAL" clId="{31B83507-AB3E-4FC0-ABF2-C6AE29143B33}" dt="2021-08-27T14:36:14.757" v="43" actId="165"/>
          <ac:picMkLst>
            <pc:docMk/>
            <pc:sldMk cId="659755073" sldId="7059"/>
            <ac:picMk id="246" creationId="{811760C1-99A2-4330-896F-45FDB2630BBB}"/>
          </ac:picMkLst>
        </pc:picChg>
        <pc:picChg chg="mod topLvl">
          <ac:chgData name="Ugo MANTEL" userId="2d5b7065-31bb-4181-a7f8-a73bf0c30211" providerId="ADAL" clId="{31B83507-AB3E-4FC0-ABF2-C6AE29143B33}" dt="2021-08-27T14:36:14.757" v="43" actId="165"/>
          <ac:picMkLst>
            <pc:docMk/>
            <pc:sldMk cId="659755073" sldId="7059"/>
            <ac:picMk id="254" creationId="{7B2D042B-3480-4819-89B3-F7F919C0B096}"/>
          </ac:picMkLst>
        </pc:picChg>
        <pc:picChg chg="mod topLvl">
          <ac:chgData name="Ugo MANTEL" userId="2d5b7065-31bb-4181-a7f8-a73bf0c30211" providerId="ADAL" clId="{31B83507-AB3E-4FC0-ABF2-C6AE29143B33}" dt="2021-08-27T14:36:14.757" v="43" actId="165"/>
          <ac:picMkLst>
            <pc:docMk/>
            <pc:sldMk cId="659755073" sldId="7059"/>
            <ac:picMk id="255" creationId="{8E28230F-C095-43DC-AF31-D408F4777C79}"/>
          </ac:picMkLst>
        </pc:picChg>
        <pc:picChg chg="mod topLvl">
          <ac:chgData name="Ugo MANTEL" userId="2d5b7065-31bb-4181-a7f8-a73bf0c30211" providerId="ADAL" clId="{31B83507-AB3E-4FC0-ABF2-C6AE29143B33}" dt="2021-08-27T14:36:14.757" v="43" actId="165"/>
          <ac:picMkLst>
            <pc:docMk/>
            <pc:sldMk cId="659755073" sldId="7059"/>
            <ac:picMk id="256" creationId="{CCEAA255-5888-49F5-AF29-C2DAEE3412E3}"/>
          </ac:picMkLst>
        </pc:picChg>
        <pc:picChg chg="mod topLvl">
          <ac:chgData name="Ugo MANTEL" userId="2d5b7065-31bb-4181-a7f8-a73bf0c30211" providerId="ADAL" clId="{31B83507-AB3E-4FC0-ABF2-C6AE29143B33}" dt="2021-08-27T14:36:14.757" v="43" actId="165"/>
          <ac:picMkLst>
            <pc:docMk/>
            <pc:sldMk cId="659755073" sldId="7059"/>
            <ac:picMk id="258" creationId="{6F622106-853D-48B5-9583-10BC847E86A3}"/>
          </ac:picMkLst>
        </pc:picChg>
        <pc:cxnChg chg="mod topLvl">
          <ac:chgData name="Ugo MANTEL" userId="2d5b7065-31bb-4181-a7f8-a73bf0c30211" providerId="ADAL" clId="{31B83507-AB3E-4FC0-ABF2-C6AE29143B33}" dt="2021-08-27T14:36:14.757" v="43" actId="165"/>
          <ac:cxnSpMkLst>
            <pc:docMk/>
            <pc:sldMk cId="659755073" sldId="7059"/>
            <ac:cxnSpMk id="169" creationId="{8D0B4D47-C49F-4A11-99BC-BE82B46B8D63}"/>
          </ac:cxnSpMkLst>
        </pc:cxnChg>
        <pc:cxnChg chg="mod topLvl">
          <ac:chgData name="Ugo MANTEL" userId="2d5b7065-31bb-4181-a7f8-a73bf0c30211" providerId="ADAL" clId="{31B83507-AB3E-4FC0-ABF2-C6AE29143B33}" dt="2021-08-27T14:36:14.757" v="43" actId="165"/>
          <ac:cxnSpMkLst>
            <pc:docMk/>
            <pc:sldMk cId="659755073" sldId="7059"/>
            <ac:cxnSpMk id="176" creationId="{DA4CB311-33F7-45AF-B8B6-CB692BCB67C1}"/>
          </ac:cxnSpMkLst>
        </pc:cxnChg>
        <pc:cxnChg chg="mod topLvl">
          <ac:chgData name="Ugo MANTEL" userId="2d5b7065-31bb-4181-a7f8-a73bf0c30211" providerId="ADAL" clId="{31B83507-AB3E-4FC0-ABF2-C6AE29143B33}" dt="2021-08-27T14:36:14.757" v="43" actId="165"/>
          <ac:cxnSpMkLst>
            <pc:docMk/>
            <pc:sldMk cId="659755073" sldId="7059"/>
            <ac:cxnSpMk id="236" creationId="{DDE6FEDF-8182-4C3A-8D1D-825F15643136}"/>
          </ac:cxnSpMkLst>
        </pc:cxnChg>
        <pc:cxnChg chg="mod topLvl">
          <ac:chgData name="Ugo MANTEL" userId="2d5b7065-31bb-4181-a7f8-a73bf0c30211" providerId="ADAL" clId="{31B83507-AB3E-4FC0-ABF2-C6AE29143B33}" dt="2021-08-27T14:36:14.757" v="43" actId="165"/>
          <ac:cxnSpMkLst>
            <pc:docMk/>
            <pc:sldMk cId="659755073" sldId="7059"/>
            <ac:cxnSpMk id="237" creationId="{30ACA05F-A3E2-424F-AFA1-BCA2A8E2E561}"/>
          </ac:cxnSpMkLst>
        </pc:cxnChg>
        <pc:cxnChg chg="mod topLvl">
          <ac:chgData name="Ugo MANTEL" userId="2d5b7065-31bb-4181-a7f8-a73bf0c30211" providerId="ADAL" clId="{31B83507-AB3E-4FC0-ABF2-C6AE29143B33}" dt="2021-08-27T14:36:14.757" v="43" actId="165"/>
          <ac:cxnSpMkLst>
            <pc:docMk/>
            <pc:sldMk cId="659755073" sldId="7059"/>
            <ac:cxnSpMk id="238" creationId="{D1E752A3-0A2B-40D5-B52E-7D2AB19F06BF}"/>
          </ac:cxnSpMkLst>
        </pc:cxnChg>
        <pc:cxnChg chg="mod topLvl">
          <ac:chgData name="Ugo MANTEL" userId="2d5b7065-31bb-4181-a7f8-a73bf0c30211" providerId="ADAL" clId="{31B83507-AB3E-4FC0-ABF2-C6AE29143B33}" dt="2021-08-27T14:36:14.757" v="43" actId="165"/>
          <ac:cxnSpMkLst>
            <pc:docMk/>
            <pc:sldMk cId="659755073" sldId="7059"/>
            <ac:cxnSpMk id="240" creationId="{EB608E36-BFB8-4732-8E3E-F60B9F57DCD9}"/>
          </ac:cxnSpMkLst>
        </pc:cxnChg>
        <pc:cxnChg chg="mod topLvl">
          <ac:chgData name="Ugo MANTEL" userId="2d5b7065-31bb-4181-a7f8-a73bf0c30211" providerId="ADAL" clId="{31B83507-AB3E-4FC0-ABF2-C6AE29143B33}" dt="2021-08-27T14:36:14.757" v="43" actId="165"/>
          <ac:cxnSpMkLst>
            <pc:docMk/>
            <pc:sldMk cId="659755073" sldId="7059"/>
            <ac:cxnSpMk id="241" creationId="{BFF15896-7611-4D9F-B3E0-6E4012D16ED0}"/>
          </ac:cxnSpMkLst>
        </pc:cxnChg>
        <pc:cxnChg chg="mod topLvl">
          <ac:chgData name="Ugo MANTEL" userId="2d5b7065-31bb-4181-a7f8-a73bf0c30211" providerId="ADAL" clId="{31B83507-AB3E-4FC0-ABF2-C6AE29143B33}" dt="2021-08-27T14:36:14.757" v="43" actId="165"/>
          <ac:cxnSpMkLst>
            <pc:docMk/>
            <pc:sldMk cId="659755073" sldId="7059"/>
            <ac:cxnSpMk id="242" creationId="{F196B510-5D97-4D57-BABF-58C433B3ADCD}"/>
          </ac:cxnSpMkLst>
        </pc:cxnChg>
        <pc:cxnChg chg="mod topLvl">
          <ac:chgData name="Ugo MANTEL" userId="2d5b7065-31bb-4181-a7f8-a73bf0c30211" providerId="ADAL" clId="{31B83507-AB3E-4FC0-ABF2-C6AE29143B33}" dt="2021-08-27T14:36:14.757" v="43" actId="165"/>
          <ac:cxnSpMkLst>
            <pc:docMk/>
            <pc:sldMk cId="659755073" sldId="7059"/>
            <ac:cxnSpMk id="243" creationId="{E0388EDD-FEFE-4454-9CB5-065256F764C9}"/>
          </ac:cxnSpMkLst>
        </pc:cxnChg>
        <pc:cxnChg chg="mod topLvl">
          <ac:chgData name="Ugo MANTEL" userId="2d5b7065-31bb-4181-a7f8-a73bf0c30211" providerId="ADAL" clId="{31B83507-AB3E-4FC0-ABF2-C6AE29143B33}" dt="2021-08-27T14:36:14.757" v="43" actId="165"/>
          <ac:cxnSpMkLst>
            <pc:docMk/>
            <pc:sldMk cId="659755073" sldId="7059"/>
            <ac:cxnSpMk id="244" creationId="{AF5C0C47-3774-4402-A7EE-3E985A4B0576}"/>
          </ac:cxnSpMkLst>
        </pc:cxnChg>
        <pc:cxnChg chg="mod topLvl">
          <ac:chgData name="Ugo MANTEL" userId="2d5b7065-31bb-4181-a7f8-a73bf0c30211" providerId="ADAL" clId="{31B83507-AB3E-4FC0-ABF2-C6AE29143B33}" dt="2021-08-27T14:36:14.757" v="43" actId="165"/>
          <ac:cxnSpMkLst>
            <pc:docMk/>
            <pc:sldMk cId="659755073" sldId="7059"/>
            <ac:cxnSpMk id="245" creationId="{A67D3A82-6928-4D9E-A92E-46CDC8482991}"/>
          </ac:cxnSpMkLst>
        </pc:cxnChg>
        <pc:cxnChg chg="mod topLvl">
          <ac:chgData name="Ugo MANTEL" userId="2d5b7065-31bb-4181-a7f8-a73bf0c30211" providerId="ADAL" clId="{31B83507-AB3E-4FC0-ABF2-C6AE29143B33}" dt="2021-08-27T14:36:14.757" v="43" actId="165"/>
          <ac:cxnSpMkLst>
            <pc:docMk/>
            <pc:sldMk cId="659755073" sldId="7059"/>
            <ac:cxnSpMk id="259" creationId="{70D0326D-794D-4368-B47C-65D9A7F591CC}"/>
          </ac:cxnSpMkLst>
        </pc:cxnChg>
      </pc:sldChg>
    </pc:docChg>
  </pc:docChgLst>
  <pc:docChgLst>
    <pc:chgData name="Corantin SAVY" userId="02d80846-c2cc-49a1-9d9a-c07680ec6e8d" providerId="ADAL" clId="{BADF2761-D025-4BBE-9C4C-EAA945F94550}"/>
    <pc:docChg chg="undo custSel addSld delSld modSld">
      <pc:chgData name="Corantin SAVY" userId="02d80846-c2cc-49a1-9d9a-c07680ec6e8d" providerId="ADAL" clId="{BADF2761-D025-4BBE-9C4C-EAA945F94550}" dt="2020-10-02T15:14:26.315" v="3588" actId="400"/>
      <pc:docMkLst>
        <pc:docMk/>
      </pc:docMkLst>
      <pc:sldChg chg="modSp mod">
        <pc:chgData name="Corantin SAVY" userId="02d80846-c2cc-49a1-9d9a-c07680ec6e8d" providerId="ADAL" clId="{BADF2761-D025-4BBE-9C4C-EAA945F94550}" dt="2020-10-02T15:14:26.315" v="3588" actId="400"/>
        <pc:sldMkLst>
          <pc:docMk/>
          <pc:sldMk cId="1092298302" sldId="4910"/>
        </pc:sldMkLst>
        <pc:spChg chg="mod">
          <ac:chgData name="Corantin SAVY" userId="02d80846-c2cc-49a1-9d9a-c07680ec6e8d" providerId="ADAL" clId="{BADF2761-D025-4BBE-9C4C-EAA945F94550}" dt="2020-10-02T15:14:26.315" v="3588" actId="400"/>
          <ac:spMkLst>
            <pc:docMk/>
            <pc:sldMk cId="1092298302" sldId="4910"/>
            <ac:spMk id="3" creationId="{486C3A30-C550-4E3D-A6DA-C7934EAAADA5}"/>
          </ac:spMkLst>
        </pc:spChg>
      </pc:sldChg>
      <pc:sldChg chg="modSp mod">
        <pc:chgData name="Corantin SAVY" userId="02d80846-c2cc-49a1-9d9a-c07680ec6e8d" providerId="ADAL" clId="{BADF2761-D025-4BBE-9C4C-EAA945F94550}" dt="2020-10-02T13:33:06.545" v="2868" actId="20577"/>
        <pc:sldMkLst>
          <pc:docMk/>
          <pc:sldMk cId="292603242" sldId="6803"/>
        </pc:sldMkLst>
        <pc:spChg chg="mod">
          <ac:chgData name="Corantin SAVY" userId="02d80846-c2cc-49a1-9d9a-c07680ec6e8d" providerId="ADAL" clId="{BADF2761-D025-4BBE-9C4C-EAA945F94550}" dt="2020-10-02T13:33:06.545" v="2868" actId="20577"/>
          <ac:spMkLst>
            <pc:docMk/>
            <pc:sldMk cId="292603242" sldId="6803"/>
            <ac:spMk id="150" creationId="{4419582F-3374-424F-93D6-8D01FF1BC35E}"/>
          </ac:spMkLst>
        </pc:spChg>
      </pc:sldChg>
      <pc:sldChg chg="addSp delSp modSp mod">
        <pc:chgData name="Corantin SAVY" userId="02d80846-c2cc-49a1-9d9a-c07680ec6e8d" providerId="ADAL" clId="{BADF2761-D025-4BBE-9C4C-EAA945F94550}" dt="2020-10-02T13:24:34.750" v="2856" actId="404"/>
        <pc:sldMkLst>
          <pc:docMk/>
          <pc:sldMk cId="692933560" sldId="6895"/>
        </pc:sldMkLst>
        <pc:spChg chg="mod">
          <ac:chgData name="Corantin SAVY" userId="02d80846-c2cc-49a1-9d9a-c07680ec6e8d" providerId="ADAL" clId="{BADF2761-D025-4BBE-9C4C-EAA945F94550}" dt="2020-10-02T13:20:29.609" v="2780" actId="1076"/>
          <ac:spMkLst>
            <pc:docMk/>
            <pc:sldMk cId="692933560" sldId="6895"/>
            <ac:spMk id="4" creationId="{44D8DD85-ECA3-4FEE-AE13-8EFB70CB02F7}"/>
          </ac:spMkLst>
        </pc:spChg>
        <pc:spChg chg="mod">
          <ac:chgData name="Corantin SAVY" userId="02d80846-c2cc-49a1-9d9a-c07680ec6e8d" providerId="ADAL" clId="{BADF2761-D025-4BBE-9C4C-EAA945F94550}" dt="2020-10-02T10:38:44.729" v="747" actId="20577"/>
          <ac:spMkLst>
            <pc:docMk/>
            <pc:sldMk cId="692933560" sldId="6895"/>
            <ac:spMk id="24" creationId="{14E5BD6B-24E8-46B4-B66B-093EFC797D55}"/>
          </ac:spMkLst>
        </pc:spChg>
        <pc:spChg chg="mod">
          <ac:chgData name="Corantin SAVY" userId="02d80846-c2cc-49a1-9d9a-c07680ec6e8d" providerId="ADAL" clId="{BADF2761-D025-4BBE-9C4C-EAA945F94550}" dt="2020-10-02T13:24:34.750" v="2856" actId="404"/>
          <ac:spMkLst>
            <pc:docMk/>
            <pc:sldMk cId="692933560" sldId="6895"/>
            <ac:spMk id="30" creationId="{FB01FB5E-0177-4188-AC9C-864FCCE396E7}"/>
          </ac:spMkLst>
        </pc:spChg>
        <pc:spChg chg="mod">
          <ac:chgData name="Corantin SAVY" userId="02d80846-c2cc-49a1-9d9a-c07680ec6e8d" providerId="ADAL" clId="{BADF2761-D025-4BBE-9C4C-EAA945F94550}" dt="2020-10-02T13:24:34.750" v="2856" actId="404"/>
          <ac:spMkLst>
            <pc:docMk/>
            <pc:sldMk cId="692933560" sldId="6895"/>
            <ac:spMk id="104" creationId="{FD85FFAD-67AA-432A-A092-63B328817A7F}"/>
          </ac:spMkLst>
        </pc:spChg>
        <pc:spChg chg="add mod">
          <ac:chgData name="Corantin SAVY" userId="02d80846-c2cc-49a1-9d9a-c07680ec6e8d" providerId="ADAL" clId="{BADF2761-D025-4BBE-9C4C-EAA945F94550}" dt="2020-10-02T13:19:40.155" v="2749" actId="20577"/>
          <ac:spMkLst>
            <pc:docMk/>
            <pc:sldMk cId="692933560" sldId="6895"/>
            <ac:spMk id="105" creationId="{E92375EC-AC16-49B1-A7A3-A8E21EC34E98}"/>
          </ac:spMkLst>
        </pc:spChg>
        <pc:spChg chg="mod">
          <ac:chgData name="Corantin SAVY" userId="02d80846-c2cc-49a1-9d9a-c07680ec6e8d" providerId="ADAL" clId="{BADF2761-D025-4BBE-9C4C-EAA945F94550}" dt="2020-10-02T13:24:34.750" v="2856" actId="404"/>
          <ac:spMkLst>
            <pc:docMk/>
            <pc:sldMk cId="692933560" sldId="6895"/>
            <ac:spMk id="106" creationId="{B668B110-E21A-4E33-B7D0-3E9EA6FF2B07}"/>
          </ac:spMkLst>
        </pc:spChg>
        <pc:spChg chg="mod">
          <ac:chgData name="Corantin SAVY" userId="02d80846-c2cc-49a1-9d9a-c07680ec6e8d" providerId="ADAL" clId="{BADF2761-D025-4BBE-9C4C-EAA945F94550}" dt="2020-10-02T13:24:34.750" v="2856" actId="404"/>
          <ac:spMkLst>
            <pc:docMk/>
            <pc:sldMk cId="692933560" sldId="6895"/>
            <ac:spMk id="107" creationId="{F14D22FD-4BD9-4538-8DEB-2884AD708E40}"/>
          </ac:spMkLst>
        </pc:spChg>
        <pc:spChg chg="mod">
          <ac:chgData name="Corantin SAVY" userId="02d80846-c2cc-49a1-9d9a-c07680ec6e8d" providerId="ADAL" clId="{BADF2761-D025-4BBE-9C4C-EAA945F94550}" dt="2020-10-02T13:24:34.750" v="2856" actId="404"/>
          <ac:spMkLst>
            <pc:docMk/>
            <pc:sldMk cId="692933560" sldId="6895"/>
            <ac:spMk id="108" creationId="{DA1538A2-EB70-4130-B00A-E860707A51AD}"/>
          </ac:spMkLst>
        </pc:spChg>
        <pc:spChg chg="mod">
          <ac:chgData name="Corantin SAVY" userId="02d80846-c2cc-49a1-9d9a-c07680ec6e8d" providerId="ADAL" clId="{BADF2761-D025-4BBE-9C4C-EAA945F94550}" dt="2020-10-02T13:24:34.750" v="2856" actId="404"/>
          <ac:spMkLst>
            <pc:docMk/>
            <pc:sldMk cId="692933560" sldId="6895"/>
            <ac:spMk id="111" creationId="{14008A6E-1532-4CA1-98E0-2031FA688935}"/>
          </ac:spMkLst>
        </pc:spChg>
        <pc:spChg chg="mod">
          <ac:chgData name="Corantin SAVY" userId="02d80846-c2cc-49a1-9d9a-c07680ec6e8d" providerId="ADAL" clId="{BADF2761-D025-4BBE-9C4C-EAA945F94550}" dt="2020-10-02T13:24:34.750" v="2856" actId="404"/>
          <ac:spMkLst>
            <pc:docMk/>
            <pc:sldMk cId="692933560" sldId="6895"/>
            <ac:spMk id="112" creationId="{2FEB3B24-853A-44E3-95A4-6AFD8E1AB29B}"/>
          </ac:spMkLst>
        </pc:spChg>
        <pc:spChg chg="mod">
          <ac:chgData name="Corantin SAVY" userId="02d80846-c2cc-49a1-9d9a-c07680ec6e8d" providerId="ADAL" clId="{BADF2761-D025-4BBE-9C4C-EAA945F94550}" dt="2020-10-02T13:24:34.750" v="2856" actId="404"/>
          <ac:spMkLst>
            <pc:docMk/>
            <pc:sldMk cId="692933560" sldId="6895"/>
            <ac:spMk id="113" creationId="{14DD2408-0C5F-4AC4-8ECE-A2A36344696D}"/>
          </ac:spMkLst>
        </pc:spChg>
        <pc:spChg chg="mod">
          <ac:chgData name="Corantin SAVY" userId="02d80846-c2cc-49a1-9d9a-c07680ec6e8d" providerId="ADAL" clId="{BADF2761-D025-4BBE-9C4C-EAA945F94550}" dt="2020-10-02T13:24:34.750" v="2856" actId="404"/>
          <ac:spMkLst>
            <pc:docMk/>
            <pc:sldMk cId="692933560" sldId="6895"/>
            <ac:spMk id="114" creationId="{A1603E3B-BA87-4E7A-9265-FC5DD3713C42}"/>
          </ac:spMkLst>
        </pc:spChg>
        <pc:spChg chg="mod">
          <ac:chgData name="Corantin SAVY" userId="02d80846-c2cc-49a1-9d9a-c07680ec6e8d" providerId="ADAL" clId="{BADF2761-D025-4BBE-9C4C-EAA945F94550}" dt="2020-10-02T13:24:34.750" v="2856" actId="404"/>
          <ac:spMkLst>
            <pc:docMk/>
            <pc:sldMk cId="692933560" sldId="6895"/>
            <ac:spMk id="115" creationId="{94754636-CF21-4C39-A5D3-912313BB6260}"/>
          </ac:spMkLst>
        </pc:spChg>
        <pc:spChg chg="del mod">
          <ac:chgData name="Corantin SAVY" userId="02d80846-c2cc-49a1-9d9a-c07680ec6e8d" providerId="ADAL" clId="{BADF2761-D025-4BBE-9C4C-EAA945F94550}" dt="2020-10-02T09:03:32.283" v="240" actId="21"/>
          <ac:spMkLst>
            <pc:docMk/>
            <pc:sldMk cId="692933560" sldId="6895"/>
            <ac:spMk id="116" creationId="{CC81AC77-747A-4DF4-8EBA-28CB915B6C8D}"/>
          </ac:spMkLst>
        </pc:spChg>
        <pc:spChg chg="del mod">
          <ac:chgData name="Corantin SAVY" userId="02d80846-c2cc-49a1-9d9a-c07680ec6e8d" providerId="ADAL" clId="{BADF2761-D025-4BBE-9C4C-EAA945F94550}" dt="2020-10-02T09:03:32.283" v="240" actId="21"/>
          <ac:spMkLst>
            <pc:docMk/>
            <pc:sldMk cId="692933560" sldId="6895"/>
            <ac:spMk id="117" creationId="{EB3CC980-D961-41C1-AE18-29F0691B4A88}"/>
          </ac:spMkLst>
        </pc:spChg>
        <pc:spChg chg="del mod">
          <ac:chgData name="Corantin SAVY" userId="02d80846-c2cc-49a1-9d9a-c07680ec6e8d" providerId="ADAL" clId="{BADF2761-D025-4BBE-9C4C-EAA945F94550}" dt="2020-10-02T09:03:32.283" v="240" actId="21"/>
          <ac:spMkLst>
            <pc:docMk/>
            <pc:sldMk cId="692933560" sldId="6895"/>
            <ac:spMk id="118" creationId="{EC5A75AE-FFC0-451D-9F1D-A3F5FEE3E56B}"/>
          </ac:spMkLst>
        </pc:spChg>
        <pc:spChg chg="del mod">
          <ac:chgData name="Corantin SAVY" userId="02d80846-c2cc-49a1-9d9a-c07680ec6e8d" providerId="ADAL" clId="{BADF2761-D025-4BBE-9C4C-EAA945F94550}" dt="2020-10-02T09:03:32.283" v="240" actId="21"/>
          <ac:spMkLst>
            <pc:docMk/>
            <pc:sldMk cId="692933560" sldId="6895"/>
            <ac:spMk id="119" creationId="{6576D780-71D3-4D9C-950A-4A43F9A3B6BD}"/>
          </ac:spMkLst>
        </pc:spChg>
        <pc:spChg chg="del mod">
          <ac:chgData name="Corantin SAVY" userId="02d80846-c2cc-49a1-9d9a-c07680ec6e8d" providerId="ADAL" clId="{BADF2761-D025-4BBE-9C4C-EAA945F94550}" dt="2020-10-02T09:03:32.283" v="240" actId="21"/>
          <ac:spMkLst>
            <pc:docMk/>
            <pc:sldMk cId="692933560" sldId="6895"/>
            <ac:spMk id="120" creationId="{883B3A8C-5DD1-45F7-B840-339E5E2FDA87}"/>
          </ac:spMkLst>
        </pc:spChg>
        <pc:spChg chg="del mod">
          <ac:chgData name="Corantin SAVY" userId="02d80846-c2cc-49a1-9d9a-c07680ec6e8d" providerId="ADAL" clId="{BADF2761-D025-4BBE-9C4C-EAA945F94550}" dt="2020-10-02T09:03:32.283" v="240" actId="21"/>
          <ac:spMkLst>
            <pc:docMk/>
            <pc:sldMk cId="692933560" sldId="6895"/>
            <ac:spMk id="121" creationId="{8C77DB43-0D57-42F7-99BB-A0883847CEB0}"/>
          </ac:spMkLst>
        </pc:spChg>
        <pc:spChg chg="del mod">
          <ac:chgData name="Corantin SAVY" userId="02d80846-c2cc-49a1-9d9a-c07680ec6e8d" providerId="ADAL" clId="{BADF2761-D025-4BBE-9C4C-EAA945F94550}" dt="2020-10-02T09:03:32.283" v="240" actId="21"/>
          <ac:spMkLst>
            <pc:docMk/>
            <pc:sldMk cId="692933560" sldId="6895"/>
            <ac:spMk id="122" creationId="{3D7173C6-61B8-470A-9C50-577A50F78C07}"/>
          </ac:spMkLst>
        </pc:spChg>
        <pc:spChg chg="del mod">
          <ac:chgData name="Corantin SAVY" userId="02d80846-c2cc-49a1-9d9a-c07680ec6e8d" providerId="ADAL" clId="{BADF2761-D025-4BBE-9C4C-EAA945F94550}" dt="2020-10-02T09:03:32.283" v="240" actId="21"/>
          <ac:spMkLst>
            <pc:docMk/>
            <pc:sldMk cId="692933560" sldId="6895"/>
            <ac:spMk id="123" creationId="{F0392B41-9968-4EB1-82B6-A09FDC097A85}"/>
          </ac:spMkLst>
        </pc:spChg>
        <pc:spChg chg="del mod">
          <ac:chgData name="Corantin SAVY" userId="02d80846-c2cc-49a1-9d9a-c07680ec6e8d" providerId="ADAL" clId="{BADF2761-D025-4BBE-9C4C-EAA945F94550}" dt="2020-10-02T09:03:32.283" v="240" actId="21"/>
          <ac:spMkLst>
            <pc:docMk/>
            <pc:sldMk cId="692933560" sldId="6895"/>
            <ac:spMk id="124" creationId="{45653A91-063E-44F2-952A-66E6B39C6C0D}"/>
          </ac:spMkLst>
        </pc:spChg>
        <pc:spChg chg="del mod">
          <ac:chgData name="Corantin SAVY" userId="02d80846-c2cc-49a1-9d9a-c07680ec6e8d" providerId="ADAL" clId="{BADF2761-D025-4BBE-9C4C-EAA945F94550}" dt="2020-10-02T09:03:32.283" v="240" actId="21"/>
          <ac:spMkLst>
            <pc:docMk/>
            <pc:sldMk cId="692933560" sldId="6895"/>
            <ac:spMk id="125" creationId="{C12CB9D4-9E25-45F1-8843-ECF6DB5DB68A}"/>
          </ac:spMkLst>
        </pc:spChg>
        <pc:spChg chg="add mod">
          <ac:chgData name="Corantin SAVY" userId="02d80846-c2cc-49a1-9d9a-c07680ec6e8d" providerId="ADAL" clId="{BADF2761-D025-4BBE-9C4C-EAA945F94550}" dt="2020-10-02T13:20:25.222" v="2779" actId="20577"/>
          <ac:spMkLst>
            <pc:docMk/>
            <pc:sldMk cId="692933560" sldId="6895"/>
            <ac:spMk id="128" creationId="{C0F92185-9C8F-4BA9-8E20-EB8DDC6845CD}"/>
          </ac:spMkLst>
        </pc:spChg>
        <pc:spChg chg="add mod">
          <ac:chgData name="Corantin SAVY" userId="02d80846-c2cc-49a1-9d9a-c07680ec6e8d" providerId="ADAL" clId="{BADF2761-D025-4BBE-9C4C-EAA945F94550}" dt="2020-10-02T13:19:45.634" v="2754" actId="20577"/>
          <ac:spMkLst>
            <pc:docMk/>
            <pc:sldMk cId="692933560" sldId="6895"/>
            <ac:spMk id="149" creationId="{08D37570-30EB-4498-9E35-93598876D4E3}"/>
          </ac:spMkLst>
        </pc:spChg>
        <pc:spChg chg="add mod">
          <ac:chgData name="Corantin SAVY" userId="02d80846-c2cc-49a1-9d9a-c07680ec6e8d" providerId="ADAL" clId="{BADF2761-D025-4BBE-9C4C-EAA945F94550}" dt="2020-10-02T13:19:50.497" v="2758" actId="20577"/>
          <ac:spMkLst>
            <pc:docMk/>
            <pc:sldMk cId="692933560" sldId="6895"/>
            <ac:spMk id="154" creationId="{B19B1ADF-CC50-48C1-88DF-722192706A3A}"/>
          </ac:spMkLst>
        </pc:spChg>
        <pc:spChg chg="add mod">
          <ac:chgData name="Corantin SAVY" userId="02d80846-c2cc-49a1-9d9a-c07680ec6e8d" providerId="ADAL" clId="{BADF2761-D025-4BBE-9C4C-EAA945F94550}" dt="2020-10-02T13:19:58.436" v="2765" actId="20577"/>
          <ac:spMkLst>
            <pc:docMk/>
            <pc:sldMk cId="692933560" sldId="6895"/>
            <ac:spMk id="158" creationId="{00E0A54E-CC87-4D77-BADE-B73A1EDF6FB0}"/>
          </ac:spMkLst>
        </pc:spChg>
        <pc:spChg chg="add mod">
          <ac:chgData name="Corantin SAVY" userId="02d80846-c2cc-49a1-9d9a-c07680ec6e8d" providerId="ADAL" clId="{BADF2761-D025-4BBE-9C4C-EAA945F94550}" dt="2020-10-02T13:20:03.190" v="2767" actId="20577"/>
          <ac:spMkLst>
            <pc:docMk/>
            <pc:sldMk cId="692933560" sldId="6895"/>
            <ac:spMk id="159" creationId="{4432DE0B-F8E8-46C0-B317-D0F87591A648}"/>
          </ac:spMkLst>
        </pc:spChg>
        <pc:spChg chg="add mod">
          <ac:chgData name="Corantin SAVY" userId="02d80846-c2cc-49a1-9d9a-c07680ec6e8d" providerId="ADAL" clId="{BADF2761-D025-4BBE-9C4C-EAA945F94550}" dt="2020-10-02T13:20:08.661" v="2771" actId="20577"/>
          <ac:spMkLst>
            <pc:docMk/>
            <pc:sldMk cId="692933560" sldId="6895"/>
            <ac:spMk id="162" creationId="{B20293F7-2FD4-4117-B8E3-C47A6A364F61}"/>
          </ac:spMkLst>
        </pc:spChg>
        <pc:spChg chg="add mod">
          <ac:chgData name="Corantin SAVY" userId="02d80846-c2cc-49a1-9d9a-c07680ec6e8d" providerId="ADAL" clId="{BADF2761-D025-4BBE-9C4C-EAA945F94550}" dt="2020-10-02T13:20:15.091" v="2773" actId="20577"/>
          <ac:spMkLst>
            <pc:docMk/>
            <pc:sldMk cId="692933560" sldId="6895"/>
            <ac:spMk id="163" creationId="{0B0FCE98-B965-42F7-9055-55144AA964A4}"/>
          </ac:spMkLst>
        </pc:spChg>
        <pc:spChg chg="add mod">
          <ac:chgData name="Corantin SAVY" userId="02d80846-c2cc-49a1-9d9a-c07680ec6e8d" providerId="ADAL" clId="{BADF2761-D025-4BBE-9C4C-EAA945F94550}" dt="2020-10-02T13:20:18.166" v="2775" actId="20577"/>
          <ac:spMkLst>
            <pc:docMk/>
            <pc:sldMk cId="692933560" sldId="6895"/>
            <ac:spMk id="165" creationId="{57445F20-D853-4EFC-A11E-E9185A736D50}"/>
          </ac:spMkLst>
        </pc:spChg>
        <pc:spChg chg="add mod">
          <ac:chgData name="Corantin SAVY" userId="02d80846-c2cc-49a1-9d9a-c07680ec6e8d" providerId="ADAL" clId="{BADF2761-D025-4BBE-9C4C-EAA945F94550}" dt="2020-10-02T13:20:20.987" v="2777" actId="20577"/>
          <ac:spMkLst>
            <pc:docMk/>
            <pc:sldMk cId="692933560" sldId="6895"/>
            <ac:spMk id="166" creationId="{51C0B985-2173-47FE-80E9-59F87780289E}"/>
          </ac:spMkLst>
        </pc:spChg>
      </pc:sldChg>
      <pc:sldChg chg="modSp mod">
        <pc:chgData name="Corantin SAVY" userId="02d80846-c2cc-49a1-9d9a-c07680ec6e8d" providerId="ADAL" clId="{BADF2761-D025-4BBE-9C4C-EAA945F94550}" dt="2020-10-02T11:44:10.838" v="1137" actId="20577"/>
        <pc:sldMkLst>
          <pc:docMk/>
          <pc:sldMk cId="4048367762" sldId="6898"/>
        </pc:sldMkLst>
        <pc:spChg chg="mod">
          <ac:chgData name="Corantin SAVY" userId="02d80846-c2cc-49a1-9d9a-c07680ec6e8d" providerId="ADAL" clId="{BADF2761-D025-4BBE-9C4C-EAA945F94550}" dt="2020-10-02T11:44:10.838" v="1137" actId="20577"/>
          <ac:spMkLst>
            <pc:docMk/>
            <pc:sldMk cId="4048367762" sldId="6898"/>
            <ac:spMk id="7168" creationId="{410B4C42-4F92-43E4-8D9B-0D5F5C262D97}"/>
          </ac:spMkLst>
        </pc:spChg>
      </pc:sldChg>
      <pc:sldChg chg="modSp mod">
        <pc:chgData name="Corantin SAVY" userId="02d80846-c2cc-49a1-9d9a-c07680ec6e8d" providerId="ADAL" clId="{BADF2761-D025-4BBE-9C4C-EAA945F94550}" dt="2020-10-02T13:25:06.001" v="2861" actId="20577"/>
        <pc:sldMkLst>
          <pc:docMk/>
          <pc:sldMk cId="3683193157" sldId="6920"/>
        </pc:sldMkLst>
        <pc:spChg chg="mod">
          <ac:chgData name="Corantin SAVY" userId="02d80846-c2cc-49a1-9d9a-c07680ec6e8d" providerId="ADAL" clId="{BADF2761-D025-4BBE-9C4C-EAA945F94550}" dt="2020-10-02T13:25:06.001" v="2861" actId="20577"/>
          <ac:spMkLst>
            <pc:docMk/>
            <pc:sldMk cId="3683193157" sldId="6920"/>
            <ac:spMk id="65" creationId="{FB2E2AB6-6549-4EE3-85DD-6A07ED6FB51F}"/>
          </ac:spMkLst>
        </pc:spChg>
      </pc:sldChg>
      <pc:sldChg chg="addSp delSp modSp mod">
        <pc:chgData name="Corantin SAVY" userId="02d80846-c2cc-49a1-9d9a-c07680ec6e8d" providerId="ADAL" clId="{BADF2761-D025-4BBE-9C4C-EAA945F94550}" dt="2020-10-02T14:36:58.402" v="3480" actId="478"/>
        <pc:sldMkLst>
          <pc:docMk/>
          <pc:sldMk cId="2819355768" sldId="6948"/>
        </pc:sldMkLst>
        <pc:spChg chg="mod ord">
          <ac:chgData name="Corantin SAVY" userId="02d80846-c2cc-49a1-9d9a-c07680ec6e8d" providerId="ADAL" clId="{BADF2761-D025-4BBE-9C4C-EAA945F94550}" dt="2020-10-02T14:24:45.494" v="3305"/>
          <ac:spMkLst>
            <pc:docMk/>
            <pc:sldMk cId="2819355768" sldId="6948"/>
            <ac:spMk id="3" creationId="{30953E26-7813-417B-AC0B-7AC74C77D79F}"/>
          </ac:spMkLst>
        </pc:spChg>
        <pc:spChg chg="mod ord">
          <ac:chgData name="Corantin SAVY" userId="02d80846-c2cc-49a1-9d9a-c07680ec6e8d" providerId="ADAL" clId="{BADF2761-D025-4BBE-9C4C-EAA945F94550}" dt="2020-10-02T14:24:45.494" v="3297"/>
          <ac:spMkLst>
            <pc:docMk/>
            <pc:sldMk cId="2819355768" sldId="6948"/>
            <ac:spMk id="4" creationId="{CFDA14E9-D9F6-4D44-A466-BF298653DD71}"/>
          </ac:spMkLst>
        </pc:spChg>
        <pc:spChg chg="mod">
          <ac:chgData name="Corantin SAVY" userId="02d80846-c2cc-49a1-9d9a-c07680ec6e8d" providerId="ADAL" clId="{BADF2761-D025-4BBE-9C4C-EAA945F94550}" dt="2020-10-02T13:01:29.149" v="2652" actId="14100"/>
          <ac:spMkLst>
            <pc:docMk/>
            <pc:sldMk cId="2819355768" sldId="6948"/>
            <ac:spMk id="10" creationId="{567C5CCB-51D1-4661-9C48-6394529C706E}"/>
          </ac:spMkLst>
        </pc:spChg>
        <pc:spChg chg="del">
          <ac:chgData name="Corantin SAVY" userId="02d80846-c2cc-49a1-9d9a-c07680ec6e8d" providerId="ADAL" clId="{BADF2761-D025-4BBE-9C4C-EAA945F94550}" dt="2020-10-02T08:26:20.255" v="4" actId="478"/>
          <ac:spMkLst>
            <pc:docMk/>
            <pc:sldMk cId="2819355768" sldId="6948"/>
            <ac:spMk id="11" creationId="{8273BE62-9C2D-445B-B900-BBCC40AF8572}"/>
          </ac:spMkLst>
        </pc:spChg>
        <pc:spChg chg="del">
          <ac:chgData name="Corantin SAVY" userId="02d80846-c2cc-49a1-9d9a-c07680ec6e8d" providerId="ADAL" clId="{BADF2761-D025-4BBE-9C4C-EAA945F94550}" dt="2020-10-02T11:51:28.040" v="1235" actId="478"/>
          <ac:spMkLst>
            <pc:docMk/>
            <pc:sldMk cId="2819355768" sldId="6948"/>
            <ac:spMk id="12" creationId="{16253D6E-9038-4AA0-8615-7B5288F093A1}"/>
          </ac:spMkLst>
        </pc:spChg>
        <pc:spChg chg="mod ord">
          <ac:chgData name="Corantin SAVY" userId="02d80846-c2cc-49a1-9d9a-c07680ec6e8d" providerId="ADAL" clId="{BADF2761-D025-4BBE-9C4C-EAA945F94550}" dt="2020-10-02T14:24:45.494" v="3299"/>
          <ac:spMkLst>
            <pc:docMk/>
            <pc:sldMk cId="2819355768" sldId="6948"/>
            <ac:spMk id="14" creationId="{92FC6C6C-155F-4C1A-890E-114863D14568}"/>
          </ac:spMkLst>
        </pc:spChg>
        <pc:spChg chg="mod ord">
          <ac:chgData name="Corantin SAVY" userId="02d80846-c2cc-49a1-9d9a-c07680ec6e8d" providerId="ADAL" clId="{BADF2761-D025-4BBE-9C4C-EAA945F94550}" dt="2020-10-02T14:24:45.494" v="3307"/>
          <ac:spMkLst>
            <pc:docMk/>
            <pc:sldMk cId="2819355768" sldId="6948"/>
            <ac:spMk id="16" creationId="{EACE795C-C806-425F-8AA4-8EFA6F2CB1B5}"/>
          </ac:spMkLst>
        </pc:spChg>
        <pc:spChg chg="mod">
          <ac:chgData name="Corantin SAVY" userId="02d80846-c2cc-49a1-9d9a-c07680ec6e8d" providerId="ADAL" clId="{BADF2761-D025-4BBE-9C4C-EAA945F94550}" dt="2020-10-02T14:24:45.494" v="3312"/>
          <ac:spMkLst>
            <pc:docMk/>
            <pc:sldMk cId="2819355768" sldId="6948"/>
            <ac:spMk id="32" creationId="{67E6AF95-05B2-4079-804A-A740FD7FD88F}"/>
          </ac:spMkLst>
        </pc:spChg>
        <pc:spChg chg="mod ord">
          <ac:chgData name="Corantin SAVY" userId="02d80846-c2cc-49a1-9d9a-c07680ec6e8d" providerId="ADAL" clId="{BADF2761-D025-4BBE-9C4C-EAA945F94550}" dt="2020-10-02T14:24:45.494" v="3314"/>
          <ac:spMkLst>
            <pc:docMk/>
            <pc:sldMk cId="2819355768" sldId="6948"/>
            <ac:spMk id="33" creationId="{35668BE3-A578-4550-A106-E1FC96FFA984}"/>
          </ac:spMkLst>
        </pc:spChg>
        <pc:spChg chg="mod ord">
          <ac:chgData name="Corantin SAVY" userId="02d80846-c2cc-49a1-9d9a-c07680ec6e8d" providerId="ADAL" clId="{BADF2761-D025-4BBE-9C4C-EAA945F94550}" dt="2020-10-02T14:24:45.494" v="3309"/>
          <ac:spMkLst>
            <pc:docMk/>
            <pc:sldMk cId="2819355768" sldId="6948"/>
            <ac:spMk id="47" creationId="{C85B0421-5BDB-4848-914A-867C2D466E74}"/>
          </ac:spMkLst>
        </pc:spChg>
        <pc:spChg chg="mod ord">
          <ac:chgData name="Corantin SAVY" userId="02d80846-c2cc-49a1-9d9a-c07680ec6e8d" providerId="ADAL" clId="{BADF2761-D025-4BBE-9C4C-EAA945F94550}" dt="2020-10-02T14:24:45.494" v="3311"/>
          <ac:spMkLst>
            <pc:docMk/>
            <pc:sldMk cId="2819355768" sldId="6948"/>
            <ac:spMk id="48" creationId="{4A9A9C35-FBD0-4A84-AAD1-D2EF1546575F}"/>
          </ac:spMkLst>
        </pc:spChg>
        <pc:spChg chg="mod ord">
          <ac:chgData name="Corantin SAVY" userId="02d80846-c2cc-49a1-9d9a-c07680ec6e8d" providerId="ADAL" clId="{BADF2761-D025-4BBE-9C4C-EAA945F94550}" dt="2020-10-02T14:24:45.494" v="3330"/>
          <ac:spMkLst>
            <pc:docMk/>
            <pc:sldMk cId="2819355768" sldId="6948"/>
            <ac:spMk id="95" creationId="{92AD7220-4C75-42B1-A0FA-59E9A0490D1F}"/>
          </ac:spMkLst>
        </pc:spChg>
        <pc:spChg chg="add mod">
          <ac:chgData name="Corantin SAVY" userId="02d80846-c2cc-49a1-9d9a-c07680ec6e8d" providerId="ADAL" clId="{BADF2761-D025-4BBE-9C4C-EAA945F94550}" dt="2020-10-02T08:23:17.355" v="1" actId="1076"/>
          <ac:spMkLst>
            <pc:docMk/>
            <pc:sldMk cId="2819355768" sldId="6948"/>
            <ac:spMk id="113" creationId="{6EAF8DE2-BBBA-48AB-A7B2-060D1235155D}"/>
          </ac:spMkLst>
        </pc:spChg>
        <pc:spChg chg="add mod">
          <ac:chgData name="Corantin SAVY" userId="02d80846-c2cc-49a1-9d9a-c07680ec6e8d" providerId="ADAL" clId="{BADF2761-D025-4BBE-9C4C-EAA945F94550}" dt="2020-10-02T08:23:23.719" v="3" actId="1076"/>
          <ac:spMkLst>
            <pc:docMk/>
            <pc:sldMk cId="2819355768" sldId="6948"/>
            <ac:spMk id="115" creationId="{011F7ED9-36BA-4919-BAD4-AEE2E1201810}"/>
          </ac:spMkLst>
        </pc:spChg>
        <pc:spChg chg="add del mod">
          <ac:chgData name="Corantin SAVY" userId="02d80846-c2cc-49a1-9d9a-c07680ec6e8d" providerId="ADAL" clId="{BADF2761-D025-4BBE-9C4C-EAA945F94550}" dt="2020-10-02T12:33:26.205" v="2439" actId="478"/>
          <ac:spMkLst>
            <pc:docMk/>
            <pc:sldMk cId="2819355768" sldId="6948"/>
            <ac:spMk id="116" creationId="{F5F7FFF8-9B39-4420-AB55-1A3241D90D49}"/>
          </ac:spMkLst>
        </pc:spChg>
        <pc:spChg chg="add del mod">
          <ac:chgData name="Corantin SAVY" userId="02d80846-c2cc-49a1-9d9a-c07680ec6e8d" providerId="ADAL" clId="{BADF2761-D025-4BBE-9C4C-EAA945F94550}" dt="2020-10-02T12:33:27.722" v="2440" actId="478"/>
          <ac:spMkLst>
            <pc:docMk/>
            <pc:sldMk cId="2819355768" sldId="6948"/>
            <ac:spMk id="117" creationId="{E0D3B268-14E7-4F64-B3A1-91449ACF0473}"/>
          </ac:spMkLst>
        </pc:spChg>
        <pc:spChg chg="mod ord">
          <ac:chgData name="Corantin SAVY" userId="02d80846-c2cc-49a1-9d9a-c07680ec6e8d" providerId="ADAL" clId="{BADF2761-D025-4BBE-9C4C-EAA945F94550}" dt="2020-10-02T14:24:45.494" v="3345"/>
          <ac:spMkLst>
            <pc:docMk/>
            <pc:sldMk cId="2819355768" sldId="6948"/>
            <ac:spMk id="118" creationId="{AB7F8803-B289-4BFE-AE58-54E4FDC5547B}"/>
          </ac:spMkLst>
        </pc:spChg>
        <pc:spChg chg="mod ord">
          <ac:chgData name="Corantin SAVY" userId="02d80846-c2cc-49a1-9d9a-c07680ec6e8d" providerId="ADAL" clId="{BADF2761-D025-4BBE-9C4C-EAA945F94550}" dt="2020-10-02T14:24:45.494" v="3301"/>
          <ac:spMkLst>
            <pc:docMk/>
            <pc:sldMk cId="2819355768" sldId="6948"/>
            <ac:spMk id="120" creationId="{451FD8CF-BE07-44B0-868C-DC919AA954D7}"/>
          </ac:spMkLst>
        </pc:spChg>
        <pc:spChg chg="add del mod">
          <ac:chgData name="Corantin SAVY" userId="02d80846-c2cc-49a1-9d9a-c07680ec6e8d" providerId="ADAL" clId="{BADF2761-D025-4BBE-9C4C-EAA945F94550}" dt="2020-10-02T14:36:58.402" v="3480" actId="478"/>
          <ac:spMkLst>
            <pc:docMk/>
            <pc:sldMk cId="2819355768" sldId="6948"/>
            <ac:spMk id="133" creationId="{D03E0E1E-CA05-4792-841E-A060F5AF80A3}"/>
          </ac:spMkLst>
        </pc:spChg>
        <pc:spChg chg="mod ord">
          <ac:chgData name="Corantin SAVY" userId="02d80846-c2cc-49a1-9d9a-c07680ec6e8d" providerId="ADAL" clId="{BADF2761-D025-4BBE-9C4C-EAA945F94550}" dt="2020-10-02T14:24:45.494" v="3332"/>
          <ac:spMkLst>
            <pc:docMk/>
            <pc:sldMk cId="2819355768" sldId="6948"/>
            <ac:spMk id="209" creationId="{370E683B-F1A2-4001-9FAE-8438E0423D61}"/>
          </ac:spMkLst>
        </pc:spChg>
        <pc:spChg chg="mod ord">
          <ac:chgData name="Corantin SAVY" userId="02d80846-c2cc-49a1-9d9a-c07680ec6e8d" providerId="ADAL" clId="{BADF2761-D025-4BBE-9C4C-EAA945F94550}" dt="2020-10-02T14:24:45.494" v="3303"/>
          <ac:spMkLst>
            <pc:docMk/>
            <pc:sldMk cId="2819355768" sldId="6948"/>
            <ac:spMk id="280" creationId="{A7E7A95C-41FE-40CB-B158-36E75885A03A}"/>
          </ac:spMkLst>
        </pc:spChg>
        <pc:spChg chg="mod ord">
          <ac:chgData name="Corantin SAVY" userId="02d80846-c2cc-49a1-9d9a-c07680ec6e8d" providerId="ADAL" clId="{BADF2761-D025-4BBE-9C4C-EAA945F94550}" dt="2020-10-02T14:24:45.494" v="3334"/>
          <ac:spMkLst>
            <pc:docMk/>
            <pc:sldMk cId="2819355768" sldId="6948"/>
            <ac:spMk id="281" creationId="{B8CAD4E8-C98F-460F-A5D1-B925F30A5C03}"/>
          </ac:spMkLst>
        </pc:spChg>
        <pc:spChg chg="mod ord">
          <ac:chgData name="Corantin SAVY" userId="02d80846-c2cc-49a1-9d9a-c07680ec6e8d" providerId="ADAL" clId="{BADF2761-D025-4BBE-9C4C-EAA945F94550}" dt="2020-10-02T14:24:45.494" v="3336"/>
          <ac:spMkLst>
            <pc:docMk/>
            <pc:sldMk cId="2819355768" sldId="6948"/>
            <ac:spMk id="282" creationId="{1F0F2177-09F5-460B-896D-D63391B41E6C}"/>
          </ac:spMkLst>
        </pc:spChg>
        <pc:spChg chg="del">
          <ac:chgData name="Corantin SAVY" userId="02d80846-c2cc-49a1-9d9a-c07680ec6e8d" providerId="ADAL" clId="{BADF2761-D025-4BBE-9C4C-EAA945F94550}" dt="2020-10-02T14:20:30.589" v="3109" actId="478"/>
          <ac:spMkLst>
            <pc:docMk/>
            <pc:sldMk cId="2819355768" sldId="6948"/>
            <ac:spMk id="295" creationId="{46B3103C-B011-4050-9308-7682C2786A94}"/>
          </ac:spMkLst>
        </pc:spChg>
        <pc:spChg chg="del">
          <ac:chgData name="Corantin SAVY" userId="02d80846-c2cc-49a1-9d9a-c07680ec6e8d" providerId="ADAL" clId="{BADF2761-D025-4BBE-9C4C-EAA945F94550}" dt="2020-10-02T14:20:30.589" v="3109" actId="478"/>
          <ac:spMkLst>
            <pc:docMk/>
            <pc:sldMk cId="2819355768" sldId="6948"/>
            <ac:spMk id="296" creationId="{20ABFB18-92B3-4581-849D-D6C5F42002DE}"/>
          </ac:spMkLst>
        </pc:spChg>
        <pc:spChg chg="del">
          <ac:chgData name="Corantin SAVY" userId="02d80846-c2cc-49a1-9d9a-c07680ec6e8d" providerId="ADAL" clId="{BADF2761-D025-4BBE-9C4C-EAA945F94550}" dt="2020-10-02T14:20:30.589" v="3109" actId="478"/>
          <ac:spMkLst>
            <pc:docMk/>
            <pc:sldMk cId="2819355768" sldId="6948"/>
            <ac:spMk id="297" creationId="{8FD9938C-F978-46AE-BB3A-EDEDFF7FD70A}"/>
          </ac:spMkLst>
        </pc:spChg>
        <pc:spChg chg="del">
          <ac:chgData name="Corantin SAVY" userId="02d80846-c2cc-49a1-9d9a-c07680ec6e8d" providerId="ADAL" clId="{BADF2761-D025-4BBE-9C4C-EAA945F94550}" dt="2020-10-02T14:20:30.589" v="3109" actId="478"/>
          <ac:spMkLst>
            <pc:docMk/>
            <pc:sldMk cId="2819355768" sldId="6948"/>
            <ac:spMk id="299" creationId="{5656A40E-94D2-4D19-9FCB-B644FC3F1A54}"/>
          </ac:spMkLst>
        </pc:spChg>
        <pc:spChg chg="del">
          <ac:chgData name="Corantin SAVY" userId="02d80846-c2cc-49a1-9d9a-c07680ec6e8d" providerId="ADAL" clId="{BADF2761-D025-4BBE-9C4C-EAA945F94550}" dt="2020-10-02T14:20:30.589" v="3109" actId="478"/>
          <ac:spMkLst>
            <pc:docMk/>
            <pc:sldMk cId="2819355768" sldId="6948"/>
            <ac:spMk id="300" creationId="{6D559518-E8C1-46B8-9B52-9036FEE0B55E}"/>
          </ac:spMkLst>
        </pc:spChg>
        <pc:spChg chg="del">
          <ac:chgData name="Corantin SAVY" userId="02d80846-c2cc-49a1-9d9a-c07680ec6e8d" providerId="ADAL" clId="{BADF2761-D025-4BBE-9C4C-EAA945F94550}" dt="2020-10-02T14:20:30.589" v="3109" actId="478"/>
          <ac:spMkLst>
            <pc:docMk/>
            <pc:sldMk cId="2819355768" sldId="6948"/>
            <ac:spMk id="301" creationId="{A9A0C130-CA17-448C-B406-947373E76974}"/>
          </ac:spMkLst>
        </pc:spChg>
        <pc:spChg chg="del">
          <ac:chgData name="Corantin SAVY" userId="02d80846-c2cc-49a1-9d9a-c07680ec6e8d" providerId="ADAL" clId="{BADF2761-D025-4BBE-9C4C-EAA945F94550}" dt="2020-10-02T14:20:30.589" v="3109" actId="478"/>
          <ac:spMkLst>
            <pc:docMk/>
            <pc:sldMk cId="2819355768" sldId="6948"/>
            <ac:spMk id="302" creationId="{24DBBEC1-2EBC-4025-BAED-993C2FA9EB18}"/>
          </ac:spMkLst>
        </pc:spChg>
        <pc:spChg chg="del">
          <ac:chgData name="Corantin SAVY" userId="02d80846-c2cc-49a1-9d9a-c07680ec6e8d" providerId="ADAL" clId="{BADF2761-D025-4BBE-9C4C-EAA945F94550}" dt="2020-10-02T14:20:30.589" v="3109" actId="478"/>
          <ac:spMkLst>
            <pc:docMk/>
            <pc:sldMk cId="2819355768" sldId="6948"/>
            <ac:spMk id="303" creationId="{FDD0A22E-D044-4738-A846-D69DD4EC1C73}"/>
          </ac:spMkLst>
        </pc:spChg>
        <pc:spChg chg="del">
          <ac:chgData name="Corantin SAVY" userId="02d80846-c2cc-49a1-9d9a-c07680ec6e8d" providerId="ADAL" clId="{BADF2761-D025-4BBE-9C4C-EAA945F94550}" dt="2020-10-02T14:20:30.589" v="3109" actId="478"/>
          <ac:spMkLst>
            <pc:docMk/>
            <pc:sldMk cId="2819355768" sldId="6948"/>
            <ac:spMk id="304" creationId="{8C66A17F-8A18-4E0C-B25E-892F3E969D94}"/>
          </ac:spMkLst>
        </pc:spChg>
        <pc:spChg chg="mod ord">
          <ac:chgData name="Corantin SAVY" userId="02d80846-c2cc-49a1-9d9a-c07680ec6e8d" providerId="ADAL" clId="{BADF2761-D025-4BBE-9C4C-EAA945F94550}" dt="2020-10-02T14:24:48.716" v="3423" actId="1036"/>
          <ac:spMkLst>
            <pc:docMk/>
            <pc:sldMk cId="2819355768" sldId="6948"/>
            <ac:spMk id="312" creationId="{B88B1108-0092-4AF0-9274-78C36552DF38}"/>
          </ac:spMkLst>
        </pc:spChg>
        <pc:spChg chg="mod ord">
          <ac:chgData name="Corantin SAVY" userId="02d80846-c2cc-49a1-9d9a-c07680ec6e8d" providerId="ADAL" clId="{BADF2761-D025-4BBE-9C4C-EAA945F94550}" dt="2020-10-02T14:36:19.415" v="3472" actId="20577"/>
          <ac:spMkLst>
            <pc:docMk/>
            <pc:sldMk cId="2819355768" sldId="6948"/>
            <ac:spMk id="313" creationId="{ACC55E45-D91A-4E5A-B55D-CC1C31EE3885}"/>
          </ac:spMkLst>
        </pc:spChg>
        <pc:spChg chg="mod ord">
          <ac:chgData name="Corantin SAVY" userId="02d80846-c2cc-49a1-9d9a-c07680ec6e8d" providerId="ADAL" clId="{BADF2761-D025-4BBE-9C4C-EAA945F94550}" dt="2020-10-02T14:36:27.881" v="3476" actId="20577"/>
          <ac:spMkLst>
            <pc:docMk/>
            <pc:sldMk cId="2819355768" sldId="6948"/>
            <ac:spMk id="314" creationId="{D4489E23-9F70-4A58-BC89-401B9D993A86}"/>
          </ac:spMkLst>
        </pc:spChg>
        <pc:spChg chg="mod ord">
          <ac:chgData name="Corantin SAVY" userId="02d80846-c2cc-49a1-9d9a-c07680ec6e8d" providerId="ADAL" clId="{BADF2761-D025-4BBE-9C4C-EAA945F94550}" dt="2020-10-02T14:36:39.905" v="3479" actId="20577"/>
          <ac:spMkLst>
            <pc:docMk/>
            <pc:sldMk cId="2819355768" sldId="6948"/>
            <ac:spMk id="315" creationId="{C7A85204-D779-4BC9-8681-F532B6318218}"/>
          </ac:spMkLst>
        </pc:spChg>
        <pc:spChg chg="del">
          <ac:chgData name="Corantin SAVY" userId="02d80846-c2cc-49a1-9d9a-c07680ec6e8d" providerId="ADAL" clId="{BADF2761-D025-4BBE-9C4C-EAA945F94550}" dt="2020-10-02T14:16:58.323" v="3091" actId="478"/>
          <ac:spMkLst>
            <pc:docMk/>
            <pc:sldMk cId="2819355768" sldId="6948"/>
            <ac:spMk id="328" creationId="{FDD0A22E-D044-4738-A846-D69DD4EC1C73}"/>
          </ac:spMkLst>
        </pc:spChg>
        <pc:spChg chg="mod">
          <ac:chgData name="Corantin SAVY" userId="02d80846-c2cc-49a1-9d9a-c07680ec6e8d" providerId="ADAL" clId="{BADF2761-D025-4BBE-9C4C-EAA945F94550}" dt="2020-10-02T14:24:45.494" v="3343"/>
          <ac:spMkLst>
            <pc:docMk/>
            <pc:sldMk cId="2819355768" sldId="6948"/>
            <ac:spMk id="329" creationId="{24DBBEC1-2EBC-4025-BAED-993C2FA9EB18}"/>
          </ac:spMkLst>
        </pc:spChg>
        <pc:spChg chg="del">
          <ac:chgData name="Corantin SAVY" userId="02d80846-c2cc-49a1-9d9a-c07680ec6e8d" providerId="ADAL" clId="{BADF2761-D025-4BBE-9C4C-EAA945F94550}" dt="2020-10-02T14:16:36.088" v="3086" actId="478"/>
          <ac:spMkLst>
            <pc:docMk/>
            <pc:sldMk cId="2819355768" sldId="6948"/>
            <ac:spMk id="330" creationId="{20ABFB18-92B3-4581-849D-D6C5F42002DE}"/>
          </ac:spMkLst>
        </pc:spChg>
        <pc:spChg chg="del mod">
          <ac:chgData name="Corantin SAVY" userId="02d80846-c2cc-49a1-9d9a-c07680ec6e8d" providerId="ADAL" clId="{BADF2761-D025-4BBE-9C4C-EAA945F94550}" dt="2020-10-02T14:16:34.532" v="3085" actId="478"/>
          <ac:spMkLst>
            <pc:docMk/>
            <pc:sldMk cId="2819355768" sldId="6948"/>
            <ac:spMk id="331" creationId="{8FD9938C-F978-46AE-BB3A-EDEDFF7FD70A}"/>
          </ac:spMkLst>
        </pc:spChg>
        <pc:spChg chg="del">
          <ac:chgData name="Corantin SAVY" userId="02d80846-c2cc-49a1-9d9a-c07680ec6e8d" providerId="ADAL" clId="{BADF2761-D025-4BBE-9C4C-EAA945F94550}" dt="2020-10-02T14:16:58.323" v="3091" actId="478"/>
          <ac:spMkLst>
            <pc:docMk/>
            <pc:sldMk cId="2819355768" sldId="6948"/>
            <ac:spMk id="332" creationId="{A9A0C130-CA17-448C-B406-947373E76974}"/>
          </ac:spMkLst>
        </pc:spChg>
        <pc:spChg chg="del">
          <ac:chgData name="Corantin SAVY" userId="02d80846-c2cc-49a1-9d9a-c07680ec6e8d" providerId="ADAL" clId="{BADF2761-D025-4BBE-9C4C-EAA945F94550}" dt="2020-10-02T14:16:58.323" v="3091" actId="478"/>
          <ac:spMkLst>
            <pc:docMk/>
            <pc:sldMk cId="2819355768" sldId="6948"/>
            <ac:spMk id="333" creationId="{5656A40E-94D2-4D19-9FCB-B644FC3F1A54}"/>
          </ac:spMkLst>
        </pc:spChg>
        <pc:spChg chg="del">
          <ac:chgData name="Corantin SAVY" userId="02d80846-c2cc-49a1-9d9a-c07680ec6e8d" providerId="ADAL" clId="{BADF2761-D025-4BBE-9C4C-EAA945F94550}" dt="2020-10-02T14:16:58.323" v="3091" actId="478"/>
          <ac:spMkLst>
            <pc:docMk/>
            <pc:sldMk cId="2819355768" sldId="6948"/>
            <ac:spMk id="334" creationId="{6D559518-E8C1-46B8-9B52-9036FEE0B55E}"/>
          </ac:spMkLst>
        </pc:spChg>
        <pc:spChg chg="del">
          <ac:chgData name="Corantin SAVY" userId="02d80846-c2cc-49a1-9d9a-c07680ec6e8d" providerId="ADAL" clId="{BADF2761-D025-4BBE-9C4C-EAA945F94550}" dt="2020-10-02T14:16:58.323" v="3091" actId="478"/>
          <ac:spMkLst>
            <pc:docMk/>
            <pc:sldMk cId="2819355768" sldId="6948"/>
            <ac:spMk id="335" creationId="{46B3103C-B011-4050-9308-7682C2786A94}"/>
          </ac:spMkLst>
        </pc:spChg>
        <pc:spChg chg="del">
          <ac:chgData name="Corantin SAVY" userId="02d80846-c2cc-49a1-9d9a-c07680ec6e8d" providerId="ADAL" clId="{BADF2761-D025-4BBE-9C4C-EAA945F94550}" dt="2020-10-02T14:16:58.323" v="3091" actId="478"/>
          <ac:spMkLst>
            <pc:docMk/>
            <pc:sldMk cId="2819355768" sldId="6948"/>
            <ac:spMk id="337" creationId="{8C66A17F-8A18-4E0C-B25E-892F3E969D94}"/>
          </ac:spMkLst>
        </pc:spChg>
        <pc:spChg chg="mod ord">
          <ac:chgData name="Corantin SAVY" userId="02d80846-c2cc-49a1-9d9a-c07680ec6e8d" providerId="ADAL" clId="{BADF2761-D025-4BBE-9C4C-EAA945F94550}" dt="2020-10-02T14:24:45.509" v="3369"/>
          <ac:spMkLst>
            <pc:docMk/>
            <pc:sldMk cId="2819355768" sldId="6948"/>
            <ac:spMk id="345" creationId="{B88B1108-0092-4AF0-9274-78C36552DF38}"/>
          </ac:spMkLst>
        </pc:spChg>
        <pc:spChg chg="mod ord">
          <ac:chgData name="Corantin SAVY" userId="02d80846-c2cc-49a1-9d9a-c07680ec6e8d" providerId="ADAL" clId="{BADF2761-D025-4BBE-9C4C-EAA945F94550}" dt="2020-10-02T14:36:00.820" v="3464" actId="20577"/>
          <ac:spMkLst>
            <pc:docMk/>
            <pc:sldMk cId="2819355768" sldId="6948"/>
            <ac:spMk id="346" creationId="{ACC55E45-D91A-4E5A-B55D-CC1C31EE3885}"/>
          </ac:spMkLst>
        </pc:spChg>
        <pc:spChg chg="mod ord">
          <ac:chgData name="Corantin SAVY" userId="02d80846-c2cc-49a1-9d9a-c07680ec6e8d" providerId="ADAL" clId="{BADF2761-D025-4BBE-9C4C-EAA945F94550}" dt="2020-10-02T14:36:08.560" v="3470" actId="20577"/>
          <ac:spMkLst>
            <pc:docMk/>
            <pc:sldMk cId="2819355768" sldId="6948"/>
            <ac:spMk id="347" creationId="{D4489E23-9F70-4A58-BC89-401B9D993A86}"/>
          </ac:spMkLst>
        </pc:spChg>
        <pc:spChg chg="mod ord">
          <ac:chgData name="Corantin SAVY" userId="02d80846-c2cc-49a1-9d9a-c07680ec6e8d" providerId="ADAL" clId="{BADF2761-D025-4BBE-9C4C-EAA945F94550}" dt="2020-10-02T14:35:35.204" v="3462" actId="20577"/>
          <ac:spMkLst>
            <pc:docMk/>
            <pc:sldMk cId="2819355768" sldId="6948"/>
            <ac:spMk id="348" creationId="{C7A85204-D779-4BC9-8681-F532B6318218}"/>
          </ac:spMkLst>
        </pc:spChg>
        <pc:grpChg chg="mod ord">
          <ac:chgData name="Corantin SAVY" userId="02d80846-c2cc-49a1-9d9a-c07680ec6e8d" providerId="ADAL" clId="{BADF2761-D025-4BBE-9C4C-EAA945F94550}" dt="2020-10-02T14:24:45.494" v="3316"/>
          <ac:grpSpMkLst>
            <pc:docMk/>
            <pc:sldMk cId="2819355768" sldId="6948"/>
            <ac:grpSpMk id="34" creationId="{946985AD-0B42-4FA8-B5BE-141FD9AFA17E}"/>
          </ac:grpSpMkLst>
        </pc:grpChg>
        <pc:grpChg chg="mod ord">
          <ac:chgData name="Corantin SAVY" userId="02d80846-c2cc-49a1-9d9a-c07680ec6e8d" providerId="ADAL" clId="{BADF2761-D025-4BBE-9C4C-EAA945F94550}" dt="2020-10-02T14:24:45.494" v="3326"/>
          <ac:grpSpMkLst>
            <pc:docMk/>
            <pc:sldMk cId="2819355768" sldId="6948"/>
            <ac:grpSpMk id="62" creationId="{9688696B-08F1-4F53-825E-065623B03E37}"/>
          </ac:grpSpMkLst>
        </pc:grpChg>
        <pc:grpChg chg="mod ord">
          <ac:chgData name="Corantin SAVY" userId="02d80846-c2cc-49a1-9d9a-c07680ec6e8d" providerId="ADAL" clId="{BADF2761-D025-4BBE-9C4C-EAA945F94550}" dt="2020-10-02T14:24:45.494" v="3328"/>
          <ac:grpSpMkLst>
            <pc:docMk/>
            <pc:sldMk cId="2819355768" sldId="6948"/>
            <ac:grpSpMk id="65" creationId="{DBFA3611-9499-45D7-9ACF-F9094E8CD123}"/>
          </ac:grpSpMkLst>
        </pc:grpChg>
        <pc:grpChg chg="mod ord">
          <ac:chgData name="Corantin SAVY" userId="02d80846-c2cc-49a1-9d9a-c07680ec6e8d" providerId="ADAL" clId="{BADF2761-D025-4BBE-9C4C-EAA945F94550}" dt="2020-10-02T14:24:45.494" v="3338"/>
          <ac:grpSpMkLst>
            <pc:docMk/>
            <pc:sldMk cId="2819355768" sldId="6948"/>
            <ac:grpSpMk id="275" creationId="{32ED6413-41B4-43D1-A830-6576D919E11D}"/>
          </ac:grpSpMkLst>
        </pc:grpChg>
        <pc:grpChg chg="mod ord">
          <ac:chgData name="Corantin SAVY" userId="02d80846-c2cc-49a1-9d9a-c07680ec6e8d" providerId="ADAL" clId="{BADF2761-D025-4BBE-9C4C-EAA945F94550}" dt="2020-10-02T14:24:45.494" v="3340"/>
          <ac:grpSpMkLst>
            <pc:docMk/>
            <pc:sldMk cId="2819355768" sldId="6948"/>
            <ac:grpSpMk id="284" creationId="{F704163F-A488-4BAC-A0C6-EDE9CEE39F2F}"/>
          </ac:grpSpMkLst>
        </pc:grpChg>
        <pc:grpChg chg="mod ord">
          <ac:chgData name="Corantin SAVY" userId="02d80846-c2cc-49a1-9d9a-c07680ec6e8d" providerId="ADAL" clId="{BADF2761-D025-4BBE-9C4C-EAA945F94550}" dt="2020-10-02T14:24:45.494" v="3342"/>
          <ac:grpSpMkLst>
            <pc:docMk/>
            <pc:sldMk cId="2819355768" sldId="6948"/>
            <ac:grpSpMk id="287" creationId="{E58CAC32-BD85-4DDE-AD85-12C351214B5D}"/>
          </ac:grpSpMkLst>
        </pc:grpChg>
        <pc:graphicFrameChg chg="del mod">
          <ac:chgData name="Corantin SAVY" userId="02d80846-c2cc-49a1-9d9a-c07680ec6e8d" providerId="ADAL" clId="{BADF2761-D025-4BBE-9C4C-EAA945F94550}" dt="2020-10-02T14:08:51.186" v="3002" actId="478"/>
          <ac:graphicFrameMkLst>
            <pc:docMk/>
            <pc:sldMk cId="2819355768" sldId="6948"/>
            <ac:graphicFrameMk id="2" creationId="{5D1622A0-1F53-4A71-87C1-678C04DD78C8}"/>
          </ac:graphicFrameMkLst>
        </pc:graphicFrameChg>
        <pc:graphicFrameChg chg="mod ord">
          <ac:chgData name="Corantin SAVY" userId="02d80846-c2cc-49a1-9d9a-c07680ec6e8d" providerId="ADAL" clId="{BADF2761-D025-4BBE-9C4C-EAA945F94550}" dt="2020-10-02T14:24:45.522" v="3405"/>
          <ac:graphicFrameMkLst>
            <pc:docMk/>
            <pc:sldMk cId="2819355768" sldId="6948"/>
            <ac:graphicFrameMk id="5" creationId="{EAAA3A35-C6B3-4EE6-9406-A3DBC2CB7256}"/>
          </ac:graphicFrameMkLst>
        </pc:graphicFrameChg>
        <pc:graphicFrameChg chg="add del mod">
          <ac:chgData name="Corantin SAVY" userId="02d80846-c2cc-49a1-9d9a-c07680ec6e8d" providerId="ADAL" clId="{BADF2761-D025-4BBE-9C4C-EAA945F94550}" dt="2020-10-02T14:15:34.037" v="3077" actId="478"/>
          <ac:graphicFrameMkLst>
            <pc:docMk/>
            <pc:sldMk cId="2819355768" sldId="6948"/>
            <ac:graphicFrameMk id="18" creationId="{833E5796-97F6-4DEE-8839-E34C77763E22}"/>
          </ac:graphicFrameMkLst>
        </pc:graphicFrameChg>
        <pc:graphicFrameChg chg="add mod ord">
          <ac:chgData name="Corantin SAVY" userId="02d80846-c2cc-49a1-9d9a-c07680ec6e8d" providerId="ADAL" clId="{BADF2761-D025-4BBE-9C4C-EAA945F94550}" dt="2020-10-02T14:24:45.494" v="3349"/>
          <ac:graphicFrameMkLst>
            <pc:docMk/>
            <pc:sldMk cId="2819355768" sldId="6948"/>
            <ac:graphicFrameMk id="21" creationId="{0953B019-8CDB-4DA5-AB11-41AF60A0FCC7}"/>
          </ac:graphicFrameMkLst>
        </pc:graphicFrameChg>
        <pc:graphicFrameChg chg="add del mod">
          <ac:chgData name="Corantin SAVY" userId="02d80846-c2cc-49a1-9d9a-c07680ec6e8d" providerId="ADAL" clId="{BADF2761-D025-4BBE-9C4C-EAA945F94550}" dt="2020-10-02T14:15:00.708" v="3070" actId="478"/>
          <ac:graphicFrameMkLst>
            <pc:docMk/>
            <pc:sldMk cId="2819355768" sldId="6948"/>
            <ac:graphicFrameMk id="124" creationId="{4253BBD1-9B63-4C77-96A1-49F4152AE9D5}"/>
          </ac:graphicFrameMkLst>
        </pc:graphicFrameChg>
        <pc:graphicFrameChg chg="add mod">
          <ac:chgData name="Corantin SAVY" userId="02d80846-c2cc-49a1-9d9a-c07680ec6e8d" providerId="ADAL" clId="{BADF2761-D025-4BBE-9C4C-EAA945F94550}" dt="2020-10-02T14:20:26.638" v="3108" actId="571"/>
          <ac:graphicFrameMkLst>
            <pc:docMk/>
            <pc:sldMk cId="2819355768" sldId="6948"/>
            <ac:graphicFrameMk id="131" creationId="{9881243C-0349-4E37-BA49-4B192D31B994}"/>
          </ac:graphicFrameMkLst>
        </pc:graphicFrameChg>
        <pc:graphicFrameChg chg="add mod ord">
          <ac:chgData name="Corantin SAVY" userId="02d80846-c2cc-49a1-9d9a-c07680ec6e8d" providerId="ADAL" clId="{BADF2761-D025-4BBE-9C4C-EAA945F94550}" dt="2020-10-02T14:24:45.494" v="3351"/>
          <ac:graphicFrameMkLst>
            <pc:docMk/>
            <pc:sldMk cId="2819355768" sldId="6948"/>
            <ac:graphicFrameMk id="132" creationId="{D1689770-12F0-4D9C-89BD-71B163AF5BF5}"/>
          </ac:graphicFrameMkLst>
        </pc:graphicFrameChg>
        <pc:graphicFrameChg chg="del mod">
          <ac:chgData name="Corantin SAVY" userId="02d80846-c2cc-49a1-9d9a-c07680ec6e8d" providerId="ADAL" clId="{BADF2761-D025-4BBE-9C4C-EAA945F94550}" dt="2020-10-02T14:14:44.680" v="3067" actId="478"/>
          <ac:graphicFrameMkLst>
            <pc:docMk/>
            <pc:sldMk cId="2819355768" sldId="6948"/>
            <ac:graphicFrameMk id="318" creationId="{F3A60FFC-2AF2-4EF4-B110-09BA94B7C99D}"/>
          </ac:graphicFrameMkLst>
        </pc:graphicFrameChg>
        <pc:picChg chg="mod ord">
          <ac:chgData name="Corantin SAVY" userId="02d80846-c2cc-49a1-9d9a-c07680ec6e8d" providerId="ADAL" clId="{BADF2761-D025-4BBE-9C4C-EAA945F94550}" dt="2020-10-02T14:24:45.494" v="3318"/>
          <ac:picMkLst>
            <pc:docMk/>
            <pc:sldMk cId="2819355768" sldId="6948"/>
            <ac:picMk id="70" creationId="{CF3D94E5-A284-49D4-A8AC-DE3C7AB4329D}"/>
          </ac:picMkLst>
        </pc:picChg>
        <pc:picChg chg="mod ord">
          <ac:chgData name="Corantin SAVY" userId="02d80846-c2cc-49a1-9d9a-c07680ec6e8d" providerId="ADAL" clId="{BADF2761-D025-4BBE-9C4C-EAA945F94550}" dt="2020-10-02T14:24:45.494" v="3320"/>
          <ac:picMkLst>
            <pc:docMk/>
            <pc:sldMk cId="2819355768" sldId="6948"/>
            <ac:picMk id="71" creationId="{B3A77997-D04F-45A1-8783-D8FE6788F413}"/>
          </ac:picMkLst>
        </pc:picChg>
        <pc:picChg chg="mod ord">
          <ac:chgData name="Corantin SAVY" userId="02d80846-c2cc-49a1-9d9a-c07680ec6e8d" providerId="ADAL" clId="{BADF2761-D025-4BBE-9C4C-EAA945F94550}" dt="2020-10-02T14:24:45.494" v="3322"/>
          <ac:picMkLst>
            <pc:docMk/>
            <pc:sldMk cId="2819355768" sldId="6948"/>
            <ac:picMk id="72" creationId="{9B128643-634D-4410-BB3C-862F3059746E}"/>
          </ac:picMkLst>
        </pc:picChg>
        <pc:picChg chg="mod ord">
          <ac:chgData name="Corantin SAVY" userId="02d80846-c2cc-49a1-9d9a-c07680ec6e8d" providerId="ADAL" clId="{BADF2761-D025-4BBE-9C4C-EAA945F94550}" dt="2020-10-02T14:24:45.494" v="3324"/>
          <ac:picMkLst>
            <pc:docMk/>
            <pc:sldMk cId="2819355768" sldId="6948"/>
            <ac:picMk id="73" creationId="{8CB16AF1-C190-4F31-8C22-F86E85AEF910}"/>
          </ac:picMkLst>
        </pc:picChg>
        <pc:picChg chg="add mod ord">
          <ac:chgData name="Corantin SAVY" userId="02d80846-c2cc-49a1-9d9a-c07680ec6e8d" providerId="ADAL" clId="{BADF2761-D025-4BBE-9C4C-EAA945F94550}" dt="2020-10-02T14:24:45.509" v="3377"/>
          <ac:picMkLst>
            <pc:docMk/>
            <pc:sldMk cId="2819355768" sldId="6948"/>
            <ac:picMk id="112" creationId="{33D23670-2F42-41B4-B14F-A9E98F2F30F6}"/>
          </ac:picMkLst>
        </pc:picChg>
        <pc:picChg chg="add mod">
          <ac:chgData name="Corantin SAVY" userId="02d80846-c2cc-49a1-9d9a-c07680ec6e8d" providerId="ADAL" clId="{BADF2761-D025-4BBE-9C4C-EAA945F94550}" dt="2020-10-02T08:23:23.719" v="3" actId="1076"/>
          <ac:picMkLst>
            <pc:docMk/>
            <pc:sldMk cId="2819355768" sldId="6948"/>
            <ac:picMk id="114" creationId="{E4A9D44C-7EAE-4599-AF6E-B02F9CAFAD99}"/>
          </ac:picMkLst>
        </pc:picChg>
        <pc:picChg chg="mod ord">
          <ac:chgData name="Corantin SAVY" userId="02d80846-c2cc-49a1-9d9a-c07680ec6e8d" providerId="ADAL" clId="{BADF2761-D025-4BBE-9C4C-EAA945F94550}" dt="2020-10-02T14:24:45.494" v="3347"/>
          <ac:picMkLst>
            <pc:docMk/>
            <pc:sldMk cId="2819355768" sldId="6948"/>
            <ac:picMk id="119" creationId="{76B9673B-B308-4629-9D82-121F73821EDD}"/>
          </ac:picMkLst>
        </pc:picChg>
        <pc:picChg chg="mod ord">
          <ac:chgData name="Corantin SAVY" userId="02d80846-c2cc-49a1-9d9a-c07680ec6e8d" providerId="ADAL" clId="{BADF2761-D025-4BBE-9C4C-EAA945F94550}" dt="2020-10-02T14:24:48.716" v="3423" actId="1036"/>
          <ac:picMkLst>
            <pc:docMk/>
            <pc:sldMk cId="2819355768" sldId="6948"/>
            <ac:picMk id="121" creationId="{E5C4FD60-971E-426C-AE10-29252A3D4515}"/>
          </ac:picMkLst>
        </pc:picChg>
        <pc:cxnChg chg="mod ord">
          <ac:chgData name="Corantin SAVY" userId="02d80846-c2cc-49a1-9d9a-c07680ec6e8d" providerId="ADAL" clId="{BADF2761-D025-4BBE-9C4C-EAA945F94550}" dt="2020-10-02T14:24:48.716" v="3423" actId="1036"/>
          <ac:cxnSpMkLst>
            <pc:docMk/>
            <pc:sldMk cId="2819355768" sldId="6948"/>
            <ac:cxnSpMk id="6" creationId="{4A55795F-D62D-4477-9539-82C28D7342E9}"/>
          </ac:cxnSpMkLst>
        </pc:cxnChg>
        <pc:cxnChg chg="mod ord">
          <ac:chgData name="Corantin SAVY" userId="02d80846-c2cc-49a1-9d9a-c07680ec6e8d" providerId="ADAL" clId="{BADF2761-D025-4BBE-9C4C-EAA945F94550}" dt="2020-10-02T14:24:48.716" v="3423" actId="1036"/>
          <ac:cxnSpMkLst>
            <pc:docMk/>
            <pc:sldMk cId="2819355768" sldId="6948"/>
            <ac:cxnSpMk id="7" creationId="{B290A3BD-3963-4B7E-92DD-9A40BD168973}"/>
          </ac:cxnSpMkLst>
        </pc:cxnChg>
        <pc:cxnChg chg="mod ord">
          <ac:chgData name="Corantin SAVY" userId="02d80846-c2cc-49a1-9d9a-c07680ec6e8d" providerId="ADAL" clId="{BADF2761-D025-4BBE-9C4C-EAA945F94550}" dt="2020-10-02T14:24:48.716" v="3423" actId="1036"/>
          <ac:cxnSpMkLst>
            <pc:docMk/>
            <pc:sldMk cId="2819355768" sldId="6948"/>
            <ac:cxnSpMk id="8" creationId="{CCA631A9-EBE4-4A26-8A9C-141C022FFF04}"/>
          </ac:cxnSpMkLst>
        </pc:cxnChg>
        <pc:cxnChg chg="mod ord">
          <ac:chgData name="Corantin SAVY" userId="02d80846-c2cc-49a1-9d9a-c07680ec6e8d" providerId="ADAL" clId="{BADF2761-D025-4BBE-9C4C-EAA945F94550}" dt="2020-10-02T14:24:48.716" v="3423" actId="1036"/>
          <ac:cxnSpMkLst>
            <pc:docMk/>
            <pc:sldMk cId="2819355768" sldId="6948"/>
            <ac:cxnSpMk id="9" creationId="{21F2F5BF-3771-483E-8D82-70890A498989}"/>
          </ac:cxnSpMkLst>
        </pc:cxnChg>
        <pc:cxnChg chg="mod ord">
          <ac:chgData name="Corantin SAVY" userId="02d80846-c2cc-49a1-9d9a-c07680ec6e8d" providerId="ADAL" clId="{BADF2761-D025-4BBE-9C4C-EAA945F94550}" dt="2020-10-02T14:24:48.716" v="3423" actId="1036"/>
          <ac:cxnSpMkLst>
            <pc:docMk/>
            <pc:sldMk cId="2819355768" sldId="6948"/>
            <ac:cxnSpMk id="290" creationId="{FB66F5B6-FEBB-4558-8E36-6FA0131C39A3}"/>
          </ac:cxnSpMkLst>
        </pc:cxnChg>
        <pc:cxnChg chg="mod ord">
          <ac:chgData name="Corantin SAVY" userId="02d80846-c2cc-49a1-9d9a-c07680ec6e8d" providerId="ADAL" clId="{BADF2761-D025-4BBE-9C4C-EAA945F94550}" dt="2020-10-02T14:24:48.716" v="3423" actId="1036"/>
          <ac:cxnSpMkLst>
            <pc:docMk/>
            <pc:sldMk cId="2819355768" sldId="6948"/>
            <ac:cxnSpMk id="291" creationId="{9F69BC4B-2350-4C37-9B91-5ACC1BCC5EBE}"/>
          </ac:cxnSpMkLst>
        </pc:cxnChg>
        <pc:cxnChg chg="mod ord">
          <ac:chgData name="Corantin SAVY" userId="02d80846-c2cc-49a1-9d9a-c07680ec6e8d" providerId="ADAL" clId="{BADF2761-D025-4BBE-9C4C-EAA945F94550}" dt="2020-10-02T14:24:48.716" v="3423" actId="1036"/>
          <ac:cxnSpMkLst>
            <pc:docMk/>
            <pc:sldMk cId="2819355768" sldId="6948"/>
            <ac:cxnSpMk id="292" creationId="{0FC3E430-2D11-4503-8A56-046FC19B3A48}"/>
          </ac:cxnSpMkLst>
        </pc:cxnChg>
        <pc:cxnChg chg="mod ord">
          <ac:chgData name="Corantin SAVY" userId="02d80846-c2cc-49a1-9d9a-c07680ec6e8d" providerId="ADAL" clId="{BADF2761-D025-4BBE-9C4C-EAA945F94550}" dt="2020-10-02T14:24:48.716" v="3423" actId="1036"/>
          <ac:cxnSpMkLst>
            <pc:docMk/>
            <pc:sldMk cId="2819355768" sldId="6948"/>
            <ac:cxnSpMk id="293" creationId="{E547190D-30A4-433B-BDA8-6D4B2FF9D2FD}"/>
          </ac:cxnSpMkLst>
        </pc:cxnChg>
        <pc:cxnChg chg="mod ord">
          <ac:chgData name="Corantin SAVY" userId="02d80846-c2cc-49a1-9d9a-c07680ec6e8d" providerId="ADAL" clId="{BADF2761-D025-4BBE-9C4C-EAA945F94550}" dt="2020-10-02T14:24:45.509" v="3353"/>
          <ac:cxnSpMkLst>
            <pc:docMk/>
            <pc:sldMk cId="2819355768" sldId="6948"/>
            <ac:cxnSpMk id="319" creationId="{4A55795F-D62D-4477-9539-82C28D7342E9}"/>
          </ac:cxnSpMkLst>
        </pc:cxnChg>
        <pc:cxnChg chg="mod ord">
          <ac:chgData name="Corantin SAVY" userId="02d80846-c2cc-49a1-9d9a-c07680ec6e8d" providerId="ADAL" clId="{BADF2761-D025-4BBE-9C4C-EAA945F94550}" dt="2020-10-02T14:24:45.509" v="3355"/>
          <ac:cxnSpMkLst>
            <pc:docMk/>
            <pc:sldMk cId="2819355768" sldId="6948"/>
            <ac:cxnSpMk id="320" creationId="{21F2F5BF-3771-483E-8D82-70890A498989}"/>
          </ac:cxnSpMkLst>
        </pc:cxnChg>
        <pc:cxnChg chg="mod ord">
          <ac:chgData name="Corantin SAVY" userId="02d80846-c2cc-49a1-9d9a-c07680ec6e8d" providerId="ADAL" clId="{BADF2761-D025-4BBE-9C4C-EAA945F94550}" dt="2020-10-02T14:24:45.509" v="3357"/>
          <ac:cxnSpMkLst>
            <pc:docMk/>
            <pc:sldMk cId="2819355768" sldId="6948"/>
            <ac:cxnSpMk id="321" creationId="{CCA631A9-EBE4-4A26-8A9C-141C022FFF04}"/>
          </ac:cxnSpMkLst>
        </pc:cxnChg>
        <pc:cxnChg chg="mod ord">
          <ac:chgData name="Corantin SAVY" userId="02d80846-c2cc-49a1-9d9a-c07680ec6e8d" providerId="ADAL" clId="{BADF2761-D025-4BBE-9C4C-EAA945F94550}" dt="2020-10-02T14:24:45.509" v="3359"/>
          <ac:cxnSpMkLst>
            <pc:docMk/>
            <pc:sldMk cId="2819355768" sldId="6948"/>
            <ac:cxnSpMk id="322" creationId="{B290A3BD-3963-4B7E-92DD-9A40BD168973}"/>
          </ac:cxnSpMkLst>
        </pc:cxnChg>
        <pc:cxnChg chg="mod ord">
          <ac:chgData name="Corantin SAVY" userId="02d80846-c2cc-49a1-9d9a-c07680ec6e8d" providerId="ADAL" clId="{BADF2761-D025-4BBE-9C4C-EAA945F94550}" dt="2020-10-02T14:24:45.509" v="3361"/>
          <ac:cxnSpMkLst>
            <pc:docMk/>
            <pc:sldMk cId="2819355768" sldId="6948"/>
            <ac:cxnSpMk id="323" creationId="{FB66F5B6-FEBB-4558-8E36-6FA0131C39A3}"/>
          </ac:cxnSpMkLst>
        </pc:cxnChg>
        <pc:cxnChg chg="mod ord">
          <ac:chgData name="Corantin SAVY" userId="02d80846-c2cc-49a1-9d9a-c07680ec6e8d" providerId="ADAL" clId="{BADF2761-D025-4BBE-9C4C-EAA945F94550}" dt="2020-10-02T14:24:45.509" v="3363"/>
          <ac:cxnSpMkLst>
            <pc:docMk/>
            <pc:sldMk cId="2819355768" sldId="6948"/>
            <ac:cxnSpMk id="324" creationId="{9F69BC4B-2350-4C37-9B91-5ACC1BCC5EBE}"/>
          </ac:cxnSpMkLst>
        </pc:cxnChg>
        <pc:cxnChg chg="mod ord">
          <ac:chgData name="Corantin SAVY" userId="02d80846-c2cc-49a1-9d9a-c07680ec6e8d" providerId="ADAL" clId="{BADF2761-D025-4BBE-9C4C-EAA945F94550}" dt="2020-10-02T14:24:45.509" v="3365"/>
          <ac:cxnSpMkLst>
            <pc:docMk/>
            <pc:sldMk cId="2819355768" sldId="6948"/>
            <ac:cxnSpMk id="325" creationId="{0FC3E430-2D11-4503-8A56-046FC19B3A48}"/>
          </ac:cxnSpMkLst>
        </pc:cxnChg>
        <pc:cxnChg chg="mod ord">
          <ac:chgData name="Corantin SAVY" userId="02d80846-c2cc-49a1-9d9a-c07680ec6e8d" providerId="ADAL" clId="{BADF2761-D025-4BBE-9C4C-EAA945F94550}" dt="2020-10-02T14:24:45.509" v="3367"/>
          <ac:cxnSpMkLst>
            <pc:docMk/>
            <pc:sldMk cId="2819355768" sldId="6948"/>
            <ac:cxnSpMk id="326" creationId="{E547190D-30A4-433B-BDA8-6D4B2FF9D2FD}"/>
          </ac:cxnSpMkLst>
        </pc:cxnChg>
      </pc:sldChg>
      <pc:sldChg chg="addSp delSp modSp mod">
        <pc:chgData name="Corantin SAVY" userId="02d80846-c2cc-49a1-9d9a-c07680ec6e8d" providerId="ADAL" clId="{BADF2761-D025-4BBE-9C4C-EAA945F94550}" dt="2020-10-02T15:13:50.823" v="3587" actId="20577"/>
        <pc:sldMkLst>
          <pc:docMk/>
          <pc:sldMk cId="3180225553" sldId="6950"/>
        </pc:sldMkLst>
        <pc:spChg chg="del mod">
          <ac:chgData name="Corantin SAVY" userId="02d80846-c2cc-49a1-9d9a-c07680ec6e8d" providerId="ADAL" clId="{BADF2761-D025-4BBE-9C4C-EAA945F94550}" dt="2020-10-02T13:51:00.815" v="2938" actId="478"/>
          <ac:spMkLst>
            <pc:docMk/>
            <pc:sldMk cId="3180225553" sldId="6950"/>
            <ac:spMk id="6" creationId="{C23C4D10-B07C-4B1C-B7A4-BED0FB6594FB}"/>
          </ac:spMkLst>
        </pc:spChg>
        <pc:spChg chg="mod">
          <ac:chgData name="Corantin SAVY" userId="02d80846-c2cc-49a1-9d9a-c07680ec6e8d" providerId="ADAL" clId="{BADF2761-D025-4BBE-9C4C-EAA945F94550}" dt="2020-10-02T15:13:50.823" v="3587" actId="20577"/>
          <ac:spMkLst>
            <pc:docMk/>
            <pc:sldMk cId="3180225553" sldId="6950"/>
            <ac:spMk id="16" creationId="{EACE795C-C806-425F-8AA4-8EFA6F2CB1B5}"/>
          </ac:spMkLst>
        </pc:spChg>
        <pc:spChg chg="mod">
          <ac:chgData name="Corantin SAVY" userId="02d80846-c2cc-49a1-9d9a-c07680ec6e8d" providerId="ADAL" clId="{BADF2761-D025-4BBE-9C4C-EAA945F94550}" dt="2020-10-02T12:07:34.828" v="1934" actId="571"/>
          <ac:spMkLst>
            <pc:docMk/>
            <pc:sldMk cId="3180225553" sldId="6950"/>
            <ac:spMk id="62" creationId="{18DEBDAF-B61D-4B6E-9242-4D9F60C8CB3F}"/>
          </ac:spMkLst>
        </pc:spChg>
        <pc:spChg chg="mod">
          <ac:chgData name="Corantin SAVY" userId="02d80846-c2cc-49a1-9d9a-c07680ec6e8d" providerId="ADAL" clId="{BADF2761-D025-4BBE-9C4C-EAA945F94550}" dt="2020-10-02T12:07:34.828" v="1934" actId="571"/>
          <ac:spMkLst>
            <pc:docMk/>
            <pc:sldMk cId="3180225553" sldId="6950"/>
            <ac:spMk id="63" creationId="{7E0D63E8-0049-4A8A-B944-CF3AB9F1FA23}"/>
          </ac:spMkLst>
        </pc:spChg>
        <pc:spChg chg="mod">
          <ac:chgData name="Corantin SAVY" userId="02d80846-c2cc-49a1-9d9a-c07680ec6e8d" providerId="ADAL" clId="{BADF2761-D025-4BBE-9C4C-EAA945F94550}" dt="2020-10-02T12:47:23.767" v="2648" actId="20577"/>
          <ac:spMkLst>
            <pc:docMk/>
            <pc:sldMk cId="3180225553" sldId="6950"/>
            <ac:spMk id="81" creationId="{161C8AFA-B589-42AC-9180-F90F1AFC83EF}"/>
          </ac:spMkLst>
        </pc:spChg>
        <pc:spChg chg="mod">
          <ac:chgData name="Corantin SAVY" userId="02d80846-c2cc-49a1-9d9a-c07680ec6e8d" providerId="ADAL" clId="{BADF2761-D025-4BBE-9C4C-EAA945F94550}" dt="2020-10-02T12:46:36.519" v="2622" actId="20577"/>
          <ac:spMkLst>
            <pc:docMk/>
            <pc:sldMk cId="3180225553" sldId="6950"/>
            <ac:spMk id="82" creationId="{08389D88-E096-478D-A223-1D7B6CF87F27}"/>
          </ac:spMkLst>
        </pc:spChg>
        <pc:spChg chg="mod">
          <ac:chgData name="Corantin SAVY" userId="02d80846-c2cc-49a1-9d9a-c07680ec6e8d" providerId="ADAL" clId="{BADF2761-D025-4BBE-9C4C-EAA945F94550}" dt="2020-10-02T12:46:50.979" v="2633" actId="20577"/>
          <ac:spMkLst>
            <pc:docMk/>
            <pc:sldMk cId="3180225553" sldId="6950"/>
            <ac:spMk id="83" creationId="{44EF3646-A171-4ACB-89F4-4BF4584168F6}"/>
          </ac:spMkLst>
        </pc:spChg>
        <pc:spChg chg="mod">
          <ac:chgData name="Corantin SAVY" userId="02d80846-c2cc-49a1-9d9a-c07680ec6e8d" providerId="ADAL" clId="{BADF2761-D025-4BBE-9C4C-EAA945F94550}" dt="2020-10-02T12:46:57.526" v="2642" actId="20577"/>
          <ac:spMkLst>
            <pc:docMk/>
            <pc:sldMk cId="3180225553" sldId="6950"/>
            <ac:spMk id="84" creationId="{1F10B08E-B981-4C0D-B63F-072F6B4A0200}"/>
          </ac:spMkLst>
        </pc:spChg>
        <pc:spChg chg="add del">
          <ac:chgData name="Corantin SAVY" userId="02d80846-c2cc-49a1-9d9a-c07680ec6e8d" providerId="ADAL" clId="{BADF2761-D025-4BBE-9C4C-EAA945F94550}" dt="2020-10-02T09:27:42.554" v="285"/>
          <ac:spMkLst>
            <pc:docMk/>
            <pc:sldMk cId="3180225553" sldId="6950"/>
            <ac:spMk id="106" creationId="{5A8A1C58-B69F-4DF9-93E7-580C72418CDF}"/>
          </ac:spMkLst>
        </pc:spChg>
        <pc:spChg chg="add del mod">
          <ac:chgData name="Corantin SAVY" userId="02d80846-c2cc-49a1-9d9a-c07680ec6e8d" providerId="ADAL" clId="{BADF2761-D025-4BBE-9C4C-EAA945F94550}" dt="2020-10-02T12:38:07.626" v="2596" actId="478"/>
          <ac:spMkLst>
            <pc:docMk/>
            <pc:sldMk cId="3180225553" sldId="6950"/>
            <ac:spMk id="108" creationId="{D95AB6B4-BE23-4FC0-B8B0-C29216E43E3D}"/>
          </ac:spMkLst>
        </pc:spChg>
        <pc:spChg chg="add del mod">
          <ac:chgData name="Corantin SAVY" userId="02d80846-c2cc-49a1-9d9a-c07680ec6e8d" providerId="ADAL" clId="{BADF2761-D025-4BBE-9C4C-EAA945F94550}" dt="2020-10-02T12:38:05.793" v="2595" actId="478"/>
          <ac:spMkLst>
            <pc:docMk/>
            <pc:sldMk cId="3180225553" sldId="6950"/>
            <ac:spMk id="109" creationId="{0C1D4E7A-C84B-461C-B38E-87D1F374ECDA}"/>
          </ac:spMkLst>
        </pc:spChg>
        <pc:spChg chg="del">
          <ac:chgData name="Corantin SAVY" userId="02d80846-c2cc-49a1-9d9a-c07680ec6e8d" providerId="ADAL" clId="{BADF2761-D025-4BBE-9C4C-EAA945F94550}" dt="2020-10-02T13:48:38.036" v="2916" actId="478"/>
          <ac:spMkLst>
            <pc:docMk/>
            <pc:sldMk cId="3180225553" sldId="6950"/>
            <ac:spMk id="119" creationId="{96ACD372-FEF3-47D1-B300-A297F400E38C}"/>
          </ac:spMkLst>
        </pc:spChg>
        <pc:spChg chg="del">
          <ac:chgData name="Corantin SAVY" userId="02d80846-c2cc-49a1-9d9a-c07680ec6e8d" providerId="ADAL" clId="{BADF2761-D025-4BBE-9C4C-EAA945F94550}" dt="2020-10-02T13:48:38.036" v="2916" actId="478"/>
          <ac:spMkLst>
            <pc:docMk/>
            <pc:sldMk cId="3180225553" sldId="6950"/>
            <ac:spMk id="129" creationId="{DE44398E-CA7D-423C-B470-AEEC17B9CEF1}"/>
          </ac:spMkLst>
        </pc:spChg>
        <pc:spChg chg="del">
          <ac:chgData name="Corantin SAVY" userId="02d80846-c2cc-49a1-9d9a-c07680ec6e8d" providerId="ADAL" clId="{BADF2761-D025-4BBE-9C4C-EAA945F94550}" dt="2020-10-02T13:48:38.036" v="2916" actId="478"/>
          <ac:spMkLst>
            <pc:docMk/>
            <pc:sldMk cId="3180225553" sldId="6950"/>
            <ac:spMk id="130" creationId="{BD03CE83-5B80-4222-9DF4-8B8CDD6253FD}"/>
          </ac:spMkLst>
        </pc:spChg>
        <pc:spChg chg="del">
          <ac:chgData name="Corantin SAVY" userId="02d80846-c2cc-49a1-9d9a-c07680ec6e8d" providerId="ADAL" clId="{BADF2761-D025-4BBE-9C4C-EAA945F94550}" dt="2020-10-02T13:48:38.036" v="2916" actId="478"/>
          <ac:spMkLst>
            <pc:docMk/>
            <pc:sldMk cId="3180225553" sldId="6950"/>
            <ac:spMk id="131" creationId="{19BD0584-735D-43A7-B72F-9CD40765384D}"/>
          </ac:spMkLst>
        </pc:spChg>
        <pc:spChg chg="del">
          <ac:chgData name="Corantin SAVY" userId="02d80846-c2cc-49a1-9d9a-c07680ec6e8d" providerId="ADAL" clId="{BADF2761-D025-4BBE-9C4C-EAA945F94550}" dt="2020-10-02T13:48:38.036" v="2916" actId="478"/>
          <ac:spMkLst>
            <pc:docMk/>
            <pc:sldMk cId="3180225553" sldId="6950"/>
            <ac:spMk id="132" creationId="{41BAEDB9-ABF1-40DF-B0EE-8DAE21411DCE}"/>
          </ac:spMkLst>
        </pc:spChg>
        <pc:spChg chg="add del mod">
          <ac:chgData name="Corantin SAVY" userId="02d80846-c2cc-49a1-9d9a-c07680ec6e8d" providerId="ADAL" clId="{BADF2761-D025-4BBE-9C4C-EAA945F94550}" dt="2020-10-02T09:28:00.734" v="289" actId="478"/>
          <ac:spMkLst>
            <pc:docMk/>
            <pc:sldMk cId="3180225553" sldId="6950"/>
            <ac:spMk id="133" creationId="{534AD6B1-838F-4985-8637-127DA76EA51D}"/>
          </ac:spMkLst>
        </pc:spChg>
        <pc:spChg chg="add mod">
          <ac:chgData name="Corantin SAVY" userId="02d80846-c2cc-49a1-9d9a-c07680ec6e8d" providerId="ADAL" clId="{BADF2761-D025-4BBE-9C4C-EAA945F94550}" dt="2020-10-02T12:07:34.828" v="1934" actId="571"/>
          <ac:spMkLst>
            <pc:docMk/>
            <pc:sldMk cId="3180225553" sldId="6950"/>
            <ac:spMk id="133" creationId="{5741A629-F782-4359-ADF4-63DD2391F19A}"/>
          </ac:spMkLst>
        </pc:spChg>
        <pc:spChg chg="add del mod">
          <ac:chgData name="Corantin SAVY" userId="02d80846-c2cc-49a1-9d9a-c07680ec6e8d" providerId="ADAL" clId="{BADF2761-D025-4BBE-9C4C-EAA945F94550}" dt="2020-10-02T09:28:00.734" v="289" actId="478"/>
          <ac:spMkLst>
            <pc:docMk/>
            <pc:sldMk cId="3180225553" sldId="6950"/>
            <ac:spMk id="134" creationId="{AFA1B549-518B-40C7-9D63-AAEC4E4C3525}"/>
          </ac:spMkLst>
        </pc:spChg>
        <pc:spChg chg="add mod">
          <ac:chgData name="Corantin SAVY" userId="02d80846-c2cc-49a1-9d9a-c07680ec6e8d" providerId="ADAL" clId="{BADF2761-D025-4BBE-9C4C-EAA945F94550}" dt="2020-10-02T09:28:13.127" v="297" actId="1076"/>
          <ac:spMkLst>
            <pc:docMk/>
            <pc:sldMk cId="3180225553" sldId="6950"/>
            <ac:spMk id="135" creationId="{2911FCA8-B37E-46A8-9A1A-0F3852E76816}"/>
          </ac:spMkLst>
        </pc:spChg>
        <pc:spChg chg="mod">
          <ac:chgData name="Corantin SAVY" userId="02d80846-c2cc-49a1-9d9a-c07680ec6e8d" providerId="ADAL" clId="{BADF2761-D025-4BBE-9C4C-EAA945F94550}" dt="2020-10-02T12:07:38.749" v="1935" actId="571"/>
          <ac:spMkLst>
            <pc:docMk/>
            <pc:sldMk cId="3180225553" sldId="6950"/>
            <ac:spMk id="136" creationId="{0CCDCE66-75E9-4460-9EA1-5882F8367404}"/>
          </ac:spMkLst>
        </pc:spChg>
        <pc:spChg chg="mod">
          <ac:chgData name="Corantin SAVY" userId="02d80846-c2cc-49a1-9d9a-c07680ec6e8d" providerId="ADAL" clId="{BADF2761-D025-4BBE-9C4C-EAA945F94550}" dt="2020-10-02T12:07:44.921" v="1936" actId="20577"/>
          <ac:spMkLst>
            <pc:docMk/>
            <pc:sldMk cId="3180225553" sldId="6950"/>
            <ac:spMk id="137" creationId="{0AC91853-7987-4FA1-9E97-F56D9FA4A32D}"/>
          </ac:spMkLst>
        </pc:spChg>
        <pc:spChg chg="del">
          <ac:chgData name="Corantin SAVY" userId="02d80846-c2cc-49a1-9d9a-c07680ec6e8d" providerId="ADAL" clId="{BADF2761-D025-4BBE-9C4C-EAA945F94550}" dt="2020-10-02T13:48:38.036" v="2916" actId="478"/>
          <ac:spMkLst>
            <pc:docMk/>
            <pc:sldMk cId="3180225553" sldId="6950"/>
            <ac:spMk id="164" creationId="{1DE28F63-AB22-4CC0-A2FB-42770F0DA4C5}"/>
          </ac:spMkLst>
        </pc:spChg>
        <pc:spChg chg="del">
          <ac:chgData name="Corantin SAVY" userId="02d80846-c2cc-49a1-9d9a-c07680ec6e8d" providerId="ADAL" clId="{BADF2761-D025-4BBE-9C4C-EAA945F94550}" dt="2020-10-02T13:48:38.036" v="2916" actId="478"/>
          <ac:spMkLst>
            <pc:docMk/>
            <pc:sldMk cId="3180225553" sldId="6950"/>
            <ac:spMk id="165" creationId="{B7012B39-405B-48CB-AB07-FC31E3EAF9AA}"/>
          </ac:spMkLst>
        </pc:spChg>
        <pc:spChg chg="del">
          <ac:chgData name="Corantin SAVY" userId="02d80846-c2cc-49a1-9d9a-c07680ec6e8d" providerId="ADAL" clId="{BADF2761-D025-4BBE-9C4C-EAA945F94550}" dt="2020-10-02T13:48:38.036" v="2916" actId="478"/>
          <ac:spMkLst>
            <pc:docMk/>
            <pc:sldMk cId="3180225553" sldId="6950"/>
            <ac:spMk id="166" creationId="{ACB2F137-2C20-476F-8A5F-CB5C1DB3BABB}"/>
          </ac:spMkLst>
        </pc:spChg>
        <pc:spChg chg="del mod">
          <ac:chgData name="Corantin SAVY" userId="02d80846-c2cc-49a1-9d9a-c07680ec6e8d" providerId="ADAL" clId="{BADF2761-D025-4BBE-9C4C-EAA945F94550}" dt="2020-10-02T13:48:38.036" v="2916" actId="478"/>
          <ac:spMkLst>
            <pc:docMk/>
            <pc:sldMk cId="3180225553" sldId="6950"/>
            <ac:spMk id="167" creationId="{F05CE6D0-53F8-4866-BBE8-08E714873EDF}"/>
          </ac:spMkLst>
        </pc:spChg>
        <pc:spChg chg="mod">
          <ac:chgData name="Corantin SAVY" userId="02d80846-c2cc-49a1-9d9a-c07680ec6e8d" providerId="ADAL" clId="{BADF2761-D025-4BBE-9C4C-EAA945F94550}" dt="2020-10-02T13:50:44.726" v="2936" actId="1036"/>
          <ac:spMkLst>
            <pc:docMk/>
            <pc:sldMk cId="3180225553" sldId="6950"/>
            <ac:spMk id="168" creationId="{B88B1108-0092-4AF0-9274-78C36552DF38}"/>
          </ac:spMkLst>
        </pc:spChg>
        <pc:spChg chg="mod">
          <ac:chgData name="Corantin SAVY" userId="02d80846-c2cc-49a1-9d9a-c07680ec6e8d" providerId="ADAL" clId="{BADF2761-D025-4BBE-9C4C-EAA945F94550}" dt="2020-10-02T13:50:44.726" v="2936" actId="1036"/>
          <ac:spMkLst>
            <pc:docMk/>
            <pc:sldMk cId="3180225553" sldId="6950"/>
            <ac:spMk id="169" creationId="{ACC55E45-D91A-4E5A-B55D-CC1C31EE3885}"/>
          </ac:spMkLst>
        </pc:spChg>
        <pc:spChg chg="mod">
          <ac:chgData name="Corantin SAVY" userId="02d80846-c2cc-49a1-9d9a-c07680ec6e8d" providerId="ADAL" clId="{BADF2761-D025-4BBE-9C4C-EAA945F94550}" dt="2020-10-02T13:50:44.726" v="2936" actId="1036"/>
          <ac:spMkLst>
            <pc:docMk/>
            <pc:sldMk cId="3180225553" sldId="6950"/>
            <ac:spMk id="170" creationId="{D4489E23-9F70-4A58-BC89-401B9D993A86}"/>
          </ac:spMkLst>
        </pc:spChg>
        <pc:spChg chg="mod">
          <ac:chgData name="Corantin SAVY" userId="02d80846-c2cc-49a1-9d9a-c07680ec6e8d" providerId="ADAL" clId="{BADF2761-D025-4BBE-9C4C-EAA945F94550}" dt="2020-10-02T13:50:44.726" v="2936" actId="1036"/>
          <ac:spMkLst>
            <pc:docMk/>
            <pc:sldMk cId="3180225553" sldId="6950"/>
            <ac:spMk id="171" creationId="{C7A85204-D779-4BC9-8681-F532B6318218}"/>
          </ac:spMkLst>
        </pc:spChg>
        <pc:spChg chg="del">
          <ac:chgData name="Corantin SAVY" userId="02d80846-c2cc-49a1-9d9a-c07680ec6e8d" providerId="ADAL" clId="{BADF2761-D025-4BBE-9C4C-EAA945F94550}" dt="2020-10-02T13:49:42.737" v="2921" actId="478"/>
          <ac:spMkLst>
            <pc:docMk/>
            <pc:sldMk cId="3180225553" sldId="6950"/>
            <ac:spMk id="248" creationId="{BD03CE83-5B80-4222-9DF4-8B8CDD6253FD}"/>
          </ac:spMkLst>
        </pc:spChg>
        <pc:spChg chg="del">
          <ac:chgData name="Corantin SAVY" userId="02d80846-c2cc-49a1-9d9a-c07680ec6e8d" providerId="ADAL" clId="{BADF2761-D025-4BBE-9C4C-EAA945F94550}" dt="2020-10-02T13:49:42.737" v="2921" actId="478"/>
          <ac:spMkLst>
            <pc:docMk/>
            <pc:sldMk cId="3180225553" sldId="6950"/>
            <ac:spMk id="250" creationId="{96ACD372-FEF3-47D1-B300-A297F400E38C}"/>
          </ac:spMkLst>
        </pc:spChg>
        <pc:spChg chg="del mod">
          <ac:chgData name="Corantin SAVY" userId="02d80846-c2cc-49a1-9d9a-c07680ec6e8d" providerId="ADAL" clId="{BADF2761-D025-4BBE-9C4C-EAA945F94550}" dt="2020-10-02T13:49:42.737" v="2921" actId="478"/>
          <ac:spMkLst>
            <pc:docMk/>
            <pc:sldMk cId="3180225553" sldId="6950"/>
            <ac:spMk id="257" creationId="{19BD0584-735D-43A7-B72F-9CD40765384D}"/>
          </ac:spMkLst>
        </pc:spChg>
        <pc:spChg chg="del mod">
          <ac:chgData name="Corantin SAVY" userId="02d80846-c2cc-49a1-9d9a-c07680ec6e8d" providerId="ADAL" clId="{BADF2761-D025-4BBE-9C4C-EAA945F94550}" dt="2020-10-02T13:49:42.737" v="2921" actId="478"/>
          <ac:spMkLst>
            <pc:docMk/>
            <pc:sldMk cId="3180225553" sldId="6950"/>
            <ac:spMk id="258" creationId="{41BAEDB9-ABF1-40DF-B0EE-8DAE21411DCE}"/>
          </ac:spMkLst>
        </pc:spChg>
        <pc:spChg chg="del">
          <ac:chgData name="Corantin SAVY" userId="02d80846-c2cc-49a1-9d9a-c07680ec6e8d" providerId="ADAL" clId="{BADF2761-D025-4BBE-9C4C-EAA945F94550}" dt="2020-10-02T13:49:42.737" v="2921" actId="478"/>
          <ac:spMkLst>
            <pc:docMk/>
            <pc:sldMk cId="3180225553" sldId="6950"/>
            <ac:spMk id="259" creationId="{1DE28F63-AB22-4CC0-A2FB-42770F0DA4C5}"/>
          </ac:spMkLst>
        </pc:spChg>
        <pc:spChg chg="del">
          <ac:chgData name="Corantin SAVY" userId="02d80846-c2cc-49a1-9d9a-c07680ec6e8d" providerId="ADAL" clId="{BADF2761-D025-4BBE-9C4C-EAA945F94550}" dt="2020-10-02T13:49:42.737" v="2921" actId="478"/>
          <ac:spMkLst>
            <pc:docMk/>
            <pc:sldMk cId="3180225553" sldId="6950"/>
            <ac:spMk id="260" creationId="{B7012B39-405B-48CB-AB07-FC31E3EAF9AA}"/>
          </ac:spMkLst>
        </pc:spChg>
        <pc:spChg chg="del mod">
          <ac:chgData name="Corantin SAVY" userId="02d80846-c2cc-49a1-9d9a-c07680ec6e8d" providerId="ADAL" clId="{BADF2761-D025-4BBE-9C4C-EAA945F94550}" dt="2020-10-02T13:49:42.737" v="2921" actId="478"/>
          <ac:spMkLst>
            <pc:docMk/>
            <pc:sldMk cId="3180225553" sldId="6950"/>
            <ac:spMk id="261" creationId="{DE44398E-CA7D-423C-B470-AEEC17B9CEF1}"/>
          </ac:spMkLst>
        </pc:spChg>
        <pc:spChg chg="del mod">
          <ac:chgData name="Corantin SAVY" userId="02d80846-c2cc-49a1-9d9a-c07680ec6e8d" providerId="ADAL" clId="{BADF2761-D025-4BBE-9C4C-EAA945F94550}" dt="2020-10-02T13:49:42.737" v="2921" actId="478"/>
          <ac:spMkLst>
            <pc:docMk/>
            <pc:sldMk cId="3180225553" sldId="6950"/>
            <ac:spMk id="262" creationId="{ACB2F137-2C20-476F-8A5F-CB5C1DB3BABB}"/>
          </ac:spMkLst>
        </pc:spChg>
        <pc:spChg chg="del mod">
          <ac:chgData name="Corantin SAVY" userId="02d80846-c2cc-49a1-9d9a-c07680ec6e8d" providerId="ADAL" clId="{BADF2761-D025-4BBE-9C4C-EAA945F94550}" dt="2020-10-02T13:49:42.737" v="2921" actId="478"/>
          <ac:spMkLst>
            <pc:docMk/>
            <pc:sldMk cId="3180225553" sldId="6950"/>
            <ac:spMk id="263" creationId="{F05CE6D0-53F8-4866-BBE8-08E714873EDF}"/>
          </ac:spMkLst>
        </pc:spChg>
        <pc:spChg chg="mod">
          <ac:chgData name="Corantin SAVY" userId="02d80846-c2cc-49a1-9d9a-c07680ec6e8d" providerId="ADAL" clId="{BADF2761-D025-4BBE-9C4C-EAA945F94550}" dt="2020-10-02T13:50:44.726" v="2936" actId="1036"/>
          <ac:spMkLst>
            <pc:docMk/>
            <pc:sldMk cId="3180225553" sldId="6950"/>
            <ac:spMk id="264" creationId="{B88B1108-0092-4AF0-9274-78C36552DF38}"/>
          </ac:spMkLst>
        </pc:spChg>
        <pc:spChg chg="mod">
          <ac:chgData name="Corantin SAVY" userId="02d80846-c2cc-49a1-9d9a-c07680ec6e8d" providerId="ADAL" clId="{BADF2761-D025-4BBE-9C4C-EAA945F94550}" dt="2020-10-02T13:50:44.726" v="2936" actId="1036"/>
          <ac:spMkLst>
            <pc:docMk/>
            <pc:sldMk cId="3180225553" sldId="6950"/>
            <ac:spMk id="265" creationId="{ACC55E45-D91A-4E5A-B55D-CC1C31EE3885}"/>
          </ac:spMkLst>
        </pc:spChg>
        <pc:spChg chg="mod">
          <ac:chgData name="Corantin SAVY" userId="02d80846-c2cc-49a1-9d9a-c07680ec6e8d" providerId="ADAL" clId="{BADF2761-D025-4BBE-9C4C-EAA945F94550}" dt="2020-10-02T13:50:44.726" v="2936" actId="1036"/>
          <ac:spMkLst>
            <pc:docMk/>
            <pc:sldMk cId="3180225553" sldId="6950"/>
            <ac:spMk id="266" creationId="{D4489E23-9F70-4A58-BC89-401B9D993A86}"/>
          </ac:spMkLst>
        </pc:spChg>
        <pc:spChg chg="mod">
          <ac:chgData name="Corantin SAVY" userId="02d80846-c2cc-49a1-9d9a-c07680ec6e8d" providerId="ADAL" clId="{BADF2761-D025-4BBE-9C4C-EAA945F94550}" dt="2020-10-02T13:50:44.726" v="2936" actId="1036"/>
          <ac:spMkLst>
            <pc:docMk/>
            <pc:sldMk cId="3180225553" sldId="6950"/>
            <ac:spMk id="267" creationId="{C7A85204-D779-4BC9-8681-F532B6318218}"/>
          </ac:spMkLst>
        </pc:spChg>
        <pc:grpChg chg="mod">
          <ac:chgData name="Corantin SAVY" userId="02d80846-c2cc-49a1-9d9a-c07680ec6e8d" providerId="ADAL" clId="{BADF2761-D025-4BBE-9C4C-EAA945F94550}" dt="2020-10-02T12:07:34.828" v="1934" actId="571"/>
          <ac:grpSpMkLst>
            <pc:docMk/>
            <pc:sldMk cId="3180225553" sldId="6950"/>
            <ac:grpSpMk id="61" creationId="{99FFA6FA-A015-469A-A5C2-DC99CA832301}"/>
          </ac:grpSpMkLst>
        </pc:grpChg>
        <pc:grpChg chg="add mod">
          <ac:chgData name="Corantin SAVY" userId="02d80846-c2cc-49a1-9d9a-c07680ec6e8d" providerId="ADAL" clId="{BADF2761-D025-4BBE-9C4C-EAA945F94550}" dt="2020-10-02T12:07:38.749" v="1935" actId="571"/>
          <ac:grpSpMkLst>
            <pc:docMk/>
            <pc:sldMk cId="3180225553" sldId="6950"/>
            <ac:grpSpMk id="134" creationId="{66B1F147-2E51-489D-ADF7-621D4AFB4099}"/>
          </ac:grpSpMkLst>
        </pc:grpChg>
        <pc:graphicFrameChg chg="mod">
          <ac:chgData name="Corantin SAVY" userId="02d80846-c2cc-49a1-9d9a-c07680ec6e8d" providerId="ADAL" clId="{BADF2761-D025-4BBE-9C4C-EAA945F94550}" dt="2020-10-02T13:49:28.027" v="2920" actId="207"/>
          <ac:graphicFrameMkLst>
            <pc:docMk/>
            <pc:sldMk cId="3180225553" sldId="6950"/>
            <ac:graphicFrameMk id="110" creationId="{CFB67084-CC86-4D61-A496-0A3B77BF4620}"/>
          </ac:graphicFrameMkLst>
        </pc:graphicFrameChg>
        <pc:graphicFrameChg chg="mod">
          <ac:chgData name="Corantin SAVY" userId="02d80846-c2cc-49a1-9d9a-c07680ec6e8d" providerId="ADAL" clId="{BADF2761-D025-4BBE-9C4C-EAA945F94550}" dt="2020-10-02T13:50:26.244" v="2925"/>
          <ac:graphicFrameMkLst>
            <pc:docMk/>
            <pc:sldMk cId="3180225553" sldId="6950"/>
            <ac:graphicFrameMk id="237" creationId="{C516A193-6377-4C41-89AD-32F9F4FC6ECC}"/>
          </ac:graphicFrameMkLst>
        </pc:graphicFrameChg>
        <pc:cxnChg chg="mod">
          <ac:chgData name="Corantin SAVY" userId="02d80846-c2cc-49a1-9d9a-c07680ec6e8d" providerId="ADAL" clId="{BADF2761-D025-4BBE-9C4C-EAA945F94550}" dt="2020-10-02T13:50:44.726" v="2936" actId="1036"/>
          <ac:cxnSpMkLst>
            <pc:docMk/>
            <pc:sldMk cId="3180225553" sldId="6950"/>
            <ac:cxnSpMk id="111" creationId="{4A55795F-D62D-4477-9539-82C28D7342E9}"/>
          </ac:cxnSpMkLst>
        </pc:cxnChg>
        <pc:cxnChg chg="del">
          <ac:chgData name="Corantin SAVY" userId="02d80846-c2cc-49a1-9d9a-c07680ec6e8d" providerId="ADAL" clId="{BADF2761-D025-4BBE-9C4C-EAA945F94550}" dt="2020-10-02T13:50:54.483" v="2937" actId="478"/>
          <ac:cxnSpMkLst>
            <pc:docMk/>
            <pc:sldMk cId="3180225553" sldId="6950"/>
            <ac:cxnSpMk id="112" creationId="{CCA631A9-EBE4-4A26-8A9C-141C022FFF04}"/>
          </ac:cxnSpMkLst>
        </pc:cxnChg>
        <pc:cxnChg chg="mod">
          <ac:chgData name="Corantin SAVY" userId="02d80846-c2cc-49a1-9d9a-c07680ec6e8d" providerId="ADAL" clId="{BADF2761-D025-4BBE-9C4C-EAA945F94550}" dt="2020-10-02T13:50:44.726" v="2936" actId="1036"/>
          <ac:cxnSpMkLst>
            <pc:docMk/>
            <pc:sldMk cId="3180225553" sldId="6950"/>
            <ac:cxnSpMk id="113" creationId="{21F2F5BF-3771-483E-8D82-70890A498989}"/>
          </ac:cxnSpMkLst>
        </pc:cxnChg>
        <pc:cxnChg chg="mod">
          <ac:chgData name="Corantin SAVY" userId="02d80846-c2cc-49a1-9d9a-c07680ec6e8d" providerId="ADAL" clId="{BADF2761-D025-4BBE-9C4C-EAA945F94550}" dt="2020-10-02T13:50:44.726" v="2936" actId="1036"/>
          <ac:cxnSpMkLst>
            <pc:docMk/>
            <pc:sldMk cId="3180225553" sldId="6950"/>
            <ac:cxnSpMk id="114" creationId="{B290A3BD-3963-4B7E-92DD-9A40BD168973}"/>
          </ac:cxnSpMkLst>
        </pc:cxnChg>
        <pc:cxnChg chg="mod">
          <ac:chgData name="Corantin SAVY" userId="02d80846-c2cc-49a1-9d9a-c07680ec6e8d" providerId="ADAL" clId="{BADF2761-D025-4BBE-9C4C-EAA945F94550}" dt="2020-10-02T13:50:44.726" v="2936" actId="1036"/>
          <ac:cxnSpMkLst>
            <pc:docMk/>
            <pc:sldMk cId="3180225553" sldId="6950"/>
            <ac:cxnSpMk id="115" creationId="{FB66F5B6-FEBB-4558-8E36-6FA0131C39A3}"/>
          </ac:cxnSpMkLst>
        </pc:cxnChg>
        <pc:cxnChg chg="del">
          <ac:chgData name="Corantin SAVY" userId="02d80846-c2cc-49a1-9d9a-c07680ec6e8d" providerId="ADAL" clId="{BADF2761-D025-4BBE-9C4C-EAA945F94550}" dt="2020-10-02T13:50:54.483" v="2937" actId="478"/>
          <ac:cxnSpMkLst>
            <pc:docMk/>
            <pc:sldMk cId="3180225553" sldId="6950"/>
            <ac:cxnSpMk id="116" creationId="{9F69BC4B-2350-4C37-9B91-5ACC1BCC5EBE}"/>
          </ac:cxnSpMkLst>
        </pc:cxnChg>
        <pc:cxnChg chg="mod">
          <ac:chgData name="Corantin SAVY" userId="02d80846-c2cc-49a1-9d9a-c07680ec6e8d" providerId="ADAL" clId="{BADF2761-D025-4BBE-9C4C-EAA945F94550}" dt="2020-10-02T13:50:44.726" v="2936" actId="1036"/>
          <ac:cxnSpMkLst>
            <pc:docMk/>
            <pc:sldMk cId="3180225553" sldId="6950"/>
            <ac:cxnSpMk id="117" creationId="{0FC3E430-2D11-4503-8A56-046FC19B3A48}"/>
          </ac:cxnSpMkLst>
        </pc:cxnChg>
        <pc:cxnChg chg="mod">
          <ac:chgData name="Corantin SAVY" userId="02d80846-c2cc-49a1-9d9a-c07680ec6e8d" providerId="ADAL" clId="{BADF2761-D025-4BBE-9C4C-EAA945F94550}" dt="2020-10-02T13:50:44.726" v="2936" actId="1036"/>
          <ac:cxnSpMkLst>
            <pc:docMk/>
            <pc:sldMk cId="3180225553" sldId="6950"/>
            <ac:cxnSpMk id="118" creationId="{E547190D-30A4-433B-BDA8-6D4B2FF9D2FD}"/>
          </ac:cxnSpMkLst>
        </pc:cxnChg>
        <pc:cxnChg chg="mod">
          <ac:chgData name="Corantin SAVY" userId="02d80846-c2cc-49a1-9d9a-c07680ec6e8d" providerId="ADAL" clId="{BADF2761-D025-4BBE-9C4C-EAA945F94550}" dt="2020-10-02T13:50:44.726" v="2936" actId="1036"/>
          <ac:cxnSpMkLst>
            <pc:docMk/>
            <pc:sldMk cId="3180225553" sldId="6950"/>
            <ac:cxnSpMk id="238" creationId="{4A55795F-D62D-4477-9539-82C28D7342E9}"/>
          </ac:cxnSpMkLst>
        </pc:cxnChg>
        <pc:cxnChg chg="mod">
          <ac:chgData name="Corantin SAVY" userId="02d80846-c2cc-49a1-9d9a-c07680ec6e8d" providerId="ADAL" clId="{BADF2761-D025-4BBE-9C4C-EAA945F94550}" dt="2020-10-02T13:50:44.726" v="2936" actId="1036"/>
          <ac:cxnSpMkLst>
            <pc:docMk/>
            <pc:sldMk cId="3180225553" sldId="6950"/>
            <ac:cxnSpMk id="239" creationId="{21F2F5BF-3771-483E-8D82-70890A498989}"/>
          </ac:cxnSpMkLst>
        </pc:cxnChg>
        <pc:cxnChg chg="mod">
          <ac:chgData name="Corantin SAVY" userId="02d80846-c2cc-49a1-9d9a-c07680ec6e8d" providerId="ADAL" clId="{BADF2761-D025-4BBE-9C4C-EAA945F94550}" dt="2020-10-02T13:50:44.726" v="2936" actId="1036"/>
          <ac:cxnSpMkLst>
            <pc:docMk/>
            <pc:sldMk cId="3180225553" sldId="6950"/>
            <ac:cxnSpMk id="240" creationId="{CCA631A9-EBE4-4A26-8A9C-141C022FFF04}"/>
          </ac:cxnSpMkLst>
        </pc:cxnChg>
        <pc:cxnChg chg="mod">
          <ac:chgData name="Corantin SAVY" userId="02d80846-c2cc-49a1-9d9a-c07680ec6e8d" providerId="ADAL" clId="{BADF2761-D025-4BBE-9C4C-EAA945F94550}" dt="2020-10-02T13:50:44.726" v="2936" actId="1036"/>
          <ac:cxnSpMkLst>
            <pc:docMk/>
            <pc:sldMk cId="3180225553" sldId="6950"/>
            <ac:cxnSpMk id="241" creationId="{B290A3BD-3963-4B7E-92DD-9A40BD168973}"/>
          </ac:cxnSpMkLst>
        </pc:cxnChg>
        <pc:cxnChg chg="mod">
          <ac:chgData name="Corantin SAVY" userId="02d80846-c2cc-49a1-9d9a-c07680ec6e8d" providerId="ADAL" clId="{BADF2761-D025-4BBE-9C4C-EAA945F94550}" dt="2020-10-02T13:50:44.726" v="2936" actId="1036"/>
          <ac:cxnSpMkLst>
            <pc:docMk/>
            <pc:sldMk cId="3180225553" sldId="6950"/>
            <ac:cxnSpMk id="242" creationId="{FB66F5B6-FEBB-4558-8E36-6FA0131C39A3}"/>
          </ac:cxnSpMkLst>
        </pc:cxnChg>
        <pc:cxnChg chg="mod">
          <ac:chgData name="Corantin SAVY" userId="02d80846-c2cc-49a1-9d9a-c07680ec6e8d" providerId="ADAL" clId="{BADF2761-D025-4BBE-9C4C-EAA945F94550}" dt="2020-10-02T13:50:44.726" v="2936" actId="1036"/>
          <ac:cxnSpMkLst>
            <pc:docMk/>
            <pc:sldMk cId="3180225553" sldId="6950"/>
            <ac:cxnSpMk id="243" creationId="{9F69BC4B-2350-4C37-9B91-5ACC1BCC5EBE}"/>
          </ac:cxnSpMkLst>
        </pc:cxnChg>
        <pc:cxnChg chg="mod">
          <ac:chgData name="Corantin SAVY" userId="02d80846-c2cc-49a1-9d9a-c07680ec6e8d" providerId="ADAL" clId="{BADF2761-D025-4BBE-9C4C-EAA945F94550}" dt="2020-10-02T13:50:44.726" v="2936" actId="1036"/>
          <ac:cxnSpMkLst>
            <pc:docMk/>
            <pc:sldMk cId="3180225553" sldId="6950"/>
            <ac:cxnSpMk id="244" creationId="{0FC3E430-2D11-4503-8A56-046FC19B3A48}"/>
          </ac:cxnSpMkLst>
        </pc:cxnChg>
        <pc:cxnChg chg="mod">
          <ac:chgData name="Corantin SAVY" userId="02d80846-c2cc-49a1-9d9a-c07680ec6e8d" providerId="ADAL" clId="{BADF2761-D025-4BBE-9C4C-EAA945F94550}" dt="2020-10-02T13:50:44.726" v="2936" actId="1036"/>
          <ac:cxnSpMkLst>
            <pc:docMk/>
            <pc:sldMk cId="3180225553" sldId="6950"/>
            <ac:cxnSpMk id="245" creationId="{E547190D-30A4-433B-BDA8-6D4B2FF9D2FD}"/>
          </ac:cxnSpMkLst>
        </pc:cxnChg>
      </pc:sldChg>
      <pc:sldChg chg="addSp delSp modSp mod">
        <pc:chgData name="Corantin SAVY" userId="02d80846-c2cc-49a1-9d9a-c07680ec6e8d" providerId="ADAL" clId="{BADF2761-D025-4BBE-9C4C-EAA945F94550}" dt="2020-10-02T14:46:00.796" v="3525" actId="20577"/>
        <pc:sldMkLst>
          <pc:docMk/>
          <pc:sldMk cId="3055682090" sldId="6951"/>
        </pc:sldMkLst>
        <pc:spChg chg="del mod ord">
          <ac:chgData name="Corantin SAVY" userId="02d80846-c2cc-49a1-9d9a-c07680ec6e8d" providerId="ADAL" clId="{BADF2761-D025-4BBE-9C4C-EAA945F94550}" dt="2020-10-02T12:48:06.871" v="2650" actId="478"/>
          <ac:spMkLst>
            <pc:docMk/>
            <pc:sldMk cId="3055682090" sldId="6951"/>
            <ac:spMk id="2" creationId="{4A881902-5571-4E76-BD15-42141D236B48}"/>
          </ac:spMkLst>
        </pc:spChg>
        <pc:spChg chg="mod ord">
          <ac:chgData name="Corantin SAVY" userId="02d80846-c2cc-49a1-9d9a-c07680ec6e8d" providerId="ADAL" clId="{BADF2761-D025-4BBE-9C4C-EAA945F94550}" dt="2020-10-02T10:20:37.458" v="561"/>
          <ac:spMkLst>
            <pc:docMk/>
            <pc:sldMk cId="3055682090" sldId="6951"/>
            <ac:spMk id="3" creationId="{30953E26-7813-417B-AC0B-7AC74C77D79F}"/>
          </ac:spMkLst>
        </pc:spChg>
        <pc:spChg chg="mod ord">
          <ac:chgData name="Corantin SAVY" userId="02d80846-c2cc-49a1-9d9a-c07680ec6e8d" providerId="ADAL" clId="{BADF2761-D025-4BBE-9C4C-EAA945F94550}" dt="2020-10-02T10:20:37.458" v="559"/>
          <ac:spMkLst>
            <pc:docMk/>
            <pc:sldMk cId="3055682090" sldId="6951"/>
            <ac:spMk id="4" creationId="{CFDA14E9-D9F6-4D44-A466-BF298653DD71}"/>
          </ac:spMkLst>
        </pc:spChg>
        <pc:spChg chg="del">
          <ac:chgData name="Corantin SAVY" userId="02d80846-c2cc-49a1-9d9a-c07680ec6e8d" providerId="ADAL" clId="{BADF2761-D025-4BBE-9C4C-EAA945F94550}" dt="2020-10-02T13:51:13.581" v="2939" actId="478"/>
          <ac:spMkLst>
            <pc:docMk/>
            <pc:sldMk cId="3055682090" sldId="6951"/>
            <ac:spMk id="7" creationId="{46E639EE-ABFF-4BBE-ADA2-073AC0FF1356}"/>
          </ac:spMkLst>
        </pc:spChg>
        <pc:spChg chg="mod ord">
          <ac:chgData name="Corantin SAVY" userId="02d80846-c2cc-49a1-9d9a-c07680ec6e8d" providerId="ADAL" clId="{BADF2761-D025-4BBE-9C4C-EAA945F94550}" dt="2020-10-02T10:20:37.458" v="563"/>
          <ac:spMkLst>
            <pc:docMk/>
            <pc:sldMk cId="3055682090" sldId="6951"/>
            <ac:spMk id="14" creationId="{92FC6C6C-155F-4C1A-890E-114863D14568}"/>
          </ac:spMkLst>
        </pc:spChg>
        <pc:spChg chg="mod ord">
          <ac:chgData name="Corantin SAVY" userId="02d80846-c2cc-49a1-9d9a-c07680ec6e8d" providerId="ADAL" clId="{BADF2761-D025-4BBE-9C4C-EAA945F94550}" dt="2020-10-02T10:20:37.458" v="565"/>
          <ac:spMkLst>
            <pc:docMk/>
            <pc:sldMk cId="3055682090" sldId="6951"/>
            <ac:spMk id="47" creationId="{C85B0421-5BDB-4848-914A-867C2D466E74}"/>
          </ac:spMkLst>
        </pc:spChg>
        <pc:spChg chg="mod ord">
          <ac:chgData name="Corantin SAVY" userId="02d80846-c2cc-49a1-9d9a-c07680ec6e8d" providerId="ADAL" clId="{BADF2761-D025-4BBE-9C4C-EAA945F94550}" dt="2020-10-02T10:20:37.466" v="567"/>
          <ac:spMkLst>
            <pc:docMk/>
            <pc:sldMk cId="3055682090" sldId="6951"/>
            <ac:spMk id="48" creationId="{4A9A9C35-FBD0-4A84-AAD1-D2EF1546575F}"/>
          </ac:spMkLst>
        </pc:spChg>
        <pc:spChg chg="mod ord">
          <ac:chgData name="Corantin SAVY" userId="02d80846-c2cc-49a1-9d9a-c07680ec6e8d" providerId="ADAL" clId="{BADF2761-D025-4BBE-9C4C-EAA945F94550}" dt="2020-10-02T12:13:50.738" v="2146" actId="20577"/>
          <ac:spMkLst>
            <pc:docMk/>
            <pc:sldMk cId="3055682090" sldId="6951"/>
            <ac:spMk id="57" creationId="{C7761167-8EEA-4790-9E92-2DF776DF9F92}"/>
          </ac:spMkLst>
        </pc:spChg>
        <pc:spChg chg="mod">
          <ac:chgData name="Corantin SAVY" userId="02d80846-c2cc-49a1-9d9a-c07680ec6e8d" providerId="ADAL" clId="{BADF2761-D025-4BBE-9C4C-EAA945F94550}" dt="2020-10-02T10:20:37.591" v="678"/>
          <ac:spMkLst>
            <pc:docMk/>
            <pc:sldMk cId="3055682090" sldId="6951"/>
            <ac:spMk id="102" creationId="{D9C2B907-6242-45DF-B46E-6F35EA341586}"/>
          </ac:spMkLst>
        </pc:spChg>
        <pc:spChg chg="mod ord">
          <ac:chgData name="Corantin SAVY" userId="02d80846-c2cc-49a1-9d9a-c07680ec6e8d" providerId="ADAL" clId="{BADF2761-D025-4BBE-9C4C-EAA945F94550}" dt="2020-10-02T10:20:37.591" v="680"/>
          <ac:spMkLst>
            <pc:docMk/>
            <pc:sldMk cId="3055682090" sldId="6951"/>
            <ac:spMk id="103" creationId="{72090B49-B165-43E3-B662-8506E990B11E}"/>
          </ac:spMkLst>
        </pc:spChg>
        <pc:spChg chg="del mod ord">
          <ac:chgData name="Corantin SAVY" userId="02d80846-c2cc-49a1-9d9a-c07680ec6e8d" providerId="ADAL" clId="{BADF2761-D025-4BBE-9C4C-EAA945F94550}" dt="2020-10-02T10:21:40.790" v="738" actId="478"/>
          <ac:spMkLst>
            <pc:docMk/>
            <pc:sldMk cId="3055682090" sldId="6951"/>
            <ac:spMk id="104" creationId="{EEDA905A-4D00-4645-B971-C1567FDA840F}"/>
          </ac:spMkLst>
        </pc:spChg>
        <pc:spChg chg="del">
          <ac:chgData name="Corantin SAVY" userId="02d80846-c2cc-49a1-9d9a-c07680ec6e8d" providerId="ADAL" clId="{BADF2761-D025-4BBE-9C4C-EAA945F94550}" dt="2020-10-02T09:56:46.547" v="398" actId="478"/>
          <ac:spMkLst>
            <pc:docMk/>
            <pc:sldMk cId="3055682090" sldId="6951"/>
            <ac:spMk id="105" creationId="{CA1D1C12-4B38-4F18-A754-8BC47CF0AFB9}"/>
          </ac:spMkLst>
        </pc:spChg>
        <pc:spChg chg="del mod">
          <ac:chgData name="Corantin SAVY" userId="02d80846-c2cc-49a1-9d9a-c07680ec6e8d" providerId="ADAL" clId="{BADF2761-D025-4BBE-9C4C-EAA945F94550}" dt="2020-10-02T09:56:45.022" v="397" actId="478"/>
          <ac:spMkLst>
            <pc:docMk/>
            <pc:sldMk cId="3055682090" sldId="6951"/>
            <ac:spMk id="106" creationId="{CD351237-062E-43E7-961A-BD63A9B18F68}"/>
          </ac:spMkLst>
        </pc:spChg>
        <pc:spChg chg="mod ord">
          <ac:chgData name="Corantin SAVY" userId="02d80846-c2cc-49a1-9d9a-c07680ec6e8d" providerId="ADAL" clId="{BADF2761-D025-4BBE-9C4C-EAA945F94550}" dt="2020-10-02T12:12:01.699" v="2036" actId="1076"/>
          <ac:spMkLst>
            <pc:docMk/>
            <pc:sldMk cId="3055682090" sldId="6951"/>
            <ac:spMk id="107" creationId="{7371AC1A-EB41-4D65-81FB-20A3EF5A4512}"/>
          </ac:spMkLst>
        </pc:spChg>
        <pc:spChg chg="add mod ord">
          <ac:chgData name="Corantin SAVY" userId="02d80846-c2cc-49a1-9d9a-c07680ec6e8d" providerId="ADAL" clId="{BADF2761-D025-4BBE-9C4C-EAA945F94550}" dt="2020-10-02T10:20:37.608" v="694"/>
          <ac:spMkLst>
            <pc:docMk/>
            <pc:sldMk cId="3055682090" sldId="6951"/>
            <ac:spMk id="113" creationId="{03019474-C46F-4D1F-8B26-967EB88D446A}"/>
          </ac:spMkLst>
        </pc:spChg>
        <pc:spChg chg="add del mod ord">
          <ac:chgData name="Corantin SAVY" userId="02d80846-c2cc-49a1-9d9a-c07680ec6e8d" providerId="ADAL" clId="{BADF2761-D025-4BBE-9C4C-EAA945F94550}" dt="2020-10-02T13:13:05.212" v="2664" actId="478"/>
          <ac:spMkLst>
            <pc:docMk/>
            <pc:sldMk cId="3055682090" sldId="6951"/>
            <ac:spMk id="116" creationId="{D5B75DAF-7DBC-4B73-B02E-57BC7B8E6BF7}"/>
          </ac:spMkLst>
        </pc:spChg>
        <pc:spChg chg="add mod ord">
          <ac:chgData name="Corantin SAVY" userId="02d80846-c2cc-49a1-9d9a-c07680ec6e8d" providerId="ADAL" clId="{BADF2761-D025-4BBE-9C4C-EAA945F94550}" dt="2020-10-02T10:20:37.613" v="702"/>
          <ac:spMkLst>
            <pc:docMk/>
            <pc:sldMk cId="3055682090" sldId="6951"/>
            <ac:spMk id="119" creationId="{55108368-D278-4879-A489-778CF027539E}"/>
          </ac:spMkLst>
        </pc:spChg>
        <pc:spChg chg="add mod">
          <ac:chgData name="Corantin SAVY" userId="02d80846-c2cc-49a1-9d9a-c07680ec6e8d" providerId="ADAL" clId="{BADF2761-D025-4BBE-9C4C-EAA945F94550}" dt="2020-10-02T10:20:44.976" v="707" actId="571"/>
          <ac:spMkLst>
            <pc:docMk/>
            <pc:sldMk cId="3055682090" sldId="6951"/>
            <ac:spMk id="120" creationId="{D9CA344A-D293-40DA-8B5D-B76B4E39DD92}"/>
          </ac:spMkLst>
        </pc:spChg>
        <pc:spChg chg="add del mod">
          <ac:chgData name="Corantin SAVY" userId="02d80846-c2cc-49a1-9d9a-c07680ec6e8d" providerId="ADAL" clId="{BADF2761-D025-4BBE-9C4C-EAA945F94550}" dt="2020-10-02T12:48:05.543" v="2649" actId="478"/>
          <ac:spMkLst>
            <pc:docMk/>
            <pc:sldMk cId="3055682090" sldId="6951"/>
            <ac:spMk id="122" creationId="{4644ECF4-8E20-476A-AEE1-CC8BFA9BB0DF}"/>
          </ac:spMkLst>
        </pc:spChg>
        <pc:spChg chg="mod">
          <ac:chgData name="Corantin SAVY" userId="02d80846-c2cc-49a1-9d9a-c07680ec6e8d" providerId="ADAL" clId="{BADF2761-D025-4BBE-9C4C-EAA945F94550}" dt="2020-10-02T12:12:57.629" v="2038" actId="571"/>
          <ac:spMkLst>
            <pc:docMk/>
            <pc:sldMk cId="3055682090" sldId="6951"/>
            <ac:spMk id="128" creationId="{04F7E42F-5640-4652-AD37-9FE756C6090B}"/>
          </ac:spMkLst>
        </pc:spChg>
        <pc:spChg chg="mod">
          <ac:chgData name="Corantin SAVY" userId="02d80846-c2cc-49a1-9d9a-c07680ec6e8d" providerId="ADAL" clId="{BADF2761-D025-4BBE-9C4C-EAA945F94550}" dt="2020-10-02T12:13:55.766" v="2147" actId="20577"/>
          <ac:spMkLst>
            <pc:docMk/>
            <pc:sldMk cId="3055682090" sldId="6951"/>
            <ac:spMk id="129" creationId="{4D6BCFA7-3A1C-46D4-98D9-9DCB744D4593}"/>
          </ac:spMkLst>
        </pc:spChg>
        <pc:spChg chg="mod">
          <ac:chgData name="Corantin SAVY" userId="02d80846-c2cc-49a1-9d9a-c07680ec6e8d" providerId="ADAL" clId="{BADF2761-D025-4BBE-9C4C-EAA945F94550}" dt="2020-10-02T12:12:57.629" v="2038" actId="571"/>
          <ac:spMkLst>
            <pc:docMk/>
            <pc:sldMk cId="3055682090" sldId="6951"/>
            <ac:spMk id="131" creationId="{B5F5A8F0-12DB-483B-9EE0-BF28D8F44F45}"/>
          </ac:spMkLst>
        </pc:spChg>
        <pc:spChg chg="mod">
          <ac:chgData name="Corantin SAVY" userId="02d80846-c2cc-49a1-9d9a-c07680ec6e8d" providerId="ADAL" clId="{BADF2761-D025-4BBE-9C4C-EAA945F94550}" dt="2020-10-02T12:13:58.123" v="2148" actId="20577"/>
          <ac:spMkLst>
            <pc:docMk/>
            <pc:sldMk cId="3055682090" sldId="6951"/>
            <ac:spMk id="132" creationId="{6184617B-EE0C-40C3-B6BA-C6966A0A6A8A}"/>
          </ac:spMkLst>
        </pc:spChg>
        <pc:spChg chg="add mod">
          <ac:chgData name="Corantin SAVY" userId="02d80846-c2cc-49a1-9d9a-c07680ec6e8d" providerId="ADAL" clId="{BADF2761-D025-4BBE-9C4C-EAA945F94550}" dt="2020-10-02T13:53:31.824" v="2969" actId="1036"/>
          <ac:spMkLst>
            <pc:docMk/>
            <pc:sldMk cId="3055682090" sldId="6951"/>
            <ac:spMk id="135" creationId="{C73C3472-E4EA-4EDB-9BCF-6C36B1BAF8FA}"/>
          </ac:spMkLst>
        </pc:spChg>
        <pc:spChg chg="add mod">
          <ac:chgData name="Corantin SAVY" userId="02d80846-c2cc-49a1-9d9a-c07680ec6e8d" providerId="ADAL" clId="{BADF2761-D025-4BBE-9C4C-EAA945F94550}" dt="2020-10-02T14:45:27.809" v="3507" actId="20577"/>
          <ac:spMkLst>
            <pc:docMk/>
            <pc:sldMk cId="3055682090" sldId="6951"/>
            <ac:spMk id="138" creationId="{1677DFD7-4E90-4CF1-B180-A85235DAD586}"/>
          </ac:spMkLst>
        </pc:spChg>
        <pc:spChg chg="mod ord">
          <ac:chgData name="Corantin SAVY" userId="02d80846-c2cc-49a1-9d9a-c07680ec6e8d" providerId="ADAL" clId="{BADF2761-D025-4BBE-9C4C-EAA945F94550}" dt="2020-10-02T10:20:37.475" v="579"/>
          <ac:spMkLst>
            <pc:docMk/>
            <pc:sldMk cId="3055682090" sldId="6951"/>
            <ac:spMk id="150" creationId="{2E532408-C62D-41D3-B57D-A0A86CA848DE}"/>
          </ac:spMkLst>
        </pc:spChg>
        <pc:spChg chg="mod ord">
          <ac:chgData name="Corantin SAVY" userId="02d80846-c2cc-49a1-9d9a-c07680ec6e8d" providerId="ADAL" clId="{BADF2761-D025-4BBE-9C4C-EAA945F94550}" dt="2020-10-02T10:20:37.475" v="581"/>
          <ac:spMkLst>
            <pc:docMk/>
            <pc:sldMk cId="3055682090" sldId="6951"/>
            <ac:spMk id="151" creationId="{82DEBBF3-491D-4866-9699-99021F3BA9EF}"/>
          </ac:spMkLst>
        </pc:spChg>
        <pc:spChg chg="mod ord">
          <ac:chgData name="Corantin SAVY" userId="02d80846-c2cc-49a1-9d9a-c07680ec6e8d" providerId="ADAL" clId="{BADF2761-D025-4BBE-9C4C-EAA945F94550}" dt="2020-10-02T10:20:37.475" v="583"/>
          <ac:spMkLst>
            <pc:docMk/>
            <pc:sldMk cId="3055682090" sldId="6951"/>
            <ac:spMk id="152" creationId="{7BA28E49-F140-4A49-995C-C3B8B152A61A}"/>
          </ac:spMkLst>
        </pc:spChg>
        <pc:spChg chg="mod ord">
          <ac:chgData name="Corantin SAVY" userId="02d80846-c2cc-49a1-9d9a-c07680ec6e8d" providerId="ADAL" clId="{BADF2761-D025-4BBE-9C4C-EAA945F94550}" dt="2020-10-02T10:20:37.485" v="585"/>
          <ac:spMkLst>
            <pc:docMk/>
            <pc:sldMk cId="3055682090" sldId="6951"/>
            <ac:spMk id="153" creationId="{9991953C-C2A5-4B25-B864-28C1D0CC492C}"/>
          </ac:spMkLst>
        </pc:spChg>
        <pc:spChg chg="mod ord">
          <ac:chgData name="Corantin SAVY" userId="02d80846-c2cc-49a1-9d9a-c07680ec6e8d" providerId="ADAL" clId="{BADF2761-D025-4BBE-9C4C-EAA945F94550}" dt="2020-10-02T10:20:37.486" v="587"/>
          <ac:spMkLst>
            <pc:docMk/>
            <pc:sldMk cId="3055682090" sldId="6951"/>
            <ac:spMk id="154" creationId="{98C51536-2B14-4192-A8BF-3CEA4AFA4F72}"/>
          </ac:spMkLst>
        </pc:spChg>
        <pc:spChg chg="mod ord">
          <ac:chgData name="Corantin SAVY" userId="02d80846-c2cc-49a1-9d9a-c07680ec6e8d" providerId="ADAL" clId="{BADF2761-D025-4BBE-9C4C-EAA945F94550}" dt="2020-10-02T10:20:37.486" v="589"/>
          <ac:spMkLst>
            <pc:docMk/>
            <pc:sldMk cId="3055682090" sldId="6951"/>
            <ac:spMk id="155" creationId="{D568A810-32AA-423F-90F1-6B9D8A243517}"/>
          </ac:spMkLst>
        </pc:spChg>
        <pc:spChg chg="mod">
          <ac:chgData name="Corantin SAVY" userId="02d80846-c2cc-49a1-9d9a-c07680ec6e8d" providerId="ADAL" clId="{BADF2761-D025-4BBE-9C4C-EAA945F94550}" dt="2020-10-02T10:20:37.503" v="608"/>
          <ac:spMkLst>
            <pc:docMk/>
            <pc:sldMk cId="3055682090" sldId="6951"/>
            <ac:spMk id="165" creationId="{C1384961-FCA8-4FE4-9498-C4566B1B404D}"/>
          </ac:spMkLst>
        </pc:spChg>
        <pc:spChg chg="add del mod">
          <ac:chgData name="Corantin SAVY" userId="02d80846-c2cc-49a1-9d9a-c07680ec6e8d" providerId="ADAL" clId="{BADF2761-D025-4BBE-9C4C-EAA945F94550}" dt="2020-10-02T13:52:34.261" v="2946" actId="478"/>
          <ac:spMkLst>
            <pc:docMk/>
            <pc:sldMk cId="3055682090" sldId="6951"/>
            <ac:spMk id="166" creationId="{3EAEAE8B-2D1B-4630-B0CE-5498DC07E9AB}"/>
          </ac:spMkLst>
        </pc:spChg>
        <pc:spChg chg="mod">
          <ac:chgData name="Corantin SAVY" userId="02d80846-c2cc-49a1-9d9a-c07680ec6e8d" providerId="ADAL" clId="{BADF2761-D025-4BBE-9C4C-EAA945F94550}" dt="2020-10-02T10:20:37.510" v="610"/>
          <ac:spMkLst>
            <pc:docMk/>
            <pc:sldMk cId="3055682090" sldId="6951"/>
            <ac:spMk id="167" creationId="{DC1D48C4-AD40-41B5-B9CF-A1663784EEF8}"/>
          </ac:spMkLst>
        </pc:spChg>
        <pc:spChg chg="mod">
          <ac:chgData name="Corantin SAVY" userId="02d80846-c2cc-49a1-9d9a-c07680ec6e8d" providerId="ADAL" clId="{BADF2761-D025-4BBE-9C4C-EAA945F94550}" dt="2020-10-02T10:20:37.510" v="611"/>
          <ac:spMkLst>
            <pc:docMk/>
            <pc:sldMk cId="3055682090" sldId="6951"/>
            <ac:spMk id="168" creationId="{FF92E6A0-B80D-4952-8C10-1B4E80A62C54}"/>
          </ac:spMkLst>
        </pc:spChg>
        <pc:spChg chg="mod">
          <ac:chgData name="Corantin SAVY" userId="02d80846-c2cc-49a1-9d9a-c07680ec6e8d" providerId="ADAL" clId="{BADF2761-D025-4BBE-9C4C-EAA945F94550}" dt="2020-10-02T10:20:37.510" v="612"/>
          <ac:spMkLst>
            <pc:docMk/>
            <pc:sldMk cId="3055682090" sldId="6951"/>
            <ac:spMk id="169" creationId="{D4FB53C2-5930-4361-A03D-9A62998AF146}"/>
          </ac:spMkLst>
        </pc:spChg>
        <pc:spChg chg="mod">
          <ac:chgData name="Corantin SAVY" userId="02d80846-c2cc-49a1-9d9a-c07680ec6e8d" providerId="ADAL" clId="{BADF2761-D025-4BBE-9C4C-EAA945F94550}" dt="2020-10-02T10:20:37.510" v="613"/>
          <ac:spMkLst>
            <pc:docMk/>
            <pc:sldMk cId="3055682090" sldId="6951"/>
            <ac:spMk id="170" creationId="{5537DDAF-AB67-4B73-96FD-0D42040E419F}"/>
          </ac:spMkLst>
        </pc:spChg>
        <pc:spChg chg="mod">
          <ac:chgData name="Corantin SAVY" userId="02d80846-c2cc-49a1-9d9a-c07680ec6e8d" providerId="ADAL" clId="{BADF2761-D025-4BBE-9C4C-EAA945F94550}" dt="2020-10-02T10:20:37.510" v="614"/>
          <ac:spMkLst>
            <pc:docMk/>
            <pc:sldMk cId="3055682090" sldId="6951"/>
            <ac:spMk id="171" creationId="{E7A67B14-AD2E-4F01-9105-B160DE36A2D8}"/>
          </ac:spMkLst>
        </pc:spChg>
        <pc:spChg chg="mod">
          <ac:chgData name="Corantin SAVY" userId="02d80846-c2cc-49a1-9d9a-c07680ec6e8d" providerId="ADAL" clId="{BADF2761-D025-4BBE-9C4C-EAA945F94550}" dt="2020-10-02T10:20:37.510" v="615"/>
          <ac:spMkLst>
            <pc:docMk/>
            <pc:sldMk cId="3055682090" sldId="6951"/>
            <ac:spMk id="172" creationId="{F181AB09-B333-4E8A-860A-9C937424FB5F}"/>
          </ac:spMkLst>
        </pc:spChg>
        <pc:spChg chg="mod">
          <ac:chgData name="Corantin SAVY" userId="02d80846-c2cc-49a1-9d9a-c07680ec6e8d" providerId="ADAL" clId="{BADF2761-D025-4BBE-9C4C-EAA945F94550}" dt="2020-10-02T10:20:37.519" v="616"/>
          <ac:spMkLst>
            <pc:docMk/>
            <pc:sldMk cId="3055682090" sldId="6951"/>
            <ac:spMk id="173" creationId="{1181BFAD-B455-4D30-A710-FB5B7089AFEE}"/>
          </ac:spMkLst>
        </pc:spChg>
        <pc:spChg chg="mod">
          <ac:chgData name="Corantin SAVY" userId="02d80846-c2cc-49a1-9d9a-c07680ec6e8d" providerId="ADAL" clId="{BADF2761-D025-4BBE-9C4C-EAA945F94550}" dt="2020-10-02T10:20:37.519" v="617"/>
          <ac:spMkLst>
            <pc:docMk/>
            <pc:sldMk cId="3055682090" sldId="6951"/>
            <ac:spMk id="174" creationId="{BF0D5354-36B6-4F9B-8702-064F576996A8}"/>
          </ac:spMkLst>
        </pc:spChg>
        <pc:spChg chg="add del mod">
          <ac:chgData name="Corantin SAVY" userId="02d80846-c2cc-49a1-9d9a-c07680ec6e8d" providerId="ADAL" clId="{BADF2761-D025-4BBE-9C4C-EAA945F94550}" dt="2020-10-02T13:52:34.261" v="2946" actId="478"/>
          <ac:spMkLst>
            <pc:docMk/>
            <pc:sldMk cId="3055682090" sldId="6951"/>
            <ac:spMk id="175" creationId="{AD8C4CAF-C01F-47FB-9636-04D1D4D5AB52}"/>
          </ac:spMkLst>
        </pc:spChg>
        <pc:spChg chg="add del mod">
          <ac:chgData name="Corantin SAVY" userId="02d80846-c2cc-49a1-9d9a-c07680ec6e8d" providerId="ADAL" clId="{BADF2761-D025-4BBE-9C4C-EAA945F94550}" dt="2020-10-02T13:52:34.261" v="2946" actId="478"/>
          <ac:spMkLst>
            <pc:docMk/>
            <pc:sldMk cId="3055682090" sldId="6951"/>
            <ac:spMk id="176" creationId="{4B72C909-46CB-4046-A8C3-95BC1CE79F9C}"/>
          </ac:spMkLst>
        </pc:spChg>
        <pc:spChg chg="add del mod">
          <ac:chgData name="Corantin SAVY" userId="02d80846-c2cc-49a1-9d9a-c07680ec6e8d" providerId="ADAL" clId="{BADF2761-D025-4BBE-9C4C-EAA945F94550}" dt="2020-10-02T13:52:34.261" v="2946" actId="478"/>
          <ac:spMkLst>
            <pc:docMk/>
            <pc:sldMk cId="3055682090" sldId="6951"/>
            <ac:spMk id="177" creationId="{614EF235-F46A-433B-BD54-EDA4458E8671}"/>
          </ac:spMkLst>
        </pc:spChg>
        <pc:spChg chg="add del mod">
          <ac:chgData name="Corantin SAVY" userId="02d80846-c2cc-49a1-9d9a-c07680ec6e8d" providerId="ADAL" clId="{BADF2761-D025-4BBE-9C4C-EAA945F94550}" dt="2020-10-02T13:52:34.261" v="2946" actId="478"/>
          <ac:spMkLst>
            <pc:docMk/>
            <pc:sldMk cId="3055682090" sldId="6951"/>
            <ac:spMk id="178" creationId="{6F38A110-E547-4792-A86E-E177DB2ECB12}"/>
          </ac:spMkLst>
        </pc:spChg>
        <pc:spChg chg="add del mod">
          <ac:chgData name="Corantin SAVY" userId="02d80846-c2cc-49a1-9d9a-c07680ec6e8d" providerId="ADAL" clId="{BADF2761-D025-4BBE-9C4C-EAA945F94550}" dt="2020-10-02T13:52:34.261" v="2946" actId="478"/>
          <ac:spMkLst>
            <pc:docMk/>
            <pc:sldMk cId="3055682090" sldId="6951"/>
            <ac:spMk id="179" creationId="{DAC54BB9-DDE3-4EF5-8EA8-91FAEB25C96D}"/>
          </ac:spMkLst>
        </pc:spChg>
        <pc:spChg chg="add del mod">
          <ac:chgData name="Corantin SAVY" userId="02d80846-c2cc-49a1-9d9a-c07680ec6e8d" providerId="ADAL" clId="{BADF2761-D025-4BBE-9C4C-EAA945F94550}" dt="2020-10-02T13:52:34.261" v="2946" actId="478"/>
          <ac:spMkLst>
            <pc:docMk/>
            <pc:sldMk cId="3055682090" sldId="6951"/>
            <ac:spMk id="180" creationId="{184E0053-E24B-46D8-8B9E-C7E65042D21A}"/>
          </ac:spMkLst>
        </pc:spChg>
        <pc:spChg chg="add del mod">
          <ac:chgData name="Corantin SAVY" userId="02d80846-c2cc-49a1-9d9a-c07680ec6e8d" providerId="ADAL" clId="{BADF2761-D025-4BBE-9C4C-EAA945F94550}" dt="2020-10-02T13:52:34.261" v="2946" actId="478"/>
          <ac:spMkLst>
            <pc:docMk/>
            <pc:sldMk cId="3055682090" sldId="6951"/>
            <ac:spMk id="181" creationId="{3EE21AAC-3D9D-4D90-9EBF-F63AB4C3F5CA}"/>
          </ac:spMkLst>
        </pc:spChg>
        <pc:spChg chg="add del mod">
          <ac:chgData name="Corantin SAVY" userId="02d80846-c2cc-49a1-9d9a-c07680ec6e8d" providerId="ADAL" clId="{BADF2761-D025-4BBE-9C4C-EAA945F94550}" dt="2020-10-02T13:52:34.261" v="2946" actId="478"/>
          <ac:spMkLst>
            <pc:docMk/>
            <pc:sldMk cId="3055682090" sldId="6951"/>
            <ac:spMk id="182" creationId="{F0FF57B5-C30E-42D4-AB04-C8C5E22FD561}"/>
          </ac:spMkLst>
        </pc:spChg>
        <pc:spChg chg="mod ord">
          <ac:chgData name="Corantin SAVY" userId="02d80846-c2cc-49a1-9d9a-c07680ec6e8d" providerId="ADAL" clId="{BADF2761-D025-4BBE-9C4C-EAA945F94550}" dt="2020-10-02T14:43:57.666" v="3498" actId="20577"/>
          <ac:spMkLst>
            <pc:docMk/>
            <pc:sldMk cId="3055682090" sldId="6951"/>
            <ac:spMk id="183" creationId="{D458E761-8D37-4B76-985F-EA4DCCEFE449}"/>
          </ac:spMkLst>
        </pc:spChg>
        <pc:spChg chg="mod ord">
          <ac:chgData name="Corantin SAVY" userId="02d80846-c2cc-49a1-9d9a-c07680ec6e8d" providerId="ADAL" clId="{BADF2761-D025-4BBE-9C4C-EAA945F94550}" dt="2020-10-02T14:45:02.464" v="3501" actId="20577"/>
          <ac:spMkLst>
            <pc:docMk/>
            <pc:sldMk cId="3055682090" sldId="6951"/>
            <ac:spMk id="184" creationId="{E421838B-1AC2-4204-8392-5E73A0DAC093}"/>
          </ac:spMkLst>
        </pc:spChg>
        <pc:spChg chg="mod ord">
          <ac:chgData name="Corantin SAVY" userId="02d80846-c2cc-49a1-9d9a-c07680ec6e8d" providerId="ADAL" clId="{BADF2761-D025-4BBE-9C4C-EAA945F94550}" dt="2020-10-02T14:45:08.605" v="3503" actId="20577"/>
          <ac:spMkLst>
            <pc:docMk/>
            <pc:sldMk cId="3055682090" sldId="6951"/>
            <ac:spMk id="185" creationId="{E54FBE8C-ECAC-4DE9-B343-6B55E302243E}"/>
          </ac:spMkLst>
        </pc:spChg>
        <pc:spChg chg="mod ord">
          <ac:chgData name="Corantin SAVY" userId="02d80846-c2cc-49a1-9d9a-c07680ec6e8d" providerId="ADAL" clId="{BADF2761-D025-4BBE-9C4C-EAA945F94550}" dt="2020-10-02T13:53:31.824" v="2969" actId="1036"/>
          <ac:spMkLst>
            <pc:docMk/>
            <pc:sldMk cId="3055682090" sldId="6951"/>
            <ac:spMk id="186" creationId="{CA08447A-EE6E-4C22-A9BA-BC8710F62CB8}"/>
          </ac:spMkLst>
        </pc:spChg>
        <pc:spChg chg="mod">
          <ac:chgData name="Corantin SAVY" userId="02d80846-c2cc-49a1-9d9a-c07680ec6e8d" providerId="ADAL" clId="{BADF2761-D025-4BBE-9C4C-EAA945F94550}" dt="2020-10-02T10:20:37.558" v="652"/>
          <ac:spMkLst>
            <pc:docMk/>
            <pc:sldMk cId="3055682090" sldId="6951"/>
            <ac:spMk id="196" creationId="{A988C4B1-8F0F-43F4-A652-46D728D7D28E}"/>
          </ac:spMkLst>
        </pc:spChg>
        <pc:spChg chg="mod">
          <ac:chgData name="Corantin SAVY" userId="02d80846-c2cc-49a1-9d9a-c07680ec6e8d" providerId="ADAL" clId="{BADF2761-D025-4BBE-9C4C-EAA945F94550}" dt="2020-10-02T10:20:37.559" v="653"/>
          <ac:spMkLst>
            <pc:docMk/>
            <pc:sldMk cId="3055682090" sldId="6951"/>
            <ac:spMk id="197" creationId="{F18740EB-FAED-4926-82F6-2A2B44E2F103}"/>
          </ac:spMkLst>
        </pc:spChg>
        <pc:spChg chg="mod">
          <ac:chgData name="Corantin SAVY" userId="02d80846-c2cc-49a1-9d9a-c07680ec6e8d" providerId="ADAL" clId="{BADF2761-D025-4BBE-9C4C-EAA945F94550}" dt="2020-10-02T10:20:37.560" v="654"/>
          <ac:spMkLst>
            <pc:docMk/>
            <pc:sldMk cId="3055682090" sldId="6951"/>
            <ac:spMk id="198" creationId="{8AC95347-DC14-4851-873D-21CBD86AC784}"/>
          </ac:spMkLst>
        </pc:spChg>
        <pc:spChg chg="add del mod">
          <ac:chgData name="Corantin SAVY" userId="02d80846-c2cc-49a1-9d9a-c07680ec6e8d" providerId="ADAL" clId="{BADF2761-D025-4BBE-9C4C-EAA945F94550}" dt="2020-10-02T13:52:34.261" v="2946" actId="478"/>
          <ac:spMkLst>
            <pc:docMk/>
            <pc:sldMk cId="3055682090" sldId="6951"/>
            <ac:spMk id="199" creationId="{53767BB8-5622-441C-B82F-11419747BE4F}"/>
          </ac:spMkLst>
        </pc:spChg>
        <pc:spChg chg="mod">
          <ac:chgData name="Corantin SAVY" userId="02d80846-c2cc-49a1-9d9a-c07680ec6e8d" providerId="ADAL" clId="{BADF2761-D025-4BBE-9C4C-EAA945F94550}" dt="2020-10-02T10:20:37.560" v="656"/>
          <ac:spMkLst>
            <pc:docMk/>
            <pc:sldMk cId="3055682090" sldId="6951"/>
            <ac:spMk id="200" creationId="{AE14001A-A32B-4387-BB2E-56D18792F2A8}"/>
          </ac:spMkLst>
        </pc:spChg>
        <pc:spChg chg="mod">
          <ac:chgData name="Corantin SAVY" userId="02d80846-c2cc-49a1-9d9a-c07680ec6e8d" providerId="ADAL" clId="{BADF2761-D025-4BBE-9C4C-EAA945F94550}" dt="2020-10-02T10:20:37.560" v="657"/>
          <ac:spMkLst>
            <pc:docMk/>
            <pc:sldMk cId="3055682090" sldId="6951"/>
            <ac:spMk id="201" creationId="{97F76036-24DF-480E-8848-DD2ECF760826}"/>
          </ac:spMkLst>
        </pc:spChg>
        <pc:spChg chg="mod">
          <ac:chgData name="Corantin SAVY" userId="02d80846-c2cc-49a1-9d9a-c07680ec6e8d" providerId="ADAL" clId="{BADF2761-D025-4BBE-9C4C-EAA945F94550}" dt="2020-10-02T10:20:37.560" v="658"/>
          <ac:spMkLst>
            <pc:docMk/>
            <pc:sldMk cId="3055682090" sldId="6951"/>
            <ac:spMk id="202" creationId="{ADEE1C9B-1A76-4AFA-A5EC-00E3B5E7E77B}"/>
          </ac:spMkLst>
        </pc:spChg>
        <pc:spChg chg="add del mod">
          <ac:chgData name="Corantin SAVY" userId="02d80846-c2cc-49a1-9d9a-c07680ec6e8d" providerId="ADAL" clId="{BADF2761-D025-4BBE-9C4C-EAA945F94550}" dt="2020-10-02T13:52:34.261" v="2946" actId="478"/>
          <ac:spMkLst>
            <pc:docMk/>
            <pc:sldMk cId="3055682090" sldId="6951"/>
            <ac:spMk id="203" creationId="{496E8613-4088-4816-A87B-C0EFF1710D1D}"/>
          </ac:spMkLst>
        </pc:spChg>
        <pc:spChg chg="mod">
          <ac:chgData name="Corantin SAVY" userId="02d80846-c2cc-49a1-9d9a-c07680ec6e8d" providerId="ADAL" clId="{BADF2761-D025-4BBE-9C4C-EAA945F94550}" dt="2020-10-02T10:20:37.569" v="660"/>
          <ac:spMkLst>
            <pc:docMk/>
            <pc:sldMk cId="3055682090" sldId="6951"/>
            <ac:spMk id="204" creationId="{514BAAD5-3B07-4C59-A0AC-1C21C7D0AEB0}"/>
          </ac:spMkLst>
        </pc:spChg>
        <pc:spChg chg="mod">
          <ac:chgData name="Corantin SAVY" userId="02d80846-c2cc-49a1-9d9a-c07680ec6e8d" providerId="ADAL" clId="{BADF2761-D025-4BBE-9C4C-EAA945F94550}" dt="2020-10-02T10:20:37.569" v="661"/>
          <ac:spMkLst>
            <pc:docMk/>
            <pc:sldMk cId="3055682090" sldId="6951"/>
            <ac:spMk id="205" creationId="{BCD56CBA-69F9-4FFC-BE3E-431BBC751573}"/>
          </ac:spMkLst>
        </pc:spChg>
        <pc:spChg chg="mod">
          <ac:chgData name="Corantin SAVY" userId="02d80846-c2cc-49a1-9d9a-c07680ec6e8d" providerId="ADAL" clId="{BADF2761-D025-4BBE-9C4C-EAA945F94550}" dt="2020-10-02T10:20:37.573" v="662"/>
          <ac:spMkLst>
            <pc:docMk/>
            <pc:sldMk cId="3055682090" sldId="6951"/>
            <ac:spMk id="206" creationId="{B8629B3C-CA6C-46A8-9F64-B98080367F7A}"/>
          </ac:spMkLst>
        </pc:spChg>
        <pc:spChg chg="add del mod">
          <ac:chgData name="Corantin SAVY" userId="02d80846-c2cc-49a1-9d9a-c07680ec6e8d" providerId="ADAL" clId="{BADF2761-D025-4BBE-9C4C-EAA945F94550}" dt="2020-10-02T13:52:34.261" v="2946" actId="478"/>
          <ac:spMkLst>
            <pc:docMk/>
            <pc:sldMk cId="3055682090" sldId="6951"/>
            <ac:spMk id="207" creationId="{AB856FEA-1823-4E38-9D5E-3304A35835A7}"/>
          </ac:spMkLst>
        </pc:spChg>
        <pc:spChg chg="add del mod">
          <ac:chgData name="Corantin SAVY" userId="02d80846-c2cc-49a1-9d9a-c07680ec6e8d" providerId="ADAL" clId="{BADF2761-D025-4BBE-9C4C-EAA945F94550}" dt="2020-10-02T13:52:34.261" v="2946" actId="478"/>
          <ac:spMkLst>
            <pc:docMk/>
            <pc:sldMk cId="3055682090" sldId="6951"/>
            <ac:spMk id="208" creationId="{B21FF46D-4D3A-4646-B01A-2A77A07B9E11}"/>
          </ac:spMkLst>
        </pc:spChg>
        <pc:spChg chg="add del mod">
          <ac:chgData name="Corantin SAVY" userId="02d80846-c2cc-49a1-9d9a-c07680ec6e8d" providerId="ADAL" clId="{BADF2761-D025-4BBE-9C4C-EAA945F94550}" dt="2020-10-02T13:52:34.261" v="2946" actId="478"/>
          <ac:spMkLst>
            <pc:docMk/>
            <pc:sldMk cId="3055682090" sldId="6951"/>
            <ac:spMk id="209" creationId="{0575D339-CF86-438E-8CFD-7CD4612848CA}"/>
          </ac:spMkLst>
        </pc:spChg>
        <pc:spChg chg="add del mod">
          <ac:chgData name="Corantin SAVY" userId="02d80846-c2cc-49a1-9d9a-c07680ec6e8d" providerId="ADAL" clId="{BADF2761-D025-4BBE-9C4C-EAA945F94550}" dt="2020-10-02T13:52:34.261" v="2946" actId="478"/>
          <ac:spMkLst>
            <pc:docMk/>
            <pc:sldMk cId="3055682090" sldId="6951"/>
            <ac:spMk id="210" creationId="{3A7D44F5-C329-44FF-A743-2F7489FCE4A3}"/>
          </ac:spMkLst>
        </pc:spChg>
        <pc:spChg chg="add del mod">
          <ac:chgData name="Corantin SAVY" userId="02d80846-c2cc-49a1-9d9a-c07680ec6e8d" providerId="ADAL" clId="{BADF2761-D025-4BBE-9C4C-EAA945F94550}" dt="2020-10-02T13:52:34.261" v="2946" actId="478"/>
          <ac:spMkLst>
            <pc:docMk/>
            <pc:sldMk cId="3055682090" sldId="6951"/>
            <ac:spMk id="211" creationId="{CDDC051E-B653-4CD3-A52D-55E07C235672}"/>
          </ac:spMkLst>
        </pc:spChg>
        <pc:spChg chg="add del mod">
          <ac:chgData name="Corantin SAVY" userId="02d80846-c2cc-49a1-9d9a-c07680ec6e8d" providerId="ADAL" clId="{BADF2761-D025-4BBE-9C4C-EAA945F94550}" dt="2020-10-02T13:52:34.261" v="2946" actId="478"/>
          <ac:spMkLst>
            <pc:docMk/>
            <pc:sldMk cId="3055682090" sldId="6951"/>
            <ac:spMk id="212" creationId="{EF1E312A-0FEA-4380-9A19-2CD2638FA0DF}"/>
          </ac:spMkLst>
        </pc:spChg>
        <pc:spChg chg="add del mod">
          <ac:chgData name="Corantin SAVY" userId="02d80846-c2cc-49a1-9d9a-c07680ec6e8d" providerId="ADAL" clId="{BADF2761-D025-4BBE-9C4C-EAA945F94550}" dt="2020-10-02T13:52:34.261" v="2946" actId="478"/>
          <ac:spMkLst>
            <pc:docMk/>
            <pc:sldMk cId="3055682090" sldId="6951"/>
            <ac:spMk id="213" creationId="{4BE0EE56-C4C6-468E-BB57-D81D88D19574}"/>
          </ac:spMkLst>
        </pc:spChg>
        <pc:spChg chg="mod ord">
          <ac:chgData name="Corantin SAVY" userId="02d80846-c2cc-49a1-9d9a-c07680ec6e8d" providerId="ADAL" clId="{BADF2761-D025-4BBE-9C4C-EAA945F94550}" dt="2020-10-02T14:45:16.453" v="3505" actId="20577"/>
          <ac:spMkLst>
            <pc:docMk/>
            <pc:sldMk cId="3055682090" sldId="6951"/>
            <ac:spMk id="214" creationId="{186F9FE6-6D42-4CD1-9264-BB26E46D58EC}"/>
          </ac:spMkLst>
        </pc:spChg>
        <pc:spChg chg="mod ord">
          <ac:chgData name="Corantin SAVY" userId="02d80846-c2cc-49a1-9d9a-c07680ec6e8d" providerId="ADAL" clId="{BADF2761-D025-4BBE-9C4C-EAA945F94550}" dt="2020-10-02T14:45:36.841" v="3509" actId="20577"/>
          <ac:spMkLst>
            <pc:docMk/>
            <pc:sldMk cId="3055682090" sldId="6951"/>
            <ac:spMk id="215" creationId="{4F578D78-755A-422C-AA31-4B207C7EBCBF}"/>
          </ac:spMkLst>
        </pc:spChg>
        <pc:spChg chg="mod ord">
          <ac:chgData name="Corantin SAVY" userId="02d80846-c2cc-49a1-9d9a-c07680ec6e8d" providerId="ADAL" clId="{BADF2761-D025-4BBE-9C4C-EAA945F94550}" dt="2020-10-02T14:45:45.650" v="3513" actId="20577"/>
          <ac:spMkLst>
            <pc:docMk/>
            <pc:sldMk cId="3055682090" sldId="6951"/>
            <ac:spMk id="216" creationId="{14E40106-3D33-44DE-A969-4F4D77754EB3}"/>
          </ac:spMkLst>
        </pc:spChg>
        <pc:spChg chg="mod ord">
          <ac:chgData name="Corantin SAVY" userId="02d80846-c2cc-49a1-9d9a-c07680ec6e8d" providerId="ADAL" clId="{BADF2761-D025-4BBE-9C4C-EAA945F94550}" dt="2020-10-02T14:46:00.796" v="3525" actId="20577"/>
          <ac:spMkLst>
            <pc:docMk/>
            <pc:sldMk cId="3055682090" sldId="6951"/>
            <ac:spMk id="217" creationId="{4EED8B52-E2F6-4FC8-8F0D-B6989714D56A}"/>
          </ac:spMkLst>
        </pc:spChg>
        <pc:grpChg chg="mod ord">
          <ac:chgData name="Corantin SAVY" userId="02d80846-c2cc-49a1-9d9a-c07680ec6e8d" providerId="ADAL" clId="{BADF2761-D025-4BBE-9C4C-EAA945F94550}" dt="2020-10-02T10:20:37.466" v="569"/>
          <ac:grpSpMkLst>
            <pc:docMk/>
            <pc:sldMk cId="3055682090" sldId="6951"/>
            <ac:grpSpMk id="35" creationId="{A0F015F3-EE41-4026-97D7-5E48A1B9B5BE}"/>
          </ac:grpSpMkLst>
        </pc:grpChg>
        <pc:grpChg chg="mod ord">
          <ac:chgData name="Corantin SAVY" userId="02d80846-c2cc-49a1-9d9a-c07680ec6e8d" providerId="ADAL" clId="{BADF2761-D025-4BBE-9C4C-EAA945F94550}" dt="2020-10-02T10:20:37.466" v="573"/>
          <ac:grpSpMkLst>
            <pc:docMk/>
            <pc:sldMk cId="3055682090" sldId="6951"/>
            <ac:grpSpMk id="58" creationId="{CA555478-8DCC-4F1B-BA3B-9CDE3E7F1CF9}"/>
          </ac:grpSpMkLst>
        </pc:grpChg>
        <pc:grpChg chg="mod ord">
          <ac:chgData name="Corantin SAVY" userId="02d80846-c2cc-49a1-9d9a-c07680ec6e8d" providerId="ADAL" clId="{BADF2761-D025-4BBE-9C4C-EAA945F94550}" dt="2020-10-02T10:20:37.475" v="575"/>
          <ac:grpSpMkLst>
            <pc:docMk/>
            <pc:sldMk cId="3055682090" sldId="6951"/>
            <ac:grpSpMk id="61" creationId="{7DD544F8-17CB-48A1-8326-E30EB2A37AE1}"/>
          </ac:grpSpMkLst>
        </pc:grpChg>
        <pc:grpChg chg="mod ord">
          <ac:chgData name="Corantin SAVY" userId="02d80846-c2cc-49a1-9d9a-c07680ec6e8d" providerId="ADAL" clId="{BADF2761-D025-4BBE-9C4C-EAA945F94550}" dt="2020-10-02T10:20:37.475" v="577"/>
          <ac:grpSpMkLst>
            <pc:docMk/>
            <pc:sldMk cId="3055682090" sldId="6951"/>
            <ac:grpSpMk id="68" creationId="{5FE8CF72-BA14-4FE2-AAE9-F2C19C3EAD16}"/>
          </ac:grpSpMkLst>
        </pc:grpChg>
        <pc:grpChg chg="del mod ord">
          <ac:chgData name="Corantin SAVY" userId="02d80846-c2cc-49a1-9d9a-c07680ec6e8d" providerId="ADAL" clId="{BADF2761-D025-4BBE-9C4C-EAA945F94550}" dt="2020-10-02T12:12:47.375" v="2037" actId="478"/>
          <ac:grpSpMkLst>
            <pc:docMk/>
            <pc:sldMk cId="3055682090" sldId="6951"/>
            <ac:grpSpMk id="108" creationId="{908C9FDC-B007-43E9-9C99-26DB2BBE9211}"/>
          </ac:grpSpMkLst>
        </pc:grpChg>
        <pc:grpChg chg="add mod">
          <ac:chgData name="Corantin SAVY" userId="02d80846-c2cc-49a1-9d9a-c07680ec6e8d" providerId="ADAL" clId="{BADF2761-D025-4BBE-9C4C-EAA945F94550}" dt="2020-10-02T12:12:57.629" v="2038" actId="571"/>
          <ac:grpSpMkLst>
            <pc:docMk/>
            <pc:sldMk cId="3055682090" sldId="6951"/>
            <ac:grpSpMk id="127" creationId="{8B24F155-2F75-450B-8749-F9888E7DB14A}"/>
          </ac:grpSpMkLst>
        </pc:grpChg>
        <pc:grpChg chg="add mod">
          <ac:chgData name="Corantin SAVY" userId="02d80846-c2cc-49a1-9d9a-c07680ec6e8d" providerId="ADAL" clId="{BADF2761-D025-4BBE-9C4C-EAA945F94550}" dt="2020-10-02T12:12:57.629" v="2038" actId="571"/>
          <ac:grpSpMkLst>
            <pc:docMk/>
            <pc:sldMk cId="3055682090" sldId="6951"/>
            <ac:grpSpMk id="130" creationId="{05055DCA-BA3D-4B1C-AF89-B81755FFEC8A}"/>
          </ac:grpSpMkLst>
        </pc:grpChg>
        <pc:graphicFrameChg chg="mod ord">
          <ac:chgData name="Corantin SAVY" userId="02d80846-c2cc-49a1-9d9a-c07680ec6e8d" providerId="ADAL" clId="{BADF2761-D025-4BBE-9C4C-EAA945F94550}" dt="2020-10-02T10:20:37.625" v="706"/>
          <ac:graphicFrameMkLst>
            <pc:docMk/>
            <pc:sldMk cId="3055682090" sldId="6951"/>
            <ac:graphicFrameMk id="5" creationId="{EAAA3A35-C6B3-4EE6-9406-A3DBC2CB7256}"/>
          </ac:graphicFrameMkLst>
        </pc:graphicFrameChg>
        <pc:graphicFrameChg chg="mod ord">
          <ac:chgData name="Corantin SAVY" userId="02d80846-c2cc-49a1-9d9a-c07680ec6e8d" providerId="ADAL" clId="{BADF2761-D025-4BBE-9C4C-EAA945F94550}" dt="2020-10-02T13:52:56.656" v="2947" actId="207"/>
          <ac:graphicFrameMkLst>
            <pc:docMk/>
            <pc:sldMk cId="3055682090" sldId="6951"/>
            <ac:graphicFrameMk id="156" creationId="{27A44FBB-4467-4B76-AF3C-7528E9F5D887}"/>
          </ac:graphicFrameMkLst>
        </pc:graphicFrameChg>
        <pc:graphicFrameChg chg="mod ord">
          <ac:chgData name="Corantin SAVY" userId="02d80846-c2cc-49a1-9d9a-c07680ec6e8d" providerId="ADAL" clId="{BADF2761-D025-4BBE-9C4C-EAA945F94550}" dt="2020-10-02T13:53:08.368" v="2948" actId="207"/>
          <ac:graphicFrameMkLst>
            <pc:docMk/>
            <pc:sldMk cId="3055682090" sldId="6951"/>
            <ac:graphicFrameMk id="187" creationId="{958F4636-73BA-4C29-9816-ADF47CE34F92}"/>
          </ac:graphicFrameMkLst>
        </pc:graphicFrameChg>
        <pc:picChg chg="add mod ord">
          <ac:chgData name="Corantin SAVY" userId="02d80846-c2cc-49a1-9d9a-c07680ec6e8d" providerId="ADAL" clId="{BADF2761-D025-4BBE-9C4C-EAA945F94550}" dt="2020-10-02T13:53:31.824" v="2969" actId="1036"/>
          <ac:picMkLst>
            <pc:docMk/>
            <pc:sldMk cId="3055682090" sldId="6951"/>
            <ac:picMk id="118" creationId="{42C6B5E4-0439-4A95-9372-1E48D35F6E53}"/>
          </ac:picMkLst>
        </pc:picChg>
        <pc:picChg chg="add mod">
          <ac:chgData name="Corantin SAVY" userId="02d80846-c2cc-49a1-9d9a-c07680ec6e8d" providerId="ADAL" clId="{BADF2761-D025-4BBE-9C4C-EAA945F94550}" dt="2020-10-02T10:20:44.976" v="707" actId="571"/>
          <ac:picMkLst>
            <pc:docMk/>
            <pc:sldMk cId="3055682090" sldId="6951"/>
            <ac:picMk id="121" creationId="{1317366D-981F-4DF4-846C-E7B164B7C6EE}"/>
          </ac:picMkLst>
        </pc:picChg>
        <pc:picChg chg="mod">
          <ac:chgData name="Corantin SAVY" userId="02d80846-c2cc-49a1-9d9a-c07680ec6e8d" providerId="ADAL" clId="{BADF2761-D025-4BBE-9C4C-EAA945F94550}" dt="2020-10-02T13:53:40" v="2986" actId="1035"/>
          <ac:picMkLst>
            <pc:docMk/>
            <pc:sldMk cId="3055682090" sldId="6951"/>
            <ac:picMk id="133" creationId="{20039D6F-E21E-449D-A907-1375E4331923}"/>
          </ac:picMkLst>
        </pc:picChg>
        <pc:cxnChg chg="del">
          <ac:chgData name="Corantin SAVY" userId="02d80846-c2cc-49a1-9d9a-c07680ec6e8d" providerId="ADAL" clId="{BADF2761-D025-4BBE-9C4C-EAA945F94550}" dt="2020-10-02T13:51:15.517" v="2940" actId="478"/>
          <ac:cxnSpMkLst>
            <pc:docMk/>
            <pc:sldMk cId="3055682090" sldId="6951"/>
            <ac:cxnSpMk id="2" creationId="{E90F4115-8A77-4A8C-9C57-A415646CDA2B}"/>
          </ac:cxnSpMkLst>
        </pc:cxnChg>
        <pc:cxnChg chg="del">
          <ac:chgData name="Corantin SAVY" userId="02d80846-c2cc-49a1-9d9a-c07680ec6e8d" providerId="ADAL" clId="{BADF2761-D025-4BBE-9C4C-EAA945F94550}" dt="2020-10-02T13:51:17.033" v="2941" actId="478"/>
          <ac:cxnSpMkLst>
            <pc:docMk/>
            <pc:sldMk cId="3055682090" sldId="6951"/>
            <ac:cxnSpMk id="6" creationId="{8E3B8D73-B2C0-4460-A3A1-4AC9E25A0EB6}"/>
          </ac:cxnSpMkLst>
        </pc:cxnChg>
        <pc:cxnChg chg="add mod ord">
          <ac:chgData name="Corantin SAVY" userId="02d80846-c2cc-49a1-9d9a-c07680ec6e8d" providerId="ADAL" clId="{BADF2761-D025-4BBE-9C4C-EAA945F94550}" dt="2020-10-02T10:20:37.597" v="690"/>
          <ac:cxnSpMkLst>
            <pc:docMk/>
            <pc:sldMk cId="3055682090" sldId="6951"/>
            <ac:cxnSpMk id="111" creationId="{40E7DFF4-BBC7-47F4-8E12-AC9EEA7C8702}"/>
          </ac:cxnSpMkLst>
        </pc:cxnChg>
        <pc:cxnChg chg="add mod ord">
          <ac:chgData name="Corantin SAVY" userId="02d80846-c2cc-49a1-9d9a-c07680ec6e8d" providerId="ADAL" clId="{BADF2761-D025-4BBE-9C4C-EAA945F94550}" dt="2020-10-02T10:20:37.606" v="692"/>
          <ac:cxnSpMkLst>
            <pc:docMk/>
            <pc:sldMk cId="3055682090" sldId="6951"/>
            <ac:cxnSpMk id="112" creationId="{752FB9CC-2708-4D96-BA55-8BB749E5C009}"/>
          </ac:cxnSpMkLst>
        </pc:cxnChg>
        <pc:cxnChg chg="add del mod ord">
          <ac:chgData name="Corantin SAVY" userId="02d80846-c2cc-49a1-9d9a-c07680ec6e8d" providerId="ADAL" clId="{BADF2761-D025-4BBE-9C4C-EAA945F94550}" dt="2020-10-02T13:13:06.065" v="2665" actId="478"/>
          <ac:cxnSpMkLst>
            <pc:docMk/>
            <pc:sldMk cId="3055682090" sldId="6951"/>
            <ac:cxnSpMk id="114" creationId="{26FDCD55-4DD2-46FA-92B9-B128136CA7A9}"/>
          </ac:cxnSpMkLst>
        </pc:cxnChg>
        <pc:cxnChg chg="add del mod ord">
          <ac:chgData name="Corantin SAVY" userId="02d80846-c2cc-49a1-9d9a-c07680ec6e8d" providerId="ADAL" clId="{BADF2761-D025-4BBE-9C4C-EAA945F94550}" dt="2020-10-02T13:13:03.764" v="2663" actId="478"/>
          <ac:cxnSpMkLst>
            <pc:docMk/>
            <pc:sldMk cId="3055682090" sldId="6951"/>
            <ac:cxnSpMk id="115" creationId="{862B633B-3822-455B-A451-2B18EADBB08A}"/>
          </ac:cxnSpMkLst>
        </pc:cxnChg>
        <pc:cxnChg chg="add mod">
          <ac:chgData name="Corantin SAVY" userId="02d80846-c2cc-49a1-9d9a-c07680ec6e8d" providerId="ADAL" clId="{BADF2761-D025-4BBE-9C4C-EAA945F94550}" dt="2020-10-02T13:53:31.824" v="2969" actId="1036"/>
          <ac:cxnSpMkLst>
            <pc:docMk/>
            <pc:sldMk cId="3055682090" sldId="6951"/>
            <ac:cxnSpMk id="122" creationId="{E93B79F8-C267-44CD-A03A-AD17CB239AA1}"/>
          </ac:cxnSpMkLst>
        </pc:cxnChg>
        <pc:cxnChg chg="add mod">
          <ac:chgData name="Corantin SAVY" userId="02d80846-c2cc-49a1-9d9a-c07680ec6e8d" providerId="ADAL" clId="{BADF2761-D025-4BBE-9C4C-EAA945F94550}" dt="2020-10-02T13:53:31.824" v="2969" actId="1036"/>
          <ac:cxnSpMkLst>
            <pc:docMk/>
            <pc:sldMk cId="3055682090" sldId="6951"/>
            <ac:cxnSpMk id="134" creationId="{3E2AAE98-D05E-4D6A-B9EE-3DB1DA0B3B2A}"/>
          </ac:cxnSpMkLst>
        </pc:cxnChg>
        <pc:cxnChg chg="add mod">
          <ac:chgData name="Corantin SAVY" userId="02d80846-c2cc-49a1-9d9a-c07680ec6e8d" providerId="ADAL" clId="{BADF2761-D025-4BBE-9C4C-EAA945F94550}" dt="2020-10-02T13:53:40" v="2986" actId="1035"/>
          <ac:cxnSpMkLst>
            <pc:docMk/>
            <pc:sldMk cId="3055682090" sldId="6951"/>
            <ac:cxnSpMk id="136" creationId="{1CAAFA4B-5951-4D14-B700-4B6C73051AB2}"/>
          </ac:cxnSpMkLst>
        </pc:cxnChg>
        <pc:cxnChg chg="add mod">
          <ac:chgData name="Corantin SAVY" userId="02d80846-c2cc-49a1-9d9a-c07680ec6e8d" providerId="ADAL" clId="{BADF2761-D025-4BBE-9C4C-EAA945F94550}" dt="2020-10-02T13:53:40" v="2986" actId="1035"/>
          <ac:cxnSpMkLst>
            <pc:docMk/>
            <pc:sldMk cId="3055682090" sldId="6951"/>
            <ac:cxnSpMk id="137" creationId="{35244185-469F-4A39-8162-3914FC6DBF16}"/>
          </ac:cxnSpMkLst>
        </pc:cxnChg>
        <pc:cxnChg chg="mod ord">
          <ac:chgData name="Corantin SAVY" userId="02d80846-c2cc-49a1-9d9a-c07680ec6e8d" providerId="ADAL" clId="{BADF2761-D025-4BBE-9C4C-EAA945F94550}" dt="2020-10-02T13:53:31.824" v="2969" actId="1036"/>
          <ac:cxnSpMkLst>
            <pc:docMk/>
            <pc:sldMk cId="3055682090" sldId="6951"/>
            <ac:cxnSpMk id="157" creationId="{F37EC9CB-1C15-4E67-9CAE-A912BF58EC99}"/>
          </ac:cxnSpMkLst>
        </pc:cxnChg>
        <pc:cxnChg chg="mod ord">
          <ac:chgData name="Corantin SAVY" userId="02d80846-c2cc-49a1-9d9a-c07680ec6e8d" providerId="ADAL" clId="{BADF2761-D025-4BBE-9C4C-EAA945F94550}" dt="2020-10-02T13:53:31.824" v="2969" actId="1036"/>
          <ac:cxnSpMkLst>
            <pc:docMk/>
            <pc:sldMk cId="3055682090" sldId="6951"/>
            <ac:cxnSpMk id="158" creationId="{33979CC2-12EA-4702-8FCD-A9DC8687205E}"/>
          </ac:cxnSpMkLst>
        </pc:cxnChg>
        <pc:cxnChg chg="mod ord">
          <ac:chgData name="Corantin SAVY" userId="02d80846-c2cc-49a1-9d9a-c07680ec6e8d" providerId="ADAL" clId="{BADF2761-D025-4BBE-9C4C-EAA945F94550}" dt="2020-10-02T13:53:31.824" v="2969" actId="1036"/>
          <ac:cxnSpMkLst>
            <pc:docMk/>
            <pc:sldMk cId="3055682090" sldId="6951"/>
            <ac:cxnSpMk id="159" creationId="{8D70FB09-EB63-43D9-8CC9-CA3A8FC8D23E}"/>
          </ac:cxnSpMkLst>
        </pc:cxnChg>
        <pc:cxnChg chg="mod ord">
          <ac:chgData name="Corantin SAVY" userId="02d80846-c2cc-49a1-9d9a-c07680ec6e8d" providerId="ADAL" clId="{BADF2761-D025-4BBE-9C4C-EAA945F94550}" dt="2020-10-02T13:53:31.824" v="2969" actId="1036"/>
          <ac:cxnSpMkLst>
            <pc:docMk/>
            <pc:sldMk cId="3055682090" sldId="6951"/>
            <ac:cxnSpMk id="160" creationId="{C468C75D-B3D5-4E66-ACC3-0A1049A57DE3}"/>
          </ac:cxnSpMkLst>
        </pc:cxnChg>
        <pc:cxnChg chg="mod ord">
          <ac:chgData name="Corantin SAVY" userId="02d80846-c2cc-49a1-9d9a-c07680ec6e8d" providerId="ADAL" clId="{BADF2761-D025-4BBE-9C4C-EAA945F94550}" dt="2020-10-02T13:53:31.824" v="2969" actId="1036"/>
          <ac:cxnSpMkLst>
            <pc:docMk/>
            <pc:sldMk cId="3055682090" sldId="6951"/>
            <ac:cxnSpMk id="161" creationId="{940EC4A2-DBD0-49A4-909A-F6B8100D6EAB}"/>
          </ac:cxnSpMkLst>
        </pc:cxnChg>
        <pc:cxnChg chg="mod ord">
          <ac:chgData name="Corantin SAVY" userId="02d80846-c2cc-49a1-9d9a-c07680ec6e8d" providerId="ADAL" clId="{BADF2761-D025-4BBE-9C4C-EAA945F94550}" dt="2020-10-02T13:53:31.824" v="2969" actId="1036"/>
          <ac:cxnSpMkLst>
            <pc:docMk/>
            <pc:sldMk cId="3055682090" sldId="6951"/>
            <ac:cxnSpMk id="162" creationId="{BEC154B8-5A2A-4F77-8541-050C1A5FBFD6}"/>
          </ac:cxnSpMkLst>
        </pc:cxnChg>
        <pc:cxnChg chg="mod ord">
          <ac:chgData name="Corantin SAVY" userId="02d80846-c2cc-49a1-9d9a-c07680ec6e8d" providerId="ADAL" clId="{BADF2761-D025-4BBE-9C4C-EAA945F94550}" dt="2020-10-02T13:53:31.824" v="2969" actId="1036"/>
          <ac:cxnSpMkLst>
            <pc:docMk/>
            <pc:sldMk cId="3055682090" sldId="6951"/>
            <ac:cxnSpMk id="163" creationId="{EA253528-F078-4611-BBB0-A7756F826413}"/>
          </ac:cxnSpMkLst>
        </pc:cxnChg>
        <pc:cxnChg chg="mod ord">
          <ac:chgData name="Corantin SAVY" userId="02d80846-c2cc-49a1-9d9a-c07680ec6e8d" providerId="ADAL" clId="{BADF2761-D025-4BBE-9C4C-EAA945F94550}" dt="2020-10-02T13:53:31.824" v="2969" actId="1036"/>
          <ac:cxnSpMkLst>
            <pc:docMk/>
            <pc:sldMk cId="3055682090" sldId="6951"/>
            <ac:cxnSpMk id="164" creationId="{F01E08AB-1C5F-440A-87E9-28C7682835A0}"/>
          </ac:cxnSpMkLst>
        </pc:cxnChg>
        <pc:cxnChg chg="mod ord">
          <ac:chgData name="Corantin SAVY" userId="02d80846-c2cc-49a1-9d9a-c07680ec6e8d" providerId="ADAL" clId="{BADF2761-D025-4BBE-9C4C-EAA945F94550}" dt="2020-10-02T13:53:40" v="2986" actId="1035"/>
          <ac:cxnSpMkLst>
            <pc:docMk/>
            <pc:sldMk cId="3055682090" sldId="6951"/>
            <ac:cxnSpMk id="188" creationId="{55B0B1DB-3580-4804-AC10-69CBC08306E8}"/>
          </ac:cxnSpMkLst>
        </pc:cxnChg>
        <pc:cxnChg chg="mod ord">
          <ac:chgData name="Corantin SAVY" userId="02d80846-c2cc-49a1-9d9a-c07680ec6e8d" providerId="ADAL" clId="{BADF2761-D025-4BBE-9C4C-EAA945F94550}" dt="2020-10-02T13:53:40" v="2986" actId="1035"/>
          <ac:cxnSpMkLst>
            <pc:docMk/>
            <pc:sldMk cId="3055682090" sldId="6951"/>
            <ac:cxnSpMk id="189" creationId="{36D7B57F-6274-4F45-9FFB-46DBE144C2B8}"/>
          </ac:cxnSpMkLst>
        </pc:cxnChg>
        <pc:cxnChg chg="mod ord">
          <ac:chgData name="Corantin SAVY" userId="02d80846-c2cc-49a1-9d9a-c07680ec6e8d" providerId="ADAL" clId="{BADF2761-D025-4BBE-9C4C-EAA945F94550}" dt="2020-10-02T13:53:40" v="2986" actId="1035"/>
          <ac:cxnSpMkLst>
            <pc:docMk/>
            <pc:sldMk cId="3055682090" sldId="6951"/>
            <ac:cxnSpMk id="190" creationId="{84EDD4D5-69AE-464D-88BF-576766AE4800}"/>
          </ac:cxnSpMkLst>
        </pc:cxnChg>
        <pc:cxnChg chg="mod ord">
          <ac:chgData name="Corantin SAVY" userId="02d80846-c2cc-49a1-9d9a-c07680ec6e8d" providerId="ADAL" clId="{BADF2761-D025-4BBE-9C4C-EAA945F94550}" dt="2020-10-02T13:53:40" v="2986" actId="1035"/>
          <ac:cxnSpMkLst>
            <pc:docMk/>
            <pc:sldMk cId="3055682090" sldId="6951"/>
            <ac:cxnSpMk id="191" creationId="{981DE02E-5451-4951-8FAA-B274B7962DEB}"/>
          </ac:cxnSpMkLst>
        </pc:cxnChg>
        <pc:cxnChg chg="mod ord">
          <ac:chgData name="Corantin SAVY" userId="02d80846-c2cc-49a1-9d9a-c07680ec6e8d" providerId="ADAL" clId="{BADF2761-D025-4BBE-9C4C-EAA945F94550}" dt="2020-10-02T13:53:40" v="2986" actId="1035"/>
          <ac:cxnSpMkLst>
            <pc:docMk/>
            <pc:sldMk cId="3055682090" sldId="6951"/>
            <ac:cxnSpMk id="192" creationId="{9E3F1333-C823-4E2A-9AAC-D0A73A34038E}"/>
          </ac:cxnSpMkLst>
        </pc:cxnChg>
        <pc:cxnChg chg="mod ord">
          <ac:chgData name="Corantin SAVY" userId="02d80846-c2cc-49a1-9d9a-c07680ec6e8d" providerId="ADAL" clId="{BADF2761-D025-4BBE-9C4C-EAA945F94550}" dt="2020-10-02T13:53:40" v="2986" actId="1035"/>
          <ac:cxnSpMkLst>
            <pc:docMk/>
            <pc:sldMk cId="3055682090" sldId="6951"/>
            <ac:cxnSpMk id="193" creationId="{E0AE989B-FA99-49D8-9A52-F215D1244A9B}"/>
          </ac:cxnSpMkLst>
        </pc:cxnChg>
        <pc:cxnChg chg="mod ord">
          <ac:chgData name="Corantin SAVY" userId="02d80846-c2cc-49a1-9d9a-c07680ec6e8d" providerId="ADAL" clId="{BADF2761-D025-4BBE-9C4C-EAA945F94550}" dt="2020-10-02T13:53:40" v="2986" actId="1035"/>
          <ac:cxnSpMkLst>
            <pc:docMk/>
            <pc:sldMk cId="3055682090" sldId="6951"/>
            <ac:cxnSpMk id="194" creationId="{D3E36B55-1384-41F0-913C-7BAA10CE694E}"/>
          </ac:cxnSpMkLst>
        </pc:cxnChg>
        <pc:cxnChg chg="mod ord">
          <ac:chgData name="Corantin SAVY" userId="02d80846-c2cc-49a1-9d9a-c07680ec6e8d" providerId="ADAL" clId="{BADF2761-D025-4BBE-9C4C-EAA945F94550}" dt="2020-10-02T13:53:40" v="2986" actId="1035"/>
          <ac:cxnSpMkLst>
            <pc:docMk/>
            <pc:sldMk cId="3055682090" sldId="6951"/>
            <ac:cxnSpMk id="195" creationId="{42B855FA-BC2F-4D89-ABC7-A20FA987B355}"/>
          </ac:cxnSpMkLst>
        </pc:cxnChg>
      </pc:sldChg>
      <pc:sldChg chg="modSp mod">
        <pc:chgData name="Corantin SAVY" userId="02d80846-c2cc-49a1-9d9a-c07680ec6e8d" providerId="ADAL" clId="{BADF2761-D025-4BBE-9C4C-EAA945F94550}" dt="2020-10-02T11:41:45.426" v="990" actId="207"/>
        <pc:sldMkLst>
          <pc:docMk/>
          <pc:sldMk cId="783706327" sldId="6970"/>
        </pc:sldMkLst>
        <pc:spChg chg="mod">
          <ac:chgData name="Corantin SAVY" userId="02d80846-c2cc-49a1-9d9a-c07680ec6e8d" providerId="ADAL" clId="{BADF2761-D025-4BBE-9C4C-EAA945F94550}" dt="2020-10-02T11:40:16.733" v="937" actId="3064"/>
          <ac:spMkLst>
            <pc:docMk/>
            <pc:sldMk cId="783706327" sldId="6970"/>
            <ac:spMk id="67" creationId="{B01B3BA9-ECC4-49E8-B312-EC37C180675F}"/>
          </ac:spMkLst>
        </pc:spChg>
        <pc:spChg chg="mod">
          <ac:chgData name="Corantin SAVY" userId="02d80846-c2cc-49a1-9d9a-c07680ec6e8d" providerId="ADAL" clId="{BADF2761-D025-4BBE-9C4C-EAA945F94550}" dt="2020-10-02T11:41:45.426" v="990" actId="207"/>
          <ac:spMkLst>
            <pc:docMk/>
            <pc:sldMk cId="783706327" sldId="6970"/>
            <ac:spMk id="70" creationId="{9DDDEAEA-FB2F-45FA-AC2F-1254E89E1A12}"/>
          </ac:spMkLst>
        </pc:spChg>
        <pc:grpChg chg="mod">
          <ac:chgData name="Corantin SAVY" userId="02d80846-c2cc-49a1-9d9a-c07680ec6e8d" providerId="ADAL" clId="{BADF2761-D025-4BBE-9C4C-EAA945F94550}" dt="2020-10-02T11:40:24.179" v="938" actId="1076"/>
          <ac:grpSpMkLst>
            <pc:docMk/>
            <pc:sldMk cId="783706327" sldId="6970"/>
            <ac:grpSpMk id="85" creationId="{D6427C35-E663-4955-BA9D-99549AAB314B}"/>
          </ac:grpSpMkLst>
        </pc:grpChg>
        <pc:grpChg chg="mod">
          <ac:chgData name="Corantin SAVY" userId="02d80846-c2cc-49a1-9d9a-c07680ec6e8d" providerId="ADAL" clId="{BADF2761-D025-4BBE-9C4C-EAA945F94550}" dt="2020-10-02T11:40:30.044" v="945" actId="1036"/>
          <ac:grpSpMkLst>
            <pc:docMk/>
            <pc:sldMk cId="783706327" sldId="6970"/>
            <ac:grpSpMk id="109" creationId="{1F956FF8-FE11-48EF-B554-00FAFCF96BE3}"/>
          </ac:grpSpMkLst>
        </pc:grpChg>
      </pc:sldChg>
      <pc:sldChg chg="addSp delSp modSp mod">
        <pc:chgData name="Corantin SAVY" userId="02d80846-c2cc-49a1-9d9a-c07680ec6e8d" providerId="ADAL" clId="{BADF2761-D025-4BBE-9C4C-EAA945F94550}" dt="2020-10-02T14:48:35.558" v="3526" actId="478"/>
        <pc:sldMkLst>
          <pc:docMk/>
          <pc:sldMk cId="172779121" sldId="6971"/>
        </pc:sldMkLst>
        <pc:spChg chg="add del mod">
          <ac:chgData name="Corantin SAVY" userId="02d80846-c2cc-49a1-9d9a-c07680ec6e8d" providerId="ADAL" clId="{BADF2761-D025-4BBE-9C4C-EAA945F94550}" dt="2020-10-02T14:48:35.558" v="3526" actId="478"/>
          <ac:spMkLst>
            <pc:docMk/>
            <pc:sldMk cId="172779121" sldId="6971"/>
            <ac:spMk id="5" creationId="{55459CCA-0DE1-4036-BA6A-F4903BBECA5E}"/>
          </ac:spMkLst>
        </pc:spChg>
        <pc:spChg chg="mod">
          <ac:chgData name="Corantin SAVY" userId="02d80846-c2cc-49a1-9d9a-c07680ec6e8d" providerId="ADAL" clId="{BADF2761-D025-4BBE-9C4C-EAA945F94550}" dt="2020-10-02T08:54:30.790" v="151" actId="20577"/>
          <ac:spMkLst>
            <pc:docMk/>
            <pc:sldMk cId="172779121" sldId="6971"/>
            <ac:spMk id="59" creationId="{F4E946C6-1BFF-4302-85FF-58E286326C81}"/>
          </ac:spMkLst>
        </pc:spChg>
        <pc:spChg chg="mod">
          <ac:chgData name="Corantin SAVY" userId="02d80846-c2cc-49a1-9d9a-c07680ec6e8d" providerId="ADAL" clId="{BADF2761-D025-4BBE-9C4C-EAA945F94550}" dt="2020-10-02T08:53:12.604" v="145" actId="20577"/>
          <ac:spMkLst>
            <pc:docMk/>
            <pc:sldMk cId="172779121" sldId="6971"/>
            <ac:spMk id="60" creationId="{25ED01A2-BFD5-4EB1-882F-424490193B29}"/>
          </ac:spMkLst>
        </pc:spChg>
        <pc:spChg chg="mod">
          <ac:chgData name="Corantin SAVY" userId="02d80846-c2cc-49a1-9d9a-c07680ec6e8d" providerId="ADAL" clId="{BADF2761-D025-4BBE-9C4C-EAA945F94550}" dt="2020-10-02T11:50:50.191" v="1234" actId="1076"/>
          <ac:spMkLst>
            <pc:docMk/>
            <pc:sldMk cId="172779121" sldId="6971"/>
            <ac:spMk id="79" creationId="{54D23A71-F6A1-4B7A-8917-CB377B0D2985}"/>
          </ac:spMkLst>
        </pc:spChg>
        <pc:spChg chg="add del mod">
          <ac:chgData name="Corantin SAVY" userId="02d80846-c2cc-49a1-9d9a-c07680ec6e8d" providerId="ADAL" clId="{BADF2761-D025-4BBE-9C4C-EAA945F94550}" dt="2020-10-02T14:33:04.617" v="3453"/>
          <ac:spMkLst>
            <pc:docMk/>
            <pc:sldMk cId="172779121" sldId="6971"/>
            <ac:spMk id="80" creationId="{79F310E7-4E5B-4DB8-947E-4FEE8EE7F1E6}"/>
          </ac:spMkLst>
        </pc:spChg>
        <pc:spChg chg="mod">
          <ac:chgData name="Corantin SAVY" userId="02d80846-c2cc-49a1-9d9a-c07680ec6e8d" providerId="ADAL" clId="{BADF2761-D025-4BBE-9C4C-EAA945F94550}" dt="2020-10-02T08:54:38.935" v="157" actId="20577"/>
          <ac:spMkLst>
            <pc:docMk/>
            <pc:sldMk cId="172779121" sldId="6971"/>
            <ac:spMk id="90" creationId="{55448A36-EA51-4338-BF14-369F81E1B6F5}"/>
          </ac:spMkLst>
        </pc:spChg>
        <pc:spChg chg="mod">
          <ac:chgData name="Corantin SAVY" userId="02d80846-c2cc-49a1-9d9a-c07680ec6e8d" providerId="ADAL" clId="{BADF2761-D025-4BBE-9C4C-EAA945F94550}" dt="2020-10-02T08:52:50.082" v="141" actId="20577"/>
          <ac:spMkLst>
            <pc:docMk/>
            <pc:sldMk cId="172779121" sldId="6971"/>
            <ac:spMk id="92" creationId="{06700BFA-DEE3-4F86-9D33-386D9140B42C}"/>
          </ac:spMkLst>
        </pc:spChg>
        <pc:spChg chg="mod">
          <ac:chgData name="Corantin SAVY" userId="02d80846-c2cc-49a1-9d9a-c07680ec6e8d" providerId="ADAL" clId="{BADF2761-D025-4BBE-9C4C-EAA945F94550}" dt="2020-10-02T11:50:00.620" v="1233" actId="20577"/>
          <ac:spMkLst>
            <pc:docMk/>
            <pc:sldMk cId="172779121" sldId="6971"/>
            <ac:spMk id="93" creationId="{25B70C1C-901B-4693-9BC5-4410EE080BF5}"/>
          </ac:spMkLst>
        </pc:spChg>
        <pc:graphicFrameChg chg="modGraphic">
          <ac:chgData name="Corantin SAVY" userId="02d80846-c2cc-49a1-9d9a-c07680ec6e8d" providerId="ADAL" clId="{BADF2761-D025-4BBE-9C4C-EAA945F94550}" dt="2020-10-02T08:50:59.769" v="138" actId="20577"/>
          <ac:graphicFrameMkLst>
            <pc:docMk/>
            <pc:sldMk cId="172779121" sldId="6971"/>
            <ac:graphicFrameMk id="84" creationId="{AA5A143F-52B6-4DFB-8692-865A5D3BBD16}"/>
          </ac:graphicFrameMkLst>
        </pc:graphicFrameChg>
      </pc:sldChg>
      <pc:sldChg chg="modSp mod">
        <pc:chgData name="Corantin SAVY" userId="02d80846-c2cc-49a1-9d9a-c07680ec6e8d" providerId="ADAL" clId="{BADF2761-D025-4BBE-9C4C-EAA945F94550}" dt="2020-10-02T13:26:29.225" v="2866" actId="20577"/>
        <pc:sldMkLst>
          <pc:docMk/>
          <pc:sldMk cId="2309580848" sldId="6976"/>
        </pc:sldMkLst>
        <pc:spChg chg="mod">
          <ac:chgData name="Corantin SAVY" userId="02d80846-c2cc-49a1-9d9a-c07680ec6e8d" providerId="ADAL" clId="{BADF2761-D025-4BBE-9C4C-EAA945F94550}" dt="2020-10-02T13:26:29.225" v="2866" actId="20577"/>
          <ac:spMkLst>
            <pc:docMk/>
            <pc:sldMk cId="2309580848" sldId="6976"/>
            <ac:spMk id="65" creationId="{FB2E2AB6-6549-4EE3-85DD-6A07ED6FB51F}"/>
          </ac:spMkLst>
        </pc:spChg>
      </pc:sldChg>
      <pc:sldChg chg="modSp mod">
        <pc:chgData name="Corantin SAVY" userId="02d80846-c2cc-49a1-9d9a-c07680ec6e8d" providerId="ADAL" clId="{BADF2761-D025-4BBE-9C4C-EAA945F94550}" dt="2020-10-02T11:49:43.299" v="1230" actId="3064"/>
        <pc:sldMkLst>
          <pc:docMk/>
          <pc:sldMk cId="2646771071" sldId="7005"/>
        </pc:sldMkLst>
        <pc:spChg chg="mod">
          <ac:chgData name="Corantin SAVY" userId="02d80846-c2cc-49a1-9d9a-c07680ec6e8d" providerId="ADAL" clId="{BADF2761-D025-4BBE-9C4C-EAA945F94550}" dt="2020-10-02T11:49:14.645" v="1226" actId="1035"/>
          <ac:spMkLst>
            <pc:docMk/>
            <pc:sldMk cId="2646771071" sldId="7005"/>
            <ac:spMk id="200" creationId="{3A0AB619-BC22-46FF-A2F4-CBDDDFE1A7BA}"/>
          </ac:spMkLst>
        </pc:spChg>
        <pc:spChg chg="mod">
          <ac:chgData name="Corantin SAVY" userId="02d80846-c2cc-49a1-9d9a-c07680ec6e8d" providerId="ADAL" clId="{BADF2761-D025-4BBE-9C4C-EAA945F94550}" dt="2020-10-02T11:49:43.299" v="1230" actId="3064"/>
          <ac:spMkLst>
            <pc:docMk/>
            <pc:sldMk cId="2646771071" sldId="7005"/>
            <ac:spMk id="219" creationId="{BA014DD9-47C5-4F8A-B2E1-5A959C7E0666}"/>
          </ac:spMkLst>
        </pc:spChg>
        <pc:spChg chg="mod">
          <ac:chgData name="Corantin SAVY" userId="02d80846-c2cc-49a1-9d9a-c07680ec6e8d" providerId="ADAL" clId="{BADF2761-D025-4BBE-9C4C-EAA945F94550}" dt="2020-10-02T11:49:18.859" v="1227" actId="14100"/>
          <ac:spMkLst>
            <pc:docMk/>
            <pc:sldMk cId="2646771071" sldId="7005"/>
            <ac:spMk id="220" creationId="{0D62FE39-7952-408B-B587-2433D291281D}"/>
          </ac:spMkLst>
        </pc:spChg>
      </pc:sldChg>
      <pc:sldChg chg="modSp mod">
        <pc:chgData name="Corantin SAVY" userId="02d80846-c2cc-49a1-9d9a-c07680ec6e8d" providerId="ADAL" clId="{BADF2761-D025-4BBE-9C4C-EAA945F94550}" dt="2020-10-02T11:43:22.289" v="1098" actId="207"/>
        <pc:sldMkLst>
          <pc:docMk/>
          <pc:sldMk cId="3327230433" sldId="7041"/>
        </pc:sldMkLst>
        <pc:spChg chg="mod">
          <ac:chgData name="Corantin SAVY" userId="02d80846-c2cc-49a1-9d9a-c07680ec6e8d" providerId="ADAL" clId="{BADF2761-D025-4BBE-9C4C-EAA945F94550}" dt="2020-10-02T11:43:22.289" v="1098" actId="207"/>
          <ac:spMkLst>
            <pc:docMk/>
            <pc:sldMk cId="3327230433" sldId="7041"/>
            <ac:spMk id="37" creationId="{E5D214DF-5BB0-4D42-AB95-F5A04B871783}"/>
          </ac:spMkLst>
        </pc:spChg>
      </pc:sldChg>
      <pc:sldChg chg="addSp modSp mod">
        <pc:chgData name="Corantin SAVY" userId="02d80846-c2cc-49a1-9d9a-c07680ec6e8d" providerId="ADAL" clId="{BADF2761-D025-4BBE-9C4C-EAA945F94550}" dt="2020-10-02T11:45:01.484" v="1186" actId="1076"/>
        <pc:sldMkLst>
          <pc:docMk/>
          <pc:sldMk cId="1680654699" sldId="7042"/>
        </pc:sldMkLst>
        <pc:spChg chg="add mod">
          <ac:chgData name="Corantin SAVY" userId="02d80846-c2cc-49a1-9d9a-c07680ec6e8d" providerId="ADAL" clId="{BADF2761-D025-4BBE-9C4C-EAA945F94550}" dt="2020-10-02T11:45:01.484" v="1186" actId="1076"/>
          <ac:spMkLst>
            <pc:docMk/>
            <pc:sldMk cId="1680654699" sldId="7042"/>
            <ac:spMk id="4" creationId="{1B2F9E94-D975-4BC6-823B-62815D511CCF}"/>
          </ac:spMkLst>
        </pc:spChg>
      </pc:sldChg>
      <pc:sldChg chg="delSp modSp mod">
        <pc:chgData name="Corantin SAVY" userId="02d80846-c2cc-49a1-9d9a-c07680ec6e8d" providerId="ADAL" clId="{BADF2761-D025-4BBE-9C4C-EAA945F94550}" dt="2020-10-02T15:09:16.953" v="3554" actId="478"/>
        <pc:sldMkLst>
          <pc:docMk/>
          <pc:sldMk cId="1492206073" sldId="7071"/>
        </pc:sldMkLst>
        <pc:spChg chg="del mod">
          <ac:chgData name="Corantin SAVY" userId="02d80846-c2cc-49a1-9d9a-c07680ec6e8d" providerId="ADAL" clId="{BADF2761-D025-4BBE-9C4C-EAA945F94550}" dt="2020-10-02T15:09:16.953" v="3554" actId="478"/>
          <ac:spMkLst>
            <pc:docMk/>
            <pc:sldMk cId="1492206073" sldId="7071"/>
            <ac:spMk id="7" creationId="{2B40F955-758D-4A83-974E-CB44947260A0}"/>
          </ac:spMkLst>
        </pc:spChg>
      </pc:sldChg>
      <pc:sldChg chg="modSp mod">
        <pc:chgData name="Corantin SAVY" userId="02d80846-c2cc-49a1-9d9a-c07680ec6e8d" providerId="ADAL" clId="{BADF2761-D025-4BBE-9C4C-EAA945F94550}" dt="2020-10-02T15:12:41.762" v="3585" actId="20577"/>
        <pc:sldMkLst>
          <pc:docMk/>
          <pc:sldMk cId="4019796020" sldId="7082"/>
        </pc:sldMkLst>
        <pc:spChg chg="mod">
          <ac:chgData name="Corantin SAVY" userId="02d80846-c2cc-49a1-9d9a-c07680ec6e8d" providerId="ADAL" clId="{BADF2761-D025-4BBE-9C4C-EAA945F94550}" dt="2020-10-02T11:57:17.362" v="1461" actId="20577"/>
          <ac:spMkLst>
            <pc:docMk/>
            <pc:sldMk cId="4019796020" sldId="7082"/>
            <ac:spMk id="21" creationId="{F639CB13-89E0-4076-8B02-146C16F07D20}"/>
          </ac:spMkLst>
        </pc:spChg>
        <pc:spChg chg="mod">
          <ac:chgData name="Corantin SAVY" userId="02d80846-c2cc-49a1-9d9a-c07680ec6e8d" providerId="ADAL" clId="{BADF2761-D025-4BBE-9C4C-EAA945F94550}" dt="2020-10-02T15:12:41.762" v="3585" actId="20577"/>
          <ac:spMkLst>
            <pc:docMk/>
            <pc:sldMk cId="4019796020" sldId="7082"/>
            <ac:spMk id="64" creationId="{612E8BA6-9007-42F9-A6D9-61863B78288F}"/>
          </ac:spMkLst>
        </pc:spChg>
      </pc:sldChg>
      <pc:sldChg chg="addSp modSp mod">
        <pc:chgData name="Corantin SAVY" userId="02d80846-c2cc-49a1-9d9a-c07680ec6e8d" providerId="ADAL" clId="{BADF2761-D025-4BBE-9C4C-EAA945F94550}" dt="2020-10-02T12:35:15.427" v="2577" actId="5793"/>
        <pc:sldMkLst>
          <pc:docMk/>
          <pc:sldMk cId="1230945878" sldId="7083"/>
        </pc:sldMkLst>
        <pc:spChg chg="add mod">
          <ac:chgData name="Corantin SAVY" userId="02d80846-c2cc-49a1-9d9a-c07680ec6e8d" providerId="ADAL" clId="{BADF2761-D025-4BBE-9C4C-EAA945F94550}" dt="2020-10-02T12:35:15.427" v="2577" actId="5793"/>
          <ac:spMkLst>
            <pc:docMk/>
            <pc:sldMk cId="1230945878" sldId="7083"/>
            <ac:spMk id="25" creationId="{8F532164-A4D3-4EC0-AA50-253751120C49}"/>
          </ac:spMkLst>
        </pc:spChg>
        <pc:spChg chg="add mod">
          <ac:chgData name="Corantin SAVY" userId="02d80846-c2cc-49a1-9d9a-c07680ec6e8d" providerId="ADAL" clId="{BADF2761-D025-4BBE-9C4C-EAA945F94550}" dt="2020-10-02T11:56:44.137" v="1459" actId="14100"/>
          <ac:spMkLst>
            <pc:docMk/>
            <pc:sldMk cId="1230945878" sldId="7083"/>
            <ac:spMk id="92" creationId="{5B518F53-6C91-4740-8FE3-55448BD7CD2F}"/>
          </ac:spMkLst>
        </pc:spChg>
      </pc:sldChg>
      <pc:sldChg chg="modSp mod">
        <pc:chgData name="Corantin SAVY" userId="02d80846-c2cc-49a1-9d9a-c07680ec6e8d" providerId="ADAL" clId="{BADF2761-D025-4BBE-9C4C-EAA945F94550}" dt="2020-10-02T12:35:27.905" v="2578" actId="3064"/>
        <pc:sldMkLst>
          <pc:docMk/>
          <pc:sldMk cId="3417722506" sldId="7084"/>
        </pc:sldMkLst>
        <pc:spChg chg="mod">
          <ac:chgData name="Corantin SAVY" userId="02d80846-c2cc-49a1-9d9a-c07680ec6e8d" providerId="ADAL" clId="{BADF2761-D025-4BBE-9C4C-EAA945F94550}" dt="2020-10-02T12:35:27.905" v="2578" actId="3064"/>
          <ac:spMkLst>
            <pc:docMk/>
            <pc:sldMk cId="3417722506" sldId="7084"/>
            <ac:spMk id="106" creationId="{0F646353-9C4D-4C65-9F17-6D8AED1AE9BE}"/>
          </ac:spMkLst>
        </pc:spChg>
      </pc:sldChg>
      <pc:sldChg chg="modSp mod">
        <pc:chgData name="Corantin SAVY" userId="02d80846-c2cc-49a1-9d9a-c07680ec6e8d" providerId="ADAL" clId="{BADF2761-D025-4BBE-9C4C-EAA945F94550}" dt="2020-10-02T12:04:31.888" v="1849" actId="207"/>
        <pc:sldMkLst>
          <pc:docMk/>
          <pc:sldMk cId="1837159450" sldId="7085"/>
        </pc:sldMkLst>
        <pc:spChg chg="mod">
          <ac:chgData name="Corantin SAVY" userId="02d80846-c2cc-49a1-9d9a-c07680ec6e8d" providerId="ADAL" clId="{BADF2761-D025-4BBE-9C4C-EAA945F94550}" dt="2020-10-02T12:04:31.888" v="1849" actId="207"/>
          <ac:spMkLst>
            <pc:docMk/>
            <pc:sldMk cId="1837159450" sldId="7085"/>
            <ac:spMk id="270" creationId="{EE8FF9BB-191A-489D-86A8-71487C277B94}"/>
          </ac:spMkLst>
        </pc:spChg>
        <pc:spChg chg="mod">
          <ac:chgData name="Corantin SAVY" userId="02d80846-c2cc-49a1-9d9a-c07680ec6e8d" providerId="ADAL" clId="{BADF2761-D025-4BBE-9C4C-EAA945F94550}" dt="2020-10-02T11:58:31.121" v="1503" actId="20577"/>
          <ac:spMkLst>
            <pc:docMk/>
            <pc:sldMk cId="1837159450" sldId="7085"/>
            <ac:spMk id="272" creationId="{AA81EE1B-0EFF-44CF-AC76-21AB17D740D3}"/>
          </ac:spMkLst>
        </pc:spChg>
      </pc:sldChg>
      <pc:sldChg chg="addSp modSp mod">
        <pc:chgData name="Corantin SAVY" userId="02d80846-c2cc-49a1-9d9a-c07680ec6e8d" providerId="ADAL" clId="{BADF2761-D025-4BBE-9C4C-EAA945F94550}" dt="2020-10-02T12:59:48.435" v="2651" actId="1076"/>
        <pc:sldMkLst>
          <pc:docMk/>
          <pc:sldMk cId="853049378" sldId="7087"/>
        </pc:sldMkLst>
        <pc:spChg chg="add mod">
          <ac:chgData name="Corantin SAVY" userId="02d80846-c2cc-49a1-9d9a-c07680ec6e8d" providerId="ADAL" clId="{BADF2761-D025-4BBE-9C4C-EAA945F94550}" dt="2020-10-02T12:09:50.483" v="2006" actId="20577"/>
          <ac:spMkLst>
            <pc:docMk/>
            <pc:sldMk cId="853049378" sldId="7087"/>
            <ac:spMk id="4" creationId="{95FF805A-CC87-4AC0-8B4E-37D7811F5119}"/>
          </ac:spMkLst>
        </pc:spChg>
        <pc:spChg chg="mod">
          <ac:chgData name="Corantin SAVY" userId="02d80846-c2cc-49a1-9d9a-c07680ec6e8d" providerId="ADAL" clId="{BADF2761-D025-4BBE-9C4C-EAA945F94550}" dt="2020-10-02T12:11:14.668" v="2020" actId="20577"/>
          <ac:spMkLst>
            <pc:docMk/>
            <pc:sldMk cId="853049378" sldId="7087"/>
            <ac:spMk id="21" creationId="{F639CB13-89E0-4076-8B02-146C16F07D20}"/>
          </ac:spMkLst>
        </pc:spChg>
        <pc:spChg chg="add mod">
          <ac:chgData name="Corantin SAVY" userId="02d80846-c2cc-49a1-9d9a-c07680ec6e8d" providerId="ADAL" clId="{BADF2761-D025-4BBE-9C4C-EAA945F94550}" dt="2020-10-02T12:59:48.435" v="2651" actId="1076"/>
          <ac:spMkLst>
            <pc:docMk/>
            <pc:sldMk cId="853049378" sldId="7087"/>
            <ac:spMk id="36" creationId="{9DE32B66-83A3-4B68-8110-6E0424751A5A}"/>
          </ac:spMkLst>
        </pc:spChg>
        <pc:spChg chg="mod">
          <ac:chgData name="Corantin SAVY" userId="02d80846-c2cc-49a1-9d9a-c07680ec6e8d" providerId="ADAL" clId="{BADF2761-D025-4BBE-9C4C-EAA945F94550}" dt="2020-10-02T12:09:04.625" v="1938" actId="20577"/>
          <ac:spMkLst>
            <pc:docMk/>
            <pc:sldMk cId="853049378" sldId="7087"/>
            <ac:spMk id="86" creationId="{881D0844-23C8-46B2-9F57-006A2B191747}"/>
          </ac:spMkLst>
        </pc:spChg>
      </pc:sldChg>
      <pc:sldChg chg="modSp mod">
        <pc:chgData name="Corantin SAVY" userId="02d80846-c2cc-49a1-9d9a-c07680ec6e8d" providerId="ADAL" clId="{BADF2761-D025-4BBE-9C4C-EAA945F94550}" dt="2020-10-02T11:54:40.844" v="1317" actId="207"/>
        <pc:sldMkLst>
          <pc:docMk/>
          <pc:sldMk cId="1289821407" sldId="7092"/>
        </pc:sldMkLst>
        <pc:spChg chg="mod">
          <ac:chgData name="Corantin SAVY" userId="02d80846-c2cc-49a1-9d9a-c07680ec6e8d" providerId="ADAL" clId="{BADF2761-D025-4BBE-9C4C-EAA945F94550}" dt="2020-10-02T11:52:04.493" v="1245" actId="20577"/>
          <ac:spMkLst>
            <pc:docMk/>
            <pc:sldMk cId="1289821407" sldId="7092"/>
            <ac:spMk id="2" creationId="{1D825224-5426-45FB-95E4-C5F4C82DBF4A}"/>
          </ac:spMkLst>
        </pc:spChg>
        <pc:spChg chg="mod">
          <ac:chgData name="Corantin SAVY" userId="02d80846-c2cc-49a1-9d9a-c07680ec6e8d" providerId="ADAL" clId="{BADF2761-D025-4BBE-9C4C-EAA945F94550}" dt="2020-10-02T11:52:05.184" v="1266" actId="6549"/>
          <ac:spMkLst>
            <pc:docMk/>
            <pc:sldMk cId="1289821407" sldId="7092"/>
            <ac:spMk id="20" creationId="{D7D998A4-C0A2-4344-97DF-ADA1A0B20363}"/>
          </ac:spMkLst>
        </pc:spChg>
        <pc:spChg chg="mod">
          <ac:chgData name="Corantin SAVY" userId="02d80846-c2cc-49a1-9d9a-c07680ec6e8d" providerId="ADAL" clId="{BADF2761-D025-4BBE-9C4C-EAA945F94550}" dt="2020-10-02T11:54:40.844" v="1317" actId="207"/>
          <ac:spMkLst>
            <pc:docMk/>
            <pc:sldMk cId="1289821407" sldId="7092"/>
            <ac:spMk id="21" creationId="{F639CB13-89E0-4076-8B02-146C16F07D20}"/>
          </ac:spMkLst>
        </pc:spChg>
        <pc:graphicFrameChg chg="mod">
          <ac:chgData name="Corantin SAVY" userId="02d80846-c2cc-49a1-9d9a-c07680ec6e8d" providerId="ADAL" clId="{BADF2761-D025-4BBE-9C4C-EAA945F94550}" dt="2020-10-02T11:52:05.234" v="1268"/>
          <ac:graphicFrameMkLst>
            <pc:docMk/>
            <pc:sldMk cId="1289821407" sldId="7092"/>
            <ac:graphicFrameMk id="14" creationId="{7ECA7587-5D4D-4C77-BC7A-FBCB26E9B679}"/>
          </ac:graphicFrameMkLst>
        </pc:graphicFrameChg>
      </pc:sldChg>
      <pc:sldChg chg="addSp delSp modSp mod">
        <pc:chgData name="Corantin SAVY" userId="02d80846-c2cc-49a1-9d9a-c07680ec6e8d" providerId="ADAL" clId="{BADF2761-D025-4BBE-9C4C-EAA945F94550}" dt="2020-10-02T13:23:51.540" v="2855" actId="20577"/>
        <pc:sldMkLst>
          <pc:docMk/>
          <pc:sldMk cId="2603419662" sldId="7093"/>
        </pc:sldMkLst>
        <pc:spChg chg="mod">
          <ac:chgData name="Corantin SAVY" userId="02d80846-c2cc-49a1-9d9a-c07680ec6e8d" providerId="ADAL" clId="{BADF2761-D025-4BBE-9C4C-EAA945F94550}" dt="2020-10-02T10:41:00.544" v="776"/>
          <ac:spMkLst>
            <pc:docMk/>
            <pc:sldMk cId="2603419662" sldId="7093"/>
            <ac:spMk id="2" creationId="{41BBF145-A48D-4579-9141-BF43E68DBC5B}"/>
          </ac:spMkLst>
        </pc:spChg>
        <pc:spChg chg="mod ord">
          <ac:chgData name="Corantin SAVY" userId="02d80846-c2cc-49a1-9d9a-c07680ec6e8d" providerId="ADAL" clId="{BADF2761-D025-4BBE-9C4C-EAA945F94550}" dt="2020-10-02T10:41:00.544" v="778"/>
          <ac:spMkLst>
            <pc:docMk/>
            <pc:sldMk cId="2603419662" sldId="7093"/>
            <ac:spMk id="3" creationId="{73049BF9-8D13-481B-9A48-46C6C4E9E852}"/>
          </ac:spMkLst>
        </pc:spChg>
        <pc:spChg chg="mod ord">
          <ac:chgData name="Corantin SAVY" userId="02d80846-c2cc-49a1-9d9a-c07680ec6e8d" providerId="ADAL" clId="{BADF2761-D025-4BBE-9C4C-EAA945F94550}" dt="2020-10-02T10:41:00.540" v="774"/>
          <ac:spMkLst>
            <pc:docMk/>
            <pc:sldMk cId="2603419662" sldId="7093"/>
            <ac:spMk id="7" creationId="{4A6022E3-4DB9-46DF-966E-81EED0537A86}"/>
          </ac:spMkLst>
        </pc:spChg>
        <pc:spChg chg="mod ord">
          <ac:chgData name="Corantin SAVY" userId="02d80846-c2cc-49a1-9d9a-c07680ec6e8d" providerId="ADAL" clId="{BADF2761-D025-4BBE-9C4C-EAA945F94550}" dt="2020-10-02T10:41:00.549" v="782"/>
          <ac:spMkLst>
            <pc:docMk/>
            <pc:sldMk cId="2603419662" sldId="7093"/>
            <ac:spMk id="20" creationId="{99E0C0D1-7BEF-45AF-9AF8-43C5BF48838D}"/>
          </ac:spMkLst>
        </pc:spChg>
        <pc:spChg chg="mod">
          <ac:chgData name="Corantin SAVY" userId="02d80846-c2cc-49a1-9d9a-c07680ec6e8d" providerId="ADAL" clId="{BADF2761-D025-4BBE-9C4C-EAA945F94550}" dt="2020-10-02T13:16:53.663" v="2699" actId="20577"/>
          <ac:spMkLst>
            <pc:docMk/>
            <pc:sldMk cId="2603419662" sldId="7093"/>
            <ac:spMk id="24" creationId="{14E5BD6B-24E8-46B4-B66B-093EFC797D55}"/>
          </ac:spMkLst>
        </pc:spChg>
        <pc:spChg chg="del">
          <ac:chgData name="Corantin SAVY" userId="02d80846-c2cc-49a1-9d9a-c07680ec6e8d" providerId="ADAL" clId="{BADF2761-D025-4BBE-9C4C-EAA945F94550}" dt="2020-10-02T10:37:38.041" v="745" actId="478"/>
          <ac:spMkLst>
            <pc:docMk/>
            <pc:sldMk cId="2603419662" sldId="7093"/>
            <ac:spMk id="30" creationId="{FB01FB5E-0177-4188-AC9C-864FCCE396E7}"/>
          </ac:spMkLst>
        </pc:spChg>
        <pc:spChg chg="mod ord">
          <ac:chgData name="Corantin SAVY" userId="02d80846-c2cc-49a1-9d9a-c07680ec6e8d" providerId="ADAL" clId="{BADF2761-D025-4BBE-9C4C-EAA945F94550}" dt="2020-10-02T10:41:00.552" v="786"/>
          <ac:spMkLst>
            <pc:docMk/>
            <pc:sldMk cId="2603419662" sldId="7093"/>
            <ac:spMk id="67" creationId="{395D9023-BB8D-4C07-A58A-9CA420892AF9}"/>
          </ac:spMkLst>
        </pc:spChg>
        <pc:spChg chg="mod ord">
          <ac:chgData name="Corantin SAVY" userId="02d80846-c2cc-49a1-9d9a-c07680ec6e8d" providerId="ADAL" clId="{BADF2761-D025-4BBE-9C4C-EAA945F94550}" dt="2020-10-02T10:41:00.576" v="824"/>
          <ac:spMkLst>
            <pc:docMk/>
            <pc:sldMk cId="2603419662" sldId="7093"/>
            <ac:spMk id="68" creationId="{EACF4C40-5F5A-4F7F-BA6B-57A106712858}"/>
          </ac:spMkLst>
        </pc:spChg>
        <pc:spChg chg="mod ord">
          <ac:chgData name="Corantin SAVY" userId="02d80846-c2cc-49a1-9d9a-c07680ec6e8d" providerId="ADAL" clId="{BADF2761-D025-4BBE-9C4C-EAA945F94550}" dt="2020-10-02T10:41:00.553" v="788"/>
          <ac:spMkLst>
            <pc:docMk/>
            <pc:sldMk cId="2603419662" sldId="7093"/>
            <ac:spMk id="69" creationId="{14932ABF-B3F2-4614-9FA3-744906B2F197}"/>
          </ac:spMkLst>
        </pc:spChg>
        <pc:spChg chg="mod ord">
          <ac:chgData name="Corantin SAVY" userId="02d80846-c2cc-49a1-9d9a-c07680ec6e8d" providerId="ADAL" clId="{BADF2761-D025-4BBE-9C4C-EAA945F94550}" dt="2020-10-02T12:16:39.334" v="2215" actId="20577"/>
          <ac:spMkLst>
            <pc:docMk/>
            <pc:sldMk cId="2603419662" sldId="7093"/>
            <ac:spMk id="70" creationId="{D6ECC423-047F-4FFA-A595-20B725419789}"/>
          </ac:spMkLst>
        </pc:spChg>
        <pc:spChg chg="mod ord">
          <ac:chgData name="Corantin SAVY" userId="02d80846-c2cc-49a1-9d9a-c07680ec6e8d" providerId="ADAL" clId="{BADF2761-D025-4BBE-9C4C-EAA945F94550}" dt="2020-10-02T10:41:00.553" v="790"/>
          <ac:spMkLst>
            <pc:docMk/>
            <pc:sldMk cId="2603419662" sldId="7093"/>
            <ac:spMk id="71" creationId="{AD9B7B8C-EC95-4D2A-9D6F-36CF469DC9DC}"/>
          </ac:spMkLst>
        </pc:spChg>
        <pc:spChg chg="mod ord">
          <ac:chgData name="Corantin SAVY" userId="02d80846-c2cc-49a1-9d9a-c07680ec6e8d" providerId="ADAL" clId="{BADF2761-D025-4BBE-9C4C-EAA945F94550}" dt="2020-10-02T10:41:00.553" v="792"/>
          <ac:spMkLst>
            <pc:docMk/>
            <pc:sldMk cId="2603419662" sldId="7093"/>
            <ac:spMk id="79" creationId="{CD19E6A4-8567-4F4C-8660-64A9310AA4D4}"/>
          </ac:spMkLst>
        </pc:spChg>
        <pc:spChg chg="mod ord">
          <ac:chgData name="Corantin SAVY" userId="02d80846-c2cc-49a1-9d9a-c07680ec6e8d" providerId="ADAL" clId="{BADF2761-D025-4BBE-9C4C-EAA945F94550}" dt="2020-10-02T10:41:00.553" v="794"/>
          <ac:spMkLst>
            <pc:docMk/>
            <pc:sldMk cId="2603419662" sldId="7093"/>
            <ac:spMk id="80" creationId="{85224B74-BFCF-40D4-8F5A-4DBD358E4A6A}"/>
          </ac:spMkLst>
        </pc:spChg>
        <pc:spChg chg="mod ord">
          <ac:chgData name="Corantin SAVY" userId="02d80846-c2cc-49a1-9d9a-c07680ec6e8d" providerId="ADAL" clId="{BADF2761-D025-4BBE-9C4C-EAA945F94550}" dt="2020-10-02T10:41:00.557" v="796"/>
          <ac:spMkLst>
            <pc:docMk/>
            <pc:sldMk cId="2603419662" sldId="7093"/>
            <ac:spMk id="81" creationId="{67520AEC-ABAB-415A-ADD8-DF870797CCB0}"/>
          </ac:spMkLst>
        </pc:spChg>
        <pc:spChg chg="mod ord">
          <ac:chgData name="Corantin SAVY" userId="02d80846-c2cc-49a1-9d9a-c07680ec6e8d" providerId="ADAL" clId="{BADF2761-D025-4BBE-9C4C-EAA945F94550}" dt="2020-10-02T10:41:00.557" v="798"/>
          <ac:spMkLst>
            <pc:docMk/>
            <pc:sldMk cId="2603419662" sldId="7093"/>
            <ac:spMk id="82" creationId="{24EAE7A4-064F-4847-974C-384E1DE8F678}"/>
          </ac:spMkLst>
        </pc:spChg>
        <pc:spChg chg="mod ord">
          <ac:chgData name="Corantin SAVY" userId="02d80846-c2cc-49a1-9d9a-c07680ec6e8d" providerId="ADAL" clId="{BADF2761-D025-4BBE-9C4C-EAA945F94550}" dt="2020-10-02T10:41:00.561" v="806"/>
          <ac:spMkLst>
            <pc:docMk/>
            <pc:sldMk cId="2603419662" sldId="7093"/>
            <ac:spMk id="94" creationId="{9C9F2D24-9073-45C0-B88A-BB6D0AD2D5D0}"/>
          </ac:spMkLst>
        </pc:spChg>
        <pc:spChg chg="mod ord">
          <ac:chgData name="Corantin SAVY" userId="02d80846-c2cc-49a1-9d9a-c07680ec6e8d" providerId="ADAL" clId="{BADF2761-D025-4BBE-9C4C-EAA945F94550}" dt="2020-10-02T10:41:00.567" v="808"/>
          <ac:spMkLst>
            <pc:docMk/>
            <pc:sldMk cId="2603419662" sldId="7093"/>
            <ac:spMk id="95" creationId="{FE9A3CCF-0E1C-4A01-B825-6EC293BD6D25}"/>
          </ac:spMkLst>
        </pc:spChg>
        <pc:spChg chg="mod ord">
          <ac:chgData name="Corantin SAVY" userId="02d80846-c2cc-49a1-9d9a-c07680ec6e8d" providerId="ADAL" clId="{BADF2761-D025-4BBE-9C4C-EAA945F94550}" dt="2020-10-02T10:41:00.568" v="810"/>
          <ac:spMkLst>
            <pc:docMk/>
            <pc:sldMk cId="2603419662" sldId="7093"/>
            <ac:spMk id="96" creationId="{7F6CF344-8867-42BA-B9C8-1B0814B86C77}"/>
          </ac:spMkLst>
        </pc:spChg>
        <pc:spChg chg="mod ord">
          <ac:chgData name="Corantin SAVY" userId="02d80846-c2cc-49a1-9d9a-c07680ec6e8d" providerId="ADAL" clId="{BADF2761-D025-4BBE-9C4C-EAA945F94550}" dt="2020-10-02T10:41:00.568" v="812"/>
          <ac:spMkLst>
            <pc:docMk/>
            <pc:sldMk cId="2603419662" sldId="7093"/>
            <ac:spMk id="97" creationId="{89FD5C46-1A02-4BD4-BDD0-AE2F9F2302BC}"/>
          </ac:spMkLst>
        </pc:spChg>
        <pc:spChg chg="mod ord">
          <ac:chgData name="Corantin SAVY" userId="02d80846-c2cc-49a1-9d9a-c07680ec6e8d" providerId="ADAL" clId="{BADF2761-D025-4BBE-9C4C-EAA945F94550}" dt="2020-10-02T10:41:00.568" v="814"/>
          <ac:spMkLst>
            <pc:docMk/>
            <pc:sldMk cId="2603419662" sldId="7093"/>
            <ac:spMk id="103" creationId="{61ABFF05-F090-4F9C-9748-EB4E2AC9ACBA}"/>
          </ac:spMkLst>
        </pc:spChg>
        <pc:spChg chg="del">
          <ac:chgData name="Corantin SAVY" userId="02d80846-c2cc-49a1-9d9a-c07680ec6e8d" providerId="ADAL" clId="{BADF2761-D025-4BBE-9C4C-EAA945F94550}" dt="2020-10-02T12:20:11.691" v="2406" actId="478"/>
          <ac:spMkLst>
            <pc:docMk/>
            <pc:sldMk cId="2603419662" sldId="7093"/>
            <ac:spMk id="104" creationId="{FD85FFAD-67AA-432A-A092-63B328817A7F}"/>
          </ac:spMkLst>
        </pc:spChg>
        <pc:spChg chg="mod ord">
          <ac:chgData name="Corantin SAVY" userId="02d80846-c2cc-49a1-9d9a-c07680ec6e8d" providerId="ADAL" clId="{BADF2761-D025-4BBE-9C4C-EAA945F94550}" dt="2020-10-02T10:41:00.572" v="816"/>
          <ac:spMkLst>
            <pc:docMk/>
            <pc:sldMk cId="2603419662" sldId="7093"/>
            <ac:spMk id="105" creationId="{202D74BB-1153-480E-86C5-37803D6DAC96}"/>
          </ac:spMkLst>
        </pc:spChg>
        <pc:spChg chg="add mod">
          <ac:chgData name="Corantin SAVY" userId="02d80846-c2cc-49a1-9d9a-c07680ec6e8d" providerId="ADAL" clId="{BADF2761-D025-4BBE-9C4C-EAA945F94550}" dt="2020-10-02T12:17:35.829" v="2405" actId="20577"/>
          <ac:spMkLst>
            <pc:docMk/>
            <pc:sldMk cId="2603419662" sldId="7093"/>
            <ac:spMk id="106" creationId="{2B897715-BE05-46EF-9E42-F344C6AA0952}"/>
          </ac:spMkLst>
        </pc:spChg>
        <pc:spChg chg="del">
          <ac:chgData name="Corantin SAVY" userId="02d80846-c2cc-49a1-9d9a-c07680ec6e8d" providerId="ADAL" clId="{BADF2761-D025-4BBE-9C4C-EAA945F94550}" dt="2020-10-02T10:37:38.041" v="745" actId="478"/>
          <ac:spMkLst>
            <pc:docMk/>
            <pc:sldMk cId="2603419662" sldId="7093"/>
            <ac:spMk id="106" creationId="{B668B110-E21A-4E33-B7D0-3E9EA6FF2B07}"/>
          </ac:spMkLst>
        </pc:spChg>
        <pc:spChg chg="del">
          <ac:chgData name="Corantin SAVY" userId="02d80846-c2cc-49a1-9d9a-c07680ec6e8d" providerId="ADAL" clId="{BADF2761-D025-4BBE-9C4C-EAA945F94550}" dt="2020-10-02T10:37:38.041" v="745" actId="478"/>
          <ac:spMkLst>
            <pc:docMk/>
            <pc:sldMk cId="2603419662" sldId="7093"/>
            <ac:spMk id="107" creationId="{F14D22FD-4BD9-4538-8DEB-2884AD708E40}"/>
          </ac:spMkLst>
        </pc:spChg>
        <pc:spChg chg="add mod">
          <ac:chgData name="Corantin SAVY" userId="02d80846-c2cc-49a1-9d9a-c07680ec6e8d" providerId="ADAL" clId="{BADF2761-D025-4BBE-9C4C-EAA945F94550}" dt="2020-10-02T13:22:23.483" v="2787" actId="20577"/>
          <ac:spMkLst>
            <pc:docMk/>
            <pc:sldMk cId="2603419662" sldId="7093"/>
            <ac:spMk id="107" creationId="{F42A5BD0-E80E-4EEC-9F82-E2A7919A8C2F}"/>
          </ac:spMkLst>
        </pc:spChg>
        <pc:spChg chg="add mod">
          <ac:chgData name="Corantin SAVY" userId="02d80846-c2cc-49a1-9d9a-c07680ec6e8d" providerId="ADAL" clId="{BADF2761-D025-4BBE-9C4C-EAA945F94550}" dt="2020-10-02T13:21:24.806" v="2781" actId="404"/>
          <ac:spMkLst>
            <pc:docMk/>
            <pc:sldMk cId="2603419662" sldId="7093"/>
            <ac:spMk id="108" creationId="{71297F2A-22AF-4273-AB75-E9257870BCD0}"/>
          </ac:spMkLst>
        </pc:spChg>
        <pc:spChg chg="del">
          <ac:chgData name="Corantin SAVY" userId="02d80846-c2cc-49a1-9d9a-c07680ec6e8d" providerId="ADAL" clId="{BADF2761-D025-4BBE-9C4C-EAA945F94550}" dt="2020-10-02T10:37:38.041" v="745" actId="478"/>
          <ac:spMkLst>
            <pc:docMk/>
            <pc:sldMk cId="2603419662" sldId="7093"/>
            <ac:spMk id="108" creationId="{DA1538A2-EB70-4130-B00A-E860707A51AD}"/>
          </ac:spMkLst>
        </pc:spChg>
        <pc:spChg chg="mod ord">
          <ac:chgData name="Corantin SAVY" userId="02d80846-c2cc-49a1-9d9a-c07680ec6e8d" providerId="ADAL" clId="{BADF2761-D025-4BBE-9C4C-EAA945F94550}" dt="2020-10-02T10:41:00.557" v="800"/>
          <ac:spMkLst>
            <pc:docMk/>
            <pc:sldMk cId="2603419662" sldId="7093"/>
            <ac:spMk id="109" creationId="{4ECC307B-5762-484B-95C3-CE4E6DCFD810}"/>
          </ac:spMkLst>
        </pc:spChg>
        <pc:spChg chg="mod ord">
          <ac:chgData name="Corantin SAVY" userId="02d80846-c2cc-49a1-9d9a-c07680ec6e8d" providerId="ADAL" clId="{BADF2761-D025-4BBE-9C4C-EAA945F94550}" dt="2020-10-02T10:41:00.561" v="802"/>
          <ac:spMkLst>
            <pc:docMk/>
            <pc:sldMk cId="2603419662" sldId="7093"/>
            <ac:spMk id="110" creationId="{31B10026-F685-4E9C-8685-A675CDC44995}"/>
          </ac:spMkLst>
        </pc:spChg>
        <pc:spChg chg="del">
          <ac:chgData name="Corantin SAVY" userId="02d80846-c2cc-49a1-9d9a-c07680ec6e8d" providerId="ADAL" clId="{BADF2761-D025-4BBE-9C4C-EAA945F94550}" dt="2020-10-02T10:37:38.041" v="745" actId="478"/>
          <ac:spMkLst>
            <pc:docMk/>
            <pc:sldMk cId="2603419662" sldId="7093"/>
            <ac:spMk id="111" creationId="{14008A6E-1532-4CA1-98E0-2031FA688935}"/>
          </ac:spMkLst>
        </pc:spChg>
        <pc:spChg chg="add mod">
          <ac:chgData name="Corantin SAVY" userId="02d80846-c2cc-49a1-9d9a-c07680ec6e8d" providerId="ADAL" clId="{BADF2761-D025-4BBE-9C4C-EAA945F94550}" dt="2020-10-02T13:22:28.457" v="2793" actId="20577"/>
          <ac:spMkLst>
            <pc:docMk/>
            <pc:sldMk cId="2603419662" sldId="7093"/>
            <ac:spMk id="111" creationId="{BA4013AB-A1BB-4C7F-96C7-0043FB082A14}"/>
          </ac:spMkLst>
        </pc:spChg>
        <pc:spChg chg="del">
          <ac:chgData name="Corantin SAVY" userId="02d80846-c2cc-49a1-9d9a-c07680ec6e8d" providerId="ADAL" clId="{BADF2761-D025-4BBE-9C4C-EAA945F94550}" dt="2020-10-02T10:37:38.041" v="745" actId="478"/>
          <ac:spMkLst>
            <pc:docMk/>
            <pc:sldMk cId="2603419662" sldId="7093"/>
            <ac:spMk id="112" creationId="{2FEB3B24-853A-44E3-95A4-6AFD8E1AB29B}"/>
          </ac:spMkLst>
        </pc:spChg>
        <pc:spChg chg="add mod">
          <ac:chgData name="Corantin SAVY" userId="02d80846-c2cc-49a1-9d9a-c07680ec6e8d" providerId="ADAL" clId="{BADF2761-D025-4BBE-9C4C-EAA945F94550}" dt="2020-10-02T13:22:32.739" v="2795" actId="20577"/>
          <ac:spMkLst>
            <pc:docMk/>
            <pc:sldMk cId="2603419662" sldId="7093"/>
            <ac:spMk id="112" creationId="{996054D1-362E-4A44-9F70-1EB73929E241}"/>
          </ac:spMkLst>
        </pc:spChg>
        <pc:spChg chg="del">
          <ac:chgData name="Corantin SAVY" userId="02d80846-c2cc-49a1-9d9a-c07680ec6e8d" providerId="ADAL" clId="{BADF2761-D025-4BBE-9C4C-EAA945F94550}" dt="2020-10-02T10:37:38.041" v="745" actId="478"/>
          <ac:spMkLst>
            <pc:docMk/>
            <pc:sldMk cId="2603419662" sldId="7093"/>
            <ac:spMk id="113" creationId="{14DD2408-0C5F-4AC4-8ECE-A2A36344696D}"/>
          </ac:spMkLst>
        </pc:spChg>
        <pc:spChg chg="add mod">
          <ac:chgData name="Corantin SAVY" userId="02d80846-c2cc-49a1-9d9a-c07680ec6e8d" providerId="ADAL" clId="{BADF2761-D025-4BBE-9C4C-EAA945F94550}" dt="2020-10-02T13:22:37.561" v="2799" actId="20577"/>
          <ac:spMkLst>
            <pc:docMk/>
            <pc:sldMk cId="2603419662" sldId="7093"/>
            <ac:spMk id="113" creationId="{A5D2FBC2-480D-40B2-B6AB-71BA0AF90709}"/>
          </ac:spMkLst>
        </pc:spChg>
        <pc:spChg chg="del">
          <ac:chgData name="Corantin SAVY" userId="02d80846-c2cc-49a1-9d9a-c07680ec6e8d" providerId="ADAL" clId="{BADF2761-D025-4BBE-9C4C-EAA945F94550}" dt="2020-10-02T10:37:38.041" v="745" actId="478"/>
          <ac:spMkLst>
            <pc:docMk/>
            <pc:sldMk cId="2603419662" sldId="7093"/>
            <ac:spMk id="114" creationId="{A1603E3B-BA87-4E7A-9265-FC5DD3713C42}"/>
          </ac:spMkLst>
        </pc:spChg>
        <pc:spChg chg="add mod">
          <ac:chgData name="Corantin SAVY" userId="02d80846-c2cc-49a1-9d9a-c07680ec6e8d" providerId="ADAL" clId="{BADF2761-D025-4BBE-9C4C-EAA945F94550}" dt="2020-10-02T13:22:42.032" v="2803" actId="20577"/>
          <ac:spMkLst>
            <pc:docMk/>
            <pc:sldMk cId="2603419662" sldId="7093"/>
            <ac:spMk id="114" creationId="{A95A70E3-C536-4333-B49C-26943B6E4B30}"/>
          </ac:spMkLst>
        </pc:spChg>
        <pc:spChg chg="add mod">
          <ac:chgData name="Corantin SAVY" userId="02d80846-c2cc-49a1-9d9a-c07680ec6e8d" providerId="ADAL" clId="{BADF2761-D025-4BBE-9C4C-EAA945F94550}" dt="2020-10-02T13:22:45.334" v="2807" actId="20577"/>
          <ac:spMkLst>
            <pc:docMk/>
            <pc:sldMk cId="2603419662" sldId="7093"/>
            <ac:spMk id="115" creationId="{24CFE668-5AC9-4A43-B174-5BBF906202FA}"/>
          </ac:spMkLst>
        </pc:spChg>
        <pc:spChg chg="del">
          <ac:chgData name="Corantin SAVY" userId="02d80846-c2cc-49a1-9d9a-c07680ec6e8d" providerId="ADAL" clId="{BADF2761-D025-4BBE-9C4C-EAA945F94550}" dt="2020-10-02T10:37:38.041" v="745" actId="478"/>
          <ac:spMkLst>
            <pc:docMk/>
            <pc:sldMk cId="2603419662" sldId="7093"/>
            <ac:spMk id="115" creationId="{94754636-CF21-4C39-A5D3-912313BB6260}"/>
          </ac:spMkLst>
        </pc:spChg>
        <pc:spChg chg="add mod">
          <ac:chgData name="Corantin SAVY" userId="02d80846-c2cc-49a1-9d9a-c07680ec6e8d" providerId="ADAL" clId="{BADF2761-D025-4BBE-9C4C-EAA945F94550}" dt="2020-10-02T13:22:50.395" v="2809" actId="20577"/>
          <ac:spMkLst>
            <pc:docMk/>
            <pc:sldMk cId="2603419662" sldId="7093"/>
            <ac:spMk id="116" creationId="{40105ED7-D619-46F0-89FD-F790CECB3749}"/>
          </ac:spMkLst>
        </pc:spChg>
        <pc:spChg chg="del">
          <ac:chgData name="Corantin SAVY" userId="02d80846-c2cc-49a1-9d9a-c07680ec6e8d" providerId="ADAL" clId="{BADF2761-D025-4BBE-9C4C-EAA945F94550}" dt="2020-10-02T10:37:38.041" v="745" actId="478"/>
          <ac:spMkLst>
            <pc:docMk/>
            <pc:sldMk cId="2603419662" sldId="7093"/>
            <ac:spMk id="116" creationId="{CC81AC77-747A-4DF4-8EBA-28CB915B6C8D}"/>
          </ac:spMkLst>
        </pc:spChg>
        <pc:spChg chg="add mod">
          <ac:chgData name="Corantin SAVY" userId="02d80846-c2cc-49a1-9d9a-c07680ec6e8d" providerId="ADAL" clId="{BADF2761-D025-4BBE-9C4C-EAA945F94550}" dt="2020-10-02T13:22:57.107" v="2813" actId="20577"/>
          <ac:spMkLst>
            <pc:docMk/>
            <pc:sldMk cId="2603419662" sldId="7093"/>
            <ac:spMk id="117" creationId="{4A6CB72F-28D5-499A-850E-080518157925}"/>
          </ac:spMkLst>
        </pc:spChg>
        <pc:spChg chg="del">
          <ac:chgData name="Corantin SAVY" userId="02d80846-c2cc-49a1-9d9a-c07680ec6e8d" providerId="ADAL" clId="{BADF2761-D025-4BBE-9C4C-EAA945F94550}" dt="2020-10-02T10:37:38.041" v="745" actId="478"/>
          <ac:spMkLst>
            <pc:docMk/>
            <pc:sldMk cId="2603419662" sldId="7093"/>
            <ac:spMk id="117" creationId="{EB3CC980-D961-41C1-AE18-29F0691B4A88}"/>
          </ac:spMkLst>
        </pc:spChg>
        <pc:spChg chg="add mod">
          <ac:chgData name="Corantin SAVY" userId="02d80846-c2cc-49a1-9d9a-c07680ec6e8d" providerId="ADAL" clId="{BADF2761-D025-4BBE-9C4C-EAA945F94550}" dt="2020-10-02T13:23:08.745" v="2819" actId="20577"/>
          <ac:spMkLst>
            <pc:docMk/>
            <pc:sldMk cId="2603419662" sldId="7093"/>
            <ac:spMk id="118" creationId="{D3DCC2E6-3AF2-49A4-8319-9E474B7210F8}"/>
          </ac:spMkLst>
        </pc:spChg>
        <pc:spChg chg="del">
          <ac:chgData name="Corantin SAVY" userId="02d80846-c2cc-49a1-9d9a-c07680ec6e8d" providerId="ADAL" clId="{BADF2761-D025-4BBE-9C4C-EAA945F94550}" dt="2020-10-02T10:37:38.041" v="745" actId="478"/>
          <ac:spMkLst>
            <pc:docMk/>
            <pc:sldMk cId="2603419662" sldId="7093"/>
            <ac:spMk id="118" creationId="{EC5A75AE-FFC0-451D-9F1D-A3F5FEE3E56B}"/>
          </ac:spMkLst>
        </pc:spChg>
        <pc:spChg chg="del">
          <ac:chgData name="Corantin SAVY" userId="02d80846-c2cc-49a1-9d9a-c07680ec6e8d" providerId="ADAL" clId="{BADF2761-D025-4BBE-9C4C-EAA945F94550}" dt="2020-10-02T10:37:38.041" v="745" actId="478"/>
          <ac:spMkLst>
            <pc:docMk/>
            <pc:sldMk cId="2603419662" sldId="7093"/>
            <ac:spMk id="119" creationId="{6576D780-71D3-4D9C-950A-4A43F9A3B6BD}"/>
          </ac:spMkLst>
        </pc:spChg>
        <pc:spChg chg="add mod">
          <ac:chgData name="Corantin SAVY" userId="02d80846-c2cc-49a1-9d9a-c07680ec6e8d" providerId="ADAL" clId="{BADF2761-D025-4BBE-9C4C-EAA945F94550}" dt="2020-10-02T13:23:14.224" v="2825" actId="20577"/>
          <ac:spMkLst>
            <pc:docMk/>
            <pc:sldMk cId="2603419662" sldId="7093"/>
            <ac:spMk id="119" creationId="{DE6DC09B-DEE5-47F0-B615-D67FA0019436}"/>
          </ac:spMkLst>
        </pc:spChg>
        <pc:spChg chg="add mod">
          <ac:chgData name="Corantin SAVY" userId="02d80846-c2cc-49a1-9d9a-c07680ec6e8d" providerId="ADAL" clId="{BADF2761-D025-4BBE-9C4C-EAA945F94550}" dt="2020-10-02T12:21:31.224" v="2436" actId="404"/>
          <ac:spMkLst>
            <pc:docMk/>
            <pc:sldMk cId="2603419662" sldId="7093"/>
            <ac:spMk id="120" creationId="{7D7D4D8D-C456-4C9B-B253-16133C482ABB}"/>
          </ac:spMkLst>
        </pc:spChg>
        <pc:spChg chg="del">
          <ac:chgData name="Corantin SAVY" userId="02d80846-c2cc-49a1-9d9a-c07680ec6e8d" providerId="ADAL" clId="{BADF2761-D025-4BBE-9C4C-EAA945F94550}" dt="2020-10-02T10:37:38.041" v="745" actId="478"/>
          <ac:spMkLst>
            <pc:docMk/>
            <pc:sldMk cId="2603419662" sldId="7093"/>
            <ac:spMk id="120" creationId="{883B3A8C-5DD1-45F7-B840-339E5E2FDA87}"/>
          </ac:spMkLst>
        </pc:spChg>
        <pc:spChg chg="del">
          <ac:chgData name="Corantin SAVY" userId="02d80846-c2cc-49a1-9d9a-c07680ec6e8d" providerId="ADAL" clId="{BADF2761-D025-4BBE-9C4C-EAA945F94550}" dt="2020-10-02T10:37:38.041" v="745" actId="478"/>
          <ac:spMkLst>
            <pc:docMk/>
            <pc:sldMk cId="2603419662" sldId="7093"/>
            <ac:spMk id="121" creationId="{8C77DB43-0D57-42F7-99BB-A0883847CEB0}"/>
          </ac:spMkLst>
        </pc:spChg>
        <pc:spChg chg="add mod">
          <ac:chgData name="Corantin SAVY" userId="02d80846-c2cc-49a1-9d9a-c07680ec6e8d" providerId="ADAL" clId="{BADF2761-D025-4BBE-9C4C-EAA945F94550}" dt="2020-10-02T13:23:19.316" v="2829" actId="20577"/>
          <ac:spMkLst>
            <pc:docMk/>
            <pc:sldMk cId="2603419662" sldId="7093"/>
            <ac:spMk id="121" creationId="{A0C9A264-CD6D-47D6-B48C-141753842E2E}"/>
          </ac:spMkLst>
        </pc:spChg>
        <pc:spChg chg="add mod">
          <ac:chgData name="Corantin SAVY" userId="02d80846-c2cc-49a1-9d9a-c07680ec6e8d" providerId="ADAL" clId="{BADF2761-D025-4BBE-9C4C-EAA945F94550}" dt="2020-10-02T13:23:23.841" v="2835" actId="20577"/>
          <ac:spMkLst>
            <pc:docMk/>
            <pc:sldMk cId="2603419662" sldId="7093"/>
            <ac:spMk id="122" creationId="{070E1D8A-F6C2-4466-9565-F3DC4F29AA37}"/>
          </ac:spMkLst>
        </pc:spChg>
        <pc:spChg chg="del">
          <ac:chgData name="Corantin SAVY" userId="02d80846-c2cc-49a1-9d9a-c07680ec6e8d" providerId="ADAL" clId="{BADF2761-D025-4BBE-9C4C-EAA945F94550}" dt="2020-10-02T10:37:38.041" v="745" actId="478"/>
          <ac:spMkLst>
            <pc:docMk/>
            <pc:sldMk cId="2603419662" sldId="7093"/>
            <ac:spMk id="122" creationId="{3D7173C6-61B8-470A-9C50-577A50F78C07}"/>
          </ac:spMkLst>
        </pc:spChg>
        <pc:spChg chg="add mod">
          <ac:chgData name="Corantin SAVY" userId="02d80846-c2cc-49a1-9d9a-c07680ec6e8d" providerId="ADAL" clId="{BADF2761-D025-4BBE-9C4C-EAA945F94550}" dt="2020-10-02T13:23:31.877" v="2841" actId="20577"/>
          <ac:spMkLst>
            <pc:docMk/>
            <pc:sldMk cId="2603419662" sldId="7093"/>
            <ac:spMk id="123" creationId="{8C0D003C-0CA8-49D8-A3B0-8AE3B7DBA5A8}"/>
          </ac:spMkLst>
        </pc:spChg>
        <pc:spChg chg="del">
          <ac:chgData name="Corantin SAVY" userId="02d80846-c2cc-49a1-9d9a-c07680ec6e8d" providerId="ADAL" clId="{BADF2761-D025-4BBE-9C4C-EAA945F94550}" dt="2020-10-02T10:37:38.041" v="745" actId="478"/>
          <ac:spMkLst>
            <pc:docMk/>
            <pc:sldMk cId="2603419662" sldId="7093"/>
            <ac:spMk id="123" creationId="{F0392B41-9968-4EB1-82B6-A09FDC097A85}"/>
          </ac:spMkLst>
        </pc:spChg>
        <pc:spChg chg="del">
          <ac:chgData name="Corantin SAVY" userId="02d80846-c2cc-49a1-9d9a-c07680ec6e8d" providerId="ADAL" clId="{BADF2761-D025-4BBE-9C4C-EAA945F94550}" dt="2020-10-02T10:37:38.041" v="745" actId="478"/>
          <ac:spMkLst>
            <pc:docMk/>
            <pc:sldMk cId="2603419662" sldId="7093"/>
            <ac:spMk id="124" creationId="{45653A91-063E-44F2-952A-66E6B39C6C0D}"/>
          </ac:spMkLst>
        </pc:spChg>
        <pc:spChg chg="add mod">
          <ac:chgData name="Corantin SAVY" userId="02d80846-c2cc-49a1-9d9a-c07680ec6e8d" providerId="ADAL" clId="{BADF2761-D025-4BBE-9C4C-EAA945F94550}" dt="2020-10-02T13:23:35.138" v="2843" actId="20577"/>
          <ac:spMkLst>
            <pc:docMk/>
            <pc:sldMk cId="2603419662" sldId="7093"/>
            <ac:spMk id="124" creationId="{4C8102E8-4819-48C7-B2F2-344B8E8304E6}"/>
          </ac:spMkLst>
        </pc:spChg>
        <pc:spChg chg="del">
          <ac:chgData name="Corantin SAVY" userId="02d80846-c2cc-49a1-9d9a-c07680ec6e8d" providerId="ADAL" clId="{BADF2761-D025-4BBE-9C4C-EAA945F94550}" dt="2020-10-02T10:37:38.041" v="745" actId="478"/>
          <ac:spMkLst>
            <pc:docMk/>
            <pc:sldMk cId="2603419662" sldId="7093"/>
            <ac:spMk id="125" creationId="{C12CB9D4-9E25-45F1-8843-ECF6DB5DB68A}"/>
          </ac:spMkLst>
        </pc:spChg>
        <pc:spChg chg="add mod">
          <ac:chgData name="Corantin SAVY" userId="02d80846-c2cc-49a1-9d9a-c07680ec6e8d" providerId="ADAL" clId="{BADF2761-D025-4BBE-9C4C-EAA945F94550}" dt="2020-10-02T13:23:39.067" v="2847" actId="20577"/>
          <ac:spMkLst>
            <pc:docMk/>
            <pc:sldMk cId="2603419662" sldId="7093"/>
            <ac:spMk id="125" creationId="{F9FEFD59-D97E-4EE1-A552-45C6D22E6F53}"/>
          </ac:spMkLst>
        </pc:spChg>
        <pc:spChg chg="mod ord">
          <ac:chgData name="Corantin SAVY" userId="02d80846-c2cc-49a1-9d9a-c07680ec6e8d" providerId="ADAL" clId="{BADF2761-D025-4BBE-9C4C-EAA945F94550}" dt="2020-10-02T10:41:00.572" v="818"/>
          <ac:spMkLst>
            <pc:docMk/>
            <pc:sldMk cId="2603419662" sldId="7093"/>
            <ac:spMk id="128" creationId="{D1AA31DB-E764-4FC5-BEF5-895B2C06956F}"/>
          </ac:spMkLst>
        </pc:spChg>
        <pc:spChg chg="mod ord">
          <ac:chgData name="Corantin SAVY" userId="02d80846-c2cc-49a1-9d9a-c07680ec6e8d" providerId="ADAL" clId="{BADF2761-D025-4BBE-9C4C-EAA945F94550}" dt="2020-10-02T10:41:00.572" v="820"/>
          <ac:spMkLst>
            <pc:docMk/>
            <pc:sldMk cId="2603419662" sldId="7093"/>
            <ac:spMk id="149" creationId="{DC34049B-0477-4731-8D3A-BEA957D6CD1A}"/>
          </ac:spMkLst>
        </pc:spChg>
        <pc:spChg chg="mod ord">
          <ac:chgData name="Corantin SAVY" userId="02d80846-c2cc-49a1-9d9a-c07680ec6e8d" providerId="ADAL" clId="{BADF2761-D025-4BBE-9C4C-EAA945F94550}" dt="2020-10-02T12:16:34.577" v="2214" actId="1076"/>
          <ac:spMkLst>
            <pc:docMk/>
            <pc:sldMk cId="2603419662" sldId="7093"/>
            <ac:spMk id="170" creationId="{6FF2B3DF-E4D9-4DE1-89E1-712822B3AA7A}"/>
          </ac:spMkLst>
        </pc:spChg>
        <pc:spChg chg="add mod">
          <ac:chgData name="Corantin SAVY" userId="02d80846-c2cc-49a1-9d9a-c07680ec6e8d" providerId="ADAL" clId="{BADF2761-D025-4BBE-9C4C-EAA945F94550}" dt="2020-10-02T13:23:42.474" v="2849" actId="20577"/>
          <ac:spMkLst>
            <pc:docMk/>
            <pc:sldMk cId="2603419662" sldId="7093"/>
            <ac:spMk id="171" creationId="{46FECBFB-84D5-4862-A130-CC0FEC9A4953}"/>
          </ac:spMkLst>
        </pc:spChg>
        <pc:spChg chg="add mod">
          <ac:chgData name="Corantin SAVY" userId="02d80846-c2cc-49a1-9d9a-c07680ec6e8d" providerId="ADAL" clId="{BADF2761-D025-4BBE-9C4C-EAA945F94550}" dt="2020-10-02T13:23:46.978" v="2853" actId="20577"/>
          <ac:spMkLst>
            <pc:docMk/>
            <pc:sldMk cId="2603419662" sldId="7093"/>
            <ac:spMk id="172" creationId="{5931969C-533C-4BE7-B262-1966F7EB6C46}"/>
          </ac:spMkLst>
        </pc:spChg>
        <pc:spChg chg="mod">
          <ac:chgData name="Corantin SAVY" userId="02d80846-c2cc-49a1-9d9a-c07680ec6e8d" providerId="ADAL" clId="{BADF2761-D025-4BBE-9C4C-EAA945F94550}" dt="2020-10-02T10:39:44.582" v="748"/>
          <ac:spMkLst>
            <pc:docMk/>
            <pc:sldMk cId="2603419662" sldId="7093"/>
            <ac:spMk id="172" creationId="{5BCAC752-E7D2-4418-971D-BC19031D82D7}"/>
          </ac:spMkLst>
        </pc:spChg>
        <pc:spChg chg="add mod">
          <ac:chgData name="Corantin SAVY" userId="02d80846-c2cc-49a1-9d9a-c07680ec6e8d" providerId="ADAL" clId="{BADF2761-D025-4BBE-9C4C-EAA945F94550}" dt="2020-10-02T13:23:51.540" v="2855" actId="20577"/>
          <ac:spMkLst>
            <pc:docMk/>
            <pc:sldMk cId="2603419662" sldId="7093"/>
            <ac:spMk id="173" creationId="{404C3D98-D2D9-4D5C-AD8C-1154CFBE2329}"/>
          </ac:spMkLst>
        </pc:spChg>
        <pc:spChg chg="mod">
          <ac:chgData name="Corantin SAVY" userId="02d80846-c2cc-49a1-9d9a-c07680ec6e8d" providerId="ADAL" clId="{BADF2761-D025-4BBE-9C4C-EAA945F94550}" dt="2020-10-02T10:39:44.582" v="748"/>
          <ac:spMkLst>
            <pc:docMk/>
            <pc:sldMk cId="2603419662" sldId="7093"/>
            <ac:spMk id="174" creationId="{C97D7DF0-3EB5-407D-A9AC-00BF250B45C3}"/>
          </ac:spMkLst>
        </pc:spChg>
        <pc:spChg chg="mod">
          <ac:chgData name="Corantin SAVY" userId="02d80846-c2cc-49a1-9d9a-c07680ec6e8d" providerId="ADAL" clId="{BADF2761-D025-4BBE-9C4C-EAA945F94550}" dt="2020-10-02T10:39:44.582" v="748"/>
          <ac:spMkLst>
            <pc:docMk/>
            <pc:sldMk cId="2603419662" sldId="7093"/>
            <ac:spMk id="175" creationId="{C4B64E54-4CCF-4FED-B707-04A044067204}"/>
          </ac:spMkLst>
        </pc:spChg>
        <pc:spChg chg="mod">
          <ac:chgData name="Corantin SAVY" userId="02d80846-c2cc-49a1-9d9a-c07680ec6e8d" providerId="ADAL" clId="{BADF2761-D025-4BBE-9C4C-EAA945F94550}" dt="2020-10-02T10:39:44.582" v="748"/>
          <ac:spMkLst>
            <pc:docMk/>
            <pc:sldMk cId="2603419662" sldId="7093"/>
            <ac:spMk id="176" creationId="{8C43292D-3273-4A96-B129-02871C6D79F9}"/>
          </ac:spMkLst>
        </pc:spChg>
        <pc:spChg chg="mod">
          <ac:chgData name="Corantin SAVY" userId="02d80846-c2cc-49a1-9d9a-c07680ec6e8d" providerId="ADAL" clId="{BADF2761-D025-4BBE-9C4C-EAA945F94550}" dt="2020-10-02T10:39:44.582" v="748"/>
          <ac:spMkLst>
            <pc:docMk/>
            <pc:sldMk cId="2603419662" sldId="7093"/>
            <ac:spMk id="177" creationId="{BE1912B5-2F1B-4445-9D40-2AC43D28F1DD}"/>
          </ac:spMkLst>
        </pc:spChg>
        <pc:spChg chg="mod">
          <ac:chgData name="Corantin SAVY" userId="02d80846-c2cc-49a1-9d9a-c07680ec6e8d" providerId="ADAL" clId="{BADF2761-D025-4BBE-9C4C-EAA945F94550}" dt="2020-10-02T10:39:44.582" v="748"/>
          <ac:spMkLst>
            <pc:docMk/>
            <pc:sldMk cId="2603419662" sldId="7093"/>
            <ac:spMk id="178" creationId="{550645C9-82E1-4907-A70B-F8A22B0D39DE}"/>
          </ac:spMkLst>
        </pc:spChg>
        <pc:spChg chg="mod">
          <ac:chgData name="Corantin SAVY" userId="02d80846-c2cc-49a1-9d9a-c07680ec6e8d" providerId="ADAL" clId="{BADF2761-D025-4BBE-9C4C-EAA945F94550}" dt="2020-10-02T10:39:44.582" v="748"/>
          <ac:spMkLst>
            <pc:docMk/>
            <pc:sldMk cId="2603419662" sldId="7093"/>
            <ac:spMk id="179" creationId="{19C2298C-8511-4060-A3DA-D02BC49F7AC3}"/>
          </ac:spMkLst>
        </pc:spChg>
        <pc:spChg chg="mod">
          <ac:chgData name="Corantin SAVY" userId="02d80846-c2cc-49a1-9d9a-c07680ec6e8d" providerId="ADAL" clId="{BADF2761-D025-4BBE-9C4C-EAA945F94550}" dt="2020-10-02T10:39:44.582" v="748"/>
          <ac:spMkLst>
            <pc:docMk/>
            <pc:sldMk cId="2603419662" sldId="7093"/>
            <ac:spMk id="180" creationId="{DF3B1197-E2CA-45AD-9ECF-36DBFE22198F}"/>
          </ac:spMkLst>
        </pc:spChg>
        <pc:spChg chg="mod">
          <ac:chgData name="Corantin SAVY" userId="02d80846-c2cc-49a1-9d9a-c07680ec6e8d" providerId="ADAL" clId="{BADF2761-D025-4BBE-9C4C-EAA945F94550}" dt="2020-10-02T10:39:44.582" v="748"/>
          <ac:spMkLst>
            <pc:docMk/>
            <pc:sldMk cId="2603419662" sldId="7093"/>
            <ac:spMk id="181" creationId="{B1DA772A-088A-40F2-8BA2-DB7500ACD16F}"/>
          </ac:spMkLst>
        </pc:spChg>
        <pc:spChg chg="mod">
          <ac:chgData name="Corantin SAVY" userId="02d80846-c2cc-49a1-9d9a-c07680ec6e8d" providerId="ADAL" clId="{BADF2761-D025-4BBE-9C4C-EAA945F94550}" dt="2020-10-02T10:39:44.582" v="748"/>
          <ac:spMkLst>
            <pc:docMk/>
            <pc:sldMk cId="2603419662" sldId="7093"/>
            <ac:spMk id="182" creationId="{D35915A5-860E-4AA5-AF8B-8F6399B8A589}"/>
          </ac:spMkLst>
        </pc:spChg>
        <pc:spChg chg="mod">
          <ac:chgData name="Corantin SAVY" userId="02d80846-c2cc-49a1-9d9a-c07680ec6e8d" providerId="ADAL" clId="{BADF2761-D025-4BBE-9C4C-EAA945F94550}" dt="2020-10-02T10:39:44.582" v="748"/>
          <ac:spMkLst>
            <pc:docMk/>
            <pc:sldMk cId="2603419662" sldId="7093"/>
            <ac:spMk id="183" creationId="{C340DF57-B07A-41F8-ADCA-AE9BF340B327}"/>
          </ac:spMkLst>
        </pc:spChg>
        <pc:spChg chg="mod">
          <ac:chgData name="Corantin SAVY" userId="02d80846-c2cc-49a1-9d9a-c07680ec6e8d" providerId="ADAL" clId="{BADF2761-D025-4BBE-9C4C-EAA945F94550}" dt="2020-10-02T10:39:44.582" v="748"/>
          <ac:spMkLst>
            <pc:docMk/>
            <pc:sldMk cId="2603419662" sldId="7093"/>
            <ac:spMk id="184" creationId="{91DCC84C-F8F9-431E-B69E-786E463C79AB}"/>
          </ac:spMkLst>
        </pc:spChg>
        <pc:spChg chg="mod">
          <ac:chgData name="Corantin SAVY" userId="02d80846-c2cc-49a1-9d9a-c07680ec6e8d" providerId="ADAL" clId="{BADF2761-D025-4BBE-9C4C-EAA945F94550}" dt="2020-10-02T10:39:44.582" v="748"/>
          <ac:spMkLst>
            <pc:docMk/>
            <pc:sldMk cId="2603419662" sldId="7093"/>
            <ac:spMk id="185" creationId="{B2F0E8AF-ADFD-41E6-85D9-A22C369F38FF}"/>
          </ac:spMkLst>
        </pc:spChg>
        <pc:spChg chg="mod">
          <ac:chgData name="Corantin SAVY" userId="02d80846-c2cc-49a1-9d9a-c07680ec6e8d" providerId="ADAL" clId="{BADF2761-D025-4BBE-9C4C-EAA945F94550}" dt="2020-10-02T10:39:44.582" v="748"/>
          <ac:spMkLst>
            <pc:docMk/>
            <pc:sldMk cId="2603419662" sldId="7093"/>
            <ac:spMk id="186" creationId="{160F1778-1780-4BDF-B72F-05EB1036A026}"/>
          </ac:spMkLst>
        </pc:spChg>
        <pc:spChg chg="mod">
          <ac:chgData name="Corantin SAVY" userId="02d80846-c2cc-49a1-9d9a-c07680ec6e8d" providerId="ADAL" clId="{BADF2761-D025-4BBE-9C4C-EAA945F94550}" dt="2020-10-02T10:39:44.582" v="748"/>
          <ac:spMkLst>
            <pc:docMk/>
            <pc:sldMk cId="2603419662" sldId="7093"/>
            <ac:spMk id="187" creationId="{B2F7FBD7-CC15-4B54-BDC4-CB548CCC1BE7}"/>
          </ac:spMkLst>
        </pc:spChg>
        <pc:spChg chg="mod">
          <ac:chgData name="Corantin SAVY" userId="02d80846-c2cc-49a1-9d9a-c07680ec6e8d" providerId="ADAL" clId="{BADF2761-D025-4BBE-9C4C-EAA945F94550}" dt="2020-10-02T10:39:44.582" v="748"/>
          <ac:spMkLst>
            <pc:docMk/>
            <pc:sldMk cId="2603419662" sldId="7093"/>
            <ac:spMk id="188" creationId="{EF5B8418-17CD-4B75-BFAA-6CB8A9B61DF6}"/>
          </ac:spMkLst>
        </pc:spChg>
        <pc:spChg chg="mod">
          <ac:chgData name="Corantin SAVY" userId="02d80846-c2cc-49a1-9d9a-c07680ec6e8d" providerId="ADAL" clId="{BADF2761-D025-4BBE-9C4C-EAA945F94550}" dt="2020-10-02T10:39:44.582" v="748"/>
          <ac:spMkLst>
            <pc:docMk/>
            <pc:sldMk cId="2603419662" sldId="7093"/>
            <ac:spMk id="189" creationId="{C49B4B54-015D-4155-BBB0-59A31512469A}"/>
          </ac:spMkLst>
        </pc:spChg>
        <pc:spChg chg="mod">
          <ac:chgData name="Corantin SAVY" userId="02d80846-c2cc-49a1-9d9a-c07680ec6e8d" providerId="ADAL" clId="{BADF2761-D025-4BBE-9C4C-EAA945F94550}" dt="2020-10-02T10:39:44.582" v="748"/>
          <ac:spMkLst>
            <pc:docMk/>
            <pc:sldMk cId="2603419662" sldId="7093"/>
            <ac:spMk id="190" creationId="{5CC78FC3-2495-4083-9855-78C35DC085F4}"/>
          </ac:spMkLst>
        </pc:spChg>
        <pc:spChg chg="mod">
          <ac:chgData name="Corantin SAVY" userId="02d80846-c2cc-49a1-9d9a-c07680ec6e8d" providerId="ADAL" clId="{BADF2761-D025-4BBE-9C4C-EAA945F94550}" dt="2020-10-02T10:39:44.582" v="748"/>
          <ac:spMkLst>
            <pc:docMk/>
            <pc:sldMk cId="2603419662" sldId="7093"/>
            <ac:spMk id="191" creationId="{A643E612-EE46-40F9-BCD8-68AB38331F73}"/>
          </ac:spMkLst>
        </pc:spChg>
        <pc:spChg chg="mod">
          <ac:chgData name="Corantin SAVY" userId="02d80846-c2cc-49a1-9d9a-c07680ec6e8d" providerId="ADAL" clId="{BADF2761-D025-4BBE-9C4C-EAA945F94550}" dt="2020-10-02T10:39:44.582" v="748"/>
          <ac:spMkLst>
            <pc:docMk/>
            <pc:sldMk cId="2603419662" sldId="7093"/>
            <ac:spMk id="192" creationId="{997C29F3-1337-470C-A4CC-37FE42674903}"/>
          </ac:spMkLst>
        </pc:spChg>
        <pc:spChg chg="mod">
          <ac:chgData name="Corantin SAVY" userId="02d80846-c2cc-49a1-9d9a-c07680ec6e8d" providerId="ADAL" clId="{BADF2761-D025-4BBE-9C4C-EAA945F94550}" dt="2020-10-02T10:39:44.582" v="748"/>
          <ac:spMkLst>
            <pc:docMk/>
            <pc:sldMk cId="2603419662" sldId="7093"/>
            <ac:spMk id="193" creationId="{C85B5FE5-6D8D-4126-B312-41A2BA66E422}"/>
          </ac:spMkLst>
        </pc:spChg>
        <pc:spChg chg="mod">
          <ac:chgData name="Corantin SAVY" userId="02d80846-c2cc-49a1-9d9a-c07680ec6e8d" providerId="ADAL" clId="{BADF2761-D025-4BBE-9C4C-EAA945F94550}" dt="2020-10-02T10:39:44.582" v="748"/>
          <ac:spMkLst>
            <pc:docMk/>
            <pc:sldMk cId="2603419662" sldId="7093"/>
            <ac:spMk id="194" creationId="{9B5F7B2A-5C7B-4F6A-A13D-254CA2B5E2B2}"/>
          </ac:spMkLst>
        </pc:spChg>
        <pc:spChg chg="mod">
          <ac:chgData name="Corantin SAVY" userId="02d80846-c2cc-49a1-9d9a-c07680ec6e8d" providerId="ADAL" clId="{BADF2761-D025-4BBE-9C4C-EAA945F94550}" dt="2020-10-02T10:39:44.582" v="748"/>
          <ac:spMkLst>
            <pc:docMk/>
            <pc:sldMk cId="2603419662" sldId="7093"/>
            <ac:spMk id="195" creationId="{E1B16AF0-C0A4-4BF1-90F3-91AB12A98BB7}"/>
          </ac:spMkLst>
        </pc:spChg>
        <pc:spChg chg="mod">
          <ac:chgData name="Corantin SAVY" userId="02d80846-c2cc-49a1-9d9a-c07680ec6e8d" providerId="ADAL" clId="{BADF2761-D025-4BBE-9C4C-EAA945F94550}" dt="2020-10-02T10:39:44.582" v="748"/>
          <ac:spMkLst>
            <pc:docMk/>
            <pc:sldMk cId="2603419662" sldId="7093"/>
            <ac:spMk id="196" creationId="{150FB936-BC74-48C0-9D1C-14B862B7219E}"/>
          </ac:spMkLst>
        </pc:spChg>
        <pc:spChg chg="mod">
          <ac:chgData name="Corantin SAVY" userId="02d80846-c2cc-49a1-9d9a-c07680ec6e8d" providerId="ADAL" clId="{BADF2761-D025-4BBE-9C4C-EAA945F94550}" dt="2020-10-02T10:39:44.582" v="748"/>
          <ac:spMkLst>
            <pc:docMk/>
            <pc:sldMk cId="2603419662" sldId="7093"/>
            <ac:spMk id="199" creationId="{2C68EE66-1743-4036-8005-8A3B03E3B37B}"/>
          </ac:spMkLst>
        </pc:spChg>
        <pc:spChg chg="mod">
          <ac:chgData name="Corantin SAVY" userId="02d80846-c2cc-49a1-9d9a-c07680ec6e8d" providerId="ADAL" clId="{BADF2761-D025-4BBE-9C4C-EAA945F94550}" dt="2020-10-02T10:39:44.582" v="748"/>
          <ac:spMkLst>
            <pc:docMk/>
            <pc:sldMk cId="2603419662" sldId="7093"/>
            <ac:spMk id="201" creationId="{808EA6A0-84AE-4104-92A1-7B1778BF9BD3}"/>
          </ac:spMkLst>
        </pc:spChg>
        <pc:spChg chg="mod">
          <ac:chgData name="Corantin SAVY" userId="02d80846-c2cc-49a1-9d9a-c07680ec6e8d" providerId="ADAL" clId="{BADF2761-D025-4BBE-9C4C-EAA945F94550}" dt="2020-10-02T10:39:44.582" v="748"/>
          <ac:spMkLst>
            <pc:docMk/>
            <pc:sldMk cId="2603419662" sldId="7093"/>
            <ac:spMk id="202" creationId="{92EA194A-80B9-4F30-A553-A062CD41E7A0}"/>
          </ac:spMkLst>
        </pc:spChg>
        <pc:spChg chg="mod">
          <ac:chgData name="Corantin SAVY" userId="02d80846-c2cc-49a1-9d9a-c07680ec6e8d" providerId="ADAL" clId="{BADF2761-D025-4BBE-9C4C-EAA945F94550}" dt="2020-10-02T10:39:44.582" v="748"/>
          <ac:spMkLst>
            <pc:docMk/>
            <pc:sldMk cId="2603419662" sldId="7093"/>
            <ac:spMk id="203" creationId="{AB4DCC41-0D8D-4761-84FA-BE54A56C7E0B}"/>
          </ac:spMkLst>
        </pc:spChg>
        <pc:spChg chg="mod">
          <ac:chgData name="Corantin SAVY" userId="02d80846-c2cc-49a1-9d9a-c07680ec6e8d" providerId="ADAL" clId="{BADF2761-D025-4BBE-9C4C-EAA945F94550}" dt="2020-10-02T10:39:44.582" v="748"/>
          <ac:spMkLst>
            <pc:docMk/>
            <pc:sldMk cId="2603419662" sldId="7093"/>
            <ac:spMk id="204" creationId="{670A0503-0992-4C86-93B8-26250A4ADDC9}"/>
          </ac:spMkLst>
        </pc:spChg>
        <pc:spChg chg="mod">
          <ac:chgData name="Corantin SAVY" userId="02d80846-c2cc-49a1-9d9a-c07680ec6e8d" providerId="ADAL" clId="{BADF2761-D025-4BBE-9C4C-EAA945F94550}" dt="2020-10-02T10:39:44.582" v="748"/>
          <ac:spMkLst>
            <pc:docMk/>
            <pc:sldMk cId="2603419662" sldId="7093"/>
            <ac:spMk id="205" creationId="{366D25CD-109D-452F-8C55-2BAEDE4763A0}"/>
          </ac:spMkLst>
        </pc:spChg>
        <pc:spChg chg="mod">
          <ac:chgData name="Corantin SAVY" userId="02d80846-c2cc-49a1-9d9a-c07680ec6e8d" providerId="ADAL" clId="{BADF2761-D025-4BBE-9C4C-EAA945F94550}" dt="2020-10-02T10:39:44.582" v="748"/>
          <ac:spMkLst>
            <pc:docMk/>
            <pc:sldMk cId="2603419662" sldId="7093"/>
            <ac:spMk id="206" creationId="{87552726-540C-44B2-9777-1035DF68BB70}"/>
          </ac:spMkLst>
        </pc:spChg>
        <pc:spChg chg="mod">
          <ac:chgData name="Corantin SAVY" userId="02d80846-c2cc-49a1-9d9a-c07680ec6e8d" providerId="ADAL" clId="{BADF2761-D025-4BBE-9C4C-EAA945F94550}" dt="2020-10-02T10:39:44.582" v="748"/>
          <ac:spMkLst>
            <pc:docMk/>
            <pc:sldMk cId="2603419662" sldId="7093"/>
            <ac:spMk id="207" creationId="{E143F39D-8357-4DED-A6E3-095C9FD23D64}"/>
          </ac:spMkLst>
        </pc:spChg>
        <pc:spChg chg="mod">
          <ac:chgData name="Corantin SAVY" userId="02d80846-c2cc-49a1-9d9a-c07680ec6e8d" providerId="ADAL" clId="{BADF2761-D025-4BBE-9C4C-EAA945F94550}" dt="2020-10-02T10:39:44.582" v="748"/>
          <ac:spMkLst>
            <pc:docMk/>
            <pc:sldMk cId="2603419662" sldId="7093"/>
            <ac:spMk id="208" creationId="{CAC1A3F5-CDED-4F51-B71A-407F0360B6A0}"/>
          </ac:spMkLst>
        </pc:spChg>
        <pc:spChg chg="add del mod">
          <ac:chgData name="Corantin SAVY" userId="02d80846-c2cc-49a1-9d9a-c07680ec6e8d" providerId="ADAL" clId="{BADF2761-D025-4BBE-9C4C-EAA945F94550}" dt="2020-10-02T10:40:50.471" v="749"/>
          <ac:spMkLst>
            <pc:docMk/>
            <pc:sldMk cId="2603419662" sldId="7093"/>
            <ac:spMk id="213" creationId="{0265819A-75B0-4381-B6A5-4F46D6286BC4}"/>
          </ac:spMkLst>
        </pc:spChg>
        <pc:spChg chg="add del mod">
          <ac:chgData name="Corantin SAVY" userId="02d80846-c2cc-49a1-9d9a-c07680ec6e8d" providerId="ADAL" clId="{BADF2761-D025-4BBE-9C4C-EAA945F94550}" dt="2020-10-02T10:40:50.471" v="749"/>
          <ac:spMkLst>
            <pc:docMk/>
            <pc:sldMk cId="2603419662" sldId="7093"/>
            <ac:spMk id="214" creationId="{5DBEDDB2-B0E1-447D-9B19-40BF57933A86}"/>
          </ac:spMkLst>
        </pc:spChg>
        <pc:spChg chg="add del mod">
          <ac:chgData name="Corantin SAVY" userId="02d80846-c2cc-49a1-9d9a-c07680ec6e8d" providerId="ADAL" clId="{BADF2761-D025-4BBE-9C4C-EAA945F94550}" dt="2020-10-02T10:40:50.471" v="749"/>
          <ac:spMkLst>
            <pc:docMk/>
            <pc:sldMk cId="2603419662" sldId="7093"/>
            <ac:spMk id="215" creationId="{13E66D7B-008E-49F0-B217-337B4036746B}"/>
          </ac:spMkLst>
        </pc:spChg>
        <pc:spChg chg="add del mod">
          <ac:chgData name="Corantin SAVY" userId="02d80846-c2cc-49a1-9d9a-c07680ec6e8d" providerId="ADAL" clId="{BADF2761-D025-4BBE-9C4C-EAA945F94550}" dt="2020-10-02T10:40:50.471" v="749"/>
          <ac:spMkLst>
            <pc:docMk/>
            <pc:sldMk cId="2603419662" sldId="7093"/>
            <ac:spMk id="216" creationId="{F78C7FFD-22F3-4A33-9D89-CF58D3684024}"/>
          </ac:spMkLst>
        </pc:spChg>
        <pc:spChg chg="add del mod">
          <ac:chgData name="Corantin SAVY" userId="02d80846-c2cc-49a1-9d9a-c07680ec6e8d" providerId="ADAL" clId="{BADF2761-D025-4BBE-9C4C-EAA945F94550}" dt="2020-10-02T10:40:50.471" v="749"/>
          <ac:spMkLst>
            <pc:docMk/>
            <pc:sldMk cId="2603419662" sldId="7093"/>
            <ac:spMk id="217" creationId="{1140EB31-D7EC-4EA0-9A26-9BD27AFB32C2}"/>
          </ac:spMkLst>
        </pc:spChg>
        <pc:spChg chg="add del mod">
          <ac:chgData name="Corantin SAVY" userId="02d80846-c2cc-49a1-9d9a-c07680ec6e8d" providerId="ADAL" clId="{BADF2761-D025-4BBE-9C4C-EAA945F94550}" dt="2020-10-02T10:40:50.471" v="749"/>
          <ac:spMkLst>
            <pc:docMk/>
            <pc:sldMk cId="2603419662" sldId="7093"/>
            <ac:spMk id="218" creationId="{9FEF18BC-BC9F-4E1A-9D6B-2D79A06E6C76}"/>
          </ac:spMkLst>
        </pc:spChg>
        <pc:spChg chg="add del mod">
          <ac:chgData name="Corantin SAVY" userId="02d80846-c2cc-49a1-9d9a-c07680ec6e8d" providerId="ADAL" clId="{BADF2761-D025-4BBE-9C4C-EAA945F94550}" dt="2020-10-02T10:40:50.471" v="749"/>
          <ac:spMkLst>
            <pc:docMk/>
            <pc:sldMk cId="2603419662" sldId="7093"/>
            <ac:spMk id="219" creationId="{5060D510-9C29-49A5-96EB-9BA087D05EB9}"/>
          </ac:spMkLst>
        </pc:spChg>
        <pc:spChg chg="add del mod">
          <ac:chgData name="Corantin SAVY" userId="02d80846-c2cc-49a1-9d9a-c07680ec6e8d" providerId="ADAL" clId="{BADF2761-D025-4BBE-9C4C-EAA945F94550}" dt="2020-10-02T10:40:50.471" v="749"/>
          <ac:spMkLst>
            <pc:docMk/>
            <pc:sldMk cId="2603419662" sldId="7093"/>
            <ac:spMk id="220" creationId="{53F44196-FCC6-47DA-B75C-7FB96661115F}"/>
          </ac:spMkLst>
        </pc:spChg>
        <pc:spChg chg="add del mod">
          <ac:chgData name="Corantin SAVY" userId="02d80846-c2cc-49a1-9d9a-c07680ec6e8d" providerId="ADAL" clId="{BADF2761-D025-4BBE-9C4C-EAA945F94550}" dt="2020-10-02T10:40:50.471" v="749"/>
          <ac:spMkLst>
            <pc:docMk/>
            <pc:sldMk cId="2603419662" sldId="7093"/>
            <ac:spMk id="221" creationId="{B1EE4533-6628-4945-BE6A-6B6BAB9DE3C7}"/>
          </ac:spMkLst>
        </pc:spChg>
        <pc:spChg chg="add del mod">
          <ac:chgData name="Corantin SAVY" userId="02d80846-c2cc-49a1-9d9a-c07680ec6e8d" providerId="ADAL" clId="{BADF2761-D025-4BBE-9C4C-EAA945F94550}" dt="2020-10-02T10:40:50.471" v="749"/>
          <ac:spMkLst>
            <pc:docMk/>
            <pc:sldMk cId="2603419662" sldId="7093"/>
            <ac:spMk id="222" creationId="{F1115952-3163-4C63-B63E-633329CD3587}"/>
          </ac:spMkLst>
        </pc:spChg>
        <pc:spChg chg="mod">
          <ac:chgData name="Corantin SAVY" userId="02d80846-c2cc-49a1-9d9a-c07680ec6e8d" providerId="ADAL" clId="{BADF2761-D025-4BBE-9C4C-EAA945F94550}" dt="2020-10-02T13:16:59.544" v="2700" actId="1076"/>
          <ac:spMkLst>
            <pc:docMk/>
            <pc:sldMk cId="2603419662" sldId="7093"/>
            <ac:spMk id="223" creationId="{80F2F780-DB1E-4E08-BA5B-253992869A6E}"/>
          </ac:spMkLst>
        </pc:spChg>
        <pc:grpChg chg="mod">
          <ac:chgData name="Corantin SAVY" userId="02d80846-c2cc-49a1-9d9a-c07680ec6e8d" providerId="ADAL" clId="{BADF2761-D025-4BBE-9C4C-EAA945F94550}" dt="2020-10-02T10:41:00.540" v="775"/>
          <ac:grpSpMkLst>
            <pc:docMk/>
            <pc:sldMk cId="2603419662" sldId="7093"/>
            <ac:grpSpMk id="45" creationId="{A0DE1324-304F-4C8F-BB1A-90BEF7E15A5D}"/>
          </ac:grpSpMkLst>
        </pc:grpChg>
        <pc:grpChg chg="mod ord">
          <ac:chgData name="Corantin SAVY" userId="02d80846-c2cc-49a1-9d9a-c07680ec6e8d" providerId="ADAL" clId="{BADF2761-D025-4BBE-9C4C-EAA945F94550}" dt="2020-10-02T10:41:00.576" v="826"/>
          <ac:grpSpMkLst>
            <pc:docMk/>
            <pc:sldMk cId="2603419662" sldId="7093"/>
            <ac:grpSpMk id="99" creationId="{BE545D98-E5E5-43F0-9614-8F69D021EDCE}"/>
          </ac:grpSpMkLst>
        </pc:grpChg>
        <pc:grpChg chg="mod ord">
          <ac:chgData name="Corantin SAVY" userId="02d80846-c2cc-49a1-9d9a-c07680ec6e8d" providerId="ADAL" clId="{BADF2761-D025-4BBE-9C4C-EAA945F94550}" dt="2020-10-02T10:41:00.576" v="828"/>
          <ac:grpSpMkLst>
            <pc:docMk/>
            <pc:sldMk cId="2603419662" sldId="7093"/>
            <ac:grpSpMk id="132" creationId="{1690D086-D53E-49B8-960E-745EBEB0F0AE}"/>
          </ac:grpSpMkLst>
        </pc:grpChg>
        <pc:grpChg chg="mod ord">
          <ac:chgData name="Corantin SAVY" userId="02d80846-c2cc-49a1-9d9a-c07680ec6e8d" providerId="ADAL" clId="{BADF2761-D025-4BBE-9C4C-EAA945F94550}" dt="2020-10-02T10:41:00.561" v="804"/>
          <ac:grpSpMkLst>
            <pc:docMk/>
            <pc:sldMk cId="2603419662" sldId="7093"/>
            <ac:grpSpMk id="136" creationId="{0E2E0132-4928-48A3-81A2-F148EDBF5440}"/>
          </ac:grpSpMkLst>
        </pc:grpChg>
        <pc:grpChg chg="mod ord">
          <ac:chgData name="Corantin SAVY" userId="02d80846-c2cc-49a1-9d9a-c07680ec6e8d" providerId="ADAL" clId="{BADF2761-D025-4BBE-9C4C-EAA945F94550}" dt="2020-10-02T10:41:00.580" v="830"/>
          <ac:grpSpMkLst>
            <pc:docMk/>
            <pc:sldMk cId="2603419662" sldId="7093"/>
            <ac:grpSpMk id="152" creationId="{BF36767E-8DF8-4EFB-8DE7-E59D3D7A7237}"/>
          </ac:grpSpMkLst>
        </pc:grpChg>
        <pc:grpChg chg="mod ord">
          <ac:chgData name="Corantin SAVY" userId="02d80846-c2cc-49a1-9d9a-c07680ec6e8d" providerId="ADAL" clId="{BADF2761-D025-4BBE-9C4C-EAA945F94550}" dt="2020-10-02T10:41:00.582" v="832"/>
          <ac:grpSpMkLst>
            <pc:docMk/>
            <pc:sldMk cId="2603419662" sldId="7093"/>
            <ac:grpSpMk id="158" creationId="{EA3C8649-D715-46B5-B20E-76F08F8CC150}"/>
          </ac:grpSpMkLst>
        </pc:grpChg>
        <pc:grpChg chg="mod ord">
          <ac:chgData name="Corantin SAVY" userId="02d80846-c2cc-49a1-9d9a-c07680ec6e8d" providerId="ADAL" clId="{BADF2761-D025-4BBE-9C4C-EAA945F94550}" dt="2020-10-02T10:41:00.584" v="834"/>
          <ac:grpSpMkLst>
            <pc:docMk/>
            <pc:sldMk cId="2603419662" sldId="7093"/>
            <ac:grpSpMk id="164" creationId="{1F792940-E9CE-49D5-87F3-B2457DD679B2}"/>
          </ac:grpSpMkLst>
        </pc:grpChg>
        <pc:grpChg chg="add del mod">
          <ac:chgData name="Corantin SAVY" userId="02d80846-c2cc-49a1-9d9a-c07680ec6e8d" providerId="ADAL" clId="{BADF2761-D025-4BBE-9C4C-EAA945F94550}" dt="2020-10-02T10:40:50.471" v="749"/>
          <ac:grpSpMkLst>
            <pc:docMk/>
            <pc:sldMk cId="2603419662" sldId="7093"/>
            <ac:grpSpMk id="171" creationId="{8BBE1904-78D3-4461-AF70-B6F2EE20C5C3}"/>
          </ac:grpSpMkLst>
        </pc:grpChg>
        <pc:graphicFrameChg chg="mod ord">
          <ac:chgData name="Corantin SAVY" userId="02d80846-c2cc-49a1-9d9a-c07680ec6e8d" providerId="ADAL" clId="{BADF2761-D025-4BBE-9C4C-EAA945F94550}" dt="2020-10-02T10:41:00.589" v="838"/>
          <ac:graphicFrameMkLst>
            <pc:docMk/>
            <pc:sldMk cId="2603419662" sldId="7093"/>
            <ac:graphicFrameMk id="8" creationId="{E7D38F5E-F154-4DC7-8F4C-7E25FC6151BB}"/>
          </ac:graphicFrameMkLst>
        </pc:graphicFrameChg>
        <pc:graphicFrameChg chg="mod">
          <ac:chgData name="Corantin SAVY" userId="02d80846-c2cc-49a1-9d9a-c07680ec6e8d" providerId="ADAL" clId="{BADF2761-D025-4BBE-9C4C-EAA945F94550}" dt="2020-10-02T10:39:44.582" v="748"/>
          <ac:graphicFrameMkLst>
            <pc:docMk/>
            <pc:sldMk cId="2603419662" sldId="7093"/>
            <ac:graphicFrameMk id="173" creationId="{1F53AB7A-B8C3-4097-8F60-44839D9E8E5A}"/>
          </ac:graphicFrameMkLst>
        </pc:graphicFrameChg>
        <pc:cxnChg chg="mod ord">
          <ac:chgData name="Corantin SAVY" userId="02d80846-c2cc-49a1-9d9a-c07680ec6e8d" providerId="ADAL" clId="{BADF2761-D025-4BBE-9C4C-EAA945F94550}" dt="2020-10-02T10:41:00.544" v="780"/>
          <ac:cxnSpMkLst>
            <pc:docMk/>
            <pc:sldMk cId="2603419662" sldId="7093"/>
            <ac:cxnSpMk id="6" creationId="{C77CA9A7-4E8D-472A-BDF7-16095C994634}"/>
          </ac:cxnSpMkLst>
        </pc:cxnChg>
        <pc:cxnChg chg="mod ord">
          <ac:chgData name="Corantin SAVY" userId="02d80846-c2cc-49a1-9d9a-c07680ec6e8d" providerId="ADAL" clId="{BADF2761-D025-4BBE-9C4C-EAA945F94550}" dt="2020-10-02T10:41:00.550" v="784"/>
          <ac:cxnSpMkLst>
            <pc:docMk/>
            <pc:sldMk cId="2603419662" sldId="7093"/>
            <ac:cxnSpMk id="29" creationId="{457E11E8-660B-49F3-B83F-02E89B5405AC}"/>
          </ac:cxnSpMkLst>
        </pc:cxnChg>
        <pc:cxnChg chg="mod">
          <ac:chgData name="Corantin SAVY" userId="02d80846-c2cc-49a1-9d9a-c07680ec6e8d" providerId="ADAL" clId="{BADF2761-D025-4BBE-9C4C-EAA945F94550}" dt="2020-10-02T10:39:44.582" v="748"/>
          <ac:cxnSpMkLst>
            <pc:docMk/>
            <pc:sldMk cId="2603419662" sldId="7093"/>
            <ac:cxnSpMk id="197" creationId="{2FF58A1B-4A3F-4F76-9AD4-2A1E0C389C41}"/>
          </ac:cxnSpMkLst>
        </pc:cxnChg>
        <pc:cxnChg chg="mod">
          <ac:chgData name="Corantin SAVY" userId="02d80846-c2cc-49a1-9d9a-c07680ec6e8d" providerId="ADAL" clId="{BADF2761-D025-4BBE-9C4C-EAA945F94550}" dt="2020-10-02T10:39:44.582" v="748"/>
          <ac:cxnSpMkLst>
            <pc:docMk/>
            <pc:sldMk cId="2603419662" sldId="7093"/>
            <ac:cxnSpMk id="198" creationId="{B71B4EF4-E0EE-4EA7-88EB-D7BAB6ABE287}"/>
          </ac:cxnSpMkLst>
        </pc:cxnChg>
        <pc:cxnChg chg="mod">
          <ac:chgData name="Corantin SAVY" userId="02d80846-c2cc-49a1-9d9a-c07680ec6e8d" providerId="ADAL" clId="{BADF2761-D025-4BBE-9C4C-EAA945F94550}" dt="2020-10-02T10:39:44.582" v="748"/>
          <ac:cxnSpMkLst>
            <pc:docMk/>
            <pc:sldMk cId="2603419662" sldId="7093"/>
            <ac:cxnSpMk id="200" creationId="{3CD45049-EF2D-444B-97C4-F3DA010037A6}"/>
          </ac:cxnSpMkLst>
        </pc:cxnChg>
        <pc:cxnChg chg="mod">
          <ac:chgData name="Corantin SAVY" userId="02d80846-c2cc-49a1-9d9a-c07680ec6e8d" providerId="ADAL" clId="{BADF2761-D025-4BBE-9C4C-EAA945F94550}" dt="2020-10-02T10:39:44.582" v="748"/>
          <ac:cxnSpMkLst>
            <pc:docMk/>
            <pc:sldMk cId="2603419662" sldId="7093"/>
            <ac:cxnSpMk id="209" creationId="{B93E5B82-E7A7-4F2D-A33A-C4E00D2EB335}"/>
          </ac:cxnSpMkLst>
        </pc:cxnChg>
        <pc:cxnChg chg="mod">
          <ac:chgData name="Corantin SAVY" userId="02d80846-c2cc-49a1-9d9a-c07680ec6e8d" providerId="ADAL" clId="{BADF2761-D025-4BBE-9C4C-EAA945F94550}" dt="2020-10-02T10:39:44.582" v="748"/>
          <ac:cxnSpMkLst>
            <pc:docMk/>
            <pc:sldMk cId="2603419662" sldId="7093"/>
            <ac:cxnSpMk id="210" creationId="{CE9C2E30-CE73-4CD8-9669-D9B4CCAAF430}"/>
          </ac:cxnSpMkLst>
        </pc:cxnChg>
        <pc:cxnChg chg="mod">
          <ac:chgData name="Corantin SAVY" userId="02d80846-c2cc-49a1-9d9a-c07680ec6e8d" providerId="ADAL" clId="{BADF2761-D025-4BBE-9C4C-EAA945F94550}" dt="2020-10-02T10:39:44.582" v="748"/>
          <ac:cxnSpMkLst>
            <pc:docMk/>
            <pc:sldMk cId="2603419662" sldId="7093"/>
            <ac:cxnSpMk id="211" creationId="{222E1649-0827-422E-92DB-E09D2825431D}"/>
          </ac:cxnSpMkLst>
        </pc:cxnChg>
        <pc:cxnChg chg="mod">
          <ac:chgData name="Corantin SAVY" userId="02d80846-c2cc-49a1-9d9a-c07680ec6e8d" providerId="ADAL" clId="{BADF2761-D025-4BBE-9C4C-EAA945F94550}" dt="2020-10-02T10:39:44.582" v="748"/>
          <ac:cxnSpMkLst>
            <pc:docMk/>
            <pc:sldMk cId="2603419662" sldId="7093"/>
            <ac:cxnSpMk id="212" creationId="{E5961746-2679-484D-9375-8F9CFA8B1CF9}"/>
          </ac:cxnSpMkLst>
        </pc:cxnChg>
      </pc:sldChg>
      <pc:sldChg chg="modSp mod">
        <pc:chgData name="Corantin SAVY" userId="02d80846-c2cc-49a1-9d9a-c07680ec6e8d" providerId="ADAL" clId="{BADF2761-D025-4BBE-9C4C-EAA945F94550}" dt="2020-10-02T12:15:48.077" v="2213" actId="20577"/>
        <pc:sldMkLst>
          <pc:docMk/>
          <pc:sldMk cId="2575659523" sldId="7094"/>
        </pc:sldMkLst>
        <pc:spChg chg="mod">
          <ac:chgData name="Corantin SAVY" userId="02d80846-c2cc-49a1-9d9a-c07680ec6e8d" providerId="ADAL" clId="{BADF2761-D025-4BBE-9C4C-EAA945F94550}" dt="2020-10-02T12:14:19.970" v="2151" actId="1076"/>
          <ac:spMkLst>
            <pc:docMk/>
            <pc:sldMk cId="2575659523" sldId="7094"/>
            <ac:spMk id="5" creationId="{5DE21D44-EFBE-4B4E-9A08-DF0DD96A5D69}"/>
          </ac:spMkLst>
        </pc:spChg>
        <pc:spChg chg="mod">
          <ac:chgData name="Corantin SAVY" userId="02d80846-c2cc-49a1-9d9a-c07680ec6e8d" providerId="ADAL" clId="{BADF2761-D025-4BBE-9C4C-EAA945F94550}" dt="2020-10-02T12:15:22.848" v="2167" actId="6549"/>
          <ac:spMkLst>
            <pc:docMk/>
            <pc:sldMk cId="2575659523" sldId="7094"/>
            <ac:spMk id="66" creationId="{E6BDF360-DB3D-4CF8-B16E-DC935FB35B3E}"/>
          </ac:spMkLst>
        </pc:spChg>
        <pc:spChg chg="mod">
          <ac:chgData name="Corantin SAVY" userId="02d80846-c2cc-49a1-9d9a-c07680ec6e8d" providerId="ADAL" clId="{BADF2761-D025-4BBE-9C4C-EAA945F94550}" dt="2020-10-02T12:15:48.077" v="2213" actId="20577"/>
          <ac:spMkLst>
            <pc:docMk/>
            <pc:sldMk cId="2575659523" sldId="7094"/>
            <ac:spMk id="67" creationId="{323A694C-FF5E-4302-8C5A-9BB0A925FF28}"/>
          </ac:spMkLst>
        </pc:spChg>
      </pc:sldChg>
      <pc:sldChg chg="addSp delSp modSp add mod modTransition modShow">
        <pc:chgData name="Corantin SAVY" userId="02d80846-c2cc-49a1-9d9a-c07680ec6e8d" providerId="ADAL" clId="{BADF2761-D025-4BBE-9C4C-EAA945F94550}" dt="2020-10-02T09:04:00.888" v="243" actId="1076"/>
        <pc:sldMkLst>
          <pc:docMk/>
          <pc:sldMk cId="1454722016" sldId="7095"/>
        </pc:sldMkLst>
        <pc:spChg chg="add mod">
          <ac:chgData name="Corantin SAVY" userId="02d80846-c2cc-49a1-9d9a-c07680ec6e8d" providerId="ADAL" clId="{BADF2761-D025-4BBE-9C4C-EAA945F94550}" dt="2020-10-02T09:04:00.888" v="243" actId="1076"/>
          <ac:spMkLst>
            <pc:docMk/>
            <pc:sldMk cId="1454722016" sldId="7095"/>
            <ac:spMk id="105" creationId="{AB14B7B9-637B-4169-94A6-04ED5247E5B0}"/>
          </ac:spMkLst>
        </pc:spChg>
        <pc:spChg chg="mod">
          <ac:chgData name="Corantin SAVY" userId="02d80846-c2cc-49a1-9d9a-c07680ec6e8d" providerId="ADAL" clId="{BADF2761-D025-4BBE-9C4C-EAA945F94550}" dt="2020-10-02T08:59:30.351" v="171" actId="20577"/>
          <ac:spMkLst>
            <pc:docMk/>
            <pc:sldMk cId="1454722016" sldId="7095"/>
            <ac:spMk id="106" creationId="{B668B110-E21A-4E33-B7D0-3E9EA6FF2B07}"/>
          </ac:spMkLst>
        </pc:spChg>
        <pc:spChg chg="mod">
          <ac:chgData name="Corantin SAVY" userId="02d80846-c2cc-49a1-9d9a-c07680ec6e8d" providerId="ADAL" clId="{BADF2761-D025-4BBE-9C4C-EAA945F94550}" dt="2020-10-02T08:59:38.481" v="179" actId="20577"/>
          <ac:spMkLst>
            <pc:docMk/>
            <pc:sldMk cId="1454722016" sldId="7095"/>
            <ac:spMk id="107" creationId="{F14D22FD-4BD9-4538-8DEB-2884AD708E40}"/>
          </ac:spMkLst>
        </pc:spChg>
        <pc:spChg chg="mod">
          <ac:chgData name="Corantin SAVY" userId="02d80846-c2cc-49a1-9d9a-c07680ec6e8d" providerId="ADAL" clId="{BADF2761-D025-4BBE-9C4C-EAA945F94550}" dt="2020-10-02T08:59:44.014" v="187" actId="20577"/>
          <ac:spMkLst>
            <pc:docMk/>
            <pc:sldMk cId="1454722016" sldId="7095"/>
            <ac:spMk id="108" creationId="{DA1538A2-EB70-4130-B00A-E860707A51AD}"/>
          </ac:spMkLst>
        </pc:spChg>
        <pc:spChg chg="mod">
          <ac:chgData name="Corantin SAVY" userId="02d80846-c2cc-49a1-9d9a-c07680ec6e8d" providerId="ADAL" clId="{BADF2761-D025-4BBE-9C4C-EAA945F94550}" dt="2020-10-02T08:59:55.343" v="195" actId="20577"/>
          <ac:spMkLst>
            <pc:docMk/>
            <pc:sldMk cId="1454722016" sldId="7095"/>
            <ac:spMk id="112" creationId="{2FEB3B24-853A-44E3-95A4-6AFD8E1AB29B}"/>
          </ac:spMkLst>
        </pc:spChg>
        <pc:spChg chg="mod">
          <ac:chgData name="Corantin SAVY" userId="02d80846-c2cc-49a1-9d9a-c07680ec6e8d" providerId="ADAL" clId="{BADF2761-D025-4BBE-9C4C-EAA945F94550}" dt="2020-10-02T09:00:12.167" v="199" actId="20577"/>
          <ac:spMkLst>
            <pc:docMk/>
            <pc:sldMk cId="1454722016" sldId="7095"/>
            <ac:spMk id="114" creationId="{A1603E3B-BA87-4E7A-9265-FC5DD3713C42}"/>
          </ac:spMkLst>
        </pc:spChg>
        <pc:spChg chg="mod">
          <ac:chgData name="Corantin SAVY" userId="02d80846-c2cc-49a1-9d9a-c07680ec6e8d" providerId="ADAL" clId="{BADF2761-D025-4BBE-9C4C-EAA945F94550}" dt="2020-10-02T09:00:18.996" v="201" actId="20577"/>
          <ac:spMkLst>
            <pc:docMk/>
            <pc:sldMk cId="1454722016" sldId="7095"/>
            <ac:spMk id="115" creationId="{94754636-CF21-4C39-A5D3-912313BB6260}"/>
          </ac:spMkLst>
        </pc:spChg>
        <pc:spChg chg="del mod">
          <ac:chgData name="Corantin SAVY" userId="02d80846-c2cc-49a1-9d9a-c07680ec6e8d" providerId="ADAL" clId="{BADF2761-D025-4BBE-9C4C-EAA945F94550}" dt="2020-10-02T09:03:53.476" v="241" actId="478"/>
          <ac:spMkLst>
            <pc:docMk/>
            <pc:sldMk cId="1454722016" sldId="7095"/>
            <ac:spMk id="116" creationId="{CC81AC77-747A-4DF4-8EBA-28CB915B6C8D}"/>
          </ac:spMkLst>
        </pc:spChg>
        <pc:spChg chg="del mod">
          <ac:chgData name="Corantin SAVY" userId="02d80846-c2cc-49a1-9d9a-c07680ec6e8d" providerId="ADAL" clId="{BADF2761-D025-4BBE-9C4C-EAA945F94550}" dt="2020-10-02T09:03:53.476" v="241" actId="478"/>
          <ac:spMkLst>
            <pc:docMk/>
            <pc:sldMk cId="1454722016" sldId="7095"/>
            <ac:spMk id="117" creationId="{EB3CC980-D961-41C1-AE18-29F0691B4A88}"/>
          </ac:spMkLst>
        </pc:spChg>
        <pc:spChg chg="del mod">
          <ac:chgData name="Corantin SAVY" userId="02d80846-c2cc-49a1-9d9a-c07680ec6e8d" providerId="ADAL" clId="{BADF2761-D025-4BBE-9C4C-EAA945F94550}" dt="2020-10-02T09:03:53.476" v="241" actId="478"/>
          <ac:spMkLst>
            <pc:docMk/>
            <pc:sldMk cId="1454722016" sldId="7095"/>
            <ac:spMk id="118" creationId="{EC5A75AE-FFC0-451D-9F1D-A3F5FEE3E56B}"/>
          </ac:spMkLst>
        </pc:spChg>
        <pc:spChg chg="del mod">
          <ac:chgData name="Corantin SAVY" userId="02d80846-c2cc-49a1-9d9a-c07680ec6e8d" providerId="ADAL" clId="{BADF2761-D025-4BBE-9C4C-EAA945F94550}" dt="2020-10-02T09:03:53.476" v="241" actId="478"/>
          <ac:spMkLst>
            <pc:docMk/>
            <pc:sldMk cId="1454722016" sldId="7095"/>
            <ac:spMk id="119" creationId="{6576D780-71D3-4D9C-950A-4A43F9A3B6BD}"/>
          </ac:spMkLst>
        </pc:spChg>
        <pc:spChg chg="del mod">
          <ac:chgData name="Corantin SAVY" userId="02d80846-c2cc-49a1-9d9a-c07680ec6e8d" providerId="ADAL" clId="{BADF2761-D025-4BBE-9C4C-EAA945F94550}" dt="2020-10-02T09:03:53.476" v="241" actId="478"/>
          <ac:spMkLst>
            <pc:docMk/>
            <pc:sldMk cId="1454722016" sldId="7095"/>
            <ac:spMk id="120" creationId="{883B3A8C-5DD1-45F7-B840-339E5E2FDA87}"/>
          </ac:spMkLst>
        </pc:spChg>
        <pc:spChg chg="del mod">
          <ac:chgData name="Corantin SAVY" userId="02d80846-c2cc-49a1-9d9a-c07680ec6e8d" providerId="ADAL" clId="{BADF2761-D025-4BBE-9C4C-EAA945F94550}" dt="2020-10-02T09:03:53.476" v="241" actId="478"/>
          <ac:spMkLst>
            <pc:docMk/>
            <pc:sldMk cId="1454722016" sldId="7095"/>
            <ac:spMk id="121" creationId="{8C77DB43-0D57-42F7-99BB-A0883847CEB0}"/>
          </ac:spMkLst>
        </pc:spChg>
        <pc:spChg chg="del mod">
          <ac:chgData name="Corantin SAVY" userId="02d80846-c2cc-49a1-9d9a-c07680ec6e8d" providerId="ADAL" clId="{BADF2761-D025-4BBE-9C4C-EAA945F94550}" dt="2020-10-02T09:03:53.476" v="241" actId="478"/>
          <ac:spMkLst>
            <pc:docMk/>
            <pc:sldMk cId="1454722016" sldId="7095"/>
            <ac:spMk id="122" creationId="{3D7173C6-61B8-470A-9C50-577A50F78C07}"/>
          </ac:spMkLst>
        </pc:spChg>
        <pc:spChg chg="del">
          <ac:chgData name="Corantin SAVY" userId="02d80846-c2cc-49a1-9d9a-c07680ec6e8d" providerId="ADAL" clId="{BADF2761-D025-4BBE-9C4C-EAA945F94550}" dt="2020-10-02T09:03:53.476" v="241" actId="478"/>
          <ac:spMkLst>
            <pc:docMk/>
            <pc:sldMk cId="1454722016" sldId="7095"/>
            <ac:spMk id="123" creationId="{F0392B41-9968-4EB1-82B6-A09FDC097A85}"/>
          </ac:spMkLst>
        </pc:spChg>
        <pc:spChg chg="del mod">
          <ac:chgData name="Corantin SAVY" userId="02d80846-c2cc-49a1-9d9a-c07680ec6e8d" providerId="ADAL" clId="{BADF2761-D025-4BBE-9C4C-EAA945F94550}" dt="2020-10-02T09:03:53.476" v="241" actId="478"/>
          <ac:spMkLst>
            <pc:docMk/>
            <pc:sldMk cId="1454722016" sldId="7095"/>
            <ac:spMk id="124" creationId="{45653A91-063E-44F2-952A-66E6B39C6C0D}"/>
          </ac:spMkLst>
        </pc:spChg>
        <pc:spChg chg="del mod">
          <ac:chgData name="Corantin SAVY" userId="02d80846-c2cc-49a1-9d9a-c07680ec6e8d" providerId="ADAL" clId="{BADF2761-D025-4BBE-9C4C-EAA945F94550}" dt="2020-10-02T09:03:53.476" v="241" actId="478"/>
          <ac:spMkLst>
            <pc:docMk/>
            <pc:sldMk cId="1454722016" sldId="7095"/>
            <ac:spMk id="125" creationId="{C12CB9D4-9E25-45F1-8843-ECF6DB5DB68A}"/>
          </ac:spMkLst>
        </pc:spChg>
        <pc:spChg chg="add mod">
          <ac:chgData name="Corantin SAVY" userId="02d80846-c2cc-49a1-9d9a-c07680ec6e8d" providerId="ADAL" clId="{BADF2761-D025-4BBE-9C4C-EAA945F94550}" dt="2020-10-02T09:04:00.888" v="243" actId="1076"/>
          <ac:spMkLst>
            <pc:docMk/>
            <pc:sldMk cId="1454722016" sldId="7095"/>
            <ac:spMk id="128" creationId="{8218CD3F-A2A7-477C-A4FA-A366305C92FE}"/>
          </ac:spMkLst>
        </pc:spChg>
        <pc:spChg chg="add mod">
          <ac:chgData name="Corantin SAVY" userId="02d80846-c2cc-49a1-9d9a-c07680ec6e8d" providerId="ADAL" clId="{BADF2761-D025-4BBE-9C4C-EAA945F94550}" dt="2020-10-02T09:04:00.888" v="243" actId="1076"/>
          <ac:spMkLst>
            <pc:docMk/>
            <pc:sldMk cId="1454722016" sldId="7095"/>
            <ac:spMk id="149" creationId="{644328A6-0E76-4E89-8300-5FB8A55F5CBD}"/>
          </ac:spMkLst>
        </pc:spChg>
        <pc:spChg chg="add mod">
          <ac:chgData name="Corantin SAVY" userId="02d80846-c2cc-49a1-9d9a-c07680ec6e8d" providerId="ADAL" clId="{BADF2761-D025-4BBE-9C4C-EAA945F94550}" dt="2020-10-02T09:04:00.888" v="243" actId="1076"/>
          <ac:spMkLst>
            <pc:docMk/>
            <pc:sldMk cId="1454722016" sldId="7095"/>
            <ac:spMk id="154" creationId="{026E9055-9778-422E-9A25-D04AD79AC287}"/>
          </ac:spMkLst>
        </pc:spChg>
        <pc:spChg chg="add mod">
          <ac:chgData name="Corantin SAVY" userId="02d80846-c2cc-49a1-9d9a-c07680ec6e8d" providerId="ADAL" clId="{BADF2761-D025-4BBE-9C4C-EAA945F94550}" dt="2020-10-02T09:04:00.888" v="243" actId="1076"/>
          <ac:spMkLst>
            <pc:docMk/>
            <pc:sldMk cId="1454722016" sldId="7095"/>
            <ac:spMk id="158" creationId="{F6A605C3-2457-43DE-817B-9B902B2DBB06}"/>
          </ac:spMkLst>
        </pc:spChg>
        <pc:spChg chg="add mod">
          <ac:chgData name="Corantin SAVY" userId="02d80846-c2cc-49a1-9d9a-c07680ec6e8d" providerId="ADAL" clId="{BADF2761-D025-4BBE-9C4C-EAA945F94550}" dt="2020-10-02T09:04:00.888" v="243" actId="1076"/>
          <ac:spMkLst>
            <pc:docMk/>
            <pc:sldMk cId="1454722016" sldId="7095"/>
            <ac:spMk id="159" creationId="{D38911A9-DBCB-4FD4-9108-E4123B1B31F4}"/>
          </ac:spMkLst>
        </pc:spChg>
        <pc:spChg chg="add mod">
          <ac:chgData name="Corantin SAVY" userId="02d80846-c2cc-49a1-9d9a-c07680ec6e8d" providerId="ADAL" clId="{BADF2761-D025-4BBE-9C4C-EAA945F94550}" dt="2020-10-02T09:04:00.888" v="243" actId="1076"/>
          <ac:spMkLst>
            <pc:docMk/>
            <pc:sldMk cId="1454722016" sldId="7095"/>
            <ac:spMk id="162" creationId="{8EED40EF-92A1-46BB-A45F-0AEEF3198818}"/>
          </ac:spMkLst>
        </pc:spChg>
        <pc:spChg chg="add mod">
          <ac:chgData name="Corantin SAVY" userId="02d80846-c2cc-49a1-9d9a-c07680ec6e8d" providerId="ADAL" clId="{BADF2761-D025-4BBE-9C4C-EAA945F94550}" dt="2020-10-02T09:04:00.888" v="243" actId="1076"/>
          <ac:spMkLst>
            <pc:docMk/>
            <pc:sldMk cId="1454722016" sldId="7095"/>
            <ac:spMk id="163" creationId="{2A984178-AE42-4BE9-B8F9-8622005B4DD1}"/>
          </ac:spMkLst>
        </pc:spChg>
        <pc:spChg chg="add mod">
          <ac:chgData name="Corantin SAVY" userId="02d80846-c2cc-49a1-9d9a-c07680ec6e8d" providerId="ADAL" clId="{BADF2761-D025-4BBE-9C4C-EAA945F94550}" dt="2020-10-02T09:04:00.888" v="243" actId="1076"/>
          <ac:spMkLst>
            <pc:docMk/>
            <pc:sldMk cId="1454722016" sldId="7095"/>
            <ac:spMk id="165" creationId="{AF75FF24-C43C-4853-8F98-4566A6F159F3}"/>
          </ac:spMkLst>
        </pc:spChg>
        <pc:spChg chg="add mod">
          <ac:chgData name="Corantin SAVY" userId="02d80846-c2cc-49a1-9d9a-c07680ec6e8d" providerId="ADAL" clId="{BADF2761-D025-4BBE-9C4C-EAA945F94550}" dt="2020-10-02T09:04:00.888" v="243" actId="1076"/>
          <ac:spMkLst>
            <pc:docMk/>
            <pc:sldMk cId="1454722016" sldId="7095"/>
            <ac:spMk id="166" creationId="{FB672BFB-7BFF-445A-928D-EEA0628E8064}"/>
          </ac:spMkLst>
        </pc:spChg>
      </pc:sldChg>
      <pc:sldChg chg="modSp add del mod modTransition setBg modShow">
        <pc:chgData name="Corantin SAVY" userId="02d80846-c2cc-49a1-9d9a-c07680ec6e8d" providerId="ADAL" clId="{BADF2761-D025-4BBE-9C4C-EAA945F94550}" dt="2020-10-02T08:35:24.534" v="62"/>
        <pc:sldMkLst>
          <pc:docMk/>
          <pc:sldMk cId="809766918" sldId="7096"/>
        </pc:sldMkLst>
        <pc:spChg chg="mod">
          <ac:chgData name="Corantin SAVY" userId="02d80846-c2cc-49a1-9d9a-c07680ec6e8d" providerId="ADAL" clId="{BADF2761-D025-4BBE-9C4C-EAA945F94550}" dt="2020-10-02T08:35:24.534" v="62"/>
          <ac:spMkLst>
            <pc:docMk/>
            <pc:sldMk cId="809766918" sldId="7096"/>
            <ac:spMk id="77" creationId="{6E3E299C-7714-43EE-A242-7B5255A7008F}"/>
          </ac:spMkLst>
        </pc:spChg>
        <pc:graphicFrameChg chg="mod">
          <ac:chgData name="Corantin SAVY" userId="02d80846-c2cc-49a1-9d9a-c07680ec6e8d" providerId="ADAL" clId="{BADF2761-D025-4BBE-9C4C-EAA945F94550}" dt="2020-10-02T08:35:24.534" v="62"/>
          <ac:graphicFrameMkLst>
            <pc:docMk/>
            <pc:sldMk cId="809766918" sldId="7096"/>
            <ac:graphicFrameMk id="78" creationId="{FA595C26-E06D-47CF-A37A-C328DF417698}"/>
          </ac:graphicFrameMkLst>
        </pc:graphicFrameChg>
      </pc:sldChg>
      <pc:sldChg chg="add mod modTransition modShow">
        <pc:chgData name="Corantin SAVY" userId="02d80846-c2cc-49a1-9d9a-c07680ec6e8d" providerId="ADAL" clId="{BADF2761-D025-4BBE-9C4C-EAA945F94550}" dt="2020-10-02T10:34:41.093" v="743"/>
        <pc:sldMkLst>
          <pc:docMk/>
          <pc:sldMk cId="2909195475" sldId="7097"/>
        </pc:sldMkLst>
      </pc:sldChg>
      <pc:sldChg chg="modSp mod">
        <pc:chgData name="Corantin SAVY" userId="02d80846-c2cc-49a1-9d9a-c07680ec6e8d" providerId="ADAL" clId="{BADF2761-D025-4BBE-9C4C-EAA945F94550}" dt="2020-10-02T14:54:46.995" v="3544" actId="5793"/>
        <pc:sldMkLst>
          <pc:docMk/>
          <pc:sldMk cId="932497199" sldId="7098"/>
        </pc:sldMkLst>
        <pc:spChg chg="mod">
          <ac:chgData name="Corantin SAVY" userId="02d80846-c2cc-49a1-9d9a-c07680ec6e8d" providerId="ADAL" clId="{BADF2761-D025-4BBE-9C4C-EAA945F94550}" dt="2020-10-02T14:54:46.995" v="3544" actId="5793"/>
          <ac:spMkLst>
            <pc:docMk/>
            <pc:sldMk cId="932497199" sldId="7098"/>
            <ac:spMk id="120" creationId="{AE6C35D3-BB1E-4486-8C4A-32E725ECE125}"/>
          </ac:spMkLst>
        </pc:spChg>
      </pc:sldChg>
    </pc:docChg>
  </pc:docChgLst>
  <pc:docChgLst>
    <pc:chgData name="Adèle DUCURTIL" userId="4cc4c274-2099-4ec9-9ef7-59e8b8faf7f4" providerId="ADAL" clId="{EB72E307-3E65-47B0-B90E-F9F41A5CA2F7}"/>
    <pc:docChg chg="undo custSel addSld delSld modSld sldOrd modSection">
      <pc:chgData name="Adèle DUCURTIL" userId="4cc4c274-2099-4ec9-9ef7-59e8b8faf7f4" providerId="ADAL" clId="{EB72E307-3E65-47B0-B90E-F9F41A5CA2F7}" dt="2020-10-07T07:52:49.304" v="2283" actId="14100"/>
      <pc:docMkLst>
        <pc:docMk/>
      </pc:docMkLst>
      <pc:sldChg chg="addSp delSp modSp mod">
        <pc:chgData name="Adèle DUCURTIL" userId="4cc4c274-2099-4ec9-9ef7-59e8b8faf7f4" providerId="ADAL" clId="{EB72E307-3E65-47B0-B90E-F9F41A5CA2F7}" dt="2020-10-02T17:00:44.144" v="1991" actId="478"/>
        <pc:sldMkLst>
          <pc:docMk/>
          <pc:sldMk cId="1092298302" sldId="4910"/>
        </pc:sldMkLst>
        <pc:spChg chg="add mod">
          <ac:chgData name="Adèle DUCURTIL" userId="4cc4c274-2099-4ec9-9ef7-59e8b8faf7f4" providerId="ADAL" clId="{EB72E307-3E65-47B0-B90E-F9F41A5CA2F7}" dt="2020-10-02T09:14:38.596" v="106" actId="20577"/>
          <ac:spMkLst>
            <pc:docMk/>
            <pc:sldMk cId="1092298302" sldId="4910"/>
            <ac:spMk id="2" creationId="{28DC3626-8643-42B2-B1D2-E1A3CDF1D9E2}"/>
          </ac:spMkLst>
        </pc:spChg>
        <pc:spChg chg="del mod">
          <ac:chgData name="Adèle DUCURTIL" userId="4cc4c274-2099-4ec9-9ef7-59e8b8faf7f4" providerId="ADAL" clId="{EB72E307-3E65-47B0-B90E-F9F41A5CA2F7}" dt="2020-10-02T17:00:40.242" v="1989" actId="478"/>
          <ac:spMkLst>
            <pc:docMk/>
            <pc:sldMk cId="1092298302" sldId="4910"/>
            <ac:spMk id="3" creationId="{486C3A30-C550-4E3D-A6DA-C7934EAAADA5}"/>
          </ac:spMkLst>
        </pc:spChg>
        <pc:spChg chg="add del mod">
          <ac:chgData name="Adèle DUCURTIL" userId="4cc4c274-2099-4ec9-9ef7-59e8b8faf7f4" providerId="ADAL" clId="{EB72E307-3E65-47B0-B90E-F9F41A5CA2F7}" dt="2020-10-02T17:00:42.206" v="1990" actId="478"/>
          <ac:spMkLst>
            <pc:docMk/>
            <pc:sldMk cId="1092298302" sldId="4910"/>
            <ac:spMk id="14" creationId="{2081E113-75C8-4730-83F2-D43052470158}"/>
          </ac:spMkLst>
        </pc:spChg>
        <pc:spChg chg="add del mod">
          <ac:chgData name="Adèle DUCURTIL" userId="4cc4c274-2099-4ec9-9ef7-59e8b8faf7f4" providerId="ADAL" clId="{EB72E307-3E65-47B0-B90E-F9F41A5CA2F7}" dt="2020-10-02T17:00:44.144" v="1991" actId="478"/>
          <ac:spMkLst>
            <pc:docMk/>
            <pc:sldMk cId="1092298302" sldId="4910"/>
            <ac:spMk id="16" creationId="{16FBE220-7287-47CD-9CF0-34B580784893}"/>
          </ac:spMkLst>
        </pc:spChg>
        <pc:spChg chg="mod">
          <ac:chgData name="Adèle DUCURTIL" userId="4cc4c274-2099-4ec9-9ef7-59e8b8faf7f4" providerId="ADAL" clId="{EB72E307-3E65-47B0-B90E-F9F41A5CA2F7}" dt="2020-10-02T16:35:45.115" v="1985" actId="20577"/>
          <ac:spMkLst>
            <pc:docMk/>
            <pc:sldMk cId="1092298302" sldId="4910"/>
            <ac:spMk id="17" creationId="{B6E2BF46-448F-4046-BDE6-055311F7B6C9}"/>
          </ac:spMkLst>
        </pc:spChg>
      </pc:sldChg>
      <pc:sldChg chg="modSp mod">
        <pc:chgData name="Adèle DUCURTIL" userId="4cc4c274-2099-4ec9-9ef7-59e8b8faf7f4" providerId="ADAL" clId="{EB72E307-3E65-47B0-B90E-F9F41A5CA2F7}" dt="2020-10-02T09:12:32.364" v="28"/>
        <pc:sldMkLst>
          <pc:docMk/>
          <pc:sldMk cId="683207262" sldId="6768"/>
        </pc:sldMkLst>
        <pc:spChg chg="mod">
          <ac:chgData name="Adèle DUCURTIL" userId="4cc4c274-2099-4ec9-9ef7-59e8b8faf7f4" providerId="ADAL" clId="{EB72E307-3E65-47B0-B90E-F9F41A5CA2F7}" dt="2020-10-02T09:12:32.299" v="26" actId="6549"/>
          <ac:spMkLst>
            <pc:docMk/>
            <pc:sldMk cId="683207262" sldId="6768"/>
            <ac:spMk id="13" creationId="{FCCB61A9-18E3-4D56-9AF8-2A82AF56EF7F}"/>
          </ac:spMkLst>
        </pc:spChg>
        <pc:graphicFrameChg chg="mod">
          <ac:chgData name="Adèle DUCURTIL" userId="4cc4c274-2099-4ec9-9ef7-59e8b8faf7f4" providerId="ADAL" clId="{EB72E307-3E65-47B0-B90E-F9F41A5CA2F7}" dt="2020-10-02T09:12:32.364" v="28"/>
          <ac:graphicFrameMkLst>
            <pc:docMk/>
            <pc:sldMk cId="683207262" sldId="6768"/>
            <ac:graphicFrameMk id="6" creationId="{90944F39-7C9D-46A4-9460-7725FFCBEE94}"/>
          </ac:graphicFrameMkLst>
        </pc:graphicFrameChg>
      </pc:sldChg>
      <pc:sldChg chg="mod">
        <pc:chgData name="Adèle DUCURTIL" userId="4cc4c274-2099-4ec9-9ef7-59e8b8faf7f4" providerId="ADAL" clId="{EB72E307-3E65-47B0-B90E-F9F41A5CA2F7}" dt="2020-10-05T13:35:58.134" v="1999" actId="27918"/>
        <pc:sldMkLst>
          <pc:docMk/>
          <pc:sldMk cId="1784659859" sldId="6832"/>
        </pc:sldMkLst>
      </pc:sldChg>
      <pc:sldChg chg="modSp mod">
        <pc:chgData name="Adèle DUCURTIL" userId="4cc4c274-2099-4ec9-9ef7-59e8b8faf7f4" providerId="ADAL" clId="{EB72E307-3E65-47B0-B90E-F9F41A5CA2F7}" dt="2020-10-02T15:09:41.112" v="1627" actId="20577"/>
        <pc:sldMkLst>
          <pc:docMk/>
          <pc:sldMk cId="1314010191" sldId="6852"/>
        </pc:sldMkLst>
        <pc:spChg chg="mod">
          <ac:chgData name="Adèle DUCURTIL" userId="4cc4c274-2099-4ec9-9ef7-59e8b8faf7f4" providerId="ADAL" clId="{EB72E307-3E65-47B0-B90E-F9F41A5CA2F7}" dt="2020-10-02T15:09:41.112" v="1627" actId="20577"/>
          <ac:spMkLst>
            <pc:docMk/>
            <pc:sldMk cId="1314010191" sldId="6852"/>
            <ac:spMk id="8" creationId="{C3940C02-2558-4390-8EF3-2B588F010A5A}"/>
          </ac:spMkLst>
        </pc:spChg>
      </pc:sldChg>
      <pc:sldChg chg="addSp modSp mod">
        <pc:chgData name="Adèle DUCURTIL" userId="4cc4c274-2099-4ec9-9ef7-59e8b8faf7f4" providerId="ADAL" clId="{EB72E307-3E65-47B0-B90E-F9F41A5CA2F7}" dt="2020-10-02T12:30:25.845" v="129" actId="20577"/>
        <pc:sldMkLst>
          <pc:docMk/>
          <pc:sldMk cId="3310560167" sldId="6853"/>
        </pc:sldMkLst>
        <pc:spChg chg="add mod">
          <ac:chgData name="Adèle DUCURTIL" userId="4cc4c274-2099-4ec9-9ef7-59e8b8faf7f4" providerId="ADAL" clId="{EB72E307-3E65-47B0-B90E-F9F41A5CA2F7}" dt="2020-10-02T12:30:25.845" v="129" actId="20577"/>
          <ac:spMkLst>
            <pc:docMk/>
            <pc:sldMk cId="3310560167" sldId="6853"/>
            <ac:spMk id="8" creationId="{2D931E8D-8E82-479E-A3AF-2CA2491C851B}"/>
          </ac:spMkLst>
        </pc:spChg>
      </pc:sldChg>
      <pc:sldChg chg="addSp modSp">
        <pc:chgData name="Adèle DUCURTIL" userId="4cc4c274-2099-4ec9-9ef7-59e8b8faf7f4" providerId="ADAL" clId="{EB72E307-3E65-47B0-B90E-F9F41A5CA2F7}" dt="2020-10-02T14:26:50.665" v="1419" actId="1076"/>
        <pc:sldMkLst>
          <pc:docMk/>
          <pc:sldMk cId="2931811662" sldId="6960"/>
        </pc:sldMkLst>
        <pc:picChg chg="add mod">
          <ac:chgData name="Adèle DUCURTIL" userId="4cc4c274-2099-4ec9-9ef7-59e8b8faf7f4" providerId="ADAL" clId="{EB72E307-3E65-47B0-B90E-F9F41A5CA2F7}" dt="2020-10-02T14:26:50.665" v="1419" actId="1076"/>
          <ac:picMkLst>
            <pc:docMk/>
            <pc:sldMk cId="2931811662" sldId="6960"/>
            <ac:picMk id="8194" creationId="{C38CE4FF-30F8-4165-B6DF-BCBC6E780156}"/>
          </ac:picMkLst>
        </pc:picChg>
      </pc:sldChg>
      <pc:sldChg chg="addSp delSp modSp mod">
        <pc:chgData name="Adèle DUCURTIL" userId="4cc4c274-2099-4ec9-9ef7-59e8b8faf7f4" providerId="ADAL" clId="{EB72E307-3E65-47B0-B90E-F9F41A5CA2F7}" dt="2020-10-02T15:08:02.524" v="1621" actId="478"/>
        <pc:sldMkLst>
          <pc:docMk/>
          <pc:sldMk cId="2838286066" sldId="6995"/>
        </pc:sldMkLst>
        <pc:spChg chg="add del mod">
          <ac:chgData name="Adèle DUCURTIL" userId="4cc4c274-2099-4ec9-9ef7-59e8b8faf7f4" providerId="ADAL" clId="{EB72E307-3E65-47B0-B90E-F9F41A5CA2F7}" dt="2020-10-02T15:08:01.633" v="1620" actId="478"/>
          <ac:spMkLst>
            <pc:docMk/>
            <pc:sldMk cId="2838286066" sldId="6995"/>
            <ac:spMk id="2" creationId="{EBFE9812-B8DF-4478-A436-F77AF552E22F}"/>
          </ac:spMkLst>
        </pc:spChg>
        <pc:spChg chg="mod">
          <ac:chgData name="Adèle DUCURTIL" userId="4cc4c274-2099-4ec9-9ef7-59e8b8faf7f4" providerId="ADAL" clId="{EB72E307-3E65-47B0-B90E-F9F41A5CA2F7}" dt="2020-10-02T15:02:52.365" v="1472" actId="20577"/>
          <ac:spMkLst>
            <pc:docMk/>
            <pc:sldMk cId="2838286066" sldId="6995"/>
            <ac:spMk id="4" creationId="{03AE7BBC-40ED-4E9B-B40A-C5E7D4BC9E16}"/>
          </ac:spMkLst>
        </pc:spChg>
        <pc:spChg chg="add mod">
          <ac:chgData name="Adèle DUCURTIL" userId="4cc4c274-2099-4ec9-9ef7-59e8b8faf7f4" providerId="ADAL" clId="{EB72E307-3E65-47B0-B90E-F9F41A5CA2F7}" dt="2020-10-02T15:06:24.195" v="1592" actId="20577"/>
          <ac:spMkLst>
            <pc:docMk/>
            <pc:sldMk cId="2838286066" sldId="6995"/>
            <ac:spMk id="10" creationId="{29674868-0EE8-4029-BD1C-94D99F1F86E9}"/>
          </ac:spMkLst>
        </pc:spChg>
        <pc:spChg chg="del mod">
          <ac:chgData name="Adèle DUCURTIL" userId="4cc4c274-2099-4ec9-9ef7-59e8b8faf7f4" providerId="ADAL" clId="{EB72E307-3E65-47B0-B90E-F9F41A5CA2F7}" dt="2020-10-02T14:50:50.633" v="1445" actId="478"/>
          <ac:spMkLst>
            <pc:docMk/>
            <pc:sldMk cId="2838286066" sldId="6995"/>
            <ac:spMk id="54" creationId="{687C6B1D-964F-48A7-B779-D31B3B439767}"/>
          </ac:spMkLst>
        </pc:spChg>
        <pc:spChg chg="mod">
          <ac:chgData name="Adèle DUCURTIL" userId="4cc4c274-2099-4ec9-9ef7-59e8b8faf7f4" providerId="ADAL" clId="{EB72E307-3E65-47B0-B90E-F9F41A5CA2F7}" dt="2020-10-02T15:02:56.865" v="1474" actId="20577"/>
          <ac:spMkLst>
            <pc:docMk/>
            <pc:sldMk cId="2838286066" sldId="6995"/>
            <ac:spMk id="55" creationId="{E1031151-A381-4D0C-B232-A64F9423DA4E}"/>
          </ac:spMkLst>
        </pc:spChg>
        <pc:spChg chg="mod">
          <ac:chgData name="Adèle DUCURTIL" userId="4cc4c274-2099-4ec9-9ef7-59e8b8faf7f4" providerId="ADAL" clId="{EB72E307-3E65-47B0-B90E-F9F41A5CA2F7}" dt="2020-10-02T15:02:35.064" v="1470" actId="20577"/>
          <ac:spMkLst>
            <pc:docMk/>
            <pc:sldMk cId="2838286066" sldId="6995"/>
            <ac:spMk id="56" creationId="{3EB84117-2BD1-41F3-AB66-B05C63C517E1}"/>
          </ac:spMkLst>
        </pc:spChg>
        <pc:spChg chg="mod">
          <ac:chgData name="Adèle DUCURTIL" userId="4cc4c274-2099-4ec9-9ef7-59e8b8faf7f4" providerId="ADAL" clId="{EB72E307-3E65-47B0-B90E-F9F41A5CA2F7}" dt="2020-10-02T15:03:01.628" v="1478" actId="20577"/>
          <ac:spMkLst>
            <pc:docMk/>
            <pc:sldMk cId="2838286066" sldId="6995"/>
            <ac:spMk id="57" creationId="{D38D7D4E-014E-48CA-B224-CB37C3C226B3}"/>
          </ac:spMkLst>
        </pc:spChg>
        <pc:spChg chg="mod">
          <ac:chgData name="Adèle DUCURTIL" userId="4cc4c274-2099-4ec9-9ef7-59e8b8faf7f4" providerId="ADAL" clId="{EB72E307-3E65-47B0-B90E-F9F41A5CA2F7}" dt="2020-10-02T15:03:05.884" v="1484" actId="20577"/>
          <ac:spMkLst>
            <pc:docMk/>
            <pc:sldMk cId="2838286066" sldId="6995"/>
            <ac:spMk id="58" creationId="{45565FB7-2EC0-40E9-A3DF-5A779EDB823E}"/>
          </ac:spMkLst>
        </pc:spChg>
        <pc:spChg chg="del mod">
          <ac:chgData name="Adèle DUCURTIL" userId="4cc4c274-2099-4ec9-9ef7-59e8b8faf7f4" providerId="ADAL" clId="{EB72E307-3E65-47B0-B90E-F9F41A5CA2F7}" dt="2020-10-02T15:08:02.524" v="1621" actId="478"/>
          <ac:spMkLst>
            <pc:docMk/>
            <pc:sldMk cId="2838286066" sldId="6995"/>
            <ac:spMk id="59" creationId="{233B2146-6AF6-459D-8D77-A0AC1C0EFA42}"/>
          </ac:spMkLst>
        </pc:spChg>
        <pc:spChg chg="del mod">
          <ac:chgData name="Adèle DUCURTIL" userId="4cc4c274-2099-4ec9-9ef7-59e8b8faf7f4" providerId="ADAL" clId="{EB72E307-3E65-47B0-B90E-F9F41A5CA2F7}" dt="2020-10-02T15:08:00.403" v="1619" actId="478"/>
          <ac:spMkLst>
            <pc:docMk/>
            <pc:sldMk cId="2838286066" sldId="6995"/>
            <ac:spMk id="60" creationId="{F401BD09-3346-486E-821A-85AABF891840}"/>
          </ac:spMkLst>
        </pc:spChg>
        <pc:spChg chg="add mod">
          <ac:chgData name="Adèle DUCURTIL" userId="4cc4c274-2099-4ec9-9ef7-59e8b8faf7f4" providerId="ADAL" clId="{EB72E307-3E65-47B0-B90E-F9F41A5CA2F7}" dt="2020-10-02T15:07:58.194" v="1618" actId="20577"/>
          <ac:spMkLst>
            <pc:docMk/>
            <pc:sldMk cId="2838286066" sldId="6995"/>
            <ac:spMk id="62" creationId="{5CEAACA1-D312-4F02-B82D-53BF47DABF9D}"/>
          </ac:spMkLst>
        </pc:spChg>
        <pc:grpChg chg="mod">
          <ac:chgData name="Adèle DUCURTIL" userId="4cc4c274-2099-4ec9-9ef7-59e8b8faf7f4" providerId="ADAL" clId="{EB72E307-3E65-47B0-B90E-F9F41A5CA2F7}" dt="2020-10-02T15:03:13.385" v="1487" actId="1076"/>
          <ac:grpSpMkLst>
            <pc:docMk/>
            <pc:sldMk cId="2838286066" sldId="6995"/>
            <ac:grpSpMk id="7" creationId="{1880F187-B3CC-4486-BA7B-CBFC06AC4B7B}"/>
          </ac:grpSpMkLst>
        </pc:grpChg>
        <pc:graphicFrameChg chg="mod">
          <ac:chgData name="Adèle DUCURTIL" userId="4cc4c274-2099-4ec9-9ef7-59e8b8faf7f4" providerId="ADAL" clId="{EB72E307-3E65-47B0-B90E-F9F41A5CA2F7}" dt="2020-10-02T15:05:01.539" v="1537"/>
          <ac:graphicFrameMkLst>
            <pc:docMk/>
            <pc:sldMk cId="2838286066" sldId="6995"/>
            <ac:graphicFrameMk id="8" creationId="{94216223-8FFB-43F9-88CA-FBC1E7915EBF}"/>
          </ac:graphicFrameMkLst>
        </pc:graphicFrameChg>
        <pc:graphicFrameChg chg="mod">
          <ac:chgData name="Adèle DUCURTIL" userId="4cc4c274-2099-4ec9-9ef7-59e8b8faf7f4" providerId="ADAL" clId="{EB72E307-3E65-47B0-B90E-F9F41A5CA2F7}" dt="2020-10-02T15:03:11.838" v="1486" actId="1076"/>
          <ac:graphicFrameMkLst>
            <pc:docMk/>
            <pc:sldMk cId="2838286066" sldId="6995"/>
            <ac:graphicFrameMk id="11" creationId="{373E9F32-3508-4699-B95C-446417612343}"/>
          </ac:graphicFrameMkLst>
        </pc:graphicFrameChg>
        <pc:cxnChg chg="add mod">
          <ac:chgData name="Adèle DUCURTIL" userId="4cc4c274-2099-4ec9-9ef7-59e8b8faf7f4" providerId="ADAL" clId="{EB72E307-3E65-47B0-B90E-F9F41A5CA2F7}" dt="2020-10-02T15:06:47.452" v="1597" actId="14100"/>
          <ac:cxnSpMkLst>
            <pc:docMk/>
            <pc:sldMk cId="2838286066" sldId="6995"/>
            <ac:cxnSpMk id="61" creationId="{1694DDFC-ACE1-4662-A65C-B07252C508C8}"/>
          </ac:cxnSpMkLst>
        </pc:cxnChg>
      </pc:sldChg>
      <pc:sldChg chg="addSp delSp modSp mod">
        <pc:chgData name="Adèle DUCURTIL" userId="4cc4c274-2099-4ec9-9ef7-59e8b8faf7f4" providerId="ADAL" clId="{EB72E307-3E65-47B0-B90E-F9F41A5CA2F7}" dt="2020-10-02T14:10:29.735" v="705"/>
        <pc:sldMkLst>
          <pc:docMk/>
          <pc:sldMk cId="2190796301" sldId="7009"/>
        </pc:sldMkLst>
        <pc:spChg chg="mod">
          <ac:chgData name="Adèle DUCURTIL" userId="4cc4c274-2099-4ec9-9ef7-59e8b8faf7f4" providerId="ADAL" clId="{EB72E307-3E65-47B0-B90E-F9F41A5CA2F7}" dt="2020-10-02T14:10:28.916" v="703" actId="207"/>
          <ac:spMkLst>
            <pc:docMk/>
            <pc:sldMk cId="2190796301" sldId="7009"/>
            <ac:spMk id="2" creationId="{3820F9AE-72B7-4FDB-9C32-8E43C01904C0}"/>
          </ac:spMkLst>
        </pc:spChg>
        <pc:spChg chg="del mod">
          <ac:chgData name="Adèle DUCURTIL" userId="4cc4c274-2099-4ec9-9ef7-59e8b8faf7f4" providerId="ADAL" clId="{EB72E307-3E65-47B0-B90E-F9F41A5CA2F7}" dt="2020-10-02T13:08:01.762" v="134" actId="478"/>
          <ac:spMkLst>
            <pc:docMk/>
            <pc:sldMk cId="2190796301" sldId="7009"/>
            <ac:spMk id="8" creationId="{F74BF5DD-9C3E-4107-B2F6-6C1B3C8E01F3}"/>
          </ac:spMkLst>
        </pc:spChg>
        <pc:spChg chg="mod">
          <ac:chgData name="Adèle DUCURTIL" userId="4cc4c274-2099-4ec9-9ef7-59e8b8faf7f4" providerId="ADAL" clId="{EB72E307-3E65-47B0-B90E-F9F41A5CA2F7}" dt="2020-10-02T14:10:25.899" v="700" actId="6549"/>
          <ac:spMkLst>
            <pc:docMk/>
            <pc:sldMk cId="2190796301" sldId="7009"/>
            <ac:spMk id="11" creationId="{D564330D-A578-4298-842B-B0EEED11C426}"/>
          </ac:spMkLst>
        </pc:spChg>
        <pc:spChg chg="mod">
          <ac:chgData name="Adèle DUCURTIL" userId="4cc4c274-2099-4ec9-9ef7-59e8b8faf7f4" providerId="ADAL" clId="{EB72E307-3E65-47B0-B90E-F9F41A5CA2F7}" dt="2020-10-02T12:09:16.130" v="113" actId="20577"/>
          <ac:spMkLst>
            <pc:docMk/>
            <pc:sldMk cId="2190796301" sldId="7009"/>
            <ac:spMk id="38" creationId="{19958C83-CA2C-45E2-A9D5-146D8A1C38CE}"/>
          </ac:spMkLst>
        </pc:spChg>
        <pc:spChg chg="mod">
          <ac:chgData name="Adèle DUCURTIL" userId="4cc4c274-2099-4ec9-9ef7-59e8b8faf7f4" providerId="ADAL" clId="{EB72E307-3E65-47B0-B90E-F9F41A5CA2F7}" dt="2020-10-02T14:01:39.814" v="661" actId="20577"/>
          <ac:spMkLst>
            <pc:docMk/>
            <pc:sldMk cId="2190796301" sldId="7009"/>
            <ac:spMk id="43" creationId="{2FF5ED70-50C7-4628-992D-BA68A952A0A1}"/>
          </ac:spMkLst>
        </pc:spChg>
        <pc:graphicFrameChg chg="mod">
          <ac:chgData name="Adèle DUCURTIL" userId="4cc4c274-2099-4ec9-9ef7-59e8b8faf7f4" providerId="ADAL" clId="{EB72E307-3E65-47B0-B90E-F9F41A5CA2F7}" dt="2020-10-02T14:10:29.735" v="705"/>
          <ac:graphicFrameMkLst>
            <pc:docMk/>
            <pc:sldMk cId="2190796301" sldId="7009"/>
            <ac:graphicFrameMk id="35" creationId="{6D0C25DD-0533-47FB-BB2B-FC0472B880D3}"/>
          </ac:graphicFrameMkLst>
        </pc:graphicFrameChg>
        <pc:graphicFrameChg chg="mod">
          <ac:chgData name="Adèle DUCURTIL" userId="4cc4c274-2099-4ec9-9ef7-59e8b8faf7f4" providerId="ADAL" clId="{EB72E307-3E65-47B0-B90E-F9F41A5CA2F7}" dt="2020-10-02T12:05:06.701" v="109" actId="207"/>
          <ac:graphicFrameMkLst>
            <pc:docMk/>
            <pc:sldMk cId="2190796301" sldId="7009"/>
            <ac:graphicFrameMk id="49" creationId="{1903CFC9-61D0-4FF7-A22F-28FA1F560959}"/>
          </ac:graphicFrameMkLst>
        </pc:graphicFrameChg>
        <pc:picChg chg="add mod">
          <ac:chgData name="Adèle DUCURTIL" userId="4cc4c274-2099-4ec9-9ef7-59e8b8faf7f4" providerId="ADAL" clId="{EB72E307-3E65-47B0-B90E-F9F41A5CA2F7}" dt="2020-10-02T13:07:58.479" v="133"/>
          <ac:picMkLst>
            <pc:docMk/>
            <pc:sldMk cId="2190796301" sldId="7009"/>
            <ac:picMk id="52" creationId="{43B34788-4449-40B4-936A-59583BDDA5C9}"/>
          </ac:picMkLst>
        </pc:picChg>
      </pc:sldChg>
      <pc:sldChg chg="addSp delSp modSp del mod">
        <pc:chgData name="Adèle DUCURTIL" userId="4cc4c274-2099-4ec9-9ef7-59e8b8faf7f4" providerId="ADAL" clId="{EB72E307-3E65-47B0-B90E-F9F41A5CA2F7}" dt="2020-10-05T13:46:19.029" v="2243" actId="47"/>
        <pc:sldMkLst>
          <pc:docMk/>
          <pc:sldMk cId="1994795878" sldId="7046"/>
        </pc:sldMkLst>
        <pc:spChg chg="mod">
          <ac:chgData name="Adèle DUCURTIL" userId="4cc4c274-2099-4ec9-9ef7-59e8b8faf7f4" providerId="ADAL" clId="{EB72E307-3E65-47B0-B90E-F9F41A5CA2F7}" dt="2020-10-05T13:41:54.029" v="2107"/>
          <ac:spMkLst>
            <pc:docMk/>
            <pc:sldMk cId="1994795878" sldId="7046"/>
            <ac:spMk id="2" creationId="{32453F35-4569-47F3-AC8E-A57F914E3AA8}"/>
          </ac:spMkLst>
        </pc:spChg>
        <pc:spChg chg="mod ord">
          <ac:chgData name="Adèle DUCURTIL" userId="4cc4c274-2099-4ec9-9ef7-59e8b8faf7f4" providerId="ADAL" clId="{EB72E307-3E65-47B0-B90E-F9F41A5CA2F7}" dt="2020-10-05T13:41:54.029" v="2109"/>
          <ac:spMkLst>
            <pc:docMk/>
            <pc:sldMk cId="1994795878" sldId="7046"/>
            <ac:spMk id="3" creationId="{F333C5C0-2D3F-4ACC-B88E-992BE24032E5}"/>
          </ac:spMkLst>
        </pc:spChg>
        <pc:spChg chg="mod ord">
          <ac:chgData name="Adèle DUCURTIL" userId="4cc4c274-2099-4ec9-9ef7-59e8b8faf7f4" providerId="ADAL" clId="{EB72E307-3E65-47B0-B90E-F9F41A5CA2F7}" dt="2020-10-05T13:41:54.029" v="2104"/>
          <ac:spMkLst>
            <pc:docMk/>
            <pc:sldMk cId="1994795878" sldId="7046"/>
            <ac:spMk id="4" creationId="{56A18673-ABA4-4D8E-8AB8-7DA4208DCD47}"/>
          </ac:spMkLst>
        </pc:spChg>
        <pc:spChg chg="mod">
          <ac:chgData name="Adèle DUCURTIL" userId="4cc4c274-2099-4ec9-9ef7-59e8b8faf7f4" providerId="ADAL" clId="{EB72E307-3E65-47B0-B90E-F9F41A5CA2F7}" dt="2020-10-02T15:16:34.336" v="1763"/>
          <ac:spMkLst>
            <pc:docMk/>
            <pc:sldMk cId="1994795878" sldId="7046"/>
            <ac:spMk id="6" creationId="{652FB3AF-53CC-437B-879C-39DFECEE7DEF}"/>
          </ac:spMkLst>
        </pc:spChg>
        <pc:spChg chg="add mod ord">
          <ac:chgData name="Adèle DUCURTIL" userId="4cc4c274-2099-4ec9-9ef7-59e8b8faf7f4" providerId="ADAL" clId="{EB72E307-3E65-47B0-B90E-F9F41A5CA2F7}" dt="2020-10-05T13:41:54.067" v="2173"/>
          <ac:spMkLst>
            <pc:docMk/>
            <pc:sldMk cId="1994795878" sldId="7046"/>
            <ac:spMk id="7" creationId="{975274F2-756A-4D52-A87D-7979645FF2DF}"/>
          </ac:spMkLst>
        </pc:spChg>
        <pc:spChg chg="mod ord">
          <ac:chgData name="Adèle DUCURTIL" userId="4cc4c274-2099-4ec9-9ef7-59e8b8faf7f4" providerId="ADAL" clId="{EB72E307-3E65-47B0-B90E-F9F41A5CA2F7}" dt="2020-10-05T13:41:54.060" v="2149"/>
          <ac:spMkLst>
            <pc:docMk/>
            <pc:sldMk cId="1994795878" sldId="7046"/>
            <ac:spMk id="8" creationId="{99DCBEBE-0D2F-4356-BF6B-8C656442C96D}"/>
          </ac:spMkLst>
        </pc:spChg>
        <pc:spChg chg="del mod">
          <ac:chgData name="Adèle DUCURTIL" userId="4cc4c274-2099-4ec9-9ef7-59e8b8faf7f4" providerId="ADAL" clId="{EB72E307-3E65-47B0-B90E-F9F41A5CA2F7}" dt="2020-10-02T15:16:34.352" v="1764"/>
          <ac:spMkLst>
            <pc:docMk/>
            <pc:sldMk cId="1994795878" sldId="7046"/>
            <ac:spMk id="12" creationId="{669A3A61-248C-48A8-8AEC-65798215EA69}"/>
          </ac:spMkLst>
        </pc:spChg>
        <pc:spChg chg="mod ord">
          <ac:chgData name="Adèle DUCURTIL" userId="4cc4c274-2099-4ec9-9ef7-59e8b8faf7f4" providerId="ADAL" clId="{EB72E307-3E65-47B0-B90E-F9F41A5CA2F7}" dt="2020-10-05T13:41:54.029" v="2106"/>
          <ac:spMkLst>
            <pc:docMk/>
            <pc:sldMk cId="1994795878" sldId="7046"/>
            <ac:spMk id="13" creationId="{0EA36691-38F8-4EDA-B0BA-DFA2ABEA506A}"/>
          </ac:spMkLst>
        </pc:spChg>
        <pc:spChg chg="mod ord">
          <ac:chgData name="Adèle DUCURTIL" userId="4cc4c274-2099-4ec9-9ef7-59e8b8faf7f4" providerId="ADAL" clId="{EB72E307-3E65-47B0-B90E-F9F41A5CA2F7}" dt="2020-10-05T13:42:06.737" v="2186" actId="1076"/>
          <ac:spMkLst>
            <pc:docMk/>
            <pc:sldMk cId="1994795878" sldId="7046"/>
            <ac:spMk id="14" creationId="{0F0196F5-98A8-4179-87C3-1F36BC555C8C}"/>
          </ac:spMkLst>
        </pc:spChg>
        <pc:spChg chg="mod ord">
          <ac:chgData name="Adèle DUCURTIL" userId="4cc4c274-2099-4ec9-9ef7-59e8b8faf7f4" providerId="ADAL" clId="{EB72E307-3E65-47B0-B90E-F9F41A5CA2F7}" dt="2020-10-05T13:42:10.605" v="2187" actId="14100"/>
          <ac:spMkLst>
            <pc:docMk/>
            <pc:sldMk cId="1994795878" sldId="7046"/>
            <ac:spMk id="15" creationId="{C6A888CB-1E18-4529-842D-C8380587EF4A}"/>
          </ac:spMkLst>
        </pc:spChg>
        <pc:spChg chg="mod ord">
          <ac:chgData name="Adèle DUCURTIL" userId="4cc4c274-2099-4ec9-9ef7-59e8b8faf7f4" providerId="ADAL" clId="{EB72E307-3E65-47B0-B90E-F9F41A5CA2F7}" dt="2020-10-05T13:41:54.029" v="2098"/>
          <ac:spMkLst>
            <pc:docMk/>
            <pc:sldMk cId="1994795878" sldId="7046"/>
            <ac:spMk id="16" creationId="{606C6640-A7FF-4D6D-9A77-0E17AA66E69D}"/>
          </ac:spMkLst>
        </pc:spChg>
        <pc:spChg chg="mod ord">
          <ac:chgData name="Adèle DUCURTIL" userId="4cc4c274-2099-4ec9-9ef7-59e8b8faf7f4" providerId="ADAL" clId="{EB72E307-3E65-47B0-B90E-F9F41A5CA2F7}" dt="2020-10-05T13:41:54.029" v="2113"/>
          <ac:spMkLst>
            <pc:docMk/>
            <pc:sldMk cId="1994795878" sldId="7046"/>
            <ac:spMk id="19" creationId="{4120F4F5-190D-4FA5-876F-3502F6DE7268}"/>
          </ac:spMkLst>
        </pc:spChg>
        <pc:spChg chg="mod ord">
          <ac:chgData name="Adèle DUCURTIL" userId="4cc4c274-2099-4ec9-9ef7-59e8b8faf7f4" providerId="ADAL" clId="{EB72E307-3E65-47B0-B90E-F9F41A5CA2F7}" dt="2020-10-05T13:41:54.029" v="2115"/>
          <ac:spMkLst>
            <pc:docMk/>
            <pc:sldMk cId="1994795878" sldId="7046"/>
            <ac:spMk id="20" creationId="{D72337E2-A2D1-4366-AC81-C58EC0E49EBC}"/>
          </ac:spMkLst>
        </pc:spChg>
        <pc:spChg chg="mod ord">
          <ac:chgData name="Adèle DUCURTIL" userId="4cc4c274-2099-4ec9-9ef7-59e8b8faf7f4" providerId="ADAL" clId="{EB72E307-3E65-47B0-B90E-F9F41A5CA2F7}" dt="2020-10-05T13:41:54.029" v="2117"/>
          <ac:spMkLst>
            <pc:docMk/>
            <pc:sldMk cId="1994795878" sldId="7046"/>
            <ac:spMk id="21" creationId="{FF893FF4-BF2B-4223-9757-FF999419F039}"/>
          </ac:spMkLst>
        </pc:spChg>
        <pc:spChg chg="mod ord">
          <ac:chgData name="Adèle DUCURTIL" userId="4cc4c274-2099-4ec9-9ef7-59e8b8faf7f4" providerId="ADAL" clId="{EB72E307-3E65-47B0-B90E-F9F41A5CA2F7}" dt="2020-10-05T13:41:58.435" v="2184" actId="14100"/>
          <ac:spMkLst>
            <pc:docMk/>
            <pc:sldMk cId="1994795878" sldId="7046"/>
            <ac:spMk id="22" creationId="{B9E99B41-30E9-454D-A29F-FC1B9E7412E9}"/>
          </ac:spMkLst>
        </pc:spChg>
        <pc:spChg chg="mod ord">
          <ac:chgData name="Adèle DUCURTIL" userId="4cc4c274-2099-4ec9-9ef7-59e8b8faf7f4" providerId="ADAL" clId="{EB72E307-3E65-47B0-B90E-F9F41A5CA2F7}" dt="2020-10-05T13:41:54.045" v="2119"/>
          <ac:spMkLst>
            <pc:docMk/>
            <pc:sldMk cId="1994795878" sldId="7046"/>
            <ac:spMk id="25" creationId="{C4CA90A0-06E5-4702-B6EF-08E5CF4625CB}"/>
          </ac:spMkLst>
        </pc:spChg>
        <pc:spChg chg="mod ord">
          <ac:chgData name="Adèle DUCURTIL" userId="4cc4c274-2099-4ec9-9ef7-59e8b8faf7f4" providerId="ADAL" clId="{EB72E307-3E65-47B0-B90E-F9F41A5CA2F7}" dt="2020-10-05T13:41:54.045" v="2129"/>
          <ac:spMkLst>
            <pc:docMk/>
            <pc:sldMk cId="1994795878" sldId="7046"/>
            <ac:spMk id="34" creationId="{2AF19A3E-3AB8-443A-A5EA-036D979FB0A5}"/>
          </ac:spMkLst>
        </pc:spChg>
        <pc:spChg chg="mod ord">
          <ac:chgData name="Adèle DUCURTIL" userId="4cc4c274-2099-4ec9-9ef7-59e8b8faf7f4" providerId="ADAL" clId="{EB72E307-3E65-47B0-B90E-F9F41A5CA2F7}" dt="2020-10-05T13:41:57.020" v="2183" actId="14100"/>
          <ac:spMkLst>
            <pc:docMk/>
            <pc:sldMk cId="1994795878" sldId="7046"/>
            <ac:spMk id="43" creationId="{48F07BE0-0131-46D6-B7F9-D08E1D65C642}"/>
          </ac:spMkLst>
        </pc:spChg>
        <pc:spChg chg="mod ord">
          <ac:chgData name="Adèle DUCURTIL" userId="4cc4c274-2099-4ec9-9ef7-59e8b8faf7f4" providerId="ADAL" clId="{EB72E307-3E65-47B0-B90E-F9F41A5CA2F7}" dt="2020-10-05T13:41:54.045" v="2143"/>
          <ac:spMkLst>
            <pc:docMk/>
            <pc:sldMk cId="1994795878" sldId="7046"/>
            <ac:spMk id="49" creationId="{B843729F-24AD-4AB8-8C2F-29D9F7B89A31}"/>
          </ac:spMkLst>
        </pc:spChg>
        <pc:spChg chg="mod">
          <ac:chgData name="Adèle DUCURTIL" userId="4cc4c274-2099-4ec9-9ef7-59e8b8faf7f4" providerId="ADAL" clId="{EB72E307-3E65-47B0-B90E-F9F41A5CA2F7}" dt="2020-10-02T15:16:34.336" v="1763"/>
          <ac:spMkLst>
            <pc:docMk/>
            <pc:sldMk cId="1994795878" sldId="7046"/>
            <ac:spMk id="51" creationId="{BF70027C-1984-40CB-8929-AF1E2321F654}"/>
          </ac:spMkLst>
        </pc:spChg>
        <pc:spChg chg="mod">
          <ac:chgData name="Adèle DUCURTIL" userId="4cc4c274-2099-4ec9-9ef7-59e8b8faf7f4" providerId="ADAL" clId="{EB72E307-3E65-47B0-B90E-F9F41A5CA2F7}" dt="2020-10-02T15:16:34.336" v="1763"/>
          <ac:spMkLst>
            <pc:docMk/>
            <pc:sldMk cId="1994795878" sldId="7046"/>
            <ac:spMk id="53" creationId="{C0593DC9-6A7E-4375-AFC7-8C1366D362DC}"/>
          </ac:spMkLst>
        </pc:spChg>
        <pc:spChg chg="mod">
          <ac:chgData name="Adèle DUCURTIL" userId="4cc4c274-2099-4ec9-9ef7-59e8b8faf7f4" providerId="ADAL" clId="{EB72E307-3E65-47B0-B90E-F9F41A5CA2F7}" dt="2020-10-02T15:16:34.336" v="1763"/>
          <ac:spMkLst>
            <pc:docMk/>
            <pc:sldMk cId="1994795878" sldId="7046"/>
            <ac:spMk id="55" creationId="{E1183EAE-225F-4800-A179-E5A901C2391B}"/>
          </ac:spMkLst>
        </pc:spChg>
        <pc:spChg chg="mod">
          <ac:chgData name="Adèle DUCURTIL" userId="4cc4c274-2099-4ec9-9ef7-59e8b8faf7f4" providerId="ADAL" clId="{EB72E307-3E65-47B0-B90E-F9F41A5CA2F7}" dt="2020-10-02T15:16:34.336" v="1763"/>
          <ac:spMkLst>
            <pc:docMk/>
            <pc:sldMk cId="1994795878" sldId="7046"/>
            <ac:spMk id="57" creationId="{90DF471E-BD71-49EC-BBD8-A3FD0E848E8F}"/>
          </ac:spMkLst>
        </pc:spChg>
        <pc:spChg chg="mod">
          <ac:chgData name="Adèle DUCURTIL" userId="4cc4c274-2099-4ec9-9ef7-59e8b8faf7f4" providerId="ADAL" clId="{EB72E307-3E65-47B0-B90E-F9F41A5CA2F7}" dt="2020-10-02T15:16:34.336" v="1763"/>
          <ac:spMkLst>
            <pc:docMk/>
            <pc:sldMk cId="1994795878" sldId="7046"/>
            <ac:spMk id="59" creationId="{05C3C10C-88F6-4D15-8688-1D2FE88AABA9}"/>
          </ac:spMkLst>
        </pc:spChg>
        <pc:spChg chg="mod ord">
          <ac:chgData name="Adèle DUCURTIL" userId="4cc4c274-2099-4ec9-9ef7-59e8b8faf7f4" providerId="ADAL" clId="{EB72E307-3E65-47B0-B90E-F9F41A5CA2F7}" dt="2020-10-05T13:41:54.060" v="2159"/>
          <ac:spMkLst>
            <pc:docMk/>
            <pc:sldMk cId="1994795878" sldId="7046"/>
            <ac:spMk id="61" creationId="{73F804CB-2413-45A0-AC42-A6E95CC1DCD5}"/>
          </ac:spMkLst>
        </pc:spChg>
        <pc:spChg chg="mod ord">
          <ac:chgData name="Adèle DUCURTIL" userId="4cc4c274-2099-4ec9-9ef7-59e8b8faf7f4" providerId="ADAL" clId="{EB72E307-3E65-47B0-B90E-F9F41A5CA2F7}" dt="2020-10-05T13:41:54.060" v="2161"/>
          <ac:spMkLst>
            <pc:docMk/>
            <pc:sldMk cId="1994795878" sldId="7046"/>
            <ac:spMk id="62" creationId="{3BBCE49C-B734-48AA-AF2C-B092FC5A4606}"/>
          </ac:spMkLst>
        </pc:spChg>
        <pc:spChg chg="mod ord">
          <ac:chgData name="Adèle DUCURTIL" userId="4cc4c274-2099-4ec9-9ef7-59e8b8faf7f4" providerId="ADAL" clId="{EB72E307-3E65-47B0-B90E-F9F41A5CA2F7}" dt="2020-10-05T13:41:54.067" v="2163"/>
          <ac:spMkLst>
            <pc:docMk/>
            <pc:sldMk cId="1994795878" sldId="7046"/>
            <ac:spMk id="67" creationId="{EE06F1EB-588C-414D-804F-6338DC331E1A}"/>
          </ac:spMkLst>
        </pc:spChg>
        <pc:spChg chg="mod ord">
          <ac:chgData name="Adèle DUCURTIL" userId="4cc4c274-2099-4ec9-9ef7-59e8b8faf7f4" providerId="ADAL" clId="{EB72E307-3E65-47B0-B90E-F9F41A5CA2F7}" dt="2020-10-05T13:41:54.045" v="2145"/>
          <ac:spMkLst>
            <pc:docMk/>
            <pc:sldMk cId="1994795878" sldId="7046"/>
            <ac:spMk id="79" creationId="{2E6E3095-6ED4-425A-AF2A-08EBD6553314}"/>
          </ac:spMkLst>
        </pc:spChg>
        <pc:spChg chg="mod ord">
          <ac:chgData name="Adèle DUCURTIL" userId="4cc4c274-2099-4ec9-9ef7-59e8b8faf7f4" providerId="ADAL" clId="{EB72E307-3E65-47B0-B90E-F9F41A5CA2F7}" dt="2020-10-05T13:41:54.060" v="2151"/>
          <ac:spMkLst>
            <pc:docMk/>
            <pc:sldMk cId="1994795878" sldId="7046"/>
            <ac:spMk id="98" creationId="{7B0454E6-6E5F-4475-9961-FDCBF9A39515}"/>
          </ac:spMkLst>
        </pc:spChg>
        <pc:spChg chg="mod ord">
          <ac:chgData name="Adèle DUCURTIL" userId="4cc4c274-2099-4ec9-9ef7-59e8b8faf7f4" providerId="ADAL" clId="{EB72E307-3E65-47B0-B90E-F9F41A5CA2F7}" dt="2020-10-05T13:41:54.067" v="2165"/>
          <ac:spMkLst>
            <pc:docMk/>
            <pc:sldMk cId="1994795878" sldId="7046"/>
            <ac:spMk id="103" creationId="{E7CC2369-D145-4906-B0C6-9E32818B2F35}"/>
          </ac:spMkLst>
        </pc:spChg>
        <pc:spChg chg="mod ord">
          <ac:chgData name="Adèle DUCURTIL" userId="4cc4c274-2099-4ec9-9ef7-59e8b8faf7f4" providerId="ADAL" clId="{EB72E307-3E65-47B0-B90E-F9F41A5CA2F7}" dt="2020-10-05T13:41:54.067" v="2167"/>
          <ac:spMkLst>
            <pc:docMk/>
            <pc:sldMk cId="1994795878" sldId="7046"/>
            <ac:spMk id="104" creationId="{9960EBBB-F185-4FBF-A9DD-CDED1CEE8D04}"/>
          </ac:spMkLst>
        </pc:spChg>
        <pc:spChg chg="mod ord">
          <ac:chgData name="Adèle DUCURTIL" userId="4cc4c274-2099-4ec9-9ef7-59e8b8faf7f4" providerId="ADAL" clId="{EB72E307-3E65-47B0-B90E-F9F41A5CA2F7}" dt="2020-10-05T13:41:54.067" v="2169"/>
          <ac:spMkLst>
            <pc:docMk/>
            <pc:sldMk cId="1994795878" sldId="7046"/>
            <ac:spMk id="105" creationId="{35202EA5-0390-4841-9605-EC6579E9EC26}"/>
          </ac:spMkLst>
        </pc:spChg>
        <pc:spChg chg="mod ord">
          <ac:chgData name="Adèle DUCURTIL" userId="4cc4c274-2099-4ec9-9ef7-59e8b8faf7f4" providerId="ADAL" clId="{EB72E307-3E65-47B0-B90E-F9F41A5CA2F7}" dt="2020-10-05T13:41:54.067" v="2171"/>
          <ac:spMkLst>
            <pc:docMk/>
            <pc:sldMk cId="1994795878" sldId="7046"/>
            <ac:spMk id="106" creationId="{B34EE8BA-FD88-42D4-B084-A96D490A2DE9}"/>
          </ac:spMkLst>
        </pc:spChg>
        <pc:spChg chg="mod ord">
          <ac:chgData name="Adèle DUCURTIL" userId="4cc4c274-2099-4ec9-9ef7-59e8b8faf7f4" providerId="ADAL" clId="{EB72E307-3E65-47B0-B90E-F9F41A5CA2F7}" dt="2020-10-05T13:41:54.060" v="2155"/>
          <ac:spMkLst>
            <pc:docMk/>
            <pc:sldMk cId="1994795878" sldId="7046"/>
            <ac:spMk id="108" creationId="{52B1E940-DAAD-4E9A-B70B-326F1BE1AF1A}"/>
          </ac:spMkLst>
        </pc:spChg>
        <pc:grpChg chg="mod">
          <ac:chgData name="Adèle DUCURTIL" userId="4cc4c274-2099-4ec9-9ef7-59e8b8faf7f4" providerId="ADAL" clId="{EB72E307-3E65-47B0-B90E-F9F41A5CA2F7}" dt="2020-10-02T15:16:34.336" v="1763"/>
          <ac:grpSpMkLst>
            <pc:docMk/>
            <pc:sldMk cId="1994795878" sldId="7046"/>
            <ac:grpSpMk id="1" creationId="{00000000-0000-0000-0000-000000000000}"/>
          </ac:grpSpMkLst>
        </pc:grpChg>
        <pc:grpChg chg="del mod">
          <ac:chgData name="Adèle DUCURTIL" userId="4cc4c274-2099-4ec9-9ef7-59e8b8faf7f4" providerId="ADAL" clId="{EB72E307-3E65-47B0-B90E-F9F41A5CA2F7}" dt="2020-10-02T15:16:34.352" v="1764"/>
          <ac:grpSpMkLst>
            <pc:docMk/>
            <pc:sldMk cId="1994795878" sldId="7046"/>
            <ac:grpSpMk id="11" creationId="{D32F7CAB-925A-4935-B72B-63DD529E096A}"/>
          </ac:grpSpMkLst>
        </pc:grpChg>
        <pc:grpChg chg="mod ord">
          <ac:chgData name="Adèle DUCURTIL" userId="4cc4c274-2099-4ec9-9ef7-59e8b8faf7f4" providerId="ADAL" clId="{EB72E307-3E65-47B0-B90E-F9F41A5CA2F7}" dt="2020-10-05T13:42:06.737" v="2186" actId="1076"/>
          <ac:grpSpMkLst>
            <pc:docMk/>
            <pc:sldMk cId="1994795878" sldId="7046"/>
            <ac:grpSpMk id="44" creationId="{FB9ACACC-A730-459C-A2D4-F887CEB1ABA3}"/>
          </ac:grpSpMkLst>
        </pc:grpChg>
        <pc:grpChg chg="mod ord">
          <ac:chgData name="Adèle DUCURTIL" userId="4cc4c274-2099-4ec9-9ef7-59e8b8faf7f4" providerId="ADAL" clId="{EB72E307-3E65-47B0-B90E-F9F41A5CA2F7}" dt="2020-10-05T13:42:06.737" v="2186" actId="1076"/>
          <ac:grpSpMkLst>
            <pc:docMk/>
            <pc:sldMk cId="1994795878" sldId="7046"/>
            <ac:grpSpMk id="45" creationId="{FD66F46C-BA07-45B0-86C5-0A0A0F5B94C7}"/>
          </ac:grpSpMkLst>
        </pc:grpChg>
        <pc:grpChg chg="mod ord">
          <ac:chgData name="Adèle DUCURTIL" userId="4cc4c274-2099-4ec9-9ef7-59e8b8faf7f4" providerId="ADAL" clId="{EB72E307-3E65-47B0-B90E-F9F41A5CA2F7}" dt="2020-10-05T13:42:06.737" v="2186" actId="1076"/>
          <ac:grpSpMkLst>
            <pc:docMk/>
            <pc:sldMk cId="1994795878" sldId="7046"/>
            <ac:grpSpMk id="46" creationId="{566A7B35-CDF0-4397-BFEF-D958CBFC6368}"/>
          </ac:grpSpMkLst>
        </pc:grpChg>
        <pc:grpChg chg="mod ord">
          <ac:chgData name="Adèle DUCURTIL" userId="4cc4c274-2099-4ec9-9ef7-59e8b8faf7f4" providerId="ADAL" clId="{EB72E307-3E65-47B0-B90E-F9F41A5CA2F7}" dt="2020-10-05T13:42:06.737" v="2186" actId="1076"/>
          <ac:grpSpMkLst>
            <pc:docMk/>
            <pc:sldMk cId="1994795878" sldId="7046"/>
            <ac:grpSpMk id="47" creationId="{569D3FA4-7DFE-4F64-B45D-F78BD7A7DFCC}"/>
          </ac:grpSpMkLst>
        </pc:grpChg>
        <pc:grpChg chg="mod ord">
          <ac:chgData name="Adèle DUCURTIL" userId="4cc4c274-2099-4ec9-9ef7-59e8b8faf7f4" providerId="ADAL" clId="{EB72E307-3E65-47B0-B90E-F9F41A5CA2F7}" dt="2020-10-05T13:42:06.737" v="2186" actId="1076"/>
          <ac:grpSpMkLst>
            <pc:docMk/>
            <pc:sldMk cId="1994795878" sldId="7046"/>
            <ac:grpSpMk id="48" creationId="{6A2E85C4-B0F3-4CBE-8126-1C774F3A18DC}"/>
          </ac:grpSpMkLst>
        </pc:grpChg>
        <pc:graphicFrameChg chg="mod ord">
          <ac:chgData name="Adèle DUCURTIL" userId="4cc4c274-2099-4ec9-9ef7-59e8b8faf7f4" providerId="ADAL" clId="{EB72E307-3E65-47B0-B90E-F9F41A5CA2F7}" dt="2020-10-05T13:41:54.067" v="2181"/>
          <ac:graphicFrameMkLst>
            <pc:docMk/>
            <pc:sldMk cId="1994795878" sldId="7046"/>
            <ac:graphicFrameMk id="17" creationId="{EB4F6558-37C4-4AAF-840F-170E104DDF1E}"/>
          </ac:graphicFrameMkLst>
        </pc:graphicFrameChg>
        <pc:graphicFrameChg chg="mod">
          <ac:chgData name="Adèle DUCURTIL" userId="4cc4c274-2099-4ec9-9ef7-59e8b8faf7f4" providerId="ADAL" clId="{EB72E307-3E65-47B0-B90E-F9F41A5CA2F7}" dt="2020-10-02T15:16:34.336" v="1763"/>
          <ac:graphicFrameMkLst>
            <pc:docMk/>
            <pc:sldMk cId="1994795878" sldId="7046"/>
            <ac:graphicFrameMk id="40" creationId="{515BF1AC-56C0-44ED-B7DE-67FFA44C0EBE}"/>
          </ac:graphicFrameMkLst>
        </pc:graphicFrameChg>
        <pc:graphicFrameChg chg="mod ord">
          <ac:chgData name="Adèle DUCURTIL" userId="4cc4c274-2099-4ec9-9ef7-59e8b8faf7f4" providerId="ADAL" clId="{EB72E307-3E65-47B0-B90E-F9F41A5CA2F7}" dt="2020-10-05T13:42:14.391" v="2189" actId="1076"/>
          <ac:graphicFrameMkLst>
            <pc:docMk/>
            <pc:sldMk cId="1994795878" sldId="7046"/>
            <ac:graphicFrameMk id="60" creationId="{12A28C36-BA84-4CF8-893D-17B8E2D7D1C5}"/>
          </ac:graphicFrameMkLst>
        </pc:graphicFrameChg>
        <pc:graphicFrameChg chg="mod">
          <ac:chgData name="Adèle DUCURTIL" userId="4cc4c274-2099-4ec9-9ef7-59e8b8faf7f4" providerId="ADAL" clId="{EB72E307-3E65-47B0-B90E-F9F41A5CA2F7}" dt="2020-10-02T15:16:34.336" v="1763"/>
          <ac:graphicFrameMkLst>
            <pc:docMk/>
            <pc:sldMk cId="1994795878" sldId="7046"/>
            <ac:graphicFrameMk id="64" creationId="{7EA718C6-6500-471A-A668-95BB351C244F}"/>
          </ac:graphicFrameMkLst>
        </pc:graphicFrameChg>
        <pc:graphicFrameChg chg="mod ord">
          <ac:chgData name="Adèle DUCURTIL" userId="4cc4c274-2099-4ec9-9ef7-59e8b8faf7f4" providerId="ADAL" clId="{EB72E307-3E65-47B0-B90E-F9F41A5CA2F7}" dt="2020-10-05T13:41:54.029" v="2102"/>
          <ac:graphicFrameMkLst>
            <pc:docMk/>
            <pc:sldMk cId="1994795878" sldId="7046"/>
            <ac:graphicFrameMk id="90" creationId="{80E50A01-A768-4112-A8AB-7E00B35426AD}"/>
          </ac:graphicFrameMkLst>
        </pc:graphicFrameChg>
        <pc:graphicFrameChg chg="mod ord">
          <ac:chgData name="Adèle DUCURTIL" userId="4cc4c274-2099-4ec9-9ef7-59e8b8faf7f4" providerId="ADAL" clId="{EB72E307-3E65-47B0-B90E-F9F41A5CA2F7}" dt="2020-10-05T13:41:54.029" v="2100"/>
          <ac:graphicFrameMkLst>
            <pc:docMk/>
            <pc:sldMk cId="1994795878" sldId="7046"/>
            <ac:graphicFrameMk id="92" creationId="{A5E2EAAC-F1DB-4E02-BCD9-15F6F2418CC3}"/>
          </ac:graphicFrameMkLst>
        </pc:graphicFrameChg>
        <pc:picChg chg="add del mod">
          <ac:chgData name="Adèle DUCURTIL" userId="4cc4c274-2099-4ec9-9ef7-59e8b8faf7f4" providerId="ADAL" clId="{EB72E307-3E65-47B0-B90E-F9F41A5CA2F7}" dt="2020-10-02T15:16:34.336" v="1763"/>
          <ac:picMkLst>
            <pc:docMk/>
            <pc:sldMk cId="1994795878" sldId="7046"/>
            <ac:picMk id="10" creationId="{B545FECB-4D4B-4C74-9E67-48528045AC3D}"/>
          </ac:picMkLst>
        </pc:picChg>
        <pc:picChg chg="mod ord">
          <ac:chgData name="Adèle DUCURTIL" userId="4cc4c274-2099-4ec9-9ef7-59e8b8faf7f4" providerId="ADAL" clId="{EB72E307-3E65-47B0-B90E-F9F41A5CA2F7}" dt="2020-10-05T13:41:54.045" v="2121"/>
          <ac:picMkLst>
            <pc:docMk/>
            <pc:sldMk cId="1994795878" sldId="7046"/>
            <ac:picMk id="26" creationId="{4F6DEA17-DBC0-4552-B534-4E0E14484B5B}"/>
          </ac:picMkLst>
        </pc:picChg>
        <pc:picChg chg="mod ord">
          <ac:chgData name="Adèle DUCURTIL" userId="4cc4c274-2099-4ec9-9ef7-59e8b8faf7f4" providerId="ADAL" clId="{EB72E307-3E65-47B0-B90E-F9F41A5CA2F7}" dt="2020-10-05T13:41:54.045" v="2147"/>
          <ac:picMkLst>
            <pc:docMk/>
            <pc:sldMk cId="1994795878" sldId="7046"/>
            <ac:picMk id="27" creationId="{32F4106D-AEEB-4DE5-8CA9-D0A14A1D4DFD}"/>
          </ac:picMkLst>
        </pc:picChg>
        <pc:picChg chg="mod ord">
          <ac:chgData name="Adèle DUCURTIL" userId="4cc4c274-2099-4ec9-9ef7-59e8b8faf7f4" providerId="ADAL" clId="{EB72E307-3E65-47B0-B90E-F9F41A5CA2F7}" dt="2020-10-05T13:41:54.045" v="2123"/>
          <ac:picMkLst>
            <pc:docMk/>
            <pc:sldMk cId="1994795878" sldId="7046"/>
            <ac:picMk id="28" creationId="{0A76F6EC-287A-484C-94C5-4DB89CF06273}"/>
          </ac:picMkLst>
        </pc:picChg>
        <pc:picChg chg="mod ord">
          <ac:chgData name="Adèle DUCURTIL" userId="4cc4c274-2099-4ec9-9ef7-59e8b8faf7f4" providerId="ADAL" clId="{EB72E307-3E65-47B0-B90E-F9F41A5CA2F7}" dt="2020-10-05T13:41:54.045" v="2125"/>
          <ac:picMkLst>
            <pc:docMk/>
            <pc:sldMk cId="1994795878" sldId="7046"/>
            <ac:picMk id="29" creationId="{7F8C1226-70DC-4841-ADCB-D4B3E85586BF}"/>
          </ac:picMkLst>
        </pc:picChg>
        <pc:picChg chg="mod ord">
          <ac:chgData name="Adèle DUCURTIL" userId="4cc4c274-2099-4ec9-9ef7-59e8b8faf7f4" providerId="ADAL" clId="{EB72E307-3E65-47B0-B90E-F9F41A5CA2F7}" dt="2020-10-05T13:41:54.045" v="2127"/>
          <ac:picMkLst>
            <pc:docMk/>
            <pc:sldMk cId="1994795878" sldId="7046"/>
            <ac:picMk id="30" creationId="{A6724232-9824-4F1B-8FB1-21DA6D7C5CDF}"/>
          </ac:picMkLst>
        </pc:picChg>
        <pc:cxnChg chg="mod ord">
          <ac:chgData name="Adèle DUCURTIL" userId="4cc4c274-2099-4ec9-9ef7-59e8b8faf7f4" providerId="ADAL" clId="{EB72E307-3E65-47B0-B90E-F9F41A5CA2F7}" dt="2020-10-05T13:41:54.029" v="2111"/>
          <ac:cxnSpMkLst>
            <pc:docMk/>
            <pc:sldMk cId="1994795878" sldId="7046"/>
            <ac:cxnSpMk id="5" creationId="{D5AEA529-A8B8-42C5-AA73-D90233EEBDC1}"/>
          </ac:cxnSpMkLst>
        </pc:cxnChg>
        <pc:cxnChg chg="mod">
          <ac:chgData name="Adèle DUCURTIL" userId="4cc4c274-2099-4ec9-9ef7-59e8b8faf7f4" providerId="ADAL" clId="{EB72E307-3E65-47B0-B90E-F9F41A5CA2F7}" dt="2020-10-02T15:16:34.336" v="1763"/>
          <ac:cxnSpMkLst>
            <pc:docMk/>
            <pc:sldMk cId="1994795878" sldId="7046"/>
            <ac:cxnSpMk id="50" creationId="{B295A6CD-47C6-44A4-B772-31947488ED74}"/>
          </ac:cxnSpMkLst>
        </pc:cxnChg>
        <pc:cxnChg chg="mod">
          <ac:chgData name="Adèle DUCURTIL" userId="4cc4c274-2099-4ec9-9ef7-59e8b8faf7f4" providerId="ADAL" clId="{EB72E307-3E65-47B0-B90E-F9F41A5CA2F7}" dt="2020-10-02T15:16:34.336" v="1763"/>
          <ac:cxnSpMkLst>
            <pc:docMk/>
            <pc:sldMk cId="1994795878" sldId="7046"/>
            <ac:cxnSpMk id="52" creationId="{5ED8A991-D67D-4201-BBC6-13F7852012CE}"/>
          </ac:cxnSpMkLst>
        </pc:cxnChg>
        <pc:cxnChg chg="mod">
          <ac:chgData name="Adèle DUCURTIL" userId="4cc4c274-2099-4ec9-9ef7-59e8b8faf7f4" providerId="ADAL" clId="{EB72E307-3E65-47B0-B90E-F9F41A5CA2F7}" dt="2020-10-02T15:16:34.336" v="1763"/>
          <ac:cxnSpMkLst>
            <pc:docMk/>
            <pc:sldMk cId="1994795878" sldId="7046"/>
            <ac:cxnSpMk id="54" creationId="{3D0B9227-508D-4659-BE5F-0A078F7A3CC5}"/>
          </ac:cxnSpMkLst>
        </pc:cxnChg>
        <pc:cxnChg chg="mod">
          <ac:chgData name="Adèle DUCURTIL" userId="4cc4c274-2099-4ec9-9ef7-59e8b8faf7f4" providerId="ADAL" clId="{EB72E307-3E65-47B0-B90E-F9F41A5CA2F7}" dt="2020-10-02T15:16:34.336" v="1763"/>
          <ac:cxnSpMkLst>
            <pc:docMk/>
            <pc:sldMk cId="1994795878" sldId="7046"/>
            <ac:cxnSpMk id="56" creationId="{63DA383E-2691-4EBB-9C88-EE2FF23F5F28}"/>
          </ac:cxnSpMkLst>
        </pc:cxnChg>
        <pc:cxnChg chg="mod">
          <ac:chgData name="Adèle DUCURTIL" userId="4cc4c274-2099-4ec9-9ef7-59e8b8faf7f4" providerId="ADAL" clId="{EB72E307-3E65-47B0-B90E-F9F41A5CA2F7}" dt="2020-10-02T15:16:34.336" v="1763"/>
          <ac:cxnSpMkLst>
            <pc:docMk/>
            <pc:sldMk cId="1994795878" sldId="7046"/>
            <ac:cxnSpMk id="58" creationId="{2D8D09DF-B7DA-4774-AF2C-997B3F33EC47}"/>
          </ac:cxnSpMkLst>
        </pc:cxnChg>
        <pc:cxnChg chg="mod ord">
          <ac:chgData name="Adèle DUCURTIL" userId="4cc4c274-2099-4ec9-9ef7-59e8b8faf7f4" providerId="ADAL" clId="{EB72E307-3E65-47B0-B90E-F9F41A5CA2F7}" dt="2020-10-05T13:41:54.060" v="2153"/>
          <ac:cxnSpMkLst>
            <pc:docMk/>
            <pc:sldMk cId="1994795878" sldId="7046"/>
            <ac:cxnSpMk id="107" creationId="{0D10C5DE-8909-4DCC-9AB5-CFAEA8B46EF9}"/>
          </ac:cxnSpMkLst>
        </pc:cxnChg>
      </pc:sldChg>
      <pc:sldChg chg="addSp modSp">
        <pc:chgData name="Adèle DUCURTIL" userId="4cc4c274-2099-4ec9-9ef7-59e8b8faf7f4" providerId="ADAL" clId="{EB72E307-3E65-47B0-B90E-F9F41A5CA2F7}" dt="2020-10-02T15:17:20.068" v="1774"/>
        <pc:sldMkLst>
          <pc:docMk/>
          <pc:sldMk cId="2517844644" sldId="7047"/>
        </pc:sldMkLst>
        <pc:spChg chg="add mod">
          <ac:chgData name="Adèle DUCURTIL" userId="4cc4c274-2099-4ec9-9ef7-59e8b8faf7f4" providerId="ADAL" clId="{EB72E307-3E65-47B0-B90E-F9F41A5CA2F7}" dt="2020-10-02T15:17:20.068" v="1774"/>
          <ac:spMkLst>
            <pc:docMk/>
            <pc:sldMk cId="2517844644" sldId="7047"/>
            <ac:spMk id="78" creationId="{508212BC-E494-41E0-A327-C262D672C486}"/>
          </ac:spMkLst>
        </pc:spChg>
        <pc:spChg chg="add mod">
          <ac:chgData name="Adèle DUCURTIL" userId="4cc4c274-2099-4ec9-9ef7-59e8b8faf7f4" providerId="ADAL" clId="{EB72E307-3E65-47B0-B90E-F9F41A5CA2F7}" dt="2020-10-02T15:17:20.068" v="1774"/>
          <ac:spMkLst>
            <pc:docMk/>
            <pc:sldMk cId="2517844644" sldId="7047"/>
            <ac:spMk id="84" creationId="{0B8BE03D-788C-4517-899A-9DDC9BE3E5D5}"/>
          </ac:spMkLst>
        </pc:spChg>
      </pc:sldChg>
      <pc:sldChg chg="modSp mod">
        <pc:chgData name="Adèle DUCURTIL" userId="4cc4c274-2099-4ec9-9ef7-59e8b8faf7f4" providerId="ADAL" clId="{EB72E307-3E65-47B0-B90E-F9F41A5CA2F7}" dt="2020-10-07T07:52:49.304" v="2283" actId="14100"/>
        <pc:sldMkLst>
          <pc:docMk/>
          <pc:sldMk cId="1492206073" sldId="7071"/>
        </pc:sldMkLst>
        <pc:spChg chg="mod">
          <ac:chgData name="Adèle DUCURTIL" userId="4cc4c274-2099-4ec9-9ef7-59e8b8faf7f4" providerId="ADAL" clId="{EB72E307-3E65-47B0-B90E-F9F41A5CA2F7}" dt="2020-10-02T16:56:20.202" v="1988" actId="20577"/>
          <ac:spMkLst>
            <pc:docMk/>
            <pc:sldMk cId="1492206073" sldId="7071"/>
            <ac:spMk id="3" creationId="{30953E26-7813-417B-AC0B-7AC74C77D79F}"/>
          </ac:spMkLst>
        </pc:spChg>
        <pc:spChg chg="mod">
          <ac:chgData name="Adèle DUCURTIL" userId="4cc4c274-2099-4ec9-9ef7-59e8b8faf7f4" providerId="ADAL" clId="{EB72E307-3E65-47B0-B90E-F9F41A5CA2F7}" dt="2020-10-02T16:56:14.146" v="1986" actId="20577"/>
          <ac:spMkLst>
            <pc:docMk/>
            <pc:sldMk cId="1492206073" sldId="7071"/>
            <ac:spMk id="33" creationId="{A1FDEDE9-E5E2-4EBC-A5B8-4EEF0C822E21}"/>
          </ac:spMkLst>
        </pc:spChg>
        <pc:spChg chg="mod">
          <ac:chgData name="Adèle DUCURTIL" userId="4cc4c274-2099-4ec9-9ef7-59e8b8faf7f4" providerId="ADAL" clId="{EB72E307-3E65-47B0-B90E-F9F41A5CA2F7}" dt="2020-10-02T16:31:35.080" v="1831"/>
          <ac:spMkLst>
            <pc:docMk/>
            <pc:sldMk cId="1492206073" sldId="7071"/>
            <ac:spMk id="47" creationId="{C85B0421-5BDB-4848-914A-867C2D466E74}"/>
          </ac:spMkLst>
        </pc:spChg>
        <pc:spChg chg="mod">
          <ac:chgData name="Adèle DUCURTIL" userId="4cc4c274-2099-4ec9-9ef7-59e8b8faf7f4" providerId="ADAL" clId="{EB72E307-3E65-47B0-B90E-F9F41A5CA2F7}" dt="2020-10-07T07:48:54.049" v="2275" actId="20577"/>
          <ac:spMkLst>
            <pc:docMk/>
            <pc:sldMk cId="1492206073" sldId="7071"/>
            <ac:spMk id="165" creationId="{25F32F07-38D7-4C34-8FA5-4E314FC50468}"/>
          </ac:spMkLst>
        </pc:spChg>
        <pc:cxnChg chg="mod">
          <ac:chgData name="Adèle DUCURTIL" userId="4cc4c274-2099-4ec9-9ef7-59e8b8faf7f4" providerId="ADAL" clId="{EB72E307-3E65-47B0-B90E-F9F41A5CA2F7}" dt="2020-10-07T07:52:49.304" v="2283" actId="14100"/>
          <ac:cxnSpMkLst>
            <pc:docMk/>
            <pc:sldMk cId="1492206073" sldId="7071"/>
            <ac:cxnSpMk id="148" creationId="{043FBC9C-3421-46E8-AB2D-02D1F944ABA4}"/>
          </ac:cxnSpMkLst>
        </pc:cxnChg>
      </pc:sldChg>
      <pc:sldChg chg="addSp modSp mod">
        <pc:chgData name="Adèle DUCURTIL" userId="4cc4c274-2099-4ec9-9ef7-59e8b8faf7f4" providerId="ADAL" clId="{EB72E307-3E65-47B0-B90E-F9F41A5CA2F7}" dt="2020-10-02T14:23:37.903" v="1416" actId="14100"/>
        <pc:sldMkLst>
          <pc:docMk/>
          <pc:sldMk cId="1503655535" sldId="7096"/>
        </pc:sldMkLst>
        <pc:spChg chg="mod">
          <ac:chgData name="Adèle DUCURTIL" userId="4cc4c274-2099-4ec9-9ef7-59e8b8faf7f4" providerId="ADAL" clId="{EB72E307-3E65-47B0-B90E-F9F41A5CA2F7}" dt="2020-10-02T14:23:04.842" v="1401" actId="14100"/>
          <ac:spMkLst>
            <pc:docMk/>
            <pc:sldMk cId="1503655535" sldId="7096"/>
            <ac:spMk id="4" creationId="{C40F9BE8-DEA2-4A7A-B4F4-A41963A7C953}"/>
          </ac:spMkLst>
        </pc:spChg>
        <pc:spChg chg="add mod">
          <ac:chgData name="Adèle DUCURTIL" userId="4cc4c274-2099-4ec9-9ef7-59e8b8faf7f4" providerId="ADAL" clId="{EB72E307-3E65-47B0-B90E-F9F41A5CA2F7}" dt="2020-10-02T14:23:37.903" v="1416" actId="14100"/>
          <ac:spMkLst>
            <pc:docMk/>
            <pc:sldMk cId="1503655535" sldId="7096"/>
            <ac:spMk id="5" creationId="{3694CAAF-97C0-4166-BCDF-B07BD7F77373}"/>
          </ac:spMkLst>
        </pc:spChg>
        <pc:spChg chg="mod">
          <ac:chgData name="Adèle DUCURTIL" userId="4cc4c274-2099-4ec9-9ef7-59e8b8faf7f4" providerId="ADAL" clId="{EB72E307-3E65-47B0-B90E-F9F41A5CA2F7}" dt="2020-10-02T14:22:53.815" v="1397" actId="1076"/>
          <ac:spMkLst>
            <pc:docMk/>
            <pc:sldMk cId="1503655535" sldId="7096"/>
            <ac:spMk id="7" creationId="{EBF3DBD7-C675-4024-92B6-6C55E034F498}"/>
          </ac:spMkLst>
        </pc:spChg>
        <pc:spChg chg="mod">
          <ac:chgData name="Adèle DUCURTIL" userId="4cc4c274-2099-4ec9-9ef7-59e8b8faf7f4" providerId="ADAL" clId="{EB72E307-3E65-47B0-B90E-F9F41A5CA2F7}" dt="2020-10-02T14:22:33.136" v="1388" actId="14100"/>
          <ac:spMkLst>
            <pc:docMk/>
            <pc:sldMk cId="1503655535" sldId="7096"/>
            <ac:spMk id="10" creationId="{12E7F362-7A19-4F28-9E1C-3035F304B89B}"/>
          </ac:spMkLst>
        </pc:spChg>
        <pc:spChg chg="add mod">
          <ac:chgData name="Adèle DUCURTIL" userId="4cc4c274-2099-4ec9-9ef7-59e8b8faf7f4" providerId="ADAL" clId="{EB72E307-3E65-47B0-B90E-F9F41A5CA2F7}" dt="2020-10-02T14:23:10.915" v="1402" actId="1076"/>
          <ac:spMkLst>
            <pc:docMk/>
            <pc:sldMk cId="1503655535" sldId="7096"/>
            <ac:spMk id="15" creationId="{DACFF9BC-78F8-4694-BBE6-ED5BFF2DA8B5}"/>
          </ac:spMkLst>
        </pc:spChg>
        <pc:spChg chg="mod">
          <ac:chgData name="Adèle DUCURTIL" userId="4cc4c274-2099-4ec9-9ef7-59e8b8faf7f4" providerId="ADAL" clId="{EB72E307-3E65-47B0-B90E-F9F41A5CA2F7}" dt="2020-10-02T14:23:10.915" v="1402" actId="1076"/>
          <ac:spMkLst>
            <pc:docMk/>
            <pc:sldMk cId="1503655535" sldId="7096"/>
            <ac:spMk id="17" creationId="{F7F22DC3-B647-4467-B4C2-F5A3E990002E}"/>
          </ac:spMkLst>
        </pc:spChg>
        <pc:spChg chg="mod">
          <ac:chgData name="Adèle DUCURTIL" userId="4cc4c274-2099-4ec9-9ef7-59e8b8faf7f4" providerId="ADAL" clId="{EB72E307-3E65-47B0-B90E-F9F41A5CA2F7}" dt="2020-10-02T14:23:01.559" v="1400" actId="1076"/>
          <ac:spMkLst>
            <pc:docMk/>
            <pc:sldMk cId="1503655535" sldId="7096"/>
            <ac:spMk id="18" creationId="{65ED09B0-F036-4FC2-B53D-050CD99BDAB8}"/>
          </ac:spMkLst>
        </pc:spChg>
        <pc:spChg chg="mod">
          <ac:chgData name="Adèle DUCURTIL" userId="4cc4c274-2099-4ec9-9ef7-59e8b8faf7f4" providerId="ADAL" clId="{EB72E307-3E65-47B0-B90E-F9F41A5CA2F7}" dt="2020-10-02T14:23:10.915" v="1402" actId="1076"/>
          <ac:spMkLst>
            <pc:docMk/>
            <pc:sldMk cId="1503655535" sldId="7096"/>
            <ac:spMk id="21" creationId="{C7C9E57F-7E54-42A1-98E5-E122B74029FA}"/>
          </ac:spMkLst>
        </pc:spChg>
        <pc:spChg chg="add mod">
          <ac:chgData name="Adèle DUCURTIL" userId="4cc4c274-2099-4ec9-9ef7-59e8b8faf7f4" providerId="ADAL" clId="{EB72E307-3E65-47B0-B90E-F9F41A5CA2F7}" dt="2020-10-02T14:23:10.915" v="1402" actId="1076"/>
          <ac:spMkLst>
            <pc:docMk/>
            <pc:sldMk cId="1503655535" sldId="7096"/>
            <ac:spMk id="22" creationId="{E58F2E0A-096E-47CC-9220-963616CCFD15}"/>
          </ac:spMkLst>
        </pc:spChg>
        <pc:spChg chg="add mod">
          <ac:chgData name="Adèle DUCURTIL" userId="4cc4c274-2099-4ec9-9ef7-59e8b8faf7f4" providerId="ADAL" clId="{EB72E307-3E65-47B0-B90E-F9F41A5CA2F7}" dt="2020-10-02T14:23:10.915" v="1402" actId="1076"/>
          <ac:spMkLst>
            <pc:docMk/>
            <pc:sldMk cId="1503655535" sldId="7096"/>
            <ac:spMk id="23" creationId="{E8DE0518-F035-4EE0-A3B0-EDB62B2B8A11}"/>
          </ac:spMkLst>
        </pc:spChg>
        <pc:spChg chg="add mod">
          <ac:chgData name="Adèle DUCURTIL" userId="4cc4c274-2099-4ec9-9ef7-59e8b8faf7f4" providerId="ADAL" clId="{EB72E307-3E65-47B0-B90E-F9F41A5CA2F7}" dt="2020-10-02T14:23:10.915" v="1402" actId="1076"/>
          <ac:spMkLst>
            <pc:docMk/>
            <pc:sldMk cId="1503655535" sldId="7096"/>
            <ac:spMk id="24" creationId="{1C339F3D-BD67-44E7-BA45-7B08144A22E4}"/>
          </ac:spMkLst>
        </pc:spChg>
        <pc:spChg chg="add mod">
          <ac:chgData name="Adèle DUCURTIL" userId="4cc4c274-2099-4ec9-9ef7-59e8b8faf7f4" providerId="ADAL" clId="{EB72E307-3E65-47B0-B90E-F9F41A5CA2F7}" dt="2020-10-02T14:23:10.915" v="1402" actId="1076"/>
          <ac:spMkLst>
            <pc:docMk/>
            <pc:sldMk cId="1503655535" sldId="7096"/>
            <ac:spMk id="25" creationId="{A96489D2-D155-4818-938A-09D81DF8CE88}"/>
          </ac:spMkLst>
        </pc:spChg>
        <pc:spChg chg="add mod">
          <ac:chgData name="Adèle DUCURTIL" userId="4cc4c274-2099-4ec9-9ef7-59e8b8faf7f4" providerId="ADAL" clId="{EB72E307-3E65-47B0-B90E-F9F41A5CA2F7}" dt="2020-10-02T14:23:10.915" v="1402" actId="1076"/>
          <ac:spMkLst>
            <pc:docMk/>
            <pc:sldMk cId="1503655535" sldId="7096"/>
            <ac:spMk id="26" creationId="{72165244-CFD7-4590-9C86-7F22FCD3F1C8}"/>
          </ac:spMkLst>
        </pc:spChg>
        <pc:spChg chg="add mod">
          <ac:chgData name="Adèle DUCURTIL" userId="4cc4c274-2099-4ec9-9ef7-59e8b8faf7f4" providerId="ADAL" clId="{EB72E307-3E65-47B0-B90E-F9F41A5CA2F7}" dt="2020-10-02T14:23:10.915" v="1402" actId="1076"/>
          <ac:spMkLst>
            <pc:docMk/>
            <pc:sldMk cId="1503655535" sldId="7096"/>
            <ac:spMk id="27" creationId="{45724C4E-4138-4998-969C-E9553D6D7683}"/>
          </ac:spMkLst>
        </pc:spChg>
        <pc:spChg chg="add mod">
          <ac:chgData name="Adèle DUCURTIL" userId="4cc4c274-2099-4ec9-9ef7-59e8b8faf7f4" providerId="ADAL" clId="{EB72E307-3E65-47B0-B90E-F9F41A5CA2F7}" dt="2020-10-02T14:23:10.915" v="1402" actId="1076"/>
          <ac:spMkLst>
            <pc:docMk/>
            <pc:sldMk cId="1503655535" sldId="7096"/>
            <ac:spMk id="28" creationId="{D46A9E83-DE8C-4713-A861-054CCC0BAB9C}"/>
          </ac:spMkLst>
        </pc:spChg>
        <pc:spChg chg="add mod">
          <ac:chgData name="Adèle DUCURTIL" userId="4cc4c274-2099-4ec9-9ef7-59e8b8faf7f4" providerId="ADAL" clId="{EB72E307-3E65-47B0-B90E-F9F41A5CA2F7}" dt="2020-10-02T14:23:10.915" v="1402" actId="1076"/>
          <ac:spMkLst>
            <pc:docMk/>
            <pc:sldMk cId="1503655535" sldId="7096"/>
            <ac:spMk id="29" creationId="{B77E172F-B05A-4EE2-A433-0BBF4D310DB5}"/>
          </ac:spMkLst>
        </pc:spChg>
        <pc:spChg chg="mod">
          <ac:chgData name="Adèle DUCURTIL" userId="4cc4c274-2099-4ec9-9ef7-59e8b8faf7f4" providerId="ADAL" clId="{EB72E307-3E65-47B0-B90E-F9F41A5CA2F7}" dt="2020-10-02T14:23:10.915" v="1402" actId="1076"/>
          <ac:spMkLst>
            <pc:docMk/>
            <pc:sldMk cId="1503655535" sldId="7096"/>
            <ac:spMk id="31" creationId="{567D2494-9696-48AF-93D2-F38471436FB8}"/>
          </ac:spMkLst>
        </pc:spChg>
        <pc:spChg chg="mod">
          <ac:chgData name="Adèle DUCURTIL" userId="4cc4c274-2099-4ec9-9ef7-59e8b8faf7f4" providerId="ADAL" clId="{EB72E307-3E65-47B0-B90E-F9F41A5CA2F7}" dt="2020-10-02T14:23:10.915" v="1402" actId="1076"/>
          <ac:spMkLst>
            <pc:docMk/>
            <pc:sldMk cId="1503655535" sldId="7096"/>
            <ac:spMk id="32" creationId="{0C578D82-142B-4C3C-8791-575FCDA7F12C}"/>
          </ac:spMkLst>
        </pc:spChg>
        <pc:spChg chg="mod">
          <ac:chgData name="Adèle DUCURTIL" userId="4cc4c274-2099-4ec9-9ef7-59e8b8faf7f4" providerId="ADAL" clId="{EB72E307-3E65-47B0-B90E-F9F41A5CA2F7}" dt="2020-10-02T14:23:10.915" v="1402" actId="1076"/>
          <ac:spMkLst>
            <pc:docMk/>
            <pc:sldMk cId="1503655535" sldId="7096"/>
            <ac:spMk id="34" creationId="{C39D82DE-4906-4C77-8074-AE2EC26512C4}"/>
          </ac:spMkLst>
        </pc:spChg>
        <pc:spChg chg="mod">
          <ac:chgData name="Adèle DUCURTIL" userId="4cc4c274-2099-4ec9-9ef7-59e8b8faf7f4" providerId="ADAL" clId="{EB72E307-3E65-47B0-B90E-F9F41A5CA2F7}" dt="2020-10-02T14:23:10.915" v="1402" actId="1076"/>
          <ac:spMkLst>
            <pc:docMk/>
            <pc:sldMk cId="1503655535" sldId="7096"/>
            <ac:spMk id="35" creationId="{94E39019-E71D-49E5-BFE1-CDBCD8B2FE67}"/>
          </ac:spMkLst>
        </pc:spChg>
        <pc:grpChg chg="add mod">
          <ac:chgData name="Adèle DUCURTIL" userId="4cc4c274-2099-4ec9-9ef7-59e8b8faf7f4" providerId="ADAL" clId="{EB72E307-3E65-47B0-B90E-F9F41A5CA2F7}" dt="2020-10-02T14:23:10.915" v="1402" actId="1076"/>
          <ac:grpSpMkLst>
            <pc:docMk/>
            <pc:sldMk cId="1503655535" sldId="7096"/>
            <ac:grpSpMk id="16" creationId="{B984E6E9-26E9-4013-BB8D-0D9F2B5CA22B}"/>
          </ac:grpSpMkLst>
        </pc:grpChg>
        <pc:grpChg chg="add mod">
          <ac:chgData name="Adèle DUCURTIL" userId="4cc4c274-2099-4ec9-9ef7-59e8b8faf7f4" providerId="ADAL" clId="{EB72E307-3E65-47B0-B90E-F9F41A5CA2F7}" dt="2020-10-02T14:23:10.915" v="1402" actId="1076"/>
          <ac:grpSpMkLst>
            <pc:docMk/>
            <pc:sldMk cId="1503655535" sldId="7096"/>
            <ac:grpSpMk id="30" creationId="{7A029436-04C9-4133-965C-22A9085BCE39}"/>
          </ac:grpSpMkLst>
        </pc:grpChg>
        <pc:grpChg chg="add mod">
          <ac:chgData name="Adèle DUCURTIL" userId="4cc4c274-2099-4ec9-9ef7-59e8b8faf7f4" providerId="ADAL" clId="{EB72E307-3E65-47B0-B90E-F9F41A5CA2F7}" dt="2020-10-02T14:23:10.915" v="1402" actId="1076"/>
          <ac:grpSpMkLst>
            <pc:docMk/>
            <pc:sldMk cId="1503655535" sldId="7096"/>
            <ac:grpSpMk id="33" creationId="{40F6159C-56E6-4920-BE62-322388AA6D1A}"/>
          </ac:grpSpMkLst>
        </pc:grpChg>
        <pc:graphicFrameChg chg="mod">
          <ac:chgData name="Adèle DUCURTIL" userId="4cc4c274-2099-4ec9-9ef7-59e8b8faf7f4" providerId="ADAL" clId="{EB72E307-3E65-47B0-B90E-F9F41A5CA2F7}" dt="2020-10-02T14:22:57.711" v="1399" actId="14100"/>
          <ac:graphicFrameMkLst>
            <pc:docMk/>
            <pc:sldMk cId="1503655535" sldId="7096"/>
            <ac:graphicFrameMk id="6" creationId="{37EB0EFE-379A-43A9-9CAC-8975DFC8C60C}"/>
          </ac:graphicFrameMkLst>
        </pc:graphicFrameChg>
        <pc:picChg chg="mod">
          <ac:chgData name="Adèle DUCURTIL" userId="4cc4c274-2099-4ec9-9ef7-59e8b8faf7f4" providerId="ADAL" clId="{EB72E307-3E65-47B0-B90E-F9F41A5CA2F7}" dt="2020-10-02T14:22:35.025" v="1389" actId="1076"/>
          <ac:picMkLst>
            <pc:docMk/>
            <pc:sldMk cId="1503655535" sldId="7096"/>
            <ac:picMk id="8" creationId="{3870302C-F0E4-4FA8-AEDF-872DDB33189C}"/>
          </ac:picMkLst>
        </pc:picChg>
        <pc:picChg chg="mod">
          <ac:chgData name="Adèle DUCURTIL" userId="4cc4c274-2099-4ec9-9ef7-59e8b8faf7f4" providerId="ADAL" clId="{EB72E307-3E65-47B0-B90E-F9F41A5CA2F7}" dt="2020-10-02T14:22:36.887" v="1390" actId="1076"/>
          <ac:picMkLst>
            <pc:docMk/>
            <pc:sldMk cId="1503655535" sldId="7096"/>
            <ac:picMk id="19" creationId="{C541B801-643D-4CA8-ADCF-CD03E80906FE}"/>
          </ac:picMkLst>
        </pc:picChg>
        <pc:picChg chg="mod">
          <ac:chgData name="Adèle DUCURTIL" userId="4cc4c274-2099-4ec9-9ef7-59e8b8faf7f4" providerId="ADAL" clId="{EB72E307-3E65-47B0-B90E-F9F41A5CA2F7}" dt="2020-10-02T14:23:10.915" v="1402" actId="1076"/>
          <ac:picMkLst>
            <pc:docMk/>
            <pc:sldMk cId="1503655535" sldId="7096"/>
            <ac:picMk id="20" creationId="{673B3233-4AF9-4380-A921-BBD2FF8F7EC1}"/>
          </ac:picMkLst>
        </pc:picChg>
        <pc:cxnChg chg="add mod">
          <ac:chgData name="Adèle DUCURTIL" userId="4cc4c274-2099-4ec9-9ef7-59e8b8faf7f4" providerId="ADAL" clId="{EB72E307-3E65-47B0-B90E-F9F41A5CA2F7}" dt="2020-10-02T14:23:26.603" v="1408" actId="208"/>
          <ac:cxnSpMkLst>
            <pc:docMk/>
            <pc:sldMk cId="1503655535" sldId="7096"/>
            <ac:cxnSpMk id="36" creationId="{B23E44B2-BC07-4B2C-AC1D-FB8114B25E80}"/>
          </ac:cxnSpMkLst>
        </pc:cxnChg>
      </pc:sldChg>
      <pc:sldChg chg="addSp delSp modSp new add mod">
        <pc:chgData name="Adèle DUCURTIL" userId="4cc4c274-2099-4ec9-9ef7-59e8b8faf7f4" providerId="ADAL" clId="{EB72E307-3E65-47B0-B90E-F9F41A5CA2F7}" dt="2020-10-02T14:21:42.753" v="1373"/>
        <pc:sldMkLst>
          <pc:docMk/>
          <pc:sldMk cId="376755772" sldId="7099"/>
        </pc:sldMkLst>
        <pc:spChg chg="mod">
          <ac:chgData name="Adèle DUCURTIL" userId="4cc4c274-2099-4ec9-9ef7-59e8b8faf7f4" providerId="ADAL" clId="{EB72E307-3E65-47B0-B90E-F9F41A5CA2F7}" dt="2020-10-02T14:21:42.228" v="1371" actId="20577"/>
          <ac:spMkLst>
            <pc:docMk/>
            <pc:sldMk cId="376755772" sldId="7099"/>
            <ac:spMk id="2" creationId="{3D5F3CBF-1CC1-410B-9384-ECBE8A2E4680}"/>
          </ac:spMkLst>
        </pc:spChg>
        <pc:spChg chg="mod ord">
          <ac:chgData name="Adèle DUCURTIL" userId="4cc4c274-2099-4ec9-9ef7-59e8b8faf7f4" providerId="ADAL" clId="{EB72E307-3E65-47B0-B90E-F9F41A5CA2F7}" dt="2020-10-02T14:12:42.447" v="760"/>
          <ac:spMkLst>
            <pc:docMk/>
            <pc:sldMk cId="376755772" sldId="7099"/>
            <ac:spMk id="3" creationId="{0EADEC9E-8B58-4FDB-816D-44CF2E7658E8}"/>
          </ac:spMkLst>
        </pc:spChg>
        <pc:spChg chg="add mod ord">
          <ac:chgData name="Adèle DUCURTIL" userId="4cc4c274-2099-4ec9-9ef7-59e8b8faf7f4" providerId="ADAL" clId="{EB72E307-3E65-47B0-B90E-F9F41A5CA2F7}" dt="2020-10-02T14:12:42.447" v="762"/>
          <ac:spMkLst>
            <pc:docMk/>
            <pc:sldMk cId="376755772" sldId="7099"/>
            <ac:spMk id="4" creationId="{56B55C2F-845E-43DA-80C8-007588EAA529}"/>
          </ac:spMkLst>
        </pc:spChg>
        <pc:spChg chg="add mod ord">
          <ac:chgData name="Adèle DUCURTIL" userId="4cc4c274-2099-4ec9-9ef7-59e8b8faf7f4" providerId="ADAL" clId="{EB72E307-3E65-47B0-B90E-F9F41A5CA2F7}" dt="2020-10-02T14:12:42.448" v="764"/>
          <ac:spMkLst>
            <pc:docMk/>
            <pc:sldMk cId="376755772" sldId="7099"/>
            <ac:spMk id="5" creationId="{7862FBB5-2491-45A5-B615-728AC543C6CD}"/>
          </ac:spMkLst>
        </pc:spChg>
        <pc:spChg chg="add mod ord">
          <ac:chgData name="Adèle DUCURTIL" userId="4cc4c274-2099-4ec9-9ef7-59e8b8faf7f4" providerId="ADAL" clId="{EB72E307-3E65-47B0-B90E-F9F41A5CA2F7}" dt="2020-10-02T14:12:42.450" v="771"/>
          <ac:spMkLst>
            <pc:docMk/>
            <pc:sldMk cId="376755772" sldId="7099"/>
            <ac:spMk id="10" creationId="{82F0D1E7-8588-4E06-91E2-27F61B1B3261}"/>
          </ac:spMkLst>
        </pc:spChg>
        <pc:spChg chg="add mod ord">
          <ac:chgData name="Adèle DUCURTIL" userId="4cc4c274-2099-4ec9-9ef7-59e8b8faf7f4" providerId="ADAL" clId="{EB72E307-3E65-47B0-B90E-F9F41A5CA2F7}" dt="2020-10-02T14:12:42.451" v="773"/>
          <ac:spMkLst>
            <pc:docMk/>
            <pc:sldMk cId="376755772" sldId="7099"/>
            <ac:spMk id="11" creationId="{AE8E3B16-29B5-449F-9443-6AB2F57AE481}"/>
          </ac:spMkLst>
        </pc:spChg>
        <pc:spChg chg="add mod ord">
          <ac:chgData name="Adèle DUCURTIL" userId="4cc4c274-2099-4ec9-9ef7-59e8b8faf7f4" providerId="ADAL" clId="{EB72E307-3E65-47B0-B90E-F9F41A5CA2F7}" dt="2020-10-02T14:12:42.452" v="775"/>
          <ac:spMkLst>
            <pc:docMk/>
            <pc:sldMk cId="376755772" sldId="7099"/>
            <ac:spMk id="12" creationId="{3A123160-D0CC-416C-8A3E-38BB0E32A10E}"/>
          </ac:spMkLst>
        </pc:spChg>
        <pc:spChg chg="mod">
          <ac:chgData name="Adèle DUCURTIL" userId="4cc4c274-2099-4ec9-9ef7-59e8b8faf7f4" providerId="ADAL" clId="{EB72E307-3E65-47B0-B90E-F9F41A5CA2F7}" dt="2020-10-02T13:19:51.118" v="138"/>
          <ac:spMkLst>
            <pc:docMk/>
            <pc:sldMk cId="376755772" sldId="7099"/>
            <ac:spMk id="14" creationId="{8D24C510-A00E-42BE-9A94-62CFDEAB9B48}"/>
          </ac:spMkLst>
        </pc:spChg>
        <pc:spChg chg="mod">
          <ac:chgData name="Adèle DUCURTIL" userId="4cc4c274-2099-4ec9-9ef7-59e8b8faf7f4" providerId="ADAL" clId="{EB72E307-3E65-47B0-B90E-F9F41A5CA2F7}" dt="2020-10-02T13:19:51.118" v="138"/>
          <ac:spMkLst>
            <pc:docMk/>
            <pc:sldMk cId="376755772" sldId="7099"/>
            <ac:spMk id="16" creationId="{7081FF1D-794B-4B1B-B5CC-3653D67EE346}"/>
          </ac:spMkLst>
        </pc:spChg>
        <pc:spChg chg="add mod ord">
          <ac:chgData name="Adèle DUCURTIL" userId="4cc4c274-2099-4ec9-9ef7-59e8b8faf7f4" providerId="ADAL" clId="{EB72E307-3E65-47B0-B90E-F9F41A5CA2F7}" dt="2020-10-02T14:12:42.454" v="778"/>
          <ac:spMkLst>
            <pc:docMk/>
            <pc:sldMk cId="376755772" sldId="7099"/>
            <ac:spMk id="17" creationId="{8A6D249B-FA1C-4667-8EE6-55E29493B6AC}"/>
          </ac:spMkLst>
        </pc:spChg>
        <pc:spChg chg="add mod ord">
          <ac:chgData name="Adèle DUCURTIL" userId="4cc4c274-2099-4ec9-9ef7-59e8b8faf7f4" providerId="ADAL" clId="{EB72E307-3E65-47B0-B90E-F9F41A5CA2F7}" dt="2020-10-02T14:12:42.454" v="780"/>
          <ac:spMkLst>
            <pc:docMk/>
            <pc:sldMk cId="376755772" sldId="7099"/>
            <ac:spMk id="18" creationId="{0F241C85-DC5F-4517-BF35-7FA82021049B}"/>
          </ac:spMkLst>
        </pc:spChg>
        <pc:spChg chg="mod">
          <ac:chgData name="Adèle DUCURTIL" userId="4cc4c274-2099-4ec9-9ef7-59e8b8faf7f4" providerId="ADAL" clId="{EB72E307-3E65-47B0-B90E-F9F41A5CA2F7}" dt="2020-10-02T13:20:16.667" v="153" actId="207"/>
          <ac:spMkLst>
            <pc:docMk/>
            <pc:sldMk cId="376755772" sldId="7099"/>
            <ac:spMk id="20" creationId="{0B5C8F6E-CB37-42A4-8E60-0D8682515520}"/>
          </ac:spMkLst>
        </pc:spChg>
        <pc:spChg chg="mod">
          <ac:chgData name="Adèle DUCURTIL" userId="4cc4c274-2099-4ec9-9ef7-59e8b8faf7f4" providerId="ADAL" clId="{EB72E307-3E65-47B0-B90E-F9F41A5CA2F7}" dt="2020-10-02T13:20:16.667" v="153" actId="207"/>
          <ac:spMkLst>
            <pc:docMk/>
            <pc:sldMk cId="376755772" sldId="7099"/>
            <ac:spMk id="21" creationId="{DD78FF86-6ECF-45A3-88BA-561C70B2E7E9}"/>
          </ac:spMkLst>
        </pc:spChg>
        <pc:spChg chg="add mod ord">
          <ac:chgData name="Adèle DUCURTIL" userId="4cc4c274-2099-4ec9-9ef7-59e8b8faf7f4" providerId="ADAL" clId="{EB72E307-3E65-47B0-B90E-F9F41A5CA2F7}" dt="2020-10-02T14:14:51.479" v="1046" actId="1076"/>
          <ac:spMkLst>
            <pc:docMk/>
            <pc:sldMk cId="376755772" sldId="7099"/>
            <ac:spMk id="22" creationId="{6058E5A1-E0A7-4329-B80D-A6A32CA32EFE}"/>
          </ac:spMkLst>
        </pc:spChg>
        <pc:spChg chg="add mod ord">
          <ac:chgData name="Adèle DUCURTIL" userId="4cc4c274-2099-4ec9-9ef7-59e8b8faf7f4" providerId="ADAL" clId="{EB72E307-3E65-47B0-B90E-F9F41A5CA2F7}" dt="2020-10-02T14:12:42.455" v="784"/>
          <ac:spMkLst>
            <pc:docMk/>
            <pc:sldMk cId="376755772" sldId="7099"/>
            <ac:spMk id="23" creationId="{C34033B3-BAF3-4B98-912B-4132825CB19E}"/>
          </ac:spMkLst>
        </pc:spChg>
        <pc:spChg chg="add mod ord">
          <ac:chgData name="Adèle DUCURTIL" userId="4cc4c274-2099-4ec9-9ef7-59e8b8faf7f4" providerId="ADAL" clId="{EB72E307-3E65-47B0-B90E-F9F41A5CA2F7}" dt="2020-10-02T14:12:42.456" v="786"/>
          <ac:spMkLst>
            <pc:docMk/>
            <pc:sldMk cId="376755772" sldId="7099"/>
            <ac:spMk id="24" creationId="{D54CEFE5-0D81-406D-9ACB-85E83C71D147}"/>
          </ac:spMkLst>
        </pc:spChg>
        <pc:spChg chg="add mod ord">
          <ac:chgData name="Adèle DUCURTIL" userId="4cc4c274-2099-4ec9-9ef7-59e8b8faf7f4" providerId="ADAL" clId="{EB72E307-3E65-47B0-B90E-F9F41A5CA2F7}" dt="2020-10-02T14:12:42.456" v="788"/>
          <ac:spMkLst>
            <pc:docMk/>
            <pc:sldMk cId="376755772" sldId="7099"/>
            <ac:spMk id="25" creationId="{6B141F1D-ACB8-496B-A1CD-B9E2CAD970EE}"/>
          </ac:spMkLst>
        </pc:spChg>
        <pc:spChg chg="add mod ord">
          <ac:chgData name="Adèle DUCURTIL" userId="4cc4c274-2099-4ec9-9ef7-59e8b8faf7f4" providerId="ADAL" clId="{EB72E307-3E65-47B0-B90E-F9F41A5CA2F7}" dt="2020-10-02T14:12:42.457" v="790"/>
          <ac:spMkLst>
            <pc:docMk/>
            <pc:sldMk cId="376755772" sldId="7099"/>
            <ac:spMk id="26" creationId="{E3BD8E88-ADFB-4B62-8034-9AFBE1ECE189}"/>
          </ac:spMkLst>
        </pc:spChg>
        <pc:spChg chg="add mod ord">
          <ac:chgData name="Adèle DUCURTIL" userId="4cc4c274-2099-4ec9-9ef7-59e8b8faf7f4" providerId="ADAL" clId="{EB72E307-3E65-47B0-B90E-F9F41A5CA2F7}" dt="2020-10-02T14:12:42.457" v="792"/>
          <ac:spMkLst>
            <pc:docMk/>
            <pc:sldMk cId="376755772" sldId="7099"/>
            <ac:spMk id="27" creationId="{08E87702-44A4-47CA-B477-AAFC9C4B0366}"/>
          </ac:spMkLst>
        </pc:spChg>
        <pc:spChg chg="add mod ord">
          <ac:chgData name="Adèle DUCURTIL" userId="4cc4c274-2099-4ec9-9ef7-59e8b8faf7f4" providerId="ADAL" clId="{EB72E307-3E65-47B0-B90E-F9F41A5CA2F7}" dt="2020-10-02T14:12:42.458" v="794"/>
          <ac:spMkLst>
            <pc:docMk/>
            <pc:sldMk cId="376755772" sldId="7099"/>
            <ac:spMk id="28" creationId="{56A8E3DA-E143-4532-9137-0ECA11D33D47}"/>
          </ac:spMkLst>
        </pc:spChg>
        <pc:spChg chg="add mod ord">
          <ac:chgData name="Adèle DUCURTIL" userId="4cc4c274-2099-4ec9-9ef7-59e8b8faf7f4" providerId="ADAL" clId="{EB72E307-3E65-47B0-B90E-F9F41A5CA2F7}" dt="2020-10-02T14:12:42.458" v="796"/>
          <ac:spMkLst>
            <pc:docMk/>
            <pc:sldMk cId="376755772" sldId="7099"/>
            <ac:spMk id="30" creationId="{4A0CBEAD-F285-4B34-BA46-D51708742C4C}"/>
          </ac:spMkLst>
        </pc:spChg>
        <pc:spChg chg="add mod ord">
          <ac:chgData name="Adèle DUCURTIL" userId="4cc4c274-2099-4ec9-9ef7-59e8b8faf7f4" providerId="ADAL" clId="{EB72E307-3E65-47B0-B90E-F9F41A5CA2F7}" dt="2020-10-02T14:14:46.415" v="1044" actId="20577"/>
          <ac:spMkLst>
            <pc:docMk/>
            <pc:sldMk cId="376755772" sldId="7099"/>
            <ac:spMk id="31" creationId="{FAE19A6B-A4C0-4A15-91FA-FEC643581FB2}"/>
          </ac:spMkLst>
        </pc:spChg>
        <pc:spChg chg="add mod ord">
          <ac:chgData name="Adèle DUCURTIL" userId="4cc4c274-2099-4ec9-9ef7-59e8b8faf7f4" providerId="ADAL" clId="{EB72E307-3E65-47B0-B90E-F9F41A5CA2F7}" dt="2020-10-02T14:15:02.954" v="1048" actId="14100"/>
          <ac:spMkLst>
            <pc:docMk/>
            <pc:sldMk cId="376755772" sldId="7099"/>
            <ac:spMk id="32" creationId="{C059FB14-23A6-488B-892B-3EBA3ECF9E44}"/>
          </ac:spMkLst>
        </pc:spChg>
        <pc:spChg chg="add mod ord">
          <ac:chgData name="Adèle DUCURTIL" userId="4cc4c274-2099-4ec9-9ef7-59e8b8faf7f4" providerId="ADAL" clId="{EB72E307-3E65-47B0-B90E-F9F41A5CA2F7}" dt="2020-10-02T14:12:42.460" v="802"/>
          <ac:spMkLst>
            <pc:docMk/>
            <pc:sldMk cId="376755772" sldId="7099"/>
            <ac:spMk id="34" creationId="{9536977F-D7AE-42AC-94B3-A45E868D3DA9}"/>
          </ac:spMkLst>
        </pc:spChg>
        <pc:spChg chg="add mod ord">
          <ac:chgData name="Adèle DUCURTIL" userId="4cc4c274-2099-4ec9-9ef7-59e8b8faf7f4" providerId="ADAL" clId="{EB72E307-3E65-47B0-B90E-F9F41A5CA2F7}" dt="2020-10-02T14:12:42.461" v="804"/>
          <ac:spMkLst>
            <pc:docMk/>
            <pc:sldMk cId="376755772" sldId="7099"/>
            <ac:spMk id="35" creationId="{0947BE11-5938-4BD3-871D-DD63940F95BB}"/>
          </ac:spMkLst>
        </pc:spChg>
        <pc:spChg chg="add mod ord">
          <ac:chgData name="Adèle DUCURTIL" userId="4cc4c274-2099-4ec9-9ef7-59e8b8faf7f4" providerId="ADAL" clId="{EB72E307-3E65-47B0-B90E-F9F41A5CA2F7}" dt="2020-10-02T14:12:42.461" v="806"/>
          <ac:spMkLst>
            <pc:docMk/>
            <pc:sldMk cId="376755772" sldId="7099"/>
            <ac:spMk id="36" creationId="{F334DB69-DC33-4FFD-A774-EA950D16EA1B}"/>
          </ac:spMkLst>
        </pc:spChg>
        <pc:spChg chg="add mod ord">
          <ac:chgData name="Adèle DUCURTIL" userId="4cc4c274-2099-4ec9-9ef7-59e8b8faf7f4" providerId="ADAL" clId="{EB72E307-3E65-47B0-B90E-F9F41A5CA2F7}" dt="2020-10-02T14:12:42.462" v="808"/>
          <ac:spMkLst>
            <pc:docMk/>
            <pc:sldMk cId="376755772" sldId="7099"/>
            <ac:spMk id="37" creationId="{3F08D013-6796-47D1-BB9B-937272FCBAA7}"/>
          </ac:spMkLst>
        </pc:spChg>
        <pc:spChg chg="add mod ord">
          <ac:chgData name="Adèle DUCURTIL" userId="4cc4c274-2099-4ec9-9ef7-59e8b8faf7f4" providerId="ADAL" clId="{EB72E307-3E65-47B0-B90E-F9F41A5CA2F7}" dt="2020-10-02T14:12:42.462" v="810"/>
          <ac:spMkLst>
            <pc:docMk/>
            <pc:sldMk cId="376755772" sldId="7099"/>
            <ac:spMk id="38" creationId="{BB39225B-9F96-4151-B5A1-DA7E28D15F0C}"/>
          </ac:spMkLst>
        </pc:spChg>
        <pc:spChg chg="add mod ord">
          <ac:chgData name="Adèle DUCURTIL" userId="4cc4c274-2099-4ec9-9ef7-59e8b8faf7f4" providerId="ADAL" clId="{EB72E307-3E65-47B0-B90E-F9F41A5CA2F7}" dt="2020-10-02T14:12:42.463" v="812"/>
          <ac:spMkLst>
            <pc:docMk/>
            <pc:sldMk cId="376755772" sldId="7099"/>
            <ac:spMk id="39" creationId="{C71269A9-1619-4DE0-8966-CEA4E9A3E25E}"/>
          </ac:spMkLst>
        </pc:spChg>
        <pc:spChg chg="add mod ord">
          <ac:chgData name="Adèle DUCURTIL" userId="4cc4c274-2099-4ec9-9ef7-59e8b8faf7f4" providerId="ADAL" clId="{EB72E307-3E65-47B0-B90E-F9F41A5CA2F7}" dt="2020-10-02T14:12:42.463" v="814"/>
          <ac:spMkLst>
            <pc:docMk/>
            <pc:sldMk cId="376755772" sldId="7099"/>
            <ac:spMk id="40" creationId="{0C1048C5-AAF6-4EAC-923B-5C4BE75D4301}"/>
          </ac:spMkLst>
        </pc:spChg>
        <pc:spChg chg="add mod ord">
          <ac:chgData name="Adèle DUCURTIL" userId="4cc4c274-2099-4ec9-9ef7-59e8b8faf7f4" providerId="ADAL" clId="{EB72E307-3E65-47B0-B90E-F9F41A5CA2F7}" dt="2020-10-02T14:12:42.464" v="816"/>
          <ac:spMkLst>
            <pc:docMk/>
            <pc:sldMk cId="376755772" sldId="7099"/>
            <ac:spMk id="41" creationId="{5C3FC11A-FD68-4771-A1AD-30AA1557095E}"/>
          </ac:spMkLst>
        </pc:spChg>
        <pc:spChg chg="add mod ord">
          <ac:chgData name="Adèle DUCURTIL" userId="4cc4c274-2099-4ec9-9ef7-59e8b8faf7f4" providerId="ADAL" clId="{EB72E307-3E65-47B0-B90E-F9F41A5CA2F7}" dt="2020-10-02T14:12:42.464" v="818"/>
          <ac:spMkLst>
            <pc:docMk/>
            <pc:sldMk cId="376755772" sldId="7099"/>
            <ac:spMk id="42" creationId="{AF9B5A75-943B-4E0A-8576-543C28562AC4}"/>
          </ac:spMkLst>
        </pc:spChg>
        <pc:spChg chg="add mod ord">
          <ac:chgData name="Adèle DUCURTIL" userId="4cc4c274-2099-4ec9-9ef7-59e8b8faf7f4" providerId="ADAL" clId="{EB72E307-3E65-47B0-B90E-F9F41A5CA2F7}" dt="2020-10-02T14:12:42.465" v="820"/>
          <ac:spMkLst>
            <pc:docMk/>
            <pc:sldMk cId="376755772" sldId="7099"/>
            <ac:spMk id="43" creationId="{7667A308-00B6-4C0D-9D92-B88460720212}"/>
          </ac:spMkLst>
        </pc:spChg>
        <pc:spChg chg="add mod">
          <ac:chgData name="Adèle DUCURTIL" userId="4cc4c274-2099-4ec9-9ef7-59e8b8faf7f4" providerId="ADAL" clId="{EB72E307-3E65-47B0-B90E-F9F41A5CA2F7}" dt="2020-10-02T13:37:31.169" v="571" actId="14100"/>
          <ac:spMkLst>
            <pc:docMk/>
            <pc:sldMk cId="376755772" sldId="7099"/>
            <ac:spMk id="44" creationId="{B7909257-EB26-4946-8295-099F5B41A24B}"/>
          </ac:spMkLst>
        </pc:spChg>
        <pc:spChg chg="add mod">
          <ac:chgData name="Adèle DUCURTIL" userId="4cc4c274-2099-4ec9-9ef7-59e8b8faf7f4" providerId="ADAL" clId="{EB72E307-3E65-47B0-B90E-F9F41A5CA2F7}" dt="2020-10-02T13:38:00.193" v="587" actId="1037"/>
          <ac:spMkLst>
            <pc:docMk/>
            <pc:sldMk cId="376755772" sldId="7099"/>
            <ac:spMk id="45" creationId="{8F0C2293-16A8-4DD0-9F54-6194D33AF8F0}"/>
          </ac:spMkLst>
        </pc:spChg>
        <pc:spChg chg="mod">
          <ac:chgData name="Adèle DUCURTIL" userId="4cc4c274-2099-4ec9-9ef7-59e8b8faf7f4" providerId="ADAL" clId="{EB72E307-3E65-47B0-B90E-F9F41A5CA2F7}" dt="2020-10-02T13:38:08.387" v="589" actId="571"/>
          <ac:spMkLst>
            <pc:docMk/>
            <pc:sldMk cId="376755772" sldId="7099"/>
            <ac:spMk id="48" creationId="{40646507-A123-4DF6-90A8-384E88AB13D5}"/>
          </ac:spMkLst>
        </pc:spChg>
        <pc:spChg chg="mod">
          <ac:chgData name="Adèle DUCURTIL" userId="4cc4c274-2099-4ec9-9ef7-59e8b8faf7f4" providerId="ADAL" clId="{EB72E307-3E65-47B0-B90E-F9F41A5CA2F7}" dt="2020-10-02T13:38:08.387" v="589" actId="571"/>
          <ac:spMkLst>
            <pc:docMk/>
            <pc:sldMk cId="376755772" sldId="7099"/>
            <ac:spMk id="49" creationId="{938E0F87-3013-47EC-8566-AA2DFB2AF57B}"/>
          </ac:spMkLst>
        </pc:spChg>
        <pc:spChg chg="mod">
          <ac:chgData name="Adèle DUCURTIL" userId="4cc4c274-2099-4ec9-9ef7-59e8b8faf7f4" providerId="ADAL" clId="{EB72E307-3E65-47B0-B90E-F9F41A5CA2F7}" dt="2020-10-02T13:38:13.941" v="590"/>
          <ac:spMkLst>
            <pc:docMk/>
            <pc:sldMk cId="376755772" sldId="7099"/>
            <ac:spMk id="51" creationId="{5BAAAABD-5889-40F6-B7BE-E4E39B1D6004}"/>
          </ac:spMkLst>
        </pc:spChg>
        <pc:spChg chg="mod">
          <ac:chgData name="Adèle DUCURTIL" userId="4cc4c274-2099-4ec9-9ef7-59e8b8faf7f4" providerId="ADAL" clId="{EB72E307-3E65-47B0-B90E-F9F41A5CA2F7}" dt="2020-10-02T13:38:13.941" v="590"/>
          <ac:spMkLst>
            <pc:docMk/>
            <pc:sldMk cId="376755772" sldId="7099"/>
            <ac:spMk id="52" creationId="{DAD92677-3505-497E-AAB6-392135E6485B}"/>
          </ac:spMkLst>
        </pc:spChg>
        <pc:spChg chg="add mod ord">
          <ac:chgData name="Adèle DUCURTIL" userId="4cc4c274-2099-4ec9-9ef7-59e8b8faf7f4" providerId="ADAL" clId="{EB72E307-3E65-47B0-B90E-F9F41A5CA2F7}" dt="2020-10-02T14:12:42.468" v="830"/>
          <ac:spMkLst>
            <pc:docMk/>
            <pc:sldMk cId="376755772" sldId="7099"/>
            <ac:spMk id="54" creationId="{19F7BDCC-CEC3-4F50-AB75-508E290E9040}"/>
          </ac:spMkLst>
        </pc:spChg>
        <pc:spChg chg="add mod ord modVis">
          <ac:chgData name="Adèle DUCURTIL" userId="4cc4c274-2099-4ec9-9ef7-59e8b8faf7f4" providerId="ADAL" clId="{EB72E307-3E65-47B0-B90E-F9F41A5CA2F7}" dt="2020-10-02T14:16:52.164" v="1199" actId="6549"/>
          <ac:spMkLst>
            <pc:docMk/>
            <pc:sldMk cId="376755772" sldId="7099"/>
            <ac:spMk id="55" creationId="{8EE86343-74BC-4E2D-BB6A-24861BB9D9BF}"/>
          </ac:spMkLst>
        </pc:spChg>
        <pc:grpChg chg="add mod">
          <ac:chgData name="Adèle DUCURTIL" userId="4cc4c274-2099-4ec9-9ef7-59e8b8faf7f4" providerId="ADAL" clId="{EB72E307-3E65-47B0-B90E-F9F41A5CA2F7}" dt="2020-10-02T14:12:42.453" v="776"/>
          <ac:grpSpMkLst>
            <pc:docMk/>
            <pc:sldMk cId="376755772" sldId="7099"/>
            <ac:grpSpMk id="13" creationId="{F49C5392-FEB0-4C61-B035-528986B87053}"/>
          </ac:grpSpMkLst>
        </pc:grpChg>
        <pc:grpChg chg="add del mod">
          <ac:chgData name="Adèle DUCURTIL" userId="4cc4c274-2099-4ec9-9ef7-59e8b8faf7f4" providerId="ADAL" clId="{EB72E307-3E65-47B0-B90E-F9F41A5CA2F7}" dt="2020-10-02T13:20:28.166" v="156" actId="478"/>
          <ac:grpSpMkLst>
            <pc:docMk/>
            <pc:sldMk cId="376755772" sldId="7099"/>
            <ac:grpSpMk id="19" creationId="{4451F154-D01D-4F43-A1DE-627CF1183963}"/>
          </ac:grpSpMkLst>
        </pc:grpChg>
        <pc:grpChg chg="add mod ord">
          <ac:chgData name="Adèle DUCURTIL" userId="4cc4c274-2099-4ec9-9ef7-59e8b8faf7f4" providerId="ADAL" clId="{EB72E307-3E65-47B0-B90E-F9F41A5CA2F7}" dt="2020-10-02T14:14:49.983" v="1045" actId="1076"/>
          <ac:grpSpMkLst>
            <pc:docMk/>
            <pc:sldMk cId="376755772" sldId="7099"/>
            <ac:grpSpMk id="46" creationId="{DA62729A-0678-4634-A444-4904DE04235B}"/>
          </ac:grpSpMkLst>
        </pc:grpChg>
        <pc:grpChg chg="add mod ord">
          <ac:chgData name="Adèle DUCURTIL" userId="4cc4c274-2099-4ec9-9ef7-59e8b8faf7f4" providerId="ADAL" clId="{EB72E307-3E65-47B0-B90E-F9F41A5CA2F7}" dt="2020-10-02T14:14:59.647" v="1047" actId="1076"/>
          <ac:grpSpMkLst>
            <pc:docMk/>
            <pc:sldMk cId="376755772" sldId="7099"/>
            <ac:grpSpMk id="47" creationId="{5CABC536-AF37-4858-A956-211634D9A32E}"/>
          </ac:grpSpMkLst>
        </pc:grpChg>
        <pc:grpChg chg="add mod ord">
          <ac:chgData name="Adèle DUCURTIL" userId="4cc4c274-2099-4ec9-9ef7-59e8b8faf7f4" providerId="ADAL" clId="{EB72E307-3E65-47B0-B90E-F9F41A5CA2F7}" dt="2020-10-02T14:12:42.467" v="826"/>
          <ac:grpSpMkLst>
            <pc:docMk/>
            <pc:sldMk cId="376755772" sldId="7099"/>
            <ac:grpSpMk id="50" creationId="{7679F174-D7B7-47DD-B8B2-EB9F6EA0CBE1}"/>
          </ac:grpSpMkLst>
        </pc:grpChg>
        <pc:graphicFrameChg chg="add mod ord modVis">
          <ac:chgData name="Adèle DUCURTIL" userId="4cc4c274-2099-4ec9-9ef7-59e8b8faf7f4" providerId="ADAL" clId="{EB72E307-3E65-47B0-B90E-F9F41A5CA2F7}" dt="2020-10-02T14:21:42.753" v="1373"/>
          <ac:graphicFrameMkLst>
            <pc:docMk/>
            <pc:sldMk cId="376755772" sldId="7099"/>
            <ac:graphicFrameMk id="33" creationId="{86158E79-F997-40AF-B834-92852138EB03}"/>
          </ac:graphicFrameMkLst>
        </pc:graphicFrameChg>
        <pc:picChg chg="add mod">
          <ac:chgData name="Adèle DUCURTIL" userId="4cc4c274-2099-4ec9-9ef7-59e8b8faf7f4" providerId="ADAL" clId="{EB72E307-3E65-47B0-B90E-F9F41A5CA2F7}" dt="2020-10-02T14:12:42.448" v="765"/>
          <ac:picMkLst>
            <pc:docMk/>
            <pc:sldMk cId="376755772" sldId="7099"/>
            <ac:picMk id="6" creationId="{D86A4923-DDB0-4224-8031-0F43552BF49C}"/>
          </ac:picMkLst>
        </pc:picChg>
        <pc:picChg chg="add mod">
          <ac:chgData name="Adèle DUCURTIL" userId="4cc4c274-2099-4ec9-9ef7-59e8b8faf7f4" providerId="ADAL" clId="{EB72E307-3E65-47B0-B90E-F9F41A5CA2F7}" dt="2020-10-02T14:12:42.449" v="766"/>
          <ac:picMkLst>
            <pc:docMk/>
            <pc:sldMk cId="376755772" sldId="7099"/>
            <ac:picMk id="7" creationId="{997B053A-EC5A-457A-B893-9F72342CED03}"/>
          </ac:picMkLst>
        </pc:picChg>
        <pc:picChg chg="add mod ord">
          <ac:chgData name="Adèle DUCURTIL" userId="4cc4c274-2099-4ec9-9ef7-59e8b8faf7f4" providerId="ADAL" clId="{EB72E307-3E65-47B0-B90E-F9F41A5CA2F7}" dt="2020-10-02T14:12:42.449" v="768"/>
          <ac:picMkLst>
            <pc:docMk/>
            <pc:sldMk cId="376755772" sldId="7099"/>
            <ac:picMk id="8" creationId="{F788D890-CF7F-4AA1-8049-2A497DFFCADD}"/>
          </ac:picMkLst>
        </pc:picChg>
        <pc:picChg chg="add mod">
          <ac:chgData name="Adèle DUCURTIL" userId="4cc4c274-2099-4ec9-9ef7-59e8b8faf7f4" providerId="ADAL" clId="{EB72E307-3E65-47B0-B90E-F9F41A5CA2F7}" dt="2020-10-02T14:12:42.450" v="769"/>
          <ac:picMkLst>
            <pc:docMk/>
            <pc:sldMk cId="376755772" sldId="7099"/>
            <ac:picMk id="9" creationId="{6143312A-11EF-4B09-9935-3CD6F1048F54}"/>
          </ac:picMkLst>
        </pc:picChg>
        <pc:picChg chg="mod">
          <ac:chgData name="Adèle DUCURTIL" userId="4cc4c274-2099-4ec9-9ef7-59e8b8faf7f4" providerId="ADAL" clId="{EB72E307-3E65-47B0-B90E-F9F41A5CA2F7}" dt="2020-10-02T13:19:51.118" v="138"/>
          <ac:picMkLst>
            <pc:docMk/>
            <pc:sldMk cId="376755772" sldId="7099"/>
            <ac:picMk id="15" creationId="{C330A7FE-1FA5-49B1-A3CD-76047CEA3713}"/>
          </ac:picMkLst>
        </pc:picChg>
        <pc:picChg chg="add del mod">
          <ac:chgData name="Adèle DUCURTIL" userId="4cc4c274-2099-4ec9-9ef7-59e8b8faf7f4" providerId="ADAL" clId="{EB72E307-3E65-47B0-B90E-F9F41A5CA2F7}" dt="2020-10-02T13:27:24.468" v="265" actId="478"/>
          <ac:picMkLst>
            <pc:docMk/>
            <pc:sldMk cId="376755772" sldId="7099"/>
            <ac:picMk id="29" creationId="{CCF35975-94A4-479C-9E53-007D27DB07EC}"/>
          </ac:picMkLst>
        </pc:picChg>
        <pc:cxnChg chg="add mod ord">
          <ac:chgData name="Adèle DUCURTIL" userId="4cc4c274-2099-4ec9-9ef7-59e8b8faf7f4" providerId="ADAL" clId="{EB72E307-3E65-47B0-B90E-F9F41A5CA2F7}" dt="2020-10-02T14:12:42.467" v="828"/>
          <ac:cxnSpMkLst>
            <pc:docMk/>
            <pc:sldMk cId="376755772" sldId="7099"/>
            <ac:cxnSpMk id="53" creationId="{7064E67F-8CA0-4DE8-89A6-084606DAA156}"/>
          </ac:cxnSpMkLst>
        </pc:cxnChg>
      </pc:sldChg>
      <pc:sldChg chg="add del ord">
        <pc:chgData name="Adèle DUCURTIL" userId="4cc4c274-2099-4ec9-9ef7-59e8b8faf7f4" providerId="ADAL" clId="{EB72E307-3E65-47B0-B90E-F9F41A5CA2F7}" dt="2020-10-02T15:10:02.581" v="1630" actId="47"/>
        <pc:sldMkLst>
          <pc:docMk/>
          <pc:sldMk cId="645551058" sldId="7103"/>
        </pc:sldMkLst>
      </pc:sldChg>
      <pc:sldChg chg="addSp delSp modSp add mod modTransition modShow">
        <pc:chgData name="Adèle DUCURTIL" userId="4cc4c274-2099-4ec9-9ef7-59e8b8faf7f4" providerId="ADAL" clId="{EB72E307-3E65-47B0-B90E-F9F41A5CA2F7}" dt="2020-10-07T07:51:38.394" v="2281"/>
        <pc:sldMkLst>
          <pc:docMk/>
          <pc:sldMk cId="1053969278" sldId="7104"/>
        </pc:sldMkLst>
        <pc:spChg chg="add mod">
          <ac:chgData name="Adèle DUCURTIL" userId="4cc4c274-2099-4ec9-9ef7-59e8b8faf7f4" providerId="ADAL" clId="{EB72E307-3E65-47B0-B90E-F9F41A5CA2F7}" dt="2020-10-05T13:45:37.701" v="2233" actId="14100"/>
          <ac:spMkLst>
            <pc:docMk/>
            <pc:sldMk cId="1053969278" sldId="7104"/>
            <ac:spMk id="6" creationId="{3C9DAC80-53E9-4285-B7D4-A9875E5FBE2A}"/>
          </ac:spMkLst>
        </pc:spChg>
        <pc:spChg chg="mod">
          <ac:chgData name="Adèle DUCURTIL" userId="4cc4c274-2099-4ec9-9ef7-59e8b8faf7f4" providerId="ADAL" clId="{EB72E307-3E65-47B0-B90E-F9F41A5CA2F7}" dt="2020-10-05T13:46:30.559" v="2247" actId="404"/>
          <ac:spMkLst>
            <pc:docMk/>
            <pc:sldMk cId="1053969278" sldId="7104"/>
            <ac:spMk id="22" creationId="{B9E99B41-30E9-454D-A29F-FC1B9E7412E9}"/>
          </ac:spMkLst>
        </pc:spChg>
        <pc:spChg chg="add del mod">
          <ac:chgData name="Adèle DUCURTIL" userId="4cc4c274-2099-4ec9-9ef7-59e8b8faf7f4" providerId="ADAL" clId="{EB72E307-3E65-47B0-B90E-F9F41A5CA2F7}" dt="2020-10-05T13:44:32.764" v="2218" actId="478"/>
          <ac:spMkLst>
            <pc:docMk/>
            <pc:sldMk cId="1053969278" sldId="7104"/>
            <ac:spMk id="63" creationId="{12831DE0-E282-4871-A909-8A35A85836BB}"/>
          </ac:spMkLst>
        </pc:spChg>
        <pc:spChg chg="add del mod">
          <ac:chgData name="Adèle DUCURTIL" userId="4cc4c274-2099-4ec9-9ef7-59e8b8faf7f4" providerId="ADAL" clId="{EB72E307-3E65-47B0-B90E-F9F41A5CA2F7}" dt="2020-10-05T13:45:51.819" v="2238" actId="478"/>
          <ac:spMkLst>
            <pc:docMk/>
            <pc:sldMk cId="1053969278" sldId="7104"/>
            <ac:spMk id="64" creationId="{89923B42-8885-4F28-8A45-A720771B089A}"/>
          </ac:spMkLst>
        </pc:spChg>
        <pc:spChg chg="add del mod">
          <ac:chgData name="Adèle DUCURTIL" userId="4cc4c274-2099-4ec9-9ef7-59e8b8faf7f4" providerId="ADAL" clId="{EB72E307-3E65-47B0-B90E-F9F41A5CA2F7}" dt="2020-10-05T13:45:51.819" v="2238" actId="478"/>
          <ac:spMkLst>
            <pc:docMk/>
            <pc:sldMk cId="1053969278" sldId="7104"/>
            <ac:spMk id="65" creationId="{A40C212B-DEBD-4B9F-A21F-302DE3AC6513}"/>
          </ac:spMkLst>
        </pc:spChg>
        <pc:spChg chg="add mod">
          <ac:chgData name="Adèle DUCURTIL" userId="4cc4c274-2099-4ec9-9ef7-59e8b8faf7f4" providerId="ADAL" clId="{EB72E307-3E65-47B0-B90E-F9F41A5CA2F7}" dt="2020-10-05T13:46:49.643" v="2253" actId="208"/>
          <ac:spMkLst>
            <pc:docMk/>
            <pc:sldMk cId="1053969278" sldId="7104"/>
            <ac:spMk id="66" creationId="{17598A8D-F999-4800-940F-77F9E56E86D3}"/>
          </ac:spMkLst>
        </pc:spChg>
        <pc:spChg chg="mod">
          <ac:chgData name="Adèle DUCURTIL" userId="4cc4c274-2099-4ec9-9ef7-59e8b8faf7f4" providerId="ADAL" clId="{EB72E307-3E65-47B0-B90E-F9F41A5CA2F7}" dt="2020-10-05T13:47:01.042" v="2259" actId="404"/>
          <ac:spMkLst>
            <pc:docMk/>
            <pc:sldMk cId="1053969278" sldId="7104"/>
            <ac:spMk id="69" creationId="{C5206FD3-E1EA-48F2-8BD4-85DE5DE5342E}"/>
          </ac:spMkLst>
        </pc:spChg>
        <pc:spChg chg="mod">
          <ac:chgData name="Adèle DUCURTIL" userId="4cc4c274-2099-4ec9-9ef7-59e8b8faf7f4" providerId="ADAL" clId="{EB72E307-3E65-47B0-B90E-F9F41A5CA2F7}" dt="2020-10-05T13:50:35.009" v="2262" actId="1076"/>
          <ac:spMkLst>
            <pc:docMk/>
            <pc:sldMk cId="1053969278" sldId="7104"/>
            <ac:spMk id="70" creationId="{26FC4CC1-F9B3-4819-9ADF-F5D26B4BC5D2}"/>
          </ac:spMkLst>
        </pc:spChg>
        <pc:spChg chg="add mod">
          <ac:chgData name="Adèle DUCURTIL" userId="4cc4c274-2099-4ec9-9ef7-59e8b8faf7f4" providerId="ADAL" clId="{EB72E307-3E65-47B0-B90E-F9F41A5CA2F7}" dt="2020-10-05T13:47:05.723" v="2261" actId="571"/>
          <ac:spMkLst>
            <pc:docMk/>
            <pc:sldMk cId="1053969278" sldId="7104"/>
            <ac:spMk id="71" creationId="{7C2BE769-FBE1-4C16-967F-CC33D3A06AAE}"/>
          </ac:spMkLst>
        </pc:spChg>
        <pc:grpChg chg="add mod">
          <ac:chgData name="Adèle DUCURTIL" userId="4cc4c274-2099-4ec9-9ef7-59e8b8faf7f4" providerId="ADAL" clId="{EB72E307-3E65-47B0-B90E-F9F41A5CA2F7}" dt="2020-10-05T13:47:03.283" v="2260" actId="1076"/>
          <ac:grpSpMkLst>
            <pc:docMk/>
            <pc:sldMk cId="1053969278" sldId="7104"/>
            <ac:grpSpMk id="68" creationId="{E990477C-0AFA-417F-A73C-9E9521704C38}"/>
          </ac:grpSpMkLst>
        </pc:grpChg>
        <pc:graphicFrameChg chg="mod">
          <ac:chgData name="Adèle DUCURTIL" userId="4cc4c274-2099-4ec9-9ef7-59e8b8faf7f4" providerId="ADAL" clId="{EB72E307-3E65-47B0-B90E-F9F41A5CA2F7}" dt="2020-10-05T13:45:13.588" v="2225" actId="1076"/>
          <ac:graphicFrameMkLst>
            <pc:docMk/>
            <pc:sldMk cId="1053969278" sldId="7104"/>
            <ac:graphicFrameMk id="90" creationId="{80E50A01-A768-4112-A8AB-7E00B35426AD}"/>
          </ac:graphicFrameMkLst>
        </pc:graphicFrameChg>
        <pc:graphicFrameChg chg="modGraphic">
          <ac:chgData name="Adèle DUCURTIL" userId="4cc4c274-2099-4ec9-9ef7-59e8b8faf7f4" providerId="ADAL" clId="{EB72E307-3E65-47B0-B90E-F9F41A5CA2F7}" dt="2020-10-07T07:51:38.394" v="2281"/>
          <ac:graphicFrameMkLst>
            <pc:docMk/>
            <pc:sldMk cId="1053969278" sldId="7104"/>
            <ac:graphicFrameMk id="92" creationId="{A5E2EAAC-F1DB-4E02-BCD9-15F6F2418CC3}"/>
          </ac:graphicFrameMkLst>
        </pc:graphicFrameChg>
        <pc:cxnChg chg="add mod">
          <ac:chgData name="Adèle DUCURTIL" userId="4cc4c274-2099-4ec9-9ef7-59e8b8faf7f4" providerId="ADAL" clId="{EB72E307-3E65-47B0-B90E-F9F41A5CA2F7}" dt="2020-10-05T13:45:43.887" v="2235" actId="14100"/>
          <ac:cxnSpMkLst>
            <pc:docMk/>
            <pc:sldMk cId="1053969278" sldId="7104"/>
            <ac:cxnSpMk id="10" creationId="{6AEBEF61-856C-45A1-9EF2-F7469FFCF680}"/>
          </ac:cxnSpMkLst>
        </pc:cxnChg>
      </pc:sldChg>
      <pc:sldChg chg="add">
        <pc:chgData name="Adèle DUCURTIL" userId="4cc4c274-2099-4ec9-9ef7-59e8b8faf7f4" providerId="ADAL" clId="{EB72E307-3E65-47B0-B90E-F9F41A5CA2F7}" dt="2020-10-05T13:46:14.358" v="2240"/>
        <pc:sldMkLst>
          <pc:docMk/>
          <pc:sldMk cId="980345260" sldId="7105"/>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6.xml"/><Relationship Id="rId1" Type="http://schemas.microsoft.com/office/2011/relationships/chartStyle" Target="style26.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7.xml"/><Relationship Id="rId1" Type="http://schemas.microsoft.com/office/2011/relationships/chartStyle" Target="style27.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8.xml"/><Relationship Id="rId1" Type="http://schemas.microsoft.com/office/2011/relationships/chartStyle" Target="style28.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9.xml"/><Relationship Id="rId1" Type="http://schemas.microsoft.com/office/2011/relationships/chartStyle" Target="style29.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0.xml"/><Relationship Id="rId1" Type="http://schemas.microsoft.com/office/2011/relationships/chartStyle" Target="style30.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1.xml"/><Relationship Id="rId1" Type="http://schemas.microsoft.com/office/2011/relationships/chartStyle" Target="style3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2.xml"/><Relationship Id="rId1" Type="http://schemas.microsoft.com/office/2011/relationships/chartStyle" Target="style32.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3.xml"/><Relationship Id="rId1" Type="http://schemas.microsoft.com/office/2011/relationships/chartStyle" Target="style33.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4.xml"/><Relationship Id="rId1" Type="http://schemas.microsoft.com/office/2011/relationships/chartStyle" Target="style34.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5.xml"/><Relationship Id="rId1" Type="http://schemas.microsoft.com/office/2011/relationships/chartStyle" Target="style3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6.xml"/><Relationship Id="rId1" Type="http://schemas.microsoft.com/office/2011/relationships/chartStyle" Target="style36.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7.xml"/><Relationship Id="rId1" Type="http://schemas.microsoft.com/office/2011/relationships/chartStyle" Target="style37.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8.xml"/><Relationship Id="rId1" Type="http://schemas.microsoft.com/office/2011/relationships/chartStyle" Target="style38.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9.xml"/><Relationship Id="rId1" Type="http://schemas.microsoft.com/office/2011/relationships/chartStyle" Target="style39.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0.xml"/><Relationship Id="rId1" Type="http://schemas.microsoft.com/office/2011/relationships/chartStyle" Target="style40.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1.xml"/><Relationship Id="rId1" Type="http://schemas.microsoft.com/office/2011/relationships/chartStyle" Target="style4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2.xml"/><Relationship Id="rId1" Type="http://schemas.microsoft.com/office/2011/relationships/chartStyle" Target="style42.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3.xml"/><Relationship Id="rId1" Type="http://schemas.microsoft.com/office/2011/relationships/chartStyle" Target="style43.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4.xml"/><Relationship Id="rId1" Type="http://schemas.microsoft.com/office/2011/relationships/chartStyle" Target="style44.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5.xml"/><Relationship Id="rId1" Type="http://schemas.microsoft.com/office/2011/relationships/chartStyle" Target="style45.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6.xml"/><Relationship Id="rId1" Type="http://schemas.microsoft.com/office/2011/relationships/chartStyle" Target="style46.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0.xml"/><Relationship Id="rId1" Type="http://schemas.microsoft.com/office/2011/relationships/chartStyle" Target="style50.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1.xml"/><Relationship Id="rId1" Type="http://schemas.microsoft.com/office/2011/relationships/chartStyle" Target="style51.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2.xml"/><Relationship Id="rId1" Type="http://schemas.microsoft.com/office/2011/relationships/chartStyle" Target="style52.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4.xml"/><Relationship Id="rId1" Type="http://schemas.microsoft.com/office/2011/relationships/chartStyle" Target="style54.xml"/><Relationship Id="rId4" Type="http://schemas.openxmlformats.org/officeDocument/2006/relationships/chartUserShapes" Target="../drawings/drawing1.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5.xml"/><Relationship Id="rId1" Type="http://schemas.microsoft.com/office/2011/relationships/chartStyle" Target="style55.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6.xml"/><Relationship Id="rId1" Type="http://schemas.microsoft.com/office/2011/relationships/chartStyle" Target="style56.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7.xml"/><Relationship Id="rId1" Type="http://schemas.microsoft.com/office/2011/relationships/chartStyle" Target="style57.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8.xml"/><Relationship Id="rId1" Type="http://schemas.microsoft.com/office/2011/relationships/chartStyle" Target="style58.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59.xml"/><Relationship Id="rId1" Type="http://schemas.microsoft.com/office/2011/relationships/chartStyle" Target="style59.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1.xml"/><Relationship Id="rId1" Type="http://schemas.microsoft.com/office/2011/relationships/chartStyle" Target="style61.xml"/><Relationship Id="rId4" Type="http://schemas.openxmlformats.org/officeDocument/2006/relationships/chartUserShapes" Target="../drawings/drawing2.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2.xml"/><Relationship Id="rId1" Type="http://schemas.microsoft.com/office/2011/relationships/chartStyle" Target="style62.xml"/><Relationship Id="rId4" Type="http://schemas.openxmlformats.org/officeDocument/2006/relationships/chartUserShapes" Target="../drawings/drawing3.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3.xml"/><Relationship Id="rId1" Type="http://schemas.microsoft.com/office/2011/relationships/chartStyle" Target="style63.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4.xml"/><Relationship Id="rId1" Type="http://schemas.microsoft.com/office/2011/relationships/chartStyle" Target="style64.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6.xml"/><Relationship Id="rId1" Type="http://schemas.microsoft.com/office/2011/relationships/chartStyle" Target="style66.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7.xml"/><Relationship Id="rId1" Type="http://schemas.microsoft.com/office/2011/relationships/chartStyle" Target="style67.xml"/><Relationship Id="rId4" Type="http://schemas.openxmlformats.org/officeDocument/2006/relationships/chartUserShapes" Target="../drawings/drawing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8.xml"/><Relationship Id="rId1" Type="http://schemas.microsoft.com/office/2011/relationships/chartStyle" Target="style68.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69.xml"/><Relationship Id="rId1" Type="http://schemas.microsoft.com/office/2011/relationships/chartStyle" Target="style69.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0.xml"/><Relationship Id="rId1" Type="http://schemas.microsoft.com/office/2011/relationships/chartStyle" Target="style70.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1.xml"/><Relationship Id="rId1" Type="http://schemas.microsoft.com/office/2011/relationships/chartStyle" Target="style71.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2.xml"/><Relationship Id="rId1" Type="http://schemas.microsoft.com/office/2011/relationships/chartStyle" Target="style72.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3.xml"/><Relationship Id="rId1" Type="http://schemas.microsoft.com/office/2011/relationships/chartStyle" Target="style73.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4.xml"/><Relationship Id="rId1" Type="http://schemas.microsoft.com/office/2011/relationships/chartStyle" Target="style74.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5.xml"/><Relationship Id="rId1" Type="http://schemas.microsoft.com/office/2011/relationships/chartStyle" Target="style75.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6.xml"/><Relationship Id="rId1" Type="http://schemas.microsoft.com/office/2011/relationships/chartStyle" Target="style76.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77.xml"/><Relationship Id="rId1" Type="http://schemas.microsoft.com/office/2011/relationships/chartStyle" Target="style77.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78.xml"/><Relationship Id="rId1" Type="http://schemas.microsoft.com/office/2011/relationships/chartStyle" Target="style78.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79.xml"/><Relationship Id="rId1" Type="http://schemas.microsoft.com/office/2011/relationships/chartStyle" Target="style79.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80.xml"/><Relationship Id="rId1" Type="http://schemas.microsoft.com/office/2011/relationships/chartStyle" Target="style80.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81.xml"/><Relationship Id="rId1" Type="http://schemas.microsoft.com/office/2011/relationships/chartStyle" Target="style81.xml"/><Relationship Id="rId4" Type="http://schemas.openxmlformats.org/officeDocument/2006/relationships/chartUserShapes" Target="../drawings/drawing5.xml"/></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86.xlsx"/><Relationship Id="rId2" Type="http://schemas.microsoft.com/office/2011/relationships/chartColorStyle" Target="colors85.xml"/><Relationship Id="rId1" Type="http://schemas.microsoft.com/office/2011/relationships/chartStyle" Target="style85.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87.xlsx"/><Relationship Id="rId2" Type="http://schemas.microsoft.com/office/2011/relationships/chartColorStyle" Target="colors86.xml"/><Relationship Id="rId1" Type="http://schemas.microsoft.com/office/2011/relationships/chartStyle" Target="style86.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88.xlsx"/><Relationship Id="rId2" Type="http://schemas.microsoft.com/office/2011/relationships/chartColorStyle" Target="colors87.xml"/><Relationship Id="rId1" Type="http://schemas.microsoft.com/office/2011/relationships/chartStyle" Target="style87.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89.xlsx"/><Relationship Id="rId2" Type="http://schemas.microsoft.com/office/2011/relationships/chartColorStyle" Target="colors88.xml"/><Relationship Id="rId1" Type="http://schemas.microsoft.com/office/2011/relationships/chartStyle" Target="style88.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90.xlsx"/><Relationship Id="rId2" Type="http://schemas.microsoft.com/office/2011/relationships/chartColorStyle" Target="colors89.xml"/><Relationship Id="rId1" Type="http://schemas.microsoft.com/office/2011/relationships/chartStyle" Target="style89.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91.xlsx"/><Relationship Id="rId2" Type="http://schemas.microsoft.com/office/2011/relationships/chartColorStyle" Target="colors90.xml"/><Relationship Id="rId1" Type="http://schemas.microsoft.com/office/2011/relationships/chartStyle" Target="style90.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92.xlsx"/><Relationship Id="rId2" Type="http://schemas.microsoft.com/office/2011/relationships/chartColorStyle" Target="colors91.xml"/><Relationship Id="rId1" Type="http://schemas.microsoft.com/office/2011/relationships/chartStyle" Target="style91.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93.xlsx"/><Relationship Id="rId2" Type="http://schemas.microsoft.com/office/2011/relationships/chartColorStyle" Target="colors92.xml"/><Relationship Id="rId1" Type="http://schemas.microsoft.com/office/2011/relationships/chartStyle" Target="style92.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94.xlsx"/><Relationship Id="rId2" Type="http://schemas.microsoft.com/office/2011/relationships/chartColorStyle" Target="colors93.xml"/><Relationship Id="rId1" Type="http://schemas.microsoft.com/office/2011/relationships/chartStyle" Target="style93.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95.xlsx"/><Relationship Id="rId2" Type="http://schemas.microsoft.com/office/2011/relationships/chartColorStyle" Target="colors94.xml"/><Relationship Id="rId1" Type="http://schemas.microsoft.com/office/2011/relationships/chartStyle" Target="style9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87.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5.xml"/><Relationship Id="rId1" Type="http://schemas.microsoft.com/office/2011/relationships/chartStyle" Target="style95.xml"/></Relationships>
</file>

<file path=ppt/charts/_rels/chart88.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96.xml"/><Relationship Id="rId1" Type="http://schemas.microsoft.com/office/2011/relationships/chartStyle" Target="style96.xml"/><Relationship Id="rId4" Type="http://schemas.openxmlformats.org/officeDocument/2006/relationships/chartUserShapes" Target="../drawings/drawing6.xml"/></Relationships>
</file>

<file path=ppt/charts/_rels/chart89.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97.xml"/><Relationship Id="rId1" Type="http://schemas.microsoft.com/office/2011/relationships/chartStyle" Target="style9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92.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98.xml"/><Relationship Id="rId1" Type="http://schemas.microsoft.com/office/2011/relationships/chartStyle" Target="style98.xml"/></Relationships>
</file>

<file path=ppt/charts/_rels/chartEx1.xml.rels><?xml version="1.0" encoding="UTF-8" standalone="yes"?>
<Relationships xmlns="http://schemas.openxmlformats.org/package/2006/relationships"><Relationship Id="rId3" Type="http://schemas.microsoft.com/office/2011/relationships/chartColorStyle" Target="colors10.xml"/><Relationship Id="rId2" Type="http://schemas.microsoft.com/office/2011/relationships/chartStyle" Target="style10.xml"/><Relationship Id="rId1" Type="http://schemas.openxmlformats.org/officeDocument/2006/relationships/package" Target="../embeddings/Microsoft_Excel_Worksheet9.xlsx"/></Relationships>
</file>

<file path=ppt/charts/_rels/chartEx10.xml.rels><?xml version="1.0" encoding="UTF-8" standalone="yes"?>
<Relationships xmlns="http://schemas.openxmlformats.org/package/2006/relationships"><Relationship Id="rId3" Type="http://schemas.microsoft.com/office/2011/relationships/chartColorStyle" Target="colors82.xml"/><Relationship Id="rId2" Type="http://schemas.microsoft.com/office/2011/relationships/chartStyle" Target="style82.xml"/><Relationship Id="rId1" Type="http://schemas.openxmlformats.org/officeDocument/2006/relationships/package" Target="../embeddings/Microsoft_Excel_Worksheet82.xlsx"/></Relationships>
</file>

<file path=ppt/charts/_rels/chartEx11.xml.rels><?xml version="1.0" encoding="UTF-8" standalone="yes"?>
<Relationships xmlns="http://schemas.openxmlformats.org/package/2006/relationships"><Relationship Id="rId3" Type="http://schemas.microsoft.com/office/2011/relationships/chartColorStyle" Target="colors83.xml"/><Relationship Id="rId2" Type="http://schemas.microsoft.com/office/2011/relationships/chartStyle" Target="style83.xml"/><Relationship Id="rId1" Type="http://schemas.openxmlformats.org/officeDocument/2006/relationships/package" Target="../embeddings/Microsoft_Excel_Worksheet83.xlsx"/></Relationships>
</file>

<file path=ppt/charts/_rels/chartEx12.xml.rels><?xml version="1.0" encoding="UTF-8" standalone="yes"?>
<Relationships xmlns="http://schemas.openxmlformats.org/package/2006/relationships"><Relationship Id="rId3" Type="http://schemas.microsoft.com/office/2011/relationships/chartColorStyle" Target="colors84.xml"/><Relationship Id="rId2" Type="http://schemas.microsoft.com/office/2011/relationships/chartStyle" Target="style84.xml"/><Relationship Id="rId1" Type="http://schemas.openxmlformats.org/officeDocument/2006/relationships/package" Target="../embeddings/Microsoft_Excel_Worksheet85.xlsx"/></Relationships>
</file>

<file path=ppt/charts/_rels/chartEx13.xml.rels><?xml version="1.0" encoding="UTF-8" standalone="yes"?>
<Relationships xmlns="http://schemas.openxmlformats.org/package/2006/relationships"><Relationship Id="rId3" Type="http://schemas.microsoft.com/office/2011/relationships/chartColorStyle" Target="colors99.xml"/><Relationship Id="rId2" Type="http://schemas.microsoft.com/office/2011/relationships/chartStyle" Target="style99.xml"/><Relationship Id="rId1" Type="http://schemas.openxmlformats.org/officeDocument/2006/relationships/package" Target="../embeddings/Microsoft_Excel_Worksheet104.xlsx"/></Relationships>
</file>

<file path=ppt/charts/_rels/chartEx2.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package" Target="../embeddings/Microsoft_Excel_Worksheet12.xlsx"/></Relationships>
</file>

<file path=ppt/charts/_rels/chartEx3.xml.rels><?xml version="1.0" encoding="UTF-8" standalone="yes"?>
<Relationships xmlns="http://schemas.openxmlformats.org/package/2006/relationships"><Relationship Id="rId3" Type="http://schemas.microsoft.com/office/2011/relationships/chartColorStyle" Target="colors18.xml"/><Relationship Id="rId2" Type="http://schemas.microsoft.com/office/2011/relationships/chartStyle" Target="style18.xml"/><Relationship Id="rId1" Type="http://schemas.openxmlformats.org/officeDocument/2006/relationships/package" Target="../embeddings/Microsoft_Excel_Worksheet17.xlsx"/></Relationships>
</file>

<file path=ppt/charts/_rels/chartEx4.xml.rels><?xml version="1.0" encoding="UTF-8" standalone="yes"?>
<Relationships xmlns="http://schemas.openxmlformats.org/package/2006/relationships"><Relationship Id="rId3" Type="http://schemas.microsoft.com/office/2011/relationships/chartColorStyle" Target="colors47.xml"/><Relationship Id="rId2" Type="http://schemas.microsoft.com/office/2011/relationships/chartStyle" Target="style47.xml"/><Relationship Id="rId1" Type="http://schemas.openxmlformats.org/officeDocument/2006/relationships/package" Target="../embeddings/Microsoft_Excel_Worksheet47.xlsx"/></Relationships>
</file>

<file path=ppt/charts/_rels/chartEx5.xml.rels><?xml version="1.0" encoding="UTF-8" standalone="yes"?>
<Relationships xmlns="http://schemas.openxmlformats.org/package/2006/relationships"><Relationship Id="rId3" Type="http://schemas.microsoft.com/office/2011/relationships/chartColorStyle" Target="colors48.xml"/><Relationship Id="rId2" Type="http://schemas.microsoft.com/office/2011/relationships/chartStyle" Target="style48.xml"/><Relationship Id="rId1" Type="http://schemas.openxmlformats.org/officeDocument/2006/relationships/package" Target="../embeddings/Microsoft_Excel_Worksheet48.xlsx"/></Relationships>
</file>

<file path=ppt/charts/_rels/chartEx6.xml.rels><?xml version="1.0" encoding="UTF-8" standalone="yes"?>
<Relationships xmlns="http://schemas.openxmlformats.org/package/2006/relationships"><Relationship Id="rId3" Type="http://schemas.microsoft.com/office/2011/relationships/chartColorStyle" Target="colors49.xml"/><Relationship Id="rId2" Type="http://schemas.microsoft.com/office/2011/relationships/chartStyle" Target="style49.xml"/><Relationship Id="rId1" Type="http://schemas.openxmlformats.org/officeDocument/2006/relationships/package" Target="../embeddings/Microsoft_Excel_Worksheet49.xlsx"/></Relationships>
</file>

<file path=ppt/charts/_rels/chartEx7.xml.rels><?xml version="1.0" encoding="UTF-8" standalone="yes"?>
<Relationships xmlns="http://schemas.openxmlformats.org/package/2006/relationships"><Relationship Id="rId3" Type="http://schemas.microsoft.com/office/2011/relationships/chartColorStyle" Target="colors53.xml"/><Relationship Id="rId2" Type="http://schemas.microsoft.com/office/2011/relationships/chartStyle" Target="style53.xml"/><Relationship Id="rId1" Type="http://schemas.openxmlformats.org/officeDocument/2006/relationships/package" Target="../embeddings/Microsoft_Excel_Worksheet53.xlsx"/></Relationships>
</file>

<file path=ppt/charts/_rels/chartEx8.xml.rels><?xml version="1.0" encoding="UTF-8" standalone="yes"?>
<Relationships xmlns="http://schemas.openxmlformats.org/package/2006/relationships"><Relationship Id="rId3" Type="http://schemas.microsoft.com/office/2011/relationships/chartColorStyle" Target="colors60.xml"/><Relationship Id="rId2" Type="http://schemas.microsoft.com/office/2011/relationships/chartStyle" Target="style60.xml"/><Relationship Id="rId1" Type="http://schemas.openxmlformats.org/officeDocument/2006/relationships/package" Target="../embeddings/Microsoft_Excel_Worksheet60.xlsx"/></Relationships>
</file>

<file path=ppt/charts/_rels/chartEx9.xml.rels><?xml version="1.0" encoding="UTF-8" standalone="yes"?>
<Relationships xmlns="http://schemas.openxmlformats.org/package/2006/relationships"><Relationship Id="rId3" Type="http://schemas.microsoft.com/office/2011/relationships/chartColorStyle" Target="colors65.xml"/><Relationship Id="rId2" Type="http://schemas.microsoft.com/office/2011/relationships/chartStyle" Target="style65.xml"/><Relationship Id="rId1" Type="http://schemas.openxmlformats.org/officeDocument/2006/relationships/package" Target="../embeddings/Microsoft_Excel_Worksheet6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42906793502533"/>
          <c:y val="0.14369532046624547"/>
          <c:w val="0.47373283760160267"/>
          <c:h val="0.66965768871537867"/>
        </c:manualLayout>
      </c:layout>
      <c:pieChart>
        <c:varyColors val="1"/>
        <c:ser>
          <c:idx val="0"/>
          <c:order val="0"/>
          <c:tx>
            <c:strRef>
              <c:f>Feuil1!$B$1</c:f>
              <c:strCache>
                <c:ptCount val="1"/>
                <c:pt idx="0">
                  <c:v>2019 Revenue</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7F16-4EDE-A72B-5086E8246301}"/>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7F16-4EDE-A72B-5086E8246301}"/>
              </c:ext>
            </c:extLst>
          </c:dPt>
          <c:dPt>
            <c:idx val="2"/>
            <c:bubble3D val="0"/>
            <c:spPr>
              <a:solidFill>
                <a:schemeClr val="bg2"/>
              </a:solidFill>
              <a:ln w="19050">
                <a:solidFill>
                  <a:schemeClr val="lt1"/>
                </a:solidFill>
              </a:ln>
              <a:effectLst/>
            </c:spPr>
            <c:extLst>
              <c:ext xmlns:c16="http://schemas.microsoft.com/office/drawing/2014/chart" uri="{C3380CC4-5D6E-409C-BE32-E72D297353CC}">
                <c16:uniqueId val="{00000005-7F16-4EDE-A72B-5086E8246301}"/>
              </c:ext>
            </c:extLst>
          </c:dPt>
          <c:dPt>
            <c:idx val="3"/>
            <c:bubble3D val="0"/>
            <c:spPr>
              <a:solidFill>
                <a:schemeClr val="bg2">
                  <a:lumMod val="40000"/>
                  <a:lumOff val="60000"/>
                </a:schemeClr>
              </a:solidFill>
              <a:ln w="19050">
                <a:solidFill>
                  <a:schemeClr val="lt1"/>
                </a:solidFill>
              </a:ln>
              <a:effectLst/>
            </c:spPr>
            <c:extLst>
              <c:ext xmlns:c16="http://schemas.microsoft.com/office/drawing/2014/chart" uri="{C3380CC4-5D6E-409C-BE32-E72D297353CC}">
                <c16:uniqueId val="{00000007-7F16-4EDE-A72B-5086E8246301}"/>
              </c:ext>
            </c:extLst>
          </c:dPt>
          <c:dPt>
            <c:idx val="4"/>
            <c:bubble3D val="0"/>
            <c:spPr>
              <a:solidFill>
                <a:schemeClr val="tx1"/>
              </a:solidFill>
              <a:ln w="19050">
                <a:solidFill>
                  <a:schemeClr val="lt1"/>
                </a:solidFill>
              </a:ln>
              <a:effectLst/>
            </c:spPr>
            <c:extLst>
              <c:ext xmlns:c16="http://schemas.microsoft.com/office/drawing/2014/chart" uri="{C3380CC4-5D6E-409C-BE32-E72D297353CC}">
                <c16:uniqueId val="{00000009-7F16-4EDE-A72B-5086E8246301}"/>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7F16-4EDE-A72B-5086E8246301}"/>
              </c:ext>
            </c:extLst>
          </c:dPt>
          <c:dLbls>
            <c:dLbl>
              <c:idx val="0"/>
              <c:layout>
                <c:manualLayout>
                  <c:x val="9.6219487297273157E-2"/>
                  <c:y val="4.6171918288111014E-2"/>
                </c:manualLayout>
              </c:layout>
              <c:tx>
                <c:rich>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fld id="{8BF4B4DB-190B-4D58-831C-004B0493B9CB}" type="VALUE">
                      <a:rPr lang="en-US" sz="900" b="1"/>
                      <a:pPr>
                        <a:defRPr sz="900">
                          <a:solidFill>
                            <a:schemeClr val="bg1"/>
                          </a:solidFill>
                        </a:defRPr>
                      </a:pPr>
                      <a:t>[VALUE]</a:t>
                    </a:fld>
                    <a:endParaRPr lang="en-US" sz="900" b="1" baseline="0"/>
                  </a:p>
                  <a:p>
                    <a:pPr>
                      <a:defRPr sz="900">
                        <a:solidFill>
                          <a:schemeClr val="bg1"/>
                        </a:solidFill>
                      </a:defRPr>
                    </a:pPr>
                    <a:fld id="{A8BC20E2-8F4A-452D-919D-919ED6F85C77}" type="PERCENTAGE">
                      <a:rPr lang="en-US" sz="900"/>
                      <a:pPr>
                        <a:defRPr sz="900">
                          <a:solidFill>
                            <a:schemeClr val="bg1"/>
                          </a:solidFill>
                        </a:defRPr>
                      </a:pPr>
                      <a:t>[PERCENTAGE]</a:t>
                    </a:fld>
                    <a:endParaRPr lang="fr-FR"/>
                  </a:p>
                </c:rich>
              </c:tx>
              <c:numFmt formatCode="General"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bestFit"/>
              <c:showLegendKey val="0"/>
              <c:showVal val="1"/>
              <c:showCatName val="0"/>
              <c:showSerName val="0"/>
              <c:showPercent val="1"/>
              <c:showBubbleSize val="0"/>
              <c:separator>
</c:separator>
              <c:extLst>
                <c:ext xmlns:c15="http://schemas.microsoft.com/office/drawing/2012/chart" uri="{CE6537A1-D6FC-4f65-9D91-7224C49458BB}">
                  <c15:layout>
                    <c:manualLayout>
                      <c:w val="0.24434685589965419"/>
                      <c:h val="0.24697210452474991"/>
                    </c:manualLayout>
                  </c15:layout>
                  <c15:dlblFieldTable/>
                  <c15:showDataLabelsRange val="0"/>
                </c:ext>
                <c:ext xmlns:c16="http://schemas.microsoft.com/office/drawing/2014/chart" uri="{C3380CC4-5D6E-409C-BE32-E72D297353CC}">
                  <c16:uniqueId val="{00000001-7F16-4EDE-A72B-5086E8246301}"/>
                </c:ext>
              </c:extLst>
            </c:dLbl>
            <c:dLbl>
              <c:idx val="1"/>
              <c:layout>
                <c:manualLayout>
                  <c:x val="-0.27853009480789603"/>
                  <c:y val="1.8067885058624521E-2"/>
                </c:manualLayout>
              </c:layout>
              <c:dLblPos val="bestFit"/>
              <c:showLegendKey val="0"/>
              <c:showVal val="1"/>
              <c:showCatName val="0"/>
              <c:showSerName val="0"/>
              <c:showPercent val="1"/>
              <c:showBubbleSize val="0"/>
              <c:separator>
</c:separator>
              <c:extLst>
                <c:ext xmlns:c15="http://schemas.microsoft.com/office/drawing/2012/chart" uri="{CE6537A1-D6FC-4f65-9D91-7224C49458BB}">
                  <c15:layout>
                    <c:manualLayout>
                      <c:w val="0.28232823246436728"/>
                      <c:h val="0.17180668140852168"/>
                    </c:manualLayout>
                  </c15:layout>
                </c:ext>
                <c:ext xmlns:c16="http://schemas.microsoft.com/office/drawing/2014/chart" uri="{C3380CC4-5D6E-409C-BE32-E72D297353CC}">
                  <c16:uniqueId val="{00000003-7F16-4EDE-A72B-5086E8246301}"/>
                </c:ext>
              </c:extLst>
            </c:dLbl>
            <c:dLbl>
              <c:idx val="2"/>
              <c:layout>
                <c:manualLayout>
                  <c:x val="-4.026725632261588E-2"/>
                  <c:y val="-0.20269095444693339"/>
                </c:manualLayout>
              </c:layout>
              <c:dLblPos val="bestFit"/>
              <c:showLegendKey val="0"/>
              <c:showVal val="1"/>
              <c:showCatName val="0"/>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5-7F16-4EDE-A72B-5086E8246301}"/>
                </c:ext>
              </c:extLst>
            </c:dLbl>
            <c:dLbl>
              <c:idx val="3"/>
              <c:layout>
                <c:manualLayout>
                  <c:x val="6.9630305555243868E-2"/>
                  <c:y val="3.8036144472133215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fr-FR"/>
                </a:p>
              </c:txPr>
              <c:dLblPos val="bestFi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7F16-4EDE-A72B-5086E8246301}"/>
                </c:ext>
              </c:extLst>
            </c:dLbl>
            <c:dLbl>
              <c:idx val="4"/>
              <c:layout>
                <c:manualLayout>
                  <c:x val="-5.2778020089469115E-2"/>
                  <c:y val="-2.4301431688544366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fr-FR"/>
                </a:p>
              </c:txPr>
              <c:dLblPos val="bestFit"/>
              <c:showLegendKey val="0"/>
              <c:showVal val="1"/>
              <c:showCatName val="0"/>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9-7F16-4EDE-A72B-5086E824630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bestFit"/>
            <c:showLegendKey val="0"/>
            <c:showVal val="1"/>
            <c:showCatName val="0"/>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6</c:f>
              <c:strCache>
                <c:ptCount val="5"/>
                <c:pt idx="0">
                  <c:v>France (incl. Manageo)</c:v>
                </c:pt>
                <c:pt idx="1">
                  <c:v>Benelux</c:v>
                </c:pt>
                <c:pt idx="2">
                  <c:v>DBI/WNN</c:v>
                </c:pt>
                <c:pt idx="3">
                  <c:v>Maghreb</c:v>
                </c:pt>
                <c:pt idx="4">
                  <c:v>Interco elim.</c:v>
                </c:pt>
              </c:strCache>
            </c:strRef>
          </c:cat>
          <c:val>
            <c:numRef>
              <c:f>Feuil1!$B$2:$B$6</c:f>
              <c:numCache>
                <c:formatCode>#,##0.0</c:formatCode>
                <c:ptCount val="5"/>
                <c:pt idx="0">
                  <c:v>49.5</c:v>
                </c:pt>
                <c:pt idx="1">
                  <c:v>46.3</c:v>
                </c:pt>
                <c:pt idx="2">
                  <c:v>20.7</c:v>
                </c:pt>
                <c:pt idx="3">
                  <c:v>1.359</c:v>
                </c:pt>
                <c:pt idx="4">
                  <c:v>-2.2999999999999998</c:v>
                </c:pt>
              </c:numCache>
            </c:numRef>
          </c:val>
          <c:extLst>
            <c:ext xmlns:c16="http://schemas.microsoft.com/office/drawing/2014/chart" uri="{C3380CC4-5D6E-409C-BE32-E72D297353CC}">
              <c16:uniqueId val="{0000000C-7F16-4EDE-A72B-5086E8246301}"/>
            </c:ext>
          </c:extLst>
        </c:ser>
        <c:dLbls>
          <c:dLblPos val="bestFit"/>
          <c:showLegendKey val="0"/>
          <c:showVal val="1"/>
          <c:showCatName val="0"/>
          <c:showSerName val="0"/>
          <c:showPercent val="0"/>
          <c:showBubbleSize val="0"/>
          <c:showLeaderLines val="1"/>
        </c:dLbls>
        <c:firstSliceAng val="213"/>
      </c:pieChart>
      <c:spPr>
        <a:noFill/>
        <a:ln>
          <a:noFill/>
        </a:ln>
        <a:effectLst/>
      </c:spPr>
    </c:plotArea>
    <c:legend>
      <c:legendPos val="r"/>
      <c:layout>
        <c:manualLayout>
          <c:xMode val="edge"/>
          <c:yMode val="edge"/>
          <c:x val="0.65014068062626806"/>
          <c:y val="0.1289286934396969"/>
          <c:w val="0.32960258520588492"/>
          <c:h val="0.4607106031630171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85552230615551"/>
          <c:y val="8.7713686405878025E-2"/>
          <c:w val="0.81503955025437902"/>
          <c:h val="0.81392522223479324"/>
        </c:manualLayout>
      </c:layout>
      <c:barChart>
        <c:barDir val="col"/>
        <c:grouping val="stacked"/>
        <c:varyColors val="0"/>
        <c:ser>
          <c:idx val="0"/>
          <c:order val="0"/>
          <c:tx>
            <c:strRef>
              <c:f>Sheet1!$B$1</c:f>
              <c:strCache>
                <c:ptCount val="1"/>
                <c:pt idx="0">
                  <c:v>&lt;2017</c:v>
                </c:pt>
              </c:strCache>
            </c:strRef>
          </c:tx>
          <c:spPr>
            <a:solidFill>
              <a:schemeClr val="bg2">
                <a:lumMod val="50000"/>
              </a:schemeClr>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General</c:formatCode>
                <c:ptCount val="4"/>
                <c:pt idx="0">
                  <c:v>36348936.240000017</c:v>
                </c:pt>
                <c:pt idx="1">
                  <c:v>36264966.290000111</c:v>
                </c:pt>
                <c:pt idx="2">
                  <c:v>35918036.899999976</c:v>
                </c:pt>
                <c:pt idx="3">
                  <c:v>35991914.850000001</c:v>
                </c:pt>
              </c:numCache>
            </c:numRef>
          </c:val>
          <c:extLst>
            <c:ext xmlns:c16="http://schemas.microsoft.com/office/drawing/2014/chart" uri="{C3380CC4-5D6E-409C-BE32-E72D297353CC}">
              <c16:uniqueId val="{00000000-5539-4190-922B-122B0E4B9F43}"/>
            </c:ext>
          </c:extLst>
        </c:ser>
        <c:ser>
          <c:idx val="1"/>
          <c:order val="1"/>
          <c:tx>
            <c:strRef>
              <c:f>Sheet1!$C$1</c:f>
              <c:strCache>
                <c:ptCount val="1"/>
                <c:pt idx="0">
                  <c:v>2017</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5539-4190-922B-122B0E4B9F43}"/>
                </c:ext>
              </c:extLst>
            </c:dLbl>
            <c:dLbl>
              <c:idx val="1"/>
              <c:layout>
                <c:manualLayout>
                  <c:x val="-0.10531489681854031"/>
                  <c:y val="6.9001929752903424E-2"/>
                </c:manualLayout>
              </c:layout>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539-4190-922B-122B0E4B9F43}"/>
                </c:ext>
              </c:extLst>
            </c:dLbl>
            <c:dLbl>
              <c:idx val="2"/>
              <c:layout>
                <c:manualLayout>
                  <c:x val="-0.10212353630888757"/>
                  <c:y val="5.6825118620038112E-2"/>
                </c:manualLayout>
              </c:layout>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539-4190-922B-122B0E4B9F43}"/>
                </c:ext>
              </c:extLst>
            </c:dLbl>
            <c:dLbl>
              <c:idx val="3"/>
              <c:layout>
                <c:manualLayout>
                  <c:x val="0"/>
                  <c:y val="5.27661815757496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539-4190-922B-122B0E4B9F4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General</c:formatCode>
                <c:ptCount val="4"/>
                <c:pt idx="0">
                  <c:v>0</c:v>
                </c:pt>
                <c:pt idx="1">
                  <c:v>627442.1100000001</c:v>
                </c:pt>
                <c:pt idx="2">
                  <c:v>674456</c:v>
                </c:pt>
                <c:pt idx="3">
                  <c:v>587421.58999999973</c:v>
                </c:pt>
              </c:numCache>
            </c:numRef>
          </c:val>
          <c:extLst>
            <c:ext xmlns:c16="http://schemas.microsoft.com/office/drawing/2014/chart" uri="{C3380CC4-5D6E-409C-BE32-E72D297353CC}">
              <c16:uniqueId val="{00000005-5539-4190-922B-122B0E4B9F43}"/>
            </c:ext>
          </c:extLst>
        </c:ser>
        <c:ser>
          <c:idx val="2"/>
          <c:order val="2"/>
          <c:tx>
            <c:strRef>
              <c:f>Sheet1!$D$1</c:f>
              <c:strCache>
                <c:ptCount val="1"/>
                <c:pt idx="0">
                  <c:v>2018</c:v>
                </c:pt>
              </c:strCache>
            </c:strRef>
          </c:tx>
          <c:spPr>
            <a:solidFill>
              <a:schemeClr val="bg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6-5539-4190-922B-122B0E4B9F43}"/>
                </c:ext>
              </c:extLst>
            </c:dLbl>
            <c:dLbl>
              <c:idx val="1"/>
              <c:delete val="1"/>
              <c:extLst>
                <c:ext xmlns:c15="http://schemas.microsoft.com/office/drawing/2012/chart" uri="{CE6537A1-D6FC-4f65-9D91-7224C49458BB}"/>
                <c:ext xmlns:c16="http://schemas.microsoft.com/office/drawing/2014/chart" uri="{C3380CC4-5D6E-409C-BE32-E72D297353CC}">
                  <c16:uniqueId val="{00000007-5539-4190-922B-122B0E4B9F43}"/>
                </c:ext>
              </c:extLst>
            </c:dLbl>
            <c:dLbl>
              <c:idx val="2"/>
              <c:layout>
                <c:manualLayout>
                  <c:x val="9.5740815289582046E-2"/>
                  <c:y val="8.523767793005712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539-4190-922B-122B0E4B9F43}"/>
                </c:ext>
              </c:extLst>
            </c:dLbl>
            <c:dLbl>
              <c:idx val="3"/>
              <c:layout>
                <c:manualLayout>
                  <c:x val="9.3502842321159421E-2"/>
                  <c:y val="-6.4942832907943948E-2"/>
                </c:manualLayout>
              </c:layout>
              <c:numFmt formatCode="#,##0.00" sourceLinked="0"/>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layout>
                    <c:manualLayout>
                      <c:w val="8.6964573888037022E-2"/>
                      <c:h val="6.3360007261342485E-2"/>
                    </c:manualLayout>
                  </c15:layout>
                </c:ext>
                <c:ext xmlns:c16="http://schemas.microsoft.com/office/drawing/2014/chart" uri="{C3380CC4-5D6E-409C-BE32-E72D297353CC}">
                  <c16:uniqueId val="{00000009-5539-4190-922B-122B0E4B9F4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D$2:$D$5</c:f>
              <c:numCache>
                <c:formatCode>General</c:formatCode>
                <c:ptCount val="4"/>
                <c:pt idx="0">
                  <c:v>0</c:v>
                </c:pt>
                <c:pt idx="1">
                  <c:v>0</c:v>
                </c:pt>
                <c:pt idx="2">
                  <c:v>762034.17999999993</c:v>
                </c:pt>
                <c:pt idx="3">
                  <c:v>851609.98999999964</c:v>
                </c:pt>
              </c:numCache>
            </c:numRef>
          </c:val>
          <c:extLst>
            <c:ext xmlns:c16="http://schemas.microsoft.com/office/drawing/2014/chart" uri="{C3380CC4-5D6E-409C-BE32-E72D297353CC}">
              <c16:uniqueId val="{0000000A-5539-4190-922B-122B0E4B9F43}"/>
            </c:ext>
          </c:extLst>
        </c:ser>
        <c:ser>
          <c:idx val="3"/>
          <c:order val="3"/>
          <c:tx>
            <c:strRef>
              <c:f>Sheet1!$E$1</c:f>
              <c:strCache>
                <c:ptCount val="1"/>
                <c:pt idx="0">
                  <c:v>2019</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B-5539-4190-922B-122B0E4B9F43}"/>
                </c:ext>
              </c:extLst>
            </c:dLbl>
            <c:dLbl>
              <c:idx val="1"/>
              <c:delete val="1"/>
              <c:extLst>
                <c:ext xmlns:c15="http://schemas.microsoft.com/office/drawing/2012/chart" uri="{CE6537A1-D6FC-4f65-9D91-7224C49458BB}"/>
                <c:ext xmlns:c16="http://schemas.microsoft.com/office/drawing/2014/chart" uri="{C3380CC4-5D6E-409C-BE32-E72D297353CC}">
                  <c16:uniqueId val="{0000000C-5539-4190-922B-122B0E4B9F43}"/>
                </c:ext>
              </c:extLst>
            </c:dLbl>
            <c:dLbl>
              <c:idx val="2"/>
              <c:delete val="1"/>
              <c:extLst>
                <c:ext xmlns:c15="http://schemas.microsoft.com/office/drawing/2012/chart" uri="{CE6537A1-D6FC-4f65-9D91-7224C49458BB}"/>
                <c:ext xmlns:c16="http://schemas.microsoft.com/office/drawing/2014/chart" uri="{C3380CC4-5D6E-409C-BE32-E72D297353CC}">
                  <c16:uniqueId val="{0000000D-5539-4190-922B-122B0E4B9F4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E$2:$E$5</c:f>
              <c:numCache>
                <c:formatCode>General</c:formatCode>
                <c:ptCount val="4"/>
                <c:pt idx="0">
                  <c:v>0</c:v>
                </c:pt>
                <c:pt idx="1">
                  <c:v>0</c:v>
                </c:pt>
                <c:pt idx="2">
                  <c:v>0</c:v>
                </c:pt>
                <c:pt idx="3">
                  <c:v>1762573.37</c:v>
                </c:pt>
              </c:numCache>
            </c:numRef>
          </c:val>
          <c:extLst>
            <c:ext xmlns:c16="http://schemas.microsoft.com/office/drawing/2014/chart" uri="{C3380CC4-5D6E-409C-BE32-E72D297353CC}">
              <c16:uniqueId val="{0000000E-5539-4190-922B-122B0E4B9F43}"/>
            </c:ext>
          </c:extLst>
        </c:ser>
        <c:dLbls>
          <c:showLegendKey val="0"/>
          <c:showVal val="1"/>
          <c:showCatName val="0"/>
          <c:showSerName val="0"/>
          <c:showPercent val="0"/>
          <c:showBubbleSize val="0"/>
        </c:dLbls>
        <c:gapWidth val="50"/>
        <c:overlap val="100"/>
        <c:axId val="628186671"/>
        <c:axId val="309735119"/>
      </c:barChart>
      <c:lineChart>
        <c:grouping val="standard"/>
        <c:varyColors val="0"/>
        <c:ser>
          <c:idx val="4"/>
          <c:order val="4"/>
          <c:tx>
            <c:strRef>
              <c:f>Sheet1!$F$1</c:f>
              <c:strCache>
                <c:ptCount val="1"/>
                <c:pt idx="0">
                  <c:v>Total</c:v>
                </c:pt>
              </c:strCache>
            </c:strRef>
          </c:tx>
          <c:spPr>
            <a:ln w="19050" cap="rnd">
              <a:solidFill>
                <a:schemeClr val="accent1">
                  <a:lumMod val="75000"/>
                </a:schemeClr>
              </a:solidFill>
              <a:round/>
            </a:ln>
            <a:effectLst/>
          </c:spPr>
          <c:marker>
            <c:symbol val="none"/>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lumMod val="7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F$2:$F$5</c:f>
              <c:numCache>
                <c:formatCode>General</c:formatCode>
                <c:ptCount val="4"/>
                <c:pt idx="0">
                  <c:v>36348936.240000017</c:v>
                </c:pt>
                <c:pt idx="1">
                  <c:v>36892408.40000011</c:v>
                </c:pt>
                <c:pt idx="2">
                  <c:v>37354527.079999976</c:v>
                </c:pt>
                <c:pt idx="3">
                  <c:v>39193519.799999997</c:v>
                </c:pt>
              </c:numCache>
            </c:numRef>
          </c:val>
          <c:smooth val="0"/>
          <c:extLst>
            <c:ext xmlns:c16="http://schemas.microsoft.com/office/drawing/2014/chart" uri="{C3380CC4-5D6E-409C-BE32-E72D297353CC}">
              <c16:uniqueId val="{0000000F-5539-4190-922B-122B0E4B9F43}"/>
            </c:ext>
          </c:extLst>
        </c:ser>
        <c:dLbls>
          <c:showLegendKey val="0"/>
          <c:showVal val="1"/>
          <c:showCatName val="0"/>
          <c:showSerName val="0"/>
          <c:showPercent val="0"/>
          <c:showBubbleSize val="0"/>
        </c:dLbls>
        <c:marker val="1"/>
        <c:smooth val="0"/>
        <c:axId val="275408176"/>
        <c:axId val="30972055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ax val="42000000"/>
          <c:min val="0"/>
        </c:scaling>
        <c:delete val="0"/>
        <c:axPos val="l"/>
        <c:majorGridlines>
          <c:spPr>
            <a:ln w="9525" cap="flat" cmpd="sng" algn="ctr">
              <a:solidFill>
                <a:schemeClr val="tx1">
                  <a:lumMod val="15000"/>
                  <a:lumOff val="85000"/>
                </a:schemeClr>
              </a:solidFill>
              <a:round/>
            </a:ln>
            <a:effectLst/>
          </c:spPr>
        </c:majorGridlines>
        <c:numFmt formatCode="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dispUnits>
          <c:builtInUnit val="millions"/>
        </c:dispUnits>
      </c:valAx>
      <c:valAx>
        <c:axId val="309720559"/>
        <c:scaling>
          <c:orientation val="minMax"/>
          <c:min val="0"/>
        </c:scaling>
        <c:delete val="1"/>
        <c:axPos val="r"/>
        <c:numFmt formatCode="0&quot;m€&quot;" sourceLinked="0"/>
        <c:majorTickMark val="out"/>
        <c:minorTickMark val="none"/>
        <c:tickLblPos val="nextTo"/>
        <c:crossAx val="275408176"/>
        <c:crosses val="max"/>
        <c:crossBetween val="between"/>
        <c:dispUnits>
          <c:builtInUnit val="millions"/>
        </c:dispUnits>
      </c:valAx>
      <c:catAx>
        <c:axId val="275408176"/>
        <c:scaling>
          <c:orientation val="minMax"/>
        </c:scaling>
        <c:delete val="1"/>
        <c:axPos val="b"/>
        <c:numFmt formatCode="General" sourceLinked="1"/>
        <c:majorTickMark val="out"/>
        <c:minorTickMark val="none"/>
        <c:tickLblPos val="nextTo"/>
        <c:crossAx val="309720559"/>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587321793610103"/>
          <c:y val="0.13278591379180191"/>
          <c:w val="0.2974006028407013"/>
          <c:h val="0.50826564505170979"/>
        </c:manualLayout>
      </c:layout>
      <c:pieChart>
        <c:varyColors val="1"/>
        <c:ser>
          <c:idx val="0"/>
          <c:order val="0"/>
          <c:tx>
            <c:strRef>
              <c:f>Sheet1!$B$1</c:f>
              <c:strCache>
                <c:ptCount val="1"/>
                <c:pt idx="0">
                  <c:v>Sales</c:v>
                </c:pt>
              </c:strCache>
            </c:strRef>
          </c:tx>
          <c:spPr>
            <a:ln>
              <a:noFill/>
            </a:ln>
          </c:spPr>
          <c:dPt>
            <c:idx val="0"/>
            <c:bubble3D val="0"/>
            <c:spPr>
              <a:solidFill>
                <a:schemeClr val="tx2"/>
              </a:solidFill>
              <a:ln w="19050">
                <a:noFill/>
              </a:ln>
              <a:effectLst/>
            </c:spPr>
            <c:extLst>
              <c:ext xmlns:c16="http://schemas.microsoft.com/office/drawing/2014/chart" uri="{C3380CC4-5D6E-409C-BE32-E72D297353CC}">
                <c16:uniqueId val="{00000001-2E90-45DA-8794-8FC8FD52936D}"/>
              </c:ext>
            </c:extLst>
          </c:dPt>
          <c:dPt>
            <c:idx val="1"/>
            <c:bubble3D val="0"/>
            <c:spPr>
              <a:solidFill>
                <a:schemeClr val="bg2">
                  <a:lumMod val="50000"/>
                </a:schemeClr>
              </a:solidFill>
              <a:ln w="19050">
                <a:noFill/>
              </a:ln>
              <a:effectLst/>
            </c:spPr>
            <c:extLst>
              <c:ext xmlns:c16="http://schemas.microsoft.com/office/drawing/2014/chart" uri="{C3380CC4-5D6E-409C-BE32-E72D297353CC}">
                <c16:uniqueId val="{00000003-2E90-45DA-8794-8FC8FD52936D}"/>
              </c:ext>
            </c:extLst>
          </c:dPt>
          <c:dPt>
            <c:idx val="2"/>
            <c:bubble3D val="0"/>
            <c:spPr>
              <a:solidFill>
                <a:schemeClr val="bg2">
                  <a:lumMod val="60000"/>
                  <a:lumOff val="40000"/>
                </a:schemeClr>
              </a:solidFill>
              <a:ln w="19050">
                <a:noFill/>
              </a:ln>
              <a:effectLst/>
            </c:spPr>
            <c:extLst>
              <c:ext xmlns:c16="http://schemas.microsoft.com/office/drawing/2014/chart" uri="{C3380CC4-5D6E-409C-BE32-E72D297353CC}">
                <c16:uniqueId val="{00000005-2E90-45DA-8794-8FC8FD52936D}"/>
              </c:ext>
            </c:extLst>
          </c:dPt>
          <c:dPt>
            <c:idx val="3"/>
            <c:bubble3D val="0"/>
            <c:spPr>
              <a:solidFill>
                <a:schemeClr val="bg1">
                  <a:lumMod val="85000"/>
                </a:schemeClr>
              </a:solidFill>
              <a:ln w="19050">
                <a:noFill/>
              </a:ln>
              <a:effectLst/>
            </c:spPr>
            <c:extLst>
              <c:ext xmlns:c16="http://schemas.microsoft.com/office/drawing/2014/chart" uri="{C3380CC4-5D6E-409C-BE32-E72D297353CC}">
                <c16:uniqueId val="{00000007-2E90-45DA-8794-8FC8FD52936D}"/>
              </c:ext>
            </c:extLst>
          </c:dPt>
          <c:dPt>
            <c:idx val="4"/>
            <c:bubble3D val="0"/>
            <c:spPr>
              <a:solidFill>
                <a:schemeClr val="bg1">
                  <a:lumMod val="65000"/>
                </a:schemeClr>
              </a:solidFill>
              <a:ln w="19050">
                <a:noFill/>
              </a:ln>
              <a:effectLst/>
            </c:spPr>
            <c:extLst>
              <c:ext xmlns:c16="http://schemas.microsoft.com/office/drawing/2014/chart" uri="{C3380CC4-5D6E-409C-BE32-E72D297353CC}">
                <c16:uniqueId val="{00000009-2E90-45DA-8794-8FC8FD52936D}"/>
              </c:ext>
            </c:extLst>
          </c:dPt>
          <c:dPt>
            <c:idx val="5"/>
            <c:bubble3D val="0"/>
            <c:spPr>
              <a:solidFill>
                <a:schemeClr val="accent1"/>
              </a:solidFill>
              <a:ln w="19050">
                <a:noFill/>
              </a:ln>
              <a:effectLst/>
            </c:spPr>
            <c:extLst>
              <c:ext xmlns:c16="http://schemas.microsoft.com/office/drawing/2014/chart" uri="{C3380CC4-5D6E-409C-BE32-E72D297353CC}">
                <c16:uniqueId val="{0000000B-2E90-45DA-8794-8FC8FD52936D}"/>
              </c:ext>
            </c:extLst>
          </c:dPt>
          <c:dPt>
            <c:idx val="6"/>
            <c:bubble3D val="0"/>
            <c:spPr>
              <a:solidFill>
                <a:schemeClr val="accent2"/>
              </a:solidFill>
              <a:ln w="19050">
                <a:noFill/>
              </a:ln>
              <a:effectLst/>
            </c:spPr>
            <c:extLst>
              <c:ext xmlns:c16="http://schemas.microsoft.com/office/drawing/2014/chart" uri="{C3380CC4-5D6E-409C-BE32-E72D297353CC}">
                <c16:uniqueId val="{0000000D-2E90-45DA-8794-8FC8FD52936D}"/>
              </c:ext>
            </c:extLst>
          </c:dPt>
          <c:dPt>
            <c:idx val="7"/>
            <c:bubble3D val="0"/>
            <c:spPr>
              <a:solidFill>
                <a:schemeClr val="accent1">
                  <a:lumMod val="75000"/>
                </a:schemeClr>
              </a:solidFill>
              <a:ln w="19050">
                <a:noFill/>
              </a:ln>
              <a:effectLst/>
            </c:spPr>
            <c:extLst>
              <c:ext xmlns:c16="http://schemas.microsoft.com/office/drawing/2014/chart" uri="{C3380CC4-5D6E-409C-BE32-E72D297353CC}">
                <c16:uniqueId val="{0000000F-2E90-45DA-8794-8FC8FD52936D}"/>
              </c:ext>
            </c:extLst>
          </c:dPt>
          <c:dPt>
            <c:idx val="8"/>
            <c:bubble3D val="0"/>
            <c:spPr>
              <a:solidFill>
                <a:schemeClr val="accent1">
                  <a:lumMod val="60000"/>
                  <a:lumOff val="40000"/>
                </a:schemeClr>
              </a:solidFill>
              <a:ln w="19050">
                <a:noFill/>
              </a:ln>
              <a:effectLst/>
            </c:spPr>
            <c:extLst>
              <c:ext xmlns:c16="http://schemas.microsoft.com/office/drawing/2014/chart" uri="{C3380CC4-5D6E-409C-BE32-E72D297353CC}">
                <c16:uniqueId val="{00000011-2E90-45DA-8794-8FC8FD52936D}"/>
              </c:ext>
            </c:extLst>
          </c:dPt>
          <c:dLbls>
            <c:dLbl>
              <c:idx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1-2E90-45DA-8794-8FC8FD52936D}"/>
                </c:ext>
              </c:extLst>
            </c:dLbl>
            <c:dLbl>
              <c:idx val="1"/>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3-2E90-45DA-8794-8FC8FD52936D}"/>
                </c:ext>
              </c:extLst>
            </c:dLbl>
            <c:dLbl>
              <c:idx val="5"/>
              <c:layout>
                <c:manualLayout>
                  <c:x val="7.33011535600641E-3"/>
                  <c:y val="3.3409972669089204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B-2E90-45DA-8794-8FC8FD52936D}"/>
                </c:ext>
              </c:extLst>
            </c:dLbl>
            <c:dLbl>
              <c:idx val="6"/>
              <c:layout>
                <c:manualLayout>
                  <c:x val="9.637588849213799E-3"/>
                  <c:y val="0"/>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D-2E90-45DA-8794-8FC8FD52936D}"/>
                </c:ext>
              </c:extLst>
            </c:dLbl>
            <c:dLbl>
              <c:idx val="7"/>
              <c:layout>
                <c:manualLayout>
                  <c:x val="1.4106110211011965E-2"/>
                  <c:y val="0"/>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F-2E90-45DA-8794-8FC8FD52936D}"/>
                </c:ext>
              </c:extLst>
            </c:dLbl>
            <c:dLbl>
              <c:idx val="8"/>
              <c:layout>
                <c:manualLayout>
                  <c:x val="5.4733810140515593E-2"/>
                  <c:y val="3.1235326621810921E-3"/>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11-2E90-45DA-8794-8FC8FD52936D}"/>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showLeaderLines val="1"/>
            <c:leaderLines>
              <c:spPr>
                <a:ln w="3175" cap="flat" cmpd="sng" algn="ctr">
                  <a:solidFill>
                    <a:schemeClr val="tx1"/>
                  </a:solidFill>
                  <a:round/>
                </a:ln>
                <a:effectLst/>
              </c:spPr>
            </c:leaderLines>
            <c:extLst>
              <c:ext xmlns:c15="http://schemas.microsoft.com/office/drawing/2012/chart" uri="{CE6537A1-D6FC-4f65-9D91-7224C49458BB}"/>
            </c:extLst>
          </c:dLbls>
          <c:cat>
            <c:strRef>
              <c:f>Sheet1!$A$2:$A$10</c:f>
              <c:strCache>
                <c:ptCount val="9"/>
                <c:pt idx="0">
                  <c:v>Services</c:v>
                </c:pt>
                <c:pt idx="1">
                  <c:v>Financial institutions</c:v>
                </c:pt>
                <c:pt idx="2">
                  <c:v>Industry</c:v>
                </c:pt>
                <c:pt idx="3">
                  <c:v>Public</c:v>
                </c:pt>
                <c:pt idx="4">
                  <c:v>Energy</c:v>
                </c:pt>
                <c:pt idx="5">
                  <c:v>Transportation</c:v>
                </c:pt>
                <c:pt idx="6">
                  <c:v>Construction</c:v>
                </c:pt>
                <c:pt idx="7">
                  <c:v>Legal</c:v>
                </c:pt>
                <c:pt idx="8">
                  <c:v>Telecom</c:v>
                </c:pt>
              </c:strCache>
            </c:strRef>
          </c:cat>
          <c:val>
            <c:numRef>
              <c:f>Sheet1!$B$2:$B$10</c:f>
              <c:numCache>
                <c:formatCode>General</c:formatCode>
                <c:ptCount val="9"/>
                <c:pt idx="0">
                  <c:v>13463218.779999999</c:v>
                </c:pt>
                <c:pt idx="1">
                  <c:v>10987551.609999999</c:v>
                </c:pt>
                <c:pt idx="2">
                  <c:v>4667115.7500000009</c:v>
                </c:pt>
                <c:pt idx="3">
                  <c:v>3024123.2</c:v>
                </c:pt>
                <c:pt idx="4">
                  <c:v>2700512.1800000016</c:v>
                </c:pt>
                <c:pt idx="5">
                  <c:v>1174041.9100000006</c:v>
                </c:pt>
                <c:pt idx="6">
                  <c:v>1094947.2600000002</c:v>
                </c:pt>
                <c:pt idx="7">
                  <c:v>697588.69999999984</c:v>
                </c:pt>
                <c:pt idx="8">
                  <c:v>332958.17</c:v>
                </c:pt>
              </c:numCache>
            </c:numRef>
          </c:val>
          <c:extLst>
            <c:ext xmlns:c16="http://schemas.microsoft.com/office/drawing/2014/chart" uri="{C3380CC4-5D6E-409C-BE32-E72D297353CC}">
              <c16:uniqueId val="{00000012-2E90-45DA-8794-8FC8FD52936D}"/>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70369571209232717"/>
          <c:y val="6.4612217595361107E-2"/>
          <c:w val="0.27947527946754963"/>
          <c:h val="0.6109830712341900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fr-FR"/>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640673369772458E-2"/>
          <c:y val="0.19231452041123148"/>
          <c:w val="0.54140285540209399"/>
          <c:h val="0.59353403912252889"/>
        </c:manualLayout>
      </c:layout>
      <c:pie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A5B1-471A-8AAB-BD5B179CC156}"/>
              </c:ext>
            </c:extLst>
          </c:dPt>
          <c:dPt>
            <c:idx val="1"/>
            <c:bubble3D val="0"/>
            <c:spPr>
              <a:solidFill>
                <a:schemeClr val="accent2"/>
              </a:solidFill>
              <a:ln w="19050">
                <a:noFill/>
              </a:ln>
              <a:effectLst/>
            </c:spPr>
            <c:extLst>
              <c:ext xmlns:c16="http://schemas.microsoft.com/office/drawing/2014/chart" uri="{C3380CC4-5D6E-409C-BE32-E72D297353CC}">
                <c16:uniqueId val="{00000003-A5B1-471A-8AAB-BD5B179CC156}"/>
              </c:ext>
            </c:extLst>
          </c:dPt>
          <c:dPt>
            <c:idx val="2"/>
            <c:bubble3D val="0"/>
            <c:spPr>
              <a:solidFill>
                <a:schemeClr val="tx2"/>
              </a:solidFill>
              <a:ln w="19050">
                <a:noFill/>
              </a:ln>
              <a:effectLst/>
            </c:spPr>
            <c:extLst>
              <c:ext xmlns:c16="http://schemas.microsoft.com/office/drawing/2014/chart" uri="{C3380CC4-5D6E-409C-BE32-E72D297353CC}">
                <c16:uniqueId val="{00000005-A5B1-471A-8AAB-BD5B179CC156}"/>
              </c:ext>
            </c:extLst>
          </c:dPt>
          <c:dPt>
            <c:idx val="3"/>
            <c:bubble3D val="0"/>
            <c:spPr>
              <a:solidFill>
                <a:schemeClr val="bg2"/>
              </a:solidFill>
              <a:ln w="19050">
                <a:noFill/>
              </a:ln>
              <a:effectLst/>
            </c:spPr>
            <c:extLst>
              <c:ext xmlns:c16="http://schemas.microsoft.com/office/drawing/2014/chart" uri="{C3380CC4-5D6E-409C-BE32-E72D297353CC}">
                <c16:uniqueId val="{00000007-A5B1-471A-8AAB-BD5B179CC156}"/>
              </c:ext>
            </c:extLst>
          </c:dPt>
          <c:dPt>
            <c:idx val="4"/>
            <c:bubble3D val="0"/>
            <c:spPr>
              <a:solidFill>
                <a:schemeClr val="bg1">
                  <a:lumMod val="65000"/>
                </a:schemeClr>
              </a:solidFill>
              <a:ln w="19050">
                <a:noFill/>
              </a:ln>
              <a:effectLst/>
            </c:spPr>
            <c:extLst>
              <c:ext xmlns:c16="http://schemas.microsoft.com/office/drawing/2014/chart" uri="{C3380CC4-5D6E-409C-BE32-E72D297353CC}">
                <c16:uniqueId val="{00000009-A5B1-471A-8AAB-BD5B179CC156}"/>
              </c:ext>
            </c:extLst>
          </c:dPt>
          <c:dPt>
            <c:idx val="5"/>
            <c:bubble3D val="0"/>
            <c:spPr>
              <a:solidFill>
                <a:schemeClr val="bg1">
                  <a:lumMod val="85000"/>
                </a:schemeClr>
              </a:solidFill>
              <a:ln w="19050">
                <a:noFill/>
              </a:ln>
              <a:effectLst/>
            </c:spPr>
            <c:extLst>
              <c:ext xmlns:c16="http://schemas.microsoft.com/office/drawing/2014/chart" uri="{C3380CC4-5D6E-409C-BE32-E72D297353CC}">
                <c16:uniqueId val="{0000000B-A5B1-471A-8AAB-BD5B179CC156}"/>
              </c:ext>
            </c:extLst>
          </c:dPt>
          <c:dLbls>
            <c:dLbl>
              <c:idx val="5"/>
              <c:layout>
                <c:manualLayout>
                  <c:x val="9.1289912820542565E-2"/>
                  <c:y val="1.9552366756016122E-4"/>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B-A5B1-471A-8AAB-BD5B179CC156}"/>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Financials institutions</c:v>
                </c:pt>
                <c:pt idx="1">
                  <c:v>Services</c:v>
                </c:pt>
                <c:pt idx="2">
                  <c:v>Industry</c:v>
                </c:pt>
                <c:pt idx="3">
                  <c:v>Software</c:v>
                </c:pt>
                <c:pt idx="4">
                  <c:v>Telecom</c:v>
                </c:pt>
                <c:pt idx="5">
                  <c:v>Energy</c:v>
                </c:pt>
              </c:strCache>
            </c:strRef>
          </c:cat>
          <c:val>
            <c:numRef>
              <c:f>Sheet1!$B$2:$B$7</c:f>
              <c:numCache>
                <c:formatCode>0.00%</c:formatCode>
                <c:ptCount val="6"/>
                <c:pt idx="0">
                  <c:v>0.42280500254750059</c:v>
                </c:pt>
                <c:pt idx="1">
                  <c:v>0.18338903358709935</c:v>
                </c:pt>
                <c:pt idx="2">
                  <c:v>0.17777406345114535</c:v>
                </c:pt>
                <c:pt idx="3">
                  <c:v>0.13563260596864832</c:v>
                </c:pt>
                <c:pt idx="4">
                  <c:v>6.5151955610394413E-2</c:v>
                </c:pt>
                <c:pt idx="5">
                  <c:v>1.5247338835212008E-2</c:v>
                </c:pt>
              </c:numCache>
            </c:numRef>
          </c:val>
          <c:extLst>
            <c:ext xmlns:c16="http://schemas.microsoft.com/office/drawing/2014/chart" uri="{C3380CC4-5D6E-409C-BE32-E72D297353CC}">
              <c16:uniqueId val="{0000000C-A5B1-471A-8AAB-BD5B179CC156}"/>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62682537753296363"/>
          <c:y val="0.15958849665090752"/>
          <c:w val="0.33145603920081246"/>
          <c:h val="0.49801437518792663"/>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85548413944083"/>
          <c:y val="0.12156516447643867"/>
          <c:w val="0.81503955025437902"/>
          <c:h val="0.765217977703332"/>
        </c:manualLayout>
      </c:layout>
      <c:barChart>
        <c:barDir val="col"/>
        <c:grouping val="stacked"/>
        <c:varyColors val="0"/>
        <c:ser>
          <c:idx val="0"/>
          <c:order val="0"/>
          <c:tx>
            <c:strRef>
              <c:f>Sheet1!$B$1</c:f>
              <c:strCache>
                <c:ptCount val="1"/>
                <c:pt idx="0">
                  <c:v>&lt;2018</c:v>
                </c:pt>
              </c:strCache>
            </c:strRef>
          </c:tx>
          <c:spPr>
            <a:solidFill>
              <a:srgbClr val="367847"/>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0.00</c:formatCode>
                <c:ptCount val="3"/>
                <c:pt idx="0">
                  <c:v>46595281.666988745</c:v>
                </c:pt>
                <c:pt idx="1">
                  <c:v>44821502.783329435</c:v>
                </c:pt>
                <c:pt idx="2">
                  <c:v>41049146.302000023</c:v>
                </c:pt>
              </c:numCache>
            </c:numRef>
          </c:val>
          <c:extLst>
            <c:ext xmlns:c16="http://schemas.microsoft.com/office/drawing/2014/chart" uri="{C3380CC4-5D6E-409C-BE32-E72D297353CC}">
              <c16:uniqueId val="{00000000-D6A1-4460-A6E0-B98F7BACCA18}"/>
            </c:ext>
          </c:extLst>
        </c:ser>
        <c:ser>
          <c:idx val="1"/>
          <c:order val="1"/>
          <c:tx>
            <c:strRef>
              <c:f>Sheet1!$C$1</c:f>
              <c:strCache>
                <c:ptCount val="1"/>
                <c:pt idx="0">
                  <c:v>2018</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D6A1-4460-A6E0-B98F7BACCA1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0.00</c:formatCode>
                <c:ptCount val="3"/>
                <c:pt idx="0">
                  <c:v>0</c:v>
                </c:pt>
                <c:pt idx="1">
                  <c:v>1586508.0100000023</c:v>
                </c:pt>
                <c:pt idx="2">
                  <c:v>1488980.3100000005</c:v>
                </c:pt>
              </c:numCache>
            </c:numRef>
          </c:val>
          <c:extLst>
            <c:ext xmlns:c16="http://schemas.microsoft.com/office/drawing/2014/chart" uri="{C3380CC4-5D6E-409C-BE32-E72D297353CC}">
              <c16:uniqueId val="{00000002-D6A1-4460-A6E0-B98F7BACCA18}"/>
            </c:ext>
          </c:extLst>
        </c:ser>
        <c:ser>
          <c:idx val="2"/>
          <c:order val="2"/>
          <c:tx>
            <c:strRef>
              <c:f>Sheet1!$D$1</c:f>
              <c:strCache>
                <c:ptCount val="1"/>
                <c:pt idx="0">
                  <c:v>2019</c:v>
                </c:pt>
              </c:strCache>
            </c:strRef>
          </c:tx>
          <c:spPr>
            <a:solidFill>
              <a:srgbClr val="8FCD9F"/>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D6A1-4460-A6E0-B98F7BACCA18}"/>
                </c:ext>
              </c:extLst>
            </c:dLbl>
            <c:dLbl>
              <c:idx val="1"/>
              <c:delete val="1"/>
              <c:extLst>
                <c:ext xmlns:c15="http://schemas.microsoft.com/office/drawing/2012/chart" uri="{CE6537A1-D6FC-4f65-9D91-7224C49458BB}"/>
                <c:ext xmlns:c16="http://schemas.microsoft.com/office/drawing/2014/chart" uri="{C3380CC4-5D6E-409C-BE32-E72D297353CC}">
                  <c16:uniqueId val="{00000004-D6A1-4460-A6E0-B98F7BACCA1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0.00</c:formatCode>
                <c:ptCount val="3"/>
                <c:pt idx="0">
                  <c:v>0</c:v>
                </c:pt>
                <c:pt idx="1">
                  <c:v>0</c:v>
                </c:pt>
                <c:pt idx="2">
                  <c:v>3776702.1633333368</c:v>
                </c:pt>
              </c:numCache>
            </c:numRef>
          </c:val>
          <c:extLst>
            <c:ext xmlns:c16="http://schemas.microsoft.com/office/drawing/2014/chart" uri="{C3380CC4-5D6E-409C-BE32-E72D297353CC}">
              <c16:uniqueId val="{00000005-D6A1-4460-A6E0-B98F7BACCA18}"/>
            </c:ext>
          </c:extLst>
        </c:ser>
        <c:dLbls>
          <c:showLegendKey val="0"/>
          <c:showVal val="1"/>
          <c:showCatName val="0"/>
          <c:showSerName val="0"/>
          <c:showPercent val="0"/>
          <c:showBubbleSize val="0"/>
        </c:dLbls>
        <c:gapWidth val="50"/>
        <c:overlap val="100"/>
        <c:axId val="628186671"/>
        <c:axId val="309735119"/>
      </c:barChart>
      <c:lineChart>
        <c:grouping val="standard"/>
        <c:varyColors val="0"/>
        <c:ser>
          <c:idx val="3"/>
          <c:order val="3"/>
          <c:tx>
            <c:strRef>
              <c:f>Sheet1!$E$1</c:f>
              <c:strCache>
                <c:ptCount val="1"/>
                <c:pt idx="0">
                  <c:v>Total</c:v>
                </c:pt>
              </c:strCache>
            </c:strRef>
          </c:tx>
          <c:spPr>
            <a:ln w="28575" cap="rnd">
              <a:solidFill>
                <a:srgbClr val="007AA9"/>
              </a:solidFill>
              <a:round/>
            </a:ln>
            <a:effectLst/>
          </c:spPr>
          <c:marker>
            <c:symbol val="none"/>
          </c:marker>
          <c:dLbls>
            <c:dLbl>
              <c:idx val="0"/>
              <c:layout>
                <c:manualLayout>
                  <c:x val="-6.1826235080877687E-2"/>
                  <c:y val="-4.639037893705658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6A1-4460-A6E0-B98F7BACCA18}"/>
                </c:ext>
              </c:extLst>
            </c:dLbl>
            <c:dLbl>
              <c:idx val="1"/>
              <c:layout>
                <c:manualLayout>
                  <c:x val="-7.0137055434181916E-2"/>
                  <c:y val="-3.8797622370128806E-2"/>
                </c:manualLayout>
              </c:layout>
              <c:numFmt formatCode="#,##0.00" sourceLinked="0"/>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rgbClr val="007AA9"/>
                      </a:solidFill>
                      <a:latin typeface="+mn-lt"/>
                      <a:ea typeface="+mn-ea"/>
                      <a:cs typeface="+mn-cs"/>
                    </a:defRPr>
                  </a:pPr>
                  <a:endParaRPr lang="fr-FR"/>
                </a:p>
              </c:txPr>
              <c:dLblPos val="r"/>
              <c:showLegendKey val="0"/>
              <c:showVal val="1"/>
              <c:showCatName val="0"/>
              <c:showSerName val="0"/>
              <c:showPercent val="0"/>
              <c:showBubbleSize val="0"/>
              <c:extLst>
                <c:ext xmlns:c15="http://schemas.microsoft.com/office/drawing/2012/chart" uri="{CE6537A1-D6FC-4f65-9D91-7224C49458BB}">
                  <c15:layout>
                    <c:manualLayout>
                      <c:w val="0.14352243911348955"/>
                      <c:h val="4.2395015070104576E-2"/>
                    </c:manualLayout>
                  </c15:layout>
                </c:ext>
                <c:ext xmlns:c16="http://schemas.microsoft.com/office/drawing/2014/chart" uri="{C3380CC4-5D6E-409C-BE32-E72D297353CC}">
                  <c16:uniqueId val="{00000007-D6A1-4460-A6E0-B98F7BACCA18}"/>
                </c:ext>
              </c:extLst>
            </c:dLbl>
            <c:dLbl>
              <c:idx val="2"/>
              <c:layout>
                <c:manualLayout>
                  <c:x val="-6.1826235080877659E-2"/>
                  <c:y val="-5.644795658927743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6A1-4460-A6E0-B98F7BACCA1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007AA9"/>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E$2:$E$4</c:f>
              <c:numCache>
                <c:formatCode>#,##0.00</c:formatCode>
                <c:ptCount val="3"/>
                <c:pt idx="0">
                  <c:v>46595281.666988745</c:v>
                </c:pt>
                <c:pt idx="1">
                  <c:v>46408010.79332944</c:v>
                </c:pt>
                <c:pt idx="2">
                  <c:v>46314828.77533336</c:v>
                </c:pt>
              </c:numCache>
            </c:numRef>
          </c:val>
          <c:smooth val="0"/>
          <c:extLst>
            <c:ext xmlns:c16="http://schemas.microsoft.com/office/drawing/2014/chart" uri="{C3380CC4-5D6E-409C-BE32-E72D297353CC}">
              <c16:uniqueId val="{00000009-D6A1-4460-A6E0-B98F7BACCA18}"/>
            </c:ext>
          </c:extLst>
        </c:ser>
        <c:dLbls>
          <c:showLegendKey val="0"/>
          <c:showVal val="0"/>
          <c:showCatName val="0"/>
          <c:showSerName val="0"/>
          <c:showPercent val="0"/>
          <c:showBubbleSize val="0"/>
        </c:dLbls>
        <c:marker val="1"/>
        <c:smooth val="0"/>
        <c:axId val="776095472"/>
        <c:axId val="212208160"/>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ax val="50000000"/>
          <c:min val="0"/>
        </c:scaling>
        <c:delete val="0"/>
        <c:axPos val="l"/>
        <c:majorGridlines>
          <c:spPr>
            <a:ln w="9525" cap="flat" cmpd="sng" algn="ctr">
              <a:solidFill>
                <a:schemeClr val="tx1">
                  <a:lumMod val="15000"/>
                  <a:lumOff val="85000"/>
                </a:schemeClr>
              </a:solidFill>
              <a:round/>
            </a:ln>
            <a:effectLst/>
          </c:spPr>
        </c:majorGridlines>
        <c:numFmt formatCode="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dispUnits>
          <c:builtInUnit val="millions"/>
        </c:dispUnits>
      </c:valAx>
      <c:valAx>
        <c:axId val="212208160"/>
        <c:scaling>
          <c:orientation val="minMax"/>
          <c:min val="0"/>
        </c:scaling>
        <c:delete val="1"/>
        <c:axPos val="r"/>
        <c:numFmt formatCode="#,##0.00" sourceLinked="1"/>
        <c:majorTickMark val="out"/>
        <c:minorTickMark val="none"/>
        <c:tickLblPos val="nextTo"/>
        <c:crossAx val="776095472"/>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776095472"/>
        <c:scaling>
          <c:orientation val="minMax"/>
        </c:scaling>
        <c:delete val="1"/>
        <c:axPos val="b"/>
        <c:numFmt formatCode="General" sourceLinked="1"/>
        <c:majorTickMark val="out"/>
        <c:minorTickMark val="none"/>
        <c:tickLblPos val="nextTo"/>
        <c:crossAx val="21220816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Altares proprietary products</c:v>
                </c:pt>
              </c:strCache>
            </c:strRef>
          </c:tx>
          <c:spPr>
            <a:solidFill>
              <a:schemeClr val="accent1"/>
            </a:solidFill>
            <a:ln>
              <a:noFill/>
            </a:ln>
            <a:effectLst/>
          </c:spPr>
          <c:invertIfNegative val="0"/>
          <c:dLbls>
            <c:numFmt formatCode="#,##0.00" sourceLinked="0"/>
            <c:spPr>
              <a:solidFill>
                <a:schemeClr val="accent1"/>
              </a:solid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7</c:v>
                </c:pt>
                <c:pt idx="1">
                  <c:v>2018</c:v>
                </c:pt>
                <c:pt idx="2">
                  <c:v>2019</c:v>
                </c:pt>
              </c:numCache>
            </c:numRef>
          </c:cat>
          <c:val>
            <c:numRef>
              <c:f>Feuil1!$B$2:$B$4</c:f>
              <c:numCache>
                <c:formatCode>General</c:formatCode>
                <c:ptCount val="3"/>
                <c:pt idx="0">
                  <c:v>25.075398470000046</c:v>
                </c:pt>
                <c:pt idx="1">
                  <c:v>24.355444969999979</c:v>
                </c:pt>
                <c:pt idx="2">
                  <c:v>25.646199690000032</c:v>
                </c:pt>
              </c:numCache>
            </c:numRef>
          </c:val>
          <c:extLst>
            <c:ext xmlns:c16="http://schemas.microsoft.com/office/drawing/2014/chart" uri="{C3380CC4-5D6E-409C-BE32-E72D297353CC}">
              <c16:uniqueId val="{00000000-4F63-4D9E-870D-BAC3D82341E4}"/>
            </c:ext>
          </c:extLst>
        </c:ser>
        <c:ser>
          <c:idx val="1"/>
          <c:order val="1"/>
          <c:tx>
            <c:strRef>
              <c:f>Feuil1!$C$1</c:f>
              <c:strCache>
                <c:ptCount val="1"/>
                <c:pt idx="0">
                  <c:v>D&amp;B products</c:v>
                </c:pt>
              </c:strCache>
            </c:strRef>
          </c:tx>
          <c:spPr>
            <a:solidFill>
              <a:srgbClr val="8FCD9F"/>
            </a:solidFill>
            <a:ln>
              <a:noFill/>
            </a:ln>
            <a:effectLst/>
          </c:spPr>
          <c:invertIfNegative val="0"/>
          <c:dLbls>
            <c:numFmt formatCode="#,##0.00" sourceLinked="0"/>
            <c:spPr>
              <a:solidFill>
                <a:srgbClr val="8FCD9F"/>
              </a:solid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7</c:v>
                </c:pt>
                <c:pt idx="1">
                  <c:v>2018</c:v>
                </c:pt>
                <c:pt idx="2">
                  <c:v>2019</c:v>
                </c:pt>
              </c:numCache>
            </c:numRef>
          </c:cat>
          <c:val>
            <c:numRef>
              <c:f>Feuil1!$C$2:$C$4</c:f>
              <c:numCache>
                <c:formatCode>General</c:formatCode>
                <c:ptCount val="3"/>
                <c:pt idx="0">
                  <c:v>17.342848620000009</c:v>
                </c:pt>
                <c:pt idx="1">
                  <c:v>17.890591850000007</c:v>
                </c:pt>
                <c:pt idx="2">
                  <c:v>17.621344770000029</c:v>
                </c:pt>
              </c:numCache>
            </c:numRef>
          </c:val>
          <c:extLst>
            <c:ext xmlns:c16="http://schemas.microsoft.com/office/drawing/2014/chart" uri="{C3380CC4-5D6E-409C-BE32-E72D297353CC}">
              <c16:uniqueId val="{00000001-4F63-4D9E-870D-BAC3D82341E4}"/>
            </c:ext>
          </c:extLst>
        </c:ser>
        <c:ser>
          <c:idx val="2"/>
          <c:order val="2"/>
          <c:tx>
            <c:strRef>
              <c:f>Feuil1!$D$1</c:f>
              <c:strCache>
                <c:ptCount val="1"/>
                <c:pt idx="0">
                  <c:v>DB&amp;I</c:v>
                </c:pt>
              </c:strCache>
            </c:strRef>
          </c:tx>
          <c:spPr>
            <a:solidFill>
              <a:srgbClr val="289B38"/>
            </a:solidFill>
            <a:ln>
              <a:noFill/>
            </a:ln>
            <a:effectLst/>
          </c:spPr>
          <c:invertIfNegative val="0"/>
          <c:dLbls>
            <c:numFmt formatCode="#,##0.00" sourceLinked="0"/>
            <c:spPr>
              <a:solidFill>
                <a:srgbClr val="289B38"/>
              </a:solid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7</c:v>
                </c:pt>
                <c:pt idx="1">
                  <c:v>2018</c:v>
                </c:pt>
                <c:pt idx="2">
                  <c:v>2019</c:v>
                </c:pt>
              </c:numCache>
            </c:numRef>
          </c:cat>
          <c:val>
            <c:numRef>
              <c:f>Feuil1!$D$2:$D$4</c:f>
              <c:numCache>
                <c:formatCode>General</c:formatCode>
                <c:ptCount val="3"/>
                <c:pt idx="0">
                  <c:v>9.7011201499999995</c:v>
                </c:pt>
                <c:pt idx="1">
                  <c:v>9.8863565700000002</c:v>
                </c:pt>
                <c:pt idx="2">
                  <c:v>12.214107580000002</c:v>
                </c:pt>
              </c:numCache>
            </c:numRef>
          </c:val>
          <c:extLst>
            <c:ext xmlns:c16="http://schemas.microsoft.com/office/drawing/2014/chart" uri="{C3380CC4-5D6E-409C-BE32-E72D297353CC}">
              <c16:uniqueId val="{00000002-4F63-4D9E-870D-BAC3D82341E4}"/>
            </c:ext>
          </c:extLst>
        </c:ser>
        <c:dLbls>
          <c:showLegendKey val="0"/>
          <c:showVal val="0"/>
          <c:showCatName val="0"/>
          <c:showSerName val="0"/>
          <c:showPercent val="0"/>
          <c:showBubbleSize val="0"/>
        </c:dLbls>
        <c:gapWidth val="150"/>
        <c:overlap val="100"/>
        <c:axId val="670552815"/>
        <c:axId val="657774400"/>
      </c:barChart>
      <c:lineChart>
        <c:grouping val="standard"/>
        <c:varyColors val="0"/>
        <c:ser>
          <c:idx val="3"/>
          <c:order val="3"/>
          <c:tx>
            <c:strRef>
              <c:f>Feuil1!$E$1</c:f>
              <c:strCache>
                <c:ptCount val="1"/>
                <c:pt idx="0">
                  <c:v>Share</c:v>
                </c:pt>
              </c:strCache>
            </c:strRef>
          </c:tx>
          <c:spPr>
            <a:ln w="28575" cap="rnd">
              <a:solidFill>
                <a:schemeClr val="accent1"/>
              </a:solidFill>
              <a:round/>
            </a:ln>
            <a:effectLst/>
          </c:spPr>
          <c:marker>
            <c:symbol val="none"/>
          </c:marker>
          <c:dLbls>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accent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7</c:v>
                </c:pt>
                <c:pt idx="1">
                  <c:v>2018</c:v>
                </c:pt>
                <c:pt idx="2">
                  <c:v>2019</c:v>
                </c:pt>
              </c:numCache>
            </c:numRef>
          </c:cat>
          <c:val>
            <c:numRef>
              <c:f>Feuil1!$E$2:$E$4</c:f>
              <c:numCache>
                <c:formatCode>General</c:formatCode>
                <c:ptCount val="3"/>
                <c:pt idx="0">
                  <c:v>0.48111479087097259</c:v>
                </c:pt>
                <c:pt idx="1">
                  <c:v>0.46718447756269382</c:v>
                </c:pt>
                <c:pt idx="2">
                  <c:v>0.4622465039705404</c:v>
                </c:pt>
              </c:numCache>
            </c:numRef>
          </c:val>
          <c:smooth val="0"/>
          <c:extLst>
            <c:ext xmlns:c16="http://schemas.microsoft.com/office/drawing/2014/chart" uri="{C3380CC4-5D6E-409C-BE32-E72D297353CC}">
              <c16:uniqueId val="{00000007-4F63-4D9E-870D-BAC3D82341E4}"/>
            </c:ext>
          </c:extLst>
        </c:ser>
        <c:dLbls>
          <c:showLegendKey val="0"/>
          <c:showVal val="0"/>
          <c:showCatName val="0"/>
          <c:showSerName val="0"/>
          <c:showPercent val="0"/>
          <c:showBubbleSize val="0"/>
        </c:dLbls>
        <c:marker val="1"/>
        <c:smooth val="0"/>
        <c:axId val="1403393199"/>
        <c:axId val="1059900895"/>
      </c:lineChart>
      <c:catAx>
        <c:axId val="6705528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657774400"/>
        <c:crosses val="autoZero"/>
        <c:auto val="1"/>
        <c:lblAlgn val="ctr"/>
        <c:lblOffset val="100"/>
        <c:noMultiLvlLbl val="0"/>
      </c:catAx>
      <c:valAx>
        <c:axId val="657774400"/>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670552815"/>
        <c:crosses val="autoZero"/>
        <c:crossBetween val="between"/>
      </c:valAx>
      <c:valAx>
        <c:axId val="1059900895"/>
        <c:scaling>
          <c:orientation val="minMax"/>
          <c:max val="0.5"/>
          <c:min val="0"/>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403393199"/>
        <c:crosses val="max"/>
        <c:crossBetween val="between"/>
      </c:valAx>
      <c:catAx>
        <c:axId val="1403393199"/>
        <c:scaling>
          <c:orientation val="minMax"/>
        </c:scaling>
        <c:delete val="1"/>
        <c:axPos val="b"/>
        <c:numFmt formatCode="General" sourceLinked="1"/>
        <c:majorTickMark val="out"/>
        <c:minorTickMark val="none"/>
        <c:tickLblPos val="nextTo"/>
        <c:crossAx val="1059900895"/>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sz="900"/>
      </a:pPr>
      <a:endParaRPr lang="fr-FR"/>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Altares proprietary products</c:v>
                </c:pt>
              </c:strCache>
            </c:strRef>
          </c:tx>
          <c:spPr>
            <a:solidFill>
              <a:schemeClr val="accent1"/>
            </a:solidFill>
            <a:ln>
              <a:noFill/>
            </a:ln>
            <a:effectLst/>
          </c:spPr>
          <c:invertIfNegative val="0"/>
          <c:dLbls>
            <c:spPr>
              <a:solidFill>
                <a:schemeClr val="accent1"/>
              </a:solid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7</c:v>
                </c:pt>
                <c:pt idx="1">
                  <c:v>2018</c:v>
                </c:pt>
                <c:pt idx="2">
                  <c:v>2019</c:v>
                </c:pt>
              </c:numCache>
            </c:numRef>
          </c:cat>
          <c:val>
            <c:numRef>
              <c:f>Feuil1!$B$2:$B$4</c:f>
              <c:numCache>
                <c:formatCode>0.00</c:formatCode>
                <c:ptCount val="3"/>
                <c:pt idx="0">
                  <c:v>5.0702125599999999</c:v>
                </c:pt>
                <c:pt idx="1">
                  <c:v>6.52568033666667</c:v>
                </c:pt>
                <c:pt idx="2">
                  <c:v>7.8342808853333299</c:v>
                </c:pt>
              </c:numCache>
            </c:numRef>
          </c:val>
          <c:extLst>
            <c:ext xmlns:c16="http://schemas.microsoft.com/office/drawing/2014/chart" uri="{C3380CC4-5D6E-409C-BE32-E72D297353CC}">
              <c16:uniqueId val="{00000000-88F4-4D1C-9978-F4585979B070}"/>
            </c:ext>
          </c:extLst>
        </c:ser>
        <c:ser>
          <c:idx val="1"/>
          <c:order val="1"/>
          <c:tx>
            <c:strRef>
              <c:f>Feuil1!$C$1</c:f>
              <c:strCache>
                <c:ptCount val="1"/>
                <c:pt idx="0">
                  <c:v>D&amp;B products</c:v>
                </c:pt>
              </c:strCache>
            </c:strRef>
          </c:tx>
          <c:spPr>
            <a:solidFill>
              <a:srgbClr val="8FCD9F"/>
            </a:solidFill>
            <a:ln>
              <a:noFill/>
            </a:ln>
            <a:effectLst/>
          </c:spPr>
          <c:invertIfNegative val="0"/>
          <c:dLbls>
            <c:numFmt formatCode="#,##0.00" sourceLinked="0"/>
            <c:spPr>
              <a:solidFill>
                <a:srgbClr val="8FCD9F"/>
              </a:solid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7</c:v>
                </c:pt>
                <c:pt idx="1">
                  <c:v>2018</c:v>
                </c:pt>
                <c:pt idx="2">
                  <c:v>2019</c:v>
                </c:pt>
              </c:numCache>
            </c:numRef>
          </c:cat>
          <c:val>
            <c:numRef>
              <c:f>Feuil1!$C$2:$C$4</c:f>
              <c:numCache>
                <c:formatCode>0.00</c:formatCode>
                <c:ptCount val="3"/>
                <c:pt idx="0">
                  <c:v>41.529188606988725</c:v>
                </c:pt>
                <c:pt idx="1">
                  <c:v>39.882419023329419</c:v>
                </c:pt>
                <c:pt idx="2">
                  <c:v>38.473211620000001</c:v>
                </c:pt>
              </c:numCache>
            </c:numRef>
          </c:val>
          <c:extLst>
            <c:ext xmlns:c16="http://schemas.microsoft.com/office/drawing/2014/chart" uri="{C3380CC4-5D6E-409C-BE32-E72D297353CC}">
              <c16:uniqueId val="{00000001-88F4-4D1C-9978-F4585979B070}"/>
            </c:ext>
          </c:extLst>
        </c:ser>
        <c:ser>
          <c:idx val="2"/>
          <c:order val="2"/>
          <c:tx>
            <c:strRef>
              <c:f>Feuil1!$D$1</c:f>
              <c:strCache>
                <c:ptCount val="1"/>
                <c:pt idx="0">
                  <c:v>DB&amp;I</c:v>
                </c:pt>
              </c:strCache>
            </c:strRef>
          </c:tx>
          <c:spPr>
            <a:solidFill>
              <a:srgbClr val="289B38"/>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7</c:v>
                </c:pt>
                <c:pt idx="1">
                  <c:v>2018</c:v>
                </c:pt>
                <c:pt idx="2">
                  <c:v>2019</c:v>
                </c:pt>
              </c:numCache>
            </c:numRef>
          </c:cat>
          <c:val>
            <c:numRef>
              <c:f>Feuil1!$D$2:$D$4</c:f>
              <c:numCache>
                <c:formatCode>0.00</c:formatCode>
                <c:ptCount val="3"/>
                <c:pt idx="0">
                  <c:v>8.0379082560101764</c:v>
                </c:pt>
                <c:pt idx="1">
                  <c:v>7.5702473003666064</c:v>
                </c:pt>
                <c:pt idx="2">
                  <c:v>7.8080106086874386</c:v>
                </c:pt>
              </c:numCache>
            </c:numRef>
          </c:val>
          <c:extLst>
            <c:ext xmlns:c16="http://schemas.microsoft.com/office/drawing/2014/chart" uri="{C3380CC4-5D6E-409C-BE32-E72D297353CC}">
              <c16:uniqueId val="{00000002-88F4-4D1C-9978-F4585979B070}"/>
            </c:ext>
          </c:extLst>
        </c:ser>
        <c:dLbls>
          <c:showLegendKey val="0"/>
          <c:showVal val="0"/>
          <c:showCatName val="0"/>
          <c:showSerName val="0"/>
          <c:showPercent val="0"/>
          <c:showBubbleSize val="0"/>
        </c:dLbls>
        <c:gapWidth val="150"/>
        <c:overlap val="100"/>
        <c:axId val="670552815"/>
        <c:axId val="657774400"/>
      </c:barChart>
      <c:lineChart>
        <c:grouping val="standard"/>
        <c:varyColors val="0"/>
        <c:ser>
          <c:idx val="3"/>
          <c:order val="3"/>
          <c:tx>
            <c:strRef>
              <c:f>Feuil1!$E$1</c:f>
              <c:strCache>
                <c:ptCount val="1"/>
                <c:pt idx="0">
                  <c:v>Share of Altares' product in total income</c:v>
                </c:pt>
              </c:strCache>
            </c:strRef>
          </c:tx>
          <c:spPr>
            <a:ln w="28575" cap="rnd">
              <a:solidFill>
                <a:schemeClr val="accent1"/>
              </a:solidFill>
              <a:round/>
            </a:ln>
            <a:effectLst/>
          </c:spPr>
          <c:marker>
            <c:symbol val="none"/>
          </c:marker>
          <c:dPt>
            <c:idx val="1"/>
            <c:marker>
              <c:symbol val="none"/>
            </c:marker>
            <c:bubble3D val="0"/>
            <c:extLst>
              <c:ext xmlns:c16="http://schemas.microsoft.com/office/drawing/2014/chart" uri="{C3380CC4-5D6E-409C-BE32-E72D297353CC}">
                <c16:uniqueId val="{00000003-88F4-4D1C-9978-F4585979B070}"/>
              </c:ext>
            </c:extLst>
          </c:dPt>
          <c:dLbls>
            <c:dLbl>
              <c:idx val="0"/>
              <c:layout>
                <c:manualLayout>
                  <c:x val="5.7156537953044158E-2"/>
                  <c:y val="-0.1462744265979747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8F4-4D1C-9978-F4585979B070}"/>
                </c:ext>
              </c:extLst>
            </c:dLbl>
            <c:dLbl>
              <c:idx val="1"/>
              <c:layout>
                <c:manualLayout>
                  <c:x val="4.8169660916401992E-2"/>
                  <c:y val="7.42575090201577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8F4-4D1C-9978-F4585979B070}"/>
                </c:ext>
              </c:extLst>
            </c:dLbl>
            <c:numFmt formatCode="0%" sourceLinked="0"/>
            <c:spPr>
              <a:noFill/>
              <a:ln>
                <a:noFill/>
              </a:ln>
              <a:effectLst/>
            </c:spPr>
            <c:txPr>
              <a:bodyPr rot="0" spcFirstLastPara="1" vertOverflow="ellipsis" vert="horz" wrap="square" anchor="ctr" anchorCtr="1"/>
              <a:lstStyle/>
              <a:p>
                <a:pPr>
                  <a:defRPr sz="900" b="0" i="0" u="none" strike="noStrike" kern="1200" baseline="0">
                    <a:solidFill>
                      <a:schemeClr val="accent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7</c:v>
                </c:pt>
                <c:pt idx="1">
                  <c:v>2018</c:v>
                </c:pt>
                <c:pt idx="2">
                  <c:v>2019</c:v>
                </c:pt>
              </c:numCache>
            </c:numRef>
          </c:cat>
          <c:val>
            <c:numRef>
              <c:f>Feuil1!$E$2:$E$4</c:f>
              <c:numCache>
                <c:formatCode>General</c:formatCode>
                <c:ptCount val="3"/>
                <c:pt idx="0">
                  <c:v>9.2797625167570133E-2</c:v>
                </c:pt>
                <c:pt idx="1">
                  <c:v>0.12089440934022901</c:v>
                </c:pt>
                <c:pt idx="2">
                  <c:v>0.14476962117171094</c:v>
                </c:pt>
              </c:numCache>
            </c:numRef>
          </c:val>
          <c:smooth val="0"/>
          <c:extLst>
            <c:ext xmlns:c16="http://schemas.microsoft.com/office/drawing/2014/chart" uri="{C3380CC4-5D6E-409C-BE32-E72D297353CC}">
              <c16:uniqueId val="{00000006-88F4-4D1C-9978-F4585979B070}"/>
            </c:ext>
          </c:extLst>
        </c:ser>
        <c:dLbls>
          <c:showLegendKey val="0"/>
          <c:showVal val="0"/>
          <c:showCatName val="0"/>
          <c:showSerName val="0"/>
          <c:showPercent val="0"/>
          <c:showBubbleSize val="0"/>
        </c:dLbls>
        <c:marker val="1"/>
        <c:smooth val="0"/>
        <c:axId val="1718616976"/>
        <c:axId val="480848960"/>
      </c:lineChart>
      <c:catAx>
        <c:axId val="6705528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657774400"/>
        <c:crosses val="autoZero"/>
        <c:auto val="1"/>
        <c:lblAlgn val="ctr"/>
        <c:lblOffset val="100"/>
        <c:noMultiLvlLbl val="0"/>
      </c:catAx>
      <c:valAx>
        <c:axId val="657774400"/>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670552815"/>
        <c:crosses val="autoZero"/>
        <c:crossBetween val="between"/>
      </c:valAx>
      <c:valAx>
        <c:axId val="480848960"/>
        <c:scaling>
          <c:orientation val="minMax"/>
          <c:max val="0.16000000000000003"/>
          <c:min val="0"/>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718616976"/>
        <c:crosses val="max"/>
        <c:crossBetween val="between"/>
      </c:valAx>
      <c:catAx>
        <c:axId val="1718616976"/>
        <c:scaling>
          <c:orientation val="minMax"/>
        </c:scaling>
        <c:delete val="1"/>
        <c:axPos val="b"/>
        <c:numFmt formatCode="General" sourceLinked="1"/>
        <c:majorTickMark val="out"/>
        <c:minorTickMark val="none"/>
        <c:tickLblPos val="nextTo"/>
        <c:crossAx val="480848960"/>
        <c:crosses val="autoZero"/>
        <c:auto val="1"/>
        <c:lblAlgn val="ctr"/>
        <c:lblOffset val="100"/>
        <c:noMultiLvlLbl val="0"/>
      </c:catAx>
      <c:spPr>
        <a:noFill/>
        <a:ln>
          <a:noFill/>
        </a:ln>
        <a:effectLst/>
      </c:spPr>
    </c:plotArea>
    <c:legend>
      <c:legendPos val="b"/>
      <c:legendEntry>
        <c:idx val="3"/>
        <c:delete val="1"/>
      </c:legendEntry>
      <c:layout>
        <c:manualLayout>
          <c:xMode val="edge"/>
          <c:yMode val="edge"/>
          <c:x val="6.6550065278693421E-2"/>
          <c:y val="0.79853127033232274"/>
          <c:w val="0.93045430280659369"/>
          <c:h val="0.1397344290376662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sz="900"/>
      </a:pPr>
      <a:endParaRPr lang="fr-FR"/>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616822321547621E-2"/>
          <c:y val="6.8745189190008452E-2"/>
          <c:w val="0.89876635535690474"/>
          <c:h val="0.76082439014356373"/>
        </c:manualLayout>
      </c:layout>
      <c:barChart>
        <c:barDir val="col"/>
        <c:grouping val="stacked"/>
        <c:varyColors val="0"/>
        <c:ser>
          <c:idx val="0"/>
          <c:order val="0"/>
          <c:tx>
            <c:strRef>
              <c:f>Feuil1!$B$1</c:f>
              <c:strCache>
                <c:ptCount val="1"/>
                <c:pt idx="0">
                  <c:v>Mass market</c:v>
                </c:pt>
              </c:strCache>
            </c:strRef>
          </c:tx>
          <c:spPr>
            <a:solidFill>
              <a:schemeClr val="bg2">
                <a:lumMod val="40000"/>
                <a:lumOff val="60000"/>
              </a:schemeClr>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5-202E-4032-B9D8-FBEE834D0901}"/>
                </c:ext>
              </c:extLst>
            </c:dLbl>
            <c:dLbl>
              <c:idx val="2"/>
              <c:layout>
                <c:manualLayout>
                  <c:x val="4.6017104645298176E-3"/>
                  <c:y val="-5.4249282708831855E-3"/>
                </c:manualLayout>
              </c:layout>
              <c:tx>
                <c:rich>
                  <a:bodyPr rot="0" spcFirstLastPara="1" vertOverflow="ellipsis" vert="horz" wrap="square" lIns="38100" tIns="19050" rIns="38100" bIns="19050" anchor="ctr" anchorCtr="1">
                    <a:noAutofit/>
                  </a:bodyPr>
                  <a:lstStyle/>
                  <a:p>
                    <a:pPr>
                      <a:defRPr sz="1197" b="0" i="0" u="none" strike="noStrike" kern="1200" baseline="0">
                        <a:solidFill>
                          <a:schemeClr val="tx1"/>
                        </a:solidFill>
                        <a:latin typeface="+mn-lt"/>
                        <a:ea typeface="+mn-ea"/>
                        <a:cs typeface="+mn-cs"/>
                      </a:defRPr>
                    </a:pPr>
                    <a:fld id="{CDD066D7-D5FC-45ED-9CD9-6A685CB8FAE2}" type="VALUE">
                      <a:rPr lang="en-US">
                        <a:solidFill>
                          <a:schemeClr val="tx1"/>
                        </a:solidFill>
                      </a:rPr>
                      <a:pPr>
                        <a:defRPr>
                          <a:solidFill>
                            <a:schemeClr val="tx1"/>
                          </a:solidFill>
                        </a:defRPr>
                      </a:pPr>
                      <a:t>[VALUE]</a:t>
                    </a:fld>
                    <a:endParaRPr lang="fr-FR"/>
                  </a:p>
                </c:rich>
              </c:tx>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layout>
                    <c:manualLayout>
                      <c:w val="0.19077940485921491"/>
                      <c:h val="5.0272321460354971E-2"/>
                    </c:manualLayout>
                  </c15:layout>
                  <c15:dlblFieldTable/>
                  <c15:showDataLabelsRange val="0"/>
                </c:ext>
                <c:ext xmlns:c16="http://schemas.microsoft.com/office/drawing/2014/chart" uri="{C3380CC4-5D6E-409C-BE32-E72D297353CC}">
                  <c16:uniqueId val="{00000001-A795-47B8-B4E8-E777DB442F7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Credit risk</c:v>
                </c:pt>
                <c:pt idx="1">
                  <c:v>Compliance</c:v>
                </c:pt>
                <c:pt idx="2">
                  <c:v>B2B Marketing</c:v>
                </c:pt>
              </c:strCache>
            </c:strRef>
          </c:cat>
          <c:val>
            <c:numRef>
              <c:f>Feuil1!$B$2:$B$4</c:f>
              <c:numCache>
                <c:formatCode>0%</c:formatCode>
                <c:ptCount val="3"/>
                <c:pt idx="0">
                  <c:v>0.12</c:v>
                </c:pt>
                <c:pt idx="1">
                  <c:v>0</c:v>
                </c:pt>
                <c:pt idx="2">
                  <c:v>0.34</c:v>
                </c:pt>
              </c:numCache>
            </c:numRef>
          </c:val>
          <c:extLst>
            <c:ext xmlns:c16="http://schemas.microsoft.com/office/drawing/2014/chart" uri="{C3380CC4-5D6E-409C-BE32-E72D297353CC}">
              <c16:uniqueId val="{00000000-202E-4032-B9D8-FBEE834D0901}"/>
            </c:ext>
          </c:extLst>
        </c:ser>
        <c:ser>
          <c:idx val="1"/>
          <c:order val="1"/>
          <c:tx>
            <c:strRef>
              <c:f>Feuil1!$C$1</c:f>
              <c:strCache>
                <c:ptCount val="1"/>
                <c:pt idx="0">
                  <c:v>Mid market</c:v>
                </c:pt>
              </c:strCache>
            </c:strRef>
          </c:tx>
          <c:spPr>
            <a:solidFill>
              <a:schemeClr val="accent1">
                <a:lumMod val="40000"/>
                <a:lumOff val="60000"/>
              </a:schemeClr>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0-8AFB-4441-87B2-3E3E2B238EA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Credit risk</c:v>
                </c:pt>
                <c:pt idx="1">
                  <c:v>Compliance</c:v>
                </c:pt>
                <c:pt idx="2">
                  <c:v>B2B Marketing</c:v>
                </c:pt>
              </c:strCache>
            </c:strRef>
          </c:cat>
          <c:val>
            <c:numRef>
              <c:f>Feuil1!$C$2:$C$4</c:f>
              <c:numCache>
                <c:formatCode>0%</c:formatCode>
                <c:ptCount val="3"/>
                <c:pt idx="0">
                  <c:v>0.28000000000000003</c:v>
                </c:pt>
                <c:pt idx="1">
                  <c:v>0</c:v>
                </c:pt>
                <c:pt idx="2">
                  <c:v>0.24</c:v>
                </c:pt>
              </c:numCache>
            </c:numRef>
          </c:val>
          <c:extLst>
            <c:ext xmlns:c16="http://schemas.microsoft.com/office/drawing/2014/chart" uri="{C3380CC4-5D6E-409C-BE32-E72D297353CC}">
              <c16:uniqueId val="{00000001-202E-4032-B9D8-FBEE834D0901}"/>
            </c:ext>
          </c:extLst>
        </c:ser>
        <c:ser>
          <c:idx val="2"/>
          <c:order val="2"/>
          <c:tx>
            <c:strRef>
              <c:f>Feuil1!$D$1</c:f>
              <c:strCache>
                <c:ptCount val="1"/>
                <c:pt idx="0">
                  <c:v>Public Institutions</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Credit risk</c:v>
                </c:pt>
                <c:pt idx="1">
                  <c:v>Compliance</c:v>
                </c:pt>
                <c:pt idx="2">
                  <c:v>B2B Marketing</c:v>
                </c:pt>
              </c:strCache>
            </c:strRef>
          </c:cat>
          <c:val>
            <c:numRef>
              <c:f>Feuil1!$D$2:$D$4</c:f>
              <c:numCache>
                <c:formatCode>0%</c:formatCode>
                <c:ptCount val="3"/>
                <c:pt idx="0">
                  <c:v>0.3</c:v>
                </c:pt>
                <c:pt idx="1">
                  <c:v>0.32</c:v>
                </c:pt>
                <c:pt idx="2">
                  <c:v>0.28000000000000003</c:v>
                </c:pt>
              </c:numCache>
            </c:numRef>
          </c:val>
          <c:extLst>
            <c:ext xmlns:c16="http://schemas.microsoft.com/office/drawing/2014/chart" uri="{C3380CC4-5D6E-409C-BE32-E72D297353CC}">
              <c16:uniqueId val="{00000002-202E-4032-B9D8-FBEE834D0901}"/>
            </c:ext>
          </c:extLst>
        </c:ser>
        <c:ser>
          <c:idx val="3"/>
          <c:order val="3"/>
          <c:tx>
            <c:strRef>
              <c:f>Feuil1!$E$1</c:f>
              <c:strCache>
                <c:ptCount val="1"/>
                <c:pt idx="0">
                  <c:v>Key accounts</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Credit risk</c:v>
                </c:pt>
                <c:pt idx="1">
                  <c:v>Compliance</c:v>
                </c:pt>
                <c:pt idx="2">
                  <c:v>B2B Marketing</c:v>
                </c:pt>
              </c:strCache>
            </c:strRef>
          </c:cat>
          <c:val>
            <c:numRef>
              <c:f>Feuil1!$E$2:$E$4</c:f>
              <c:numCache>
                <c:formatCode>0%</c:formatCode>
                <c:ptCount val="3"/>
                <c:pt idx="0">
                  <c:v>0.3</c:v>
                </c:pt>
                <c:pt idx="1">
                  <c:v>0.68</c:v>
                </c:pt>
                <c:pt idx="2">
                  <c:v>0.15</c:v>
                </c:pt>
              </c:numCache>
            </c:numRef>
          </c:val>
          <c:extLst>
            <c:ext xmlns:c16="http://schemas.microsoft.com/office/drawing/2014/chart" uri="{C3380CC4-5D6E-409C-BE32-E72D297353CC}">
              <c16:uniqueId val="{00000004-202E-4032-B9D8-FBEE834D0901}"/>
            </c:ext>
          </c:extLst>
        </c:ser>
        <c:dLbls>
          <c:dLblPos val="ctr"/>
          <c:showLegendKey val="0"/>
          <c:showVal val="1"/>
          <c:showCatName val="0"/>
          <c:showSerName val="0"/>
          <c:showPercent val="0"/>
          <c:showBubbleSize val="0"/>
        </c:dLbls>
        <c:gapWidth val="150"/>
        <c:overlap val="100"/>
        <c:axId val="706979312"/>
        <c:axId val="1693398479"/>
      </c:barChart>
      <c:catAx>
        <c:axId val="7069793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fr-FR"/>
          </a:p>
        </c:txPr>
        <c:crossAx val="1693398479"/>
        <c:crosses val="autoZero"/>
        <c:auto val="1"/>
        <c:lblAlgn val="ctr"/>
        <c:lblOffset val="100"/>
        <c:noMultiLvlLbl val="0"/>
      </c:catAx>
      <c:valAx>
        <c:axId val="1693398479"/>
        <c:scaling>
          <c:orientation val="minMax"/>
        </c:scaling>
        <c:delete val="1"/>
        <c:axPos val="l"/>
        <c:numFmt formatCode="0%" sourceLinked="1"/>
        <c:majorTickMark val="out"/>
        <c:minorTickMark val="none"/>
        <c:tickLblPos val="nextTo"/>
        <c:crossAx val="7069793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532654543252961E-2"/>
          <c:y val="0.14956263659456384"/>
          <c:w val="0.66791948463189266"/>
          <c:h val="0.72212375532686202"/>
        </c:manualLayout>
      </c:layout>
      <c:barChart>
        <c:barDir val="col"/>
        <c:grouping val="stacked"/>
        <c:varyColors val="0"/>
        <c:ser>
          <c:idx val="0"/>
          <c:order val="0"/>
          <c:tx>
            <c:strRef>
              <c:f>Sheet1!$B$1</c:f>
              <c:strCache>
                <c:ptCount val="1"/>
                <c:pt idx="0">
                  <c:v>Credit risk</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General</c:formatCode>
                <c:ptCount val="9"/>
                <c:pt idx="0">
                  <c:v>340</c:v>
                </c:pt>
                <c:pt idx="1">
                  <c:v>342</c:v>
                </c:pt>
                <c:pt idx="2">
                  <c:v>341</c:v>
                </c:pt>
                <c:pt idx="3">
                  <c:v>338</c:v>
                </c:pt>
                <c:pt idx="4">
                  <c:v>340</c:v>
                </c:pt>
                <c:pt idx="5">
                  <c:v>340</c:v>
                </c:pt>
                <c:pt idx="6">
                  <c:v>340</c:v>
                </c:pt>
                <c:pt idx="7">
                  <c:v>340</c:v>
                </c:pt>
                <c:pt idx="8">
                  <c:v>340</c:v>
                </c:pt>
              </c:numCache>
            </c:numRef>
          </c:val>
          <c:extLst>
            <c:ext xmlns:c16="http://schemas.microsoft.com/office/drawing/2014/chart" uri="{C3380CC4-5D6E-409C-BE32-E72D297353CC}">
              <c16:uniqueId val="{00000000-23C1-4D7E-88B8-6B662579C3D9}"/>
            </c:ext>
          </c:extLst>
        </c:ser>
        <c:ser>
          <c:idx val="1"/>
          <c:order val="1"/>
          <c:tx>
            <c:strRef>
              <c:f>Sheet1!$C$1</c:f>
              <c:strCache>
                <c:ptCount val="1"/>
                <c:pt idx="0">
                  <c:v>B2B Marketing</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C$2:$C$10</c:f>
              <c:numCache>
                <c:formatCode>General</c:formatCode>
                <c:ptCount val="9"/>
                <c:pt idx="0">
                  <c:v>125</c:v>
                </c:pt>
                <c:pt idx="1">
                  <c:v>135</c:v>
                </c:pt>
                <c:pt idx="2">
                  <c:v>146</c:v>
                </c:pt>
                <c:pt idx="3">
                  <c:v>131</c:v>
                </c:pt>
                <c:pt idx="4">
                  <c:v>140</c:v>
                </c:pt>
                <c:pt idx="5">
                  <c:v>148</c:v>
                </c:pt>
                <c:pt idx="6">
                  <c:v>155</c:v>
                </c:pt>
                <c:pt idx="7">
                  <c:v>163</c:v>
                </c:pt>
                <c:pt idx="8">
                  <c:v>172</c:v>
                </c:pt>
              </c:numCache>
            </c:numRef>
          </c:val>
          <c:extLst>
            <c:ext xmlns:c16="http://schemas.microsoft.com/office/drawing/2014/chart" uri="{C3380CC4-5D6E-409C-BE32-E72D297353CC}">
              <c16:uniqueId val="{00000001-23C1-4D7E-88B8-6B662579C3D9}"/>
            </c:ext>
          </c:extLst>
        </c:ser>
        <c:ser>
          <c:idx val="2"/>
          <c:order val="2"/>
          <c:tx>
            <c:strRef>
              <c:f>Sheet1!$D$1</c:f>
              <c:strCache>
                <c:ptCount val="1"/>
                <c:pt idx="0">
                  <c:v>Compliance</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D$2:$D$10</c:f>
              <c:numCache>
                <c:formatCode>0</c:formatCode>
                <c:ptCount val="9"/>
                <c:pt idx="0">
                  <c:v>22.9</c:v>
                </c:pt>
                <c:pt idx="1">
                  <c:v>29</c:v>
                </c:pt>
                <c:pt idx="2">
                  <c:v>35</c:v>
                </c:pt>
                <c:pt idx="3">
                  <c:v>41</c:v>
                </c:pt>
                <c:pt idx="4">
                  <c:v>47</c:v>
                </c:pt>
                <c:pt idx="5">
                  <c:v>53</c:v>
                </c:pt>
                <c:pt idx="6">
                  <c:v>59</c:v>
                </c:pt>
                <c:pt idx="7">
                  <c:v>65</c:v>
                </c:pt>
                <c:pt idx="8">
                  <c:v>70</c:v>
                </c:pt>
              </c:numCache>
            </c:numRef>
          </c:val>
          <c:extLst>
            <c:ext xmlns:c16="http://schemas.microsoft.com/office/drawing/2014/chart" uri="{C3380CC4-5D6E-409C-BE32-E72D297353CC}">
              <c16:uniqueId val="{00000001-6456-4716-BD49-6E808023D8F3}"/>
            </c:ext>
          </c:extLst>
        </c:ser>
        <c:dLbls>
          <c:showLegendKey val="0"/>
          <c:showVal val="0"/>
          <c:showCatName val="0"/>
          <c:showSerName val="0"/>
          <c:showPercent val="0"/>
          <c:showBubbleSize val="0"/>
        </c:dLbls>
        <c:gapWidth val="59"/>
        <c:overlap val="100"/>
        <c:axId val="1967597839"/>
        <c:axId val="517210528"/>
      </c:barChart>
      <c:lineChart>
        <c:grouping val="standard"/>
        <c:varyColors val="0"/>
        <c:ser>
          <c:idx val="3"/>
          <c:order val="3"/>
          <c:tx>
            <c:strRef>
              <c:f>Sheet1!$E$1</c:f>
              <c:strCache>
                <c:ptCount val="1"/>
                <c:pt idx="0">
                  <c:v>Total</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E$2:$E$10</c:f>
              <c:numCache>
                <c:formatCode>General</c:formatCode>
                <c:ptCount val="9"/>
                <c:pt idx="0" formatCode="0">
                  <c:v>487.9</c:v>
                </c:pt>
                <c:pt idx="1">
                  <c:v>506</c:v>
                </c:pt>
                <c:pt idx="2">
                  <c:v>522</c:v>
                </c:pt>
                <c:pt idx="3">
                  <c:v>510</c:v>
                </c:pt>
                <c:pt idx="4">
                  <c:v>527</c:v>
                </c:pt>
                <c:pt idx="5">
                  <c:v>541</c:v>
                </c:pt>
                <c:pt idx="6">
                  <c:v>554</c:v>
                </c:pt>
                <c:pt idx="7">
                  <c:v>568</c:v>
                </c:pt>
                <c:pt idx="8">
                  <c:v>582</c:v>
                </c:pt>
              </c:numCache>
            </c:numRef>
          </c:val>
          <c:smooth val="0"/>
          <c:extLst>
            <c:ext xmlns:c16="http://schemas.microsoft.com/office/drawing/2014/chart" uri="{C3380CC4-5D6E-409C-BE32-E72D297353CC}">
              <c16:uniqueId val="{00000001-5D5E-4CF3-A673-D86757F385F1}"/>
            </c:ext>
          </c:extLst>
        </c:ser>
        <c:dLbls>
          <c:showLegendKey val="0"/>
          <c:showVal val="0"/>
          <c:showCatName val="0"/>
          <c:showSerName val="0"/>
          <c:showPercent val="0"/>
          <c:showBubbleSize val="0"/>
        </c:dLbls>
        <c:marker val="1"/>
        <c:smooth val="0"/>
        <c:axId val="17085519"/>
        <c:axId val="17077615"/>
      </c:lineChart>
      <c:catAx>
        <c:axId val="19675978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517210528"/>
        <c:crosses val="autoZero"/>
        <c:auto val="1"/>
        <c:lblAlgn val="ctr"/>
        <c:lblOffset val="100"/>
        <c:noMultiLvlLbl val="0"/>
      </c:catAx>
      <c:valAx>
        <c:axId val="517210528"/>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967597839"/>
        <c:crosses val="autoZero"/>
        <c:crossBetween val="between"/>
      </c:valAx>
      <c:valAx>
        <c:axId val="17077615"/>
        <c:scaling>
          <c:orientation val="minMax"/>
          <c:max val="600"/>
        </c:scaling>
        <c:delete val="1"/>
        <c:axPos val="r"/>
        <c:numFmt formatCode="0" sourceLinked="1"/>
        <c:majorTickMark val="out"/>
        <c:minorTickMark val="none"/>
        <c:tickLblPos val="nextTo"/>
        <c:crossAx val="17085519"/>
        <c:crosses val="max"/>
        <c:crossBetween val="between"/>
      </c:valAx>
      <c:catAx>
        <c:axId val="17085519"/>
        <c:scaling>
          <c:orientation val="minMax"/>
        </c:scaling>
        <c:delete val="1"/>
        <c:axPos val="t"/>
        <c:numFmt formatCode="General" sourceLinked="1"/>
        <c:majorTickMark val="out"/>
        <c:minorTickMark val="none"/>
        <c:tickLblPos val="nextTo"/>
        <c:crossAx val="17077615"/>
        <c:crosses val="max"/>
        <c:auto val="1"/>
        <c:lblAlgn val="ctr"/>
        <c:lblOffset val="100"/>
        <c:tickMarkSkip val="1"/>
        <c:noMultiLvlLbl val="0"/>
      </c:catAx>
      <c:spPr>
        <a:noFill/>
        <a:ln>
          <a:noFill/>
        </a:ln>
        <a:effectLst/>
      </c:spPr>
    </c:plotArea>
    <c:legend>
      <c:legendPos val="r"/>
      <c:layout>
        <c:manualLayout>
          <c:xMode val="edge"/>
          <c:yMode val="edge"/>
          <c:x val="0.71081959936510319"/>
          <c:y val="0.39073895377040119"/>
          <c:w val="0.20148994647765084"/>
          <c:h val="0.4635415742996187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164558393793887E-2"/>
          <c:y val="8.3066585286987772E-3"/>
          <c:w val="0.91132859997244453"/>
          <c:h val="0.7733889531013427"/>
        </c:manualLayout>
      </c:layout>
      <c:barChart>
        <c:barDir val="col"/>
        <c:grouping val="stacked"/>
        <c:varyColors val="0"/>
        <c:ser>
          <c:idx val="0"/>
          <c:order val="0"/>
          <c:tx>
            <c:strRef>
              <c:f>Sheet1!$B$1</c:f>
              <c:strCache>
                <c:ptCount val="1"/>
                <c:pt idx="0">
                  <c:v>FR</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0</c:formatCode>
                <c:ptCount val="9"/>
                <c:pt idx="0">
                  <c:v>191.39999999999998</c:v>
                </c:pt>
                <c:pt idx="1">
                  <c:v>187.95479999999998</c:v>
                </c:pt>
                <c:pt idx="2">
                  <c:v>185</c:v>
                </c:pt>
                <c:pt idx="3">
                  <c:v>181.29999999999998</c:v>
                </c:pt>
                <c:pt idx="4">
                  <c:v>180.39349999999999</c:v>
                </c:pt>
                <c:pt idx="5">
                  <c:v>178.22877799999998</c:v>
                </c:pt>
                <c:pt idx="6">
                  <c:v>176.09003266399998</c:v>
                </c:pt>
                <c:pt idx="7">
                  <c:v>173.97695227203198</c:v>
                </c:pt>
                <c:pt idx="8">
                  <c:v>171.88922884476759</c:v>
                </c:pt>
              </c:numCache>
            </c:numRef>
          </c:val>
          <c:extLst>
            <c:ext xmlns:c16="http://schemas.microsoft.com/office/drawing/2014/chart" uri="{C3380CC4-5D6E-409C-BE32-E72D297353CC}">
              <c16:uniqueId val="{00000000-7F4A-4C74-B96E-B7AD51B0F9B1}"/>
            </c:ext>
          </c:extLst>
        </c:ser>
        <c:ser>
          <c:idx val="1"/>
          <c:order val="1"/>
          <c:tx>
            <c:strRef>
              <c:f>Sheet1!$C$1</c:f>
              <c:strCache>
                <c:ptCount val="1"/>
                <c:pt idx="0">
                  <c:v>NL</c:v>
                </c:pt>
              </c:strCache>
            </c:strRef>
          </c:tx>
          <c:spPr>
            <a:solidFill>
              <a:schemeClr val="tx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C$2:$C$10</c:f>
              <c:numCache>
                <c:formatCode>General</c:formatCode>
                <c:ptCount val="9"/>
                <c:pt idx="0">
                  <c:v>98</c:v>
                </c:pt>
                <c:pt idx="1">
                  <c:v>100</c:v>
                </c:pt>
                <c:pt idx="2">
                  <c:v>102</c:v>
                </c:pt>
                <c:pt idx="3">
                  <c:v>102</c:v>
                </c:pt>
                <c:pt idx="4">
                  <c:v>104</c:v>
                </c:pt>
                <c:pt idx="5">
                  <c:v>106</c:v>
                </c:pt>
                <c:pt idx="6">
                  <c:v>108</c:v>
                </c:pt>
                <c:pt idx="7">
                  <c:v>110</c:v>
                </c:pt>
                <c:pt idx="8">
                  <c:v>112</c:v>
                </c:pt>
              </c:numCache>
            </c:numRef>
          </c:val>
          <c:extLst>
            <c:ext xmlns:c16="http://schemas.microsoft.com/office/drawing/2014/chart" uri="{C3380CC4-5D6E-409C-BE32-E72D297353CC}">
              <c16:uniqueId val="{00000001-7F4A-4C74-B96E-B7AD51B0F9B1}"/>
            </c:ext>
          </c:extLst>
        </c:ser>
        <c:ser>
          <c:idx val="2"/>
          <c:order val="2"/>
          <c:tx>
            <c:strRef>
              <c:f>Sheet1!$D$1</c:f>
              <c:strCache>
                <c:ptCount val="1"/>
                <c:pt idx="0">
                  <c:v>BEL</c:v>
                </c:pt>
              </c:strCache>
            </c:strRef>
          </c:tx>
          <c:spPr>
            <a:solidFill>
              <a:schemeClr val="tx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D$2:$D$10</c:f>
              <c:numCache>
                <c:formatCode>General</c:formatCode>
                <c:ptCount val="9"/>
                <c:pt idx="0">
                  <c:v>47</c:v>
                </c:pt>
                <c:pt idx="1">
                  <c:v>50</c:v>
                </c:pt>
                <c:pt idx="2">
                  <c:v>50</c:v>
                </c:pt>
                <c:pt idx="3">
                  <c:v>50</c:v>
                </c:pt>
                <c:pt idx="4">
                  <c:v>51</c:v>
                </c:pt>
                <c:pt idx="5">
                  <c:v>51</c:v>
                </c:pt>
                <c:pt idx="6">
                  <c:v>51</c:v>
                </c:pt>
                <c:pt idx="7">
                  <c:v>52</c:v>
                </c:pt>
                <c:pt idx="8">
                  <c:v>52</c:v>
                </c:pt>
              </c:numCache>
            </c:numRef>
          </c:val>
          <c:extLst>
            <c:ext xmlns:c16="http://schemas.microsoft.com/office/drawing/2014/chart" uri="{C3380CC4-5D6E-409C-BE32-E72D297353CC}">
              <c16:uniqueId val="{00000003-7F4A-4C74-B96E-B7AD51B0F9B1}"/>
            </c:ext>
          </c:extLst>
        </c:ser>
        <c:ser>
          <c:idx val="3"/>
          <c:order val="3"/>
          <c:tx>
            <c:strRef>
              <c:f>Sheet1!$E$1</c:f>
              <c:strCache>
                <c:ptCount val="1"/>
                <c:pt idx="0">
                  <c:v>LUX</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E$2:$E$10</c:f>
              <c:numCache>
                <c:formatCode>General</c:formatCode>
                <c:ptCount val="9"/>
                <c:pt idx="0">
                  <c:v>4</c:v>
                </c:pt>
                <c:pt idx="1">
                  <c:v>4</c:v>
                </c:pt>
                <c:pt idx="2">
                  <c:v>4</c:v>
                </c:pt>
                <c:pt idx="3">
                  <c:v>4</c:v>
                </c:pt>
                <c:pt idx="4">
                  <c:v>4</c:v>
                </c:pt>
                <c:pt idx="5">
                  <c:v>4</c:v>
                </c:pt>
                <c:pt idx="6">
                  <c:v>4</c:v>
                </c:pt>
                <c:pt idx="7">
                  <c:v>4</c:v>
                </c:pt>
                <c:pt idx="8">
                  <c:v>4</c:v>
                </c:pt>
              </c:numCache>
            </c:numRef>
          </c:val>
          <c:extLst>
            <c:ext xmlns:c16="http://schemas.microsoft.com/office/drawing/2014/chart" uri="{C3380CC4-5D6E-409C-BE32-E72D297353CC}">
              <c16:uniqueId val="{00000004-7F4A-4C74-B96E-B7AD51B0F9B1}"/>
            </c:ext>
          </c:extLst>
        </c:ser>
        <c:dLbls>
          <c:dLblPos val="ctr"/>
          <c:showLegendKey val="0"/>
          <c:showVal val="1"/>
          <c:showCatName val="0"/>
          <c:showSerName val="0"/>
          <c:showPercent val="0"/>
          <c:showBubbleSize val="0"/>
        </c:dLbls>
        <c:gapWidth val="40"/>
        <c:overlap val="100"/>
        <c:axId val="381331664"/>
        <c:axId val="1079978479"/>
      </c:barChart>
      <c:catAx>
        <c:axId val="3813316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crossAx val="1079978479"/>
        <c:crosses val="autoZero"/>
        <c:auto val="1"/>
        <c:lblAlgn val="ctr"/>
        <c:lblOffset val="100"/>
        <c:noMultiLvlLbl val="0"/>
      </c:catAx>
      <c:valAx>
        <c:axId val="1079978479"/>
        <c:scaling>
          <c:orientation val="minMax"/>
        </c:scaling>
        <c:delete val="1"/>
        <c:axPos val="l"/>
        <c:numFmt formatCode="0" sourceLinked="1"/>
        <c:majorTickMark val="none"/>
        <c:minorTickMark val="none"/>
        <c:tickLblPos val="nextTo"/>
        <c:crossAx val="381331664"/>
        <c:crosses val="autoZero"/>
        <c:crossBetween val="between"/>
      </c:valAx>
      <c:spPr>
        <a:noFill/>
        <a:ln>
          <a:noFill/>
        </a:ln>
        <a:effectLst/>
      </c:spPr>
    </c:plotArea>
    <c:legend>
      <c:legendPos val="b"/>
      <c:layout>
        <c:manualLayout>
          <c:xMode val="edge"/>
          <c:yMode val="edge"/>
          <c:x val="0.26996917581439978"/>
          <c:y val="0.87235004807765149"/>
          <c:w val="0.42034068122100776"/>
          <c:h val="9.8994513177019336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Belgium</c:v>
                </c:pt>
              </c:strCache>
            </c:strRef>
          </c:tx>
          <c:spPr>
            <a:ln w="28575" cap="rnd">
              <a:solidFill>
                <a:schemeClr val="tx2"/>
              </a:solidFill>
              <a:round/>
            </a:ln>
            <a:effectLst/>
          </c:spPr>
          <c:marker>
            <c:symbol val="none"/>
          </c:marker>
          <c:cat>
            <c:strRef>
              <c:f>Sheet1!$A$2:$A$17</c:f>
              <c:strCache>
                <c:ptCount val="16"/>
                <c:pt idx="0">
                  <c:v>Q1 2017</c:v>
                </c:pt>
                <c:pt idx="1">
                  <c:v>Q2 2017</c:v>
                </c:pt>
                <c:pt idx="2">
                  <c:v>Q3 2017</c:v>
                </c:pt>
                <c:pt idx="3">
                  <c:v>Q4 2017</c:v>
                </c:pt>
                <c:pt idx="4">
                  <c:v>Q1 2018</c:v>
                </c:pt>
                <c:pt idx="5">
                  <c:v>Q2 2018</c:v>
                </c:pt>
                <c:pt idx="6">
                  <c:v>Q3 2018</c:v>
                </c:pt>
                <c:pt idx="7">
                  <c:v>Q4 2018</c:v>
                </c:pt>
                <c:pt idx="8">
                  <c:v>Q1 2019</c:v>
                </c:pt>
                <c:pt idx="9">
                  <c:v>Q2 2019</c:v>
                </c:pt>
                <c:pt idx="10">
                  <c:v>Q3 2019</c:v>
                </c:pt>
                <c:pt idx="11">
                  <c:v>Q4 2019</c:v>
                </c:pt>
                <c:pt idx="12">
                  <c:v>Q1 2020</c:v>
                </c:pt>
                <c:pt idx="13">
                  <c:v>Q2 2020</c:v>
                </c:pt>
                <c:pt idx="14">
                  <c:v>Q3 2020</c:v>
                </c:pt>
                <c:pt idx="15">
                  <c:v>Q4 2020</c:v>
                </c:pt>
              </c:strCache>
            </c:strRef>
          </c:cat>
          <c:val>
            <c:numRef>
              <c:f>Sheet1!$B$2:$B$17</c:f>
              <c:numCache>
                <c:formatCode>General</c:formatCode>
                <c:ptCount val="16"/>
                <c:pt idx="0">
                  <c:v>0.55000000000000004</c:v>
                </c:pt>
                <c:pt idx="1">
                  <c:v>0.55000000000000004</c:v>
                </c:pt>
                <c:pt idx="2">
                  <c:v>0.6</c:v>
                </c:pt>
                <c:pt idx="3">
                  <c:v>0.54</c:v>
                </c:pt>
                <c:pt idx="4">
                  <c:v>0.57999999999999996</c:v>
                </c:pt>
                <c:pt idx="5">
                  <c:v>0.59</c:v>
                </c:pt>
                <c:pt idx="6">
                  <c:v>0.59</c:v>
                </c:pt>
                <c:pt idx="7">
                  <c:v>0.6</c:v>
                </c:pt>
                <c:pt idx="8">
                  <c:v>0.62</c:v>
                </c:pt>
                <c:pt idx="9">
                  <c:v>0.64</c:v>
                </c:pt>
                <c:pt idx="10">
                  <c:v>0.7</c:v>
                </c:pt>
                <c:pt idx="11">
                  <c:v>0.75</c:v>
                </c:pt>
                <c:pt idx="12">
                  <c:v>0.8</c:v>
                </c:pt>
                <c:pt idx="13">
                  <c:v>0.9</c:v>
                </c:pt>
                <c:pt idx="14">
                  <c:v>0.88</c:v>
                </c:pt>
                <c:pt idx="15">
                  <c:v>0.88</c:v>
                </c:pt>
              </c:numCache>
            </c:numRef>
          </c:val>
          <c:smooth val="0"/>
          <c:extLst>
            <c:ext xmlns:c16="http://schemas.microsoft.com/office/drawing/2014/chart" uri="{C3380CC4-5D6E-409C-BE32-E72D297353CC}">
              <c16:uniqueId val="{00000000-860D-4354-86EF-37EDE17AE319}"/>
            </c:ext>
          </c:extLst>
        </c:ser>
        <c:ser>
          <c:idx val="1"/>
          <c:order val="1"/>
          <c:tx>
            <c:strRef>
              <c:f>Sheet1!$C$1</c:f>
              <c:strCache>
                <c:ptCount val="1"/>
                <c:pt idx="0">
                  <c:v>Netherlands</c:v>
                </c:pt>
              </c:strCache>
            </c:strRef>
          </c:tx>
          <c:spPr>
            <a:ln w="28575" cap="rnd">
              <a:solidFill>
                <a:schemeClr val="bg2"/>
              </a:solidFill>
              <a:round/>
            </a:ln>
            <a:effectLst/>
          </c:spPr>
          <c:marker>
            <c:symbol val="none"/>
          </c:marker>
          <c:cat>
            <c:strRef>
              <c:f>Sheet1!$A$2:$A$17</c:f>
              <c:strCache>
                <c:ptCount val="16"/>
                <c:pt idx="0">
                  <c:v>Q1 2017</c:v>
                </c:pt>
                <c:pt idx="1">
                  <c:v>Q2 2017</c:v>
                </c:pt>
                <c:pt idx="2">
                  <c:v>Q3 2017</c:v>
                </c:pt>
                <c:pt idx="3">
                  <c:v>Q4 2017</c:v>
                </c:pt>
                <c:pt idx="4">
                  <c:v>Q1 2018</c:v>
                </c:pt>
                <c:pt idx="5">
                  <c:v>Q2 2018</c:v>
                </c:pt>
                <c:pt idx="6">
                  <c:v>Q3 2018</c:v>
                </c:pt>
                <c:pt idx="7">
                  <c:v>Q4 2018</c:v>
                </c:pt>
                <c:pt idx="8">
                  <c:v>Q1 2019</c:v>
                </c:pt>
                <c:pt idx="9">
                  <c:v>Q2 2019</c:v>
                </c:pt>
                <c:pt idx="10">
                  <c:v>Q3 2019</c:v>
                </c:pt>
                <c:pt idx="11">
                  <c:v>Q4 2019</c:v>
                </c:pt>
                <c:pt idx="12">
                  <c:v>Q1 2020</c:v>
                </c:pt>
                <c:pt idx="13">
                  <c:v>Q2 2020</c:v>
                </c:pt>
                <c:pt idx="14">
                  <c:v>Q3 2020</c:v>
                </c:pt>
                <c:pt idx="15">
                  <c:v>Q4 2020</c:v>
                </c:pt>
              </c:strCache>
            </c:strRef>
          </c:cat>
          <c:val>
            <c:numRef>
              <c:f>Sheet1!$C$2:$C$17</c:f>
              <c:numCache>
                <c:formatCode>General</c:formatCode>
                <c:ptCount val="16"/>
                <c:pt idx="0">
                  <c:v>0.15</c:v>
                </c:pt>
                <c:pt idx="1">
                  <c:v>0.14000000000000001</c:v>
                </c:pt>
                <c:pt idx="2">
                  <c:v>0.13</c:v>
                </c:pt>
                <c:pt idx="3">
                  <c:v>0.12</c:v>
                </c:pt>
                <c:pt idx="4">
                  <c:v>0.12</c:v>
                </c:pt>
                <c:pt idx="5">
                  <c:v>0.12</c:v>
                </c:pt>
                <c:pt idx="6">
                  <c:v>0.13</c:v>
                </c:pt>
                <c:pt idx="7">
                  <c:v>0.14000000000000001</c:v>
                </c:pt>
                <c:pt idx="8">
                  <c:v>0.15</c:v>
                </c:pt>
                <c:pt idx="9">
                  <c:v>0.17</c:v>
                </c:pt>
                <c:pt idx="10">
                  <c:v>0.17</c:v>
                </c:pt>
                <c:pt idx="11">
                  <c:v>0.18</c:v>
                </c:pt>
                <c:pt idx="12">
                  <c:v>0.25</c:v>
                </c:pt>
                <c:pt idx="13">
                  <c:v>0.3</c:v>
                </c:pt>
                <c:pt idx="14">
                  <c:v>0.33</c:v>
                </c:pt>
                <c:pt idx="15">
                  <c:v>0.38</c:v>
                </c:pt>
              </c:numCache>
            </c:numRef>
          </c:val>
          <c:smooth val="0"/>
          <c:extLst>
            <c:ext xmlns:c16="http://schemas.microsoft.com/office/drawing/2014/chart" uri="{C3380CC4-5D6E-409C-BE32-E72D297353CC}">
              <c16:uniqueId val="{00000001-860D-4354-86EF-37EDE17AE319}"/>
            </c:ext>
          </c:extLst>
        </c:ser>
        <c:dLbls>
          <c:showLegendKey val="0"/>
          <c:showVal val="0"/>
          <c:showCatName val="0"/>
          <c:showSerName val="0"/>
          <c:showPercent val="0"/>
          <c:showBubbleSize val="0"/>
        </c:dLbls>
        <c:smooth val="0"/>
        <c:axId val="361626208"/>
        <c:axId val="217784927"/>
      </c:lineChart>
      <c:catAx>
        <c:axId val="361626208"/>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217784927"/>
        <c:crosses val="autoZero"/>
        <c:auto val="1"/>
        <c:lblAlgn val="ctr"/>
        <c:lblOffset val="100"/>
        <c:noMultiLvlLbl val="0"/>
      </c:catAx>
      <c:valAx>
        <c:axId val="217784927"/>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361626208"/>
        <c:crosses val="autoZero"/>
        <c:crossBetween val="between"/>
      </c:valAx>
      <c:spPr>
        <a:solidFill>
          <a:schemeClr val="bg1"/>
        </a:solid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616822321547621E-2"/>
          <c:y val="6.8745189190008452E-2"/>
          <c:w val="0.89876635535690474"/>
          <c:h val="0.76082439014356373"/>
        </c:manualLayout>
      </c:layout>
      <c:barChart>
        <c:barDir val="col"/>
        <c:grouping val="stacked"/>
        <c:varyColors val="0"/>
        <c:ser>
          <c:idx val="0"/>
          <c:order val="0"/>
          <c:tx>
            <c:strRef>
              <c:f>Feuil1!$B$1</c:f>
              <c:strCache>
                <c:ptCount val="1"/>
                <c:pt idx="0">
                  <c:v>Mass market</c:v>
                </c:pt>
              </c:strCache>
            </c:strRef>
          </c:tx>
          <c:spPr>
            <a:solidFill>
              <a:schemeClr val="bg2">
                <a:lumMod val="40000"/>
                <a:lumOff val="60000"/>
              </a:schemeClr>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5-202E-4032-B9D8-FBEE834D0901}"/>
                </c:ext>
              </c:extLst>
            </c:dLbl>
            <c:dLbl>
              <c:idx val="2"/>
              <c:layout>
                <c:manualLayout>
                  <c:x val="4.6017104645298176E-3"/>
                  <c:y val="-5.4249282708831855E-3"/>
                </c:manualLayout>
              </c:layout>
              <c:tx>
                <c:rich>
                  <a:bodyPr rot="0" spcFirstLastPara="1" vertOverflow="ellipsis" vert="horz" wrap="square" lIns="38100" tIns="19050" rIns="38100" bIns="19050" anchor="ctr" anchorCtr="1">
                    <a:noAutofit/>
                  </a:bodyPr>
                  <a:lstStyle/>
                  <a:p>
                    <a:pPr>
                      <a:defRPr sz="1197" b="0" i="0" u="none" strike="noStrike" kern="1200" baseline="0">
                        <a:solidFill>
                          <a:schemeClr val="tx1"/>
                        </a:solidFill>
                        <a:latin typeface="+mn-lt"/>
                        <a:ea typeface="+mn-ea"/>
                        <a:cs typeface="+mn-cs"/>
                      </a:defRPr>
                    </a:pPr>
                    <a:fld id="{CDD066D7-D5FC-45ED-9CD9-6A685CB8FAE2}" type="VALUE">
                      <a:rPr lang="en-US">
                        <a:solidFill>
                          <a:schemeClr val="tx1"/>
                        </a:solidFill>
                      </a:rPr>
                      <a:pPr>
                        <a:defRPr>
                          <a:solidFill>
                            <a:schemeClr val="tx1"/>
                          </a:solidFill>
                        </a:defRPr>
                      </a:pPr>
                      <a:t>[VALUE]</a:t>
                    </a:fld>
                    <a:endParaRPr lang="fr-FR"/>
                  </a:p>
                </c:rich>
              </c:tx>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layout>
                    <c:manualLayout>
                      <c:w val="0.19077940485921491"/>
                      <c:h val="5.0272321460354971E-2"/>
                    </c:manualLayout>
                  </c15:layout>
                  <c15:dlblFieldTable/>
                  <c15:showDataLabelsRange val="0"/>
                </c:ext>
                <c:ext xmlns:c16="http://schemas.microsoft.com/office/drawing/2014/chart" uri="{C3380CC4-5D6E-409C-BE32-E72D297353CC}">
                  <c16:uniqueId val="{00000001-A795-47B8-B4E8-E777DB442F7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Credit risk</c:v>
                </c:pt>
                <c:pt idx="1">
                  <c:v>Compliance</c:v>
                </c:pt>
                <c:pt idx="2">
                  <c:v>B2B Marketing</c:v>
                </c:pt>
              </c:strCache>
            </c:strRef>
          </c:cat>
          <c:val>
            <c:numRef>
              <c:f>Feuil1!$B$2:$B$4</c:f>
              <c:numCache>
                <c:formatCode>0%</c:formatCode>
                <c:ptCount val="3"/>
                <c:pt idx="0">
                  <c:v>0.12</c:v>
                </c:pt>
                <c:pt idx="1">
                  <c:v>0</c:v>
                </c:pt>
                <c:pt idx="2">
                  <c:v>0.34</c:v>
                </c:pt>
              </c:numCache>
            </c:numRef>
          </c:val>
          <c:extLst>
            <c:ext xmlns:c16="http://schemas.microsoft.com/office/drawing/2014/chart" uri="{C3380CC4-5D6E-409C-BE32-E72D297353CC}">
              <c16:uniqueId val="{00000000-202E-4032-B9D8-FBEE834D0901}"/>
            </c:ext>
          </c:extLst>
        </c:ser>
        <c:ser>
          <c:idx val="1"/>
          <c:order val="1"/>
          <c:tx>
            <c:strRef>
              <c:f>Feuil1!$C$1</c:f>
              <c:strCache>
                <c:ptCount val="1"/>
                <c:pt idx="0">
                  <c:v>Mid market</c:v>
                </c:pt>
              </c:strCache>
            </c:strRef>
          </c:tx>
          <c:spPr>
            <a:solidFill>
              <a:schemeClr val="accent1">
                <a:lumMod val="40000"/>
                <a:lumOff val="60000"/>
              </a:schemeClr>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0-8AFB-4441-87B2-3E3E2B238EA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Credit risk</c:v>
                </c:pt>
                <c:pt idx="1">
                  <c:v>Compliance</c:v>
                </c:pt>
                <c:pt idx="2">
                  <c:v>B2B Marketing</c:v>
                </c:pt>
              </c:strCache>
            </c:strRef>
          </c:cat>
          <c:val>
            <c:numRef>
              <c:f>Feuil1!$C$2:$C$4</c:f>
              <c:numCache>
                <c:formatCode>0%</c:formatCode>
                <c:ptCount val="3"/>
                <c:pt idx="0">
                  <c:v>0.28000000000000003</c:v>
                </c:pt>
                <c:pt idx="1">
                  <c:v>0</c:v>
                </c:pt>
                <c:pt idx="2">
                  <c:v>0.24</c:v>
                </c:pt>
              </c:numCache>
            </c:numRef>
          </c:val>
          <c:extLst>
            <c:ext xmlns:c16="http://schemas.microsoft.com/office/drawing/2014/chart" uri="{C3380CC4-5D6E-409C-BE32-E72D297353CC}">
              <c16:uniqueId val="{00000001-202E-4032-B9D8-FBEE834D0901}"/>
            </c:ext>
          </c:extLst>
        </c:ser>
        <c:ser>
          <c:idx val="2"/>
          <c:order val="2"/>
          <c:tx>
            <c:strRef>
              <c:f>Feuil1!$D$1</c:f>
              <c:strCache>
                <c:ptCount val="1"/>
                <c:pt idx="0">
                  <c:v>Public Institutions</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Credit risk</c:v>
                </c:pt>
                <c:pt idx="1">
                  <c:v>Compliance</c:v>
                </c:pt>
                <c:pt idx="2">
                  <c:v>B2B Marketing</c:v>
                </c:pt>
              </c:strCache>
            </c:strRef>
          </c:cat>
          <c:val>
            <c:numRef>
              <c:f>Feuil1!$D$2:$D$4</c:f>
              <c:numCache>
                <c:formatCode>0%</c:formatCode>
                <c:ptCount val="3"/>
                <c:pt idx="0">
                  <c:v>0.3</c:v>
                </c:pt>
                <c:pt idx="1">
                  <c:v>0.32</c:v>
                </c:pt>
                <c:pt idx="2">
                  <c:v>0.28000000000000003</c:v>
                </c:pt>
              </c:numCache>
            </c:numRef>
          </c:val>
          <c:extLst>
            <c:ext xmlns:c16="http://schemas.microsoft.com/office/drawing/2014/chart" uri="{C3380CC4-5D6E-409C-BE32-E72D297353CC}">
              <c16:uniqueId val="{00000002-202E-4032-B9D8-FBEE834D0901}"/>
            </c:ext>
          </c:extLst>
        </c:ser>
        <c:ser>
          <c:idx val="3"/>
          <c:order val="3"/>
          <c:tx>
            <c:strRef>
              <c:f>Feuil1!$E$1</c:f>
              <c:strCache>
                <c:ptCount val="1"/>
                <c:pt idx="0">
                  <c:v>Key accounts</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Credit risk</c:v>
                </c:pt>
                <c:pt idx="1">
                  <c:v>Compliance</c:v>
                </c:pt>
                <c:pt idx="2">
                  <c:v>B2B Marketing</c:v>
                </c:pt>
              </c:strCache>
            </c:strRef>
          </c:cat>
          <c:val>
            <c:numRef>
              <c:f>Feuil1!$E$2:$E$4</c:f>
              <c:numCache>
                <c:formatCode>0%</c:formatCode>
                <c:ptCount val="3"/>
                <c:pt idx="0">
                  <c:v>0.3</c:v>
                </c:pt>
                <c:pt idx="1">
                  <c:v>0.68</c:v>
                </c:pt>
                <c:pt idx="2">
                  <c:v>0.15</c:v>
                </c:pt>
              </c:numCache>
            </c:numRef>
          </c:val>
          <c:extLst>
            <c:ext xmlns:c16="http://schemas.microsoft.com/office/drawing/2014/chart" uri="{C3380CC4-5D6E-409C-BE32-E72D297353CC}">
              <c16:uniqueId val="{00000004-202E-4032-B9D8-FBEE834D0901}"/>
            </c:ext>
          </c:extLst>
        </c:ser>
        <c:dLbls>
          <c:dLblPos val="ctr"/>
          <c:showLegendKey val="0"/>
          <c:showVal val="1"/>
          <c:showCatName val="0"/>
          <c:showSerName val="0"/>
          <c:showPercent val="0"/>
          <c:showBubbleSize val="0"/>
        </c:dLbls>
        <c:gapWidth val="150"/>
        <c:overlap val="100"/>
        <c:axId val="706979312"/>
        <c:axId val="1693398479"/>
      </c:barChart>
      <c:catAx>
        <c:axId val="7069793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fr-FR"/>
          </a:p>
        </c:txPr>
        <c:crossAx val="1693398479"/>
        <c:crosses val="autoZero"/>
        <c:auto val="1"/>
        <c:lblAlgn val="ctr"/>
        <c:lblOffset val="100"/>
        <c:noMultiLvlLbl val="0"/>
      </c:catAx>
      <c:valAx>
        <c:axId val="1693398479"/>
        <c:scaling>
          <c:orientation val="minMax"/>
        </c:scaling>
        <c:delete val="1"/>
        <c:axPos val="l"/>
        <c:numFmt formatCode="0%" sourceLinked="1"/>
        <c:majorTickMark val="out"/>
        <c:minorTickMark val="none"/>
        <c:tickLblPos val="nextTo"/>
        <c:crossAx val="7069793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NL</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0</c:formatCode>
                <c:ptCount val="4"/>
                <c:pt idx="0">
                  <c:v>504</c:v>
                </c:pt>
                <c:pt idx="1">
                  <c:v>573</c:v>
                </c:pt>
                <c:pt idx="2">
                  <c:v>667</c:v>
                </c:pt>
                <c:pt idx="3">
                  <c:v>637</c:v>
                </c:pt>
              </c:numCache>
            </c:numRef>
          </c:val>
          <c:extLst>
            <c:ext xmlns:c16="http://schemas.microsoft.com/office/drawing/2014/chart" uri="{C3380CC4-5D6E-409C-BE32-E72D297353CC}">
              <c16:uniqueId val="{00000000-FA8E-454C-8275-CA7F35B11D53}"/>
            </c:ext>
          </c:extLst>
        </c:ser>
        <c:ser>
          <c:idx val="1"/>
          <c:order val="1"/>
          <c:tx>
            <c:strRef>
              <c:f>Sheet1!$C$1</c:f>
              <c:strCache>
                <c:ptCount val="1"/>
                <c:pt idx="0">
                  <c:v>BEL</c:v>
                </c:pt>
              </c:strCache>
            </c:strRef>
          </c:tx>
          <c:spPr>
            <a:solidFill>
              <a:schemeClr val="tx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0</c:formatCode>
                <c:ptCount val="4"/>
                <c:pt idx="0">
                  <c:v>356</c:v>
                </c:pt>
                <c:pt idx="1">
                  <c:v>383</c:v>
                </c:pt>
                <c:pt idx="2">
                  <c:v>434</c:v>
                </c:pt>
                <c:pt idx="3">
                  <c:v>404</c:v>
                </c:pt>
              </c:numCache>
            </c:numRef>
          </c:val>
          <c:extLst>
            <c:ext xmlns:c16="http://schemas.microsoft.com/office/drawing/2014/chart" uri="{C3380CC4-5D6E-409C-BE32-E72D297353CC}">
              <c16:uniqueId val="{00000001-FA8E-454C-8275-CA7F35B11D53}"/>
            </c:ext>
          </c:extLst>
        </c:ser>
        <c:ser>
          <c:idx val="2"/>
          <c:order val="2"/>
          <c:tx>
            <c:strRef>
              <c:f>Sheet1!$D$1</c:f>
              <c:strCache>
                <c:ptCount val="1"/>
                <c:pt idx="0">
                  <c:v>FR</c:v>
                </c:pt>
              </c:strCache>
            </c:strRef>
          </c:tx>
          <c:spPr>
            <a:solidFill>
              <a:schemeClr val="tx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D$2:$D$5</c:f>
              <c:numCache>
                <c:formatCode>#,##0</c:formatCode>
                <c:ptCount val="4"/>
                <c:pt idx="0">
                  <c:v>581</c:v>
                </c:pt>
                <c:pt idx="1">
                  <c:v>635</c:v>
                </c:pt>
                <c:pt idx="2">
                  <c:v>690</c:v>
                </c:pt>
                <c:pt idx="3">
                  <c:v>666</c:v>
                </c:pt>
              </c:numCache>
            </c:numRef>
          </c:val>
          <c:extLst>
            <c:ext xmlns:c16="http://schemas.microsoft.com/office/drawing/2014/chart" uri="{C3380CC4-5D6E-409C-BE32-E72D297353CC}">
              <c16:uniqueId val="{00000002-FA8E-454C-8275-CA7F35B11D53}"/>
            </c:ext>
          </c:extLst>
        </c:ser>
        <c:dLbls>
          <c:dLblPos val="ctr"/>
          <c:showLegendKey val="0"/>
          <c:showVal val="1"/>
          <c:showCatName val="0"/>
          <c:showSerName val="0"/>
          <c:showPercent val="0"/>
          <c:showBubbleSize val="0"/>
        </c:dLbls>
        <c:gapWidth val="150"/>
        <c:overlap val="100"/>
        <c:axId val="1151727072"/>
        <c:axId val="1724277887"/>
      </c:barChart>
      <c:catAx>
        <c:axId val="1151727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724277887"/>
        <c:crosses val="autoZero"/>
        <c:auto val="1"/>
        <c:lblAlgn val="ctr"/>
        <c:lblOffset val="100"/>
        <c:noMultiLvlLbl val="0"/>
      </c:catAx>
      <c:valAx>
        <c:axId val="1724277887"/>
        <c:scaling>
          <c:orientation val="minMax"/>
        </c:scaling>
        <c:delete val="1"/>
        <c:axPos val="l"/>
        <c:numFmt formatCode="#,##0" sourceLinked="1"/>
        <c:majorTickMark val="none"/>
        <c:minorTickMark val="none"/>
        <c:tickLblPos val="nextTo"/>
        <c:crossAx val="1151727072"/>
        <c:crosses val="autoZero"/>
        <c:crossBetween val="between"/>
      </c:valAx>
      <c:spPr>
        <a:noFill/>
        <a:ln w="25400">
          <a:noFill/>
        </a:ln>
        <a:effectLst/>
      </c:spPr>
    </c:plotArea>
    <c:legend>
      <c:legendPos val="b"/>
      <c:layout>
        <c:manualLayout>
          <c:xMode val="edge"/>
          <c:yMode val="edge"/>
          <c:x val="0.31143577189806265"/>
          <c:y val="0.81487899020950005"/>
          <c:w val="0.5793285670868592"/>
          <c:h val="0.109801867163522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104002098807486E-2"/>
          <c:y val="0.16125084773813178"/>
          <c:w val="0.89912195819209084"/>
          <c:h val="0.50826022025210826"/>
        </c:manualLayout>
      </c:layout>
      <c:barChart>
        <c:barDir val="col"/>
        <c:grouping val="stacked"/>
        <c:varyColors val="0"/>
        <c:ser>
          <c:idx val="0"/>
          <c:order val="0"/>
          <c:tx>
            <c:strRef>
              <c:f>Sheet1!$B$1</c:f>
              <c:strCache>
                <c:ptCount val="1"/>
                <c:pt idx="0">
                  <c:v>NL</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3</c:v>
                </c:pt>
                <c:pt idx="1">
                  <c:v>2014</c:v>
                </c:pt>
                <c:pt idx="2">
                  <c:v>2015</c:v>
                </c:pt>
                <c:pt idx="3">
                  <c:v>2016</c:v>
                </c:pt>
                <c:pt idx="4">
                  <c:v>2017</c:v>
                </c:pt>
                <c:pt idx="5">
                  <c:v>2018</c:v>
                </c:pt>
                <c:pt idx="6">
                  <c:v>2019</c:v>
                </c:pt>
              </c:numCache>
            </c:numRef>
          </c:cat>
          <c:val>
            <c:numRef>
              <c:f>Sheet1!$B$2:$B$8</c:f>
              <c:numCache>
                <c:formatCode>General</c:formatCode>
                <c:ptCount val="7"/>
                <c:pt idx="0">
                  <c:v>52</c:v>
                </c:pt>
                <c:pt idx="1">
                  <c:v>53</c:v>
                </c:pt>
                <c:pt idx="2">
                  <c:v>66</c:v>
                </c:pt>
                <c:pt idx="3">
                  <c:v>83</c:v>
                </c:pt>
                <c:pt idx="4">
                  <c:v>90</c:v>
                </c:pt>
                <c:pt idx="5">
                  <c:v>98</c:v>
                </c:pt>
                <c:pt idx="6">
                  <c:v>112</c:v>
                </c:pt>
              </c:numCache>
            </c:numRef>
          </c:val>
          <c:extLst>
            <c:ext xmlns:c16="http://schemas.microsoft.com/office/drawing/2014/chart" uri="{C3380CC4-5D6E-409C-BE32-E72D297353CC}">
              <c16:uniqueId val="{00000000-FC37-42A8-BBE7-B88AC220D0B0}"/>
            </c:ext>
          </c:extLst>
        </c:ser>
        <c:ser>
          <c:idx val="1"/>
          <c:order val="1"/>
          <c:tx>
            <c:strRef>
              <c:f>Sheet1!$C$1</c:f>
              <c:strCache>
                <c:ptCount val="1"/>
                <c:pt idx="0">
                  <c:v>BEL</c:v>
                </c:pt>
              </c:strCache>
            </c:strRef>
          </c:tx>
          <c:spPr>
            <a:solidFill>
              <a:schemeClr val="tx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3</c:v>
                </c:pt>
                <c:pt idx="1">
                  <c:v>2014</c:v>
                </c:pt>
                <c:pt idx="2">
                  <c:v>2015</c:v>
                </c:pt>
                <c:pt idx="3">
                  <c:v>2016</c:v>
                </c:pt>
                <c:pt idx="4">
                  <c:v>2017</c:v>
                </c:pt>
                <c:pt idx="5">
                  <c:v>2018</c:v>
                </c:pt>
                <c:pt idx="6">
                  <c:v>2019</c:v>
                </c:pt>
              </c:numCache>
            </c:numRef>
          </c:cat>
          <c:val>
            <c:numRef>
              <c:f>Sheet1!$C$2:$C$8</c:f>
              <c:numCache>
                <c:formatCode>General</c:formatCode>
                <c:ptCount val="7"/>
                <c:pt idx="0">
                  <c:v>48</c:v>
                </c:pt>
                <c:pt idx="1">
                  <c:v>55</c:v>
                </c:pt>
                <c:pt idx="2">
                  <c:v>61</c:v>
                </c:pt>
                <c:pt idx="3">
                  <c:v>63</c:v>
                </c:pt>
                <c:pt idx="4">
                  <c:v>70</c:v>
                </c:pt>
                <c:pt idx="5">
                  <c:v>77</c:v>
                </c:pt>
                <c:pt idx="6">
                  <c:v>85</c:v>
                </c:pt>
              </c:numCache>
            </c:numRef>
          </c:val>
          <c:extLst>
            <c:ext xmlns:c16="http://schemas.microsoft.com/office/drawing/2014/chart" uri="{C3380CC4-5D6E-409C-BE32-E72D297353CC}">
              <c16:uniqueId val="{00000001-FC37-42A8-BBE7-B88AC220D0B0}"/>
            </c:ext>
          </c:extLst>
        </c:ser>
        <c:ser>
          <c:idx val="2"/>
          <c:order val="2"/>
          <c:tx>
            <c:strRef>
              <c:f>Sheet1!$D$1</c:f>
              <c:strCache>
                <c:ptCount val="1"/>
                <c:pt idx="0">
                  <c:v>FR</c:v>
                </c:pt>
              </c:strCache>
            </c:strRef>
          </c:tx>
          <c:spPr>
            <a:solidFill>
              <a:schemeClr val="tx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3</c:v>
                </c:pt>
                <c:pt idx="1">
                  <c:v>2014</c:v>
                </c:pt>
                <c:pt idx="2">
                  <c:v>2015</c:v>
                </c:pt>
                <c:pt idx="3">
                  <c:v>2016</c:v>
                </c:pt>
                <c:pt idx="4">
                  <c:v>2017</c:v>
                </c:pt>
                <c:pt idx="5">
                  <c:v>2018</c:v>
                </c:pt>
                <c:pt idx="6">
                  <c:v>2019</c:v>
                </c:pt>
              </c:numCache>
            </c:numRef>
          </c:cat>
          <c:val>
            <c:numRef>
              <c:f>Sheet1!$D$2:$D$8</c:f>
              <c:numCache>
                <c:formatCode>General</c:formatCode>
                <c:ptCount val="7"/>
                <c:pt idx="0">
                  <c:v>186</c:v>
                </c:pt>
                <c:pt idx="1">
                  <c:v>207</c:v>
                </c:pt>
                <c:pt idx="2">
                  <c:v>230</c:v>
                </c:pt>
                <c:pt idx="3">
                  <c:v>255</c:v>
                </c:pt>
                <c:pt idx="4">
                  <c:v>275</c:v>
                </c:pt>
                <c:pt idx="5">
                  <c:v>300</c:v>
                </c:pt>
                <c:pt idx="6">
                  <c:v>328</c:v>
                </c:pt>
              </c:numCache>
            </c:numRef>
          </c:val>
          <c:extLst>
            <c:ext xmlns:c16="http://schemas.microsoft.com/office/drawing/2014/chart" uri="{C3380CC4-5D6E-409C-BE32-E72D297353CC}">
              <c16:uniqueId val="{00000002-FC37-42A8-BBE7-B88AC220D0B0}"/>
            </c:ext>
          </c:extLst>
        </c:ser>
        <c:dLbls>
          <c:dLblPos val="ctr"/>
          <c:showLegendKey val="0"/>
          <c:showVal val="1"/>
          <c:showCatName val="0"/>
          <c:showSerName val="0"/>
          <c:showPercent val="0"/>
          <c:showBubbleSize val="0"/>
        </c:dLbls>
        <c:gapWidth val="80"/>
        <c:overlap val="100"/>
        <c:axId val="782084320"/>
        <c:axId val="1226751807"/>
      </c:barChart>
      <c:catAx>
        <c:axId val="78208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26751807"/>
        <c:crosses val="autoZero"/>
        <c:auto val="1"/>
        <c:lblAlgn val="ctr"/>
        <c:lblOffset val="100"/>
        <c:noMultiLvlLbl val="0"/>
      </c:catAx>
      <c:valAx>
        <c:axId val="1226751807"/>
        <c:scaling>
          <c:orientation val="minMax"/>
        </c:scaling>
        <c:delete val="1"/>
        <c:axPos val="l"/>
        <c:numFmt formatCode="General" sourceLinked="1"/>
        <c:majorTickMark val="none"/>
        <c:minorTickMark val="none"/>
        <c:tickLblPos val="nextTo"/>
        <c:crossAx val="782084320"/>
        <c:crosses val="autoZero"/>
        <c:crossBetween val="between"/>
      </c:valAx>
      <c:spPr>
        <a:noFill/>
        <a:ln>
          <a:noFill/>
        </a:ln>
        <a:effectLst/>
      </c:spPr>
    </c:plotArea>
    <c:legend>
      <c:legendPos val="b"/>
      <c:layout>
        <c:manualLayout>
          <c:xMode val="edge"/>
          <c:yMode val="edge"/>
          <c:x val="0.33174228487775742"/>
          <c:y val="0.80232579977167029"/>
          <c:w val="0.34358651358563036"/>
          <c:h val="9.7272395720000585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234775561111549E-2"/>
          <c:y val="5.1013235323652872E-2"/>
          <c:w val="0.91264783665833271"/>
          <c:h val="0.76193823515628656"/>
        </c:manualLayout>
      </c:layout>
      <c:barChart>
        <c:barDir val="col"/>
        <c:grouping val="clustered"/>
        <c:varyColors val="0"/>
        <c:ser>
          <c:idx val="1"/>
          <c:order val="0"/>
          <c:tx>
            <c:strRef>
              <c:f>Sheet1!$C$1</c:f>
              <c:strCache>
                <c:ptCount val="1"/>
                <c:pt idx="0">
                  <c:v>Series 2</c:v>
                </c:pt>
              </c:strCache>
            </c:strRef>
          </c:tx>
          <c:spPr>
            <a:solidFill>
              <a:schemeClr val="accent2"/>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1-50F3-42F3-A3DA-C3B53E30363A}"/>
              </c:ext>
            </c:extLst>
          </c:dPt>
          <c:cat>
            <c:strRef>
              <c:f>Sheet1!$A$2</c:f>
              <c:strCache>
                <c:ptCount val="1"/>
                <c:pt idx="0">
                  <c:v>Category 1</c:v>
                </c:pt>
              </c:strCache>
            </c:strRef>
          </c:cat>
          <c:val>
            <c:numRef>
              <c:f>Sheet1!$C$2</c:f>
              <c:numCache>
                <c:formatCode>General</c:formatCode>
                <c:ptCount val="1"/>
                <c:pt idx="0">
                  <c:v>6</c:v>
                </c:pt>
              </c:numCache>
            </c:numRef>
          </c:val>
          <c:extLst>
            <c:ext xmlns:c16="http://schemas.microsoft.com/office/drawing/2014/chart" uri="{C3380CC4-5D6E-409C-BE32-E72D297353CC}">
              <c16:uniqueId val="{00000002-50F3-42F3-A3DA-C3B53E30363A}"/>
            </c:ext>
          </c:extLst>
        </c:ser>
        <c:ser>
          <c:idx val="2"/>
          <c:order val="1"/>
          <c:tx>
            <c:strRef>
              <c:f>Sheet1!$D$1</c:f>
              <c:strCache>
                <c:ptCount val="1"/>
                <c:pt idx="0">
                  <c:v>Series 3</c:v>
                </c:pt>
              </c:strCache>
            </c:strRef>
          </c:tx>
          <c:spPr>
            <a:solidFill>
              <a:schemeClr val="tx2"/>
            </a:solidFill>
            <a:ln>
              <a:noFill/>
            </a:ln>
            <a:effectLst/>
          </c:spPr>
          <c:invertIfNegative val="0"/>
          <c:cat>
            <c:strRef>
              <c:f>Sheet1!$A$2</c:f>
              <c:strCache>
                <c:ptCount val="1"/>
                <c:pt idx="0">
                  <c:v>Category 1</c:v>
                </c:pt>
              </c:strCache>
            </c:strRef>
          </c:cat>
          <c:val>
            <c:numRef>
              <c:f>Sheet1!$D$2</c:f>
              <c:numCache>
                <c:formatCode>General</c:formatCode>
                <c:ptCount val="1"/>
                <c:pt idx="0">
                  <c:v>5</c:v>
                </c:pt>
              </c:numCache>
            </c:numRef>
          </c:val>
          <c:extLst>
            <c:ext xmlns:c16="http://schemas.microsoft.com/office/drawing/2014/chart" uri="{C3380CC4-5D6E-409C-BE32-E72D297353CC}">
              <c16:uniqueId val="{00000003-50F3-42F3-A3DA-C3B53E30363A}"/>
            </c:ext>
          </c:extLst>
        </c:ser>
        <c:ser>
          <c:idx val="3"/>
          <c:order val="2"/>
          <c:tx>
            <c:strRef>
              <c:f>Sheet1!$E$1</c:f>
              <c:strCache>
                <c:ptCount val="1"/>
                <c:pt idx="0">
                  <c:v>Series 4</c:v>
                </c:pt>
              </c:strCache>
            </c:strRef>
          </c:tx>
          <c:spPr>
            <a:solidFill>
              <a:schemeClr val="tx2"/>
            </a:solidFill>
            <a:ln>
              <a:noFill/>
            </a:ln>
            <a:effectLst/>
          </c:spPr>
          <c:invertIfNegative val="0"/>
          <c:cat>
            <c:strRef>
              <c:f>Sheet1!$A$2</c:f>
              <c:strCache>
                <c:ptCount val="1"/>
                <c:pt idx="0">
                  <c:v>Category 1</c:v>
                </c:pt>
              </c:strCache>
            </c:strRef>
          </c:cat>
          <c:val>
            <c:numRef>
              <c:f>Sheet1!$E$2</c:f>
              <c:numCache>
                <c:formatCode>General</c:formatCode>
                <c:ptCount val="1"/>
                <c:pt idx="0">
                  <c:v>5</c:v>
                </c:pt>
              </c:numCache>
            </c:numRef>
          </c:val>
          <c:extLst>
            <c:ext xmlns:c16="http://schemas.microsoft.com/office/drawing/2014/chart" uri="{C3380CC4-5D6E-409C-BE32-E72D297353CC}">
              <c16:uniqueId val="{00000004-50F3-42F3-A3DA-C3B53E30363A}"/>
            </c:ext>
          </c:extLst>
        </c:ser>
        <c:ser>
          <c:idx val="4"/>
          <c:order val="3"/>
          <c:tx>
            <c:strRef>
              <c:f>Sheet1!$F$1</c:f>
              <c:strCache>
                <c:ptCount val="1"/>
                <c:pt idx="0">
                  <c:v>Series 5</c:v>
                </c:pt>
              </c:strCache>
            </c:strRef>
          </c:tx>
          <c:spPr>
            <a:solidFill>
              <a:schemeClr val="tx2"/>
            </a:solidFill>
            <a:ln>
              <a:noFill/>
            </a:ln>
            <a:effectLst/>
          </c:spPr>
          <c:invertIfNegative val="0"/>
          <c:cat>
            <c:strRef>
              <c:f>Sheet1!$A$2</c:f>
              <c:strCache>
                <c:ptCount val="1"/>
                <c:pt idx="0">
                  <c:v>Category 1</c:v>
                </c:pt>
              </c:strCache>
            </c:strRef>
          </c:cat>
          <c:val>
            <c:numRef>
              <c:f>Sheet1!$F$2</c:f>
              <c:numCache>
                <c:formatCode>General</c:formatCode>
                <c:ptCount val="1"/>
                <c:pt idx="0">
                  <c:v>5</c:v>
                </c:pt>
              </c:numCache>
            </c:numRef>
          </c:val>
          <c:extLst>
            <c:ext xmlns:c16="http://schemas.microsoft.com/office/drawing/2014/chart" uri="{C3380CC4-5D6E-409C-BE32-E72D297353CC}">
              <c16:uniqueId val="{00000005-50F3-42F3-A3DA-C3B53E30363A}"/>
            </c:ext>
          </c:extLst>
        </c:ser>
        <c:dLbls>
          <c:showLegendKey val="0"/>
          <c:showVal val="0"/>
          <c:showCatName val="0"/>
          <c:showSerName val="0"/>
          <c:showPercent val="0"/>
          <c:showBubbleSize val="0"/>
        </c:dLbls>
        <c:gapWidth val="219"/>
        <c:overlap val="-27"/>
        <c:axId val="1679214063"/>
        <c:axId val="1753123312"/>
      </c:barChart>
      <c:catAx>
        <c:axId val="1679214063"/>
        <c:scaling>
          <c:orientation val="minMax"/>
        </c:scaling>
        <c:delete val="1"/>
        <c:axPos val="b"/>
        <c:numFmt formatCode="General" sourceLinked="1"/>
        <c:majorTickMark val="none"/>
        <c:minorTickMark val="none"/>
        <c:tickLblPos val="nextTo"/>
        <c:crossAx val="1753123312"/>
        <c:crosses val="autoZero"/>
        <c:auto val="1"/>
        <c:lblAlgn val="ctr"/>
        <c:lblOffset val="100"/>
        <c:noMultiLvlLbl val="0"/>
      </c:catAx>
      <c:valAx>
        <c:axId val="1753123312"/>
        <c:scaling>
          <c:orientation val="minMax"/>
        </c:scaling>
        <c:delete val="1"/>
        <c:axPos val="l"/>
        <c:numFmt formatCode="General" sourceLinked="1"/>
        <c:majorTickMark val="none"/>
        <c:minorTickMark val="none"/>
        <c:tickLblPos val="nextTo"/>
        <c:crossAx val="167921406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315741583257506E-2"/>
          <c:y val="0.11818181818181818"/>
          <c:w val="0.90536851683348507"/>
          <c:h val="0.76363636363636356"/>
        </c:manualLayout>
      </c:layout>
      <c:barChart>
        <c:barDir val="col"/>
        <c:grouping val="stacked"/>
        <c:varyColors val="0"/>
        <c:ser>
          <c:idx val="0"/>
          <c:order val="0"/>
          <c:spPr>
            <a:solidFill>
              <a:schemeClr val="tx2"/>
            </a:solidFill>
            <a:ln>
              <a:noFill/>
            </a:ln>
          </c:spPr>
          <c:invertIfNegative val="0"/>
          <c:val>
            <c:numRef>
              <c:f>Sheet1!$A$1:$D$1</c:f>
              <c:numCache>
                <c:formatCode>General</c:formatCode>
                <c:ptCount val="4"/>
                <c:pt idx="0">
                  <c:v>8</c:v>
                </c:pt>
                <c:pt idx="2">
                  <c:v>5.4666666666666686</c:v>
                </c:pt>
                <c:pt idx="3">
                  <c:v>5.7666666666666728</c:v>
                </c:pt>
              </c:numCache>
            </c:numRef>
          </c:val>
          <c:extLst>
            <c:ext xmlns:c16="http://schemas.microsoft.com/office/drawing/2014/chart" uri="{C3380CC4-5D6E-409C-BE32-E72D297353CC}">
              <c16:uniqueId val="{00000000-2BD4-4BD3-BA40-59C10D9613BD}"/>
            </c:ext>
          </c:extLst>
        </c:ser>
        <c:dLbls>
          <c:showLegendKey val="0"/>
          <c:showVal val="0"/>
          <c:showCatName val="0"/>
          <c:showSerName val="0"/>
          <c:showPercent val="0"/>
          <c:showBubbleSize val="0"/>
        </c:dLbls>
        <c:gapWidth val="80"/>
        <c:overlap val="100"/>
        <c:axId val="122342831"/>
        <c:axId val="1"/>
      </c:barChart>
      <c:catAx>
        <c:axId val="12234283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56666666666667"/>
          <c:min val="0"/>
        </c:scaling>
        <c:delete val="1"/>
        <c:axPos val="l"/>
        <c:numFmt formatCode="General" sourceLinked="1"/>
        <c:majorTickMark val="out"/>
        <c:minorTickMark val="none"/>
        <c:tickLblPos val="nextTo"/>
        <c:crossAx val="122342831"/>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Column1</c:v>
                </c:pt>
              </c:strCache>
            </c:strRef>
          </c:tx>
          <c:spPr>
            <a:solidFill>
              <a:schemeClr val="tx2"/>
            </a:solidFill>
            <a:ln>
              <a:noFill/>
            </a:ln>
            <a:effectLst/>
          </c:spPr>
          <c:invertIfNegative val="0"/>
          <c:dPt>
            <c:idx val="3"/>
            <c:invertIfNegative val="0"/>
            <c:bubble3D val="0"/>
            <c:spPr>
              <a:solidFill>
                <a:schemeClr val="bg2"/>
              </a:solidFill>
              <a:ln>
                <a:noFill/>
              </a:ln>
              <a:effectLst/>
            </c:spPr>
            <c:extLst>
              <c:ext xmlns:c16="http://schemas.microsoft.com/office/drawing/2014/chart" uri="{C3380CC4-5D6E-409C-BE32-E72D297353CC}">
                <c16:uniqueId val="{00000001-28B1-4B4B-A52D-E01199320857}"/>
              </c:ext>
            </c:extLst>
          </c:dPt>
          <c:dPt>
            <c:idx val="4"/>
            <c:invertIfNegative val="0"/>
            <c:bubble3D val="0"/>
            <c:spPr>
              <a:solidFill>
                <a:schemeClr val="bg2"/>
              </a:solidFill>
              <a:ln>
                <a:noFill/>
              </a:ln>
              <a:effectLst/>
            </c:spPr>
            <c:extLst>
              <c:ext xmlns:c16="http://schemas.microsoft.com/office/drawing/2014/chart" uri="{C3380CC4-5D6E-409C-BE32-E72D297353CC}">
                <c16:uniqueId val="{00000003-28B1-4B4B-A52D-E01199320857}"/>
              </c:ext>
            </c:extLst>
          </c:dPt>
          <c:dPt>
            <c:idx val="5"/>
            <c:invertIfNegative val="0"/>
            <c:bubble3D val="0"/>
            <c:spPr>
              <a:solidFill>
                <a:schemeClr val="bg2"/>
              </a:solidFill>
              <a:ln>
                <a:noFill/>
              </a:ln>
              <a:effectLst/>
            </c:spPr>
            <c:extLst>
              <c:ext xmlns:c16="http://schemas.microsoft.com/office/drawing/2014/chart" uri="{C3380CC4-5D6E-409C-BE32-E72D297353CC}">
                <c16:uniqueId val="{00000005-28B1-4B4B-A52D-E01199320857}"/>
              </c:ext>
            </c:extLst>
          </c:dPt>
          <c:dPt>
            <c:idx val="6"/>
            <c:invertIfNegative val="0"/>
            <c:bubble3D val="0"/>
            <c:spPr>
              <a:solidFill>
                <a:schemeClr val="bg2"/>
              </a:solidFill>
              <a:ln>
                <a:noFill/>
              </a:ln>
              <a:effectLst/>
            </c:spPr>
            <c:extLst>
              <c:ext xmlns:c16="http://schemas.microsoft.com/office/drawing/2014/chart" uri="{C3380CC4-5D6E-409C-BE32-E72D297353CC}">
                <c16:uniqueId val="{00000007-28B1-4B4B-A52D-E01199320857}"/>
              </c:ext>
            </c:extLst>
          </c:dPt>
          <c:dPt>
            <c:idx val="7"/>
            <c:invertIfNegative val="0"/>
            <c:bubble3D val="0"/>
            <c:spPr>
              <a:solidFill>
                <a:srgbClr val="8FCD9F"/>
              </a:solidFill>
              <a:ln>
                <a:noFill/>
              </a:ln>
              <a:effectLst/>
            </c:spPr>
            <c:extLst>
              <c:ext xmlns:c16="http://schemas.microsoft.com/office/drawing/2014/chart" uri="{C3380CC4-5D6E-409C-BE32-E72D297353CC}">
                <c16:uniqueId val="{00000009-28B1-4B4B-A52D-E01199320857}"/>
              </c:ext>
            </c:extLst>
          </c:dPt>
          <c:dPt>
            <c:idx val="8"/>
            <c:invertIfNegative val="0"/>
            <c:bubble3D val="0"/>
            <c:spPr>
              <a:solidFill>
                <a:srgbClr val="8FCD9F"/>
              </a:solidFill>
              <a:ln>
                <a:noFill/>
              </a:ln>
              <a:effectLst/>
            </c:spPr>
            <c:extLst>
              <c:ext xmlns:c16="http://schemas.microsoft.com/office/drawing/2014/chart" uri="{C3380CC4-5D6E-409C-BE32-E72D297353CC}">
                <c16:uniqueId val="{0000000B-28B1-4B4B-A52D-E01199320857}"/>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General</c:formatCode>
                <c:ptCount val="9"/>
                <c:pt idx="0">
                  <c:v>8.8000000000000007</c:v>
                </c:pt>
                <c:pt idx="1">
                  <c:v>12.6</c:v>
                </c:pt>
                <c:pt idx="2">
                  <c:v>16.5</c:v>
                </c:pt>
                <c:pt idx="3">
                  <c:v>20.2</c:v>
                </c:pt>
                <c:pt idx="4">
                  <c:v>23.6</c:v>
                </c:pt>
                <c:pt idx="5">
                  <c:v>26.8</c:v>
                </c:pt>
                <c:pt idx="6">
                  <c:v>29.6</c:v>
                </c:pt>
                <c:pt idx="7">
                  <c:v>32.15</c:v>
                </c:pt>
                <c:pt idx="8">
                  <c:v>34.299999999999997</c:v>
                </c:pt>
              </c:numCache>
            </c:numRef>
          </c:val>
          <c:extLst>
            <c:ext xmlns:c16="http://schemas.microsoft.com/office/drawing/2014/chart" uri="{C3380CC4-5D6E-409C-BE32-E72D297353CC}">
              <c16:uniqueId val="{0000000C-28B1-4B4B-A52D-E01199320857}"/>
            </c:ext>
          </c:extLst>
        </c:ser>
        <c:dLbls>
          <c:dLblPos val="ctr"/>
          <c:showLegendKey val="0"/>
          <c:showVal val="1"/>
          <c:showCatName val="0"/>
          <c:showSerName val="0"/>
          <c:showPercent val="0"/>
          <c:showBubbleSize val="0"/>
        </c:dLbls>
        <c:gapWidth val="50"/>
        <c:overlap val="100"/>
        <c:axId val="311177488"/>
        <c:axId val="653073504"/>
      </c:barChart>
      <c:catAx>
        <c:axId val="311177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53073504"/>
        <c:crosses val="autoZero"/>
        <c:auto val="1"/>
        <c:lblAlgn val="ctr"/>
        <c:lblOffset val="100"/>
        <c:noMultiLvlLbl val="0"/>
      </c:catAx>
      <c:valAx>
        <c:axId val="653073504"/>
        <c:scaling>
          <c:orientation val="minMax"/>
        </c:scaling>
        <c:delete val="1"/>
        <c:axPos val="l"/>
        <c:numFmt formatCode="General" sourceLinked="1"/>
        <c:majorTickMark val="none"/>
        <c:minorTickMark val="none"/>
        <c:tickLblPos val="nextTo"/>
        <c:crossAx val="311177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Column1</c:v>
                </c:pt>
              </c:strCache>
            </c:strRef>
          </c:tx>
          <c:spPr>
            <a:solidFill>
              <a:schemeClr val="tx2"/>
            </a:solidFill>
            <a:ln>
              <a:noFill/>
            </a:ln>
            <a:effectLst/>
          </c:spPr>
          <c:invertIfNegative val="0"/>
          <c:dPt>
            <c:idx val="3"/>
            <c:invertIfNegative val="0"/>
            <c:bubble3D val="0"/>
            <c:spPr>
              <a:solidFill>
                <a:schemeClr val="bg2"/>
              </a:solidFill>
              <a:ln>
                <a:noFill/>
              </a:ln>
              <a:effectLst/>
            </c:spPr>
            <c:extLst>
              <c:ext xmlns:c16="http://schemas.microsoft.com/office/drawing/2014/chart" uri="{C3380CC4-5D6E-409C-BE32-E72D297353CC}">
                <c16:uniqueId val="{00000001-28B1-4B4B-A52D-E01199320857}"/>
              </c:ext>
            </c:extLst>
          </c:dPt>
          <c:dPt>
            <c:idx val="4"/>
            <c:invertIfNegative val="0"/>
            <c:bubble3D val="0"/>
            <c:spPr>
              <a:solidFill>
                <a:schemeClr val="bg2"/>
              </a:solidFill>
              <a:ln>
                <a:noFill/>
              </a:ln>
              <a:effectLst/>
            </c:spPr>
            <c:extLst>
              <c:ext xmlns:c16="http://schemas.microsoft.com/office/drawing/2014/chart" uri="{C3380CC4-5D6E-409C-BE32-E72D297353CC}">
                <c16:uniqueId val="{00000003-28B1-4B4B-A52D-E01199320857}"/>
              </c:ext>
            </c:extLst>
          </c:dPt>
          <c:dPt>
            <c:idx val="5"/>
            <c:invertIfNegative val="0"/>
            <c:bubble3D val="0"/>
            <c:spPr>
              <a:solidFill>
                <a:schemeClr val="bg2"/>
              </a:solidFill>
              <a:ln>
                <a:noFill/>
              </a:ln>
              <a:effectLst/>
            </c:spPr>
            <c:extLst>
              <c:ext xmlns:c16="http://schemas.microsoft.com/office/drawing/2014/chart" uri="{C3380CC4-5D6E-409C-BE32-E72D297353CC}">
                <c16:uniqueId val="{00000005-28B1-4B4B-A52D-E01199320857}"/>
              </c:ext>
            </c:extLst>
          </c:dPt>
          <c:dPt>
            <c:idx val="6"/>
            <c:invertIfNegative val="0"/>
            <c:bubble3D val="0"/>
            <c:spPr>
              <a:solidFill>
                <a:schemeClr val="bg2"/>
              </a:solidFill>
              <a:ln>
                <a:noFill/>
              </a:ln>
              <a:effectLst/>
            </c:spPr>
            <c:extLst>
              <c:ext xmlns:c16="http://schemas.microsoft.com/office/drawing/2014/chart" uri="{C3380CC4-5D6E-409C-BE32-E72D297353CC}">
                <c16:uniqueId val="{00000007-28B1-4B4B-A52D-E01199320857}"/>
              </c:ext>
            </c:extLst>
          </c:dPt>
          <c:dPt>
            <c:idx val="7"/>
            <c:invertIfNegative val="0"/>
            <c:bubble3D val="0"/>
            <c:spPr>
              <a:solidFill>
                <a:srgbClr val="8FCD9F"/>
              </a:solidFill>
              <a:ln>
                <a:noFill/>
              </a:ln>
              <a:effectLst/>
            </c:spPr>
            <c:extLst>
              <c:ext xmlns:c16="http://schemas.microsoft.com/office/drawing/2014/chart" uri="{C3380CC4-5D6E-409C-BE32-E72D297353CC}">
                <c16:uniqueId val="{00000009-28B1-4B4B-A52D-E01199320857}"/>
              </c:ext>
            </c:extLst>
          </c:dPt>
          <c:dPt>
            <c:idx val="8"/>
            <c:invertIfNegative val="0"/>
            <c:bubble3D val="0"/>
            <c:spPr>
              <a:solidFill>
                <a:srgbClr val="8FCD9F"/>
              </a:solidFill>
              <a:ln>
                <a:noFill/>
              </a:ln>
              <a:effectLst/>
            </c:spPr>
            <c:extLst>
              <c:ext xmlns:c16="http://schemas.microsoft.com/office/drawing/2014/chart" uri="{C3380CC4-5D6E-409C-BE32-E72D297353CC}">
                <c16:uniqueId val="{0000000B-28B1-4B4B-A52D-E01199320857}"/>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0.0</c:formatCode>
                <c:ptCount val="9"/>
                <c:pt idx="0">
                  <c:v>14.285034068883384</c:v>
                </c:pt>
                <c:pt idx="1">
                  <c:v>16.361588235294118</c:v>
                </c:pt>
                <c:pt idx="2">
                  <c:v>18.55725</c:v>
                </c:pt>
                <c:pt idx="3">
                  <c:v>21.039810000000003</c:v>
                </c:pt>
                <c:pt idx="4">
                  <c:v>23.634591999999998</c:v>
                </c:pt>
                <c:pt idx="5">
                  <c:v>26.346074156</c:v>
                </c:pt>
                <c:pt idx="6">
                  <c:v>29.478915537440002</c:v>
                </c:pt>
                <c:pt idx="7">
                  <c:v>32.737963734875201</c:v>
                </c:pt>
                <c:pt idx="8">
                  <c:v>35.828262797903243</c:v>
                </c:pt>
              </c:numCache>
            </c:numRef>
          </c:val>
          <c:extLst>
            <c:ext xmlns:c16="http://schemas.microsoft.com/office/drawing/2014/chart" uri="{C3380CC4-5D6E-409C-BE32-E72D297353CC}">
              <c16:uniqueId val="{0000000C-28B1-4B4B-A52D-E01199320857}"/>
            </c:ext>
          </c:extLst>
        </c:ser>
        <c:dLbls>
          <c:dLblPos val="ctr"/>
          <c:showLegendKey val="0"/>
          <c:showVal val="1"/>
          <c:showCatName val="0"/>
          <c:showSerName val="0"/>
          <c:showPercent val="0"/>
          <c:showBubbleSize val="0"/>
        </c:dLbls>
        <c:gapWidth val="50"/>
        <c:overlap val="100"/>
        <c:axId val="311177488"/>
        <c:axId val="653073504"/>
      </c:barChart>
      <c:catAx>
        <c:axId val="311177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53073504"/>
        <c:crosses val="autoZero"/>
        <c:auto val="1"/>
        <c:lblAlgn val="ctr"/>
        <c:lblOffset val="100"/>
        <c:noMultiLvlLbl val="0"/>
      </c:catAx>
      <c:valAx>
        <c:axId val="653073504"/>
        <c:scaling>
          <c:orientation val="minMax"/>
        </c:scaling>
        <c:delete val="1"/>
        <c:axPos val="l"/>
        <c:numFmt formatCode="0.0" sourceLinked="1"/>
        <c:majorTickMark val="none"/>
        <c:minorTickMark val="none"/>
        <c:tickLblPos val="nextTo"/>
        <c:crossAx val="311177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871692014399037E-2"/>
          <c:y val="5.8348028237605536E-2"/>
          <c:w val="0.90625661597120188"/>
          <c:h val="0.78252098565983397"/>
        </c:manualLayout>
      </c:layout>
      <c:barChart>
        <c:barDir val="bar"/>
        <c:grouping val="clustered"/>
        <c:varyColors val="0"/>
        <c:ser>
          <c:idx val="0"/>
          <c:order val="0"/>
          <c:tx>
            <c:strRef>
              <c:f>Feuil1!$B$1</c:f>
              <c:strCache>
                <c:ptCount val="1"/>
                <c:pt idx="0">
                  <c:v>Série 1</c:v>
                </c:pt>
              </c:strCache>
            </c:strRef>
          </c:tx>
          <c:spPr>
            <a:solidFill>
              <a:schemeClr val="accent1"/>
            </a:solidFill>
            <a:ln>
              <a:noFill/>
            </a:ln>
            <a:effectLst/>
          </c:spPr>
          <c:invertIfNegative val="0"/>
          <c:dPt>
            <c:idx val="0"/>
            <c:invertIfNegative val="0"/>
            <c:bubble3D val="0"/>
            <c:spPr>
              <a:solidFill>
                <a:schemeClr val="bg2">
                  <a:lumMod val="40000"/>
                  <a:lumOff val="60000"/>
                </a:schemeClr>
              </a:solidFill>
              <a:ln>
                <a:noFill/>
              </a:ln>
              <a:effectLst/>
            </c:spPr>
            <c:extLst>
              <c:ext xmlns:c16="http://schemas.microsoft.com/office/drawing/2014/chart" uri="{C3380CC4-5D6E-409C-BE32-E72D297353CC}">
                <c16:uniqueId val="{00000007-02F3-4814-8360-7B6CF35EDFCB}"/>
              </c:ext>
            </c:extLst>
          </c:dPt>
          <c:dPt>
            <c:idx val="1"/>
            <c:invertIfNegative val="0"/>
            <c:bubble3D val="0"/>
            <c:spPr>
              <a:solidFill>
                <a:schemeClr val="bg2">
                  <a:lumMod val="60000"/>
                  <a:lumOff val="40000"/>
                </a:schemeClr>
              </a:solidFill>
              <a:ln>
                <a:noFill/>
              </a:ln>
              <a:effectLst/>
            </c:spPr>
            <c:extLst>
              <c:ext xmlns:c16="http://schemas.microsoft.com/office/drawing/2014/chart" uri="{C3380CC4-5D6E-409C-BE32-E72D297353CC}">
                <c16:uniqueId val="{00000008-02F3-4814-8360-7B6CF35EDFCB}"/>
              </c:ext>
            </c:extLst>
          </c:dPt>
          <c:dPt>
            <c:idx val="2"/>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9-02F3-4814-8360-7B6CF35EDFCB}"/>
              </c:ext>
            </c:extLst>
          </c:dPt>
          <c:dPt>
            <c:idx val="3"/>
            <c:invertIfNegative val="0"/>
            <c:bubble3D val="0"/>
            <c:spPr>
              <a:solidFill>
                <a:schemeClr val="tx2"/>
              </a:solidFill>
              <a:ln>
                <a:noFill/>
              </a:ln>
              <a:effectLst/>
            </c:spPr>
            <c:extLst>
              <c:ext xmlns:c16="http://schemas.microsoft.com/office/drawing/2014/chart" uri="{C3380CC4-5D6E-409C-BE32-E72D297353CC}">
                <c16:uniqueId val="{0000000A-02F3-4814-8360-7B6CF35EDFCB}"/>
              </c:ext>
            </c:extLst>
          </c:dPt>
          <c:dPt>
            <c:idx val="4"/>
            <c:invertIfNegative val="0"/>
            <c:bubble3D val="0"/>
            <c:spPr>
              <a:solidFill>
                <a:schemeClr val="bg2">
                  <a:lumMod val="50000"/>
                </a:schemeClr>
              </a:solidFill>
              <a:ln>
                <a:noFill/>
              </a:ln>
              <a:effectLst/>
            </c:spPr>
            <c:extLst>
              <c:ext xmlns:c16="http://schemas.microsoft.com/office/drawing/2014/chart" uri="{C3380CC4-5D6E-409C-BE32-E72D297353CC}">
                <c16:uniqueId val="{0000000B-02F3-4814-8360-7B6CF35EDFCB}"/>
              </c:ext>
            </c:extLst>
          </c:dPt>
          <c:cat>
            <c:strRef>
              <c:f>Feuil1!$A$2:$A$6</c:f>
              <c:strCache>
                <c:ptCount val="5"/>
                <c:pt idx="0">
                  <c:v>Lack of in-house language skills</c:v>
                </c:pt>
                <c:pt idx="1">
                  <c:v>Other</c:v>
                </c:pt>
                <c:pt idx="2">
                  <c:v>Cost</c:v>
                </c:pt>
                <c:pt idx="3">
                  <c:v>Lack of in-house compliance skills</c:v>
                </c:pt>
                <c:pt idx="4">
                  <c:v>Need for additional assurance on compliance processes</c:v>
                </c:pt>
              </c:strCache>
            </c:strRef>
          </c:cat>
          <c:val>
            <c:numRef>
              <c:f>Feuil1!$B$2:$B$6</c:f>
              <c:numCache>
                <c:formatCode>0%</c:formatCode>
                <c:ptCount val="5"/>
                <c:pt idx="0">
                  <c:v>0.08</c:v>
                </c:pt>
                <c:pt idx="1">
                  <c:v>0.14000000000000001</c:v>
                </c:pt>
                <c:pt idx="2">
                  <c:v>0.41</c:v>
                </c:pt>
                <c:pt idx="3">
                  <c:v>0.48</c:v>
                </c:pt>
                <c:pt idx="4">
                  <c:v>0.56000000000000005</c:v>
                </c:pt>
              </c:numCache>
            </c:numRef>
          </c:val>
          <c:extLst>
            <c:ext xmlns:c16="http://schemas.microsoft.com/office/drawing/2014/chart" uri="{C3380CC4-5D6E-409C-BE32-E72D297353CC}">
              <c16:uniqueId val="{00000000-02F3-4814-8360-7B6CF35EDFCB}"/>
            </c:ext>
          </c:extLst>
        </c:ser>
        <c:dLbls>
          <c:showLegendKey val="0"/>
          <c:showVal val="0"/>
          <c:showCatName val="0"/>
          <c:showSerName val="0"/>
          <c:showPercent val="0"/>
          <c:showBubbleSize val="0"/>
        </c:dLbls>
        <c:gapWidth val="78"/>
        <c:axId val="60528031"/>
        <c:axId val="509740624"/>
      </c:barChart>
      <c:catAx>
        <c:axId val="60528031"/>
        <c:scaling>
          <c:orientation val="minMax"/>
        </c:scaling>
        <c:delete val="1"/>
        <c:axPos val="l"/>
        <c:numFmt formatCode="General" sourceLinked="1"/>
        <c:majorTickMark val="none"/>
        <c:minorTickMark val="none"/>
        <c:tickLblPos val="nextTo"/>
        <c:crossAx val="509740624"/>
        <c:crosses val="autoZero"/>
        <c:auto val="1"/>
        <c:lblAlgn val="ctr"/>
        <c:lblOffset val="100"/>
        <c:noMultiLvlLbl val="0"/>
      </c:catAx>
      <c:valAx>
        <c:axId val="509740624"/>
        <c:scaling>
          <c:orientation val="minMax"/>
        </c:scaling>
        <c:delete val="1"/>
        <c:axPos val="b"/>
        <c:numFmt formatCode="0%" sourceLinked="1"/>
        <c:majorTickMark val="none"/>
        <c:minorTickMark val="none"/>
        <c:tickLblPos val="nextTo"/>
        <c:crossAx val="60528031"/>
        <c:crosses val="autoZero"/>
        <c:crossBetween val="between"/>
      </c:valAx>
      <c:spPr>
        <a:noFill/>
        <a:ln w="127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365121446109465E-2"/>
          <c:y val="4.7648640223092502E-2"/>
          <c:w val="0.66353778812355302"/>
          <c:h val="0.74501974502349688"/>
        </c:manualLayout>
      </c:layout>
      <c:barChart>
        <c:barDir val="col"/>
        <c:grouping val="stacked"/>
        <c:varyColors val="0"/>
        <c:ser>
          <c:idx val="0"/>
          <c:order val="0"/>
          <c:tx>
            <c:strRef>
              <c:f>Sheet1!$B$1</c:f>
              <c:strCache>
                <c:ptCount val="1"/>
                <c:pt idx="0">
                  <c:v>Reduction</c:v>
                </c:pt>
              </c:strCache>
            </c:strRef>
          </c:tx>
          <c:spPr>
            <a:solidFill>
              <a:schemeClr val="tx2">
                <a:lumMod val="75000"/>
              </a:schemeClr>
            </a:solidFill>
            <a:ln>
              <a:noFill/>
            </a:ln>
            <a:effectLst/>
          </c:spPr>
          <c:invertIfNegative val="0"/>
          <c:cat>
            <c:strRef>
              <c:f>Sheet1!$A$2:$A$3</c:f>
              <c:strCache>
                <c:ptCount val="2"/>
                <c:pt idx="0">
                  <c:v>Average Worldwide</c:v>
                </c:pt>
                <c:pt idx="1">
                  <c:v>France</c:v>
                </c:pt>
              </c:strCache>
            </c:strRef>
          </c:cat>
          <c:val>
            <c:numRef>
              <c:f>Sheet1!$B$2:$B$3</c:f>
              <c:numCache>
                <c:formatCode>General</c:formatCode>
                <c:ptCount val="2"/>
                <c:pt idx="0">
                  <c:v>62</c:v>
                </c:pt>
                <c:pt idx="1">
                  <c:v>63</c:v>
                </c:pt>
              </c:numCache>
            </c:numRef>
          </c:val>
          <c:extLst>
            <c:ext xmlns:c16="http://schemas.microsoft.com/office/drawing/2014/chart" uri="{C3380CC4-5D6E-409C-BE32-E72D297353CC}">
              <c16:uniqueId val="{00000000-122D-4661-A177-D76676AC5F95}"/>
            </c:ext>
          </c:extLst>
        </c:ser>
        <c:ser>
          <c:idx val="1"/>
          <c:order val="1"/>
          <c:tx>
            <c:strRef>
              <c:f>Sheet1!$C$1</c:f>
              <c:strCache>
                <c:ptCount val="1"/>
                <c:pt idx="0">
                  <c:v>Stable</c:v>
                </c:pt>
              </c:strCache>
            </c:strRef>
          </c:tx>
          <c:spPr>
            <a:solidFill>
              <a:schemeClr val="tx2">
                <a:lumMod val="60000"/>
                <a:lumOff val="40000"/>
              </a:schemeClr>
            </a:solidFill>
            <a:ln>
              <a:noFill/>
            </a:ln>
            <a:effectLst/>
          </c:spPr>
          <c:invertIfNegative val="0"/>
          <c:cat>
            <c:strRef>
              <c:f>Sheet1!$A$2:$A$3</c:f>
              <c:strCache>
                <c:ptCount val="2"/>
                <c:pt idx="0">
                  <c:v>Average Worldwide</c:v>
                </c:pt>
                <c:pt idx="1">
                  <c:v>France</c:v>
                </c:pt>
              </c:strCache>
            </c:strRef>
          </c:cat>
          <c:val>
            <c:numRef>
              <c:f>Sheet1!$C$2:$C$3</c:f>
              <c:numCache>
                <c:formatCode>General</c:formatCode>
                <c:ptCount val="2"/>
                <c:pt idx="0">
                  <c:v>18</c:v>
                </c:pt>
                <c:pt idx="1">
                  <c:v>19</c:v>
                </c:pt>
              </c:numCache>
            </c:numRef>
          </c:val>
          <c:extLst>
            <c:ext xmlns:c16="http://schemas.microsoft.com/office/drawing/2014/chart" uri="{C3380CC4-5D6E-409C-BE32-E72D297353CC}">
              <c16:uniqueId val="{00000001-122D-4661-A177-D76676AC5F95}"/>
            </c:ext>
          </c:extLst>
        </c:ser>
        <c:ser>
          <c:idx val="2"/>
          <c:order val="2"/>
          <c:tx>
            <c:strRef>
              <c:f>Sheet1!$D$1</c:f>
              <c:strCache>
                <c:ptCount val="1"/>
                <c:pt idx="0">
                  <c:v>Increase</c:v>
                </c:pt>
              </c:strCache>
            </c:strRef>
          </c:tx>
          <c:spPr>
            <a:solidFill>
              <a:schemeClr val="tx2">
                <a:lumMod val="40000"/>
                <a:lumOff val="60000"/>
              </a:schemeClr>
            </a:solidFill>
            <a:ln>
              <a:noFill/>
            </a:ln>
            <a:effectLst/>
          </c:spPr>
          <c:invertIfNegative val="0"/>
          <c:cat>
            <c:strRef>
              <c:f>Sheet1!$A$2:$A$3</c:f>
              <c:strCache>
                <c:ptCount val="2"/>
                <c:pt idx="0">
                  <c:v>Average Worldwide</c:v>
                </c:pt>
                <c:pt idx="1">
                  <c:v>France</c:v>
                </c:pt>
              </c:strCache>
            </c:strRef>
          </c:cat>
          <c:val>
            <c:numRef>
              <c:f>Sheet1!$D$2:$D$3</c:f>
              <c:numCache>
                <c:formatCode>General</c:formatCode>
                <c:ptCount val="2"/>
                <c:pt idx="0">
                  <c:v>20</c:v>
                </c:pt>
                <c:pt idx="1">
                  <c:v>18</c:v>
                </c:pt>
              </c:numCache>
            </c:numRef>
          </c:val>
          <c:extLst>
            <c:ext xmlns:c16="http://schemas.microsoft.com/office/drawing/2014/chart" uri="{C3380CC4-5D6E-409C-BE32-E72D297353CC}">
              <c16:uniqueId val="{00000002-122D-4661-A177-D76676AC5F95}"/>
            </c:ext>
          </c:extLst>
        </c:ser>
        <c:dLbls>
          <c:showLegendKey val="0"/>
          <c:showVal val="0"/>
          <c:showCatName val="0"/>
          <c:showSerName val="0"/>
          <c:showPercent val="0"/>
          <c:showBubbleSize val="0"/>
        </c:dLbls>
        <c:gapWidth val="225"/>
        <c:overlap val="100"/>
        <c:axId val="1471319535"/>
        <c:axId val="1640604944"/>
      </c:barChart>
      <c:catAx>
        <c:axId val="14713195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640604944"/>
        <c:crosses val="autoZero"/>
        <c:auto val="1"/>
        <c:lblAlgn val="ctr"/>
        <c:lblOffset val="100"/>
        <c:noMultiLvlLbl val="0"/>
      </c:catAx>
      <c:valAx>
        <c:axId val="1640604944"/>
        <c:scaling>
          <c:orientation val="minMax"/>
        </c:scaling>
        <c:delete val="1"/>
        <c:axPos val="l"/>
        <c:numFmt formatCode="General" sourceLinked="1"/>
        <c:majorTickMark val="none"/>
        <c:minorTickMark val="none"/>
        <c:tickLblPos val="nextTo"/>
        <c:crossAx val="14713195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Column1</c:v>
                </c:pt>
              </c:strCache>
            </c:strRef>
          </c:tx>
          <c:spPr>
            <a:solidFill>
              <a:schemeClr val="tx2"/>
            </a:solidFill>
            <a:ln>
              <a:noFill/>
            </a:ln>
            <a:effectLst/>
          </c:spPr>
          <c:invertIfNegative val="0"/>
          <c:dPt>
            <c:idx val="3"/>
            <c:invertIfNegative val="0"/>
            <c:bubble3D val="0"/>
            <c:spPr>
              <a:solidFill>
                <a:schemeClr val="bg2"/>
              </a:solidFill>
              <a:ln>
                <a:noFill/>
              </a:ln>
              <a:effectLst/>
            </c:spPr>
            <c:extLst>
              <c:ext xmlns:c16="http://schemas.microsoft.com/office/drawing/2014/chart" uri="{C3380CC4-5D6E-409C-BE32-E72D297353CC}">
                <c16:uniqueId val="{00000003-CB81-4693-A231-10005AC72CE5}"/>
              </c:ext>
            </c:extLst>
          </c:dPt>
          <c:dPt>
            <c:idx val="4"/>
            <c:invertIfNegative val="0"/>
            <c:bubble3D val="0"/>
            <c:spPr>
              <a:solidFill>
                <a:schemeClr val="bg2"/>
              </a:solidFill>
              <a:ln>
                <a:noFill/>
              </a:ln>
              <a:effectLst/>
            </c:spPr>
            <c:extLst>
              <c:ext xmlns:c16="http://schemas.microsoft.com/office/drawing/2014/chart" uri="{C3380CC4-5D6E-409C-BE32-E72D297353CC}">
                <c16:uniqueId val="{00000002-CB81-4693-A231-10005AC72CE5}"/>
              </c:ext>
            </c:extLst>
          </c:dPt>
          <c:dPt>
            <c:idx val="5"/>
            <c:invertIfNegative val="0"/>
            <c:bubble3D val="0"/>
            <c:spPr>
              <a:solidFill>
                <a:schemeClr val="bg2"/>
              </a:solidFill>
              <a:ln>
                <a:noFill/>
              </a:ln>
              <a:effectLst/>
            </c:spPr>
            <c:extLst>
              <c:ext xmlns:c16="http://schemas.microsoft.com/office/drawing/2014/chart" uri="{C3380CC4-5D6E-409C-BE32-E72D297353CC}">
                <c16:uniqueId val="{00000001-CB81-4693-A231-10005AC72CE5}"/>
              </c:ext>
            </c:extLst>
          </c:dPt>
          <c:dPt>
            <c:idx val="6"/>
            <c:invertIfNegative val="0"/>
            <c:bubble3D val="0"/>
            <c:spPr>
              <a:solidFill>
                <a:schemeClr val="bg2"/>
              </a:solidFill>
              <a:ln>
                <a:noFill/>
              </a:ln>
              <a:effectLst/>
            </c:spPr>
            <c:extLst>
              <c:ext xmlns:c16="http://schemas.microsoft.com/office/drawing/2014/chart" uri="{C3380CC4-5D6E-409C-BE32-E72D297353CC}">
                <c16:uniqueId val="{00000000-CB81-4693-A231-10005AC72CE5}"/>
              </c:ext>
            </c:extLst>
          </c:dPt>
          <c:dPt>
            <c:idx val="7"/>
            <c:invertIfNegative val="0"/>
            <c:bubble3D val="0"/>
            <c:spPr>
              <a:solidFill>
                <a:srgbClr val="8FCD9F"/>
              </a:solidFill>
              <a:ln>
                <a:noFill/>
              </a:ln>
              <a:effectLst/>
            </c:spPr>
            <c:extLst>
              <c:ext xmlns:c16="http://schemas.microsoft.com/office/drawing/2014/chart" uri="{C3380CC4-5D6E-409C-BE32-E72D297353CC}">
                <c16:uniqueId val="{00000009-6A91-4854-9CC0-3CC95F9C95F5}"/>
              </c:ext>
            </c:extLst>
          </c:dPt>
          <c:dPt>
            <c:idx val="8"/>
            <c:invertIfNegative val="0"/>
            <c:bubble3D val="0"/>
            <c:spPr>
              <a:solidFill>
                <a:srgbClr val="8FCD9F"/>
              </a:solidFill>
              <a:ln>
                <a:noFill/>
              </a:ln>
              <a:effectLst/>
            </c:spPr>
            <c:extLst>
              <c:ext xmlns:c16="http://schemas.microsoft.com/office/drawing/2014/chart" uri="{C3380CC4-5D6E-409C-BE32-E72D297353CC}">
                <c16:uniqueId val="{0000000A-6A91-4854-9CC0-3CC95F9C95F5}"/>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0</c:formatCode>
                <c:ptCount val="9"/>
                <c:pt idx="0">
                  <c:v>69.3</c:v>
                </c:pt>
                <c:pt idx="1">
                  <c:v>76.923000000000002</c:v>
                </c:pt>
                <c:pt idx="2">
                  <c:v>85</c:v>
                </c:pt>
                <c:pt idx="3">
                  <c:v>76.5</c:v>
                </c:pt>
                <c:pt idx="4">
                  <c:v>81.855000000000004</c:v>
                </c:pt>
                <c:pt idx="5">
                  <c:v>86.766300000000015</c:v>
                </c:pt>
                <c:pt idx="6">
                  <c:v>91.972278000000017</c:v>
                </c:pt>
                <c:pt idx="7">
                  <c:v>97.490614680000022</c:v>
                </c:pt>
                <c:pt idx="8">
                  <c:v>103.34005156080003</c:v>
                </c:pt>
              </c:numCache>
            </c:numRef>
          </c:val>
          <c:extLst>
            <c:ext xmlns:c16="http://schemas.microsoft.com/office/drawing/2014/chart" uri="{C3380CC4-5D6E-409C-BE32-E72D297353CC}">
              <c16:uniqueId val="{00000000-46B7-462B-BEA9-25C3399D33DB}"/>
            </c:ext>
          </c:extLst>
        </c:ser>
        <c:dLbls>
          <c:dLblPos val="ctr"/>
          <c:showLegendKey val="0"/>
          <c:showVal val="1"/>
          <c:showCatName val="0"/>
          <c:showSerName val="0"/>
          <c:showPercent val="0"/>
          <c:showBubbleSize val="0"/>
        </c:dLbls>
        <c:gapWidth val="100"/>
        <c:overlap val="100"/>
        <c:axId val="311177488"/>
        <c:axId val="653073504"/>
      </c:barChart>
      <c:catAx>
        <c:axId val="311177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53073504"/>
        <c:crosses val="autoZero"/>
        <c:auto val="1"/>
        <c:lblAlgn val="ctr"/>
        <c:lblOffset val="100"/>
        <c:noMultiLvlLbl val="0"/>
      </c:catAx>
      <c:valAx>
        <c:axId val="653073504"/>
        <c:scaling>
          <c:orientation val="minMax"/>
        </c:scaling>
        <c:delete val="1"/>
        <c:axPos val="l"/>
        <c:numFmt formatCode="0" sourceLinked="1"/>
        <c:majorTickMark val="none"/>
        <c:minorTickMark val="none"/>
        <c:tickLblPos val="nextTo"/>
        <c:crossAx val="311177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Column1</c:v>
                </c:pt>
              </c:strCache>
            </c:strRef>
          </c:tx>
          <c:spPr>
            <a:solidFill>
              <a:schemeClr val="tx2"/>
            </a:solidFill>
            <a:ln>
              <a:noFill/>
            </a:ln>
            <a:effectLst/>
          </c:spPr>
          <c:invertIfNegative val="0"/>
          <c:dPt>
            <c:idx val="3"/>
            <c:invertIfNegative val="0"/>
            <c:bubble3D val="0"/>
            <c:spPr>
              <a:solidFill>
                <a:schemeClr val="bg2"/>
              </a:solidFill>
              <a:ln>
                <a:noFill/>
              </a:ln>
              <a:effectLst/>
            </c:spPr>
            <c:extLst>
              <c:ext xmlns:c16="http://schemas.microsoft.com/office/drawing/2014/chart" uri="{C3380CC4-5D6E-409C-BE32-E72D297353CC}">
                <c16:uniqueId val="{00000003-8109-4EE3-8411-CCC4AA6A8C73}"/>
              </c:ext>
            </c:extLst>
          </c:dPt>
          <c:dPt>
            <c:idx val="4"/>
            <c:invertIfNegative val="0"/>
            <c:bubble3D val="0"/>
            <c:spPr>
              <a:solidFill>
                <a:schemeClr val="bg2"/>
              </a:solidFill>
              <a:ln>
                <a:noFill/>
              </a:ln>
              <a:effectLst/>
            </c:spPr>
            <c:extLst>
              <c:ext xmlns:c16="http://schemas.microsoft.com/office/drawing/2014/chart" uri="{C3380CC4-5D6E-409C-BE32-E72D297353CC}">
                <c16:uniqueId val="{00000002-8109-4EE3-8411-CCC4AA6A8C73}"/>
              </c:ext>
            </c:extLst>
          </c:dPt>
          <c:dPt>
            <c:idx val="5"/>
            <c:invertIfNegative val="0"/>
            <c:bubble3D val="0"/>
            <c:spPr>
              <a:solidFill>
                <a:schemeClr val="bg2"/>
              </a:solidFill>
              <a:ln>
                <a:noFill/>
              </a:ln>
              <a:effectLst/>
            </c:spPr>
            <c:extLst>
              <c:ext xmlns:c16="http://schemas.microsoft.com/office/drawing/2014/chart" uri="{C3380CC4-5D6E-409C-BE32-E72D297353CC}">
                <c16:uniqueId val="{00000001-8109-4EE3-8411-CCC4AA6A8C73}"/>
              </c:ext>
            </c:extLst>
          </c:dPt>
          <c:dPt>
            <c:idx val="6"/>
            <c:invertIfNegative val="0"/>
            <c:bubble3D val="0"/>
            <c:spPr>
              <a:solidFill>
                <a:schemeClr val="bg2"/>
              </a:solidFill>
              <a:ln>
                <a:noFill/>
              </a:ln>
              <a:effectLst/>
            </c:spPr>
            <c:extLst>
              <c:ext xmlns:c16="http://schemas.microsoft.com/office/drawing/2014/chart" uri="{C3380CC4-5D6E-409C-BE32-E72D297353CC}">
                <c16:uniqueId val="{00000000-8109-4EE3-8411-CCC4AA6A8C73}"/>
              </c:ext>
            </c:extLst>
          </c:dPt>
          <c:dPt>
            <c:idx val="7"/>
            <c:invertIfNegative val="0"/>
            <c:bubble3D val="0"/>
            <c:spPr>
              <a:solidFill>
                <a:srgbClr val="8FCD9F"/>
              </a:solidFill>
              <a:ln>
                <a:noFill/>
              </a:ln>
              <a:effectLst/>
            </c:spPr>
            <c:extLst>
              <c:ext xmlns:c16="http://schemas.microsoft.com/office/drawing/2014/chart" uri="{C3380CC4-5D6E-409C-BE32-E72D297353CC}">
                <c16:uniqueId val="{00000009-B33F-4855-A5ED-16A3F35C5ED0}"/>
              </c:ext>
            </c:extLst>
          </c:dPt>
          <c:dPt>
            <c:idx val="8"/>
            <c:invertIfNegative val="0"/>
            <c:bubble3D val="0"/>
            <c:spPr>
              <a:solidFill>
                <a:srgbClr val="8FCD9F"/>
              </a:solidFill>
              <a:ln>
                <a:noFill/>
              </a:ln>
              <a:effectLst/>
            </c:spPr>
            <c:extLst>
              <c:ext xmlns:c16="http://schemas.microsoft.com/office/drawing/2014/chart" uri="{C3380CC4-5D6E-409C-BE32-E72D297353CC}">
                <c16:uniqueId val="{0000000B-BECF-4F23-9944-62AA366C7465}"/>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0</c:formatCode>
                <c:ptCount val="9"/>
                <c:pt idx="0">
                  <c:v>55.700263754784899</c:v>
                </c:pt>
                <c:pt idx="1">
                  <c:v>58.279647944832597</c:v>
                </c:pt>
                <c:pt idx="2">
                  <c:v>61</c:v>
                </c:pt>
                <c:pt idx="3">
                  <c:v>54.97</c:v>
                </c:pt>
                <c:pt idx="4">
                  <c:v>58.097900000000003</c:v>
                </c:pt>
                <c:pt idx="5">
                  <c:v>60.854352999999996</c:v>
                </c:pt>
                <c:pt idx="6">
                  <c:v>63.359532110000004</c:v>
                </c:pt>
                <c:pt idx="7">
                  <c:v>66.008490496900009</c:v>
                </c:pt>
                <c:pt idx="8">
                  <c:v>68.721721162309606</c:v>
                </c:pt>
              </c:numCache>
            </c:numRef>
          </c:val>
          <c:extLst>
            <c:ext xmlns:c16="http://schemas.microsoft.com/office/drawing/2014/chart" uri="{C3380CC4-5D6E-409C-BE32-E72D297353CC}">
              <c16:uniqueId val="{00000000-46B7-462B-BEA9-25C3399D33DB}"/>
            </c:ext>
          </c:extLst>
        </c:ser>
        <c:dLbls>
          <c:dLblPos val="ctr"/>
          <c:showLegendKey val="0"/>
          <c:showVal val="1"/>
          <c:showCatName val="0"/>
          <c:showSerName val="0"/>
          <c:showPercent val="0"/>
          <c:showBubbleSize val="0"/>
        </c:dLbls>
        <c:gapWidth val="100"/>
        <c:overlap val="100"/>
        <c:axId val="311177488"/>
        <c:axId val="653073504"/>
      </c:barChart>
      <c:catAx>
        <c:axId val="311177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53073504"/>
        <c:crosses val="autoZero"/>
        <c:auto val="1"/>
        <c:lblAlgn val="ctr"/>
        <c:lblOffset val="100"/>
        <c:noMultiLvlLbl val="0"/>
      </c:catAx>
      <c:valAx>
        <c:axId val="653073504"/>
        <c:scaling>
          <c:orientation val="minMax"/>
        </c:scaling>
        <c:delete val="1"/>
        <c:axPos val="l"/>
        <c:numFmt formatCode="0" sourceLinked="1"/>
        <c:majorTickMark val="none"/>
        <c:minorTickMark val="none"/>
        <c:tickLblPos val="nextTo"/>
        <c:crossAx val="311177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532654543252961E-2"/>
          <c:y val="0.14956263659456384"/>
          <c:w val="0.66791948463189266"/>
          <c:h val="0.72212375532686202"/>
        </c:manualLayout>
      </c:layout>
      <c:barChart>
        <c:barDir val="col"/>
        <c:grouping val="stacked"/>
        <c:varyColors val="0"/>
        <c:ser>
          <c:idx val="0"/>
          <c:order val="0"/>
          <c:tx>
            <c:strRef>
              <c:f>Sheet1!$B$1</c:f>
              <c:strCache>
                <c:ptCount val="1"/>
                <c:pt idx="0">
                  <c:v>Credit risk</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General</c:formatCode>
                <c:ptCount val="9"/>
                <c:pt idx="0">
                  <c:v>340</c:v>
                </c:pt>
                <c:pt idx="1">
                  <c:v>342</c:v>
                </c:pt>
                <c:pt idx="2">
                  <c:v>341</c:v>
                </c:pt>
                <c:pt idx="3">
                  <c:v>338</c:v>
                </c:pt>
                <c:pt idx="4">
                  <c:v>340</c:v>
                </c:pt>
                <c:pt idx="5">
                  <c:v>340</c:v>
                </c:pt>
                <c:pt idx="6">
                  <c:v>340</c:v>
                </c:pt>
                <c:pt idx="7">
                  <c:v>340</c:v>
                </c:pt>
                <c:pt idx="8">
                  <c:v>340</c:v>
                </c:pt>
              </c:numCache>
            </c:numRef>
          </c:val>
          <c:extLst>
            <c:ext xmlns:c16="http://schemas.microsoft.com/office/drawing/2014/chart" uri="{C3380CC4-5D6E-409C-BE32-E72D297353CC}">
              <c16:uniqueId val="{00000000-23C1-4D7E-88B8-6B662579C3D9}"/>
            </c:ext>
          </c:extLst>
        </c:ser>
        <c:ser>
          <c:idx val="1"/>
          <c:order val="1"/>
          <c:tx>
            <c:strRef>
              <c:f>Sheet1!$C$1</c:f>
              <c:strCache>
                <c:ptCount val="1"/>
                <c:pt idx="0">
                  <c:v>B2B Marketing</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C$2:$C$10</c:f>
              <c:numCache>
                <c:formatCode>General</c:formatCode>
                <c:ptCount val="9"/>
                <c:pt idx="0">
                  <c:v>125</c:v>
                </c:pt>
                <c:pt idx="1">
                  <c:v>135</c:v>
                </c:pt>
                <c:pt idx="2">
                  <c:v>146</c:v>
                </c:pt>
                <c:pt idx="3">
                  <c:v>131</c:v>
                </c:pt>
                <c:pt idx="4">
                  <c:v>140</c:v>
                </c:pt>
                <c:pt idx="5">
                  <c:v>148</c:v>
                </c:pt>
                <c:pt idx="6">
                  <c:v>155</c:v>
                </c:pt>
                <c:pt idx="7">
                  <c:v>163</c:v>
                </c:pt>
                <c:pt idx="8">
                  <c:v>172</c:v>
                </c:pt>
              </c:numCache>
            </c:numRef>
          </c:val>
          <c:extLst>
            <c:ext xmlns:c16="http://schemas.microsoft.com/office/drawing/2014/chart" uri="{C3380CC4-5D6E-409C-BE32-E72D297353CC}">
              <c16:uniqueId val="{00000001-23C1-4D7E-88B8-6B662579C3D9}"/>
            </c:ext>
          </c:extLst>
        </c:ser>
        <c:ser>
          <c:idx val="2"/>
          <c:order val="2"/>
          <c:tx>
            <c:strRef>
              <c:f>Sheet1!$D$1</c:f>
              <c:strCache>
                <c:ptCount val="1"/>
                <c:pt idx="0">
                  <c:v>Compliance</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D$2:$D$10</c:f>
              <c:numCache>
                <c:formatCode>0</c:formatCode>
                <c:ptCount val="9"/>
                <c:pt idx="0">
                  <c:v>22.9</c:v>
                </c:pt>
                <c:pt idx="1">
                  <c:v>29</c:v>
                </c:pt>
                <c:pt idx="2">
                  <c:v>35</c:v>
                </c:pt>
                <c:pt idx="3">
                  <c:v>41</c:v>
                </c:pt>
                <c:pt idx="4">
                  <c:v>47</c:v>
                </c:pt>
                <c:pt idx="5">
                  <c:v>53</c:v>
                </c:pt>
                <c:pt idx="6">
                  <c:v>59</c:v>
                </c:pt>
                <c:pt idx="7">
                  <c:v>65</c:v>
                </c:pt>
                <c:pt idx="8">
                  <c:v>70</c:v>
                </c:pt>
              </c:numCache>
            </c:numRef>
          </c:val>
          <c:extLst>
            <c:ext xmlns:c16="http://schemas.microsoft.com/office/drawing/2014/chart" uri="{C3380CC4-5D6E-409C-BE32-E72D297353CC}">
              <c16:uniqueId val="{00000001-6456-4716-BD49-6E808023D8F3}"/>
            </c:ext>
          </c:extLst>
        </c:ser>
        <c:dLbls>
          <c:showLegendKey val="0"/>
          <c:showVal val="0"/>
          <c:showCatName val="0"/>
          <c:showSerName val="0"/>
          <c:showPercent val="0"/>
          <c:showBubbleSize val="0"/>
        </c:dLbls>
        <c:gapWidth val="59"/>
        <c:overlap val="100"/>
        <c:axId val="1967597839"/>
        <c:axId val="517210528"/>
      </c:barChart>
      <c:lineChart>
        <c:grouping val="standard"/>
        <c:varyColors val="0"/>
        <c:ser>
          <c:idx val="3"/>
          <c:order val="3"/>
          <c:tx>
            <c:strRef>
              <c:f>Sheet1!$E$1</c:f>
              <c:strCache>
                <c:ptCount val="1"/>
                <c:pt idx="0">
                  <c:v>Total</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E$2:$E$10</c:f>
              <c:numCache>
                <c:formatCode>General</c:formatCode>
                <c:ptCount val="9"/>
                <c:pt idx="0" formatCode="0">
                  <c:v>487.9</c:v>
                </c:pt>
                <c:pt idx="1">
                  <c:v>506</c:v>
                </c:pt>
                <c:pt idx="2">
                  <c:v>522</c:v>
                </c:pt>
                <c:pt idx="3">
                  <c:v>510</c:v>
                </c:pt>
                <c:pt idx="4">
                  <c:v>527</c:v>
                </c:pt>
                <c:pt idx="5">
                  <c:v>541</c:v>
                </c:pt>
                <c:pt idx="6">
                  <c:v>554</c:v>
                </c:pt>
                <c:pt idx="7">
                  <c:v>568</c:v>
                </c:pt>
                <c:pt idx="8">
                  <c:v>582</c:v>
                </c:pt>
              </c:numCache>
            </c:numRef>
          </c:val>
          <c:smooth val="0"/>
          <c:extLst>
            <c:ext xmlns:c16="http://schemas.microsoft.com/office/drawing/2014/chart" uri="{C3380CC4-5D6E-409C-BE32-E72D297353CC}">
              <c16:uniqueId val="{00000001-5D5E-4CF3-A673-D86757F385F1}"/>
            </c:ext>
          </c:extLst>
        </c:ser>
        <c:dLbls>
          <c:showLegendKey val="0"/>
          <c:showVal val="0"/>
          <c:showCatName val="0"/>
          <c:showSerName val="0"/>
          <c:showPercent val="0"/>
          <c:showBubbleSize val="0"/>
        </c:dLbls>
        <c:marker val="1"/>
        <c:smooth val="0"/>
        <c:axId val="17085519"/>
        <c:axId val="17077615"/>
      </c:lineChart>
      <c:catAx>
        <c:axId val="19675978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517210528"/>
        <c:crosses val="autoZero"/>
        <c:auto val="1"/>
        <c:lblAlgn val="ctr"/>
        <c:lblOffset val="100"/>
        <c:noMultiLvlLbl val="0"/>
      </c:catAx>
      <c:valAx>
        <c:axId val="517210528"/>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967597839"/>
        <c:crosses val="autoZero"/>
        <c:crossBetween val="between"/>
      </c:valAx>
      <c:valAx>
        <c:axId val="17077615"/>
        <c:scaling>
          <c:orientation val="minMax"/>
          <c:max val="600"/>
        </c:scaling>
        <c:delete val="1"/>
        <c:axPos val="r"/>
        <c:numFmt formatCode="0" sourceLinked="1"/>
        <c:majorTickMark val="out"/>
        <c:minorTickMark val="none"/>
        <c:tickLblPos val="nextTo"/>
        <c:crossAx val="17085519"/>
        <c:crosses val="max"/>
        <c:crossBetween val="between"/>
      </c:valAx>
      <c:catAx>
        <c:axId val="17085519"/>
        <c:scaling>
          <c:orientation val="minMax"/>
        </c:scaling>
        <c:delete val="1"/>
        <c:axPos val="t"/>
        <c:numFmt formatCode="General" sourceLinked="1"/>
        <c:majorTickMark val="out"/>
        <c:minorTickMark val="none"/>
        <c:tickLblPos val="nextTo"/>
        <c:crossAx val="17077615"/>
        <c:crosses val="max"/>
        <c:auto val="1"/>
        <c:lblAlgn val="ctr"/>
        <c:lblOffset val="100"/>
        <c:tickMarkSkip val="1"/>
        <c:noMultiLvlLbl val="0"/>
      </c:catAx>
      <c:spPr>
        <a:noFill/>
        <a:ln>
          <a:noFill/>
        </a:ln>
        <a:effectLst/>
      </c:spPr>
    </c:plotArea>
    <c:legend>
      <c:legendPos val="r"/>
      <c:layout>
        <c:manualLayout>
          <c:xMode val="edge"/>
          <c:yMode val="edge"/>
          <c:x val="0.71081959936510319"/>
          <c:y val="0.39073895377040119"/>
          <c:w val="0.20148994647765084"/>
          <c:h val="0.4635415742996187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1</c:f>
              <c:strCache>
                <c:ptCount val="1"/>
                <c:pt idx="0">
                  <c:v>Colonne1</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2-C785-44A2-999F-90422AD2A897}"/>
              </c:ext>
            </c:extLst>
          </c:dPt>
          <c:dPt>
            <c:idx val="1"/>
            <c:bubble3D val="0"/>
            <c:spPr>
              <a:solidFill>
                <a:schemeClr val="bg2">
                  <a:lumMod val="40000"/>
                  <a:lumOff val="60000"/>
                </a:schemeClr>
              </a:solidFill>
              <a:ln w="19050">
                <a:solidFill>
                  <a:schemeClr val="lt1"/>
                </a:solidFill>
              </a:ln>
              <a:effectLst/>
            </c:spPr>
            <c:extLst>
              <c:ext xmlns:c16="http://schemas.microsoft.com/office/drawing/2014/chart" uri="{C3380CC4-5D6E-409C-BE32-E72D297353CC}">
                <c16:uniqueId val="{00000003-C785-44A2-999F-90422AD2A897}"/>
              </c:ext>
            </c:extLst>
          </c:dPt>
          <c:dPt>
            <c:idx val="2"/>
            <c:bubble3D val="0"/>
            <c:spPr>
              <a:solidFill>
                <a:schemeClr val="bg2">
                  <a:lumMod val="20000"/>
                  <a:lumOff val="80000"/>
                </a:schemeClr>
              </a:solidFill>
              <a:ln w="19050">
                <a:solidFill>
                  <a:schemeClr val="lt1"/>
                </a:solidFill>
              </a:ln>
              <a:effectLst/>
            </c:spPr>
            <c:extLst>
              <c:ext xmlns:c16="http://schemas.microsoft.com/office/drawing/2014/chart" uri="{C3380CC4-5D6E-409C-BE32-E72D297353CC}">
                <c16:uniqueId val="{00000004-C785-44A2-999F-90422AD2A897}"/>
              </c:ext>
            </c:extLst>
          </c:dPt>
          <c:dLbls>
            <c:dLbl>
              <c:idx val="0"/>
              <c:layout>
                <c:manualLayout>
                  <c:x val="-9.8131121770851561E-3"/>
                  <c:y val="-2.6632222222222224E-2"/>
                </c:manualLayout>
              </c:layout>
              <c:spPr>
                <a:noFill/>
                <a:ln>
                  <a:noFill/>
                </a:ln>
                <a:effectLst/>
              </c:spPr>
              <c:txPr>
                <a:bodyPr rot="0" spcFirstLastPara="1" vertOverflow="ellipsis" vert="horz" wrap="square" lIns="38100" tIns="19050" rIns="38100" bIns="19050" anchor="ctr" anchorCtr="1">
                  <a:noAutofit/>
                </a:bodyPr>
                <a:lstStyle/>
                <a:p>
                  <a:pPr>
                    <a:defRPr sz="800" b="1" i="0" u="none" strike="noStrike" kern="1200" baseline="0">
                      <a:solidFill>
                        <a:schemeClr val="tx1">
                          <a:lumMod val="75000"/>
                          <a:lumOff val="25000"/>
                        </a:schemeClr>
                      </a:solidFill>
                      <a:latin typeface="+mn-lt"/>
                      <a:ea typeface="+mn-ea"/>
                      <a:cs typeface="+mn-cs"/>
                    </a:defRPr>
                  </a:pPr>
                  <a:endParaRPr lang="fr-FR"/>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39298145744822527"/>
                      <c:h val="0.31208333333333332"/>
                    </c:manualLayout>
                  </c15:layout>
                </c:ext>
                <c:ext xmlns:c16="http://schemas.microsoft.com/office/drawing/2014/chart" uri="{C3380CC4-5D6E-409C-BE32-E72D297353CC}">
                  <c16:uniqueId val="{00000002-C785-44A2-999F-90422AD2A897}"/>
                </c:ext>
              </c:extLst>
            </c:dLbl>
            <c:dLbl>
              <c:idx val="1"/>
              <c:layout>
                <c:manualLayout>
                  <c:x val="0"/>
                  <c:y val="-2.9333333333333333E-4"/>
                </c:manualLayout>
              </c:layout>
              <c:spPr>
                <a:noFill/>
                <a:ln>
                  <a:noFill/>
                </a:ln>
                <a:effectLst/>
              </c:spPr>
              <c:txPr>
                <a:bodyPr rot="0" spcFirstLastPara="1" vertOverflow="ellipsis" vert="horz" wrap="square" lIns="38100" tIns="19050" rIns="38100" bIns="19050" anchor="ctr" anchorCtr="1">
                  <a:noAutofit/>
                </a:bodyPr>
                <a:lstStyle/>
                <a:p>
                  <a:pPr>
                    <a:defRPr sz="800" b="1" i="0" u="none" strike="noStrike" kern="1200" baseline="0">
                      <a:solidFill>
                        <a:schemeClr val="tx1">
                          <a:lumMod val="75000"/>
                          <a:lumOff val="25000"/>
                        </a:schemeClr>
                      </a:solidFill>
                      <a:latin typeface="+mn-lt"/>
                      <a:ea typeface="+mn-ea"/>
                      <a:cs typeface="+mn-cs"/>
                    </a:defRPr>
                  </a:pPr>
                  <a:endParaRPr lang="fr-FR"/>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48583783557945148"/>
                      <c:h val="0.33513888888888888"/>
                    </c:manualLayout>
                  </c15:layout>
                </c:ext>
                <c:ext xmlns:c16="http://schemas.microsoft.com/office/drawing/2014/chart" uri="{C3380CC4-5D6E-409C-BE32-E72D297353CC}">
                  <c16:uniqueId val="{00000003-C785-44A2-999F-90422AD2A897}"/>
                </c:ext>
              </c:extLst>
            </c:dLbl>
            <c:dLbl>
              <c:idx val="2"/>
              <c:layout>
                <c:manualLayout>
                  <c:x val="0.41785370159051799"/>
                  <c:y val="1.0583333333333333E-2"/>
                </c:manualLayout>
              </c:layout>
              <c:spPr>
                <a:noFill/>
                <a:ln>
                  <a:noFill/>
                </a:ln>
                <a:effectLst/>
              </c:spPr>
              <c:txPr>
                <a:bodyPr rot="0" spcFirstLastPara="1" vertOverflow="ellipsis" vert="horz" wrap="square" lIns="38100" tIns="19050" rIns="38100" bIns="19050" anchor="ctr" anchorCtr="1">
                  <a:noAutofit/>
                </a:bodyPr>
                <a:lstStyle/>
                <a:p>
                  <a:pPr>
                    <a:defRPr sz="800" b="1" i="0" u="none" strike="noStrike" kern="1200" baseline="0">
                      <a:solidFill>
                        <a:schemeClr val="tx1">
                          <a:lumMod val="75000"/>
                          <a:lumOff val="25000"/>
                        </a:schemeClr>
                      </a:solidFill>
                      <a:latin typeface="+mn-lt"/>
                      <a:ea typeface="+mn-ea"/>
                      <a:cs typeface="+mn-cs"/>
                    </a:defRPr>
                  </a:pPr>
                  <a:endParaRPr lang="fr-FR"/>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58035236332016393"/>
                      <c:h val="0.39158333333333334"/>
                    </c:manualLayout>
                  </c15:layout>
                </c:ext>
                <c:ext xmlns:c16="http://schemas.microsoft.com/office/drawing/2014/chart" uri="{C3380CC4-5D6E-409C-BE32-E72D297353CC}">
                  <c16:uniqueId val="{00000004-C785-44A2-999F-90422AD2A897}"/>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fr-FR"/>
              </a:p>
            </c:txPr>
            <c:dLblPos val="bestFit"/>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4</c:f>
              <c:strCache>
                <c:ptCount val="3"/>
                <c:pt idx="0">
                  <c:v>Credit risk</c:v>
                </c:pt>
                <c:pt idx="1">
                  <c:v>Compliance</c:v>
                </c:pt>
                <c:pt idx="2">
                  <c:v>B2B marketing</c:v>
                </c:pt>
              </c:strCache>
            </c:strRef>
          </c:cat>
          <c:val>
            <c:numRef>
              <c:f>Feuil1!$B$2:$B$4</c:f>
              <c:numCache>
                <c:formatCode>0%</c:formatCode>
                <c:ptCount val="3"/>
                <c:pt idx="0">
                  <c:v>0.7</c:v>
                </c:pt>
                <c:pt idx="1">
                  <c:v>0.2</c:v>
                </c:pt>
                <c:pt idx="2">
                  <c:v>0.1</c:v>
                </c:pt>
              </c:numCache>
            </c:numRef>
          </c:val>
          <c:extLst>
            <c:ext xmlns:c16="http://schemas.microsoft.com/office/drawing/2014/chart" uri="{C3380CC4-5D6E-409C-BE32-E72D297353CC}">
              <c16:uniqueId val="{00000000-C785-44A2-999F-90422AD2A89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euil1!$A$2</c:f>
              <c:strCache>
                <c:ptCount val="1"/>
                <c:pt idx="0">
                  <c:v>Magreb</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2"/>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D$1</c:f>
              <c:strCache>
                <c:ptCount val="3"/>
                <c:pt idx="0">
                  <c:v>2017</c:v>
                </c:pt>
                <c:pt idx="1">
                  <c:v>2018</c:v>
                </c:pt>
                <c:pt idx="2">
                  <c:v>2019</c:v>
                </c:pt>
              </c:strCache>
            </c:strRef>
          </c:cat>
          <c:val>
            <c:numRef>
              <c:f>Feuil1!$B$2:$D$2</c:f>
              <c:numCache>
                <c:formatCode>0.00</c:formatCode>
                <c:ptCount val="3"/>
                <c:pt idx="0">
                  <c:v>0.84599999999999997</c:v>
                </c:pt>
                <c:pt idx="1">
                  <c:v>0.93300000000000005</c:v>
                </c:pt>
                <c:pt idx="2">
                  <c:v>1.359</c:v>
                </c:pt>
              </c:numCache>
            </c:numRef>
          </c:val>
          <c:extLst>
            <c:ext xmlns:c16="http://schemas.microsoft.com/office/drawing/2014/chart" uri="{C3380CC4-5D6E-409C-BE32-E72D297353CC}">
              <c16:uniqueId val="{00000000-F027-4817-967A-BE6C9E7A2855}"/>
            </c:ext>
          </c:extLst>
        </c:ser>
        <c:dLbls>
          <c:dLblPos val="outEnd"/>
          <c:showLegendKey val="0"/>
          <c:showVal val="1"/>
          <c:showCatName val="0"/>
          <c:showSerName val="0"/>
          <c:showPercent val="0"/>
          <c:showBubbleSize val="0"/>
        </c:dLbls>
        <c:gapWidth val="219"/>
        <c:overlap val="-27"/>
        <c:axId val="1183347536"/>
        <c:axId val="32656784"/>
      </c:barChart>
      <c:catAx>
        <c:axId val="1183347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32656784"/>
        <c:crosses val="autoZero"/>
        <c:auto val="1"/>
        <c:lblAlgn val="ctr"/>
        <c:lblOffset val="100"/>
        <c:noMultiLvlLbl val="0"/>
      </c:catAx>
      <c:valAx>
        <c:axId val="32656784"/>
        <c:scaling>
          <c:orientation val="minMax"/>
        </c:scaling>
        <c:delete val="1"/>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11833475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369761732327618E-2"/>
          <c:y val="0"/>
          <c:w val="0.82726072870246903"/>
          <c:h val="0.84395738904071316"/>
        </c:manualLayout>
      </c:layout>
      <c:pie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6-E3FF-4981-A50F-8F57A91A72B2}"/>
              </c:ext>
            </c:extLst>
          </c:dPt>
          <c:dPt>
            <c:idx val="1"/>
            <c:bubble3D val="0"/>
            <c:spPr>
              <a:solidFill>
                <a:schemeClr val="accent2"/>
              </a:solidFill>
              <a:ln w="19050">
                <a:noFill/>
              </a:ln>
              <a:effectLst/>
            </c:spPr>
            <c:extLst>
              <c:ext xmlns:c16="http://schemas.microsoft.com/office/drawing/2014/chart" uri="{C3380CC4-5D6E-409C-BE32-E72D297353CC}">
                <c16:uniqueId val="{00000003-E0DA-4DCC-804E-D4772F7FC4DC}"/>
              </c:ext>
            </c:extLst>
          </c:dPt>
          <c:dPt>
            <c:idx val="2"/>
            <c:bubble3D val="0"/>
            <c:spPr>
              <a:solidFill>
                <a:schemeClr val="tx2"/>
              </a:solidFill>
              <a:ln w="19050">
                <a:noFill/>
              </a:ln>
              <a:effectLst/>
            </c:spPr>
            <c:extLst>
              <c:ext xmlns:c16="http://schemas.microsoft.com/office/drawing/2014/chart" uri="{C3380CC4-5D6E-409C-BE32-E72D297353CC}">
                <c16:uniqueId val="{00000002-E3FF-4981-A50F-8F57A91A72B2}"/>
              </c:ext>
            </c:extLst>
          </c:dPt>
          <c:dPt>
            <c:idx val="3"/>
            <c:bubble3D val="0"/>
            <c:spPr>
              <a:solidFill>
                <a:schemeClr val="bg2"/>
              </a:solidFill>
              <a:ln w="19050">
                <a:noFill/>
              </a:ln>
              <a:effectLst/>
            </c:spPr>
            <c:extLst>
              <c:ext xmlns:c16="http://schemas.microsoft.com/office/drawing/2014/chart" uri="{C3380CC4-5D6E-409C-BE32-E72D297353CC}">
                <c16:uniqueId val="{00000003-E3FF-4981-A50F-8F57A91A72B2}"/>
              </c:ext>
            </c:extLst>
          </c:dPt>
          <c:dPt>
            <c:idx val="4"/>
            <c:bubble3D val="0"/>
            <c:spPr>
              <a:solidFill>
                <a:schemeClr val="bg2">
                  <a:lumMod val="40000"/>
                  <a:lumOff val="60000"/>
                </a:schemeClr>
              </a:solidFill>
              <a:ln w="19050">
                <a:noFill/>
              </a:ln>
              <a:effectLst/>
            </c:spPr>
            <c:extLst>
              <c:ext xmlns:c16="http://schemas.microsoft.com/office/drawing/2014/chart" uri="{C3380CC4-5D6E-409C-BE32-E72D297353CC}">
                <c16:uniqueId val="{00000004-E3FF-4981-A50F-8F57A91A72B2}"/>
              </c:ext>
            </c:extLst>
          </c:dPt>
          <c:dPt>
            <c:idx val="5"/>
            <c:bubble3D val="0"/>
            <c:spPr>
              <a:solidFill>
                <a:schemeClr val="accent1">
                  <a:lumMod val="20000"/>
                  <a:lumOff val="80000"/>
                </a:schemeClr>
              </a:solidFill>
              <a:ln w="19050">
                <a:noFill/>
              </a:ln>
              <a:effectLst/>
            </c:spPr>
            <c:extLst>
              <c:ext xmlns:c16="http://schemas.microsoft.com/office/drawing/2014/chart" uri="{C3380CC4-5D6E-409C-BE32-E72D297353CC}">
                <c16:uniqueId val="{00000005-E3FF-4981-A50F-8F57A91A72B2}"/>
              </c:ext>
            </c:extLst>
          </c:dPt>
          <c:dLbls>
            <c:dLbl>
              <c:idx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6-E3FF-4981-A50F-8F57A91A72B2}"/>
                </c:ext>
              </c:extLst>
            </c:dLbl>
            <c:dLbl>
              <c:idx val="2"/>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2-E3FF-4981-A50F-8F57A91A72B2}"/>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mList</c:v>
                </c:pt>
                <c:pt idx="1">
                  <c:v>mLead</c:v>
                </c:pt>
                <c:pt idx="2">
                  <c:v>mAds</c:v>
                </c:pt>
                <c:pt idx="3">
                  <c:v>mData</c:v>
                </c:pt>
                <c:pt idx="4">
                  <c:v>mAPI</c:v>
                </c:pt>
                <c:pt idx="5">
                  <c:v>Other (including mDetect)</c:v>
                </c:pt>
              </c:strCache>
            </c:strRef>
          </c:cat>
          <c:val>
            <c:numRef>
              <c:f>Sheet1!$B$2:$B$7</c:f>
              <c:numCache>
                <c:formatCode>General</c:formatCode>
                <c:ptCount val="6"/>
                <c:pt idx="0">
                  <c:v>2464000</c:v>
                </c:pt>
                <c:pt idx="1">
                  <c:v>3008000</c:v>
                </c:pt>
                <c:pt idx="2">
                  <c:v>2322000</c:v>
                </c:pt>
                <c:pt idx="3">
                  <c:v>416000</c:v>
                </c:pt>
                <c:pt idx="4">
                  <c:v>518000</c:v>
                </c:pt>
                <c:pt idx="5" formatCode="#,##0">
                  <c:v>700000</c:v>
                </c:pt>
              </c:numCache>
            </c:numRef>
          </c:val>
          <c:extLst>
            <c:ext xmlns:c16="http://schemas.microsoft.com/office/drawing/2014/chart" uri="{C3380CC4-5D6E-409C-BE32-E72D297353CC}">
              <c16:uniqueId val="{00000000-E3FF-4981-A50F-8F57A91A72B2}"/>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
          <c:y val="0.75371766646348026"/>
          <c:w val="1"/>
          <c:h val="0.24628233353651977"/>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fr-FR"/>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342224796192505"/>
          <c:y val="0.1006130476411472"/>
          <c:w val="0.62732466816942889"/>
          <c:h val="0.7706103919430034"/>
        </c:manualLayout>
      </c:layout>
      <c:pieChart>
        <c:varyColors val="1"/>
        <c:ser>
          <c:idx val="0"/>
          <c:order val="0"/>
          <c:tx>
            <c:strRef>
              <c:f>Sheet1!$B$1</c:f>
              <c:strCache>
                <c:ptCount val="1"/>
                <c:pt idx="0">
                  <c:v>Sales</c:v>
                </c:pt>
              </c:strCache>
            </c:strRef>
          </c:tx>
          <c:spPr>
            <a:ln>
              <a:noFill/>
            </a:ln>
          </c:spPr>
          <c:dPt>
            <c:idx val="0"/>
            <c:bubble3D val="0"/>
            <c:spPr>
              <a:solidFill>
                <a:schemeClr val="tx2"/>
              </a:solidFill>
              <a:ln w="19050">
                <a:noFill/>
              </a:ln>
              <a:effectLst/>
            </c:spPr>
            <c:extLst>
              <c:ext xmlns:c16="http://schemas.microsoft.com/office/drawing/2014/chart" uri="{C3380CC4-5D6E-409C-BE32-E72D297353CC}">
                <c16:uniqueId val="{00000002-6D56-46B3-957D-BEAC3FEB0BB7}"/>
              </c:ext>
            </c:extLst>
          </c:dPt>
          <c:dPt>
            <c:idx val="1"/>
            <c:bubble3D val="0"/>
            <c:spPr>
              <a:solidFill>
                <a:schemeClr val="bg2">
                  <a:lumMod val="60000"/>
                  <a:lumOff val="40000"/>
                </a:schemeClr>
              </a:solidFill>
              <a:ln w="19050">
                <a:noFill/>
              </a:ln>
              <a:effectLst/>
            </c:spPr>
            <c:extLst>
              <c:ext xmlns:c16="http://schemas.microsoft.com/office/drawing/2014/chart" uri="{C3380CC4-5D6E-409C-BE32-E72D297353CC}">
                <c16:uniqueId val="{00000003-6D56-46B3-957D-BEAC3FEB0BB7}"/>
              </c:ext>
            </c:extLst>
          </c:dPt>
          <c:dPt>
            <c:idx val="2"/>
            <c:bubble3D val="0"/>
            <c:spPr>
              <a:solidFill>
                <a:schemeClr val="accent1">
                  <a:lumMod val="20000"/>
                  <a:lumOff val="80000"/>
                </a:schemeClr>
              </a:solidFill>
              <a:ln w="19050">
                <a:noFill/>
              </a:ln>
              <a:effectLst/>
            </c:spPr>
            <c:extLst>
              <c:ext xmlns:c16="http://schemas.microsoft.com/office/drawing/2014/chart" uri="{C3380CC4-5D6E-409C-BE32-E72D297353CC}">
                <c16:uniqueId val="{00000004-6D56-46B3-957D-BEAC3FEB0BB7}"/>
              </c:ext>
            </c:extLst>
          </c:dPt>
          <c:dPt>
            <c:idx val="3"/>
            <c:bubble3D val="0"/>
            <c:spPr>
              <a:solidFill>
                <a:schemeClr val="accent1"/>
              </a:solidFill>
              <a:ln w="19050">
                <a:noFill/>
              </a:ln>
              <a:effectLst/>
            </c:spPr>
            <c:extLst>
              <c:ext xmlns:c16="http://schemas.microsoft.com/office/drawing/2014/chart" uri="{C3380CC4-5D6E-409C-BE32-E72D297353CC}">
                <c16:uniqueId val="{00000005-6D56-46B3-957D-BEAC3FEB0BB7}"/>
              </c:ext>
            </c:extLst>
          </c:dPt>
          <c:dLbls>
            <c:dLbl>
              <c:idx val="0"/>
              <c:layout>
                <c:manualLayout>
                  <c:x val="3.835357457847325E-2"/>
                  <c:y val="-4.3941898883566666E-3"/>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2-6D56-46B3-957D-BEAC3FEB0BB7}"/>
                </c:ext>
              </c:extLst>
            </c:dLbl>
            <c:dLbl>
              <c:idx val="2"/>
              <c:layout>
                <c:manualLayout>
                  <c:x val="0.18239666318002168"/>
                  <c:y val="-4.7856471942959701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6D56-46B3-957D-BEAC3FEB0BB7}"/>
                </c:ext>
              </c:extLst>
            </c:dLbl>
            <c:dLbl>
              <c:idx val="3"/>
              <c:layout>
                <c:manualLayout>
                  <c:x val="-4.7581481742593516E-2"/>
                  <c:y val="-1.5930752327248148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6D56-46B3-957D-BEAC3FEB0BB7}"/>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API</c:v>
                </c:pt>
                <c:pt idx="1">
                  <c:v>Batch</c:v>
                </c:pt>
                <c:pt idx="2">
                  <c:v>Platform</c:v>
                </c:pt>
                <c:pt idx="3">
                  <c:v>Plug connector</c:v>
                </c:pt>
              </c:strCache>
            </c:strRef>
          </c:cat>
          <c:val>
            <c:numRef>
              <c:f>Sheet1!$B$2:$B$5</c:f>
              <c:numCache>
                <c:formatCode>#,##0.00</c:formatCode>
                <c:ptCount val="4"/>
                <c:pt idx="0">
                  <c:v>503783.47999999986</c:v>
                </c:pt>
                <c:pt idx="1">
                  <c:v>11992511.679999998</c:v>
                </c:pt>
                <c:pt idx="2">
                  <c:v>23853429.900000002</c:v>
                </c:pt>
                <c:pt idx="3">
                  <c:v>2527690.2399999998</c:v>
                </c:pt>
              </c:numCache>
            </c:numRef>
          </c:val>
          <c:extLst>
            <c:ext xmlns:c16="http://schemas.microsoft.com/office/drawing/2014/chart" uri="{C3380CC4-5D6E-409C-BE32-E72D297353CC}">
              <c16:uniqueId val="{00000000-6D56-46B3-957D-BEAC3FEB0BB7}"/>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200" b="1" i="1" u="none" strike="noStrike" kern="1200" spc="0" baseline="0">
                <a:solidFill>
                  <a:schemeClr val="tx1"/>
                </a:solidFill>
                <a:latin typeface="+mn-lt"/>
                <a:ea typeface="+mn-ea"/>
                <a:cs typeface="+mn-cs"/>
              </a:defRPr>
            </a:pPr>
            <a:r>
              <a:rPr lang="fr-FR" sz="1000" b="1" i="1" dirty="0"/>
              <a:t>revenue per LOB in France, in €m</a:t>
            </a:r>
          </a:p>
        </c:rich>
      </c:tx>
      <c:layout>
        <c:manualLayout>
          <c:xMode val="edge"/>
          <c:yMode val="edge"/>
          <c:x val="0.10751328297386702"/>
          <c:y val="2.3506889448870531E-2"/>
        </c:manualLayout>
      </c:layout>
      <c:overlay val="0"/>
      <c:spPr>
        <a:noFill/>
        <a:ln>
          <a:noFill/>
        </a:ln>
        <a:effectLst/>
      </c:spPr>
      <c:txPr>
        <a:bodyPr rot="0" spcFirstLastPara="1" vertOverflow="ellipsis" vert="horz" wrap="square" anchor="ctr" anchorCtr="1"/>
        <a:lstStyle/>
        <a:p>
          <a:pPr algn="ctr" rtl="0">
            <a:defRPr sz="1200" b="1" i="1" u="none" strike="noStrike" kern="1200" spc="0" baseline="0">
              <a:solidFill>
                <a:schemeClr val="tx1"/>
              </a:solidFill>
              <a:latin typeface="+mn-lt"/>
              <a:ea typeface="+mn-ea"/>
              <a:cs typeface="+mn-cs"/>
            </a:defRPr>
          </a:pPr>
          <a:endParaRPr lang="fr-FR"/>
        </a:p>
      </c:txPr>
    </c:title>
    <c:autoTitleDeleted val="0"/>
    <c:plotArea>
      <c:layout>
        <c:manualLayout>
          <c:layoutTarget val="inner"/>
          <c:xMode val="edge"/>
          <c:yMode val="edge"/>
          <c:x val="6.9468550230550485E-2"/>
          <c:y val="0.11796567994374513"/>
          <c:w val="0.80583649082207798"/>
          <c:h val="0.6222249518962738"/>
        </c:manualLayout>
      </c:layout>
      <c:barChart>
        <c:barDir val="col"/>
        <c:grouping val="stacked"/>
        <c:varyColors val="0"/>
        <c:ser>
          <c:idx val="0"/>
          <c:order val="0"/>
          <c:tx>
            <c:strRef>
              <c:f>Sheet1!$B$1</c:f>
              <c:strCache>
                <c:ptCount val="1"/>
                <c:pt idx="0">
                  <c:v>Credit &amp; financial risk</c:v>
                </c:pt>
              </c:strCache>
            </c:strRef>
          </c:tx>
          <c:spPr>
            <a:solidFill>
              <a:schemeClr val="bg2">
                <a:lumMod val="40000"/>
                <a:lumOff val="60000"/>
              </a:schemeClr>
            </a:solidFill>
            <a:ln>
              <a:noFill/>
            </a:ln>
            <a:effectLst/>
          </c:spPr>
          <c:invertIfNegative val="0"/>
          <c:dLbls>
            <c:dLbl>
              <c:idx val="1"/>
              <c:layout>
                <c:manualLayout>
                  <c:x val="0"/>
                  <c:y val="3.731910153234581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DC3-4C1D-B227-AF2C5982CE20}"/>
                </c:ext>
              </c:extLst>
            </c:dLbl>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General</c:formatCode>
                <c:ptCount val="4"/>
                <c:pt idx="0">
                  <c:v>34925578.940511636</c:v>
                </c:pt>
                <c:pt idx="1">
                  <c:v>33778350.305764921</c:v>
                </c:pt>
                <c:pt idx="2">
                  <c:v>32210015.218937989</c:v>
                </c:pt>
                <c:pt idx="3">
                  <c:v>30638499.759156782</c:v>
                </c:pt>
              </c:numCache>
            </c:numRef>
          </c:val>
          <c:extLst>
            <c:ext xmlns:c16="http://schemas.microsoft.com/office/drawing/2014/chart" uri="{C3380CC4-5D6E-409C-BE32-E72D297353CC}">
              <c16:uniqueId val="{00000000-2BB4-44FD-AD3E-D1AD6BF9A4C4}"/>
            </c:ext>
          </c:extLst>
        </c:ser>
        <c:ser>
          <c:idx val="1"/>
          <c:order val="1"/>
          <c:tx>
            <c:strRef>
              <c:f>Sheet1!$C$1</c:f>
              <c:strCache>
                <c:ptCount val="1"/>
                <c:pt idx="0">
                  <c:v>B2B marketing</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General</c:formatCode>
                <c:ptCount val="4"/>
                <c:pt idx="0">
                  <c:v>12980745.384754848</c:v>
                </c:pt>
                <c:pt idx="1">
                  <c:v>13904125.617201237</c:v>
                </c:pt>
                <c:pt idx="2">
                  <c:v>14438020.163143566</c:v>
                </c:pt>
                <c:pt idx="3">
                  <c:v>13146535.753353061</c:v>
                </c:pt>
              </c:numCache>
            </c:numRef>
          </c:val>
          <c:extLst>
            <c:ext xmlns:c16="http://schemas.microsoft.com/office/drawing/2014/chart" uri="{C3380CC4-5D6E-409C-BE32-E72D297353CC}">
              <c16:uniqueId val="{00000001-2BB4-44FD-AD3E-D1AD6BF9A4C4}"/>
            </c:ext>
          </c:extLst>
        </c:ser>
        <c:ser>
          <c:idx val="2"/>
          <c:order val="2"/>
          <c:tx>
            <c:strRef>
              <c:f>Sheet1!$D$1</c:f>
              <c:strCache>
                <c:ptCount val="1"/>
                <c:pt idx="0">
                  <c:v>Compliance</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D$2:$D$5</c:f>
              <c:numCache>
                <c:formatCode>General</c:formatCode>
                <c:ptCount val="4"/>
                <c:pt idx="0">
                  <c:v>2307436.2147335145</c:v>
                </c:pt>
                <c:pt idx="1">
                  <c:v>1702152.9270338432</c:v>
                </c:pt>
                <c:pt idx="2">
                  <c:v>2840509.9779184405</c:v>
                </c:pt>
                <c:pt idx="3">
                  <c:v>4295176.9055423001</c:v>
                </c:pt>
              </c:numCache>
            </c:numRef>
          </c:val>
          <c:extLst>
            <c:ext xmlns:c16="http://schemas.microsoft.com/office/drawing/2014/chart" uri="{C3380CC4-5D6E-409C-BE32-E72D297353CC}">
              <c16:uniqueId val="{00000002-2BB4-44FD-AD3E-D1AD6BF9A4C4}"/>
            </c:ext>
          </c:extLst>
        </c:ser>
        <c:ser>
          <c:idx val="3"/>
          <c:order val="3"/>
          <c:tx>
            <c:strRef>
              <c:f>Sheet1!$E$1</c:f>
              <c:strCache>
                <c:ptCount val="1"/>
                <c:pt idx="0">
                  <c:v>D&amp;B International</c:v>
                </c:pt>
              </c:strCache>
            </c:strRef>
          </c:tx>
          <c:spPr>
            <a:solidFill>
              <a:schemeClr val="accent1">
                <a:lumMod val="20000"/>
                <a:lumOff val="80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E$2:$E$5</c:f>
              <c:numCache>
                <c:formatCode>General</c:formatCode>
                <c:ptCount val="4"/>
                <c:pt idx="0">
                  <c:v>10683983.879999999</c:v>
                </c:pt>
                <c:pt idx="1">
                  <c:v>10647371.150000002</c:v>
                </c:pt>
                <c:pt idx="2">
                  <c:v>13105311.950000001</c:v>
                </c:pt>
                <c:pt idx="3">
                  <c:v>13806430.43</c:v>
                </c:pt>
              </c:numCache>
            </c:numRef>
          </c:val>
          <c:extLst>
            <c:ext xmlns:c16="http://schemas.microsoft.com/office/drawing/2014/chart" uri="{C3380CC4-5D6E-409C-BE32-E72D297353CC}">
              <c16:uniqueId val="{00000004-2BB4-44FD-AD3E-D1AD6BF9A4C4}"/>
            </c:ext>
          </c:extLst>
        </c:ser>
        <c:dLbls>
          <c:showLegendKey val="0"/>
          <c:showVal val="0"/>
          <c:showCatName val="0"/>
          <c:showSerName val="0"/>
          <c:showPercent val="0"/>
          <c:showBubbleSize val="0"/>
        </c:dLbls>
        <c:gapWidth val="219"/>
        <c:overlap val="100"/>
        <c:axId val="659010575"/>
        <c:axId val="178164208"/>
      </c:barChart>
      <c:lineChart>
        <c:grouping val="standard"/>
        <c:varyColors val="0"/>
        <c:ser>
          <c:idx val="4"/>
          <c:order val="4"/>
          <c:tx>
            <c:strRef>
              <c:f>Sheet1!$F$1</c:f>
              <c:strCache>
                <c:ptCount val="1"/>
                <c:pt idx="0">
                  <c:v>Total</c:v>
                </c:pt>
              </c:strCache>
            </c:strRef>
          </c:tx>
          <c:spPr>
            <a:ln w="28575" cap="rnd">
              <a:solidFill>
                <a:srgbClr val="007AA9"/>
              </a:solidFill>
              <a:round/>
            </a:ln>
            <a:effectLst/>
          </c:spPr>
          <c:marker>
            <c:symbol val="none"/>
          </c:marker>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7AA9"/>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F$2:$F$5</c:f>
              <c:numCache>
                <c:formatCode>General</c:formatCode>
                <c:ptCount val="4"/>
                <c:pt idx="0">
                  <c:v>60897744.419999987</c:v>
                </c:pt>
                <c:pt idx="1">
                  <c:v>60032000</c:v>
                </c:pt>
                <c:pt idx="2">
                  <c:v>62593857.309999995</c:v>
                </c:pt>
                <c:pt idx="3">
                  <c:v>61886642.848052144</c:v>
                </c:pt>
              </c:numCache>
            </c:numRef>
          </c:val>
          <c:smooth val="0"/>
          <c:extLst>
            <c:ext xmlns:c16="http://schemas.microsoft.com/office/drawing/2014/chart" uri="{C3380CC4-5D6E-409C-BE32-E72D297353CC}">
              <c16:uniqueId val="{00000001-645D-4C0F-9E2B-1A696759E7D4}"/>
            </c:ext>
          </c:extLst>
        </c:ser>
        <c:dLbls>
          <c:showLegendKey val="0"/>
          <c:showVal val="0"/>
          <c:showCatName val="0"/>
          <c:showSerName val="0"/>
          <c:showPercent val="0"/>
          <c:showBubbleSize val="0"/>
        </c:dLbls>
        <c:marker val="1"/>
        <c:smooth val="0"/>
        <c:axId val="565564624"/>
        <c:axId val="428247824"/>
      </c:lineChart>
      <c:catAx>
        <c:axId val="659010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78164208"/>
        <c:crosses val="autoZero"/>
        <c:auto val="1"/>
        <c:lblAlgn val="ctr"/>
        <c:lblOffset val="100"/>
        <c:noMultiLvlLbl val="0"/>
      </c:catAx>
      <c:valAx>
        <c:axId val="178164208"/>
        <c:scaling>
          <c:orientation val="minMax"/>
          <c:max val="650000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59010575"/>
        <c:crosses val="autoZero"/>
        <c:crossBetween val="between"/>
        <c:dispUnits>
          <c:builtInUnit val="millions"/>
        </c:dispUnits>
      </c:valAx>
      <c:valAx>
        <c:axId val="428247824"/>
        <c:scaling>
          <c:orientation val="minMax"/>
          <c:max val="65000000"/>
          <c:min val="0"/>
        </c:scaling>
        <c:delete val="1"/>
        <c:axPos val="r"/>
        <c:numFmt formatCode="General" sourceLinked="1"/>
        <c:majorTickMark val="out"/>
        <c:minorTickMark val="none"/>
        <c:tickLblPos val="nextTo"/>
        <c:crossAx val="565564624"/>
        <c:crosses val="max"/>
        <c:crossBetween val="between"/>
        <c:dispUnits>
          <c:builtInUnit val="millions"/>
        </c:dispUnits>
      </c:valAx>
      <c:catAx>
        <c:axId val="565564624"/>
        <c:scaling>
          <c:orientation val="minMax"/>
        </c:scaling>
        <c:delete val="1"/>
        <c:axPos val="b"/>
        <c:numFmt formatCode="General" sourceLinked="1"/>
        <c:majorTickMark val="out"/>
        <c:minorTickMark val="none"/>
        <c:tickLblPos val="nextTo"/>
        <c:crossAx val="428247824"/>
        <c:crosses val="autoZero"/>
        <c:auto val="1"/>
        <c:lblAlgn val="ctr"/>
        <c:lblOffset val="100"/>
        <c:noMultiLvlLbl val="0"/>
      </c:catAx>
      <c:spPr>
        <a:noFill/>
        <a:ln>
          <a:noFill/>
        </a:ln>
        <a:effectLst/>
      </c:spPr>
    </c:plotArea>
    <c:legend>
      <c:legendPos val="b"/>
      <c:layout>
        <c:manualLayout>
          <c:xMode val="edge"/>
          <c:yMode val="edge"/>
          <c:x val="7.2349007052603997E-2"/>
          <c:y val="0.79889307197879311"/>
          <c:w val="0.92765099294739606"/>
          <c:h val="0.16322592156326807"/>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fr-FR"/>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000" b="1" i="1" u="none" strike="noStrike" kern="1200" spc="0" baseline="0">
                <a:solidFill>
                  <a:schemeClr val="tx1"/>
                </a:solidFill>
                <a:latin typeface="+mn-lt"/>
                <a:ea typeface="+mn-ea"/>
                <a:cs typeface="+mn-cs"/>
              </a:defRPr>
            </a:pPr>
            <a:r>
              <a:rPr lang="fr-FR" sz="1000" b="1" i="1" dirty="0"/>
              <a:t>revenue per LOB in Benelux</a:t>
            </a:r>
            <a:r>
              <a:rPr lang="fr-FR" sz="1000" b="1" i="1" u="none" strike="noStrike" baseline="0" dirty="0">
                <a:effectLst/>
              </a:rPr>
              <a:t>, in €m</a:t>
            </a:r>
            <a:endParaRPr lang="fr-FR" sz="1000" b="1" i="1" dirty="0"/>
          </a:p>
        </c:rich>
      </c:tx>
      <c:layout>
        <c:manualLayout>
          <c:xMode val="edge"/>
          <c:yMode val="edge"/>
          <c:x val="0.1670806321138443"/>
          <c:y val="1.6790635320621809E-2"/>
        </c:manualLayout>
      </c:layout>
      <c:overlay val="0"/>
      <c:spPr>
        <a:noFill/>
        <a:ln>
          <a:noFill/>
        </a:ln>
        <a:effectLst/>
      </c:spPr>
      <c:txPr>
        <a:bodyPr rot="0" spcFirstLastPara="1" vertOverflow="ellipsis" vert="horz" wrap="square" anchor="ctr" anchorCtr="1"/>
        <a:lstStyle/>
        <a:p>
          <a:pPr algn="ctr" rtl="0">
            <a:defRPr sz="1000" b="1" i="1" u="none" strike="noStrike" kern="1200" spc="0" baseline="0">
              <a:solidFill>
                <a:schemeClr val="tx1"/>
              </a:solidFill>
              <a:latin typeface="+mn-lt"/>
              <a:ea typeface="+mn-ea"/>
              <a:cs typeface="+mn-cs"/>
            </a:defRPr>
          </a:pPr>
          <a:endParaRPr lang="fr-FR"/>
        </a:p>
      </c:txPr>
    </c:title>
    <c:autoTitleDeleted val="0"/>
    <c:plotArea>
      <c:layout>
        <c:manualLayout>
          <c:layoutTarget val="inner"/>
          <c:xMode val="edge"/>
          <c:yMode val="edge"/>
          <c:x val="6.9468550230550485E-2"/>
          <c:y val="0.11796567994374513"/>
          <c:w val="0.80583649082207798"/>
          <c:h val="0.62591654393197016"/>
        </c:manualLayout>
      </c:layout>
      <c:barChart>
        <c:barDir val="col"/>
        <c:grouping val="stacked"/>
        <c:varyColors val="0"/>
        <c:ser>
          <c:idx val="0"/>
          <c:order val="0"/>
          <c:tx>
            <c:strRef>
              <c:f>Sheet1!$B$1</c:f>
              <c:strCache>
                <c:ptCount val="1"/>
                <c:pt idx="0">
                  <c:v>Credit &amp; financial risk</c:v>
                </c:pt>
              </c:strCache>
            </c:strRef>
          </c:tx>
          <c:spPr>
            <a:solidFill>
              <a:schemeClr val="bg2">
                <a:lumMod val="40000"/>
                <a:lumOff val="60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General</c:formatCode>
                <c:ptCount val="4"/>
                <c:pt idx="0">
                  <c:v>37344589.440983862</c:v>
                </c:pt>
                <c:pt idx="1">
                  <c:v>33531808.32796324</c:v>
                </c:pt>
                <c:pt idx="2">
                  <c:v>32722989.431844782</c:v>
                </c:pt>
                <c:pt idx="3">
                  <c:v>32005029.82889533</c:v>
                </c:pt>
              </c:numCache>
            </c:numRef>
          </c:val>
          <c:extLst>
            <c:ext xmlns:c16="http://schemas.microsoft.com/office/drawing/2014/chart" uri="{C3380CC4-5D6E-409C-BE32-E72D297353CC}">
              <c16:uniqueId val="{00000000-2BB4-44FD-AD3E-D1AD6BF9A4C4}"/>
            </c:ext>
          </c:extLst>
        </c:ser>
        <c:ser>
          <c:idx val="1"/>
          <c:order val="1"/>
          <c:tx>
            <c:strRef>
              <c:f>Sheet1!$C$1</c:f>
              <c:strCache>
                <c:ptCount val="1"/>
                <c:pt idx="0">
                  <c:v>B2B marketing</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General</c:formatCode>
                <c:ptCount val="4"/>
                <c:pt idx="0">
                  <c:v>4775482.7856050152</c:v>
                </c:pt>
                <c:pt idx="1">
                  <c:v>5678756.3005345659</c:v>
                </c:pt>
                <c:pt idx="2">
                  <c:v>6353866.3968900619</c:v>
                </c:pt>
                <c:pt idx="3">
                  <c:v>5963970.1711046668</c:v>
                </c:pt>
              </c:numCache>
            </c:numRef>
          </c:val>
          <c:extLst>
            <c:ext xmlns:c16="http://schemas.microsoft.com/office/drawing/2014/chart" uri="{C3380CC4-5D6E-409C-BE32-E72D297353CC}">
              <c16:uniqueId val="{00000001-2BB4-44FD-AD3E-D1AD6BF9A4C4}"/>
            </c:ext>
          </c:extLst>
        </c:ser>
        <c:ser>
          <c:idx val="2"/>
          <c:order val="2"/>
          <c:tx>
            <c:strRef>
              <c:f>Sheet1!$D$1</c:f>
              <c:strCache>
                <c:ptCount val="1"/>
                <c:pt idx="0">
                  <c:v>Compliance</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D$2:$D$5</c:f>
              <c:numCache>
                <c:formatCode>General</c:formatCode>
                <c:ptCount val="4"/>
                <c:pt idx="0">
                  <c:v>4859611.5996666662</c:v>
                </c:pt>
                <c:pt idx="1">
                  <c:v>5909652.2040562779</c:v>
                </c:pt>
                <c:pt idx="2">
                  <c:v>7195389.2985187145</c:v>
                </c:pt>
                <c:pt idx="3">
                  <c:v>6674000</c:v>
                </c:pt>
              </c:numCache>
            </c:numRef>
          </c:val>
          <c:extLst>
            <c:ext xmlns:c16="http://schemas.microsoft.com/office/drawing/2014/chart" uri="{C3380CC4-5D6E-409C-BE32-E72D297353CC}">
              <c16:uniqueId val="{00000002-2BB4-44FD-AD3E-D1AD6BF9A4C4}"/>
            </c:ext>
          </c:extLst>
        </c:ser>
        <c:ser>
          <c:idx val="3"/>
          <c:order val="3"/>
          <c:tx>
            <c:strRef>
              <c:f>Sheet1!$E$1</c:f>
              <c:strCache>
                <c:ptCount val="1"/>
                <c:pt idx="0">
                  <c:v>D&amp;B International</c:v>
                </c:pt>
              </c:strCache>
            </c:strRef>
          </c:tx>
          <c:spPr>
            <a:solidFill>
              <a:schemeClr val="accent1">
                <a:lumMod val="20000"/>
                <a:lumOff val="80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E$2:$E$5</c:f>
              <c:numCache>
                <c:formatCode>General</c:formatCode>
                <c:ptCount val="4"/>
                <c:pt idx="0">
                  <c:v>7197153.1739122542</c:v>
                </c:pt>
                <c:pt idx="1">
                  <c:v>8010926.4619554458</c:v>
                </c:pt>
                <c:pt idx="2">
                  <c:v>7642581.5532852737</c:v>
                </c:pt>
                <c:pt idx="3">
                  <c:v>9307000</c:v>
                </c:pt>
              </c:numCache>
            </c:numRef>
          </c:val>
          <c:extLst>
            <c:ext xmlns:c16="http://schemas.microsoft.com/office/drawing/2014/chart" uri="{C3380CC4-5D6E-409C-BE32-E72D297353CC}">
              <c16:uniqueId val="{00000004-2BB4-44FD-AD3E-D1AD6BF9A4C4}"/>
            </c:ext>
          </c:extLst>
        </c:ser>
        <c:dLbls>
          <c:showLegendKey val="0"/>
          <c:showVal val="0"/>
          <c:showCatName val="0"/>
          <c:showSerName val="0"/>
          <c:showPercent val="0"/>
          <c:showBubbleSize val="0"/>
        </c:dLbls>
        <c:gapWidth val="219"/>
        <c:overlap val="100"/>
        <c:axId val="659010575"/>
        <c:axId val="178164208"/>
      </c:barChart>
      <c:lineChart>
        <c:grouping val="standard"/>
        <c:varyColors val="0"/>
        <c:ser>
          <c:idx val="4"/>
          <c:order val="4"/>
          <c:tx>
            <c:strRef>
              <c:f>Sheet1!$F$1</c:f>
              <c:strCache>
                <c:ptCount val="1"/>
                <c:pt idx="0">
                  <c:v>Total</c:v>
                </c:pt>
              </c:strCache>
            </c:strRef>
          </c:tx>
          <c:spPr>
            <a:ln w="28575" cap="rnd">
              <a:solidFill>
                <a:srgbClr val="007AA9"/>
              </a:solidFill>
              <a:round/>
            </a:ln>
            <a:effectLst/>
          </c:spPr>
          <c:marker>
            <c:symbol val="none"/>
          </c:marker>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7AA9"/>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F$2:$F$5</c:f>
              <c:numCache>
                <c:formatCode>General</c:formatCode>
                <c:ptCount val="4"/>
                <c:pt idx="0">
                  <c:v>54176837.000167795</c:v>
                </c:pt>
                <c:pt idx="1">
                  <c:v>53131143.29450953</c:v>
                </c:pt>
                <c:pt idx="2">
                  <c:v>53914826.680538833</c:v>
                </c:pt>
                <c:pt idx="3">
                  <c:v>53950000</c:v>
                </c:pt>
              </c:numCache>
            </c:numRef>
          </c:val>
          <c:smooth val="0"/>
          <c:extLst>
            <c:ext xmlns:c16="http://schemas.microsoft.com/office/drawing/2014/chart" uri="{C3380CC4-5D6E-409C-BE32-E72D297353CC}">
              <c16:uniqueId val="{00000001-645D-4C0F-9E2B-1A696759E7D4}"/>
            </c:ext>
          </c:extLst>
        </c:ser>
        <c:dLbls>
          <c:showLegendKey val="0"/>
          <c:showVal val="1"/>
          <c:showCatName val="0"/>
          <c:showSerName val="0"/>
          <c:showPercent val="0"/>
          <c:showBubbleSize val="0"/>
        </c:dLbls>
        <c:marker val="1"/>
        <c:smooth val="0"/>
        <c:axId val="565564624"/>
        <c:axId val="428247824"/>
      </c:lineChart>
      <c:catAx>
        <c:axId val="659010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78164208"/>
        <c:crosses val="autoZero"/>
        <c:auto val="1"/>
        <c:lblAlgn val="ctr"/>
        <c:lblOffset val="100"/>
        <c:noMultiLvlLbl val="0"/>
      </c:catAx>
      <c:valAx>
        <c:axId val="178164208"/>
        <c:scaling>
          <c:orientation val="minMax"/>
          <c:max val="550000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59010575"/>
        <c:crosses val="autoZero"/>
        <c:crossBetween val="between"/>
        <c:dispUnits>
          <c:builtInUnit val="millions"/>
        </c:dispUnits>
      </c:valAx>
      <c:valAx>
        <c:axId val="428247824"/>
        <c:scaling>
          <c:orientation val="minMax"/>
          <c:max val="55000000"/>
          <c:min val="0"/>
        </c:scaling>
        <c:delete val="1"/>
        <c:axPos val="r"/>
        <c:numFmt formatCode="General" sourceLinked="1"/>
        <c:majorTickMark val="out"/>
        <c:minorTickMark val="none"/>
        <c:tickLblPos val="nextTo"/>
        <c:crossAx val="565564624"/>
        <c:crosses val="max"/>
        <c:crossBetween val="between"/>
        <c:dispUnits>
          <c:builtInUnit val="millions"/>
        </c:dispUnits>
      </c:valAx>
      <c:catAx>
        <c:axId val="565564624"/>
        <c:scaling>
          <c:orientation val="minMax"/>
        </c:scaling>
        <c:delete val="1"/>
        <c:axPos val="b"/>
        <c:numFmt formatCode="General" sourceLinked="1"/>
        <c:majorTickMark val="out"/>
        <c:minorTickMark val="none"/>
        <c:tickLblPos val="nextTo"/>
        <c:crossAx val="428247824"/>
        <c:crosses val="autoZero"/>
        <c:auto val="1"/>
        <c:lblAlgn val="ctr"/>
        <c:lblOffset val="100"/>
        <c:noMultiLvlLbl val="0"/>
      </c:catAx>
      <c:spPr>
        <a:noFill/>
        <a:ln>
          <a:noFill/>
        </a:ln>
        <a:effectLst/>
      </c:spPr>
    </c:plotArea>
    <c:legend>
      <c:legendPos val="b"/>
      <c:layout>
        <c:manualLayout>
          <c:xMode val="edge"/>
          <c:yMode val="edge"/>
          <c:x val="7.2349007052603997E-2"/>
          <c:y val="0.80162062683275737"/>
          <c:w val="0.89999991560337467"/>
          <c:h val="0.15808195098385788"/>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fr-FR"/>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463685169595596E-2"/>
          <c:y val="4.3151205592791619E-2"/>
          <c:w val="0.9138824237931531"/>
          <c:h val="0.86916721262053842"/>
        </c:manualLayout>
      </c:layout>
      <c:barChart>
        <c:barDir val="col"/>
        <c:grouping val="stacked"/>
        <c:varyColors val="0"/>
        <c:ser>
          <c:idx val="0"/>
          <c:order val="0"/>
          <c:tx>
            <c:strRef>
              <c:f>Sheet1!$B$1</c:f>
              <c:strCache>
                <c:ptCount val="1"/>
                <c:pt idx="0">
                  <c:v>Fichiers</c:v>
                </c:pt>
              </c:strCache>
            </c:strRef>
          </c:tx>
          <c:spPr>
            <a:solidFill>
              <a:schemeClr val="bg1">
                <a:lumMod val="6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0.00</c:formatCode>
                <c:ptCount val="4"/>
                <c:pt idx="0">
                  <c:v>11354521.52</c:v>
                </c:pt>
                <c:pt idx="1">
                  <c:v>8581551.8599999994</c:v>
                </c:pt>
                <c:pt idx="2">
                  <c:v>9220531.3000000007</c:v>
                </c:pt>
                <c:pt idx="3">
                  <c:v>8524104.3200000003</c:v>
                </c:pt>
              </c:numCache>
            </c:numRef>
          </c:val>
          <c:extLst>
            <c:ext xmlns:c16="http://schemas.microsoft.com/office/drawing/2014/chart" uri="{C3380CC4-5D6E-409C-BE32-E72D297353CC}">
              <c16:uniqueId val="{00000000-E8A6-49F0-A55E-394B216CEC92}"/>
            </c:ext>
          </c:extLst>
        </c:ser>
        <c:ser>
          <c:idx val="1"/>
          <c:order val="1"/>
          <c:tx>
            <c:strRef>
              <c:f>Sheet1!$C$1</c:f>
              <c:strCache>
                <c:ptCount val="1"/>
                <c:pt idx="0">
                  <c:v>Other</c:v>
                </c:pt>
              </c:strCache>
            </c:strRef>
          </c:tx>
          <c:spPr>
            <a:solidFill>
              <a:srgbClr val="F2F2F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0.00</c:formatCode>
                <c:ptCount val="4"/>
                <c:pt idx="0">
                  <c:v>432773.66</c:v>
                </c:pt>
                <c:pt idx="1">
                  <c:v>420228.17</c:v>
                </c:pt>
                <c:pt idx="2">
                  <c:v>192094.77</c:v>
                </c:pt>
                <c:pt idx="3">
                  <c:v>284449.74</c:v>
                </c:pt>
              </c:numCache>
            </c:numRef>
          </c:val>
          <c:extLst>
            <c:ext xmlns:c16="http://schemas.microsoft.com/office/drawing/2014/chart" uri="{C3380CC4-5D6E-409C-BE32-E72D297353CC}">
              <c16:uniqueId val="{00000001-E8A6-49F0-A55E-394B216CEC92}"/>
            </c:ext>
          </c:extLst>
        </c:ser>
        <c:ser>
          <c:idx val="2"/>
          <c:order val="2"/>
          <c:tx>
            <c:strRef>
              <c:f>Sheet1!$D$1</c:f>
              <c:strCache>
                <c:ptCount val="1"/>
                <c:pt idx="0">
                  <c:v>Datascience</c:v>
                </c:pt>
              </c:strCache>
            </c:strRef>
          </c:tx>
          <c:spPr>
            <a:solidFill>
              <a:schemeClr val="bg2"/>
            </a:solidFill>
            <a:ln>
              <a:noFill/>
            </a:ln>
            <a:effectLst/>
          </c:spPr>
          <c:invertIfNegative val="0"/>
          <c:dLbls>
            <c:dLbl>
              <c:idx val="0"/>
              <c:layout>
                <c:manualLayout>
                  <c:x val="-0.10164080878472707"/>
                  <c:y val="0.1490678011387346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383-426E-BD7C-565B2BCECE87}"/>
                </c:ext>
              </c:extLst>
            </c:dLbl>
            <c:dLbl>
              <c:idx val="1"/>
              <c:layout>
                <c:manualLayout>
                  <c:x val="-0.11116963460829526"/>
                  <c:y val="5.884255308107947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3E6-4823-BF1B-9C130A4359C1}"/>
                </c:ext>
              </c:extLst>
            </c:dLbl>
            <c:dLbl>
              <c:idx val="2"/>
              <c:layout>
                <c:manualLayout>
                  <c:x val="-0.10799335933377256"/>
                  <c:y val="8.2379574313511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3E6-4823-BF1B-9C130A4359C1}"/>
                </c:ext>
              </c:extLst>
            </c:dLbl>
            <c:dLbl>
              <c:idx val="3"/>
              <c:layout>
                <c:manualLayout>
                  <c:x val="-0.10799335933377251"/>
                  <c:y val="7.453390056936734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3E6-4823-BF1B-9C130A4359C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D$2:$D$5</c:f>
              <c:numCache>
                <c:formatCode>#,##0.00</c:formatCode>
                <c:ptCount val="4"/>
                <c:pt idx="0">
                  <c:v>232435</c:v>
                </c:pt>
                <c:pt idx="1">
                  <c:v>400702.18</c:v>
                </c:pt>
                <c:pt idx="2">
                  <c:v>247776.89</c:v>
                </c:pt>
                <c:pt idx="3">
                  <c:v>415580.09</c:v>
                </c:pt>
              </c:numCache>
            </c:numRef>
          </c:val>
          <c:extLst>
            <c:ext xmlns:c16="http://schemas.microsoft.com/office/drawing/2014/chart" uri="{C3380CC4-5D6E-409C-BE32-E72D297353CC}">
              <c16:uniqueId val="{00000002-E8A6-49F0-A55E-394B216CEC92}"/>
            </c:ext>
          </c:extLst>
        </c:ser>
        <c:ser>
          <c:idx val="3"/>
          <c:order val="3"/>
          <c:tx>
            <c:strRef>
              <c:f>Sheet1!$E$1</c:f>
              <c:strCache>
                <c:ptCount val="1"/>
                <c:pt idx="0">
                  <c:v>Data manager</c:v>
                </c:pt>
              </c:strCache>
            </c:strRef>
          </c:tx>
          <c:spPr>
            <a:solidFill>
              <a:srgbClr val="289B38"/>
            </a:solidFill>
            <a:ln>
              <a:noFill/>
            </a:ln>
            <a:effectLst/>
          </c:spPr>
          <c:invertIfNegative val="0"/>
          <c:dLbls>
            <c:dLbl>
              <c:idx val="0"/>
              <c:layout>
                <c:manualLayout>
                  <c:x val="0.10799335933377251"/>
                  <c:y val="6.2765389953151479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8A6-49F0-A55E-394B216CEC92}"/>
                </c:ext>
              </c:extLst>
            </c:dLbl>
            <c:dLbl>
              <c:idx val="3"/>
              <c:delete val="1"/>
              <c:extLst>
                <c:ext xmlns:c15="http://schemas.microsoft.com/office/drawing/2012/chart" uri="{CE6537A1-D6FC-4f65-9D91-7224C49458BB}"/>
                <c:ext xmlns:c16="http://schemas.microsoft.com/office/drawing/2014/chart" uri="{C3380CC4-5D6E-409C-BE32-E72D297353CC}">
                  <c16:uniqueId val="{00000000-643E-40AE-955F-7A703E1906B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E$2:$E$5</c:f>
              <c:numCache>
                <c:formatCode>#,##0.00</c:formatCode>
                <c:ptCount val="4"/>
                <c:pt idx="0">
                  <c:v>267588.34999999998</c:v>
                </c:pt>
                <c:pt idx="1">
                  <c:v>249270</c:v>
                </c:pt>
                <c:pt idx="2">
                  <c:v>145629.71</c:v>
                </c:pt>
                <c:pt idx="3" formatCode="General">
                  <c:v>0</c:v>
                </c:pt>
              </c:numCache>
            </c:numRef>
          </c:val>
          <c:extLst>
            <c:ext xmlns:c16="http://schemas.microsoft.com/office/drawing/2014/chart" uri="{C3380CC4-5D6E-409C-BE32-E72D297353CC}">
              <c16:uniqueId val="{00000004-E8A6-49F0-A55E-394B216CEC92}"/>
            </c:ext>
          </c:extLst>
        </c:ser>
        <c:ser>
          <c:idx val="4"/>
          <c:order val="4"/>
          <c:tx>
            <c:strRef>
              <c:f>Sheet1!$F$1</c:f>
              <c:strCache>
                <c:ptCount val="1"/>
                <c:pt idx="0">
                  <c:v>Direct +</c:v>
                </c:pt>
              </c:strCache>
            </c:strRef>
          </c:tx>
          <c:spPr>
            <a:solidFill>
              <a:srgbClr val="00A3E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B383-426E-BD7C-565B2BCECE87}"/>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F$2:$F$5</c:f>
              <c:numCache>
                <c:formatCode>#,##0.00</c:formatCode>
                <c:ptCount val="4"/>
                <c:pt idx="0">
                  <c:v>6989</c:v>
                </c:pt>
                <c:pt idx="1">
                  <c:v>1301576.25</c:v>
                </c:pt>
                <c:pt idx="2">
                  <c:v>1820990.93</c:v>
                </c:pt>
                <c:pt idx="3">
                  <c:v>2276643.9300000002</c:v>
                </c:pt>
              </c:numCache>
            </c:numRef>
          </c:val>
          <c:extLst>
            <c:ext xmlns:c16="http://schemas.microsoft.com/office/drawing/2014/chart" uri="{C3380CC4-5D6E-409C-BE32-E72D297353CC}">
              <c16:uniqueId val="{00000005-E8A6-49F0-A55E-394B216CEC92}"/>
            </c:ext>
          </c:extLst>
        </c:ser>
        <c:ser>
          <c:idx val="5"/>
          <c:order val="5"/>
          <c:tx>
            <c:strRef>
              <c:f>Sheet1!$G$1</c:f>
              <c:strCache>
                <c:ptCount val="1"/>
                <c:pt idx="0">
                  <c:v>Business Add On</c:v>
                </c:pt>
              </c:strCache>
            </c:strRef>
          </c:tx>
          <c:spPr>
            <a:solidFill>
              <a:srgbClr val="ADD9FD"/>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G$2:$G$5</c:f>
              <c:numCache>
                <c:formatCode>#,##0.00</c:formatCode>
                <c:ptCount val="4"/>
                <c:pt idx="0">
                  <c:v>714969.65</c:v>
                </c:pt>
                <c:pt idx="1">
                  <c:v>928194.2</c:v>
                </c:pt>
                <c:pt idx="2">
                  <c:v>1015230.39</c:v>
                </c:pt>
                <c:pt idx="3">
                  <c:v>1076734.33</c:v>
                </c:pt>
              </c:numCache>
            </c:numRef>
          </c:val>
          <c:extLst>
            <c:ext xmlns:c16="http://schemas.microsoft.com/office/drawing/2014/chart" uri="{C3380CC4-5D6E-409C-BE32-E72D297353CC}">
              <c16:uniqueId val="{00000006-E8A6-49F0-A55E-394B216CEC92}"/>
            </c:ext>
          </c:extLst>
        </c:ser>
        <c:ser>
          <c:idx val="6"/>
          <c:order val="6"/>
          <c:tx>
            <c:strRef>
              <c:f>Sheet1!$H$1</c:f>
              <c:strCache>
                <c:ptCount val="1"/>
                <c:pt idx="0">
                  <c:v>Dataxess</c:v>
                </c:pt>
              </c:strCache>
            </c:strRef>
          </c:tx>
          <c:spPr>
            <a:solidFill>
              <a:srgbClr val="55CFFF"/>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4-B383-426E-BD7C-565B2BCECE87}"/>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H$2:$H$5</c:f>
              <c:numCache>
                <c:formatCode>#,##0.00</c:formatCode>
                <c:ptCount val="4"/>
                <c:pt idx="0" formatCode="General">
                  <c:v>0</c:v>
                </c:pt>
                <c:pt idx="1">
                  <c:v>274950</c:v>
                </c:pt>
                <c:pt idx="2">
                  <c:v>819028.5</c:v>
                </c:pt>
                <c:pt idx="3">
                  <c:v>1507507.92</c:v>
                </c:pt>
              </c:numCache>
            </c:numRef>
          </c:val>
          <c:extLst>
            <c:ext xmlns:c16="http://schemas.microsoft.com/office/drawing/2014/chart" uri="{C3380CC4-5D6E-409C-BE32-E72D297353CC}">
              <c16:uniqueId val="{00000007-E8A6-49F0-A55E-394B216CEC92}"/>
            </c:ext>
          </c:extLst>
        </c:ser>
        <c:dLbls>
          <c:showLegendKey val="0"/>
          <c:showVal val="0"/>
          <c:showCatName val="0"/>
          <c:showSerName val="0"/>
          <c:showPercent val="0"/>
          <c:showBubbleSize val="0"/>
        </c:dLbls>
        <c:gapWidth val="64"/>
        <c:overlap val="100"/>
        <c:axId val="1468785408"/>
        <c:axId val="1211666208"/>
      </c:barChart>
      <c:lineChart>
        <c:grouping val="standard"/>
        <c:varyColors val="0"/>
        <c:ser>
          <c:idx val="7"/>
          <c:order val="7"/>
          <c:tx>
            <c:strRef>
              <c:f>Sheet1!$I$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I$2:$I$5</c:f>
              <c:numCache>
                <c:formatCode>#,##0.00</c:formatCode>
                <c:ptCount val="4"/>
                <c:pt idx="0">
                  <c:v>13009277.18</c:v>
                </c:pt>
                <c:pt idx="1">
                  <c:v>12156472.66</c:v>
                </c:pt>
                <c:pt idx="2">
                  <c:v>13461282.49</c:v>
                </c:pt>
                <c:pt idx="3">
                  <c:v>14085020.33</c:v>
                </c:pt>
              </c:numCache>
            </c:numRef>
          </c:val>
          <c:smooth val="0"/>
          <c:extLst>
            <c:ext xmlns:c16="http://schemas.microsoft.com/office/drawing/2014/chart" uri="{C3380CC4-5D6E-409C-BE32-E72D297353CC}">
              <c16:uniqueId val="{00000008-E8A6-49F0-A55E-394B216CEC92}"/>
            </c:ext>
          </c:extLst>
        </c:ser>
        <c:dLbls>
          <c:showLegendKey val="0"/>
          <c:showVal val="0"/>
          <c:showCatName val="0"/>
          <c:showSerName val="0"/>
          <c:showPercent val="0"/>
          <c:showBubbleSize val="0"/>
        </c:dLbls>
        <c:marker val="1"/>
        <c:smooth val="0"/>
        <c:axId val="1984839600"/>
        <c:axId val="1254305167"/>
      </c:lineChart>
      <c:catAx>
        <c:axId val="146878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dispUnits>
          <c:builtInUnit val="millions"/>
        </c:dispUnits>
      </c:valAx>
      <c:valAx>
        <c:axId val="1254305167"/>
        <c:scaling>
          <c:orientation val="minMax"/>
          <c:min val="0"/>
        </c:scaling>
        <c:delete val="1"/>
        <c:axPos val="r"/>
        <c:numFmt formatCode="#,##0" sourceLinked="0"/>
        <c:majorTickMark val="out"/>
        <c:minorTickMark val="none"/>
        <c:tickLblPos val="nextTo"/>
        <c:crossAx val="1984839600"/>
        <c:crosses val="max"/>
        <c:crossBetween val="between"/>
        <c:dispUnits>
          <c:builtInUnit val="millions"/>
        </c:dispUnits>
      </c:valAx>
      <c:catAx>
        <c:axId val="1984839600"/>
        <c:scaling>
          <c:orientation val="minMax"/>
        </c:scaling>
        <c:delete val="1"/>
        <c:axPos val="b"/>
        <c:numFmt formatCode="General" sourceLinked="1"/>
        <c:majorTickMark val="out"/>
        <c:minorTickMark val="none"/>
        <c:tickLblPos val="nextTo"/>
        <c:crossAx val="1254305167"/>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303562340240732E-2"/>
          <c:y val="4.3151205592791619E-2"/>
          <c:w val="0.88847221865484005"/>
          <c:h val="0.87701288636468233"/>
        </c:manualLayout>
      </c:layout>
      <c:barChart>
        <c:barDir val="col"/>
        <c:grouping val="stacked"/>
        <c:varyColors val="0"/>
        <c:ser>
          <c:idx val="0"/>
          <c:order val="0"/>
          <c:tx>
            <c:strRef>
              <c:f>Sheet1!$B$1</c:f>
              <c:strCache>
                <c:ptCount val="1"/>
                <c:pt idx="0">
                  <c:v>Fichiers</c:v>
                </c:pt>
              </c:strCache>
            </c:strRef>
          </c:tx>
          <c:spPr>
            <a:solidFill>
              <a:schemeClr val="bg1">
                <a:lumMod val="6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6044229.7436887501</c:v>
                </c:pt>
                <c:pt idx="1">
                  <c:v>5666229.7633294389</c:v>
                </c:pt>
                <c:pt idx="2">
                  <c:v>4864197.3000000026</c:v>
                </c:pt>
              </c:numCache>
            </c:numRef>
          </c:val>
          <c:extLst>
            <c:ext xmlns:c16="http://schemas.microsoft.com/office/drawing/2014/chart" uri="{C3380CC4-5D6E-409C-BE32-E72D297353CC}">
              <c16:uniqueId val="{00000000-C115-4862-B397-5D4CC33317A2}"/>
            </c:ext>
          </c:extLst>
        </c:ser>
        <c:ser>
          <c:idx val="1"/>
          <c:order val="1"/>
          <c:tx>
            <c:strRef>
              <c:f>Sheet1!$C$1</c:f>
              <c:strCache>
                <c:ptCount val="1"/>
                <c:pt idx="0">
                  <c:v>Datascience</c:v>
                </c:pt>
              </c:strCache>
            </c:strRef>
          </c:tx>
          <c:spPr>
            <a:solidFill>
              <a:srgbClr val="8FCD9F"/>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General</c:formatCode>
                <c:ptCount val="3"/>
                <c:pt idx="0">
                  <c:v>2468859.4299999997</c:v>
                </c:pt>
                <c:pt idx="1">
                  <c:v>2333460.6299999994</c:v>
                </c:pt>
                <c:pt idx="2">
                  <c:v>3657587.5033333329</c:v>
                </c:pt>
              </c:numCache>
            </c:numRef>
          </c:val>
          <c:extLst>
            <c:ext xmlns:c16="http://schemas.microsoft.com/office/drawing/2014/chart" uri="{C3380CC4-5D6E-409C-BE32-E72D297353CC}">
              <c16:uniqueId val="{00000001-C115-4862-B397-5D4CC33317A2}"/>
            </c:ext>
          </c:extLst>
        </c:ser>
        <c:ser>
          <c:idx val="2"/>
          <c:order val="2"/>
          <c:tx>
            <c:strRef>
              <c:f>Sheet1!$D$1</c:f>
              <c:strCache>
                <c:ptCount val="1"/>
                <c:pt idx="0">
                  <c:v>Direct +</c:v>
                </c:pt>
              </c:strCache>
            </c:strRef>
          </c:tx>
          <c:spPr>
            <a:solidFill>
              <a:srgbClr val="00A3E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General</c:formatCode>
                <c:ptCount val="3"/>
                <c:pt idx="0">
                  <c:v>183694</c:v>
                </c:pt>
                <c:pt idx="1">
                  <c:v>264672.75</c:v>
                </c:pt>
                <c:pt idx="2">
                  <c:v>794146.8</c:v>
                </c:pt>
              </c:numCache>
            </c:numRef>
          </c:val>
          <c:extLst>
            <c:ext xmlns:c16="http://schemas.microsoft.com/office/drawing/2014/chart" uri="{C3380CC4-5D6E-409C-BE32-E72D297353CC}">
              <c16:uniqueId val="{00000002-C115-4862-B397-5D4CC33317A2}"/>
            </c:ext>
          </c:extLst>
        </c:ser>
        <c:ser>
          <c:idx val="3"/>
          <c:order val="3"/>
          <c:tx>
            <c:strRef>
              <c:f>Sheet1!$E$1</c:f>
              <c:strCache>
                <c:ptCount val="1"/>
                <c:pt idx="0">
                  <c:v>Dataxess</c:v>
                </c:pt>
              </c:strCache>
            </c:strRef>
          </c:tx>
          <c:spPr>
            <a:solidFill>
              <a:srgbClr val="55CFFF"/>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C115-4862-B397-5D4CC33317A2}"/>
                </c:ext>
              </c:extLst>
            </c:dLbl>
            <c:dLbl>
              <c:idx val="1"/>
              <c:delete val="1"/>
              <c:extLst>
                <c:ext xmlns:c15="http://schemas.microsoft.com/office/drawing/2012/chart" uri="{CE6537A1-D6FC-4f65-9D91-7224C49458BB}"/>
                <c:ext xmlns:c16="http://schemas.microsoft.com/office/drawing/2014/chart" uri="{C3380CC4-5D6E-409C-BE32-E72D297353CC}">
                  <c16:uniqueId val="{00000010-C115-4862-B397-5D4CC33317A2}"/>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E$2:$E$4</c:f>
              <c:numCache>
                <c:formatCode>General</c:formatCode>
                <c:ptCount val="3"/>
                <c:pt idx="0">
                  <c:v>0</c:v>
                </c:pt>
                <c:pt idx="1">
                  <c:v>0</c:v>
                </c:pt>
                <c:pt idx="2">
                  <c:v>1506661.86</c:v>
                </c:pt>
              </c:numCache>
            </c:numRef>
          </c:val>
          <c:extLst>
            <c:ext xmlns:c16="http://schemas.microsoft.com/office/drawing/2014/chart" uri="{C3380CC4-5D6E-409C-BE32-E72D297353CC}">
              <c16:uniqueId val="{00000004-C115-4862-B397-5D4CC33317A2}"/>
            </c:ext>
          </c:extLst>
        </c:ser>
        <c:ser>
          <c:idx val="4"/>
          <c:order val="4"/>
          <c:tx>
            <c:strRef>
              <c:f>Sheet1!$F$1</c:f>
              <c:strCache>
                <c:ptCount val="1"/>
                <c:pt idx="0">
                  <c:v>D&amp;B Connect</c:v>
                </c:pt>
              </c:strCache>
            </c:strRef>
          </c:tx>
          <c:spPr>
            <a:solidFill>
              <a:schemeClr val="accent2">
                <a:lumMod val="5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E-C115-4862-B397-5D4CC33317A2}"/>
                </c:ext>
              </c:extLst>
            </c:dLbl>
            <c:dLbl>
              <c:idx val="1"/>
              <c:delete val="1"/>
              <c:extLst>
                <c:ext xmlns:c15="http://schemas.microsoft.com/office/drawing/2012/chart" uri="{CE6537A1-D6FC-4f65-9D91-7224C49458BB}"/>
                <c:ext xmlns:c16="http://schemas.microsoft.com/office/drawing/2014/chart" uri="{C3380CC4-5D6E-409C-BE32-E72D297353CC}">
                  <c16:uniqueId val="{0000000F-C115-4862-B397-5D4CC33317A2}"/>
                </c:ext>
              </c:extLst>
            </c:dLbl>
            <c:dLbl>
              <c:idx val="2"/>
              <c:layout>
                <c:manualLayout>
                  <c:x val="-0.15246121317709072"/>
                  <c:y val="2.745985810450375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24C-4159-8BCF-9EF983303B2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F$2:$F$4</c:f>
              <c:numCache>
                <c:formatCode>General</c:formatCode>
                <c:ptCount val="3"/>
                <c:pt idx="0">
                  <c:v>0</c:v>
                </c:pt>
                <c:pt idx="1">
                  <c:v>0</c:v>
                </c:pt>
                <c:pt idx="2">
                  <c:v>159586.41999999998</c:v>
                </c:pt>
              </c:numCache>
            </c:numRef>
          </c:val>
          <c:extLst>
            <c:ext xmlns:c16="http://schemas.microsoft.com/office/drawing/2014/chart" uri="{C3380CC4-5D6E-409C-BE32-E72D297353CC}">
              <c16:uniqueId val="{00000005-C115-4862-B397-5D4CC33317A2}"/>
            </c:ext>
          </c:extLst>
        </c:ser>
        <c:ser>
          <c:idx val="5"/>
          <c:order val="5"/>
          <c:tx>
            <c:strRef>
              <c:f>Sheet1!$G$1</c:f>
              <c:strCache>
                <c:ptCount val="1"/>
                <c:pt idx="0">
                  <c:v>Data manager</c:v>
                </c:pt>
              </c:strCache>
            </c:strRef>
          </c:tx>
          <c:spPr>
            <a:solidFill>
              <a:schemeClr val="tx2"/>
            </a:solidFill>
            <a:ln>
              <a:noFill/>
            </a:ln>
            <a:effectLst/>
          </c:spPr>
          <c:invertIfNegative val="0"/>
          <c:dLbls>
            <c:dLbl>
              <c:idx val="0"/>
              <c:layout>
                <c:manualLayout>
                  <c:x val="-0.12685610892787325"/>
                  <c:y val="9.807092180179909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115-4862-B397-5D4CC33317A2}"/>
                </c:ext>
              </c:extLst>
            </c:dLbl>
            <c:dLbl>
              <c:idx val="1"/>
              <c:layout>
                <c:manualLayout>
                  <c:x val="-0.13742745133852935"/>
                  <c:y val="7.8457046326232377E-2"/>
                </c:manualLayout>
              </c:layout>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layout>
                    <c:manualLayout>
                      <c:w val="9.1275990757150705E-2"/>
                      <c:h val="5.8450269393872281E-2"/>
                    </c:manualLayout>
                  </c15:layout>
                </c:ext>
                <c:ext xmlns:c16="http://schemas.microsoft.com/office/drawing/2014/chart" uri="{C3380CC4-5D6E-409C-BE32-E72D297353CC}">
                  <c16:uniqueId val="{00000007-C115-4862-B397-5D4CC33317A2}"/>
                </c:ext>
              </c:extLst>
            </c:dLbl>
            <c:dLbl>
              <c:idx val="2"/>
              <c:layout>
                <c:manualLayout>
                  <c:x val="0.12081534183606964"/>
                  <c:y val="7.061106369729537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C115-4862-B397-5D4CC33317A2}"/>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G$2:$G$4</c:f>
              <c:numCache>
                <c:formatCode>#,##0.00</c:formatCode>
                <c:ptCount val="3"/>
                <c:pt idx="0">
                  <c:v>18000</c:v>
                </c:pt>
                <c:pt idx="1">
                  <c:v>22500</c:v>
                </c:pt>
                <c:pt idx="2">
                  <c:v>15000</c:v>
                </c:pt>
              </c:numCache>
            </c:numRef>
          </c:val>
          <c:extLst>
            <c:ext xmlns:c16="http://schemas.microsoft.com/office/drawing/2014/chart" uri="{C3380CC4-5D6E-409C-BE32-E72D297353CC}">
              <c16:uniqueId val="{00000008-C115-4862-B397-5D4CC33317A2}"/>
            </c:ext>
          </c:extLst>
        </c:ser>
        <c:dLbls>
          <c:dLblPos val="ctr"/>
          <c:showLegendKey val="0"/>
          <c:showVal val="1"/>
          <c:showCatName val="0"/>
          <c:showSerName val="0"/>
          <c:showPercent val="0"/>
          <c:showBubbleSize val="0"/>
        </c:dLbls>
        <c:gapWidth val="64"/>
        <c:overlap val="100"/>
        <c:axId val="1468785408"/>
        <c:axId val="1211666208"/>
      </c:barChart>
      <c:lineChart>
        <c:grouping val="stacked"/>
        <c:varyColors val="0"/>
        <c:ser>
          <c:idx val="6"/>
          <c:order val="6"/>
          <c:tx>
            <c:strRef>
              <c:f>Sheet1!$H$1</c:f>
              <c:strCache>
                <c:ptCount val="1"/>
                <c:pt idx="0">
                  <c:v>Total</c:v>
                </c:pt>
              </c:strCache>
            </c:strRef>
          </c:tx>
          <c:spPr>
            <a:ln w="28575" cap="rnd">
              <a:noFill/>
              <a:round/>
            </a:ln>
            <a:effectLst/>
          </c:spPr>
          <c:marker>
            <c:symbol val="none"/>
          </c:marker>
          <c:dLbls>
            <c:dLbl>
              <c:idx val="0"/>
              <c:numFmt formatCode="#,##0.0" sourceLinked="0"/>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extLst>
                <c:ext xmlns:c15="http://schemas.microsoft.com/office/drawing/2012/chart" uri="{CE6537A1-D6FC-4f65-9D91-7224C49458BB}">
                  <c15:layout>
                    <c:manualLayout>
                      <c:w val="0.13539786224169001"/>
                      <c:h val="3.45209644742333E-2"/>
                    </c:manualLayout>
                  </c15:layout>
                </c:ext>
                <c:ext xmlns:c16="http://schemas.microsoft.com/office/drawing/2014/chart" uri="{C3380CC4-5D6E-409C-BE32-E72D297353CC}">
                  <c16:uniqueId val="{0000000D-C115-4862-B397-5D4CC33317A2}"/>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pt idx="0">
                  <c:v>2017</c:v>
                </c:pt>
                <c:pt idx="1">
                  <c:v>2018</c:v>
                </c:pt>
                <c:pt idx="2">
                  <c:v>2019</c:v>
                </c:pt>
              </c:numCache>
            </c:numRef>
          </c:cat>
          <c:val>
            <c:numRef>
              <c:f>Sheet1!$H$2:$H$4</c:f>
              <c:numCache>
                <c:formatCode>#,##0.00</c:formatCode>
                <c:ptCount val="3"/>
                <c:pt idx="0">
                  <c:v>8714783.1736887507</c:v>
                </c:pt>
                <c:pt idx="1">
                  <c:v>8286863.1433294378</c:v>
                </c:pt>
                <c:pt idx="2">
                  <c:v>10997179.883333337</c:v>
                </c:pt>
              </c:numCache>
            </c:numRef>
          </c:val>
          <c:smooth val="0"/>
          <c:extLst>
            <c:ext xmlns:c16="http://schemas.microsoft.com/office/drawing/2014/chart" uri="{C3380CC4-5D6E-409C-BE32-E72D297353CC}">
              <c16:uniqueId val="{0000000C-C115-4862-B397-5D4CC33317A2}"/>
            </c:ext>
          </c:extLst>
        </c:ser>
        <c:dLbls>
          <c:dLblPos val="ctr"/>
          <c:showLegendKey val="0"/>
          <c:showVal val="1"/>
          <c:showCatName val="0"/>
          <c:showSerName val="0"/>
          <c:showPercent val="0"/>
          <c:showBubbleSize val="0"/>
        </c:dLbls>
        <c:marker val="1"/>
        <c:smooth val="0"/>
        <c:axId val="951888944"/>
        <c:axId val="1484217215"/>
      </c:lineChart>
      <c:catAx>
        <c:axId val="146878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dispUnits>
          <c:builtInUnit val="millions"/>
        </c:dispUnits>
      </c:valAx>
      <c:valAx>
        <c:axId val="1484217215"/>
        <c:scaling>
          <c:orientation val="minMax"/>
        </c:scaling>
        <c:delete val="1"/>
        <c:axPos val="r"/>
        <c:numFmt formatCode="#,##0.00" sourceLinked="1"/>
        <c:majorTickMark val="out"/>
        <c:minorTickMark val="none"/>
        <c:tickLblPos val="nextTo"/>
        <c:crossAx val="951888944"/>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951888944"/>
        <c:scaling>
          <c:orientation val="minMax"/>
        </c:scaling>
        <c:delete val="1"/>
        <c:axPos val="b"/>
        <c:numFmt formatCode="General" sourceLinked="1"/>
        <c:majorTickMark val="out"/>
        <c:minorTickMark val="none"/>
        <c:tickLblPos val="nextTo"/>
        <c:crossAx val="1484217215"/>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303562340240732E-2"/>
          <c:y val="4.3151205592791619E-2"/>
          <c:w val="0.88847221865484005"/>
          <c:h val="0.86529256177618641"/>
        </c:manualLayout>
      </c:layout>
      <c:barChart>
        <c:barDir val="col"/>
        <c:grouping val="stacked"/>
        <c:varyColors val="0"/>
        <c:ser>
          <c:idx val="0"/>
          <c:order val="0"/>
          <c:tx>
            <c:strRef>
              <c:f>Sheet1!$B$1</c:f>
              <c:strCache>
                <c:ptCount val="1"/>
                <c:pt idx="0">
                  <c:v>DBAI/Toolkit/GDM</c:v>
                </c:pt>
              </c:strCache>
            </c:strRef>
          </c:tx>
          <c:spPr>
            <a:solidFill>
              <a:srgbClr val="367847"/>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0.00</c:formatCode>
                <c:ptCount val="4"/>
                <c:pt idx="0">
                  <c:v>10988618.400000013</c:v>
                </c:pt>
                <c:pt idx="1">
                  <c:v>8092998.9600000046</c:v>
                </c:pt>
                <c:pt idx="2">
                  <c:v>5855865.7299999977</c:v>
                </c:pt>
                <c:pt idx="3">
                  <c:v>3474212.7000000011</c:v>
                </c:pt>
              </c:numCache>
            </c:numRef>
          </c:val>
          <c:extLst>
            <c:ext xmlns:c16="http://schemas.microsoft.com/office/drawing/2014/chart" uri="{C3380CC4-5D6E-409C-BE32-E72D297353CC}">
              <c16:uniqueId val="{00000000-14FB-4D76-BDA3-4A2AABBFC839}"/>
            </c:ext>
          </c:extLst>
        </c:ser>
        <c:ser>
          <c:idx val="1"/>
          <c:order val="1"/>
          <c:tx>
            <c:strRef>
              <c:f>Sheet1!$C$1</c:f>
              <c:strCache>
                <c:ptCount val="1"/>
                <c:pt idx="0">
                  <c:v>DB Credit</c:v>
                </c:pt>
              </c:strCache>
            </c:strRef>
          </c:tx>
          <c:spPr>
            <a:solidFill>
              <a:srgbClr val="8FCD9F"/>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14FB-4D76-BDA3-4A2AABBFC83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0.00</c:formatCode>
                <c:ptCount val="4"/>
                <c:pt idx="0">
                  <c:v>44250</c:v>
                </c:pt>
                <c:pt idx="1">
                  <c:v>2588531.7199999997</c:v>
                </c:pt>
                <c:pt idx="2">
                  <c:v>4504109.5500000007</c:v>
                </c:pt>
                <c:pt idx="3">
                  <c:v>5772610.0700000031</c:v>
                </c:pt>
              </c:numCache>
            </c:numRef>
          </c:val>
          <c:extLst>
            <c:ext xmlns:c16="http://schemas.microsoft.com/office/drawing/2014/chart" uri="{C3380CC4-5D6E-409C-BE32-E72D297353CC}">
              <c16:uniqueId val="{00000002-14FB-4D76-BDA3-4A2AABBFC839}"/>
            </c:ext>
          </c:extLst>
        </c:ser>
        <c:ser>
          <c:idx val="2"/>
          <c:order val="2"/>
          <c:tx>
            <c:strRef>
              <c:f>Sheet1!$D$1</c:f>
              <c:strCache>
                <c:ptCount val="1"/>
                <c:pt idx="0">
                  <c:v>Global Financials</c:v>
                </c:pt>
              </c:strCache>
            </c:strRef>
          </c:tx>
          <c:spPr>
            <a:solidFill>
              <a:srgbClr val="E9F5EC"/>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B-14FB-4D76-BDA3-4A2AABBFC839}"/>
                </c:ext>
              </c:extLst>
            </c:dLbl>
            <c:dLbl>
              <c:idx val="1"/>
              <c:delete val="1"/>
              <c:extLst>
                <c:ext xmlns:c15="http://schemas.microsoft.com/office/drawing/2012/chart" uri="{CE6537A1-D6FC-4f65-9D91-7224C49458BB}"/>
                <c:ext xmlns:c16="http://schemas.microsoft.com/office/drawing/2014/chart" uri="{C3380CC4-5D6E-409C-BE32-E72D297353CC}">
                  <c16:uniqueId val="{0000000C-14FB-4D76-BDA3-4A2AABBFC839}"/>
                </c:ext>
              </c:extLst>
            </c:dLbl>
            <c:dLbl>
              <c:idx val="2"/>
              <c:delete val="1"/>
              <c:extLst>
                <c:ext xmlns:c15="http://schemas.microsoft.com/office/drawing/2012/chart" uri="{CE6537A1-D6FC-4f65-9D91-7224C49458BB}"/>
                <c:ext xmlns:c16="http://schemas.microsoft.com/office/drawing/2014/chart" uri="{C3380CC4-5D6E-409C-BE32-E72D297353CC}">
                  <c16:uniqueId val="{0000000D-14FB-4D76-BDA3-4A2AABBFC839}"/>
                </c:ext>
              </c:extLst>
            </c:dLbl>
            <c:dLbl>
              <c:idx val="3"/>
              <c:layout>
                <c:manualLayout>
                  <c:x val="-0.10799335933377251"/>
                  <c:y val="-5.099687933693555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14FB-4D76-BDA3-4A2AABBFC83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D$2:$D$5</c:f>
              <c:numCache>
                <c:formatCode>#,##0.00</c:formatCode>
                <c:ptCount val="4"/>
                <c:pt idx="0">
                  <c:v>0</c:v>
                </c:pt>
                <c:pt idx="1">
                  <c:v>0</c:v>
                </c:pt>
                <c:pt idx="2">
                  <c:v>0</c:v>
                </c:pt>
                <c:pt idx="3">
                  <c:v>163550</c:v>
                </c:pt>
              </c:numCache>
            </c:numRef>
          </c:val>
          <c:extLst>
            <c:ext xmlns:c16="http://schemas.microsoft.com/office/drawing/2014/chart" uri="{C3380CC4-5D6E-409C-BE32-E72D297353CC}">
              <c16:uniqueId val="{00000003-14FB-4D76-BDA3-4A2AABBFC839}"/>
            </c:ext>
          </c:extLst>
        </c:ser>
        <c:ser>
          <c:idx val="3"/>
          <c:order val="3"/>
          <c:tx>
            <c:strRef>
              <c:f>Sheet1!$E$1</c:f>
              <c:strCache>
                <c:ptCount val="1"/>
                <c:pt idx="0">
                  <c:v>Portfolio Manager</c:v>
                </c:pt>
              </c:strCache>
            </c:strRef>
          </c:tx>
          <c:spPr>
            <a:solidFill>
              <a:srgbClr val="ADD9FD"/>
            </a:solidFill>
            <a:ln>
              <a:noFill/>
            </a:ln>
            <a:effectLst/>
          </c:spPr>
          <c:invertIfNegative val="0"/>
          <c:dLbls>
            <c:dLbl>
              <c:idx val="0"/>
              <c:layout>
                <c:manualLayout>
                  <c:x val="2.7686529333616538E-17"/>
                  <c:y val="-3.922836872071964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4FB-4D76-BDA3-4A2AABBFC83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E$2:$E$5</c:f>
              <c:numCache>
                <c:formatCode>#,##0.00</c:formatCode>
                <c:ptCount val="4"/>
                <c:pt idx="0" formatCode="General">
                  <c:v>995723.70999999985</c:v>
                </c:pt>
                <c:pt idx="1">
                  <c:v>805537.16000000015</c:v>
                </c:pt>
                <c:pt idx="2">
                  <c:v>709501.76999999979</c:v>
                </c:pt>
                <c:pt idx="3">
                  <c:v>466662.02999999991</c:v>
                </c:pt>
              </c:numCache>
            </c:numRef>
          </c:val>
          <c:extLst>
            <c:ext xmlns:c16="http://schemas.microsoft.com/office/drawing/2014/chart" uri="{C3380CC4-5D6E-409C-BE32-E72D297353CC}">
              <c16:uniqueId val="{00000005-14FB-4D76-BDA3-4A2AABBFC839}"/>
            </c:ext>
          </c:extLst>
        </c:ser>
        <c:ser>
          <c:idx val="4"/>
          <c:order val="4"/>
          <c:tx>
            <c:strRef>
              <c:f>Sheet1!$F$1</c:f>
              <c:strCache>
                <c:ptCount val="1"/>
                <c:pt idx="0">
                  <c:v>Intuiz</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F$2:$F$5</c:f>
              <c:numCache>
                <c:formatCode>#,##0.00</c:formatCode>
                <c:ptCount val="4"/>
                <c:pt idx="0">
                  <c:v>12971325.579999998</c:v>
                </c:pt>
                <c:pt idx="1">
                  <c:v>12385591.290000038</c:v>
                </c:pt>
                <c:pt idx="2">
                  <c:v>12332004.379999997</c:v>
                </c:pt>
                <c:pt idx="3">
                  <c:v>12549691.710000033</c:v>
                </c:pt>
              </c:numCache>
            </c:numRef>
          </c:val>
          <c:extLst>
            <c:ext xmlns:c16="http://schemas.microsoft.com/office/drawing/2014/chart" uri="{C3380CC4-5D6E-409C-BE32-E72D297353CC}">
              <c16:uniqueId val="{00000006-14FB-4D76-BDA3-4A2AABBFC839}"/>
            </c:ext>
          </c:extLst>
        </c:ser>
        <c:ser>
          <c:idx val="5"/>
          <c:order val="5"/>
          <c:tx>
            <c:strRef>
              <c:f>Sheet1!$G$1</c:f>
              <c:strCache>
                <c:ptCount val="1"/>
                <c:pt idx="0">
                  <c:v>Wynbe</c:v>
                </c:pt>
              </c:strCache>
            </c:strRef>
          </c:tx>
          <c:spPr>
            <a:solidFill>
              <a:schemeClr val="accent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G$2:$G$5</c:f>
              <c:numCache>
                <c:formatCode>#,##0.00</c:formatCode>
                <c:ptCount val="4"/>
                <c:pt idx="0">
                  <c:v>1065952.49</c:v>
                </c:pt>
                <c:pt idx="1">
                  <c:v>1065952.49</c:v>
                </c:pt>
                <c:pt idx="2">
                  <c:v>1065952.49</c:v>
                </c:pt>
                <c:pt idx="3" formatCode="General">
                  <c:v>1065952.49</c:v>
                </c:pt>
              </c:numCache>
            </c:numRef>
          </c:val>
          <c:extLst>
            <c:ext xmlns:c16="http://schemas.microsoft.com/office/drawing/2014/chart" uri="{C3380CC4-5D6E-409C-BE32-E72D297353CC}">
              <c16:uniqueId val="{00000007-14FB-4D76-BDA3-4A2AABBFC839}"/>
            </c:ext>
          </c:extLst>
        </c:ser>
        <c:ser>
          <c:idx val="6"/>
          <c:order val="6"/>
          <c:tx>
            <c:strRef>
              <c:f>Sheet1!$H$1</c:f>
              <c:strCache>
                <c:ptCount val="1"/>
                <c:pt idx="0">
                  <c:v>Inforisk</c:v>
                </c:pt>
              </c:strCache>
            </c:strRef>
          </c:tx>
          <c:spPr>
            <a:solidFill>
              <a:schemeClr val="bg1">
                <a:lumMod val="85000"/>
              </a:schemeClr>
            </a:solidFill>
            <a:ln>
              <a:noFill/>
            </a:ln>
            <a:effectLst/>
          </c:spPr>
          <c:invertIfNegative val="0"/>
          <c:dLbls>
            <c:dLbl>
              <c:idx val="0"/>
              <c:layout>
                <c:manualLayout>
                  <c:x val="0.11116963460829524"/>
                  <c:y val="5.0996879336935551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14FB-4D76-BDA3-4A2AABBFC839}"/>
                </c:ext>
              </c:extLst>
            </c:dLbl>
            <c:dLbl>
              <c:idx val="1"/>
              <c:layout>
                <c:manualLayout>
                  <c:x val="0.11116963460829524"/>
                  <c:y val="5.4919716209007548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14FB-4D76-BDA3-4A2AABBFC839}"/>
                </c:ext>
              </c:extLst>
            </c:dLbl>
            <c:dLbl>
              <c:idx val="2"/>
              <c:layout>
                <c:manualLayout>
                  <c:x val="0.1079933593337724"/>
                  <c:y val="6.2765389953151479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14FB-4D76-BDA3-4A2AABBFC839}"/>
                </c:ext>
              </c:extLst>
            </c:dLbl>
            <c:dLbl>
              <c:idx val="3"/>
              <c:layout>
                <c:manualLayout>
                  <c:x val="0.10164080878472707"/>
                  <c:y val="5.8842553081079475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14FB-4D76-BDA3-4A2AABBFC83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H$2:$H$5</c:f>
              <c:numCache>
                <c:formatCode>#,##0.00</c:formatCode>
                <c:ptCount val="4"/>
                <c:pt idx="0">
                  <c:v>172571.88000000003</c:v>
                </c:pt>
                <c:pt idx="1">
                  <c:v>165345.79000000012</c:v>
                </c:pt>
                <c:pt idx="2">
                  <c:v>167550.58000000016</c:v>
                </c:pt>
                <c:pt idx="3">
                  <c:v>169121.8000000001</c:v>
                </c:pt>
              </c:numCache>
            </c:numRef>
          </c:val>
          <c:extLst>
            <c:ext xmlns:c16="http://schemas.microsoft.com/office/drawing/2014/chart" uri="{C3380CC4-5D6E-409C-BE32-E72D297353CC}">
              <c16:uniqueId val="{00000008-14FB-4D76-BDA3-4A2AABBFC839}"/>
            </c:ext>
          </c:extLst>
        </c:ser>
        <c:ser>
          <c:idx val="7"/>
          <c:order val="7"/>
          <c:tx>
            <c:strRef>
              <c:f>Sheet1!$I$1</c:f>
              <c:strCache>
                <c:ptCount val="1"/>
                <c:pt idx="0">
                  <c:v>MDM</c:v>
                </c:pt>
              </c:strCache>
            </c:strRef>
          </c:tx>
          <c:spPr>
            <a:solidFill>
              <a:schemeClr val="tx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I$2:$I$5</c:f>
              <c:numCache>
                <c:formatCode>#,##0.00</c:formatCode>
                <c:ptCount val="4"/>
                <c:pt idx="0">
                  <c:v>9426057.5860938001</c:v>
                </c:pt>
                <c:pt idx="1">
                  <c:v>8808145.8909260426</c:v>
                </c:pt>
                <c:pt idx="2">
                  <c:v>9264996.457065599</c:v>
                </c:pt>
                <c:pt idx="3">
                  <c:v>9598756.5136677716</c:v>
                </c:pt>
              </c:numCache>
            </c:numRef>
          </c:val>
          <c:extLst>
            <c:ext xmlns:c16="http://schemas.microsoft.com/office/drawing/2014/chart" uri="{C3380CC4-5D6E-409C-BE32-E72D297353CC}">
              <c16:uniqueId val="{00000009-14FB-4D76-BDA3-4A2AABBFC839}"/>
            </c:ext>
          </c:extLst>
        </c:ser>
        <c:dLbls>
          <c:dLblPos val="ctr"/>
          <c:showLegendKey val="0"/>
          <c:showVal val="1"/>
          <c:showCatName val="0"/>
          <c:showSerName val="0"/>
          <c:showPercent val="0"/>
          <c:showBubbleSize val="0"/>
        </c:dLbls>
        <c:gapWidth val="64"/>
        <c:overlap val="100"/>
        <c:axId val="1468785408"/>
        <c:axId val="1211666208"/>
      </c:barChart>
      <c:lineChart>
        <c:grouping val="standard"/>
        <c:varyColors val="0"/>
        <c:ser>
          <c:idx val="8"/>
          <c:order val="8"/>
          <c:tx>
            <c:strRef>
              <c:f>Sheet1!$J$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J$2:$J$5</c:f>
              <c:numCache>
                <c:formatCode>#,##0.00</c:formatCode>
                <c:ptCount val="4"/>
                <c:pt idx="0">
                  <c:v>35664499.646093816</c:v>
                </c:pt>
                <c:pt idx="1">
                  <c:v>33912103.300926082</c:v>
                </c:pt>
                <c:pt idx="2">
                  <c:v>33899980.95706559</c:v>
                </c:pt>
                <c:pt idx="3">
                  <c:v>33260557.313667811</c:v>
                </c:pt>
              </c:numCache>
            </c:numRef>
          </c:val>
          <c:smooth val="0"/>
          <c:extLst>
            <c:ext xmlns:c16="http://schemas.microsoft.com/office/drawing/2014/chart" uri="{C3380CC4-5D6E-409C-BE32-E72D297353CC}">
              <c16:uniqueId val="{0000000A-14FB-4D76-BDA3-4A2AABBFC839}"/>
            </c:ext>
          </c:extLst>
        </c:ser>
        <c:dLbls>
          <c:dLblPos val="ctr"/>
          <c:showLegendKey val="0"/>
          <c:showVal val="1"/>
          <c:showCatName val="0"/>
          <c:showSerName val="0"/>
          <c:showPercent val="0"/>
          <c:showBubbleSize val="0"/>
        </c:dLbls>
        <c:marker val="1"/>
        <c:smooth val="0"/>
        <c:axId val="1984839600"/>
        <c:axId val="1254305167"/>
      </c:lineChart>
      <c:catAx>
        <c:axId val="146878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dispUnits>
          <c:builtInUnit val="millions"/>
        </c:dispUnits>
      </c:valAx>
      <c:valAx>
        <c:axId val="1254305167"/>
        <c:scaling>
          <c:orientation val="minMax"/>
          <c:min val="0"/>
        </c:scaling>
        <c:delete val="1"/>
        <c:axPos val="r"/>
        <c:numFmt formatCode="#,##0" sourceLinked="0"/>
        <c:majorTickMark val="out"/>
        <c:minorTickMark val="none"/>
        <c:tickLblPos val="nextTo"/>
        <c:crossAx val="1984839600"/>
        <c:crosses val="max"/>
        <c:crossBetween val="between"/>
        <c:dispUnits>
          <c:builtInUnit val="millions"/>
        </c:dispUnits>
      </c:valAx>
      <c:catAx>
        <c:axId val="1984839600"/>
        <c:scaling>
          <c:orientation val="minMax"/>
        </c:scaling>
        <c:delete val="1"/>
        <c:axPos val="b"/>
        <c:numFmt formatCode="General" sourceLinked="1"/>
        <c:majorTickMark val="out"/>
        <c:minorTickMark val="none"/>
        <c:tickLblPos val="nextTo"/>
        <c:crossAx val="1254305167"/>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303562340240732E-2"/>
          <c:y val="4.3151205592791619E-2"/>
          <c:w val="0.88847221865484005"/>
          <c:h val="0.86657412478266083"/>
        </c:manualLayout>
      </c:layout>
      <c:barChart>
        <c:barDir val="col"/>
        <c:grouping val="stacked"/>
        <c:varyColors val="0"/>
        <c:ser>
          <c:idx val="0"/>
          <c:order val="0"/>
          <c:tx>
            <c:strRef>
              <c:f>Sheet1!$B$1</c:f>
              <c:strCache>
                <c:ptCount val="1"/>
                <c:pt idx="0">
                  <c:v>DBAI/Toolkit/GDM</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0.00</c:formatCode>
                <c:ptCount val="3"/>
                <c:pt idx="0">
                  <c:v>13697924.753299978</c:v>
                </c:pt>
                <c:pt idx="1">
                  <c:v>11544649.229999987</c:v>
                </c:pt>
                <c:pt idx="2">
                  <c:v>8376332.6399999484</c:v>
                </c:pt>
              </c:numCache>
            </c:numRef>
          </c:val>
          <c:extLst>
            <c:ext xmlns:c16="http://schemas.microsoft.com/office/drawing/2014/chart" uri="{C3380CC4-5D6E-409C-BE32-E72D297353CC}">
              <c16:uniqueId val="{00000000-8961-4EAF-A41F-C45E72270873}"/>
            </c:ext>
          </c:extLst>
        </c:ser>
        <c:ser>
          <c:idx val="1"/>
          <c:order val="1"/>
          <c:tx>
            <c:strRef>
              <c:f>Sheet1!$C$1</c:f>
              <c:strCache>
                <c:ptCount val="1"/>
                <c:pt idx="0">
                  <c:v>DNBi</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0.00</c:formatCode>
                <c:ptCount val="3"/>
                <c:pt idx="0">
                  <c:v>10632532.309999995</c:v>
                </c:pt>
                <c:pt idx="1">
                  <c:v>7053929.3800000008</c:v>
                </c:pt>
                <c:pt idx="2">
                  <c:v>3609815.8699999982</c:v>
                </c:pt>
              </c:numCache>
            </c:numRef>
          </c:val>
          <c:extLst>
            <c:ext xmlns:c16="http://schemas.microsoft.com/office/drawing/2014/chart" uri="{C3380CC4-5D6E-409C-BE32-E72D297353CC}">
              <c16:uniqueId val="{00000001-8961-4EAF-A41F-C45E72270873}"/>
            </c:ext>
          </c:extLst>
        </c:ser>
        <c:ser>
          <c:idx val="2"/>
          <c:order val="2"/>
          <c:tx>
            <c:strRef>
              <c:f>Sheet1!$D$1</c:f>
              <c:strCache>
                <c:ptCount val="1"/>
                <c:pt idx="0">
                  <c:v>DB Credit</c:v>
                </c:pt>
              </c:strCache>
            </c:strRef>
          </c:tx>
          <c:spPr>
            <a:solidFill>
              <a:srgbClr val="8FCD9F"/>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0.00</c:formatCode>
                <c:ptCount val="3"/>
                <c:pt idx="0">
                  <c:v>3982969.5000000005</c:v>
                </c:pt>
                <c:pt idx="1">
                  <c:v>8317677.7700000033</c:v>
                </c:pt>
                <c:pt idx="2">
                  <c:v>13006740.57</c:v>
                </c:pt>
              </c:numCache>
            </c:numRef>
          </c:val>
          <c:extLst>
            <c:ext xmlns:c16="http://schemas.microsoft.com/office/drawing/2014/chart" uri="{C3380CC4-5D6E-409C-BE32-E72D297353CC}">
              <c16:uniqueId val="{00000002-8961-4EAF-A41F-C45E72270873}"/>
            </c:ext>
          </c:extLst>
        </c:ser>
        <c:ser>
          <c:idx val="3"/>
          <c:order val="3"/>
          <c:tx>
            <c:strRef>
              <c:f>Sheet1!$E$1</c:f>
              <c:strCache>
                <c:ptCount val="1"/>
                <c:pt idx="0">
                  <c:v>Portfolio Manager</c:v>
                </c:pt>
              </c:strCache>
            </c:strRef>
          </c:tx>
          <c:spPr>
            <a:solidFill>
              <a:srgbClr val="ADD9FD"/>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E$2:$E$4</c:f>
              <c:numCache>
                <c:formatCode>#,##0.00</c:formatCode>
                <c:ptCount val="3"/>
                <c:pt idx="0">
                  <c:v>2035422.0999999996</c:v>
                </c:pt>
                <c:pt idx="1">
                  <c:v>1753594.52</c:v>
                </c:pt>
                <c:pt idx="2">
                  <c:v>1205748.5299999998</c:v>
                </c:pt>
              </c:numCache>
            </c:numRef>
          </c:val>
          <c:extLst>
            <c:ext xmlns:c16="http://schemas.microsoft.com/office/drawing/2014/chart" uri="{C3380CC4-5D6E-409C-BE32-E72D297353CC}">
              <c16:uniqueId val="{00000005-8961-4EAF-A41F-C45E72270873}"/>
            </c:ext>
          </c:extLst>
        </c:ser>
        <c:ser>
          <c:idx val="4"/>
          <c:order val="4"/>
          <c:tx>
            <c:strRef>
              <c:f>Sheet1!$F$1</c:f>
              <c:strCache>
                <c:ptCount val="1"/>
                <c:pt idx="0">
                  <c:v>Country Risk</c:v>
                </c:pt>
              </c:strCache>
            </c:strRef>
          </c:tx>
          <c:spPr>
            <a:solidFill>
              <a:schemeClr val="accent1">
                <a:lumMod val="50000"/>
              </a:schemeClr>
            </a:solidFill>
            <a:ln>
              <a:noFill/>
            </a:ln>
            <a:effectLst/>
          </c:spPr>
          <c:invertIfNegative val="0"/>
          <c:cat>
            <c:numRef>
              <c:f>Sheet1!$A$2:$A$4</c:f>
              <c:numCache>
                <c:formatCode>General</c:formatCode>
                <c:ptCount val="3"/>
                <c:pt idx="0">
                  <c:v>2017</c:v>
                </c:pt>
                <c:pt idx="1">
                  <c:v>2018</c:v>
                </c:pt>
                <c:pt idx="2">
                  <c:v>2019</c:v>
                </c:pt>
              </c:numCache>
            </c:numRef>
          </c:cat>
          <c:val>
            <c:numRef>
              <c:f>Sheet1!$F$2:$F$4</c:f>
              <c:numCache>
                <c:formatCode>#,##0.00</c:formatCode>
                <c:ptCount val="3"/>
                <c:pt idx="0">
                  <c:v>1587.7700000000004</c:v>
                </c:pt>
                <c:pt idx="1">
                  <c:v>6510</c:v>
                </c:pt>
                <c:pt idx="2">
                  <c:v>5260</c:v>
                </c:pt>
              </c:numCache>
            </c:numRef>
          </c:val>
          <c:extLst>
            <c:ext xmlns:c16="http://schemas.microsoft.com/office/drawing/2014/chart" uri="{C3380CC4-5D6E-409C-BE32-E72D297353CC}">
              <c16:uniqueId val="{00000006-8961-4EAF-A41F-C45E72270873}"/>
            </c:ext>
          </c:extLst>
        </c:ser>
        <c:ser>
          <c:idx val="5"/>
          <c:order val="5"/>
          <c:tx>
            <c:strRef>
              <c:f>Sheet1!$G$1</c:f>
              <c:strCache>
                <c:ptCount val="1"/>
                <c:pt idx="0">
                  <c:v>MDM</c:v>
                </c:pt>
              </c:strCache>
            </c:strRef>
          </c:tx>
          <c:spPr>
            <a:solidFill>
              <a:srgbClr val="6C6C6C"/>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G$2:$G$4</c:f>
              <c:numCache>
                <c:formatCode>#,##0.00</c:formatCode>
                <c:ptCount val="3"/>
                <c:pt idx="0">
                  <c:v>982830.37488784175</c:v>
                </c:pt>
                <c:pt idx="1">
                  <c:v>975627.38220667222</c:v>
                </c:pt>
                <c:pt idx="2">
                  <c:v>1518507.1537539978</c:v>
                </c:pt>
              </c:numCache>
            </c:numRef>
          </c:val>
          <c:extLst>
            <c:ext xmlns:c16="http://schemas.microsoft.com/office/drawing/2014/chart" uri="{C3380CC4-5D6E-409C-BE32-E72D297353CC}">
              <c16:uniqueId val="{00000007-8961-4EAF-A41F-C45E72270873}"/>
            </c:ext>
          </c:extLst>
        </c:ser>
        <c:ser>
          <c:idx val="6"/>
          <c:order val="6"/>
          <c:tx>
            <c:strRef>
              <c:f>Sheet1!$H$1</c:f>
              <c:strCache>
                <c:ptCount val="1"/>
                <c:pt idx="0">
                  <c:v>Fichiers</c:v>
                </c:pt>
              </c:strCache>
            </c:strRef>
          </c:tx>
          <c:spPr>
            <a:solidFill>
              <a:srgbClr val="A6A6A6"/>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C-8961-4EAF-A41F-C45E72270873}"/>
                </c:ext>
              </c:extLst>
            </c:dLbl>
            <c:dLbl>
              <c:idx val="1"/>
              <c:layout>
                <c:manualLayout>
                  <c:x val="-0.13975611207899977"/>
                  <c:y val="5.099687933693555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8961-4EAF-A41F-C45E72270873}"/>
                </c:ext>
              </c:extLst>
            </c:dLbl>
            <c:dLbl>
              <c:idx val="2"/>
              <c:delete val="1"/>
              <c:extLst>
                <c:ext xmlns:c15="http://schemas.microsoft.com/office/drawing/2012/chart" uri="{CE6537A1-D6FC-4f65-9D91-7224C49458BB}"/>
                <c:ext xmlns:c16="http://schemas.microsoft.com/office/drawing/2014/chart" uri="{C3380CC4-5D6E-409C-BE32-E72D297353CC}">
                  <c16:uniqueId val="{0000000E-8961-4EAF-A41F-C45E72270873}"/>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H$2:$H$4</c:f>
              <c:numCache>
                <c:formatCode>#,##0.00</c:formatCode>
                <c:ptCount val="3"/>
                <c:pt idx="0">
                  <c:v>0</c:v>
                </c:pt>
                <c:pt idx="1">
                  <c:v>254035.92</c:v>
                </c:pt>
                <c:pt idx="2">
                  <c:v>0</c:v>
                </c:pt>
              </c:numCache>
            </c:numRef>
          </c:val>
          <c:extLst>
            <c:ext xmlns:c16="http://schemas.microsoft.com/office/drawing/2014/chart" uri="{C3380CC4-5D6E-409C-BE32-E72D297353CC}">
              <c16:uniqueId val="{00000008-8961-4EAF-A41F-C45E72270873}"/>
            </c:ext>
          </c:extLst>
        </c:ser>
        <c:ser>
          <c:idx val="7"/>
          <c:order val="7"/>
          <c:tx>
            <c:strRef>
              <c:f>Sheet1!$I$1</c:f>
              <c:strCache>
                <c:ptCount val="1"/>
                <c:pt idx="0">
                  <c:v>Other</c:v>
                </c:pt>
              </c:strCache>
            </c:strRef>
          </c:tx>
          <c:spPr>
            <a:solidFill>
              <a:srgbClr val="F2F2F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F-8961-4EAF-A41F-C45E72270873}"/>
                </c:ext>
              </c:extLst>
            </c:dLbl>
            <c:dLbl>
              <c:idx val="1"/>
              <c:layout>
                <c:manualLayout>
                  <c:x val="0.13340356152995428"/>
                  <c:y val="6.668822682522340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8961-4EAF-A41F-C45E72270873}"/>
                </c:ext>
              </c:extLst>
            </c:dLbl>
            <c:dLbl>
              <c:idx val="2"/>
              <c:layout>
                <c:manualLayout>
                  <c:x val="0.12705101098090885"/>
                  <c:y val="9.022524805765519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8961-4EAF-A41F-C45E72270873}"/>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I$2:$I$4</c:f>
              <c:numCache>
                <c:formatCode>#,##0.00</c:formatCode>
                <c:ptCount val="3"/>
                <c:pt idx="0">
                  <c:v>0</c:v>
                </c:pt>
                <c:pt idx="1">
                  <c:v>502025.5</c:v>
                </c:pt>
                <c:pt idx="2">
                  <c:v>259427.5</c:v>
                </c:pt>
              </c:numCache>
            </c:numRef>
          </c:val>
          <c:extLst>
            <c:ext xmlns:c16="http://schemas.microsoft.com/office/drawing/2014/chart" uri="{C3380CC4-5D6E-409C-BE32-E72D297353CC}">
              <c16:uniqueId val="{00000009-8961-4EAF-A41F-C45E72270873}"/>
            </c:ext>
          </c:extLst>
        </c:ser>
        <c:dLbls>
          <c:showLegendKey val="0"/>
          <c:showVal val="0"/>
          <c:showCatName val="0"/>
          <c:showSerName val="0"/>
          <c:showPercent val="0"/>
          <c:showBubbleSize val="0"/>
        </c:dLbls>
        <c:gapWidth val="64"/>
        <c:overlap val="100"/>
        <c:axId val="1468785408"/>
        <c:axId val="1211666208"/>
      </c:barChart>
      <c:lineChart>
        <c:grouping val="stacked"/>
        <c:varyColors val="0"/>
        <c:ser>
          <c:idx val="8"/>
          <c:order val="8"/>
          <c:tx>
            <c:strRef>
              <c:f>Sheet1!$J$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J$2:$J$4</c:f>
              <c:numCache>
                <c:formatCode>#,##0.00</c:formatCode>
                <c:ptCount val="3"/>
                <c:pt idx="0">
                  <c:v>31333266.808187816</c:v>
                </c:pt>
                <c:pt idx="1">
                  <c:v>30408049.702206668</c:v>
                </c:pt>
                <c:pt idx="2">
                  <c:v>27981832.263753943</c:v>
                </c:pt>
              </c:numCache>
            </c:numRef>
          </c:val>
          <c:smooth val="0"/>
          <c:extLst>
            <c:ext xmlns:c16="http://schemas.microsoft.com/office/drawing/2014/chart" uri="{C3380CC4-5D6E-409C-BE32-E72D297353CC}">
              <c16:uniqueId val="{0000000A-8961-4EAF-A41F-C45E72270873}"/>
            </c:ext>
          </c:extLst>
        </c:ser>
        <c:dLbls>
          <c:dLblPos val="ctr"/>
          <c:showLegendKey val="0"/>
          <c:showVal val="1"/>
          <c:showCatName val="0"/>
          <c:showSerName val="0"/>
          <c:showPercent val="0"/>
          <c:showBubbleSize val="0"/>
        </c:dLbls>
        <c:marker val="1"/>
        <c:smooth val="0"/>
        <c:axId val="951888944"/>
        <c:axId val="1484217215"/>
      </c:lineChart>
      <c:catAx>
        <c:axId val="146878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dispUnits>
          <c:builtInUnit val="millions"/>
        </c:dispUnits>
      </c:valAx>
      <c:valAx>
        <c:axId val="1484217215"/>
        <c:scaling>
          <c:orientation val="minMax"/>
        </c:scaling>
        <c:delete val="1"/>
        <c:axPos val="r"/>
        <c:numFmt formatCode="#,##0.00" sourceLinked="1"/>
        <c:majorTickMark val="out"/>
        <c:minorTickMark val="none"/>
        <c:tickLblPos val="nextTo"/>
        <c:crossAx val="951888944"/>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951888944"/>
        <c:scaling>
          <c:orientation val="minMax"/>
        </c:scaling>
        <c:delete val="1"/>
        <c:axPos val="b"/>
        <c:numFmt formatCode="General" sourceLinked="1"/>
        <c:majorTickMark val="out"/>
        <c:minorTickMark val="none"/>
        <c:tickLblPos val="nextTo"/>
        <c:crossAx val="1484217215"/>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313526452901197E-2"/>
          <c:y val="0.23262709487453362"/>
          <c:w val="0.90537294709419758"/>
          <c:h val="0.59021283318507944"/>
        </c:manualLayout>
      </c:layout>
      <c:barChart>
        <c:barDir val="col"/>
        <c:grouping val="clustered"/>
        <c:varyColors val="0"/>
        <c:ser>
          <c:idx val="0"/>
          <c:order val="0"/>
          <c:tx>
            <c:strRef>
              <c:f>Feuil1!$B$1</c:f>
              <c:strCache>
                <c:ptCount val="1"/>
                <c:pt idx="0">
                  <c:v>Série 1</c:v>
                </c:pt>
              </c:strCache>
            </c:strRef>
          </c:tx>
          <c:spPr>
            <a:solidFill>
              <a:schemeClr val="tx2"/>
            </a:solidFill>
            <a:ln>
              <a:noFill/>
            </a:ln>
            <a:effectLst/>
          </c:spPr>
          <c:invertIfNegative val="0"/>
          <c:dLbls>
            <c:dLbl>
              <c:idx val="2"/>
              <c:tx>
                <c:rich>
                  <a:bodyPr/>
                  <a:lstStyle/>
                  <a:p>
                    <a:r>
                      <a:rPr lang="en-US"/>
                      <a:t>136</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BD1-4F58-A4C3-64FD330147FE}"/>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9</c:v>
                </c:pt>
                <c:pt idx="1">
                  <c:v>2020</c:v>
                </c:pt>
                <c:pt idx="2">
                  <c:v>2021</c:v>
                </c:pt>
              </c:numCache>
            </c:numRef>
          </c:cat>
          <c:val>
            <c:numRef>
              <c:f>Feuil1!$B$2:$B$4</c:f>
              <c:numCache>
                <c:formatCode>0</c:formatCode>
                <c:ptCount val="3"/>
                <c:pt idx="0" formatCode="General">
                  <c:v>100</c:v>
                </c:pt>
                <c:pt idx="1">
                  <c:v>117.73700305810397</c:v>
                </c:pt>
                <c:pt idx="2">
                  <c:v>134.55657492354737</c:v>
                </c:pt>
              </c:numCache>
            </c:numRef>
          </c:val>
          <c:extLst>
            <c:ext xmlns:c16="http://schemas.microsoft.com/office/drawing/2014/chart" uri="{C3380CC4-5D6E-409C-BE32-E72D297353CC}">
              <c16:uniqueId val="{00000000-517E-4B76-81F0-C46122FD9A14}"/>
            </c:ext>
          </c:extLst>
        </c:ser>
        <c:dLbls>
          <c:showLegendKey val="0"/>
          <c:showVal val="0"/>
          <c:showCatName val="0"/>
          <c:showSerName val="0"/>
          <c:showPercent val="0"/>
          <c:showBubbleSize val="0"/>
        </c:dLbls>
        <c:gapWidth val="209"/>
        <c:overlap val="-27"/>
        <c:axId val="331217247"/>
        <c:axId val="852491423"/>
      </c:barChart>
      <c:catAx>
        <c:axId val="3312172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852491423"/>
        <c:crosses val="autoZero"/>
        <c:auto val="1"/>
        <c:lblAlgn val="ctr"/>
        <c:lblOffset val="100"/>
        <c:noMultiLvlLbl val="0"/>
      </c:catAx>
      <c:valAx>
        <c:axId val="852491423"/>
        <c:scaling>
          <c:orientation val="minMax"/>
          <c:max val="135"/>
          <c:min val="50"/>
        </c:scaling>
        <c:delete val="1"/>
        <c:axPos val="l"/>
        <c:numFmt formatCode="General" sourceLinked="1"/>
        <c:majorTickMark val="out"/>
        <c:minorTickMark val="none"/>
        <c:tickLblPos val="nextTo"/>
        <c:crossAx val="3312172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303562340240732E-2"/>
          <c:y val="4.3151205592791619E-2"/>
          <c:w val="0.88847221865484005"/>
          <c:h val="0.88086344419517437"/>
        </c:manualLayout>
      </c:layout>
      <c:barChart>
        <c:barDir val="col"/>
        <c:grouping val="stacked"/>
        <c:varyColors val="0"/>
        <c:ser>
          <c:idx val="0"/>
          <c:order val="0"/>
          <c:tx>
            <c:strRef>
              <c:f>Sheet1!$B$1</c:f>
              <c:strCache>
                <c:ptCount val="1"/>
                <c:pt idx="0">
                  <c:v>OnBoard</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0.00</c:formatCode>
                <c:ptCount val="4"/>
                <c:pt idx="0">
                  <c:v>480019.96</c:v>
                </c:pt>
                <c:pt idx="1">
                  <c:v>788514.07</c:v>
                </c:pt>
                <c:pt idx="2">
                  <c:v>985180.12</c:v>
                </c:pt>
                <c:pt idx="3">
                  <c:v>919638.24999999988</c:v>
                </c:pt>
              </c:numCache>
            </c:numRef>
          </c:val>
          <c:extLst>
            <c:ext xmlns:c16="http://schemas.microsoft.com/office/drawing/2014/chart" uri="{C3380CC4-5D6E-409C-BE32-E72D297353CC}">
              <c16:uniqueId val="{00000000-1DFC-48E6-A370-085850922358}"/>
            </c:ext>
          </c:extLst>
        </c:ser>
        <c:ser>
          <c:idx val="1"/>
          <c:order val="1"/>
          <c:tx>
            <c:strRef>
              <c:f>Sheet1!$C$1</c:f>
              <c:strCache>
                <c:ptCount val="1"/>
                <c:pt idx="0">
                  <c:v>IndueD</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1DFC-48E6-A370-085850922358}"/>
                </c:ext>
              </c:extLst>
            </c:dLbl>
            <c:dLbl>
              <c:idx val="1"/>
              <c:delete val="1"/>
              <c:extLst>
                <c:ext xmlns:c15="http://schemas.microsoft.com/office/drawing/2012/chart" uri="{CE6537A1-D6FC-4f65-9D91-7224C49458BB}"/>
                <c:ext xmlns:c16="http://schemas.microsoft.com/office/drawing/2014/chart" uri="{C3380CC4-5D6E-409C-BE32-E72D297353CC}">
                  <c16:uniqueId val="{00000002-1DFC-48E6-A370-085850922358}"/>
                </c:ext>
              </c:extLst>
            </c:dLbl>
            <c:dLbl>
              <c:idx val="2"/>
              <c:layout>
                <c:manualLayout>
                  <c:x val="0"/>
                  <c:y val="3.922836872071893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DFC-48E6-A370-085850922358}"/>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0.00</c:formatCode>
                <c:ptCount val="4"/>
                <c:pt idx="0">
                  <c:v>0</c:v>
                </c:pt>
                <c:pt idx="1">
                  <c:v>0</c:v>
                </c:pt>
                <c:pt idx="2">
                  <c:v>119047.5</c:v>
                </c:pt>
                <c:pt idx="3">
                  <c:v>1267692.7700000005</c:v>
                </c:pt>
              </c:numCache>
            </c:numRef>
          </c:val>
          <c:extLst>
            <c:ext xmlns:c16="http://schemas.microsoft.com/office/drawing/2014/chart" uri="{C3380CC4-5D6E-409C-BE32-E72D297353CC}">
              <c16:uniqueId val="{00000004-1DFC-48E6-A370-085850922358}"/>
            </c:ext>
          </c:extLst>
        </c:ser>
        <c:ser>
          <c:idx val="2"/>
          <c:order val="2"/>
          <c:tx>
            <c:strRef>
              <c:f>Sheet1!$D$1</c:f>
              <c:strCache>
                <c:ptCount val="1"/>
                <c:pt idx="0">
                  <c:v>InDoc</c:v>
                </c:pt>
              </c:strCache>
            </c:strRef>
          </c:tx>
          <c:spPr>
            <a:solidFill>
              <a:schemeClr val="bg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5-1DFC-48E6-A370-085850922358}"/>
                </c:ext>
              </c:extLst>
            </c:dLbl>
            <c:dLbl>
              <c:idx val="1"/>
              <c:delete val="1"/>
              <c:extLst>
                <c:ext xmlns:c15="http://schemas.microsoft.com/office/drawing/2012/chart" uri="{CE6537A1-D6FC-4f65-9D91-7224C49458BB}"/>
                <c:ext xmlns:c16="http://schemas.microsoft.com/office/drawing/2014/chart" uri="{C3380CC4-5D6E-409C-BE32-E72D297353CC}">
                  <c16:uniqueId val="{00000006-1DFC-48E6-A370-085850922358}"/>
                </c:ext>
              </c:extLst>
            </c:dLbl>
            <c:dLbl>
              <c:idx val="2"/>
              <c:delete val="1"/>
              <c:extLst>
                <c:ext xmlns:c15="http://schemas.microsoft.com/office/drawing/2012/chart" uri="{CE6537A1-D6FC-4f65-9D91-7224C49458BB}"/>
                <c:ext xmlns:c16="http://schemas.microsoft.com/office/drawing/2014/chart" uri="{C3380CC4-5D6E-409C-BE32-E72D297353CC}">
                  <c16:uniqueId val="{00000007-1DFC-48E6-A370-085850922358}"/>
                </c:ext>
              </c:extLst>
            </c:dLbl>
            <c:dLbl>
              <c:idx val="3"/>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6="http://schemas.microsoft.com/office/drawing/2014/chart" uri="{C3380CC4-5D6E-409C-BE32-E72D297353CC}">
                  <c16:uniqueId val="{00000008-1DFC-48E6-A370-08585092235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D$2:$D$5</c:f>
              <c:numCache>
                <c:formatCode>#,##0.00</c:formatCode>
                <c:ptCount val="4"/>
                <c:pt idx="0">
                  <c:v>0</c:v>
                </c:pt>
                <c:pt idx="1">
                  <c:v>0</c:v>
                </c:pt>
                <c:pt idx="2">
                  <c:v>0</c:v>
                </c:pt>
                <c:pt idx="3">
                  <c:v>627500</c:v>
                </c:pt>
              </c:numCache>
            </c:numRef>
          </c:val>
          <c:extLst>
            <c:ext xmlns:c16="http://schemas.microsoft.com/office/drawing/2014/chart" uri="{C3380CC4-5D6E-409C-BE32-E72D297353CC}">
              <c16:uniqueId val="{00000009-1DFC-48E6-A370-085850922358}"/>
            </c:ext>
          </c:extLst>
        </c:ser>
        <c:ser>
          <c:idx val="3"/>
          <c:order val="3"/>
          <c:tx>
            <c:strRef>
              <c:f>Sheet1!$E$1</c:f>
              <c:strCache>
                <c:ptCount val="1"/>
                <c:pt idx="0">
                  <c:v>LEI</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E-1DFC-48E6-A370-085850922358}"/>
                </c:ext>
              </c:extLst>
            </c:dLbl>
            <c:dLbl>
              <c:idx val="1"/>
              <c:delete val="1"/>
              <c:extLst>
                <c:ext xmlns:c15="http://schemas.microsoft.com/office/drawing/2012/chart" uri="{CE6537A1-D6FC-4f65-9D91-7224C49458BB}"/>
                <c:ext xmlns:c16="http://schemas.microsoft.com/office/drawing/2014/chart" uri="{C3380CC4-5D6E-409C-BE32-E72D297353CC}">
                  <c16:uniqueId val="{0000000F-1DFC-48E6-A370-085850922358}"/>
                </c:ext>
              </c:extLst>
            </c:dLbl>
            <c:dLbl>
              <c:idx val="2"/>
              <c:layout>
                <c:manualLayout>
                  <c:x val="-9.8464533510204344E-2"/>
                  <c:y val="7.061106369729537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1DFC-48E6-A370-085850922358}"/>
                </c:ext>
              </c:extLst>
            </c:dLbl>
            <c:dLbl>
              <c:idx val="3"/>
              <c:delete val="1"/>
              <c:extLst>
                <c:ext xmlns:c15="http://schemas.microsoft.com/office/drawing/2012/chart" uri="{CE6537A1-D6FC-4f65-9D91-7224C49458BB}"/>
                <c:ext xmlns:c16="http://schemas.microsoft.com/office/drawing/2014/chart" uri="{C3380CC4-5D6E-409C-BE32-E72D297353CC}">
                  <c16:uniqueId val="{00000010-1DFC-48E6-A370-08585092235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E$2:$E$5</c:f>
              <c:numCache>
                <c:formatCode>#,##0.00</c:formatCode>
                <c:ptCount val="4"/>
                <c:pt idx="0">
                  <c:v>0</c:v>
                </c:pt>
                <c:pt idx="1">
                  <c:v>0</c:v>
                </c:pt>
                <c:pt idx="2">
                  <c:v>5799.9</c:v>
                </c:pt>
                <c:pt idx="3">
                  <c:v>0</c:v>
                </c:pt>
              </c:numCache>
            </c:numRef>
          </c:val>
          <c:extLst>
            <c:ext xmlns:c16="http://schemas.microsoft.com/office/drawing/2014/chart" uri="{C3380CC4-5D6E-409C-BE32-E72D297353CC}">
              <c16:uniqueId val="{0000000A-1DFC-48E6-A370-085850922358}"/>
            </c:ext>
          </c:extLst>
        </c:ser>
        <c:ser>
          <c:idx val="4"/>
          <c:order val="4"/>
          <c:tx>
            <c:strRef>
              <c:f>Sheet1!$F$1</c:f>
              <c:strCache>
                <c:ptCount val="1"/>
                <c:pt idx="0">
                  <c:v>Fichiers</c:v>
                </c:pt>
              </c:strCache>
            </c:strRef>
          </c:tx>
          <c:spPr>
            <a:solidFill>
              <a:srgbClr val="A6A6A6"/>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F$2:$F$5</c:f>
              <c:numCache>
                <c:formatCode>#,##0.00</c:formatCode>
                <c:ptCount val="4"/>
                <c:pt idx="0">
                  <c:v>999496</c:v>
                </c:pt>
                <c:pt idx="1">
                  <c:v>1381725.9300000002</c:v>
                </c:pt>
                <c:pt idx="2">
                  <c:v>530071.32000000007</c:v>
                </c:pt>
                <c:pt idx="3">
                  <c:v>243675.57</c:v>
                </c:pt>
              </c:numCache>
            </c:numRef>
          </c:val>
          <c:extLst>
            <c:ext xmlns:c16="http://schemas.microsoft.com/office/drawing/2014/chart" uri="{C3380CC4-5D6E-409C-BE32-E72D297353CC}">
              <c16:uniqueId val="{0000000B-1DFC-48E6-A370-085850922358}"/>
            </c:ext>
          </c:extLst>
        </c:ser>
        <c:ser>
          <c:idx val="5"/>
          <c:order val="5"/>
          <c:tx>
            <c:strRef>
              <c:f>Sheet1!$G$1</c:f>
              <c:strCache>
                <c:ptCount val="1"/>
                <c:pt idx="0">
                  <c:v>MDM</c:v>
                </c:pt>
              </c:strCache>
            </c:strRef>
          </c:tx>
          <c:spPr>
            <a:pattFill prst="pct5">
              <a:fgClr>
                <a:srgbClr val="6C6C6C"/>
              </a:fgClr>
              <a:bgClr>
                <a:srgbClr val="6C6C6C"/>
              </a:bgClr>
            </a:patt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G$2:$G$5</c:f>
              <c:numCache>
                <c:formatCode>#,##0.00</c:formatCode>
                <c:ptCount val="4"/>
                <c:pt idx="0" formatCode="General">
                  <c:v>282670.56519127591</c:v>
                </c:pt>
                <c:pt idx="1">
                  <c:v>264140.50142749707</c:v>
                </c:pt>
                <c:pt idx="2">
                  <c:v>276372.68598230218</c:v>
                </c:pt>
                <c:pt idx="3">
                  <c:v>347218.43752369517</c:v>
                </c:pt>
              </c:numCache>
            </c:numRef>
          </c:val>
          <c:extLst>
            <c:ext xmlns:c16="http://schemas.microsoft.com/office/drawing/2014/chart" uri="{C3380CC4-5D6E-409C-BE32-E72D297353CC}">
              <c16:uniqueId val="{0000000C-1DFC-48E6-A370-085850922358}"/>
            </c:ext>
          </c:extLst>
        </c:ser>
        <c:dLbls>
          <c:showLegendKey val="0"/>
          <c:showVal val="0"/>
          <c:showCatName val="0"/>
          <c:showSerName val="0"/>
          <c:showPercent val="0"/>
          <c:showBubbleSize val="0"/>
        </c:dLbls>
        <c:gapWidth val="64"/>
        <c:overlap val="100"/>
        <c:axId val="1468785408"/>
        <c:axId val="1211666208"/>
      </c:barChart>
      <c:lineChart>
        <c:grouping val="standard"/>
        <c:varyColors val="0"/>
        <c:ser>
          <c:idx val="6"/>
          <c:order val="6"/>
          <c:tx>
            <c:strRef>
              <c:f>Sheet1!$H$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H$2:$H$5</c:f>
              <c:numCache>
                <c:formatCode>#,##0.00</c:formatCode>
                <c:ptCount val="4"/>
                <c:pt idx="0">
                  <c:v>1762186.5251912759</c:v>
                </c:pt>
                <c:pt idx="1">
                  <c:v>2434380.5014274972</c:v>
                </c:pt>
                <c:pt idx="2">
                  <c:v>1916471.5259823021</c:v>
                </c:pt>
                <c:pt idx="3" formatCode="General">
                  <c:v>3405725.027523696</c:v>
                </c:pt>
              </c:numCache>
            </c:numRef>
          </c:val>
          <c:smooth val="0"/>
          <c:extLst>
            <c:ext xmlns:c16="http://schemas.microsoft.com/office/drawing/2014/chart" uri="{C3380CC4-5D6E-409C-BE32-E72D297353CC}">
              <c16:uniqueId val="{0000000D-1DFC-48E6-A370-085850922358}"/>
            </c:ext>
          </c:extLst>
        </c:ser>
        <c:dLbls>
          <c:showLegendKey val="0"/>
          <c:showVal val="0"/>
          <c:showCatName val="0"/>
          <c:showSerName val="0"/>
          <c:showPercent val="0"/>
          <c:showBubbleSize val="0"/>
        </c:dLbls>
        <c:marker val="1"/>
        <c:smooth val="0"/>
        <c:axId val="1347330719"/>
        <c:axId val="1221739616"/>
      </c:lineChart>
      <c:catAx>
        <c:axId val="146878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max val="3700000"/>
          <c:min val="0"/>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dispUnits>
          <c:builtInUnit val="millions"/>
        </c:dispUnits>
      </c:valAx>
      <c:valAx>
        <c:axId val="1221739616"/>
        <c:scaling>
          <c:orientation val="minMax"/>
          <c:max val="3700000"/>
          <c:min val="0"/>
        </c:scaling>
        <c:delete val="1"/>
        <c:axPos val="r"/>
        <c:numFmt formatCode="#,##0.0" sourceLinked="0"/>
        <c:majorTickMark val="out"/>
        <c:minorTickMark val="none"/>
        <c:tickLblPos val="nextTo"/>
        <c:crossAx val="1347330719"/>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1347330719"/>
        <c:scaling>
          <c:orientation val="minMax"/>
        </c:scaling>
        <c:delete val="1"/>
        <c:axPos val="b"/>
        <c:numFmt formatCode="General" sourceLinked="1"/>
        <c:majorTickMark val="out"/>
        <c:minorTickMark val="none"/>
        <c:tickLblPos val="nextTo"/>
        <c:crossAx val="122173961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303562340240732E-2"/>
          <c:y val="4.3151205592791619E-2"/>
          <c:w val="0.88847221865484005"/>
          <c:h val="0.88086344419517437"/>
        </c:manualLayout>
      </c:layout>
      <c:barChart>
        <c:barDir val="col"/>
        <c:grouping val="stacked"/>
        <c:varyColors val="0"/>
        <c:ser>
          <c:idx val="0"/>
          <c:order val="0"/>
          <c:tx>
            <c:strRef>
              <c:f>Sheet1!$B$1</c:f>
              <c:strCache>
                <c:ptCount val="1"/>
                <c:pt idx="0">
                  <c:v>OnBoard</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0</c:formatCode>
                <c:ptCount val="3"/>
                <c:pt idx="0">
                  <c:v>2017</c:v>
                </c:pt>
                <c:pt idx="1">
                  <c:v>2018</c:v>
                </c:pt>
                <c:pt idx="2">
                  <c:v>2019</c:v>
                </c:pt>
              </c:numCache>
            </c:numRef>
          </c:cat>
          <c:val>
            <c:numRef>
              <c:f>Sheet1!$B$2:$B$4</c:f>
              <c:numCache>
                <c:formatCode>General</c:formatCode>
                <c:ptCount val="3"/>
                <c:pt idx="0">
                  <c:v>2142382.2799999998</c:v>
                </c:pt>
                <c:pt idx="1">
                  <c:v>2126228.38</c:v>
                </c:pt>
                <c:pt idx="2">
                  <c:v>3354343.2500000009</c:v>
                </c:pt>
              </c:numCache>
            </c:numRef>
          </c:val>
          <c:extLst>
            <c:ext xmlns:c16="http://schemas.microsoft.com/office/drawing/2014/chart" uri="{C3380CC4-5D6E-409C-BE32-E72D297353CC}">
              <c16:uniqueId val="{00000000-452A-4A53-80E6-0CC84380DC2E}"/>
            </c:ext>
          </c:extLst>
        </c:ser>
        <c:ser>
          <c:idx val="1"/>
          <c:order val="1"/>
          <c:tx>
            <c:strRef>
              <c:f>Sheet1!$C$1</c:f>
              <c:strCache>
                <c:ptCount val="1"/>
                <c:pt idx="0">
                  <c:v>IndueD</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452A-4A53-80E6-0CC84380DC2E}"/>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0</c:formatCode>
                <c:ptCount val="3"/>
                <c:pt idx="0">
                  <c:v>2017</c:v>
                </c:pt>
                <c:pt idx="1">
                  <c:v>2018</c:v>
                </c:pt>
                <c:pt idx="2">
                  <c:v>2019</c:v>
                </c:pt>
              </c:numCache>
            </c:numRef>
          </c:cat>
          <c:val>
            <c:numRef>
              <c:f>Sheet1!$C$2:$C$4</c:f>
              <c:numCache>
                <c:formatCode>General</c:formatCode>
                <c:ptCount val="3"/>
                <c:pt idx="0">
                  <c:v>0</c:v>
                </c:pt>
                <c:pt idx="1">
                  <c:v>135926.6</c:v>
                </c:pt>
                <c:pt idx="2">
                  <c:v>260225.19199999998</c:v>
                </c:pt>
              </c:numCache>
            </c:numRef>
          </c:val>
          <c:extLst>
            <c:ext xmlns:c16="http://schemas.microsoft.com/office/drawing/2014/chart" uri="{C3380CC4-5D6E-409C-BE32-E72D297353CC}">
              <c16:uniqueId val="{00000002-452A-4A53-80E6-0CC84380DC2E}"/>
            </c:ext>
          </c:extLst>
        </c:ser>
        <c:ser>
          <c:idx val="2"/>
          <c:order val="2"/>
          <c:tx>
            <c:strRef>
              <c:f>Sheet1!$D$1</c:f>
              <c:strCache>
                <c:ptCount val="1"/>
                <c:pt idx="0">
                  <c:v>Fichiers</c:v>
                </c:pt>
              </c:strCache>
            </c:strRef>
          </c:tx>
          <c:spPr>
            <a:solidFill>
              <a:srgbClr val="A6A6A6"/>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0</c:formatCode>
                <c:ptCount val="3"/>
                <c:pt idx="0">
                  <c:v>2017</c:v>
                </c:pt>
                <c:pt idx="1">
                  <c:v>2018</c:v>
                </c:pt>
                <c:pt idx="2">
                  <c:v>2019</c:v>
                </c:pt>
              </c:numCache>
            </c:numRef>
          </c:cat>
          <c:val>
            <c:numRef>
              <c:f>Sheet1!$D$2:$D$4</c:f>
              <c:numCache>
                <c:formatCode>General</c:formatCode>
                <c:ptCount val="3"/>
                <c:pt idx="0">
                  <c:v>544079.83000000007</c:v>
                </c:pt>
                <c:pt idx="1">
                  <c:v>550356.69999999995</c:v>
                </c:pt>
                <c:pt idx="2">
                  <c:v>573657.29999999993</c:v>
                </c:pt>
              </c:numCache>
            </c:numRef>
          </c:val>
          <c:extLst>
            <c:ext xmlns:c16="http://schemas.microsoft.com/office/drawing/2014/chart" uri="{C3380CC4-5D6E-409C-BE32-E72D297353CC}">
              <c16:uniqueId val="{00000003-452A-4A53-80E6-0CC84380DC2E}"/>
            </c:ext>
          </c:extLst>
        </c:ser>
        <c:ser>
          <c:idx val="3"/>
          <c:order val="3"/>
          <c:tx>
            <c:strRef>
              <c:f>Sheet1!$E$1</c:f>
              <c:strCache>
                <c:ptCount val="1"/>
                <c:pt idx="0">
                  <c:v>Other</c:v>
                </c:pt>
              </c:strCache>
            </c:strRef>
          </c:tx>
          <c:spPr>
            <a:solidFill>
              <a:srgbClr val="F2F2F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0</c:formatCode>
                <c:ptCount val="3"/>
                <c:pt idx="0">
                  <c:v>2017</c:v>
                </c:pt>
                <c:pt idx="1">
                  <c:v>2018</c:v>
                </c:pt>
                <c:pt idx="2">
                  <c:v>2019</c:v>
                </c:pt>
              </c:numCache>
            </c:numRef>
          </c:cat>
          <c:val>
            <c:numRef>
              <c:f>Sheet1!$E$2:$E$4</c:f>
              <c:numCache>
                <c:formatCode>General</c:formatCode>
                <c:ptCount val="3"/>
                <c:pt idx="0">
                  <c:v>1255537.7000000002</c:v>
                </c:pt>
                <c:pt idx="1">
                  <c:v>1859464.04</c:v>
                </c:pt>
                <c:pt idx="2">
                  <c:v>1464430.5299999998</c:v>
                </c:pt>
              </c:numCache>
            </c:numRef>
          </c:val>
          <c:extLst>
            <c:ext xmlns:c16="http://schemas.microsoft.com/office/drawing/2014/chart" uri="{C3380CC4-5D6E-409C-BE32-E72D297353CC}">
              <c16:uniqueId val="{00000004-452A-4A53-80E6-0CC84380DC2E}"/>
            </c:ext>
          </c:extLst>
        </c:ser>
        <c:dLbls>
          <c:dLblPos val="ctr"/>
          <c:showLegendKey val="0"/>
          <c:showVal val="1"/>
          <c:showCatName val="0"/>
          <c:showSerName val="0"/>
          <c:showPercent val="0"/>
          <c:showBubbleSize val="0"/>
        </c:dLbls>
        <c:gapWidth val="64"/>
        <c:overlap val="100"/>
        <c:axId val="1468785408"/>
        <c:axId val="1211666208"/>
      </c:barChart>
      <c:lineChart>
        <c:grouping val="standard"/>
        <c:varyColors val="0"/>
        <c:ser>
          <c:idx val="4"/>
          <c:order val="4"/>
          <c:tx>
            <c:strRef>
              <c:f>Sheet1!$F$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0</c:formatCode>
                <c:ptCount val="3"/>
                <c:pt idx="0">
                  <c:v>2017</c:v>
                </c:pt>
                <c:pt idx="1">
                  <c:v>2018</c:v>
                </c:pt>
                <c:pt idx="2">
                  <c:v>2019</c:v>
                </c:pt>
              </c:numCache>
            </c:numRef>
          </c:cat>
          <c:val>
            <c:numRef>
              <c:f>Sheet1!$F$2:$F$4</c:f>
              <c:numCache>
                <c:formatCode>General</c:formatCode>
                <c:ptCount val="3"/>
                <c:pt idx="0">
                  <c:v>3941999.81</c:v>
                </c:pt>
                <c:pt idx="1">
                  <c:v>4671975.72</c:v>
                </c:pt>
                <c:pt idx="2">
                  <c:v>5652656.2719999999</c:v>
                </c:pt>
              </c:numCache>
            </c:numRef>
          </c:val>
          <c:smooth val="0"/>
          <c:extLst>
            <c:ext xmlns:c16="http://schemas.microsoft.com/office/drawing/2014/chart" uri="{C3380CC4-5D6E-409C-BE32-E72D297353CC}">
              <c16:uniqueId val="{00000005-452A-4A53-80E6-0CC84380DC2E}"/>
            </c:ext>
          </c:extLst>
        </c:ser>
        <c:dLbls>
          <c:dLblPos val="ctr"/>
          <c:showLegendKey val="0"/>
          <c:showVal val="1"/>
          <c:showCatName val="0"/>
          <c:showSerName val="0"/>
          <c:showPercent val="0"/>
          <c:showBubbleSize val="0"/>
        </c:dLbls>
        <c:marker val="1"/>
        <c:smooth val="0"/>
        <c:axId val="1173562991"/>
        <c:axId val="165047839"/>
      </c:lineChart>
      <c:catAx>
        <c:axId val="1468785408"/>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dispUnits>
          <c:builtInUnit val="millions"/>
        </c:dispUnits>
      </c:valAx>
      <c:valAx>
        <c:axId val="165047839"/>
        <c:scaling>
          <c:orientation val="minMax"/>
        </c:scaling>
        <c:delete val="1"/>
        <c:axPos val="r"/>
        <c:numFmt formatCode="General" sourceLinked="1"/>
        <c:majorTickMark val="out"/>
        <c:minorTickMark val="none"/>
        <c:tickLblPos val="nextTo"/>
        <c:crossAx val="1173562991"/>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1173562991"/>
        <c:scaling>
          <c:orientation val="minMax"/>
        </c:scaling>
        <c:delete val="1"/>
        <c:axPos val="b"/>
        <c:numFmt formatCode="0" sourceLinked="1"/>
        <c:majorTickMark val="out"/>
        <c:minorTickMark val="none"/>
        <c:tickLblPos val="nextTo"/>
        <c:crossAx val="165047839"/>
        <c:crosses val="autoZero"/>
        <c:auto val="1"/>
        <c:lblAlgn val="ctr"/>
        <c:lblOffset val="100"/>
        <c:noMultiLvlLbl val="0"/>
      </c:cat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303562340240732E-2"/>
          <c:y val="4.3151205592791619E-2"/>
          <c:w val="0.88847221865484005"/>
          <c:h val="0.87309004949261038"/>
        </c:manualLayout>
      </c:layout>
      <c:barChart>
        <c:barDir val="col"/>
        <c:grouping val="stacked"/>
        <c:varyColors val="0"/>
        <c:ser>
          <c:idx val="0"/>
          <c:order val="0"/>
          <c:tx>
            <c:strRef>
              <c:f>Sheet1!$B$1</c:f>
              <c:strCache>
                <c:ptCount val="1"/>
                <c:pt idx="0">
                  <c:v>MDM Files</c:v>
                </c:pt>
              </c:strCache>
            </c:strRef>
          </c:tx>
          <c:spPr>
            <a:solidFill>
              <a:srgbClr val="6C6C6C"/>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7568975.3260267088</c:v>
                </c:pt>
                <c:pt idx="1">
                  <c:v>7077723.4125626991</c:v>
                </c:pt>
                <c:pt idx="2">
                  <c:v>7358012.7061735652</c:v>
                </c:pt>
              </c:numCache>
            </c:numRef>
          </c:val>
          <c:extLst>
            <c:ext xmlns:c16="http://schemas.microsoft.com/office/drawing/2014/chart" uri="{C3380CC4-5D6E-409C-BE32-E72D297353CC}">
              <c16:uniqueId val="{00000000-CE86-4928-B906-63888D12D930}"/>
            </c:ext>
          </c:extLst>
        </c:ser>
        <c:ser>
          <c:idx val="1"/>
          <c:order val="1"/>
          <c:tx>
            <c:strRef>
              <c:f>Sheet1!$C$1</c:f>
              <c:strCache>
                <c:ptCount val="1"/>
                <c:pt idx="0">
                  <c:v>MDM connector</c:v>
                </c:pt>
              </c:strCache>
            </c:strRef>
          </c:tx>
          <c:spPr>
            <a:pattFill prst="ltDnDiag">
              <a:fgClr>
                <a:schemeClr val="bg1"/>
              </a:fgClr>
              <a:bgClr>
                <a:schemeClr val="tx1"/>
              </a:bgClr>
            </a:patt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General</c:formatCode>
                <c:ptCount val="3"/>
                <c:pt idx="0">
                  <c:v>162977.4727742023</c:v>
                </c:pt>
                <c:pt idx="1">
                  <c:v>233512.3485600657</c:v>
                </c:pt>
                <c:pt idx="2">
                  <c:v>2120660.0234057736</c:v>
                </c:pt>
              </c:numCache>
            </c:numRef>
          </c:val>
          <c:extLst>
            <c:ext xmlns:c16="http://schemas.microsoft.com/office/drawing/2014/chart" uri="{C3380CC4-5D6E-409C-BE32-E72D297353CC}">
              <c16:uniqueId val="{00000001-CE86-4928-B906-63888D12D930}"/>
            </c:ext>
          </c:extLst>
        </c:ser>
        <c:ser>
          <c:idx val="2"/>
          <c:order val="2"/>
          <c:tx>
            <c:strRef>
              <c:f>Sheet1!$D$1</c:f>
              <c:strCache>
                <c:ptCount val="1"/>
                <c:pt idx="0">
                  <c:v>GRS</c:v>
                </c:pt>
              </c:strCache>
            </c:strRef>
          </c:tx>
          <c:spPr>
            <a:solidFill>
              <a:srgbClr val="00A3E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0.00</c:formatCode>
                <c:ptCount val="3"/>
                <c:pt idx="0">
                  <c:v>1630699.1700000002</c:v>
                </c:pt>
                <c:pt idx="1">
                  <c:v>1749117.49</c:v>
                </c:pt>
                <c:pt idx="2">
                  <c:v>1500868.3</c:v>
                </c:pt>
              </c:numCache>
            </c:numRef>
          </c:val>
          <c:extLst>
            <c:ext xmlns:c16="http://schemas.microsoft.com/office/drawing/2014/chart" uri="{C3380CC4-5D6E-409C-BE32-E72D297353CC}">
              <c16:uniqueId val="{00000002-CE86-4928-B906-63888D12D930}"/>
            </c:ext>
          </c:extLst>
        </c:ser>
        <c:ser>
          <c:idx val="3"/>
          <c:order val="3"/>
          <c:tx>
            <c:strRef>
              <c:f>Sheet1!$E$1</c:f>
              <c:strCache>
                <c:ptCount val="1"/>
                <c:pt idx="0">
                  <c:v>Market Insight</c:v>
                </c:pt>
              </c:strCache>
            </c:strRef>
          </c:tx>
          <c:spPr>
            <a:solidFill>
              <a:srgbClr val="ADD9FD"/>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E$2:$E$4</c:f>
              <c:numCache>
                <c:formatCode>#,##0.00</c:formatCode>
                <c:ptCount val="3"/>
                <c:pt idx="0">
                  <c:v>550072.4</c:v>
                </c:pt>
                <c:pt idx="1">
                  <c:v>741582.03999999992</c:v>
                </c:pt>
                <c:pt idx="2">
                  <c:v>860813.44</c:v>
                </c:pt>
              </c:numCache>
            </c:numRef>
          </c:val>
          <c:extLst>
            <c:ext xmlns:c16="http://schemas.microsoft.com/office/drawing/2014/chart" uri="{C3380CC4-5D6E-409C-BE32-E72D297353CC}">
              <c16:uniqueId val="{00000006-CE86-4928-B906-63888D12D930}"/>
            </c:ext>
          </c:extLst>
        </c:ser>
        <c:ser>
          <c:idx val="4"/>
          <c:order val="4"/>
          <c:tx>
            <c:strRef>
              <c:f>Sheet1!$F$1</c:f>
              <c:strCache>
                <c:ptCount val="1"/>
                <c:pt idx="0">
                  <c:v>Hoovers</c:v>
                </c:pt>
              </c:strCache>
            </c:strRef>
          </c:tx>
          <c:spPr>
            <a:solidFill>
              <a:srgbClr val="55CFFF"/>
            </a:solidFill>
            <a:ln>
              <a:noFill/>
            </a:ln>
            <a:effectLst/>
          </c:spPr>
          <c:invertIfNegative val="0"/>
          <c:dLbls>
            <c:dLbl>
              <c:idx val="0"/>
              <c:layout>
                <c:manualLayout>
                  <c:x val="-9.5288258235681642E-2"/>
                  <c:y val="7.0611063697295307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311-441B-8D4F-34D83A7EDAC6}"/>
                </c:ext>
              </c:extLst>
            </c:dLbl>
            <c:dLbl>
              <c:idx val="1"/>
              <c:layout>
                <c:manualLayout>
                  <c:x val="-0.10164080878472707"/>
                  <c:y val="6.6688226825223337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311-441B-8D4F-34D83A7EDAC6}"/>
                </c:ext>
              </c:extLst>
            </c:dLbl>
            <c:dLbl>
              <c:idx val="2"/>
              <c:layout>
                <c:manualLayout>
                  <c:x val="-0.13863566221838067"/>
                  <c:y val="7.0611063697295376E-2"/>
                </c:manualLayout>
              </c:layout>
              <c:numFmt formatCode="#,##0.0" sourceLinked="0"/>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layout>
                    <c:manualLayout>
                      <c:w val="8.6839866206281827E-2"/>
                      <c:h val="6.5158320445115339E-2"/>
                    </c:manualLayout>
                  </c15:layout>
                </c:ext>
                <c:ext xmlns:c16="http://schemas.microsoft.com/office/drawing/2014/chart" uri="{C3380CC4-5D6E-409C-BE32-E72D297353CC}">
                  <c16:uniqueId val="{00000007-CE86-4928-B906-63888D12D930}"/>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F$2:$F$4</c:f>
              <c:numCache>
                <c:formatCode>#,##0.00</c:formatCode>
                <c:ptCount val="3"/>
                <c:pt idx="0">
                  <c:v>65594.75</c:v>
                </c:pt>
                <c:pt idx="1">
                  <c:v>85371</c:v>
                </c:pt>
                <c:pt idx="2">
                  <c:v>146701.20000000001</c:v>
                </c:pt>
              </c:numCache>
            </c:numRef>
          </c:val>
          <c:extLst>
            <c:ext xmlns:c16="http://schemas.microsoft.com/office/drawing/2014/chart" uri="{C3380CC4-5D6E-409C-BE32-E72D297353CC}">
              <c16:uniqueId val="{00000008-CE86-4928-B906-63888D12D930}"/>
            </c:ext>
          </c:extLst>
        </c:ser>
        <c:ser>
          <c:idx val="5"/>
          <c:order val="5"/>
          <c:tx>
            <c:strRef>
              <c:f>Sheet1!$G$1</c:f>
              <c:strCache>
                <c:ptCount val="1"/>
                <c:pt idx="0">
                  <c:v>Smart</c:v>
                </c:pt>
              </c:strCache>
            </c:strRef>
          </c:tx>
          <c:spPr>
            <a:solidFill>
              <a:srgbClr val="F9E8D7"/>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G$2:$G$4</c:f>
              <c:numCache>
                <c:formatCode>#,##0.00</c:formatCode>
                <c:ptCount val="3"/>
                <c:pt idx="0">
                  <c:v>767273.94000000006</c:v>
                </c:pt>
                <c:pt idx="1">
                  <c:v>728062.65</c:v>
                </c:pt>
                <c:pt idx="2">
                  <c:v>612999.56999999995</c:v>
                </c:pt>
              </c:numCache>
            </c:numRef>
          </c:val>
          <c:extLst>
            <c:ext xmlns:c16="http://schemas.microsoft.com/office/drawing/2014/chart" uri="{C3380CC4-5D6E-409C-BE32-E72D297353CC}">
              <c16:uniqueId val="{0000000B-CE86-4928-B906-63888D12D930}"/>
            </c:ext>
          </c:extLst>
        </c:ser>
        <c:ser>
          <c:idx val="6"/>
          <c:order val="6"/>
          <c:tx>
            <c:strRef>
              <c:f>Sheet1!$H$1</c:f>
              <c:strCache>
                <c:ptCount val="1"/>
                <c:pt idx="0">
                  <c:v>Other</c:v>
                </c:pt>
              </c:strCache>
            </c:strRef>
          </c:tx>
          <c:spPr>
            <a:solidFill>
              <a:srgbClr val="F2F2F2"/>
            </a:solidFill>
            <a:ln>
              <a:noFill/>
            </a:ln>
            <a:effectLst/>
          </c:spPr>
          <c:invertIfNegative val="0"/>
          <c:dLbls>
            <c:dLbl>
              <c:idx val="0"/>
              <c:numFmt formatCode="#,##0.0" sourceLinked="0"/>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layout>
                    <c:manualLayout>
                      <c:w val="0.11105950298280709"/>
                      <c:h val="4.6289475090449179E-2"/>
                    </c:manualLayout>
                  </c15:layout>
                </c:ext>
                <c:ext xmlns:c16="http://schemas.microsoft.com/office/drawing/2014/chart" uri="{C3380CC4-5D6E-409C-BE32-E72D297353CC}">
                  <c16:uniqueId val="{0000000C-CE86-4928-B906-63888D12D930}"/>
                </c:ext>
              </c:extLst>
            </c:dLbl>
            <c:dLbl>
              <c:idx val="2"/>
              <c:delete val="1"/>
              <c:extLst>
                <c:ext xmlns:c15="http://schemas.microsoft.com/office/drawing/2012/chart" uri="{CE6537A1-D6FC-4f65-9D91-7224C49458BB}"/>
                <c:ext xmlns:c16="http://schemas.microsoft.com/office/drawing/2014/chart" uri="{C3380CC4-5D6E-409C-BE32-E72D297353CC}">
                  <c16:uniqueId val="{00000002-5311-441B-8D4F-34D83A7EDAC6}"/>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pt idx="0">
                  <c:v>2017</c:v>
                </c:pt>
                <c:pt idx="1">
                  <c:v>2018</c:v>
                </c:pt>
                <c:pt idx="2">
                  <c:v>2019</c:v>
                </c:pt>
              </c:numCache>
            </c:numRef>
          </c:cat>
          <c:val>
            <c:numRef>
              <c:f>Sheet1!$H$2:$H$4</c:f>
              <c:numCache>
                <c:formatCode>#,##0.00</c:formatCode>
                <c:ptCount val="3"/>
                <c:pt idx="0">
                  <c:v>562048.99</c:v>
                </c:pt>
                <c:pt idx="1">
                  <c:v>810768.52</c:v>
                </c:pt>
                <c:pt idx="2">
                  <c:v>0</c:v>
                </c:pt>
              </c:numCache>
            </c:numRef>
          </c:val>
          <c:extLst>
            <c:ext xmlns:c16="http://schemas.microsoft.com/office/drawing/2014/chart" uri="{C3380CC4-5D6E-409C-BE32-E72D297353CC}">
              <c16:uniqueId val="{0000000D-CE86-4928-B906-63888D12D930}"/>
            </c:ext>
          </c:extLst>
        </c:ser>
        <c:dLbls>
          <c:showLegendKey val="0"/>
          <c:showVal val="0"/>
          <c:showCatName val="0"/>
          <c:showSerName val="0"/>
          <c:showPercent val="0"/>
          <c:showBubbleSize val="0"/>
        </c:dLbls>
        <c:gapWidth val="150"/>
        <c:overlap val="100"/>
        <c:axId val="1468785408"/>
        <c:axId val="1211666208"/>
      </c:barChart>
      <c:lineChart>
        <c:grouping val="stacked"/>
        <c:varyColors val="0"/>
        <c:ser>
          <c:idx val="7"/>
          <c:order val="7"/>
          <c:tx>
            <c:strRef>
              <c:f>Sheet1!$I$1</c:f>
              <c:strCache>
                <c:ptCount val="1"/>
                <c:pt idx="0">
                  <c:v>Total</c:v>
                </c:pt>
              </c:strCache>
            </c:strRef>
          </c:tx>
          <c:spPr>
            <a:ln w="25400"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I$2:$I$4</c:f>
              <c:numCache>
                <c:formatCode>#,##0.00</c:formatCode>
                <c:ptCount val="3"/>
                <c:pt idx="0">
                  <c:v>11307642.048800912</c:v>
                </c:pt>
                <c:pt idx="1">
                  <c:v>11426137.461122764</c:v>
                </c:pt>
                <c:pt idx="2">
                  <c:v>12600055.239579339</c:v>
                </c:pt>
              </c:numCache>
            </c:numRef>
          </c:val>
          <c:smooth val="0"/>
          <c:extLst>
            <c:ext xmlns:c16="http://schemas.microsoft.com/office/drawing/2014/chart" uri="{C3380CC4-5D6E-409C-BE32-E72D297353CC}">
              <c16:uniqueId val="{00000001-5311-441B-8D4F-34D83A7EDAC6}"/>
            </c:ext>
          </c:extLst>
        </c:ser>
        <c:dLbls>
          <c:dLblPos val="ctr"/>
          <c:showLegendKey val="0"/>
          <c:showVal val="1"/>
          <c:showCatName val="0"/>
          <c:showSerName val="0"/>
          <c:showPercent val="0"/>
          <c:showBubbleSize val="0"/>
        </c:dLbls>
        <c:marker val="1"/>
        <c:smooth val="0"/>
        <c:axId val="951888944"/>
        <c:axId val="1484217215"/>
      </c:lineChart>
      <c:catAx>
        <c:axId val="146878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dispUnits>
          <c:builtInUnit val="millions"/>
        </c:dispUnits>
      </c:valAx>
      <c:valAx>
        <c:axId val="1484217215"/>
        <c:scaling>
          <c:orientation val="minMax"/>
        </c:scaling>
        <c:delete val="1"/>
        <c:axPos val="r"/>
        <c:numFmt formatCode="#,##0.00" sourceLinked="1"/>
        <c:majorTickMark val="out"/>
        <c:minorTickMark val="none"/>
        <c:tickLblPos val="nextTo"/>
        <c:crossAx val="951888944"/>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951888944"/>
        <c:scaling>
          <c:orientation val="minMax"/>
        </c:scaling>
        <c:delete val="1"/>
        <c:axPos val="b"/>
        <c:numFmt formatCode="General" sourceLinked="1"/>
        <c:majorTickMark val="out"/>
        <c:minorTickMark val="none"/>
        <c:tickLblPos val="nextTo"/>
        <c:crossAx val="1484217215"/>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939028019749928E-2"/>
          <c:y val="3.922836872071965E-2"/>
          <c:w val="0.93012194396050019"/>
          <c:h val="0.8612492598348146"/>
        </c:manualLayout>
      </c:layout>
      <c:barChart>
        <c:barDir val="col"/>
        <c:grouping val="stacked"/>
        <c:varyColors val="0"/>
        <c:ser>
          <c:idx val="0"/>
          <c:order val="0"/>
          <c:tx>
            <c:strRef>
              <c:f>Sheet1!$B$1</c:f>
              <c:strCache>
                <c:ptCount val="1"/>
                <c:pt idx="0">
                  <c:v>MDM Files</c:v>
                </c:pt>
              </c:strCache>
            </c:strRef>
          </c:tx>
          <c:spPr>
            <a:solidFill>
              <a:srgbClr val="6C6C6C"/>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2448720.3199999998</c:v>
                </c:pt>
                <c:pt idx="1">
                  <c:v>2855507.889</c:v>
                </c:pt>
                <c:pt idx="2">
                  <c:v>2710618.014</c:v>
                </c:pt>
              </c:numCache>
            </c:numRef>
          </c:val>
          <c:extLst>
            <c:ext xmlns:c16="http://schemas.microsoft.com/office/drawing/2014/chart" uri="{C3380CC4-5D6E-409C-BE32-E72D297353CC}">
              <c16:uniqueId val="{00000000-F2BB-43C1-B647-AB4899A4AB47}"/>
            </c:ext>
          </c:extLst>
        </c:ser>
        <c:ser>
          <c:idx val="1"/>
          <c:order val="1"/>
          <c:tx>
            <c:strRef>
              <c:f>Sheet1!$C$1</c:f>
              <c:strCache>
                <c:ptCount val="1"/>
                <c:pt idx="0">
                  <c:v>MDM connectors</c:v>
                </c:pt>
              </c:strCache>
            </c:strRef>
          </c:tx>
          <c:spPr>
            <a:pattFill prst="ltDnDiag">
              <a:fgClr>
                <a:schemeClr val="bg1"/>
              </a:fgClr>
              <a:bgClr>
                <a:srgbClr val="6C6C6C"/>
              </a:bgClr>
            </a:patt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General</c:formatCode>
                <c:ptCount val="3"/>
                <c:pt idx="0">
                  <c:v>635465.94739999995</c:v>
                </c:pt>
                <c:pt idx="1">
                  <c:v>1064405.4580000001</c:v>
                </c:pt>
                <c:pt idx="2">
                  <c:v>1428427.365</c:v>
                </c:pt>
              </c:numCache>
            </c:numRef>
          </c:val>
          <c:extLst>
            <c:ext xmlns:c16="http://schemas.microsoft.com/office/drawing/2014/chart" uri="{C3380CC4-5D6E-409C-BE32-E72D297353CC}">
              <c16:uniqueId val="{00000001-F2BB-43C1-B647-AB4899A4AB47}"/>
            </c:ext>
          </c:extLst>
        </c:ser>
        <c:ser>
          <c:idx val="2"/>
          <c:order val="2"/>
          <c:tx>
            <c:strRef>
              <c:f>Sheet1!$D$1</c:f>
              <c:strCache>
                <c:ptCount val="1"/>
                <c:pt idx="0">
                  <c:v>mData</c:v>
                </c:pt>
              </c:strCache>
            </c:strRef>
          </c:tx>
          <c:spPr>
            <a:solidFill>
              <a:srgbClr val="69D878"/>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General</c:formatCode>
                <c:ptCount val="3"/>
                <c:pt idx="0">
                  <c:v>503305.19000000006</c:v>
                </c:pt>
                <c:pt idx="1">
                  <c:v>624326.29</c:v>
                </c:pt>
                <c:pt idx="2">
                  <c:v>719152.52000000025</c:v>
                </c:pt>
              </c:numCache>
            </c:numRef>
          </c:val>
          <c:extLst>
            <c:ext xmlns:c16="http://schemas.microsoft.com/office/drawing/2014/chart" uri="{C3380CC4-5D6E-409C-BE32-E72D297353CC}">
              <c16:uniqueId val="{00000002-F2BB-43C1-B647-AB4899A4AB47}"/>
            </c:ext>
          </c:extLst>
        </c:ser>
        <c:ser>
          <c:idx val="3"/>
          <c:order val="3"/>
          <c:tx>
            <c:strRef>
              <c:f>Sheet1!$E$1</c:f>
              <c:strCache>
                <c:ptCount val="1"/>
                <c:pt idx="0">
                  <c:v>mLead</c:v>
                </c:pt>
              </c:strCache>
            </c:strRef>
          </c:tx>
          <c:spPr>
            <a:solidFill>
              <a:srgbClr val="367847"/>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E$2:$E$4</c:f>
              <c:numCache>
                <c:formatCode>General</c:formatCode>
                <c:ptCount val="3"/>
                <c:pt idx="0">
                  <c:v>2132272.9299999997</c:v>
                </c:pt>
                <c:pt idx="1">
                  <c:v>2810076.79</c:v>
                </c:pt>
                <c:pt idx="2">
                  <c:v>3205956.44</c:v>
                </c:pt>
              </c:numCache>
            </c:numRef>
          </c:val>
          <c:extLst>
            <c:ext xmlns:c16="http://schemas.microsoft.com/office/drawing/2014/chart" uri="{C3380CC4-5D6E-409C-BE32-E72D297353CC}">
              <c16:uniqueId val="{00000004-F2BB-43C1-B647-AB4899A4AB47}"/>
            </c:ext>
          </c:extLst>
        </c:ser>
        <c:ser>
          <c:idx val="4"/>
          <c:order val="4"/>
          <c:tx>
            <c:strRef>
              <c:f>Sheet1!$F$1</c:f>
              <c:strCache>
                <c:ptCount val="1"/>
                <c:pt idx="0">
                  <c:v>mList</c:v>
                </c:pt>
              </c:strCache>
            </c:strRef>
          </c:tx>
          <c:spPr>
            <a:solidFill>
              <a:srgbClr val="289B38"/>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F$2:$F$4</c:f>
              <c:numCache>
                <c:formatCode>General</c:formatCode>
                <c:ptCount val="3"/>
                <c:pt idx="0">
                  <c:v>4629265.1799999969</c:v>
                </c:pt>
                <c:pt idx="1">
                  <c:v>4050312.7399999998</c:v>
                </c:pt>
                <c:pt idx="2">
                  <c:v>3344131.9599999967</c:v>
                </c:pt>
              </c:numCache>
            </c:numRef>
          </c:val>
          <c:extLst>
            <c:ext xmlns:c16="http://schemas.microsoft.com/office/drawing/2014/chart" uri="{C3380CC4-5D6E-409C-BE32-E72D297353CC}">
              <c16:uniqueId val="{00000005-F2BB-43C1-B647-AB4899A4AB47}"/>
            </c:ext>
          </c:extLst>
        </c:ser>
        <c:ser>
          <c:idx val="5"/>
          <c:order val="5"/>
          <c:tx>
            <c:strRef>
              <c:f>Sheet1!$G$1</c:f>
              <c:strCache>
                <c:ptCount val="1"/>
                <c:pt idx="0">
                  <c:v>mAds</c:v>
                </c:pt>
              </c:strCache>
            </c:strRef>
          </c:tx>
          <c:spPr>
            <a:solidFill>
              <a:srgbClr val="8FCD9F"/>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G$2:$G$4</c:f>
              <c:numCache>
                <c:formatCode>General</c:formatCode>
                <c:ptCount val="3"/>
                <c:pt idx="0">
                  <c:v>1227985.1900000004</c:v>
                </c:pt>
                <c:pt idx="1">
                  <c:v>1677118.09</c:v>
                </c:pt>
                <c:pt idx="2">
                  <c:v>2052625.3900000001</c:v>
                </c:pt>
              </c:numCache>
            </c:numRef>
          </c:val>
          <c:extLst>
            <c:ext xmlns:c16="http://schemas.microsoft.com/office/drawing/2014/chart" uri="{C3380CC4-5D6E-409C-BE32-E72D297353CC}">
              <c16:uniqueId val="{00000006-F2BB-43C1-B647-AB4899A4AB47}"/>
            </c:ext>
          </c:extLst>
        </c:ser>
        <c:ser>
          <c:idx val="6"/>
          <c:order val="6"/>
          <c:tx>
            <c:strRef>
              <c:f>Sheet1!$H$1</c:f>
              <c:strCache>
                <c:ptCount val="1"/>
                <c:pt idx="0">
                  <c:v>GRS</c:v>
                </c:pt>
              </c:strCache>
            </c:strRef>
          </c:tx>
          <c:spPr>
            <a:solidFill>
              <a:srgbClr val="00A3E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H$2:$H$4</c:f>
              <c:numCache>
                <c:formatCode>#,##0.00</c:formatCode>
                <c:ptCount val="3"/>
                <c:pt idx="0">
                  <c:v>821273.82</c:v>
                </c:pt>
                <c:pt idx="1">
                  <c:v>922057.36</c:v>
                </c:pt>
                <c:pt idx="2">
                  <c:v>672136.08</c:v>
                </c:pt>
              </c:numCache>
            </c:numRef>
          </c:val>
          <c:extLst>
            <c:ext xmlns:c16="http://schemas.microsoft.com/office/drawing/2014/chart" uri="{C3380CC4-5D6E-409C-BE32-E72D297353CC}">
              <c16:uniqueId val="{00000007-F2BB-43C1-B647-AB4899A4AB47}"/>
            </c:ext>
          </c:extLst>
        </c:ser>
        <c:ser>
          <c:idx val="7"/>
          <c:order val="7"/>
          <c:tx>
            <c:strRef>
              <c:f>Sheet1!$I$1</c:f>
              <c:strCache>
                <c:ptCount val="1"/>
                <c:pt idx="0">
                  <c:v>Market Insight</c:v>
                </c:pt>
              </c:strCache>
            </c:strRef>
          </c:tx>
          <c:spPr>
            <a:solidFill>
              <a:srgbClr val="ADD9FD"/>
            </a:solidFill>
            <a:ln>
              <a:noFill/>
            </a:ln>
            <a:effectLst/>
          </c:spPr>
          <c:invertIfNegative val="0"/>
          <c:dLbls>
            <c:dLbl>
              <c:idx val="0"/>
              <c:layout>
                <c:manualLayout>
                  <c:x val="-0.11434590988281795"/>
                  <c:y val="5.491971620900751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F2BB-43C1-B647-AB4899A4AB47}"/>
                </c:ext>
              </c:extLst>
            </c:dLbl>
            <c:dLbl>
              <c:idx val="1"/>
              <c:layout>
                <c:manualLayout>
                  <c:x val="-0.11752218515734067"/>
                  <c:y val="5.491971620900751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F2BB-43C1-B647-AB4899A4AB47}"/>
                </c:ext>
              </c:extLst>
            </c:dLbl>
            <c:dLbl>
              <c:idx val="2"/>
              <c:layout>
                <c:manualLayout>
                  <c:x val="-0.11434590988281795"/>
                  <c:y val="5.099687933693555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F2BB-43C1-B647-AB4899A4AB47}"/>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I$2:$I$4</c:f>
              <c:numCache>
                <c:formatCode>#,##0.00</c:formatCode>
                <c:ptCount val="3"/>
                <c:pt idx="0">
                  <c:v>115475</c:v>
                </c:pt>
                <c:pt idx="1">
                  <c:v>97225</c:v>
                </c:pt>
                <c:pt idx="2">
                  <c:v>99925</c:v>
                </c:pt>
              </c:numCache>
            </c:numRef>
          </c:val>
          <c:extLst>
            <c:ext xmlns:c16="http://schemas.microsoft.com/office/drawing/2014/chart" uri="{C3380CC4-5D6E-409C-BE32-E72D297353CC}">
              <c16:uniqueId val="{00000008-F2BB-43C1-B647-AB4899A4AB47}"/>
            </c:ext>
          </c:extLst>
        </c:ser>
        <c:ser>
          <c:idx val="8"/>
          <c:order val="8"/>
          <c:tx>
            <c:strRef>
              <c:f>Sheet1!$J$1</c:f>
              <c:strCache>
                <c:ptCount val="1"/>
                <c:pt idx="0">
                  <c:v>Hoovers</c:v>
                </c:pt>
              </c:strCache>
            </c:strRef>
          </c:tx>
          <c:spPr>
            <a:solidFill>
              <a:srgbClr val="55CFFF"/>
            </a:solidFill>
            <a:ln>
              <a:noFill/>
            </a:ln>
            <a:effectLst/>
          </c:spPr>
          <c:invertIfNegative val="0"/>
          <c:dLbls>
            <c:dLbl>
              <c:idx val="0"/>
              <c:layout>
                <c:manualLayout>
                  <c:x val="0.10481708405924979"/>
                  <c:y val="6.27653899531514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1DD-453E-B669-94C23DDEA19B}"/>
                </c:ext>
              </c:extLst>
            </c:dLbl>
            <c:dLbl>
              <c:idx val="1"/>
              <c:layout>
                <c:manualLayout>
                  <c:x val="0.11116963460829524"/>
                  <c:y val="5.099687933693555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1DD-453E-B669-94C23DDEA19B}"/>
                </c:ext>
              </c:extLst>
            </c:dLbl>
            <c:dLbl>
              <c:idx val="2"/>
              <c:layout>
                <c:manualLayout>
                  <c:x val="0.11116963460829535"/>
                  <c:y val="5.099687933693555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1DD-453E-B669-94C23DDEA19B}"/>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J$2:$J$4</c:f>
              <c:numCache>
                <c:formatCode>#,##0.00</c:formatCode>
                <c:ptCount val="3"/>
                <c:pt idx="0">
                  <c:v>65850.570000000007</c:v>
                </c:pt>
                <c:pt idx="1">
                  <c:v>89381.84</c:v>
                </c:pt>
                <c:pt idx="2">
                  <c:v>263225.64</c:v>
                </c:pt>
              </c:numCache>
            </c:numRef>
          </c:val>
          <c:extLst>
            <c:ext xmlns:c16="http://schemas.microsoft.com/office/drawing/2014/chart" uri="{C3380CC4-5D6E-409C-BE32-E72D297353CC}">
              <c16:uniqueId val="{00000009-F2BB-43C1-B647-AB4899A4AB47}"/>
            </c:ext>
          </c:extLst>
        </c:ser>
        <c:ser>
          <c:idx val="9"/>
          <c:order val="9"/>
          <c:tx>
            <c:strRef>
              <c:f>Sheet1!$K$1</c:f>
              <c:strCache>
                <c:ptCount val="1"/>
                <c:pt idx="0">
                  <c:v>Point Risk</c:v>
                </c:pt>
              </c:strCache>
            </c:strRef>
          </c:tx>
          <c:spPr>
            <a:solidFill>
              <a:srgbClr val="EEBA86"/>
            </a:solidFill>
            <a:ln>
              <a:noFill/>
            </a:ln>
            <a:effectLst/>
          </c:spPr>
          <c:invertIfNegative val="0"/>
          <c:dLbls>
            <c:dLbl>
              <c:idx val="0"/>
              <c:layout>
                <c:manualLayout>
                  <c:x val="-0.1206984604318634"/>
                  <c:y val="-5.491971620900751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F2BB-43C1-B647-AB4899A4AB47}"/>
                </c:ext>
              </c:extLst>
            </c:dLbl>
            <c:dLbl>
              <c:idx val="1"/>
              <c:delete val="1"/>
              <c:extLst>
                <c:ext xmlns:c15="http://schemas.microsoft.com/office/drawing/2012/chart" uri="{CE6537A1-D6FC-4f65-9D91-7224C49458BB}"/>
                <c:ext xmlns:c16="http://schemas.microsoft.com/office/drawing/2014/chart" uri="{C3380CC4-5D6E-409C-BE32-E72D297353CC}">
                  <c16:uniqueId val="{0000001F-F2BB-43C1-B647-AB4899A4AB47}"/>
                </c:ext>
              </c:extLst>
            </c:dLbl>
            <c:dLbl>
              <c:idx val="2"/>
              <c:delete val="1"/>
              <c:extLst>
                <c:ext xmlns:c15="http://schemas.microsoft.com/office/drawing/2012/chart" uri="{CE6537A1-D6FC-4f65-9D91-7224C49458BB}"/>
                <c:ext xmlns:c16="http://schemas.microsoft.com/office/drawing/2014/chart" uri="{C3380CC4-5D6E-409C-BE32-E72D297353CC}">
                  <c16:uniqueId val="{0000001C-F2BB-43C1-B647-AB4899A4AB47}"/>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K$2:$K$4</c:f>
              <c:numCache>
                <c:formatCode>General</c:formatCode>
                <c:ptCount val="3"/>
                <c:pt idx="0" formatCode="#,##0.00">
                  <c:v>243918.05</c:v>
                </c:pt>
                <c:pt idx="1">
                  <c:v>0</c:v>
                </c:pt>
                <c:pt idx="2">
                  <c:v>0</c:v>
                </c:pt>
              </c:numCache>
            </c:numRef>
          </c:val>
          <c:extLst>
            <c:ext xmlns:c16="http://schemas.microsoft.com/office/drawing/2014/chart" uri="{C3380CC4-5D6E-409C-BE32-E72D297353CC}">
              <c16:uniqueId val="{0000000A-F2BB-43C1-B647-AB4899A4AB47}"/>
            </c:ext>
          </c:extLst>
        </c:ser>
        <c:ser>
          <c:idx val="10"/>
          <c:order val="10"/>
          <c:tx>
            <c:strRef>
              <c:f>Sheet1!$L$1</c:f>
              <c:strCache>
                <c:ptCount val="1"/>
                <c:pt idx="0">
                  <c:v>Smart</c:v>
                </c:pt>
              </c:strCache>
            </c:strRef>
          </c:tx>
          <c:spPr>
            <a:solidFill>
              <a:srgbClr val="F9E8D7"/>
            </a:solidFill>
            <a:ln>
              <a:noFill/>
            </a:ln>
            <a:effectLst/>
          </c:spPr>
          <c:invertIfNegative val="0"/>
          <c:dLbls>
            <c:dLbl>
              <c:idx val="0"/>
              <c:layout>
                <c:manualLayout>
                  <c:x val="-3.1762752745227211E-3"/>
                  <c:y val="-1.176851061621593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F2BB-43C1-B647-AB4899A4AB47}"/>
                </c:ext>
              </c:extLst>
            </c:dLbl>
            <c:dLbl>
              <c:idx val="1"/>
              <c:layout>
                <c:manualLayout>
                  <c:x val="-5.8231040676298943E-17"/>
                  <c:y val="-1.569134748828785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F2BB-43C1-B647-AB4899A4AB47}"/>
                </c:ext>
              </c:extLst>
            </c:dLbl>
            <c:dLbl>
              <c:idx val="2"/>
              <c:layout>
                <c:manualLayout>
                  <c:x val="0"/>
                  <c:y val="-1.176851061621590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F2BB-43C1-B647-AB4899A4AB47}"/>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L$2:$L$4</c:f>
              <c:numCache>
                <c:formatCode>#,##0.00</c:formatCode>
                <c:ptCount val="3"/>
                <c:pt idx="0">
                  <c:v>210610.91</c:v>
                </c:pt>
                <c:pt idx="1">
                  <c:v>218418.71</c:v>
                </c:pt>
                <c:pt idx="2">
                  <c:v>189336.13</c:v>
                </c:pt>
              </c:numCache>
            </c:numRef>
          </c:val>
          <c:extLst>
            <c:ext xmlns:c16="http://schemas.microsoft.com/office/drawing/2014/chart" uri="{C3380CC4-5D6E-409C-BE32-E72D297353CC}">
              <c16:uniqueId val="{0000000B-F2BB-43C1-B647-AB4899A4AB47}"/>
            </c:ext>
          </c:extLst>
        </c:ser>
        <c:dLbls>
          <c:dLblPos val="ctr"/>
          <c:showLegendKey val="0"/>
          <c:showVal val="1"/>
          <c:showCatName val="0"/>
          <c:showSerName val="0"/>
          <c:showPercent val="0"/>
          <c:showBubbleSize val="0"/>
        </c:dLbls>
        <c:gapWidth val="100"/>
        <c:overlap val="100"/>
        <c:axId val="2038836079"/>
        <c:axId val="1941762431"/>
      </c:barChart>
      <c:lineChart>
        <c:grouping val="standard"/>
        <c:varyColors val="0"/>
        <c:ser>
          <c:idx val="11"/>
          <c:order val="11"/>
          <c:tx>
            <c:strRef>
              <c:f>Sheet1!$M$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M$2:$M$4</c:f>
              <c:numCache>
                <c:formatCode>#,##0.00</c:formatCode>
                <c:ptCount val="3"/>
                <c:pt idx="0">
                  <c:v>13034143.1074</c:v>
                </c:pt>
                <c:pt idx="1">
                  <c:v>14408830.166999999</c:v>
                </c:pt>
                <c:pt idx="2">
                  <c:v>14685534.538999999</c:v>
                </c:pt>
              </c:numCache>
            </c:numRef>
          </c:val>
          <c:smooth val="0"/>
          <c:extLst>
            <c:ext xmlns:c16="http://schemas.microsoft.com/office/drawing/2014/chart" uri="{C3380CC4-5D6E-409C-BE32-E72D297353CC}">
              <c16:uniqueId val="{0000000C-F2BB-43C1-B647-AB4899A4AB47}"/>
            </c:ext>
          </c:extLst>
        </c:ser>
        <c:dLbls>
          <c:showLegendKey val="0"/>
          <c:showVal val="0"/>
          <c:showCatName val="0"/>
          <c:showSerName val="0"/>
          <c:showPercent val="0"/>
          <c:showBubbleSize val="0"/>
        </c:dLbls>
        <c:marker val="1"/>
        <c:smooth val="0"/>
        <c:axId val="1401107472"/>
        <c:axId val="601351056"/>
      </c:lineChart>
      <c:catAx>
        <c:axId val="20388360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941762431"/>
        <c:crosses val="autoZero"/>
        <c:auto val="1"/>
        <c:lblAlgn val="ctr"/>
        <c:lblOffset val="100"/>
        <c:noMultiLvlLbl val="0"/>
      </c:catAx>
      <c:valAx>
        <c:axId val="1941762431"/>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2038836079"/>
        <c:crosses val="autoZero"/>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valAx>
        <c:axId val="601351056"/>
        <c:scaling>
          <c:orientation val="minMax"/>
        </c:scaling>
        <c:delete val="1"/>
        <c:axPos val="r"/>
        <c:numFmt formatCode="#,##0.00" sourceLinked="1"/>
        <c:majorTickMark val="out"/>
        <c:minorTickMark val="none"/>
        <c:tickLblPos val="nextTo"/>
        <c:crossAx val="1401107472"/>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1401107472"/>
        <c:scaling>
          <c:orientation val="minMax"/>
        </c:scaling>
        <c:delete val="1"/>
        <c:axPos val="b"/>
        <c:numFmt formatCode="General" sourceLinked="1"/>
        <c:majorTickMark val="out"/>
        <c:minorTickMark val="none"/>
        <c:tickLblPos val="nextTo"/>
        <c:crossAx val="6013510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513424052150343E-2"/>
          <c:y val="6.3622207833781641E-2"/>
          <c:w val="0.89539905465360803"/>
          <c:h val="0.56483822419604579"/>
        </c:manualLayout>
      </c:layout>
      <c:lineChart>
        <c:grouping val="standard"/>
        <c:varyColors val="0"/>
        <c:ser>
          <c:idx val="0"/>
          <c:order val="0"/>
          <c:tx>
            <c:strRef>
              <c:f>Feuil1!$B$1</c:f>
              <c:strCache>
                <c:ptCount val="1"/>
                <c:pt idx="0">
                  <c:v>Altares</c:v>
                </c:pt>
              </c:strCache>
            </c:strRef>
          </c:tx>
          <c:spPr>
            <a:ln w="28575" cap="rnd">
              <a:solidFill>
                <a:srgbClr val="2EC0CA"/>
              </a:solidFill>
              <a:round/>
            </a:ln>
            <a:effectLst/>
          </c:spPr>
          <c:marker>
            <c:symbol val="circle"/>
            <c:size val="5"/>
            <c:spPr>
              <a:solidFill>
                <a:srgbClr val="2EC0CA"/>
              </a:solidFill>
              <a:ln w="9525">
                <a:solidFill>
                  <a:srgbClr val="2EC0CA"/>
                </a:solidFill>
              </a:ln>
              <a:effectLst/>
            </c:spPr>
          </c:marker>
          <c:cat>
            <c:numRef>
              <c:f>Feuil1!$A$2:$A$9</c:f>
              <c:numCache>
                <c:formatCode>General</c:formatCode>
                <c:ptCount val="8"/>
                <c:pt idx="0">
                  <c:v>1</c:v>
                </c:pt>
                <c:pt idx="1">
                  <c:v>2</c:v>
                </c:pt>
                <c:pt idx="2">
                  <c:v>3</c:v>
                </c:pt>
                <c:pt idx="3">
                  <c:v>4</c:v>
                </c:pt>
                <c:pt idx="4">
                  <c:v>5</c:v>
                </c:pt>
                <c:pt idx="5">
                  <c:v>6</c:v>
                </c:pt>
                <c:pt idx="6">
                  <c:v>7</c:v>
                </c:pt>
                <c:pt idx="7">
                  <c:v>8</c:v>
                </c:pt>
              </c:numCache>
            </c:numRef>
          </c:cat>
          <c:val>
            <c:numRef>
              <c:f>Feuil1!$B$2:$B$9</c:f>
              <c:numCache>
                <c:formatCode>General</c:formatCode>
                <c:ptCount val="8"/>
                <c:pt idx="0">
                  <c:v>5</c:v>
                </c:pt>
                <c:pt idx="1">
                  <c:v>5</c:v>
                </c:pt>
                <c:pt idx="2">
                  <c:v>5</c:v>
                </c:pt>
                <c:pt idx="3">
                  <c:v>3</c:v>
                </c:pt>
                <c:pt idx="4">
                  <c:v>5</c:v>
                </c:pt>
                <c:pt idx="5">
                  <c:v>5</c:v>
                </c:pt>
                <c:pt idx="6">
                  <c:v>4</c:v>
                </c:pt>
                <c:pt idx="7">
                  <c:v>5</c:v>
                </c:pt>
              </c:numCache>
            </c:numRef>
          </c:val>
          <c:smooth val="0"/>
          <c:extLst>
            <c:ext xmlns:c16="http://schemas.microsoft.com/office/drawing/2014/chart" uri="{C3380CC4-5D6E-409C-BE32-E72D297353CC}">
              <c16:uniqueId val="{00000000-B40B-4A2A-A2A4-B19D224D0FEA}"/>
            </c:ext>
          </c:extLst>
        </c:ser>
        <c:ser>
          <c:idx val="1"/>
          <c:order val="1"/>
          <c:tx>
            <c:strRef>
              <c:f>Feuil1!$C$1</c:f>
              <c:strCache>
                <c:ptCount val="1"/>
                <c:pt idx="0">
                  <c:v>Other premium player</c:v>
                </c:pt>
              </c:strCache>
            </c:strRef>
          </c:tx>
          <c:spPr>
            <a:ln w="19050" cap="rnd">
              <a:solidFill>
                <a:srgbClr val="23346B"/>
              </a:solidFill>
              <a:round/>
            </a:ln>
            <a:effectLst/>
          </c:spPr>
          <c:marker>
            <c:symbol val="circle"/>
            <c:size val="5"/>
            <c:spPr>
              <a:solidFill>
                <a:srgbClr val="23346B"/>
              </a:solidFill>
              <a:ln w="9525">
                <a:solidFill>
                  <a:srgbClr val="23346B"/>
                </a:solidFill>
              </a:ln>
              <a:effectLst/>
            </c:spPr>
          </c:marker>
          <c:cat>
            <c:numRef>
              <c:f>Feuil1!$A$2:$A$9</c:f>
              <c:numCache>
                <c:formatCode>General</c:formatCode>
                <c:ptCount val="8"/>
                <c:pt idx="0">
                  <c:v>1</c:v>
                </c:pt>
                <c:pt idx="1">
                  <c:v>2</c:v>
                </c:pt>
                <c:pt idx="2">
                  <c:v>3</c:v>
                </c:pt>
                <c:pt idx="3">
                  <c:v>4</c:v>
                </c:pt>
                <c:pt idx="4">
                  <c:v>5</c:v>
                </c:pt>
                <c:pt idx="5">
                  <c:v>6</c:v>
                </c:pt>
                <c:pt idx="6">
                  <c:v>7</c:v>
                </c:pt>
                <c:pt idx="7">
                  <c:v>8</c:v>
                </c:pt>
              </c:numCache>
            </c:numRef>
          </c:cat>
          <c:val>
            <c:numRef>
              <c:f>Feuil1!$C$2:$C$9</c:f>
              <c:numCache>
                <c:formatCode>General</c:formatCode>
                <c:ptCount val="8"/>
                <c:pt idx="0">
                  <c:v>4.9000000000000004</c:v>
                </c:pt>
                <c:pt idx="1">
                  <c:v>4.5</c:v>
                </c:pt>
                <c:pt idx="2">
                  <c:v>4.5</c:v>
                </c:pt>
                <c:pt idx="3">
                  <c:v>3</c:v>
                </c:pt>
                <c:pt idx="4">
                  <c:v>4.5</c:v>
                </c:pt>
                <c:pt idx="5">
                  <c:v>4.5</c:v>
                </c:pt>
                <c:pt idx="6">
                  <c:v>4</c:v>
                </c:pt>
                <c:pt idx="7">
                  <c:v>4.5</c:v>
                </c:pt>
              </c:numCache>
            </c:numRef>
          </c:val>
          <c:smooth val="0"/>
          <c:extLst>
            <c:ext xmlns:c16="http://schemas.microsoft.com/office/drawing/2014/chart" uri="{C3380CC4-5D6E-409C-BE32-E72D297353CC}">
              <c16:uniqueId val="{00000001-B40B-4A2A-A2A4-B19D224D0FEA}"/>
            </c:ext>
          </c:extLst>
        </c:ser>
        <c:ser>
          <c:idx val="2"/>
          <c:order val="2"/>
          <c:tx>
            <c:strRef>
              <c:f>Feuil1!$D$1</c:f>
              <c:strCache>
                <c:ptCount val="1"/>
                <c:pt idx="0">
                  <c:v>Challenger</c:v>
                </c:pt>
              </c:strCache>
            </c:strRef>
          </c:tx>
          <c:spPr>
            <a:ln w="19050" cap="rnd">
              <a:solidFill>
                <a:srgbClr val="F7564F"/>
              </a:solidFill>
              <a:round/>
            </a:ln>
            <a:effectLst/>
          </c:spPr>
          <c:marker>
            <c:symbol val="circle"/>
            <c:size val="5"/>
            <c:spPr>
              <a:solidFill>
                <a:srgbClr val="F7564F"/>
              </a:solidFill>
              <a:ln w="9525">
                <a:solidFill>
                  <a:srgbClr val="F7564F"/>
                </a:solidFill>
              </a:ln>
              <a:effectLst/>
            </c:spPr>
          </c:marker>
          <c:cat>
            <c:numRef>
              <c:f>Feuil1!$A$2:$A$9</c:f>
              <c:numCache>
                <c:formatCode>General</c:formatCode>
                <c:ptCount val="8"/>
                <c:pt idx="0">
                  <c:v>1</c:v>
                </c:pt>
                <c:pt idx="1">
                  <c:v>2</c:v>
                </c:pt>
                <c:pt idx="2">
                  <c:v>3</c:v>
                </c:pt>
                <c:pt idx="3">
                  <c:v>4</c:v>
                </c:pt>
                <c:pt idx="4">
                  <c:v>5</c:v>
                </c:pt>
                <c:pt idx="5">
                  <c:v>6</c:v>
                </c:pt>
                <c:pt idx="6">
                  <c:v>7</c:v>
                </c:pt>
                <c:pt idx="7">
                  <c:v>8</c:v>
                </c:pt>
              </c:numCache>
            </c:numRef>
          </c:cat>
          <c:val>
            <c:numRef>
              <c:f>Feuil1!$D$2:$D$9</c:f>
              <c:numCache>
                <c:formatCode>General</c:formatCode>
                <c:ptCount val="8"/>
                <c:pt idx="0">
                  <c:v>3</c:v>
                </c:pt>
                <c:pt idx="1">
                  <c:v>3</c:v>
                </c:pt>
                <c:pt idx="2">
                  <c:v>3</c:v>
                </c:pt>
                <c:pt idx="3">
                  <c:v>5</c:v>
                </c:pt>
                <c:pt idx="4">
                  <c:v>4</c:v>
                </c:pt>
                <c:pt idx="5">
                  <c:v>2</c:v>
                </c:pt>
                <c:pt idx="6">
                  <c:v>3.9</c:v>
                </c:pt>
                <c:pt idx="7">
                  <c:v>3</c:v>
                </c:pt>
              </c:numCache>
            </c:numRef>
          </c:val>
          <c:smooth val="0"/>
          <c:extLst>
            <c:ext xmlns:c16="http://schemas.microsoft.com/office/drawing/2014/chart" uri="{C3380CC4-5D6E-409C-BE32-E72D297353CC}">
              <c16:uniqueId val="{00000002-B40B-4A2A-A2A4-B19D224D0FEA}"/>
            </c:ext>
          </c:extLst>
        </c:ser>
        <c:ser>
          <c:idx val="3"/>
          <c:order val="3"/>
          <c:tx>
            <c:strRef>
              <c:f>Feuil1!$E$1</c:f>
              <c:strCache>
                <c:ptCount val="1"/>
                <c:pt idx="0">
                  <c:v>Historical local players</c:v>
                </c:pt>
              </c:strCache>
            </c:strRef>
          </c:tx>
          <c:spPr>
            <a:ln w="19050" cap="rnd">
              <a:solidFill>
                <a:schemeClr val="bg2"/>
              </a:solidFill>
              <a:round/>
            </a:ln>
            <a:effectLst/>
          </c:spPr>
          <c:marker>
            <c:symbol val="circle"/>
            <c:size val="5"/>
            <c:spPr>
              <a:solidFill>
                <a:schemeClr val="bg2"/>
              </a:solidFill>
              <a:ln w="9525">
                <a:noFill/>
              </a:ln>
              <a:effectLst/>
            </c:spPr>
          </c:marker>
          <c:cat>
            <c:numRef>
              <c:f>Feuil1!$A$2:$A$9</c:f>
              <c:numCache>
                <c:formatCode>General</c:formatCode>
                <c:ptCount val="8"/>
                <c:pt idx="0">
                  <c:v>1</c:v>
                </c:pt>
                <c:pt idx="1">
                  <c:v>2</c:v>
                </c:pt>
                <c:pt idx="2">
                  <c:v>3</c:v>
                </c:pt>
                <c:pt idx="3">
                  <c:v>4</c:v>
                </c:pt>
                <c:pt idx="4">
                  <c:v>5</c:v>
                </c:pt>
                <c:pt idx="5">
                  <c:v>6</c:v>
                </c:pt>
                <c:pt idx="6">
                  <c:v>7</c:v>
                </c:pt>
                <c:pt idx="7">
                  <c:v>8</c:v>
                </c:pt>
              </c:numCache>
            </c:numRef>
          </c:cat>
          <c:val>
            <c:numRef>
              <c:f>Feuil1!$E$2:$E$9</c:f>
              <c:numCache>
                <c:formatCode>General</c:formatCode>
                <c:ptCount val="8"/>
                <c:pt idx="0">
                  <c:v>4</c:v>
                </c:pt>
                <c:pt idx="1">
                  <c:v>4</c:v>
                </c:pt>
                <c:pt idx="2">
                  <c:v>3</c:v>
                </c:pt>
                <c:pt idx="3">
                  <c:v>3</c:v>
                </c:pt>
                <c:pt idx="4">
                  <c:v>3</c:v>
                </c:pt>
                <c:pt idx="5">
                  <c:v>3</c:v>
                </c:pt>
                <c:pt idx="6">
                  <c:v>3.9</c:v>
                </c:pt>
                <c:pt idx="7">
                  <c:v>3.9</c:v>
                </c:pt>
              </c:numCache>
            </c:numRef>
          </c:val>
          <c:smooth val="0"/>
          <c:extLst>
            <c:ext xmlns:c16="http://schemas.microsoft.com/office/drawing/2014/chart" uri="{C3380CC4-5D6E-409C-BE32-E72D297353CC}">
              <c16:uniqueId val="{00000003-B40B-4A2A-A2A4-B19D224D0FEA}"/>
            </c:ext>
          </c:extLst>
        </c:ser>
        <c:ser>
          <c:idx val="4"/>
          <c:order val="4"/>
          <c:tx>
            <c:strRef>
              <c:f>Feuil1!$F$1</c:f>
              <c:strCache>
                <c:ptCount val="1"/>
                <c:pt idx="0">
                  <c:v>Local small players</c:v>
                </c:pt>
              </c:strCache>
            </c:strRef>
          </c:tx>
          <c:spPr>
            <a:ln w="12700" cap="rnd">
              <a:solidFill>
                <a:schemeClr val="bg1">
                  <a:lumMod val="50000"/>
                </a:schemeClr>
              </a:solidFill>
              <a:round/>
            </a:ln>
            <a:effectLst/>
          </c:spPr>
          <c:marker>
            <c:symbol val="circle"/>
            <c:size val="5"/>
            <c:spPr>
              <a:solidFill>
                <a:schemeClr val="tx1"/>
              </a:solidFill>
              <a:ln w="9525">
                <a:noFill/>
              </a:ln>
              <a:effectLst/>
            </c:spPr>
          </c:marker>
          <c:cat>
            <c:numRef>
              <c:f>Feuil1!$A$2:$A$9</c:f>
              <c:numCache>
                <c:formatCode>General</c:formatCode>
                <c:ptCount val="8"/>
                <c:pt idx="0">
                  <c:v>1</c:v>
                </c:pt>
                <c:pt idx="1">
                  <c:v>2</c:v>
                </c:pt>
                <c:pt idx="2">
                  <c:v>3</c:v>
                </c:pt>
                <c:pt idx="3">
                  <c:v>4</c:v>
                </c:pt>
                <c:pt idx="4">
                  <c:v>5</c:v>
                </c:pt>
                <c:pt idx="5">
                  <c:v>6</c:v>
                </c:pt>
                <c:pt idx="6">
                  <c:v>7</c:v>
                </c:pt>
                <c:pt idx="7">
                  <c:v>8</c:v>
                </c:pt>
              </c:numCache>
            </c:numRef>
          </c:cat>
          <c:val>
            <c:numRef>
              <c:f>Feuil1!$F$2:$F$9</c:f>
              <c:numCache>
                <c:formatCode>General</c:formatCode>
                <c:ptCount val="8"/>
                <c:pt idx="0">
                  <c:v>2.5</c:v>
                </c:pt>
                <c:pt idx="1">
                  <c:v>2.5</c:v>
                </c:pt>
                <c:pt idx="2">
                  <c:v>2</c:v>
                </c:pt>
                <c:pt idx="3">
                  <c:v>4.9000000000000004</c:v>
                </c:pt>
                <c:pt idx="4">
                  <c:v>1.1000000000000001</c:v>
                </c:pt>
                <c:pt idx="5">
                  <c:v>2</c:v>
                </c:pt>
                <c:pt idx="6">
                  <c:v>5</c:v>
                </c:pt>
                <c:pt idx="7">
                  <c:v>1</c:v>
                </c:pt>
              </c:numCache>
            </c:numRef>
          </c:val>
          <c:smooth val="0"/>
          <c:extLst>
            <c:ext xmlns:c16="http://schemas.microsoft.com/office/drawing/2014/chart" uri="{C3380CC4-5D6E-409C-BE32-E72D297353CC}">
              <c16:uniqueId val="{00000004-B40B-4A2A-A2A4-B19D224D0FEA}"/>
            </c:ext>
          </c:extLst>
        </c:ser>
        <c:ser>
          <c:idx val="5"/>
          <c:order val="5"/>
          <c:tx>
            <c:strRef>
              <c:f>Feuil1!$G$1</c:f>
              <c:strCache>
                <c:ptCount val="1"/>
                <c:pt idx="0">
                  <c:v>Fremium players</c:v>
                </c:pt>
              </c:strCache>
            </c:strRef>
          </c:tx>
          <c:spPr>
            <a:ln w="12700" cap="rnd">
              <a:solidFill>
                <a:schemeClr val="bg1">
                  <a:lumMod val="50000"/>
                </a:schemeClr>
              </a:solidFill>
              <a:prstDash val="dash"/>
              <a:round/>
            </a:ln>
            <a:effectLst/>
          </c:spPr>
          <c:marker>
            <c:symbol val="circle"/>
            <c:size val="5"/>
            <c:spPr>
              <a:solidFill>
                <a:schemeClr val="tx1"/>
              </a:solidFill>
              <a:ln w="9525">
                <a:noFill/>
              </a:ln>
              <a:effectLst/>
            </c:spPr>
          </c:marker>
          <c:cat>
            <c:numRef>
              <c:f>Feuil1!$A$2:$A$9</c:f>
              <c:numCache>
                <c:formatCode>General</c:formatCode>
                <c:ptCount val="8"/>
                <c:pt idx="0">
                  <c:v>1</c:v>
                </c:pt>
                <c:pt idx="1">
                  <c:v>2</c:v>
                </c:pt>
                <c:pt idx="2">
                  <c:v>3</c:v>
                </c:pt>
                <c:pt idx="3">
                  <c:v>4</c:v>
                </c:pt>
                <c:pt idx="4">
                  <c:v>5</c:v>
                </c:pt>
                <c:pt idx="5">
                  <c:v>6</c:v>
                </c:pt>
                <c:pt idx="6">
                  <c:v>7</c:v>
                </c:pt>
                <c:pt idx="7">
                  <c:v>8</c:v>
                </c:pt>
              </c:numCache>
            </c:numRef>
          </c:cat>
          <c:val>
            <c:numRef>
              <c:f>Feuil1!$G$2:$G$9</c:f>
              <c:numCache>
                <c:formatCode>General</c:formatCode>
                <c:ptCount val="8"/>
                <c:pt idx="0">
                  <c:v>1</c:v>
                </c:pt>
                <c:pt idx="1">
                  <c:v>1</c:v>
                </c:pt>
                <c:pt idx="2">
                  <c:v>1</c:v>
                </c:pt>
                <c:pt idx="3">
                  <c:v>4.9000000000000004</c:v>
                </c:pt>
                <c:pt idx="4">
                  <c:v>1</c:v>
                </c:pt>
                <c:pt idx="5">
                  <c:v>1</c:v>
                </c:pt>
                <c:pt idx="6">
                  <c:v>5</c:v>
                </c:pt>
                <c:pt idx="7">
                  <c:v>1</c:v>
                </c:pt>
              </c:numCache>
            </c:numRef>
          </c:val>
          <c:smooth val="0"/>
          <c:extLst>
            <c:ext xmlns:c16="http://schemas.microsoft.com/office/drawing/2014/chart" uri="{C3380CC4-5D6E-409C-BE32-E72D297353CC}">
              <c16:uniqueId val="{00000001-F771-4944-972F-074A55DE3B13}"/>
            </c:ext>
          </c:extLst>
        </c:ser>
        <c:dLbls>
          <c:showLegendKey val="0"/>
          <c:showVal val="0"/>
          <c:showCatName val="0"/>
          <c:showSerName val="0"/>
          <c:showPercent val="0"/>
          <c:showBubbleSize val="0"/>
        </c:dLbls>
        <c:marker val="1"/>
        <c:smooth val="0"/>
        <c:axId val="305405712"/>
        <c:axId val="1956044655"/>
      </c:lineChart>
      <c:catAx>
        <c:axId val="3054057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1" u="none" strike="noStrike" kern="1200" baseline="0">
                <a:solidFill>
                  <a:schemeClr val="tx1"/>
                </a:solidFill>
                <a:latin typeface="+mn-lt"/>
                <a:ea typeface="+mn-ea"/>
                <a:cs typeface="+mn-cs"/>
              </a:defRPr>
            </a:pPr>
            <a:endParaRPr lang="fr-FR"/>
          </a:p>
        </c:txPr>
        <c:crossAx val="1956044655"/>
        <c:crosses val="autoZero"/>
        <c:auto val="1"/>
        <c:lblAlgn val="ctr"/>
        <c:lblOffset val="100"/>
        <c:noMultiLvlLbl val="0"/>
      </c:catAx>
      <c:valAx>
        <c:axId val="1956044655"/>
        <c:scaling>
          <c:orientation val="minMax"/>
          <c:max val="5"/>
          <c:min val="1"/>
        </c:scaling>
        <c:delete val="0"/>
        <c:axPos val="l"/>
        <c:majorGridlines>
          <c:spPr>
            <a:ln w="6350"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305405712"/>
        <c:crosses val="autoZero"/>
        <c:crossBetween val="between"/>
      </c:valAx>
      <c:spPr>
        <a:solidFill>
          <a:schemeClr val="bg1"/>
        </a:solidFill>
        <a:ln>
          <a:noFill/>
        </a:ln>
        <a:effectLst/>
      </c:spPr>
    </c:plotArea>
    <c:legend>
      <c:legendPos val="r"/>
      <c:layout>
        <c:manualLayout>
          <c:xMode val="edge"/>
          <c:yMode val="edge"/>
          <c:x val="3.4966649928705101E-2"/>
          <c:y val="0.70563741998844098"/>
          <c:w val="0.89635229276357231"/>
          <c:h val="0.26075012058768571"/>
        </c:manualLayout>
      </c:layout>
      <c:overlay val="0"/>
      <c:spPr>
        <a:noFill/>
        <a:ln w="9525">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pPr>
      <a:endParaRPr lang="fr-FR"/>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accent1"/>
            </a:solidFill>
          </c:spPr>
          <c:dPt>
            <c:idx val="0"/>
            <c:bubble3D val="0"/>
            <c:spPr>
              <a:solidFill>
                <a:srgbClr val="A6A6A6"/>
              </a:solidFill>
              <a:ln w="19050">
                <a:noFill/>
              </a:ln>
              <a:effectLst/>
            </c:spPr>
            <c:extLst>
              <c:ext xmlns:c16="http://schemas.microsoft.com/office/drawing/2014/chart" uri="{C3380CC4-5D6E-409C-BE32-E72D297353CC}">
                <c16:uniqueId val="{00000004-098B-42B0-9C91-9E1C8348BEAB}"/>
              </c:ext>
            </c:extLst>
          </c:dPt>
          <c:dPt>
            <c:idx val="1"/>
            <c:bubble3D val="0"/>
            <c:spPr>
              <a:solidFill>
                <a:schemeClr val="accent1">
                  <a:lumMod val="40000"/>
                  <a:lumOff val="60000"/>
                </a:schemeClr>
              </a:solidFill>
              <a:ln w="19050">
                <a:noFill/>
              </a:ln>
              <a:effectLst/>
            </c:spPr>
            <c:extLst>
              <c:ext xmlns:c16="http://schemas.microsoft.com/office/drawing/2014/chart" uri="{C3380CC4-5D6E-409C-BE32-E72D297353CC}">
                <c16:uniqueId val="{00000002-098B-42B0-9C91-9E1C8348BEAB}"/>
              </c:ext>
            </c:extLst>
          </c:dPt>
          <c:dPt>
            <c:idx val="2"/>
            <c:bubble3D val="0"/>
            <c:spPr>
              <a:solidFill>
                <a:schemeClr val="tx2"/>
              </a:solidFill>
              <a:ln w="19050">
                <a:noFill/>
              </a:ln>
              <a:effectLst/>
            </c:spPr>
            <c:extLst>
              <c:ext xmlns:c16="http://schemas.microsoft.com/office/drawing/2014/chart" uri="{C3380CC4-5D6E-409C-BE32-E72D297353CC}">
                <c16:uniqueId val="{00000003-098B-42B0-9C91-9E1C8348BEAB}"/>
              </c:ext>
            </c:extLst>
          </c:dPt>
          <c:dPt>
            <c:idx val="3"/>
            <c:bubble3D val="0"/>
            <c:spPr>
              <a:solidFill>
                <a:schemeClr val="bg2"/>
              </a:solidFill>
              <a:ln w="19050">
                <a:noFill/>
              </a:ln>
              <a:effectLst/>
            </c:spPr>
            <c:extLst>
              <c:ext xmlns:c16="http://schemas.microsoft.com/office/drawing/2014/chart" uri="{C3380CC4-5D6E-409C-BE32-E72D297353CC}">
                <c16:uniqueId val="{00000007-1FEA-41F2-86FA-ED1308670BC1}"/>
              </c:ext>
            </c:extLst>
          </c:dPt>
          <c:dLbls>
            <c:dLbl>
              <c:idx val="0"/>
              <c:layout>
                <c:manualLayout>
                  <c:x val="-1.1552298952273115E-2"/>
                  <c:y val="3.4355466407218274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098B-42B0-9C91-9E1C8348BEAB}"/>
                </c:ext>
              </c:extLst>
            </c:dLbl>
            <c:dLbl>
              <c:idx val="3"/>
              <c:layout>
                <c:manualLayout>
                  <c:x val="2.5197277821018774E-3"/>
                  <c:y val="-1.0082173684891569E-2"/>
                </c:manualLayout>
              </c:layout>
              <c:spPr>
                <a:noFill/>
                <a:ln>
                  <a:noFill/>
                </a:ln>
                <a:effectLst/>
              </c:spPr>
              <c:txPr>
                <a:bodyPr rot="0" spcFirstLastPara="1" vertOverflow="clip" horzOverflow="clip" vert="horz" wrap="square" lIns="38100" tIns="19050" rIns="38100" bIns="19050" anchor="ctr" anchorCtr="0">
                  <a:spAutoFit/>
                </a:bodyPr>
                <a:lstStyle/>
                <a:p>
                  <a:pPr algn="ctr">
                    <a:defRPr lang="en-US" sz="1197" b="1"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ext>
                <c:ext xmlns:c16="http://schemas.microsoft.com/office/drawing/2014/chart" uri="{C3380CC4-5D6E-409C-BE32-E72D297353CC}">
                  <c16:uniqueId val="{00000007-1FEA-41F2-86FA-ED1308670BC1}"/>
                </c:ext>
              </c:extLst>
            </c:dLbl>
            <c:spPr>
              <a:noFill/>
              <a:ln>
                <a:noFill/>
              </a:ln>
              <a:effectLst/>
            </c:spPr>
            <c:txPr>
              <a:bodyPr rot="0" spcFirstLastPara="1" vertOverflow="clip" horzOverflow="clip"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A$2:$A$5</c:f>
              <c:strCache>
                <c:ptCount val="4"/>
                <c:pt idx="0">
                  <c:v>Key accounts</c:v>
                </c:pt>
                <c:pt idx="1">
                  <c:v>Public</c:v>
                </c:pt>
                <c:pt idx="2">
                  <c:v>Mid market</c:v>
                </c:pt>
                <c:pt idx="3">
                  <c:v>Mass market</c:v>
                </c:pt>
              </c:strCache>
            </c:strRef>
          </c:cat>
          <c:val>
            <c:numRef>
              <c:f>Sheet1!$B$2:$B$5</c:f>
              <c:numCache>
                <c:formatCode>General</c:formatCode>
                <c:ptCount val="4"/>
                <c:pt idx="0">
                  <c:v>22</c:v>
                </c:pt>
                <c:pt idx="1">
                  <c:v>5.4</c:v>
                </c:pt>
                <c:pt idx="2">
                  <c:v>6.8</c:v>
                </c:pt>
                <c:pt idx="3">
                  <c:v>1.4</c:v>
                </c:pt>
              </c:numCache>
            </c:numRef>
          </c:val>
          <c:extLst>
            <c:ext xmlns:c16="http://schemas.microsoft.com/office/drawing/2014/chart" uri="{C3380CC4-5D6E-409C-BE32-E72D297353CC}">
              <c16:uniqueId val="{00000000-098B-42B0-9C91-9E1C8348BEAB}"/>
            </c:ext>
          </c:extLst>
        </c:ser>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chemeClr val="tx2"/>
              </a:solidFill>
              <a:ln w="19050">
                <a:noFill/>
              </a:ln>
              <a:effectLst/>
            </c:spPr>
            <c:extLst>
              <c:ext xmlns:c16="http://schemas.microsoft.com/office/drawing/2014/chart" uri="{C3380CC4-5D6E-409C-BE32-E72D297353CC}">
                <c16:uniqueId val="{00000001-7DF4-4CCA-9059-BE67172F691D}"/>
              </c:ext>
            </c:extLst>
          </c:dPt>
          <c:dPt>
            <c:idx val="1"/>
            <c:bubble3D val="0"/>
            <c:spPr>
              <a:solidFill>
                <a:schemeClr val="bg2">
                  <a:lumMod val="50000"/>
                </a:schemeClr>
              </a:solidFill>
              <a:ln w="19050">
                <a:noFill/>
              </a:ln>
              <a:effectLst/>
            </c:spPr>
            <c:extLst>
              <c:ext xmlns:c16="http://schemas.microsoft.com/office/drawing/2014/chart" uri="{C3380CC4-5D6E-409C-BE32-E72D297353CC}">
                <c16:uniqueId val="{00000003-7DF4-4CCA-9059-BE67172F691D}"/>
              </c:ext>
            </c:extLst>
          </c:dPt>
          <c:dPt>
            <c:idx val="2"/>
            <c:bubble3D val="0"/>
            <c:spPr>
              <a:solidFill>
                <a:schemeClr val="bg2">
                  <a:lumMod val="60000"/>
                  <a:lumOff val="40000"/>
                </a:schemeClr>
              </a:solidFill>
              <a:ln w="19050">
                <a:noFill/>
              </a:ln>
              <a:effectLst/>
            </c:spPr>
            <c:extLst>
              <c:ext xmlns:c16="http://schemas.microsoft.com/office/drawing/2014/chart" uri="{C3380CC4-5D6E-409C-BE32-E72D297353CC}">
                <c16:uniqueId val="{00000002-1048-4749-AC0A-CAE726ABB4F1}"/>
              </c:ext>
            </c:extLst>
          </c:dPt>
          <c:dPt>
            <c:idx val="3"/>
            <c:bubble3D val="0"/>
            <c:spPr>
              <a:solidFill>
                <a:schemeClr val="bg1">
                  <a:lumMod val="85000"/>
                </a:schemeClr>
              </a:solidFill>
              <a:ln w="19050">
                <a:noFill/>
              </a:ln>
              <a:effectLst/>
            </c:spPr>
            <c:extLst>
              <c:ext xmlns:c16="http://schemas.microsoft.com/office/drawing/2014/chart" uri="{C3380CC4-5D6E-409C-BE32-E72D297353CC}">
                <c16:uniqueId val="{00000003-1048-4749-AC0A-CAE726ABB4F1}"/>
              </c:ext>
            </c:extLst>
          </c:dPt>
          <c:dPt>
            <c:idx val="4"/>
            <c:bubble3D val="0"/>
            <c:spPr>
              <a:solidFill>
                <a:schemeClr val="bg1">
                  <a:lumMod val="65000"/>
                </a:schemeClr>
              </a:solidFill>
              <a:ln w="19050">
                <a:noFill/>
              </a:ln>
              <a:effectLst/>
            </c:spPr>
            <c:extLst>
              <c:ext xmlns:c16="http://schemas.microsoft.com/office/drawing/2014/chart" uri="{C3380CC4-5D6E-409C-BE32-E72D297353CC}">
                <c16:uniqueId val="{00000009-0616-49DB-9001-41561F28A87B}"/>
              </c:ext>
            </c:extLst>
          </c:dPt>
          <c:dPt>
            <c:idx val="5"/>
            <c:bubble3D val="0"/>
            <c:spPr>
              <a:solidFill>
                <a:schemeClr val="accent1"/>
              </a:solidFill>
              <a:ln w="19050">
                <a:noFill/>
              </a:ln>
              <a:effectLst/>
            </c:spPr>
            <c:extLst>
              <c:ext xmlns:c16="http://schemas.microsoft.com/office/drawing/2014/chart" uri="{C3380CC4-5D6E-409C-BE32-E72D297353CC}">
                <c16:uniqueId val="{0000000A-0616-49DB-9001-41561F28A87B}"/>
              </c:ext>
            </c:extLst>
          </c:dPt>
          <c:dPt>
            <c:idx val="6"/>
            <c:bubble3D val="0"/>
            <c:spPr>
              <a:solidFill>
                <a:schemeClr val="accent2"/>
              </a:solidFill>
              <a:ln w="19050">
                <a:noFill/>
              </a:ln>
              <a:effectLst/>
            </c:spPr>
            <c:extLst>
              <c:ext xmlns:c16="http://schemas.microsoft.com/office/drawing/2014/chart" uri="{C3380CC4-5D6E-409C-BE32-E72D297353CC}">
                <c16:uniqueId val="{0000000B-0616-49DB-9001-41561F28A87B}"/>
              </c:ext>
            </c:extLst>
          </c:dPt>
          <c:dPt>
            <c:idx val="7"/>
            <c:bubble3D val="0"/>
            <c:spPr>
              <a:solidFill>
                <a:schemeClr val="accent1">
                  <a:lumMod val="75000"/>
                </a:schemeClr>
              </a:solidFill>
              <a:ln w="19050">
                <a:noFill/>
              </a:ln>
              <a:effectLst/>
            </c:spPr>
            <c:extLst>
              <c:ext xmlns:c16="http://schemas.microsoft.com/office/drawing/2014/chart" uri="{C3380CC4-5D6E-409C-BE32-E72D297353CC}">
                <c16:uniqueId val="{0000000C-0616-49DB-9001-41561F28A87B}"/>
              </c:ext>
            </c:extLst>
          </c:dPt>
          <c:dPt>
            <c:idx val="8"/>
            <c:bubble3D val="0"/>
            <c:spPr>
              <a:solidFill>
                <a:schemeClr val="accent1">
                  <a:lumMod val="60000"/>
                  <a:lumOff val="40000"/>
                </a:schemeClr>
              </a:solidFill>
              <a:ln w="19050">
                <a:noFill/>
              </a:ln>
              <a:effectLst/>
            </c:spPr>
            <c:extLst>
              <c:ext xmlns:c16="http://schemas.microsoft.com/office/drawing/2014/chart" uri="{C3380CC4-5D6E-409C-BE32-E72D297353CC}">
                <c16:uniqueId val="{0000000D-0616-49DB-9001-41561F28A87B}"/>
              </c:ext>
            </c:extLst>
          </c:dPt>
          <c:dLbls>
            <c:dLbl>
              <c:idx val="2"/>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2-1048-4749-AC0A-CAE726ABB4F1}"/>
                </c:ext>
              </c:extLst>
            </c:dLbl>
            <c:dLbl>
              <c:idx val="3"/>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3-1048-4749-AC0A-CAE726ABB4F1}"/>
                </c:ext>
              </c:extLst>
            </c:dLbl>
            <c:dLbl>
              <c:idx val="5"/>
              <c:layout>
                <c:manualLayout>
                  <c:x val="1.013485089636184E-2"/>
                  <c:y val="2.5971240840342566E-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A-0616-49DB-9001-41561F28A87B}"/>
                </c:ext>
              </c:extLst>
            </c:dLbl>
            <c:dLbl>
              <c:idx val="6"/>
              <c:layout>
                <c:manualLayout>
                  <c:x val="9.6376170029836075E-3"/>
                  <c:y val="2.6640784362685167E-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B-0616-49DB-9001-41561F28A87B}"/>
                </c:ext>
              </c:extLst>
            </c:dLbl>
            <c:dLbl>
              <c:idx val="7"/>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C-0616-49DB-9001-41561F28A87B}"/>
                </c:ext>
              </c:extLst>
            </c:dLbl>
            <c:dLbl>
              <c:idx val="8"/>
              <c:layout>
                <c:manualLayout>
                  <c:x val="2.6685533850901479E-2"/>
                  <c:y val="1.56224047925563E-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D-0616-49DB-9001-41561F28A87B}"/>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10</c:f>
              <c:strCache>
                <c:ptCount val="9"/>
                <c:pt idx="0">
                  <c:v>Services</c:v>
                </c:pt>
                <c:pt idx="1">
                  <c:v>Financial institutions</c:v>
                </c:pt>
                <c:pt idx="2">
                  <c:v>Industry</c:v>
                </c:pt>
                <c:pt idx="3">
                  <c:v>Public</c:v>
                </c:pt>
                <c:pt idx="4">
                  <c:v>Energy</c:v>
                </c:pt>
                <c:pt idx="5">
                  <c:v>Transportation</c:v>
                </c:pt>
                <c:pt idx="6">
                  <c:v>Construction</c:v>
                </c:pt>
                <c:pt idx="7">
                  <c:v>Legal</c:v>
                </c:pt>
                <c:pt idx="8">
                  <c:v>Telecom</c:v>
                </c:pt>
              </c:strCache>
            </c:strRef>
          </c:cat>
          <c:val>
            <c:numRef>
              <c:f>Sheet1!$B$2:$B$10</c:f>
              <c:numCache>
                <c:formatCode>General</c:formatCode>
                <c:ptCount val="9"/>
                <c:pt idx="0">
                  <c:v>13463218.779999999</c:v>
                </c:pt>
                <c:pt idx="1">
                  <c:v>10987551.609999999</c:v>
                </c:pt>
                <c:pt idx="2">
                  <c:v>4667115.7500000009</c:v>
                </c:pt>
                <c:pt idx="3">
                  <c:v>3024123.2</c:v>
                </c:pt>
                <c:pt idx="4">
                  <c:v>2700512.1800000016</c:v>
                </c:pt>
                <c:pt idx="5">
                  <c:v>1174041.9100000006</c:v>
                </c:pt>
                <c:pt idx="6">
                  <c:v>1094947.2600000002</c:v>
                </c:pt>
                <c:pt idx="7">
                  <c:v>697588.69999999984</c:v>
                </c:pt>
                <c:pt idx="8">
                  <c:v>332958.17</c:v>
                </c:pt>
              </c:numCache>
            </c:numRef>
          </c:val>
          <c:extLst>
            <c:ext xmlns:c16="http://schemas.microsoft.com/office/drawing/2014/chart" uri="{C3380CC4-5D6E-409C-BE32-E72D297353CC}">
              <c16:uniqueId val="{00000000-1048-4749-AC0A-CAE726ABB4F1}"/>
            </c:ext>
          </c:extLst>
        </c:ser>
        <c:dLbls>
          <c:showLegendKey val="0"/>
          <c:showVal val="0"/>
          <c:showCatName val="0"/>
          <c:showSerName val="0"/>
          <c:showPercent val="0"/>
          <c:showBubbleSize val="0"/>
          <c:showLeaderLines val="0"/>
        </c:dLbls>
        <c:firstSliceAng val="0"/>
      </c:pieChart>
      <c:spPr>
        <a:noFill/>
        <a:ln>
          <a:noFill/>
        </a:ln>
        <a:effectLst/>
      </c:spPr>
    </c:plotArea>
    <c:legend>
      <c:legendPos val="r"/>
      <c:layout>
        <c:manualLayout>
          <c:xMode val="edge"/>
          <c:yMode val="edge"/>
          <c:x val="0.46918040337562245"/>
          <c:y val="0.14913135483929479"/>
          <c:w val="0.42237321183422533"/>
          <c:h val="0.7359933199891840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curring products</c:v>
                </c:pt>
              </c:strCache>
            </c:strRef>
          </c:tx>
          <c:spPr>
            <a:solidFill>
              <a:schemeClr val="tx2"/>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General</c:formatCode>
                <c:ptCount val="4"/>
                <c:pt idx="0">
                  <c:v>36348936.239999995</c:v>
                </c:pt>
                <c:pt idx="1">
                  <c:v>36892408.400000021</c:v>
                </c:pt>
                <c:pt idx="2">
                  <c:v>37354527.080000035</c:v>
                </c:pt>
                <c:pt idx="3">
                  <c:v>39193519.799999915</c:v>
                </c:pt>
              </c:numCache>
            </c:numRef>
          </c:val>
          <c:extLst>
            <c:ext xmlns:c16="http://schemas.microsoft.com/office/drawing/2014/chart" uri="{C3380CC4-5D6E-409C-BE32-E72D297353CC}">
              <c16:uniqueId val="{00000000-41A9-415A-B974-C0D51F615C2E}"/>
            </c:ext>
          </c:extLst>
        </c:ser>
        <c:ser>
          <c:idx val="1"/>
          <c:order val="1"/>
          <c:tx>
            <c:strRef>
              <c:f>Sheet1!$C$1</c:f>
              <c:strCache>
                <c:ptCount val="1"/>
                <c:pt idx="0">
                  <c:v>One-shot products</c:v>
                </c:pt>
              </c:strCache>
            </c:strRef>
          </c:tx>
          <c:spPr>
            <a:solidFill>
              <a:schemeClr val="bg2">
                <a:lumMod val="60000"/>
                <a:lumOff val="40000"/>
              </a:schemeClr>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General</c:formatCode>
                <c:ptCount val="4"/>
                <c:pt idx="0">
                  <c:v>7341940.4799999995</c:v>
                </c:pt>
                <c:pt idx="1">
                  <c:v>5525838.6899999976</c:v>
                </c:pt>
                <c:pt idx="2">
                  <c:v>4891509.7399999984</c:v>
                </c:pt>
                <c:pt idx="3">
                  <c:v>4074024.6600000034</c:v>
                </c:pt>
              </c:numCache>
            </c:numRef>
          </c:val>
          <c:extLst>
            <c:ext xmlns:c16="http://schemas.microsoft.com/office/drawing/2014/chart" uri="{C3380CC4-5D6E-409C-BE32-E72D297353CC}">
              <c16:uniqueId val="{00000001-41A9-415A-B974-C0D51F615C2E}"/>
            </c:ext>
          </c:extLst>
        </c:ser>
        <c:ser>
          <c:idx val="2"/>
          <c:order val="2"/>
          <c:tx>
            <c:strRef>
              <c:f>Sheet1!$D$1</c:f>
              <c:strCache>
                <c:ptCount val="1"/>
                <c:pt idx="0">
                  <c:v>DB&amp;I</c:v>
                </c:pt>
              </c:strCache>
            </c:strRef>
          </c:tx>
          <c:spPr>
            <a:solidFill>
              <a:schemeClr val="accent2"/>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D$2:$D$5</c:f>
              <c:numCache>
                <c:formatCode>General</c:formatCode>
                <c:ptCount val="4"/>
                <c:pt idx="0">
                  <c:v>8900759.4399999995</c:v>
                </c:pt>
                <c:pt idx="1">
                  <c:v>9701120.1500000004</c:v>
                </c:pt>
                <c:pt idx="2">
                  <c:v>9886356.5700000003</c:v>
                </c:pt>
                <c:pt idx="3">
                  <c:v>12214107.580000002</c:v>
                </c:pt>
              </c:numCache>
            </c:numRef>
          </c:val>
          <c:extLst>
            <c:ext xmlns:c16="http://schemas.microsoft.com/office/drawing/2014/chart" uri="{C3380CC4-5D6E-409C-BE32-E72D297353CC}">
              <c16:uniqueId val="{00000004-41A9-415A-B974-C0D51F615C2E}"/>
            </c:ext>
          </c:extLst>
        </c:ser>
        <c:dLbls>
          <c:showLegendKey val="0"/>
          <c:showVal val="1"/>
          <c:showCatName val="0"/>
          <c:showSerName val="0"/>
          <c:showPercent val="0"/>
          <c:showBubbleSize val="0"/>
        </c:dLbls>
        <c:gapWidth val="150"/>
        <c:overlap val="100"/>
        <c:axId val="1647052399"/>
        <c:axId val="1382232255"/>
      </c:barChart>
      <c:lineChart>
        <c:grouping val="standard"/>
        <c:varyColors val="0"/>
        <c:ser>
          <c:idx val="3"/>
          <c:order val="3"/>
          <c:tx>
            <c:strRef>
              <c:f>Sheet1!$E$1</c:f>
              <c:strCache>
                <c:ptCount val="1"/>
                <c:pt idx="0">
                  <c:v>TOTAl</c:v>
                </c:pt>
              </c:strCache>
            </c:strRef>
          </c:tx>
          <c:spPr>
            <a:ln w="25400" cap="rnd">
              <a:noFill/>
              <a:round/>
            </a:ln>
            <a:effectLst/>
          </c:spPr>
          <c:marker>
            <c:symbol val="none"/>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E$2:$E$5</c:f>
              <c:numCache>
                <c:formatCode>General</c:formatCode>
                <c:ptCount val="4"/>
                <c:pt idx="0">
                  <c:v>52591636.159999989</c:v>
                </c:pt>
                <c:pt idx="1">
                  <c:v>52119367.240000017</c:v>
                </c:pt>
                <c:pt idx="2">
                  <c:v>52132393.390000038</c:v>
                </c:pt>
                <c:pt idx="3">
                  <c:v>55481652.039999917</c:v>
                </c:pt>
              </c:numCache>
            </c:numRef>
          </c:val>
          <c:smooth val="0"/>
          <c:extLst>
            <c:ext xmlns:c16="http://schemas.microsoft.com/office/drawing/2014/chart" uri="{C3380CC4-5D6E-409C-BE32-E72D297353CC}">
              <c16:uniqueId val="{00000001-F6B2-4EEF-AD2B-D844988E4F95}"/>
            </c:ext>
          </c:extLst>
        </c:ser>
        <c:dLbls>
          <c:showLegendKey val="0"/>
          <c:showVal val="1"/>
          <c:showCatName val="0"/>
          <c:showSerName val="0"/>
          <c:showPercent val="0"/>
          <c:showBubbleSize val="0"/>
        </c:dLbls>
        <c:marker val="1"/>
        <c:smooth val="0"/>
        <c:axId val="1263110511"/>
        <c:axId val="806023472"/>
      </c:lineChart>
      <c:catAx>
        <c:axId val="1647052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382232255"/>
        <c:crosses val="autoZero"/>
        <c:auto val="1"/>
        <c:lblAlgn val="ctr"/>
        <c:lblOffset val="100"/>
        <c:noMultiLvlLbl val="0"/>
      </c:catAx>
      <c:valAx>
        <c:axId val="138223225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647052399"/>
        <c:crosses val="autoZero"/>
        <c:crossBetween val="between"/>
        <c:dispUnits>
          <c:builtInUnit val="millions"/>
        </c:dispUnits>
      </c:valAx>
      <c:valAx>
        <c:axId val="806023472"/>
        <c:scaling>
          <c:orientation val="minMax"/>
          <c:min val="0"/>
        </c:scaling>
        <c:delete val="1"/>
        <c:axPos val="r"/>
        <c:numFmt formatCode="#,##0.00" sourceLinked="0"/>
        <c:majorTickMark val="out"/>
        <c:minorTickMark val="none"/>
        <c:tickLblPos val="nextTo"/>
        <c:crossAx val="1263110511"/>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1263110511"/>
        <c:scaling>
          <c:orientation val="minMax"/>
        </c:scaling>
        <c:delete val="1"/>
        <c:axPos val="b"/>
        <c:numFmt formatCode="General" sourceLinked="1"/>
        <c:majorTickMark val="out"/>
        <c:minorTickMark val="none"/>
        <c:tickLblPos val="nextTo"/>
        <c:crossAx val="806023472"/>
        <c:crosses val="autoZero"/>
        <c:auto val="1"/>
        <c:lblAlgn val="ctr"/>
        <c:lblOffset val="100"/>
        <c:noMultiLvlLbl val="0"/>
      </c:catAx>
      <c:spPr>
        <a:noFill/>
        <a:ln>
          <a:noFill/>
        </a:ln>
        <a:effectLst/>
      </c:spPr>
    </c:plotArea>
    <c:legend>
      <c:legendPos val="b"/>
      <c:legendEntry>
        <c:idx val="3"/>
        <c:delete val="1"/>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85548413944083"/>
          <c:y val="7.2857919944977437E-2"/>
          <c:w val="0.81503955025437902"/>
          <c:h val="0.81392522223479324"/>
        </c:manualLayout>
      </c:layout>
      <c:barChart>
        <c:barDir val="col"/>
        <c:grouping val="stacked"/>
        <c:varyColors val="0"/>
        <c:ser>
          <c:idx val="0"/>
          <c:order val="0"/>
          <c:tx>
            <c:strRef>
              <c:f>Sheet1!$B$1</c:f>
              <c:strCache>
                <c:ptCount val="1"/>
                <c:pt idx="0">
                  <c:v>&lt;2017</c:v>
                </c:pt>
              </c:strCache>
            </c:strRef>
          </c:tx>
          <c:spPr>
            <a:solidFill>
              <a:schemeClr val="bg2">
                <a:lumMod val="50000"/>
              </a:schemeClr>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General</c:formatCode>
                <c:ptCount val="4"/>
                <c:pt idx="0">
                  <c:v>36348936.240000017</c:v>
                </c:pt>
                <c:pt idx="1">
                  <c:v>36264966.290000111</c:v>
                </c:pt>
                <c:pt idx="2">
                  <c:v>35918036.899999976</c:v>
                </c:pt>
                <c:pt idx="3">
                  <c:v>35991914.850000001</c:v>
                </c:pt>
              </c:numCache>
            </c:numRef>
          </c:val>
          <c:extLst>
            <c:ext xmlns:c16="http://schemas.microsoft.com/office/drawing/2014/chart" uri="{C3380CC4-5D6E-409C-BE32-E72D297353CC}">
              <c16:uniqueId val="{00000000-4E08-4202-8C9C-0210B1390735}"/>
            </c:ext>
          </c:extLst>
        </c:ser>
        <c:ser>
          <c:idx val="1"/>
          <c:order val="1"/>
          <c:tx>
            <c:strRef>
              <c:f>Sheet1!$C$1</c:f>
              <c:strCache>
                <c:ptCount val="1"/>
                <c:pt idx="0">
                  <c:v>2017</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5-5151-4850-A57A-A11AAF642B69}"/>
                </c:ext>
              </c:extLst>
            </c:dLbl>
            <c:dLbl>
              <c:idx val="1"/>
              <c:layout>
                <c:manualLayout>
                  <c:x val="-0.10531489681854031"/>
                  <c:y val="6.9001929752903424E-2"/>
                </c:manualLayout>
              </c:layout>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EA-44D2-B193-1649118E151C}"/>
                </c:ext>
              </c:extLst>
            </c:dLbl>
            <c:dLbl>
              <c:idx val="2"/>
              <c:layout>
                <c:manualLayout>
                  <c:x val="-0.10212353630888757"/>
                  <c:y val="5.6825118620038112E-2"/>
                </c:manualLayout>
              </c:layout>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7C-4922-94F8-0E7DCF941105}"/>
                </c:ext>
              </c:extLst>
            </c:dLbl>
            <c:dLbl>
              <c:idx val="3"/>
              <c:layout>
                <c:manualLayout>
                  <c:x val="0"/>
                  <c:y val="5.27661815757496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87C-4922-94F8-0E7DCF94110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General</c:formatCode>
                <c:ptCount val="4"/>
                <c:pt idx="0">
                  <c:v>0</c:v>
                </c:pt>
                <c:pt idx="1">
                  <c:v>627442.1100000001</c:v>
                </c:pt>
                <c:pt idx="2">
                  <c:v>674456</c:v>
                </c:pt>
                <c:pt idx="3">
                  <c:v>587421.58999999973</c:v>
                </c:pt>
              </c:numCache>
            </c:numRef>
          </c:val>
          <c:extLst>
            <c:ext xmlns:c16="http://schemas.microsoft.com/office/drawing/2014/chart" uri="{C3380CC4-5D6E-409C-BE32-E72D297353CC}">
              <c16:uniqueId val="{00000001-4E08-4202-8C9C-0210B1390735}"/>
            </c:ext>
          </c:extLst>
        </c:ser>
        <c:ser>
          <c:idx val="2"/>
          <c:order val="2"/>
          <c:tx>
            <c:strRef>
              <c:f>Sheet1!$D$1</c:f>
              <c:strCache>
                <c:ptCount val="1"/>
                <c:pt idx="0">
                  <c:v>2018</c:v>
                </c:pt>
              </c:strCache>
            </c:strRef>
          </c:tx>
          <c:spPr>
            <a:solidFill>
              <a:schemeClr val="bg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4-5151-4850-A57A-A11AAF642B69}"/>
                </c:ext>
              </c:extLst>
            </c:dLbl>
            <c:dLbl>
              <c:idx val="1"/>
              <c:delete val="1"/>
              <c:extLst>
                <c:ext xmlns:c15="http://schemas.microsoft.com/office/drawing/2012/chart" uri="{CE6537A1-D6FC-4f65-9D91-7224C49458BB}"/>
                <c:ext xmlns:c16="http://schemas.microsoft.com/office/drawing/2014/chart" uri="{C3380CC4-5D6E-409C-BE32-E72D297353CC}">
                  <c16:uniqueId val="{00000003-5151-4850-A57A-A11AAF642B69}"/>
                </c:ext>
              </c:extLst>
            </c:dLbl>
            <c:dLbl>
              <c:idx val="2"/>
              <c:layout>
                <c:manualLayout>
                  <c:x val="9.5740815289582046E-2"/>
                  <c:y val="8.523767793005712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87C-4922-94F8-0E7DCF941105}"/>
                </c:ext>
              </c:extLst>
            </c:dLbl>
            <c:dLbl>
              <c:idx val="3"/>
              <c:layout>
                <c:manualLayout>
                  <c:x val="9.3502842321159421E-2"/>
                  <c:y val="-6.4942832907943948E-2"/>
                </c:manualLayout>
              </c:layout>
              <c:numFmt formatCode="#,##0.00" sourceLinked="0"/>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layout>
                    <c:manualLayout>
                      <c:w val="8.6964573888037022E-2"/>
                      <c:h val="6.3360007261342485E-2"/>
                    </c:manualLayout>
                  </c15:layout>
                </c:ext>
                <c:ext xmlns:c16="http://schemas.microsoft.com/office/drawing/2014/chart" uri="{C3380CC4-5D6E-409C-BE32-E72D297353CC}">
                  <c16:uniqueId val="{00000000-75CA-4896-9C0F-38EAC19BFE1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D$2:$D$5</c:f>
              <c:numCache>
                <c:formatCode>General</c:formatCode>
                <c:ptCount val="4"/>
                <c:pt idx="0">
                  <c:v>0</c:v>
                </c:pt>
                <c:pt idx="1">
                  <c:v>0</c:v>
                </c:pt>
                <c:pt idx="2">
                  <c:v>762034.17999999993</c:v>
                </c:pt>
                <c:pt idx="3">
                  <c:v>851609.98999999964</c:v>
                </c:pt>
              </c:numCache>
            </c:numRef>
          </c:val>
          <c:extLst>
            <c:ext xmlns:c16="http://schemas.microsoft.com/office/drawing/2014/chart" uri="{C3380CC4-5D6E-409C-BE32-E72D297353CC}">
              <c16:uniqueId val="{00000002-4E08-4202-8C9C-0210B1390735}"/>
            </c:ext>
          </c:extLst>
        </c:ser>
        <c:ser>
          <c:idx val="3"/>
          <c:order val="3"/>
          <c:tx>
            <c:strRef>
              <c:f>Sheet1!$E$1</c:f>
              <c:strCache>
                <c:ptCount val="1"/>
                <c:pt idx="0">
                  <c:v>2019</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2-5151-4850-A57A-A11AAF642B69}"/>
                </c:ext>
              </c:extLst>
            </c:dLbl>
            <c:dLbl>
              <c:idx val="1"/>
              <c:delete val="1"/>
              <c:extLst>
                <c:ext xmlns:c15="http://schemas.microsoft.com/office/drawing/2012/chart" uri="{CE6537A1-D6FC-4f65-9D91-7224C49458BB}"/>
                <c:ext xmlns:c16="http://schemas.microsoft.com/office/drawing/2014/chart" uri="{C3380CC4-5D6E-409C-BE32-E72D297353CC}">
                  <c16:uniqueId val="{00000001-5151-4850-A57A-A11AAF642B69}"/>
                </c:ext>
              </c:extLst>
            </c:dLbl>
            <c:dLbl>
              <c:idx val="2"/>
              <c:delete val="1"/>
              <c:extLst>
                <c:ext xmlns:c15="http://schemas.microsoft.com/office/drawing/2012/chart" uri="{CE6537A1-D6FC-4f65-9D91-7224C49458BB}"/>
                <c:ext xmlns:c16="http://schemas.microsoft.com/office/drawing/2014/chart" uri="{C3380CC4-5D6E-409C-BE32-E72D297353CC}">
                  <c16:uniqueId val="{00000000-5151-4850-A57A-A11AAF642B6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E$2:$E$5</c:f>
              <c:numCache>
                <c:formatCode>General</c:formatCode>
                <c:ptCount val="4"/>
                <c:pt idx="0">
                  <c:v>0</c:v>
                </c:pt>
                <c:pt idx="1">
                  <c:v>0</c:v>
                </c:pt>
                <c:pt idx="2">
                  <c:v>0</c:v>
                </c:pt>
                <c:pt idx="3">
                  <c:v>1762573.37</c:v>
                </c:pt>
              </c:numCache>
            </c:numRef>
          </c:val>
          <c:extLst>
            <c:ext xmlns:c16="http://schemas.microsoft.com/office/drawing/2014/chart" uri="{C3380CC4-5D6E-409C-BE32-E72D297353CC}">
              <c16:uniqueId val="{00000003-4E08-4202-8C9C-0210B1390735}"/>
            </c:ext>
          </c:extLst>
        </c:ser>
        <c:dLbls>
          <c:showLegendKey val="0"/>
          <c:showVal val="1"/>
          <c:showCatName val="0"/>
          <c:showSerName val="0"/>
          <c:showPercent val="0"/>
          <c:showBubbleSize val="0"/>
        </c:dLbls>
        <c:gapWidth val="50"/>
        <c:overlap val="100"/>
        <c:axId val="628186671"/>
        <c:axId val="309735119"/>
      </c:barChart>
      <c:lineChart>
        <c:grouping val="standard"/>
        <c:varyColors val="0"/>
        <c:ser>
          <c:idx val="4"/>
          <c:order val="4"/>
          <c:tx>
            <c:strRef>
              <c:f>Sheet1!$F$1</c:f>
              <c:strCache>
                <c:ptCount val="1"/>
                <c:pt idx="0">
                  <c:v>Total</c:v>
                </c:pt>
              </c:strCache>
            </c:strRef>
          </c:tx>
          <c:spPr>
            <a:ln w="19050" cap="rnd">
              <a:solidFill>
                <a:schemeClr val="accent1">
                  <a:lumMod val="75000"/>
                </a:schemeClr>
              </a:solidFill>
              <a:round/>
            </a:ln>
            <a:effectLst/>
          </c:spPr>
          <c:marker>
            <c:symbol val="none"/>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lumMod val="7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F$2:$F$5</c:f>
              <c:numCache>
                <c:formatCode>General</c:formatCode>
                <c:ptCount val="4"/>
                <c:pt idx="0">
                  <c:v>36348936.240000017</c:v>
                </c:pt>
                <c:pt idx="1">
                  <c:v>36892408.40000011</c:v>
                </c:pt>
                <c:pt idx="2">
                  <c:v>37354527.079999976</c:v>
                </c:pt>
                <c:pt idx="3">
                  <c:v>39193519.799999997</c:v>
                </c:pt>
              </c:numCache>
            </c:numRef>
          </c:val>
          <c:smooth val="0"/>
          <c:extLst>
            <c:ext xmlns:c16="http://schemas.microsoft.com/office/drawing/2014/chart" uri="{C3380CC4-5D6E-409C-BE32-E72D297353CC}">
              <c16:uniqueId val="{00000004-4E08-4202-8C9C-0210B1390735}"/>
            </c:ext>
          </c:extLst>
        </c:ser>
        <c:dLbls>
          <c:showLegendKey val="0"/>
          <c:showVal val="1"/>
          <c:showCatName val="0"/>
          <c:showSerName val="0"/>
          <c:showPercent val="0"/>
          <c:showBubbleSize val="0"/>
        </c:dLbls>
        <c:marker val="1"/>
        <c:smooth val="0"/>
        <c:axId val="275408176"/>
        <c:axId val="30972055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ax val="42000000"/>
          <c:min val="0"/>
        </c:scaling>
        <c:delete val="0"/>
        <c:axPos val="l"/>
        <c:majorGridlines>
          <c:spPr>
            <a:ln w="9525" cap="flat" cmpd="sng" algn="ctr">
              <a:solidFill>
                <a:schemeClr val="tx1">
                  <a:lumMod val="15000"/>
                  <a:lumOff val="85000"/>
                </a:schemeClr>
              </a:solidFill>
              <a:round/>
            </a:ln>
            <a:effectLst/>
          </c:spPr>
        </c:majorGridlines>
        <c:numFmt formatCode="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dispUnits>
          <c:builtInUnit val="millions"/>
        </c:dispUnits>
      </c:valAx>
      <c:valAx>
        <c:axId val="309720559"/>
        <c:scaling>
          <c:orientation val="minMax"/>
          <c:min val="0"/>
        </c:scaling>
        <c:delete val="1"/>
        <c:axPos val="r"/>
        <c:numFmt formatCode="0&quot;m€&quot;" sourceLinked="0"/>
        <c:majorTickMark val="out"/>
        <c:minorTickMark val="none"/>
        <c:tickLblPos val="nextTo"/>
        <c:crossAx val="275408176"/>
        <c:crosses val="max"/>
        <c:crossBetween val="between"/>
        <c:dispUnits>
          <c:builtInUnit val="millions"/>
        </c:dispUnits>
      </c:valAx>
      <c:catAx>
        <c:axId val="275408176"/>
        <c:scaling>
          <c:orientation val="minMax"/>
        </c:scaling>
        <c:delete val="1"/>
        <c:axPos val="b"/>
        <c:numFmt formatCode="General" sourceLinked="1"/>
        <c:majorTickMark val="out"/>
        <c:minorTickMark val="none"/>
        <c:tickLblPos val="nextTo"/>
        <c:crossAx val="309720559"/>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userShapes r:id="rId4"/>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lt;2017</c:v>
                </c:pt>
              </c:strCache>
            </c:strRef>
          </c:tx>
          <c:spPr>
            <a:solidFill>
              <a:schemeClr val="bg2">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General</c:formatCode>
                <c:ptCount val="4"/>
                <c:pt idx="0">
                  <c:v>1871</c:v>
                </c:pt>
                <c:pt idx="1">
                  <c:v>1621</c:v>
                </c:pt>
                <c:pt idx="2">
                  <c:v>1393</c:v>
                </c:pt>
                <c:pt idx="3">
                  <c:v>1201</c:v>
                </c:pt>
              </c:numCache>
            </c:numRef>
          </c:val>
          <c:extLst>
            <c:ext xmlns:c16="http://schemas.microsoft.com/office/drawing/2014/chart" uri="{C3380CC4-5D6E-409C-BE32-E72D297353CC}">
              <c16:uniqueId val="{00000000-2300-404B-A6C2-BC844E01A185}"/>
            </c:ext>
          </c:extLst>
        </c:ser>
        <c:ser>
          <c:idx val="1"/>
          <c:order val="1"/>
          <c:tx>
            <c:strRef>
              <c:f>Sheet1!$C$1</c:f>
              <c:strCache>
                <c:ptCount val="1"/>
                <c:pt idx="0">
                  <c:v>2017</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2-A6F8-476F-8B69-B159FB75078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General</c:formatCode>
                <c:ptCount val="4"/>
                <c:pt idx="0">
                  <c:v>0</c:v>
                </c:pt>
                <c:pt idx="1">
                  <c:v>98</c:v>
                </c:pt>
                <c:pt idx="2">
                  <c:v>82</c:v>
                </c:pt>
                <c:pt idx="3">
                  <c:v>68</c:v>
                </c:pt>
              </c:numCache>
            </c:numRef>
          </c:val>
          <c:extLst>
            <c:ext xmlns:c16="http://schemas.microsoft.com/office/drawing/2014/chart" uri="{C3380CC4-5D6E-409C-BE32-E72D297353CC}">
              <c16:uniqueId val="{00000001-2300-404B-A6C2-BC844E01A185}"/>
            </c:ext>
          </c:extLst>
        </c:ser>
        <c:ser>
          <c:idx val="2"/>
          <c:order val="2"/>
          <c:tx>
            <c:strRef>
              <c:f>Sheet1!$D$1</c:f>
              <c:strCache>
                <c:ptCount val="1"/>
                <c:pt idx="0">
                  <c:v>2018</c:v>
                </c:pt>
              </c:strCache>
            </c:strRef>
          </c:tx>
          <c:spPr>
            <a:solidFill>
              <a:schemeClr val="bg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A6F8-476F-8B69-B159FB75078B}"/>
                </c:ext>
              </c:extLst>
            </c:dLbl>
            <c:dLbl>
              <c:idx val="1"/>
              <c:delete val="1"/>
              <c:extLst>
                <c:ext xmlns:c15="http://schemas.microsoft.com/office/drawing/2012/chart" uri="{CE6537A1-D6FC-4f65-9D91-7224C49458BB}"/>
                <c:ext xmlns:c16="http://schemas.microsoft.com/office/drawing/2014/chart" uri="{C3380CC4-5D6E-409C-BE32-E72D297353CC}">
                  <c16:uniqueId val="{00000004-A6F8-476F-8B69-B159FB75078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D$2:$D$5</c:f>
              <c:numCache>
                <c:formatCode>General</c:formatCode>
                <c:ptCount val="4"/>
                <c:pt idx="0">
                  <c:v>0</c:v>
                </c:pt>
                <c:pt idx="1">
                  <c:v>0</c:v>
                </c:pt>
                <c:pt idx="2">
                  <c:v>136</c:v>
                </c:pt>
                <c:pt idx="3">
                  <c:v>120</c:v>
                </c:pt>
              </c:numCache>
            </c:numRef>
          </c:val>
          <c:extLst>
            <c:ext xmlns:c16="http://schemas.microsoft.com/office/drawing/2014/chart" uri="{C3380CC4-5D6E-409C-BE32-E72D297353CC}">
              <c16:uniqueId val="{00000002-2300-404B-A6C2-BC844E01A185}"/>
            </c:ext>
          </c:extLst>
        </c:ser>
        <c:ser>
          <c:idx val="3"/>
          <c:order val="3"/>
          <c:tx>
            <c:strRef>
              <c:f>Sheet1!$E$1</c:f>
              <c:strCache>
                <c:ptCount val="1"/>
                <c:pt idx="0">
                  <c:v>2019</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A6F8-476F-8B69-B159FB75078B}"/>
                </c:ext>
              </c:extLst>
            </c:dLbl>
            <c:dLbl>
              <c:idx val="1"/>
              <c:delete val="1"/>
              <c:extLst>
                <c:ext xmlns:c15="http://schemas.microsoft.com/office/drawing/2012/chart" uri="{CE6537A1-D6FC-4f65-9D91-7224C49458BB}"/>
                <c:ext xmlns:c16="http://schemas.microsoft.com/office/drawing/2014/chart" uri="{C3380CC4-5D6E-409C-BE32-E72D297353CC}">
                  <c16:uniqueId val="{00000003-A6F8-476F-8B69-B159FB75078B}"/>
                </c:ext>
              </c:extLst>
            </c:dLbl>
            <c:dLbl>
              <c:idx val="2"/>
              <c:delete val="1"/>
              <c:extLst>
                <c:ext xmlns:c15="http://schemas.microsoft.com/office/drawing/2012/chart" uri="{CE6537A1-D6FC-4f65-9D91-7224C49458BB}"/>
                <c:ext xmlns:c16="http://schemas.microsoft.com/office/drawing/2014/chart" uri="{C3380CC4-5D6E-409C-BE32-E72D297353CC}">
                  <c16:uniqueId val="{00000005-A6F8-476F-8B69-B159FB75078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E$2:$E$5</c:f>
              <c:numCache>
                <c:formatCode>General</c:formatCode>
                <c:ptCount val="4"/>
                <c:pt idx="0">
                  <c:v>0</c:v>
                </c:pt>
                <c:pt idx="1">
                  <c:v>0</c:v>
                </c:pt>
                <c:pt idx="2">
                  <c:v>0</c:v>
                </c:pt>
                <c:pt idx="3">
                  <c:v>187</c:v>
                </c:pt>
              </c:numCache>
            </c:numRef>
          </c:val>
          <c:extLst>
            <c:ext xmlns:c16="http://schemas.microsoft.com/office/drawing/2014/chart" uri="{C3380CC4-5D6E-409C-BE32-E72D297353CC}">
              <c16:uniqueId val="{00000003-2300-404B-A6C2-BC844E01A185}"/>
            </c:ext>
          </c:extLst>
        </c:ser>
        <c:dLbls>
          <c:showLegendKey val="0"/>
          <c:showVal val="1"/>
          <c:showCatName val="0"/>
          <c:showSerName val="0"/>
          <c:showPercent val="0"/>
          <c:showBubbleSize val="0"/>
        </c:dLbls>
        <c:gapWidth val="50"/>
        <c:overlap val="100"/>
        <c:axId val="628186671"/>
        <c:axId val="309735119"/>
      </c:barChart>
      <c:lineChart>
        <c:grouping val="standard"/>
        <c:varyColors val="0"/>
        <c:ser>
          <c:idx val="4"/>
          <c:order val="4"/>
          <c:tx>
            <c:strRef>
              <c:f>Sheet1!$F$1</c:f>
              <c:strCache>
                <c:ptCount val="1"/>
                <c:pt idx="0">
                  <c:v>Total</c:v>
                </c:pt>
              </c:strCache>
            </c:strRef>
          </c:tx>
          <c:spPr>
            <a:ln w="19050" cap="rnd">
              <a:solidFill>
                <a:schemeClr val="accent1">
                  <a:lumMod val="75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lumMod val="7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F$2:$F$5</c:f>
              <c:numCache>
                <c:formatCode>General</c:formatCode>
                <c:ptCount val="4"/>
                <c:pt idx="0">
                  <c:v>1871</c:v>
                </c:pt>
                <c:pt idx="1">
                  <c:v>1719</c:v>
                </c:pt>
                <c:pt idx="2">
                  <c:v>1611</c:v>
                </c:pt>
                <c:pt idx="3">
                  <c:v>1576</c:v>
                </c:pt>
              </c:numCache>
            </c:numRef>
          </c:val>
          <c:smooth val="0"/>
          <c:extLst>
            <c:ext xmlns:c16="http://schemas.microsoft.com/office/drawing/2014/chart" uri="{C3380CC4-5D6E-409C-BE32-E72D297353CC}">
              <c16:uniqueId val="{00000004-2300-404B-A6C2-BC844E01A185}"/>
            </c:ext>
          </c:extLst>
        </c:ser>
        <c:dLbls>
          <c:showLegendKey val="0"/>
          <c:showVal val="1"/>
          <c:showCatName val="0"/>
          <c:showSerName val="0"/>
          <c:showPercent val="0"/>
          <c:showBubbleSize val="0"/>
        </c:dLbls>
        <c:marker val="1"/>
        <c:smooth val="0"/>
        <c:axId val="275408176"/>
        <c:axId val="30972055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valAx>
      <c:valAx>
        <c:axId val="309720559"/>
        <c:scaling>
          <c:orientation val="minMax"/>
          <c:min val="0"/>
        </c:scaling>
        <c:delete val="1"/>
        <c:axPos val="r"/>
        <c:numFmt formatCode="#,##0" sourceLinked="0"/>
        <c:majorTickMark val="out"/>
        <c:minorTickMark val="none"/>
        <c:tickLblPos val="nextTo"/>
        <c:crossAx val="275408176"/>
        <c:crosses val="max"/>
        <c:crossBetween val="between"/>
      </c:valAx>
      <c:catAx>
        <c:axId val="275408176"/>
        <c:scaling>
          <c:orientation val="minMax"/>
        </c:scaling>
        <c:delete val="1"/>
        <c:axPos val="b"/>
        <c:numFmt formatCode="General" sourceLinked="1"/>
        <c:majorTickMark val="out"/>
        <c:minorTickMark val="none"/>
        <c:tickLblPos val="nextTo"/>
        <c:crossAx val="309720559"/>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313526452901197E-2"/>
          <c:y val="0.23262709487453362"/>
          <c:w val="0.90537294709419758"/>
          <c:h val="0.59021283318507944"/>
        </c:manualLayout>
      </c:layout>
      <c:barChart>
        <c:barDir val="col"/>
        <c:grouping val="clustered"/>
        <c:varyColors val="0"/>
        <c:ser>
          <c:idx val="0"/>
          <c:order val="0"/>
          <c:tx>
            <c:strRef>
              <c:f>Feuil1!$B$1</c:f>
              <c:strCache>
                <c:ptCount val="1"/>
                <c:pt idx="0">
                  <c:v>Série 1</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9</c:v>
                </c:pt>
                <c:pt idx="1">
                  <c:v>2020</c:v>
                </c:pt>
                <c:pt idx="2">
                  <c:v>2021</c:v>
                </c:pt>
              </c:numCache>
            </c:numRef>
          </c:cat>
          <c:val>
            <c:numRef>
              <c:f>Feuil1!$B$2:$B$4</c:f>
              <c:numCache>
                <c:formatCode>0</c:formatCode>
                <c:ptCount val="3"/>
                <c:pt idx="0" formatCode="General">
                  <c:v>100</c:v>
                </c:pt>
                <c:pt idx="1">
                  <c:v>90.047945205479451</c:v>
                </c:pt>
                <c:pt idx="2">
                  <c:v>95.858150684931516</c:v>
                </c:pt>
              </c:numCache>
            </c:numRef>
          </c:val>
          <c:extLst>
            <c:ext xmlns:c16="http://schemas.microsoft.com/office/drawing/2014/chart" uri="{C3380CC4-5D6E-409C-BE32-E72D297353CC}">
              <c16:uniqueId val="{00000000-517E-4B76-81F0-C46122FD9A14}"/>
            </c:ext>
          </c:extLst>
        </c:ser>
        <c:dLbls>
          <c:showLegendKey val="0"/>
          <c:showVal val="0"/>
          <c:showCatName val="0"/>
          <c:showSerName val="0"/>
          <c:showPercent val="0"/>
          <c:showBubbleSize val="0"/>
        </c:dLbls>
        <c:gapWidth val="209"/>
        <c:overlap val="-27"/>
        <c:axId val="331217247"/>
        <c:axId val="852491423"/>
      </c:barChart>
      <c:catAx>
        <c:axId val="3312172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852491423"/>
        <c:crosses val="autoZero"/>
        <c:auto val="1"/>
        <c:lblAlgn val="ctr"/>
        <c:lblOffset val="100"/>
        <c:noMultiLvlLbl val="0"/>
      </c:catAx>
      <c:valAx>
        <c:axId val="852491423"/>
        <c:scaling>
          <c:orientation val="minMax"/>
          <c:max val="135"/>
          <c:min val="50"/>
        </c:scaling>
        <c:delete val="1"/>
        <c:axPos val="l"/>
        <c:numFmt formatCode="General" sourceLinked="1"/>
        <c:majorTickMark val="out"/>
        <c:minorTickMark val="none"/>
        <c:tickLblPos val="nextTo"/>
        <c:crossAx val="3312172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14367289101219349"/>
          <c:y val="5.069551921407274E-2"/>
          <c:w val="0.82378968104702976"/>
          <c:h val="0.85225151622996886"/>
        </c:manualLayout>
      </c:layout>
      <c:lineChart>
        <c:grouping val="standard"/>
        <c:varyColors val="0"/>
        <c:ser>
          <c:idx val="0"/>
          <c:order val="0"/>
          <c:tx>
            <c:strRef>
              <c:f>Sheet1!$B$1</c:f>
              <c:strCache>
                <c:ptCount val="1"/>
                <c:pt idx="0">
                  <c:v>Series 1</c:v>
                </c:pt>
              </c:strCache>
            </c:strRef>
          </c:tx>
          <c:spPr>
            <a:ln w="28575" cap="rnd">
              <a:solidFill>
                <a:schemeClr val="tx2"/>
              </a:solidFill>
              <a:round/>
            </a:ln>
            <a:effectLst/>
          </c:spPr>
          <c:marker>
            <c:symbol val="circle"/>
            <c:size val="5"/>
            <c:spPr>
              <a:solidFill>
                <a:schemeClr val="tx2"/>
              </a:solidFill>
              <a:ln w="9525">
                <a:solidFill>
                  <a:schemeClr val="tx2"/>
                </a:solidFill>
              </a:ln>
              <a:effectLst/>
            </c:spPr>
          </c:marker>
          <c:dLbls>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General</c:formatCode>
                <c:ptCount val="4"/>
                <c:pt idx="0">
                  <c:v>19293.490573248415</c:v>
                </c:pt>
                <c:pt idx="1">
                  <c:v>21288.175649163364</c:v>
                </c:pt>
                <c:pt idx="2">
                  <c:v>22888.803357843124</c:v>
                </c:pt>
                <c:pt idx="3">
                  <c:v>24572.739686520374</c:v>
                </c:pt>
              </c:numCache>
            </c:numRef>
          </c:val>
          <c:smooth val="0"/>
          <c:extLst>
            <c:ext xmlns:c16="http://schemas.microsoft.com/office/drawing/2014/chart" uri="{C3380CC4-5D6E-409C-BE32-E72D297353CC}">
              <c16:uniqueId val="{00000000-1726-4EAF-878D-C2D10EDE05F5}"/>
            </c:ext>
          </c:extLst>
        </c:ser>
        <c:dLbls>
          <c:showLegendKey val="0"/>
          <c:showVal val="0"/>
          <c:showCatName val="0"/>
          <c:showSerName val="0"/>
          <c:showPercent val="0"/>
          <c:showBubbleSize val="0"/>
        </c:dLbls>
        <c:marker val="1"/>
        <c:smooth val="0"/>
        <c:axId val="651700111"/>
        <c:axId val="87064768"/>
      </c:lineChart>
      <c:catAx>
        <c:axId val="6517001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87064768"/>
        <c:crosses val="autoZero"/>
        <c:auto val="1"/>
        <c:lblAlgn val="ctr"/>
        <c:lblOffset val="100"/>
        <c:noMultiLvlLbl val="0"/>
      </c:catAx>
      <c:valAx>
        <c:axId val="87064768"/>
        <c:scaling>
          <c:orientation val="minMax"/>
          <c:max val="3500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517001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46675301233274"/>
          <c:y val="3.1815870190032042E-2"/>
          <c:w val="0.85534709118830698"/>
          <c:h val="0.76676151425470573"/>
        </c:manualLayout>
      </c:layout>
      <c:lineChart>
        <c:grouping val="standard"/>
        <c:varyColors val="0"/>
        <c:ser>
          <c:idx val="0"/>
          <c:order val="0"/>
          <c:tx>
            <c:strRef>
              <c:f>Sheet1!$B$1</c:f>
              <c:strCache>
                <c:ptCount val="1"/>
                <c:pt idx="0">
                  <c:v>&lt; 2017</c:v>
                </c:pt>
              </c:strCache>
            </c:strRef>
          </c:tx>
          <c:spPr>
            <a:ln w="28575" cap="rnd">
              <a:solidFill>
                <a:srgbClr val="367847"/>
              </a:solidFill>
              <a:round/>
            </a:ln>
            <a:effectLst/>
          </c:spPr>
          <c:marker>
            <c:symbol val="circle"/>
            <c:size val="5"/>
            <c:spPr>
              <a:solidFill>
                <a:srgbClr val="367847"/>
              </a:solidFill>
              <a:ln w="9525">
                <a:solidFill>
                  <a:srgbClr val="367847"/>
                </a:solidFill>
              </a:ln>
              <a:effectLst/>
            </c:spPr>
          </c:marker>
          <c:dLbls>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General</c:formatCode>
                <c:ptCount val="4"/>
                <c:pt idx="0">
                  <c:v>19293.490573248415</c:v>
                </c:pt>
                <c:pt idx="1">
                  <c:v>22207.572743417091</c:v>
                </c:pt>
                <c:pt idx="2">
                  <c:v>25437.703186968822</c:v>
                </c:pt>
                <c:pt idx="3">
                  <c:v>29525.771000820347</c:v>
                </c:pt>
              </c:numCache>
            </c:numRef>
          </c:val>
          <c:smooth val="0"/>
          <c:extLst>
            <c:ext xmlns:c16="http://schemas.microsoft.com/office/drawing/2014/chart" uri="{C3380CC4-5D6E-409C-BE32-E72D297353CC}">
              <c16:uniqueId val="{00000000-4FCE-40BC-BDCE-F259775DCA39}"/>
            </c:ext>
          </c:extLst>
        </c:ser>
        <c:ser>
          <c:idx val="1"/>
          <c:order val="1"/>
          <c:tx>
            <c:strRef>
              <c:f>Sheet1!$C$1</c:f>
              <c:strCache>
                <c:ptCount val="1"/>
                <c:pt idx="0">
                  <c:v>2017</c:v>
                </c:pt>
              </c:strCache>
            </c:strRef>
          </c:tx>
          <c:spPr>
            <a:ln w="28575" cap="rnd">
              <a:solidFill>
                <a:srgbClr val="289B38"/>
              </a:solidFill>
              <a:round/>
            </a:ln>
            <a:effectLst/>
          </c:spPr>
          <c:marker>
            <c:symbol val="circle"/>
            <c:size val="5"/>
            <c:spPr>
              <a:solidFill>
                <a:srgbClr val="289B38"/>
              </a:solidFill>
              <a:ln w="9525">
                <a:solidFill>
                  <a:srgbClr val="289B38"/>
                </a:solidFill>
              </a:ln>
              <a:effectLst/>
            </c:spPr>
          </c:marker>
          <c:dLbls>
            <c:dLbl>
              <c:idx val="3"/>
              <c:layout>
                <c:manualLayout>
                  <c:x val="-0.1546518190605175"/>
                  <c:y val="-3.426588040909581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325-4E2B-A0FB-AC7E97864916}"/>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General</c:formatCode>
                <c:ptCount val="4"/>
                <c:pt idx="1">
                  <c:v>6274.4211000000014</c:v>
                </c:pt>
                <c:pt idx="2">
                  <c:v>8225.0731707317082</c:v>
                </c:pt>
                <c:pt idx="3">
                  <c:v>8513.356376811591</c:v>
                </c:pt>
              </c:numCache>
            </c:numRef>
          </c:val>
          <c:smooth val="0"/>
          <c:extLst>
            <c:ext xmlns:c16="http://schemas.microsoft.com/office/drawing/2014/chart" uri="{C3380CC4-5D6E-409C-BE32-E72D297353CC}">
              <c16:uniqueId val="{00000001-4FCE-40BC-BDCE-F259775DCA39}"/>
            </c:ext>
          </c:extLst>
        </c:ser>
        <c:ser>
          <c:idx val="2"/>
          <c:order val="2"/>
          <c:tx>
            <c:strRef>
              <c:f>Sheet1!$D$1</c:f>
              <c:strCache>
                <c:ptCount val="1"/>
                <c:pt idx="0">
                  <c:v>2018</c:v>
                </c:pt>
              </c:strCache>
            </c:strRef>
          </c:tx>
          <c:spPr>
            <a:ln w="28575" cap="rnd">
              <a:solidFill>
                <a:schemeClr val="bg2"/>
              </a:solidFill>
              <a:round/>
            </a:ln>
            <a:effectLst/>
          </c:spPr>
          <c:marker>
            <c:symbol val="circle"/>
            <c:size val="5"/>
            <c:spPr>
              <a:solidFill>
                <a:schemeClr val="bg2"/>
              </a:solidFill>
              <a:ln w="9525">
                <a:solidFill>
                  <a:schemeClr val="bg2"/>
                </a:solidFill>
              </a:ln>
              <a:effectLst/>
            </c:spPr>
          </c:marker>
          <c:dLbls>
            <c:dLbl>
              <c:idx val="2"/>
              <c:layout>
                <c:manualLayout>
                  <c:x val="-7.5052863761711372E-2"/>
                  <c:y val="-2.648256783126268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325-4E2B-A0FB-AC7E97864916}"/>
                </c:ext>
              </c:extLst>
            </c:dLbl>
            <c:dLbl>
              <c:idx val="3"/>
              <c:layout>
                <c:manualLayout>
                  <c:x val="-2.2755653758917095E-3"/>
                  <c:y val="-3.1326300977633087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325-4E2B-A0FB-AC7E97864916}"/>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D$2:$D$5</c:f>
              <c:numCache>
                <c:formatCode>General</c:formatCode>
                <c:ptCount val="4"/>
                <c:pt idx="2">
                  <c:v>5521.9868115942027</c:v>
                </c:pt>
                <c:pt idx="3">
                  <c:v>7096.7499166666639</c:v>
                </c:pt>
              </c:numCache>
            </c:numRef>
          </c:val>
          <c:smooth val="0"/>
          <c:extLst>
            <c:ext xmlns:c16="http://schemas.microsoft.com/office/drawing/2014/chart" uri="{C3380CC4-5D6E-409C-BE32-E72D297353CC}">
              <c16:uniqueId val="{00000002-4FCE-40BC-BDCE-F259775DCA39}"/>
            </c:ext>
          </c:extLst>
        </c:ser>
        <c:ser>
          <c:idx val="3"/>
          <c:order val="3"/>
          <c:tx>
            <c:strRef>
              <c:f>Sheet1!$E$1</c:f>
              <c:strCache>
                <c:ptCount val="1"/>
                <c:pt idx="0">
                  <c:v>2019</c:v>
                </c:pt>
              </c:strCache>
            </c:strRef>
          </c:tx>
          <c:spPr>
            <a:ln w="76200" cap="rnd">
              <a:solidFill>
                <a:schemeClr val="accent1"/>
              </a:solidFill>
              <a:round/>
            </a:ln>
            <a:effectLst/>
          </c:spPr>
          <c:marker>
            <c:symbol val="circle"/>
            <c:size val="5"/>
            <c:spPr>
              <a:solidFill>
                <a:schemeClr val="accent1"/>
              </a:solidFill>
              <a:ln w="76200">
                <a:solidFill>
                  <a:schemeClr val="accent1"/>
                </a:solidFill>
              </a:ln>
              <a:effectLst/>
            </c:spPr>
          </c:marker>
          <c:dLbls>
            <c:dLbl>
              <c:idx val="3"/>
              <c:layout>
                <c:manualLayout>
                  <c:x val="-3.2179225189546461E-2"/>
                  <c:y val="-9.6532381031760817E-2"/>
                </c:manualLayout>
              </c:layout>
              <c:numFmt formatCode="#,##0\ &quot;€&quot;" sourceLinked="0"/>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Trebuchet MS" panose="020B0603020202020204" pitchFamily="34" charset="0"/>
                      <a:ea typeface="+mn-ea"/>
                      <a:cs typeface="+mn-cs"/>
                    </a:defRPr>
                  </a:pPr>
                  <a:endParaRPr lang="fr-FR"/>
                </a:p>
              </c:txPr>
              <c:dLblPos val="r"/>
              <c:showLegendKey val="0"/>
              <c:showVal val="1"/>
              <c:showCatName val="0"/>
              <c:showSerName val="0"/>
              <c:showPercent val="0"/>
              <c:showBubbleSize val="0"/>
              <c:extLst>
                <c:ext xmlns:c15="http://schemas.microsoft.com/office/drawing/2012/chart" uri="{CE6537A1-D6FC-4f65-9D91-7224C49458BB}">
                  <c15:layout>
                    <c:manualLayout>
                      <c:w val="0.12760491405019442"/>
                      <c:h val="4.9073785803237846E-2"/>
                    </c:manualLayout>
                  </c15:layout>
                </c:ext>
                <c:ext xmlns:c16="http://schemas.microsoft.com/office/drawing/2014/chart" uri="{C3380CC4-5D6E-409C-BE32-E72D297353CC}">
                  <c16:uniqueId val="{00000002-0325-4E2B-A0FB-AC7E97864916}"/>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E$2:$E$5</c:f>
              <c:numCache>
                <c:formatCode>General</c:formatCode>
                <c:ptCount val="4"/>
                <c:pt idx="3">
                  <c:v>9425.5260427807498</c:v>
                </c:pt>
              </c:numCache>
            </c:numRef>
          </c:val>
          <c:smooth val="0"/>
          <c:extLst>
            <c:ext xmlns:c16="http://schemas.microsoft.com/office/drawing/2014/chart" uri="{C3380CC4-5D6E-409C-BE32-E72D297353CC}">
              <c16:uniqueId val="{00000004-4FCE-40BC-BDCE-F259775DCA39}"/>
            </c:ext>
          </c:extLst>
        </c:ser>
        <c:dLbls>
          <c:dLblPos val="t"/>
          <c:showLegendKey val="0"/>
          <c:showVal val="1"/>
          <c:showCatName val="0"/>
          <c:showSerName val="0"/>
          <c:showPercent val="0"/>
          <c:showBubbleSize val="0"/>
        </c:dLbls>
        <c:marker val="1"/>
        <c:smooth val="0"/>
        <c:axId val="628186671"/>
        <c:axId val="30973511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in val="500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valAx>
      <c:spPr>
        <a:noFill/>
        <a:ln>
          <a:noFill/>
        </a:ln>
        <a:effectLst/>
      </c:spPr>
    </c:plotArea>
    <c:legend>
      <c:legendPos val="b"/>
      <c:layout>
        <c:manualLayout>
          <c:xMode val="edge"/>
          <c:yMode val="edge"/>
          <c:x val="0.17539750676889204"/>
          <c:y val="0.87649003408517512"/>
          <c:w val="0.73759577319695424"/>
          <c:h val="0.1073778397935980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sz="1000"/>
      </a:pPr>
      <a:endParaRPr lang="fr-FR"/>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089773362650631"/>
          <c:y val="7.4650832211433593E-2"/>
          <c:w val="0.54140285540209399"/>
          <c:h val="0.59353403912252889"/>
        </c:manualLayout>
      </c:layout>
      <c:pie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896B-40A1-922D-B6332938E7C3}"/>
              </c:ext>
            </c:extLst>
          </c:dPt>
          <c:dPt>
            <c:idx val="1"/>
            <c:bubble3D val="0"/>
            <c:spPr>
              <a:solidFill>
                <a:schemeClr val="accent2"/>
              </a:solidFill>
              <a:ln w="19050">
                <a:noFill/>
              </a:ln>
              <a:effectLst/>
            </c:spPr>
            <c:extLst>
              <c:ext xmlns:c16="http://schemas.microsoft.com/office/drawing/2014/chart" uri="{C3380CC4-5D6E-409C-BE32-E72D297353CC}">
                <c16:uniqueId val="{00000003-896B-40A1-922D-B6332938E7C3}"/>
              </c:ext>
            </c:extLst>
          </c:dPt>
          <c:dPt>
            <c:idx val="2"/>
            <c:bubble3D val="0"/>
            <c:spPr>
              <a:solidFill>
                <a:schemeClr val="tx2"/>
              </a:solidFill>
              <a:ln w="19050">
                <a:noFill/>
              </a:ln>
              <a:effectLst/>
            </c:spPr>
            <c:extLst>
              <c:ext xmlns:c16="http://schemas.microsoft.com/office/drawing/2014/chart" uri="{C3380CC4-5D6E-409C-BE32-E72D297353CC}">
                <c16:uniqueId val="{00000005-896B-40A1-922D-B6332938E7C3}"/>
              </c:ext>
            </c:extLst>
          </c:dPt>
          <c:dPt>
            <c:idx val="3"/>
            <c:bubble3D val="0"/>
            <c:spPr>
              <a:solidFill>
                <a:schemeClr val="bg2"/>
              </a:solidFill>
              <a:ln w="19050">
                <a:noFill/>
              </a:ln>
              <a:effectLst/>
            </c:spPr>
            <c:extLst>
              <c:ext xmlns:c16="http://schemas.microsoft.com/office/drawing/2014/chart" uri="{C3380CC4-5D6E-409C-BE32-E72D297353CC}">
                <c16:uniqueId val="{00000007-896B-40A1-922D-B6332938E7C3}"/>
              </c:ext>
            </c:extLst>
          </c:dPt>
          <c:dPt>
            <c:idx val="4"/>
            <c:bubble3D val="0"/>
            <c:spPr>
              <a:solidFill>
                <a:schemeClr val="bg1">
                  <a:lumMod val="65000"/>
                </a:schemeClr>
              </a:solidFill>
              <a:ln w="19050">
                <a:noFill/>
              </a:ln>
              <a:effectLst/>
            </c:spPr>
            <c:extLst>
              <c:ext xmlns:c16="http://schemas.microsoft.com/office/drawing/2014/chart" uri="{C3380CC4-5D6E-409C-BE32-E72D297353CC}">
                <c16:uniqueId val="{00000009-43A6-4E2F-B26C-E231392F9B8B}"/>
              </c:ext>
            </c:extLst>
          </c:dPt>
          <c:dPt>
            <c:idx val="5"/>
            <c:bubble3D val="0"/>
            <c:spPr>
              <a:solidFill>
                <a:schemeClr val="bg1">
                  <a:lumMod val="85000"/>
                </a:schemeClr>
              </a:solidFill>
              <a:ln w="19050">
                <a:noFill/>
              </a:ln>
              <a:effectLst/>
            </c:spPr>
            <c:extLst>
              <c:ext xmlns:c16="http://schemas.microsoft.com/office/drawing/2014/chart" uri="{C3380CC4-5D6E-409C-BE32-E72D297353CC}">
                <c16:uniqueId val="{0000000A-43A6-4E2F-B26C-E231392F9B8B}"/>
              </c:ext>
            </c:extLst>
          </c:dPt>
          <c:dLbls>
            <c:dLbl>
              <c:idx val="5"/>
              <c:layout>
                <c:manualLayout>
                  <c:x val="3.0851428600672465E-3"/>
                  <c:y val="8.9672131625181742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A-43A6-4E2F-B26C-E231392F9B8B}"/>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7</c:f>
              <c:strCache>
                <c:ptCount val="6"/>
                <c:pt idx="0">
                  <c:v>Financials institutions</c:v>
                </c:pt>
                <c:pt idx="1">
                  <c:v>Services</c:v>
                </c:pt>
                <c:pt idx="2">
                  <c:v>Industry</c:v>
                </c:pt>
                <c:pt idx="3">
                  <c:v>Software</c:v>
                </c:pt>
                <c:pt idx="4">
                  <c:v>Telecom</c:v>
                </c:pt>
                <c:pt idx="5">
                  <c:v>Energy</c:v>
                </c:pt>
              </c:strCache>
            </c:strRef>
          </c:cat>
          <c:val>
            <c:numRef>
              <c:f>Sheet1!$B$2:$B$7</c:f>
              <c:numCache>
                <c:formatCode>0.00%</c:formatCode>
                <c:ptCount val="6"/>
                <c:pt idx="0">
                  <c:v>0.42280500254750059</c:v>
                </c:pt>
                <c:pt idx="1">
                  <c:v>0.18338903358709935</c:v>
                </c:pt>
                <c:pt idx="2">
                  <c:v>0.17777406345114535</c:v>
                </c:pt>
                <c:pt idx="3">
                  <c:v>0.13563260596864832</c:v>
                </c:pt>
                <c:pt idx="4">
                  <c:v>6.5151955610394413E-2</c:v>
                </c:pt>
                <c:pt idx="5">
                  <c:v>1.5247338835212008E-2</c:v>
                </c:pt>
              </c:numCache>
            </c:numRef>
          </c:val>
          <c:extLst>
            <c:ext xmlns:c16="http://schemas.microsoft.com/office/drawing/2014/chart" uri="{C3380CC4-5D6E-409C-BE32-E72D297353CC}">
              <c16:uniqueId val="{00000008-896B-40A1-922D-B6332938E7C3}"/>
            </c:ext>
          </c:extLst>
        </c:ser>
        <c:dLbls>
          <c:showLegendKey val="0"/>
          <c:showVal val="0"/>
          <c:showCatName val="0"/>
          <c:showSerName val="0"/>
          <c:showPercent val="0"/>
          <c:showBubbleSize val="0"/>
          <c:showLeaderLines val="0"/>
        </c:dLbls>
        <c:firstSliceAng val="0"/>
      </c:pieChart>
      <c:spPr>
        <a:noFill/>
        <a:ln>
          <a:noFill/>
        </a:ln>
        <a:effectLst/>
      </c:spPr>
    </c:plotArea>
    <c:legend>
      <c:legendPos val="r"/>
      <c:layout>
        <c:manualLayout>
          <c:xMode val="edge"/>
          <c:yMode val="edge"/>
          <c:x val="7.954669891463903E-2"/>
          <c:y val="0.73781159837011656"/>
          <c:w val="0.92045330108536094"/>
          <c:h val="0.2621884016298835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Non-DB&amp;I</c:v>
                </c:pt>
              </c:strCache>
            </c:strRef>
          </c:tx>
          <c:spPr>
            <a:solidFill>
              <a:schemeClr val="tx2"/>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46.6</c:v>
                </c:pt>
                <c:pt idx="1">
                  <c:v>46.410000000000004</c:v>
                </c:pt>
                <c:pt idx="2">
                  <c:v>46.3</c:v>
                </c:pt>
              </c:numCache>
            </c:numRef>
          </c:val>
          <c:extLst>
            <c:ext xmlns:c16="http://schemas.microsoft.com/office/drawing/2014/chart" uri="{C3380CC4-5D6E-409C-BE32-E72D297353CC}">
              <c16:uniqueId val="{00000000-41A9-415A-B974-C0D51F615C2E}"/>
            </c:ext>
          </c:extLst>
        </c:ser>
        <c:ser>
          <c:idx val="1"/>
          <c:order val="1"/>
          <c:tx>
            <c:strRef>
              <c:f>Sheet1!$C$1</c:f>
              <c:strCache>
                <c:ptCount val="1"/>
                <c:pt idx="0">
                  <c:v>DB&amp;I</c:v>
                </c:pt>
              </c:strCache>
            </c:strRef>
          </c:tx>
          <c:spPr>
            <a:solidFill>
              <a:schemeClr val="bg2">
                <a:lumMod val="60000"/>
                <a:lumOff val="40000"/>
              </a:schemeClr>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General</c:formatCode>
                <c:ptCount val="3"/>
                <c:pt idx="0">
                  <c:v>8.0399999999999991</c:v>
                </c:pt>
                <c:pt idx="1">
                  <c:v>7.57</c:v>
                </c:pt>
                <c:pt idx="2">
                  <c:v>7.81</c:v>
                </c:pt>
              </c:numCache>
            </c:numRef>
          </c:val>
          <c:extLst>
            <c:ext xmlns:c16="http://schemas.microsoft.com/office/drawing/2014/chart" uri="{C3380CC4-5D6E-409C-BE32-E72D297353CC}">
              <c16:uniqueId val="{00000001-41A9-415A-B974-C0D51F615C2E}"/>
            </c:ext>
          </c:extLst>
        </c:ser>
        <c:dLbls>
          <c:showLegendKey val="0"/>
          <c:showVal val="0"/>
          <c:showCatName val="0"/>
          <c:showSerName val="0"/>
          <c:showPercent val="0"/>
          <c:showBubbleSize val="0"/>
        </c:dLbls>
        <c:gapWidth val="150"/>
        <c:overlap val="100"/>
        <c:axId val="1647052399"/>
        <c:axId val="1382232255"/>
      </c:barChart>
      <c:lineChart>
        <c:grouping val="standard"/>
        <c:varyColors val="0"/>
        <c:ser>
          <c:idx val="2"/>
          <c:order val="2"/>
          <c:tx>
            <c:strRef>
              <c:f>Sheet1!$D$1</c:f>
              <c:strCache>
                <c:ptCount val="1"/>
                <c:pt idx="0">
                  <c:v>Total</c:v>
                </c:pt>
              </c:strCache>
            </c:strRef>
          </c:tx>
          <c:spPr>
            <a:ln w="28575" cap="rnd">
              <a:noFill/>
              <a:round/>
            </a:ln>
            <a:effectLst/>
          </c:spPr>
          <c:marker>
            <c:symbol val="none"/>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General</c:formatCode>
                <c:ptCount val="3"/>
                <c:pt idx="0">
                  <c:v>54.64</c:v>
                </c:pt>
                <c:pt idx="1">
                  <c:v>53.980000000000004</c:v>
                </c:pt>
                <c:pt idx="2">
                  <c:v>54.11</c:v>
                </c:pt>
              </c:numCache>
            </c:numRef>
          </c:val>
          <c:smooth val="0"/>
          <c:extLst>
            <c:ext xmlns:c16="http://schemas.microsoft.com/office/drawing/2014/chart" uri="{C3380CC4-5D6E-409C-BE32-E72D297353CC}">
              <c16:uniqueId val="{00000004-41A9-415A-B974-C0D51F615C2E}"/>
            </c:ext>
          </c:extLst>
        </c:ser>
        <c:dLbls>
          <c:showLegendKey val="0"/>
          <c:showVal val="0"/>
          <c:showCatName val="0"/>
          <c:showSerName val="0"/>
          <c:showPercent val="0"/>
          <c:showBubbleSize val="0"/>
        </c:dLbls>
        <c:marker val="1"/>
        <c:smooth val="0"/>
        <c:axId val="197359376"/>
        <c:axId val="953115247"/>
      </c:lineChart>
      <c:catAx>
        <c:axId val="1647052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382232255"/>
        <c:crosses val="autoZero"/>
        <c:auto val="1"/>
        <c:lblAlgn val="ctr"/>
        <c:lblOffset val="100"/>
        <c:noMultiLvlLbl val="0"/>
      </c:catAx>
      <c:valAx>
        <c:axId val="1382232255"/>
        <c:scaling>
          <c:orientation val="minMax"/>
          <c:min val="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647052399"/>
        <c:crosses val="autoZero"/>
        <c:crossBetween val="between"/>
      </c:valAx>
      <c:valAx>
        <c:axId val="953115247"/>
        <c:scaling>
          <c:orientation val="minMax"/>
          <c:min val="0"/>
        </c:scaling>
        <c:delete val="1"/>
        <c:axPos val="r"/>
        <c:numFmt formatCode="General" sourceLinked="1"/>
        <c:majorTickMark val="out"/>
        <c:minorTickMark val="none"/>
        <c:tickLblPos val="nextTo"/>
        <c:crossAx val="197359376"/>
        <c:crosses val="max"/>
        <c:crossBetween val="between"/>
      </c:valAx>
      <c:catAx>
        <c:axId val="197359376"/>
        <c:scaling>
          <c:orientation val="minMax"/>
        </c:scaling>
        <c:delete val="1"/>
        <c:axPos val="b"/>
        <c:numFmt formatCode="General" sourceLinked="1"/>
        <c:majorTickMark val="out"/>
        <c:minorTickMark val="none"/>
        <c:tickLblPos val="nextTo"/>
        <c:crossAx val="953115247"/>
        <c:crosses val="autoZero"/>
        <c:auto val="1"/>
        <c:lblAlgn val="ctr"/>
        <c:lblOffset val="100"/>
        <c:noMultiLvlLbl val="0"/>
      </c:catAx>
      <c:spPr>
        <a:noFill/>
        <a:ln>
          <a:noFill/>
        </a:ln>
        <a:effectLst/>
      </c:spPr>
    </c:plotArea>
    <c:legend>
      <c:legendPos val="b"/>
      <c:legendEntry>
        <c:idx val="2"/>
        <c:delete val="1"/>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85548413944083"/>
          <c:y val="0.12156516447643867"/>
          <c:w val="0.81503955025437902"/>
          <c:h val="0.765217977703332"/>
        </c:manualLayout>
      </c:layout>
      <c:barChart>
        <c:barDir val="col"/>
        <c:grouping val="stacked"/>
        <c:varyColors val="0"/>
        <c:ser>
          <c:idx val="0"/>
          <c:order val="0"/>
          <c:tx>
            <c:strRef>
              <c:f>Sheet1!$B$1</c:f>
              <c:strCache>
                <c:ptCount val="1"/>
                <c:pt idx="0">
                  <c:v>&lt;2018</c:v>
                </c:pt>
              </c:strCache>
            </c:strRef>
          </c:tx>
          <c:spPr>
            <a:solidFill>
              <a:schemeClr val="bg2">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2301</c:v>
                </c:pt>
                <c:pt idx="1">
                  <c:v>1884</c:v>
                </c:pt>
                <c:pt idx="2">
                  <c:v>1604</c:v>
                </c:pt>
              </c:numCache>
            </c:numRef>
          </c:val>
          <c:extLst>
            <c:ext xmlns:c16="http://schemas.microsoft.com/office/drawing/2014/chart" uri="{C3380CC4-5D6E-409C-BE32-E72D297353CC}">
              <c16:uniqueId val="{00000000-0422-4C13-8DE9-DFC2D2DF2BD4}"/>
            </c:ext>
          </c:extLst>
        </c:ser>
        <c:ser>
          <c:idx val="1"/>
          <c:order val="1"/>
          <c:tx>
            <c:strRef>
              <c:f>Sheet1!$C$1</c:f>
              <c:strCache>
                <c:ptCount val="1"/>
                <c:pt idx="0">
                  <c:v>2018</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0422-4C13-8DE9-DFC2D2DF2BD4}"/>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General</c:formatCode>
                <c:ptCount val="3"/>
                <c:pt idx="0">
                  <c:v>0</c:v>
                </c:pt>
                <c:pt idx="1">
                  <c:v>350</c:v>
                </c:pt>
                <c:pt idx="2">
                  <c:v>168</c:v>
                </c:pt>
              </c:numCache>
            </c:numRef>
          </c:val>
          <c:extLst>
            <c:ext xmlns:c16="http://schemas.microsoft.com/office/drawing/2014/chart" uri="{C3380CC4-5D6E-409C-BE32-E72D297353CC}">
              <c16:uniqueId val="{00000002-0422-4C13-8DE9-DFC2D2DF2BD4}"/>
            </c:ext>
          </c:extLst>
        </c:ser>
        <c:ser>
          <c:idx val="2"/>
          <c:order val="2"/>
          <c:tx>
            <c:strRef>
              <c:f>Sheet1!$D$1</c:f>
              <c:strCache>
                <c:ptCount val="1"/>
                <c:pt idx="0">
                  <c:v>2019</c:v>
                </c:pt>
              </c:strCache>
            </c:strRef>
          </c:tx>
          <c:spPr>
            <a:solidFill>
              <a:schemeClr val="bg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0422-4C13-8DE9-DFC2D2DF2BD4}"/>
                </c:ext>
              </c:extLst>
            </c:dLbl>
            <c:dLbl>
              <c:idx val="1"/>
              <c:delete val="1"/>
              <c:extLst>
                <c:ext xmlns:c15="http://schemas.microsoft.com/office/drawing/2012/chart" uri="{CE6537A1-D6FC-4f65-9D91-7224C49458BB}"/>
                <c:ext xmlns:c16="http://schemas.microsoft.com/office/drawing/2014/chart" uri="{C3380CC4-5D6E-409C-BE32-E72D297353CC}">
                  <c16:uniqueId val="{00000004-0422-4C13-8DE9-DFC2D2DF2BD4}"/>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General</c:formatCode>
                <c:ptCount val="3"/>
                <c:pt idx="0">
                  <c:v>0</c:v>
                </c:pt>
                <c:pt idx="1">
                  <c:v>0</c:v>
                </c:pt>
                <c:pt idx="2">
                  <c:v>411</c:v>
                </c:pt>
              </c:numCache>
            </c:numRef>
          </c:val>
          <c:extLst>
            <c:ext xmlns:c16="http://schemas.microsoft.com/office/drawing/2014/chart" uri="{C3380CC4-5D6E-409C-BE32-E72D297353CC}">
              <c16:uniqueId val="{00000005-0422-4C13-8DE9-DFC2D2DF2BD4}"/>
            </c:ext>
          </c:extLst>
        </c:ser>
        <c:dLbls>
          <c:showLegendKey val="0"/>
          <c:showVal val="1"/>
          <c:showCatName val="0"/>
          <c:showSerName val="0"/>
          <c:showPercent val="0"/>
          <c:showBubbleSize val="0"/>
        </c:dLbls>
        <c:gapWidth val="50"/>
        <c:overlap val="100"/>
        <c:axId val="628186671"/>
        <c:axId val="309735119"/>
      </c:barChart>
      <c:lineChart>
        <c:grouping val="standard"/>
        <c:varyColors val="0"/>
        <c:ser>
          <c:idx val="3"/>
          <c:order val="3"/>
          <c:tx>
            <c:strRef>
              <c:f>Sheet1!$E$1</c:f>
              <c:strCache>
                <c:ptCount val="1"/>
                <c:pt idx="0">
                  <c:v>Total</c:v>
                </c:pt>
              </c:strCache>
            </c:strRef>
          </c:tx>
          <c:spPr>
            <a:ln w="28575" cap="rnd">
              <a:solidFill>
                <a:srgbClr val="007AA9"/>
              </a:solidFill>
              <a:round/>
            </a:ln>
            <a:effectLst/>
          </c:spPr>
          <c:marker>
            <c:symbol val="none"/>
          </c:marker>
          <c:dLbls>
            <c:dLbl>
              <c:idx val="0"/>
              <c:layout>
                <c:manualLayout>
                  <c:x val="-1.9148163057916407E-2"/>
                  <c:y val="-6.90019297529034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422-4C13-8DE9-DFC2D2DF2BD4}"/>
                </c:ext>
              </c:extLst>
            </c:dLbl>
            <c:dLbl>
              <c:idx val="1"/>
              <c:layout>
                <c:manualLayout>
                  <c:x val="-1.9148163057916407E-2"/>
                  <c:y val="-5.682511862003811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422-4C13-8DE9-DFC2D2DF2BD4}"/>
                </c:ext>
              </c:extLst>
            </c:dLbl>
            <c:dLbl>
              <c:idx val="2"/>
              <c:layout>
                <c:manualLayout>
                  <c:x val="0"/>
                  <c:y val="-6.49429927086149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422-4C13-8DE9-DFC2D2DF2BD4}"/>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7AA9"/>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E$2:$E$4</c:f>
              <c:numCache>
                <c:formatCode>General</c:formatCode>
                <c:ptCount val="3"/>
                <c:pt idx="0">
                  <c:v>2301</c:v>
                </c:pt>
                <c:pt idx="1">
                  <c:v>2234</c:v>
                </c:pt>
                <c:pt idx="2">
                  <c:v>2183</c:v>
                </c:pt>
              </c:numCache>
            </c:numRef>
          </c:val>
          <c:smooth val="0"/>
          <c:extLst>
            <c:ext xmlns:c16="http://schemas.microsoft.com/office/drawing/2014/chart" uri="{C3380CC4-5D6E-409C-BE32-E72D297353CC}">
              <c16:uniqueId val="{00000009-0422-4C13-8DE9-DFC2D2DF2BD4}"/>
            </c:ext>
          </c:extLst>
        </c:ser>
        <c:dLbls>
          <c:showLegendKey val="0"/>
          <c:showVal val="0"/>
          <c:showCatName val="0"/>
          <c:showSerName val="0"/>
          <c:showPercent val="0"/>
          <c:showBubbleSize val="0"/>
        </c:dLbls>
        <c:marker val="1"/>
        <c:smooth val="0"/>
        <c:axId val="776095472"/>
        <c:axId val="212208160"/>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ax val="30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valAx>
      <c:valAx>
        <c:axId val="212208160"/>
        <c:scaling>
          <c:orientation val="minMax"/>
          <c:min val="0"/>
        </c:scaling>
        <c:delete val="1"/>
        <c:axPos val="r"/>
        <c:numFmt formatCode="#,##0" sourceLinked="0"/>
        <c:majorTickMark val="out"/>
        <c:minorTickMark val="none"/>
        <c:tickLblPos val="nextTo"/>
        <c:crossAx val="776095472"/>
        <c:crosses val="max"/>
        <c:crossBetween val="between"/>
      </c:valAx>
      <c:catAx>
        <c:axId val="776095472"/>
        <c:scaling>
          <c:orientation val="minMax"/>
        </c:scaling>
        <c:delete val="1"/>
        <c:axPos val="b"/>
        <c:numFmt formatCode="General" sourceLinked="1"/>
        <c:majorTickMark val="out"/>
        <c:minorTickMark val="none"/>
        <c:tickLblPos val="nextTo"/>
        <c:crossAx val="21220816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userShapes r:id="rId4"/>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85548413944083"/>
          <c:y val="0.12156516447643867"/>
          <c:w val="0.81503955025437902"/>
          <c:h val="0.765217977703332"/>
        </c:manualLayout>
      </c:layout>
      <c:barChart>
        <c:barDir val="col"/>
        <c:grouping val="stacked"/>
        <c:varyColors val="0"/>
        <c:ser>
          <c:idx val="0"/>
          <c:order val="0"/>
          <c:tx>
            <c:strRef>
              <c:f>Sheet1!$B$1</c:f>
              <c:strCache>
                <c:ptCount val="1"/>
                <c:pt idx="0">
                  <c:v>&lt;2018</c:v>
                </c:pt>
              </c:strCache>
            </c:strRef>
          </c:tx>
          <c:spPr>
            <a:solidFill>
              <a:srgbClr val="367847"/>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0.00</c:formatCode>
                <c:ptCount val="3"/>
                <c:pt idx="0">
                  <c:v>46595281.666988745</c:v>
                </c:pt>
                <c:pt idx="1">
                  <c:v>44821502.783329435</c:v>
                </c:pt>
                <c:pt idx="2">
                  <c:v>41049146.302000023</c:v>
                </c:pt>
              </c:numCache>
            </c:numRef>
          </c:val>
          <c:extLst>
            <c:ext xmlns:c16="http://schemas.microsoft.com/office/drawing/2014/chart" uri="{C3380CC4-5D6E-409C-BE32-E72D297353CC}">
              <c16:uniqueId val="{00000000-4E08-4202-8C9C-0210B1390735}"/>
            </c:ext>
          </c:extLst>
        </c:ser>
        <c:ser>
          <c:idx val="1"/>
          <c:order val="1"/>
          <c:tx>
            <c:strRef>
              <c:f>Sheet1!$C$1</c:f>
              <c:strCache>
                <c:ptCount val="1"/>
                <c:pt idx="0">
                  <c:v>2018</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5-5151-4850-A57A-A11AAF642B6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0.00</c:formatCode>
                <c:ptCount val="3"/>
                <c:pt idx="0">
                  <c:v>0</c:v>
                </c:pt>
                <c:pt idx="1">
                  <c:v>1586508.0100000023</c:v>
                </c:pt>
                <c:pt idx="2">
                  <c:v>1488980.3100000005</c:v>
                </c:pt>
              </c:numCache>
            </c:numRef>
          </c:val>
          <c:extLst>
            <c:ext xmlns:c16="http://schemas.microsoft.com/office/drawing/2014/chart" uri="{C3380CC4-5D6E-409C-BE32-E72D297353CC}">
              <c16:uniqueId val="{00000001-4E08-4202-8C9C-0210B1390735}"/>
            </c:ext>
          </c:extLst>
        </c:ser>
        <c:ser>
          <c:idx val="2"/>
          <c:order val="2"/>
          <c:tx>
            <c:strRef>
              <c:f>Sheet1!$D$1</c:f>
              <c:strCache>
                <c:ptCount val="1"/>
                <c:pt idx="0">
                  <c:v>2019</c:v>
                </c:pt>
              </c:strCache>
            </c:strRef>
          </c:tx>
          <c:spPr>
            <a:solidFill>
              <a:srgbClr val="8FCD9F"/>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4-5151-4850-A57A-A11AAF642B69}"/>
                </c:ext>
              </c:extLst>
            </c:dLbl>
            <c:dLbl>
              <c:idx val="1"/>
              <c:delete val="1"/>
              <c:extLst>
                <c:ext xmlns:c15="http://schemas.microsoft.com/office/drawing/2012/chart" uri="{CE6537A1-D6FC-4f65-9D91-7224C49458BB}"/>
                <c:ext xmlns:c16="http://schemas.microsoft.com/office/drawing/2014/chart" uri="{C3380CC4-5D6E-409C-BE32-E72D297353CC}">
                  <c16:uniqueId val="{00000003-5151-4850-A57A-A11AAF642B6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0.00</c:formatCode>
                <c:ptCount val="3"/>
                <c:pt idx="0">
                  <c:v>0</c:v>
                </c:pt>
                <c:pt idx="1">
                  <c:v>0</c:v>
                </c:pt>
                <c:pt idx="2">
                  <c:v>3776702.1633333368</c:v>
                </c:pt>
              </c:numCache>
            </c:numRef>
          </c:val>
          <c:extLst>
            <c:ext xmlns:c16="http://schemas.microsoft.com/office/drawing/2014/chart" uri="{C3380CC4-5D6E-409C-BE32-E72D297353CC}">
              <c16:uniqueId val="{00000002-4E08-4202-8C9C-0210B1390735}"/>
            </c:ext>
          </c:extLst>
        </c:ser>
        <c:dLbls>
          <c:showLegendKey val="0"/>
          <c:showVal val="1"/>
          <c:showCatName val="0"/>
          <c:showSerName val="0"/>
          <c:showPercent val="0"/>
          <c:showBubbleSize val="0"/>
        </c:dLbls>
        <c:gapWidth val="50"/>
        <c:overlap val="100"/>
        <c:axId val="628186671"/>
        <c:axId val="309735119"/>
      </c:barChart>
      <c:lineChart>
        <c:grouping val="standard"/>
        <c:varyColors val="0"/>
        <c:ser>
          <c:idx val="3"/>
          <c:order val="3"/>
          <c:tx>
            <c:strRef>
              <c:f>Sheet1!$E$1</c:f>
              <c:strCache>
                <c:ptCount val="1"/>
                <c:pt idx="0">
                  <c:v>Total</c:v>
                </c:pt>
              </c:strCache>
            </c:strRef>
          </c:tx>
          <c:spPr>
            <a:ln w="28575" cap="rnd">
              <a:solidFill>
                <a:srgbClr val="007AA9"/>
              </a:solidFill>
              <a:round/>
            </a:ln>
            <a:effectLst/>
          </c:spPr>
          <c:marker>
            <c:symbol val="none"/>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7AA9"/>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E$2:$E$4</c:f>
              <c:numCache>
                <c:formatCode>#,##0.00</c:formatCode>
                <c:ptCount val="3"/>
                <c:pt idx="0">
                  <c:v>46595281.666988745</c:v>
                </c:pt>
                <c:pt idx="1">
                  <c:v>46408010.79332944</c:v>
                </c:pt>
                <c:pt idx="2">
                  <c:v>46314828.77533336</c:v>
                </c:pt>
              </c:numCache>
            </c:numRef>
          </c:val>
          <c:smooth val="0"/>
          <c:extLst>
            <c:ext xmlns:c16="http://schemas.microsoft.com/office/drawing/2014/chart" uri="{C3380CC4-5D6E-409C-BE32-E72D297353CC}">
              <c16:uniqueId val="{00000003-4E08-4202-8C9C-0210B1390735}"/>
            </c:ext>
          </c:extLst>
        </c:ser>
        <c:dLbls>
          <c:showLegendKey val="0"/>
          <c:showVal val="0"/>
          <c:showCatName val="0"/>
          <c:showSerName val="0"/>
          <c:showPercent val="0"/>
          <c:showBubbleSize val="0"/>
        </c:dLbls>
        <c:marker val="1"/>
        <c:smooth val="0"/>
        <c:axId val="776095472"/>
        <c:axId val="212208160"/>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ax val="50000000"/>
          <c:min val="0"/>
        </c:scaling>
        <c:delete val="0"/>
        <c:axPos val="l"/>
        <c:majorGridlines>
          <c:spPr>
            <a:ln w="9525" cap="flat" cmpd="sng" algn="ctr">
              <a:solidFill>
                <a:schemeClr val="tx1">
                  <a:lumMod val="15000"/>
                  <a:lumOff val="85000"/>
                </a:schemeClr>
              </a:solidFill>
              <a:round/>
            </a:ln>
            <a:effectLst/>
          </c:spPr>
        </c:majorGridlines>
        <c:numFmt formatCode="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dispUnits>
          <c:builtInUnit val="millions"/>
        </c:dispUnits>
      </c:valAx>
      <c:valAx>
        <c:axId val="212208160"/>
        <c:scaling>
          <c:orientation val="minMax"/>
          <c:min val="0"/>
        </c:scaling>
        <c:delete val="1"/>
        <c:axPos val="r"/>
        <c:numFmt formatCode="#,##0.00" sourceLinked="1"/>
        <c:majorTickMark val="out"/>
        <c:minorTickMark val="none"/>
        <c:tickLblPos val="nextTo"/>
        <c:crossAx val="776095472"/>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776095472"/>
        <c:scaling>
          <c:orientation val="minMax"/>
        </c:scaling>
        <c:delete val="1"/>
        <c:axPos val="b"/>
        <c:numFmt formatCode="General" sourceLinked="1"/>
        <c:majorTickMark val="out"/>
        <c:minorTickMark val="none"/>
        <c:tickLblPos val="nextTo"/>
        <c:crossAx val="21220816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userShapes r:id="rId4"/>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14367289101219349"/>
          <c:y val="5.069551921407274E-2"/>
          <c:w val="0.82378968104702976"/>
          <c:h val="0.85225151622996886"/>
        </c:manualLayout>
      </c:layout>
      <c:lineChart>
        <c:grouping val="standard"/>
        <c:varyColors val="0"/>
        <c:ser>
          <c:idx val="0"/>
          <c:order val="0"/>
          <c:tx>
            <c:strRef>
              <c:f>Sheet1!$B$1</c:f>
              <c:strCache>
                <c:ptCount val="1"/>
                <c:pt idx="0">
                  <c:v>Series 1</c:v>
                </c:pt>
              </c:strCache>
            </c:strRef>
          </c:tx>
          <c:spPr>
            <a:ln w="28575" cap="rnd">
              <a:solidFill>
                <a:schemeClr val="tx2"/>
              </a:solidFill>
              <a:round/>
            </a:ln>
            <a:effectLst/>
          </c:spPr>
          <c:marker>
            <c:symbol val="circle"/>
            <c:size val="5"/>
            <c:spPr>
              <a:solidFill>
                <a:schemeClr val="tx2"/>
              </a:solidFill>
              <a:ln w="9525">
                <a:solidFill>
                  <a:schemeClr val="tx2"/>
                </a:solidFill>
              </a:ln>
              <a:effectLst/>
            </c:spPr>
          </c:marker>
          <c:dLbls>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20250.013762272378</c:v>
                </c:pt>
                <c:pt idx="1">
                  <c:v>20773.505279019446</c:v>
                </c:pt>
                <c:pt idx="2">
                  <c:v>21216.137780729896</c:v>
                </c:pt>
              </c:numCache>
            </c:numRef>
          </c:val>
          <c:smooth val="0"/>
          <c:extLst>
            <c:ext xmlns:c16="http://schemas.microsoft.com/office/drawing/2014/chart" uri="{C3380CC4-5D6E-409C-BE32-E72D297353CC}">
              <c16:uniqueId val="{00000000-1726-4EAF-878D-C2D10EDE05F5}"/>
            </c:ext>
          </c:extLst>
        </c:ser>
        <c:dLbls>
          <c:dLblPos val="t"/>
          <c:showLegendKey val="0"/>
          <c:showVal val="1"/>
          <c:showCatName val="0"/>
          <c:showSerName val="0"/>
          <c:showPercent val="0"/>
          <c:showBubbleSize val="0"/>
        </c:dLbls>
        <c:marker val="1"/>
        <c:smooth val="0"/>
        <c:axId val="651700111"/>
        <c:axId val="87064768"/>
      </c:lineChart>
      <c:catAx>
        <c:axId val="6517001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87064768"/>
        <c:crosses val="autoZero"/>
        <c:auto val="1"/>
        <c:lblAlgn val="ctr"/>
        <c:lblOffset val="100"/>
        <c:noMultiLvlLbl val="0"/>
      </c:catAx>
      <c:valAx>
        <c:axId val="870647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517001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46675301233274"/>
          <c:y val="3.1815870190032042E-2"/>
          <c:w val="0.85534709118830698"/>
          <c:h val="0.76676151425470573"/>
        </c:manualLayout>
      </c:layout>
      <c:lineChart>
        <c:grouping val="standard"/>
        <c:varyColors val="0"/>
        <c:ser>
          <c:idx val="0"/>
          <c:order val="0"/>
          <c:tx>
            <c:strRef>
              <c:f>Sheet1!$B$1</c:f>
              <c:strCache>
                <c:ptCount val="1"/>
                <c:pt idx="0">
                  <c:v>&lt; 2018</c:v>
                </c:pt>
              </c:strCache>
            </c:strRef>
          </c:tx>
          <c:spPr>
            <a:ln w="28575" cap="rnd">
              <a:solidFill>
                <a:srgbClr val="367847"/>
              </a:solidFill>
              <a:round/>
            </a:ln>
            <a:effectLst/>
          </c:spPr>
          <c:marker>
            <c:symbol val="circle"/>
            <c:size val="5"/>
            <c:spPr>
              <a:solidFill>
                <a:srgbClr val="367847"/>
              </a:solidFill>
              <a:ln w="9525">
                <a:solidFill>
                  <a:srgbClr val="367847"/>
                </a:solidFill>
              </a:ln>
              <a:effectLst/>
            </c:spPr>
          </c:marker>
          <c:dLbls>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20250.013762272378</c:v>
                </c:pt>
                <c:pt idx="1">
                  <c:v>23790.60657289248</c:v>
                </c:pt>
                <c:pt idx="2">
                  <c:v>25591.737096009991</c:v>
                </c:pt>
              </c:numCache>
            </c:numRef>
          </c:val>
          <c:smooth val="0"/>
          <c:extLst>
            <c:ext xmlns:c16="http://schemas.microsoft.com/office/drawing/2014/chart" uri="{C3380CC4-5D6E-409C-BE32-E72D297353CC}">
              <c16:uniqueId val="{00000000-4FCE-40BC-BDCE-F259775DCA39}"/>
            </c:ext>
          </c:extLst>
        </c:ser>
        <c:ser>
          <c:idx val="1"/>
          <c:order val="1"/>
          <c:tx>
            <c:strRef>
              <c:f>Sheet1!$C$1</c:f>
              <c:strCache>
                <c:ptCount val="1"/>
                <c:pt idx="0">
                  <c:v>2018</c:v>
                </c:pt>
              </c:strCache>
            </c:strRef>
          </c:tx>
          <c:spPr>
            <a:ln w="28575" cap="rnd">
              <a:solidFill>
                <a:srgbClr val="289B38"/>
              </a:solidFill>
              <a:round/>
            </a:ln>
            <a:effectLst/>
          </c:spPr>
          <c:marker>
            <c:symbol val="circle"/>
            <c:size val="5"/>
            <c:spPr>
              <a:solidFill>
                <a:srgbClr val="289B38"/>
              </a:solidFill>
              <a:ln w="9525">
                <a:solidFill>
                  <a:srgbClr val="289B38"/>
                </a:solidFill>
              </a:ln>
              <a:effectLst/>
            </c:spPr>
          </c:marker>
          <c:dLbls>
            <c:dLbl>
              <c:idx val="2"/>
              <c:layout>
                <c:manualLayout>
                  <c:x val="-0.10817946131274903"/>
                  <c:y val="-5.372416185367869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830-4C06-AE05-37FCC7375DC2}"/>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General</c:formatCode>
                <c:ptCount val="3"/>
                <c:pt idx="1">
                  <c:v>4532.8800285714351</c:v>
                </c:pt>
                <c:pt idx="2">
                  <c:v>8862.9780357142881</c:v>
                </c:pt>
              </c:numCache>
            </c:numRef>
          </c:val>
          <c:smooth val="0"/>
          <c:extLst>
            <c:ext xmlns:c16="http://schemas.microsoft.com/office/drawing/2014/chart" uri="{C3380CC4-5D6E-409C-BE32-E72D297353CC}">
              <c16:uniqueId val="{00000001-4FCE-40BC-BDCE-F259775DCA39}"/>
            </c:ext>
          </c:extLst>
        </c:ser>
        <c:ser>
          <c:idx val="2"/>
          <c:order val="2"/>
          <c:tx>
            <c:strRef>
              <c:f>Sheet1!$D$1</c:f>
              <c:strCache>
                <c:ptCount val="1"/>
                <c:pt idx="0">
                  <c:v>2019</c:v>
                </c:pt>
              </c:strCache>
            </c:strRef>
          </c:tx>
          <c:spPr>
            <a:ln w="76200" cap="rnd">
              <a:solidFill>
                <a:schemeClr val="bg2"/>
              </a:solidFill>
              <a:round/>
            </a:ln>
            <a:effectLst/>
          </c:spPr>
          <c:marker>
            <c:symbol val="circle"/>
            <c:size val="5"/>
            <c:spPr>
              <a:solidFill>
                <a:schemeClr val="bg2"/>
              </a:solidFill>
              <a:ln w="76200">
                <a:solidFill>
                  <a:schemeClr val="bg2"/>
                </a:solidFill>
              </a:ln>
              <a:effectLst/>
            </c:spPr>
          </c:marker>
          <c:dLbls>
            <c:dLbl>
              <c:idx val="2"/>
              <c:layout>
                <c:manualLayout>
                  <c:x val="-1.7835700484436504E-2"/>
                  <c:y val="-8.15301992528019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830-4C06-AE05-37FCC7375DC2}"/>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General</c:formatCode>
                <c:ptCount val="3"/>
                <c:pt idx="2">
                  <c:v>9189.0563584752726</c:v>
                </c:pt>
              </c:numCache>
            </c:numRef>
          </c:val>
          <c:smooth val="0"/>
          <c:extLst>
            <c:ext xmlns:c16="http://schemas.microsoft.com/office/drawing/2014/chart" uri="{C3380CC4-5D6E-409C-BE32-E72D297353CC}">
              <c16:uniqueId val="{00000002-4FCE-40BC-BDCE-F259775DCA39}"/>
            </c:ext>
          </c:extLst>
        </c:ser>
        <c:dLbls>
          <c:dLblPos val="t"/>
          <c:showLegendKey val="0"/>
          <c:showVal val="1"/>
          <c:showCatName val="0"/>
          <c:showSerName val="0"/>
          <c:showPercent val="0"/>
          <c:showBubbleSize val="0"/>
        </c:dLbls>
        <c:marker val="1"/>
        <c:smooth val="0"/>
        <c:axId val="628186671"/>
        <c:axId val="30973511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valAx>
      <c:spPr>
        <a:noFill/>
        <a:ln>
          <a:noFill/>
        </a:ln>
        <a:effectLst/>
      </c:spPr>
    </c:plotArea>
    <c:legend>
      <c:legendPos val="b"/>
      <c:layout>
        <c:manualLayout>
          <c:xMode val="edge"/>
          <c:yMode val="edge"/>
          <c:x val="0.17539750676889204"/>
          <c:y val="0.87649003408517512"/>
          <c:w val="0.73759577319695424"/>
          <c:h val="0.1073778397935980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lt;2018</c:v>
                </c:pt>
              </c:strCache>
            </c:strRef>
          </c:tx>
          <c:spPr>
            <a:solidFill>
              <a:srgbClr val="36784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2377</c:v>
                </c:pt>
                <c:pt idx="1">
                  <c:v>874</c:v>
                </c:pt>
                <c:pt idx="2">
                  <c:v>798</c:v>
                </c:pt>
              </c:numCache>
            </c:numRef>
          </c:val>
          <c:extLst>
            <c:ext xmlns:c16="http://schemas.microsoft.com/office/drawing/2014/chart" uri="{C3380CC4-5D6E-409C-BE32-E72D297353CC}">
              <c16:uniqueId val="{00000000-2B25-4381-9FAB-96CB5CEA36F6}"/>
            </c:ext>
          </c:extLst>
        </c:ser>
        <c:ser>
          <c:idx val="1"/>
          <c:order val="1"/>
          <c:tx>
            <c:strRef>
              <c:f>Sheet1!$C$1</c:f>
              <c:strCache>
                <c:ptCount val="1"/>
                <c:pt idx="0">
                  <c:v>2018</c:v>
                </c:pt>
              </c:strCache>
            </c:strRef>
          </c:tx>
          <c:spPr>
            <a:solidFill>
              <a:srgbClr val="289B38"/>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2B25-4381-9FAB-96CB5CEA36F6}"/>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General</c:formatCode>
                <c:ptCount val="3"/>
                <c:pt idx="0">
                  <c:v>0</c:v>
                </c:pt>
                <c:pt idx="1">
                  <c:v>1313</c:v>
                </c:pt>
                <c:pt idx="2">
                  <c:v>270</c:v>
                </c:pt>
              </c:numCache>
            </c:numRef>
          </c:val>
          <c:extLst>
            <c:ext xmlns:c16="http://schemas.microsoft.com/office/drawing/2014/chart" uri="{C3380CC4-5D6E-409C-BE32-E72D297353CC}">
              <c16:uniqueId val="{00000002-2B25-4381-9FAB-96CB5CEA36F6}"/>
            </c:ext>
          </c:extLst>
        </c:ser>
        <c:ser>
          <c:idx val="2"/>
          <c:order val="2"/>
          <c:tx>
            <c:strRef>
              <c:f>Sheet1!$D$1</c:f>
              <c:strCache>
                <c:ptCount val="1"/>
                <c:pt idx="0">
                  <c:v>2019</c:v>
                </c:pt>
              </c:strCache>
            </c:strRef>
          </c:tx>
          <c:spPr>
            <a:solidFill>
              <a:srgbClr val="8FCD9F"/>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2B25-4381-9FAB-96CB5CEA36F6}"/>
                </c:ext>
              </c:extLst>
            </c:dLbl>
            <c:dLbl>
              <c:idx val="1"/>
              <c:delete val="1"/>
              <c:extLst>
                <c:ext xmlns:c15="http://schemas.microsoft.com/office/drawing/2012/chart" uri="{CE6537A1-D6FC-4f65-9D91-7224C49458BB}"/>
                <c:ext xmlns:c16="http://schemas.microsoft.com/office/drawing/2014/chart" uri="{C3380CC4-5D6E-409C-BE32-E72D297353CC}">
                  <c16:uniqueId val="{00000004-2B25-4381-9FAB-96CB5CEA36F6}"/>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General</c:formatCode>
                <c:ptCount val="3"/>
                <c:pt idx="0">
                  <c:v>0</c:v>
                </c:pt>
                <c:pt idx="1">
                  <c:v>0</c:v>
                </c:pt>
                <c:pt idx="2">
                  <c:v>899</c:v>
                </c:pt>
              </c:numCache>
            </c:numRef>
          </c:val>
          <c:extLst>
            <c:ext xmlns:c16="http://schemas.microsoft.com/office/drawing/2014/chart" uri="{C3380CC4-5D6E-409C-BE32-E72D297353CC}">
              <c16:uniqueId val="{00000005-2B25-4381-9FAB-96CB5CEA36F6}"/>
            </c:ext>
          </c:extLst>
        </c:ser>
        <c:dLbls>
          <c:dLblPos val="ctr"/>
          <c:showLegendKey val="0"/>
          <c:showVal val="1"/>
          <c:showCatName val="0"/>
          <c:showSerName val="0"/>
          <c:showPercent val="0"/>
          <c:showBubbleSize val="0"/>
        </c:dLbls>
        <c:gapWidth val="100"/>
        <c:overlap val="100"/>
        <c:axId val="1607070320"/>
        <c:axId val="1043744319"/>
      </c:barChart>
      <c:lineChart>
        <c:grouping val="standard"/>
        <c:varyColors val="0"/>
        <c:ser>
          <c:idx val="3"/>
          <c:order val="3"/>
          <c:tx>
            <c:strRef>
              <c:f>Sheet1!$E$1</c:f>
              <c:strCache>
                <c:ptCount val="1"/>
                <c:pt idx="0">
                  <c:v>Total</c:v>
                </c:pt>
              </c:strCache>
            </c:strRef>
          </c:tx>
          <c:spPr>
            <a:ln w="28575" cap="rnd">
              <a:solidFill>
                <a:srgbClr val="007AA9"/>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7AA9"/>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E$2:$E$4</c:f>
              <c:numCache>
                <c:formatCode>General</c:formatCode>
                <c:ptCount val="3"/>
                <c:pt idx="0">
                  <c:v>2377</c:v>
                </c:pt>
                <c:pt idx="1">
                  <c:v>2187</c:v>
                </c:pt>
                <c:pt idx="2">
                  <c:v>1967</c:v>
                </c:pt>
              </c:numCache>
            </c:numRef>
          </c:val>
          <c:smooth val="0"/>
          <c:extLst>
            <c:ext xmlns:c16="http://schemas.microsoft.com/office/drawing/2014/chart" uri="{C3380CC4-5D6E-409C-BE32-E72D297353CC}">
              <c16:uniqueId val="{00000006-2B25-4381-9FAB-96CB5CEA36F6}"/>
            </c:ext>
          </c:extLst>
        </c:ser>
        <c:dLbls>
          <c:dLblPos val="ctr"/>
          <c:showLegendKey val="0"/>
          <c:showVal val="1"/>
          <c:showCatName val="0"/>
          <c:showSerName val="0"/>
          <c:showPercent val="0"/>
          <c:showBubbleSize val="0"/>
        </c:dLbls>
        <c:marker val="1"/>
        <c:smooth val="0"/>
        <c:axId val="320649808"/>
        <c:axId val="277440687"/>
      </c:lineChart>
      <c:catAx>
        <c:axId val="1607070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043744319"/>
        <c:crosses val="autoZero"/>
        <c:auto val="1"/>
        <c:lblAlgn val="ctr"/>
        <c:lblOffset val="100"/>
        <c:noMultiLvlLbl val="0"/>
      </c:catAx>
      <c:valAx>
        <c:axId val="1043744319"/>
        <c:scaling>
          <c:orientation val="minMax"/>
          <c:max val="27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607070320"/>
        <c:crosses val="autoZero"/>
        <c:crossBetween val="between"/>
      </c:valAx>
      <c:valAx>
        <c:axId val="277440687"/>
        <c:scaling>
          <c:orientation val="minMax"/>
        </c:scaling>
        <c:delete val="1"/>
        <c:axPos val="r"/>
        <c:numFmt formatCode="General" sourceLinked="1"/>
        <c:majorTickMark val="out"/>
        <c:minorTickMark val="none"/>
        <c:tickLblPos val="nextTo"/>
        <c:crossAx val="320649808"/>
        <c:crosses val="max"/>
        <c:crossBetween val="between"/>
      </c:valAx>
      <c:catAx>
        <c:axId val="320649808"/>
        <c:scaling>
          <c:orientation val="minMax"/>
        </c:scaling>
        <c:delete val="1"/>
        <c:axPos val="b"/>
        <c:numFmt formatCode="General" sourceLinked="1"/>
        <c:majorTickMark val="out"/>
        <c:minorTickMark val="none"/>
        <c:tickLblPos val="nextTo"/>
        <c:crossAx val="277440687"/>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85548413944083"/>
          <c:y val="0.12156516447643867"/>
          <c:w val="0.81503955025437902"/>
          <c:h val="0.765217977703332"/>
        </c:manualLayout>
      </c:layout>
      <c:barChart>
        <c:barDir val="col"/>
        <c:grouping val="stacked"/>
        <c:varyColors val="0"/>
        <c:ser>
          <c:idx val="0"/>
          <c:order val="0"/>
          <c:tx>
            <c:strRef>
              <c:f>Sheet1!$B$1</c:f>
              <c:strCache>
                <c:ptCount val="1"/>
                <c:pt idx="0">
                  <c:v>&lt;2018</c:v>
                </c:pt>
              </c:strCache>
            </c:strRef>
          </c:tx>
          <c:spPr>
            <a:solidFill>
              <a:srgbClr val="367847"/>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8798498.4599999897</c:v>
                </c:pt>
                <c:pt idx="1">
                  <c:v>5801642.1599999899</c:v>
                </c:pt>
                <c:pt idx="2">
                  <c:v>5362434.6499999948</c:v>
                </c:pt>
              </c:numCache>
            </c:numRef>
          </c:val>
          <c:extLst>
            <c:ext xmlns:c16="http://schemas.microsoft.com/office/drawing/2014/chart" uri="{C3380CC4-5D6E-409C-BE32-E72D297353CC}">
              <c16:uniqueId val="{00000000-8D30-4305-A393-6650DE79413B}"/>
            </c:ext>
          </c:extLst>
        </c:ser>
        <c:ser>
          <c:idx val="1"/>
          <c:order val="1"/>
          <c:tx>
            <c:strRef>
              <c:f>Sheet1!$C$1</c:f>
              <c:strCache>
                <c:ptCount val="1"/>
                <c:pt idx="0">
                  <c:v>2018</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8D30-4305-A393-6650DE79413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General</c:formatCode>
                <c:ptCount val="3"/>
                <c:pt idx="0">
                  <c:v>0</c:v>
                </c:pt>
                <c:pt idx="1">
                  <c:v>3568604.9800000004</c:v>
                </c:pt>
                <c:pt idx="2">
                  <c:v>956397.23000000056</c:v>
                </c:pt>
              </c:numCache>
            </c:numRef>
          </c:val>
          <c:extLst>
            <c:ext xmlns:c16="http://schemas.microsoft.com/office/drawing/2014/chart" uri="{C3380CC4-5D6E-409C-BE32-E72D297353CC}">
              <c16:uniqueId val="{00000002-8D30-4305-A393-6650DE79413B}"/>
            </c:ext>
          </c:extLst>
        </c:ser>
        <c:ser>
          <c:idx val="2"/>
          <c:order val="2"/>
          <c:tx>
            <c:strRef>
              <c:f>Sheet1!$D$1</c:f>
              <c:strCache>
                <c:ptCount val="1"/>
                <c:pt idx="0">
                  <c:v>2019</c:v>
                </c:pt>
              </c:strCache>
            </c:strRef>
          </c:tx>
          <c:spPr>
            <a:solidFill>
              <a:srgbClr val="8FCD9F"/>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8D30-4305-A393-6650DE79413B}"/>
                </c:ext>
              </c:extLst>
            </c:dLbl>
            <c:dLbl>
              <c:idx val="1"/>
              <c:delete val="1"/>
              <c:extLst>
                <c:ext xmlns:c15="http://schemas.microsoft.com/office/drawing/2012/chart" uri="{CE6537A1-D6FC-4f65-9D91-7224C49458BB}"/>
                <c:ext xmlns:c16="http://schemas.microsoft.com/office/drawing/2014/chart" uri="{C3380CC4-5D6E-409C-BE32-E72D297353CC}">
                  <c16:uniqueId val="{00000004-8D30-4305-A393-6650DE79413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General</c:formatCode>
                <c:ptCount val="3"/>
                <c:pt idx="0">
                  <c:v>0</c:v>
                </c:pt>
                <c:pt idx="1">
                  <c:v>0</c:v>
                </c:pt>
                <c:pt idx="2">
                  <c:v>3130595.3399999985</c:v>
                </c:pt>
              </c:numCache>
            </c:numRef>
          </c:val>
          <c:extLst>
            <c:ext xmlns:c16="http://schemas.microsoft.com/office/drawing/2014/chart" uri="{C3380CC4-5D6E-409C-BE32-E72D297353CC}">
              <c16:uniqueId val="{00000005-8D30-4305-A393-6650DE79413B}"/>
            </c:ext>
          </c:extLst>
        </c:ser>
        <c:dLbls>
          <c:showLegendKey val="0"/>
          <c:showVal val="1"/>
          <c:showCatName val="0"/>
          <c:showSerName val="0"/>
          <c:showPercent val="0"/>
          <c:showBubbleSize val="0"/>
        </c:dLbls>
        <c:gapWidth val="50"/>
        <c:overlap val="100"/>
        <c:axId val="628186671"/>
        <c:axId val="309735119"/>
      </c:barChart>
      <c:lineChart>
        <c:grouping val="standard"/>
        <c:varyColors val="0"/>
        <c:ser>
          <c:idx val="3"/>
          <c:order val="3"/>
          <c:tx>
            <c:strRef>
              <c:f>Sheet1!$E$1</c:f>
              <c:strCache>
                <c:ptCount val="1"/>
                <c:pt idx="0">
                  <c:v>Total</c:v>
                </c:pt>
              </c:strCache>
            </c:strRef>
          </c:tx>
          <c:spPr>
            <a:ln w="28575" cap="rnd">
              <a:solidFill>
                <a:srgbClr val="007AA9"/>
              </a:solidFill>
              <a:round/>
            </a:ln>
            <a:effectLst/>
          </c:spPr>
          <c:marker>
            <c:symbol val="none"/>
          </c:marker>
          <c:dLbls>
            <c:dLbl>
              <c:idx val="0"/>
              <c:layout>
                <c:manualLayout>
                  <c:x val="-4.4679035907822448E-2"/>
                  <c:y val="-5.01909090612855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D30-4305-A393-6650DE79413B}"/>
                </c:ext>
              </c:extLst>
            </c:dLbl>
            <c:dLbl>
              <c:idx val="1"/>
              <c:layout>
                <c:manualLayout>
                  <c:x val="-6.7018553861733651E-2"/>
                  <c:y val="-4.55385282598437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D30-4305-A393-6650DE79413B}"/>
                </c:ext>
              </c:extLst>
            </c:dLbl>
            <c:dLbl>
              <c:idx val="2"/>
              <c:layout>
                <c:manualLayout>
                  <c:x val="-4.1487676200120872E-2"/>
                  <c:y val="-4.61318882563599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8D30-4305-A393-6650DE79413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7AA9"/>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pt idx="0">
                  <c:v>2017</c:v>
                </c:pt>
                <c:pt idx="1">
                  <c:v>2018</c:v>
                </c:pt>
                <c:pt idx="2">
                  <c:v>2019</c:v>
                </c:pt>
              </c:numCache>
            </c:numRef>
          </c:cat>
          <c:val>
            <c:numRef>
              <c:f>Sheet1!$E$2:$E$4</c:f>
              <c:numCache>
                <c:formatCode>General</c:formatCode>
                <c:ptCount val="3"/>
                <c:pt idx="0">
                  <c:v>8798498.4599999897</c:v>
                </c:pt>
                <c:pt idx="1">
                  <c:v>9370247.1399999894</c:v>
                </c:pt>
                <c:pt idx="2">
                  <c:v>9449427.2199999932</c:v>
                </c:pt>
              </c:numCache>
            </c:numRef>
          </c:val>
          <c:smooth val="0"/>
          <c:extLst>
            <c:ext xmlns:c16="http://schemas.microsoft.com/office/drawing/2014/chart" uri="{C3380CC4-5D6E-409C-BE32-E72D297353CC}">
              <c16:uniqueId val="{00000009-8D30-4305-A393-6650DE79413B}"/>
            </c:ext>
          </c:extLst>
        </c:ser>
        <c:dLbls>
          <c:showLegendKey val="0"/>
          <c:showVal val="0"/>
          <c:showCatName val="0"/>
          <c:showSerName val="0"/>
          <c:showPercent val="0"/>
          <c:showBubbleSize val="0"/>
        </c:dLbls>
        <c:marker val="1"/>
        <c:smooth val="0"/>
        <c:axId val="776095472"/>
        <c:axId val="212208160"/>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ax val="10000000"/>
          <c:min val="0"/>
        </c:scaling>
        <c:delete val="0"/>
        <c:axPos val="l"/>
        <c:majorGridlines>
          <c:spPr>
            <a:ln w="9525" cap="flat" cmpd="sng" algn="ctr">
              <a:solidFill>
                <a:schemeClr val="tx1">
                  <a:lumMod val="15000"/>
                  <a:lumOff val="85000"/>
                </a:schemeClr>
              </a:solidFill>
              <a:round/>
            </a:ln>
            <a:effectLst/>
          </c:spPr>
        </c:majorGridlines>
        <c:numFmt formatCode="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dispUnits>
          <c:builtInUnit val="millions"/>
        </c:dispUnits>
      </c:valAx>
      <c:valAx>
        <c:axId val="212208160"/>
        <c:scaling>
          <c:orientation val="minMax"/>
          <c:min val="0"/>
        </c:scaling>
        <c:delete val="1"/>
        <c:axPos val="r"/>
        <c:numFmt formatCode="General" sourceLinked="1"/>
        <c:majorTickMark val="out"/>
        <c:minorTickMark val="none"/>
        <c:tickLblPos val="nextTo"/>
        <c:crossAx val="776095472"/>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776095472"/>
        <c:scaling>
          <c:orientation val="minMax"/>
        </c:scaling>
        <c:delete val="1"/>
        <c:axPos val="b"/>
        <c:numFmt formatCode="General" sourceLinked="1"/>
        <c:majorTickMark val="out"/>
        <c:minorTickMark val="none"/>
        <c:tickLblPos val="nextTo"/>
        <c:crossAx val="21220816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313526452901197E-2"/>
          <c:y val="0.23262709487453362"/>
          <c:w val="0.90537294709419758"/>
          <c:h val="0.59021283318507944"/>
        </c:manualLayout>
      </c:layout>
      <c:barChart>
        <c:barDir val="col"/>
        <c:grouping val="clustered"/>
        <c:varyColors val="0"/>
        <c:ser>
          <c:idx val="0"/>
          <c:order val="0"/>
          <c:tx>
            <c:strRef>
              <c:f>Feuil1!$B$1</c:f>
              <c:strCache>
                <c:ptCount val="1"/>
                <c:pt idx="0">
                  <c:v>Série 1</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9</c:v>
                </c:pt>
                <c:pt idx="1">
                  <c:v>2020</c:v>
                </c:pt>
                <c:pt idx="2">
                  <c:v>2021</c:v>
                </c:pt>
              </c:numCache>
            </c:numRef>
          </c:cat>
          <c:val>
            <c:numRef>
              <c:f>Feuil1!$B$2:$B$4</c:f>
              <c:numCache>
                <c:formatCode>0.0</c:formatCode>
                <c:ptCount val="3"/>
                <c:pt idx="0" formatCode="0">
                  <c:v>100</c:v>
                </c:pt>
                <c:pt idx="1">
                  <c:v>98.904308568043476</c:v>
                </c:pt>
                <c:pt idx="2">
                  <c:v>99.485104057351876</c:v>
                </c:pt>
              </c:numCache>
            </c:numRef>
          </c:val>
          <c:extLst>
            <c:ext xmlns:c16="http://schemas.microsoft.com/office/drawing/2014/chart" uri="{C3380CC4-5D6E-409C-BE32-E72D297353CC}">
              <c16:uniqueId val="{00000000-517E-4B76-81F0-C46122FD9A14}"/>
            </c:ext>
          </c:extLst>
        </c:ser>
        <c:dLbls>
          <c:showLegendKey val="0"/>
          <c:showVal val="0"/>
          <c:showCatName val="0"/>
          <c:showSerName val="0"/>
          <c:showPercent val="0"/>
          <c:showBubbleSize val="0"/>
        </c:dLbls>
        <c:gapWidth val="209"/>
        <c:overlap val="-27"/>
        <c:axId val="331217247"/>
        <c:axId val="852491423"/>
      </c:barChart>
      <c:catAx>
        <c:axId val="3312172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852491423"/>
        <c:crosses val="autoZero"/>
        <c:auto val="1"/>
        <c:lblAlgn val="ctr"/>
        <c:lblOffset val="100"/>
        <c:noMultiLvlLbl val="0"/>
      </c:catAx>
      <c:valAx>
        <c:axId val="852491423"/>
        <c:scaling>
          <c:orientation val="minMax"/>
          <c:max val="135"/>
          <c:min val="50"/>
        </c:scaling>
        <c:delete val="1"/>
        <c:axPos val="l"/>
        <c:numFmt formatCode="0" sourceLinked="1"/>
        <c:majorTickMark val="out"/>
        <c:minorTickMark val="none"/>
        <c:tickLblPos val="nextTo"/>
        <c:crossAx val="3312172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46675301233274"/>
          <c:y val="3.1815870190032042E-2"/>
          <c:w val="0.85534709118830698"/>
          <c:h val="0.76676151425470573"/>
        </c:manualLayout>
      </c:layout>
      <c:lineChart>
        <c:grouping val="standard"/>
        <c:varyColors val="0"/>
        <c:ser>
          <c:idx val="0"/>
          <c:order val="0"/>
          <c:tx>
            <c:strRef>
              <c:f>Sheet1!$B$1</c:f>
              <c:strCache>
                <c:ptCount val="1"/>
                <c:pt idx="0">
                  <c:v>&lt; 2018</c:v>
                </c:pt>
              </c:strCache>
            </c:strRef>
          </c:tx>
          <c:spPr>
            <a:ln w="28575" cap="rnd">
              <a:solidFill>
                <a:srgbClr val="367847"/>
              </a:solidFill>
              <a:round/>
            </a:ln>
            <a:effectLst/>
          </c:spPr>
          <c:marker>
            <c:symbol val="circle"/>
            <c:size val="5"/>
            <c:spPr>
              <a:solidFill>
                <a:srgbClr val="367847"/>
              </a:solidFill>
              <a:ln w="9525">
                <a:solidFill>
                  <a:srgbClr val="367847"/>
                </a:solidFill>
              </a:ln>
              <a:effectLst/>
            </c:spPr>
          </c:marker>
          <c:dLbls>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3701.5138662179174</c:v>
                </c:pt>
                <c:pt idx="1">
                  <c:v>6638.034508009142</c:v>
                </c:pt>
                <c:pt idx="2">
                  <c:v>6719.8429197994919</c:v>
                </c:pt>
              </c:numCache>
            </c:numRef>
          </c:val>
          <c:smooth val="0"/>
          <c:extLst>
            <c:ext xmlns:c16="http://schemas.microsoft.com/office/drawing/2014/chart" uri="{C3380CC4-5D6E-409C-BE32-E72D297353CC}">
              <c16:uniqueId val="{00000000-CBF0-436A-B235-F3EB2D2B4689}"/>
            </c:ext>
          </c:extLst>
        </c:ser>
        <c:ser>
          <c:idx val="1"/>
          <c:order val="1"/>
          <c:tx>
            <c:strRef>
              <c:f>Sheet1!$C$1</c:f>
              <c:strCache>
                <c:ptCount val="1"/>
                <c:pt idx="0">
                  <c:v>2018</c:v>
                </c:pt>
              </c:strCache>
            </c:strRef>
          </c:tx>
          <c:spPr>
            <a:ln w="28575" cap="rnd">
              <a:solidFill>
                <a:srgbClr val="289B38"/>
              </a:solidFill>
              <a:round/>
            </a:ln>
            <a:effectLst/>
          </c:spPr>
          <c:marker>
            <c:symbol val="circle"/>
            <c:size val="5"/>
            <c:spPr>
              <a:solidFill>
                <a:srgbClr val="289B38"/>
              </a:solidFill>
              <a:ln w="9525">
                <a:solidFill>
                  <a:srgbClr val="289B38"/>
                </a:solidFill>
              </a:ln>
              <a:effectLst/>
            </c:spPr>
          </c:marker>
          <c:dLbls>
            <c:dLbl>
              <c:idx val="2"/>
              <c:layout>
                <c:manualLayout>
                  <c:x val="-0.1426013770014081"/>
                  <c:y val="-3.87219800747198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0D6-4D7F-A88E-7C74F977122C}"/>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General</c:formatCode>
                <c:ptCount val="3"/>
                <c:pt idx="1">
                  <c:v>2717.9017364813408</c:v>
                </c:pt>
                <c:pt idx="2">
                  <c:v>3542.2119629629651</c:v>
                </c:pt>
              </c:numCache>
            </c:numRef>
          </c:val>
          <c:smooth val="0"/>
          <c:extLst>
            <c:ext xmlns:c16="http://schemas.microsoft.com/office/drawing/2014/chart" uri="{C3380CC4-5D6E-409C-BE32-E72D297353CC}">
              <c16:uniqueId val="{00000001-CBF0-436A-B235-F3EB2D2B4689}"/>
            </c:ext>
          </c:extLst>
        </c:ser>
        <c:ser>
          <c:idx val="2"/>
          <c:order val="2"/>
          <c:tx>
            <c:strRef>
              <c:f>Sheet1!$D$1</c:f>
              <c:strCache>
                <c:ptCount val="1"/>
                <c:pt idx="0">
                  <c:v>2019</c:v>
                </c:pt>
              </c:strCache>
            </c:strRef>
          </c:tx>
          <c:spPr>
            <a:ln w="76200" cap="rnd">
              <a:solidFill>
                <a:schemeClr val="bg2"/>
              </a:solidFill>
              <a:round/>
            </a:ln>
            <a:effectLst/>
          </c:spPr>
          <c:marker>
            <c:symbol val="circle"/>
            <c:size val="5"/>
            <c:spPr>
              <a:solidFill>
                <a:schemeClr val="bg2"/>
              </a:solidFill>
              <a:ln w="76200">
                <a:solidFill>
                  <a:schemeClr val="bg2"/>
                </a:solidFill>
              </a:ln>
              <a:effectLst/>
            </c:spPr>
          </c:marker>
          <c:dLbls>
            <c:dLbl>
              <c:idx val="2"/>
              <c:layout>
                <c:manualLayout>
                  <c:x val="-8.5102737589374065E-3"/>
                  <c:y val="-7.37468866749688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0D6-4D7F-A88E-7C74F977122C}"/>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General</c:formatCode>
                <c:ptCount val="3"/>
                <c:pt idx="2">
                  <c:v>3482.3084983314775</c:v>
                </c:pt>
              </c:numCache>
            </c:numRef>
          </c:val>
          <c:smooth val="0"/>
          <c:extLst>
            <c:ext xmlns:c16="http://schemas.microsoft.com/office/drawing/2014/chart" uri="{C3380CC4-5D6E-409C-BE32-E72D297353CC}">
              <c16:uniqueId val="{00000002-CBF0-436A-B235-F3EB2D2B4689}"/>
            </c:ext>
          </c:extLst>
        </c:ser>
        <c:dLbls>
          <c:dLblPos val="t"/>
          <c:showLegendKey val="0"/>
          <c:showVal val="1"/>
          <c:showCatName val="0"/>
          <c:showSerName val="0"/>
          <c:showPercent val="0"/>
          <c:showBubbleSize val="0"/>
        </c:dLbls>
        <c:marker val="1"/>
        <c:smooth val="0"/>
        <c:axId val="628186671"/>
        <c:axId val="30973511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valAx>
      <c:spPr>
        <a:noFill/>
        <a:ln>
          <a:noFill/>
        </a:ln>
        <a:effectLst/>
      </c:spPr>
    </c:plotArea>
    <c:legend>
      <c:legendPos val="b"/>
      <c:layout>
        <c:manualLayout>
          <c:xMode val="edge"/>
          <c:yMode val="edge"/>
          <c:x val="0.17539750676889204"/>
          <c:y val="0.87649003408517512"/>
          <c:w val="0.73759577319695424"/>
          <c:h val="0.1073778397935980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14367289101219349"/>
          <c:y val="5.069551921407274E-2"/>
          <c:w val="0.82378968104702976"/>
          <c:h val="0.85225151622996886"/>
        </c:manualLayout>
      </c:layout>
      <c:lineChart>
        <c:grouping val="standard"/>
        <c:varyColors val="0"/>
        <c:ser>
          <c:idx val="0"/>
          <c:order val="0"/>
          <c:tx>
            <c:strRef>
              <c:f>Sheet1!$B$1</c:f>
              <c:strCache>
                <c:ptCount val="1"/>
                <c:pt idx="0">
                  <c:v>Series 1</c:v>
                </c:pt>
              </c:strCache>
            </c:strRef>
          </c:tx>
          <c:spPr>
            <a:ln w="28575" cap="rnd">
              <a:solidFill>
                <a:schemeClr val="tx2"/>
              </a:solidFill>
              <a:round/>
            </a:ln>
            <a:effectLst/>
          </c:spPr>
          <c:marker>
            <c:symbol val="circle"/>
            <c:size val="5"/>
            <c:spPr>
              <a:solidFill>
                <a:schemeClr val="tx2"/>
              </a:solidFill>
              <a:ln w="9525">
                <a:solidFill>
                  <a:schemeClr val="tx2"/>
                </a:solidFill>
              </a:ln>
              <a:effectLst/>
            </c:spPr>
          </c:marker>
          <c:dLbls>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3543.4951510269839</c:v>
                </c:pt>
                <c:pt idx="1">
                  <c:v>4104.3570477441963</c:v>
                </c:pt>
                <c:pt idx="2">
                  <c:v>4684.8920277640063</c:v>
                </c:pt>
              </c:numCache>
            </c:numRef>
          </c:val>
          <c:smooth val="0"/>
          <c:extLst>
            <c:ext xmlns:c16="http://schemas.microsoft.com/office/drawing/2014/chart" uri="{C3380CC4-5D6E-409C-BE32-E72D297353CC}">
              <c16:uniqueId val="{00000000-1726-4EAF-878D-C2D10EDE05F5}"/>
            </c:ext>
          </c:extLst>
        </c:ser>
        <c:dLbls>
          <c:showLegendKey val="0"/>
          <c:showVal val="0"/>
          <c:showCatName val="0"/>
          <c:showSerName val="0"/>
          <c:showPercent val="0"/>
          <c:showBubbleSize val="0"/>
        </c:dLbls>
        <c:marker val="1"/>
        <c:smooth val="0"/>
        <c:axId val="651700111"/>
        <c:axId val="87064768"/>
      </c:lineChart>
      <c:catAx>
        <c:axId val="6517001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87064768"/>
        <c:crosses val="autoZero"/>
        <c:auto val="1"/>
        <c:lblAlgn val="ctr"/>
        <c:lblOffset val="100"/>
        <c:noMultiLvlLbl val="0"/>
      </c:catAx>
      <c:valAx>
        <c:axId val="870647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517001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lt;2018 Lead generation</c:v>
                </c:pt>
              </c:strCache>
            </c:strRef>
          </c:tx>
          <c:spPr>
            <a:pattFill prst="ltUpDiag">
              <a:fgClr>
                <a:schemeClr val="tx2">
                  <a:lumMod val="50000"/>
                </a:schemeClr>
              </a:fgClr>
              <a:bgClr>
                <a:srgbClr val="BFBFBF"/>
              </a:bgClr>
            </a:patt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2718371.86</c:v>
                </c:pt>
                <c:pt idx="1">
                  <c:v>2096633.4599999997</c:v>
                </c:pt>
                <c:pt idx="2">
                  <c:v>2077500.75</c:v>
                </c:pt>
              </c:numCache>
            </c:numRef>
          </c:val>
          <c:extLst>
            <c:ext xmlns:c16="http://schemas.microsoft.com/office/drawing/2014/chart" uri="{C3380CC4-5D6E-409C-BE32-E72D297353CC}">
              <c16:uniqueId val="{00000000-F438-49F7-9BF5-A60B993210F1}"/>
            </c:ext>
          </c:extLst>
        </c:ser>
        <c:ser>
          <c:idx val="1"/>
          <c:order val="1"/>
          <c:tx>
            <c:strRef>
              <c:f>Sheet1!$C$1</c:f>
              <c:strCache>
                <c:ptCount val="1"/>
                <c:pt idx="0">
                  <c:v>2018 Lead generation</c:v>
                </c:pt>
              </c:strCache>
            </c:strRef>
          </c:tx>
          <c:spPr>
            <a:pattFill prst="ltVert">
              <a:fgClr>
                <a:schemeClr val="tx1">
                  <a:lumMod val="50000"/>
                </a:schemeClr>
              </a:fgClr>
              <a:bgClr>
                <a:srgbClr val="BFBFBF"/>
              </a:bgClr>
            </a:patt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F-F438-49F7-9BF5-A60B993210F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General</c:formatCode>
                <c:ptCount val="3"/>
                <c:pt idx="0">
                  <c:v>0</c:v>
                </c:pt>
                <c:pt idx="1">
                  <c:v>1341015.1000000006</c:v>
                </c:pt>
                <c:pt idx="2">
                  <c:v>381261.07999999996</c:v>
                </c:pt>
              </c:numCache>
            </c:numRef>
          </c:val>
          <c:extLst>
            <c:ext xmlns:c16="http://schemas.microsoft.com/office/drawing/2014/chart" uri="{C3380CC4-5D6E-409C-BE32-E72D297353CC}">
              <c16:uniqueId val="{00000001-F438-49F7-9BF5-A60B993210F1}"/>
            </c:ext>
          </c:extLst>
        </c:ser>
        <c:ser>
          <c:idx val="2"/>
          <c:order val="2"/>
          <c:tx>
            <c:strRef>
              <c:f>Sheet1!$D$1</c:f>
              <c:strCache>
                <c:ptCount val="1"/>
                <c:pt idx="0">
                  <c:v>2019 Lead generation</c:v>
                </c:pt>
              </c:strCache>
            </c:strRef>
          </c:tx>
          <c:spPr>
            <a:pattFill prst="pct5">
              <a:fgClr>
                <a:schemeClr val="tx1">
                  <a:lumMod val="50000"/>
                </a:schemeClr>
              </a:fgClr>
              <a:bgClr>
                <a:srgbClr val="BFBFBF"/>
              </a:bgClr>
            </a:patt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E-F438-49F7-9BF5-A60B993210F1}"/>
                </c:ext>
              </c:extLst>
            </c:dLbl>
            <c:dLbl>
              <c:idx val="1"/>
              <c:delete val="1"/>
              <c:extLst>
                <c:ext xmlns:c15="http://schemas.microsoft.com/office/drawing/2012/chart" uri="{CE6537A1-D6FC-4f65-9D91-7224C49458BB}"/>
                <c:ext xmlns:c16="http://schemas.microsoft.com/office/drawing/2014/chart" uri="{C3380CC4-5D6E-409C-BE32-E72D297353CC}">
                  <c16:uniqueId val="{00000010-F438-49F7-9BF5-A60B993210F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General</c:formatCode>
                <c:ptCount val="3"/>
                <c:pt idx="0">
                  <c:v>0</c:v>
                </c:pt>
                <c:pt idx="1">
                  <c:v>0</c:v>
                </c:pt>
                <c:pt idx="2">
                  <c:v>1476534.97</c:v>
                </c:pt>
              </c:numCache>
            </c:numRef>
          </c:val>
          <c:extLst>
            <c:ext xmlns:c16="http://schemas.microsoft.com/office/drawing/2014/chart" uri="{C3380CC4-5D6E-409C-BE32-E72D297353CC}">
              <c16:uniqueId val="{00000002-F438-49F7-9BF5-A60B993210F1}"/>
            </c:ext>
          </c:extLst>
        </c:ser>
        <c:ser>
          <c:idx val="3"/>
          <c:order val="3"/>
          <c:tx>
            <c:strRef>
              <c:f>Sheet1!$E$1</c:f>
              <c:strCache>
                <c:ptCount val="1"/>
                <c:pt idx="0">
                  <c:v>&lt;2018 Recurring</c:v>
                </c:pt>
              </c:strCache>
            </c:strRef>
          </c:tx>
          <c:spPr>
            <a:pattFill prst="ltUpDiag">
              <a:fgClr>
                <a:schemeClr val="tx1">
                  <a:lumMod val="50000"/>
                </a:schemeClr>
              </a:fgClr>
              <a:bgClr>
                <a:schemeClr val="accent2"/>
              </a:bgClr>
            </a:patt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E$2:$E$4</c:f>
              <c:numCache>
                <c:formatCode>General</c:formatCode>
                <c:ptCount val="3"/>
                <c:pt idx="0">
                  <c:v>2933323.27</c:v>
                </c:pt>
                <c:pt idx="1">
                  <c:v>716359.58</c:v>
                </c:pt>
                <c:pt idx="2">
                  <c:v>781147.91</c:v>
                </c:pt>
              </c:numCache>
            </c:numRef>
          </c:val>
          <c:extLst>
            <c:ext xmlns:c16="http://schemas.microsoft.com/office/drawing/2014/chart" uri="{C3380CC4-5D6E-409C-BE32-E72D297353CC}">
              <c16:uniqueId val="{00000004-F438-49F7-9BF5-A60B993210F1}"/>
            </c:ext>
          </c:extLst>
        </c:ser>
        <c:ser>
          <c:idx val="4"/>
          <c:order val="4"/>
          <c:tx>
            <c:strRef>
              <c:f>Sheet1!$F$1</c:f>
              <c:strCache>
                <c:ptCount val="1"/>
                <c:pt idx="0">
                  <c:v>2018 Recurring</c:v>
                </c:pt>
              </c:strCache>
            </c:strRef>
          </c:tx>
          <c:spPr>
            <a:pattFill prst="ltVert">
              <a:fgClr>
                <a:schemeClr val="tx1">
                  <a:lumMod val="50000"/>
                </a:schemeClr>
              </a:fgClr>
              <a:bgClr>
                <a:schemeClr val="accent2"/>
              </a:bgClr>
            </a:patt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2-F438-49F7-9BF5-A60B993210F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F$2:$F$4</c:f>
              <c:numCache>
                <c:formatCode>General</c:formatCode>
                <c:ptCount val="3"/>
                <c:pt idx="0">
                  <c:v>0</c:v>
                </c:pt>
                <c:pt idx="1">
                  <c:v>1734204.1399999992</c:v>
                </c:pt>
                <c:pt idx="2">
                  <c:v>195570.72000000006</c:v>
                </c:pt>
              </c:numCache>
            </c:numRef>
          </c:val>
          <c:extLst>
            <c:ext xmlns:c16="http://schemas.microsoft.com/office/drawing/2014/chart" uri="{C3380CC4-5D6E-409C-BE32-E72D297353CC}">
              <c16:uniqueId val="{00000005-F438-49F7-9BF5-A60B993210F1}"/>
            </c:ext>
          </c:extLst>
        </c:ser>
        <c:ser>
          <c:idx val="5"/>
          <c:order val="5"/>
          <c:tx>
            <c:strRef>
              <c:f>Sheet1!$G$1</c:f>
              <c:strCache>
                <c:ptCount val="1"/>
                <c:pt idx="0">
                  <c:v>2019 Recurring</c:v>
                </c:pt>
              </c:strCache>
            </c:strRef>
          </c:tx>
          <c:spPr>
            <a:pattFill prst="pct5">
              <a:fgClr>
                <a:schemeClr val="tx1">
                  <a:lumMod val="50000"/>
                </a:schemeClr>
              </a:fgClr>
              <a:bgClr>
                <a:schemeClr val="accent2"/>
              </a:bgClr>
            </a:patt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1-F438-49F7-9BF5-A60B993210F1}"/>
                </c:ext>
              </c:extLst>
            </c:dLbl>
            <c:dLbl>
              <c:idx val="1"/>
              <c:delete val="1"/>
              <c:extLst>
                <c:ext xmlns:c15="http://schemas.microsoft.com/office/drawing/2012/chart" uri="{CE6537A1-D6FC-4f65-9D91-7224C49458BB}"/>
                <c:ext xmlns:c16="http://schemas.microsoft.com/office/drawing/2014/chart" uri="{C3380CC4-5D6E-409C-BE32-E72D297353CC}">
                  <c16:uniqueId val="{00000015-F438-49F7-9BF5-A60B993210F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G$2:$G$4</c:f>
              <c:numCache>
                <c:formatCode>General</c:formatCode>
                <c:ptCount val="3"/>
                <c:pt idx="0">
                  <c:v>0</c:v>
                </c:pt>
                <c:pt idx="1">
                  <c:v>0</c:v>
                </c:pt>
                <c:pt idx="2">
                  <c:v>1107059.3600000008</c:v>
                </c:pt>
              </c:numCache>
            </c:numRef>
          </c:val>
          <c:extLst>
            <c:ext xmlns:c16="http://schemas.microsoft.com/office/drawing/2014/chart" uri="{C3380CC4-5D6E-409C-BE32-E72D297353CC}">
              <c16:uniqueId val="{00000006-F438-49F7-9BF5-A60B993210F1}"/>
            </c:ext>
          </c:extLst>
        </c:ser>
        <c:ser>
          <c:idx val="6"/>
          <c:order val="6"/>
          <c:tx>
            <c:strRef>
              <c:f>Sheet1!$H$1</c:f>
              <c:strCache>
                <c:ptCount val="1"/>
                <c:pt idx="0">
                  <c:v>&lt;2018 Programmatic</c:v>
                </c:pt>
              </c:strCache>
            </c:strRef>
          </c:tx>
          <c:spPr>
            <a:pattFill prst="ltUpDiag">
              <a:fgClr>
                <a:schemeClr val="tx1">
                  <a:lumMod val="50000"/>
                </a:schemeClr>
              </a:fgClr>
              <a:bgClr>
                <a:schemeClr val="bg2"/>
              </a:bgClr>
            </a:patt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H$2:$H$4</c:f>
              <c:numCache>
                <c:formatCode>General</c:formatCode>
                <c:ptCount val="3"/>
                <c:pt idx="0">
                  <c:v>1398180.1400000001</c:v>
                </c:pt>
                <c:pt idx="1">
                  <c:v>1459669.07</c:v>
                </c:pt>
                <c:pt idx="2">
                  <c:v>1236159.3700000001</c:v>
                </c:pt>
              </c:numCache>
            </c:numRef>
          </c:val>
          <c:extLst>
            <c:ext xmlns:c16="http://schemas.microsoft.com/office/drawing/2014/chart" uri="{C3380CC4-5D6E-409C-BE32-E72D297353CC}">
              <c16:uniqueId val="{00000007-F438-49F7-9BF5-A60B993210F1}"/>
            </c:ext>
          </c:extLst>
        </c:ser>
        <c:ser>
          <c:idx val="7"/>
          <c:order val="7"/>
          <c:tx>
            <c:strRef>
              <c:f>Sheet1!$I$1</c:f>
              <c:strCache>
                <c:ptCount val="1"/>
                <c:pt idx="0">
                  <c:v>2018 Programmatic</c:v>
                </c:pt>
              </c:strCache>
            </c:strRef>
          </c:tx>
          <c:spPr>
            <a:pattFill prst="ltVert">
              <a:fgClr>
                <a:schemeClr val="tx1">
                  <a:lumMod val="50000"/>
                </a:schemeClr>
              </a:fgClr>
              <a:bgClr>
                <a:schemeClr val="bg2"/>
              </a:bgClr>
            </a:patt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4-F438-49F7-9BF5-A60B993210F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I$2:$I$4</c:f>
              <c:numCache>
                <c:formatCode>General</c:formatCode>
                <c:ptCount val="3"/>
                <c:pt idx="0">
                  <c:v>0</c:v>
                </c:pt>
                <c:pt idx="1">
                  <c:v>500279.95999999996</c:v>
                </c:pt>
                <c:pt idx="2">
                  <c:v>275945.18</c:v>
                </c:pt>
              </c:numCache>
            </c:numRef>
          </c:val>
          <c:extLst>
            <c:ext xmlns:c16="http://schemas.microsoft.com/office/drawing/2014/chart" uri="{C3380CC4-5D6E-409C-BE32-E72D297353CC}">
              <c16:uniqueId val="{00000008-F438-49F7-9BF5-A60B993210F1}"/>
            </c:ext>
          </c:extLst>
        </c:ser>
        <c:ser>
          <c:idx val="8"/>
          <c:order val="8"/>
          <c:tx>
            <c:strRef>
              <c:f>Sheet1!$J$1</c:f>
              <c:strCache>
                <c:ptCount val="1"/>
                <c:pt idx="0">
                  <c:v>2019 Programmatic</c:v>
                </c:pt>
              </c:strCache>
            </c:strRef>
          </c:tx>
          <c:spPr>
            <a:pattFill prst="pct5">
              <a:fgClr>
                <a:schemeClr val="tx1">
                  <a:lumMod val="50000"/>
                </a:schemeClr>
              </a:fgClr>
              <a:bgClr>
                <a:schemeClr val="bg2"/>
              </a:bgClr>
            </a:patt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3-F438-49F7-9BF5-A60B993210F1}"/>
                </c:ext>
              </c:extLst>
            </c:dLbl>
            <c:dLbl>
              <c:idx val="1"/>
              <c:delete val="1"/>
              <c:extLst>
                <c:ext xmlns:c15="http://schemas.microsoft.com/office/drawing/2012/chart" uri="{CE6537A1-D6FC-4f65-9D91-7224C49458BB}"/>
                <c:ext xmlns:c16="http://schemas.microsoft.com/office/drawing/2014/chart" uri="{C3380CC4-5D6E-409C-BE32-E72D297353CC}">
                  <c16:uniqueId val="{00000016-F438-49F7-9BF5-A60B993210F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J$2:$J$4</c:f>
              <c:numCache>
                <c:formatCode>General</c:formatCode>
                <c:ptCount val="3"/>
                <c:pt idx="0">
                  <c:v>0</c:v>
                </c:pt>
                <c:pt idx="1">
                  <c:v>0</c:v>
                </c:pt>
                <c:pt idx="2">
                  <c:v>668468.55999999994</c:v>
                </c:pt>
              </c:numCache>
            </c:numRef>
          </c:val>
          <c:extLst>
            <c:ext xmlns:c16="http://schemas.microsoft.com/office/drawing/2014/chart" uri="{C3380CC4-5D6E-409C-BE32-E72D297353CC}">
              <c16:uniqueId val="{00000009-F438-49F7-9BF5-A60B993210F1}"/>
            </c:ext>
          </c:extLst>
        </c:ser>
        <c:ser>
          <c:idx val="9"/>
          <c:order val="9"/>
          <c:tx>
            <c:strRef>
              <c:f>Sheet1!$K$1</c:f>
              <c:strCache>
                <c:ptCount val="1"/>
                <c:pt idx="0">
                  <c:v>&lt;2018 Other</c:v>
                </c:pt>
              </c:strCache>
            </c:strRef>
          </c:tx>
          <c:spPr>
            <a:pattFill prst="ltUpDiag">
              <a:fgClr>
                <a:schemeClr val="tx1">
                  <a:lumMod val="50000"/>
                </a:schemeClr>
              </a:fgClr>
              <a:bgClr>
                <a:schemeClr val="accent1"/>
              </a:bgClr>
            </a:patt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K$2:$K$4</c:f>
              <c:numCache>
                <c:formatCode>General</c:formatCode>
                <c:ptCount val="3"/>
                <c:pt idx="0">
                  <c:v>1748623.1900000011</c:v>
                </c:pt>
                <c:pt idx="1">
                  <c:v>1366187.8600000006</c:v>
                </c:pt>
                <c:pt idx="2">
                  <c:v>1116430.2500000005</c:v>
                </c:pt>
              </c:numCache>
            </c:numRef>
          </c:val>
          <c:extLst>
            <c:ext xmlns:c16="http://schemas.microsoft.com/office/drawing/2014/chart" uri="{C3380CC4-5D6E-409C-BE32-E72D297353CC}">
              <c16:uniqueId val="{0000000A-F438-49F7-9BF5-A60B993210F1}"/>
            </c:ext>
          </c:extLst>
        </c:ser>
        <c:ser>
          <c:idx val="10"/>
          <c:order val="10"/>
          <c:tx>
            <c:strRef>
              <c:f>Sheet1!$L$1</c:f>
              <c:strCache>
                <c:ptCount val="1"/>
                <c:pt idx="0">
                  <c:v>2018 Other</c:v>
                </c:pt>
              </c:strCache>
            </c:strRef>
          </c:tx>
          <c:spPr>
            <a:pattFill prst="ltVert">
              <a:fgClr>
                <a:schemeClr val="tx1">
                  <a:lumMod val="50000"/>
                </a:schemeClr>
              </a:fgClr>
              <a:bgClr>
                <a:schemeClr val="accent1"/>
              </a:bgClr>
            </a:patt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9-F438-49F7-9BF5-A60B993210F1}"/>
                </c:ext>
              </c:extLst>
            </c:dLbl>
            <c:dLbl>
              <c:idx val="1"/>
              <c:layout>
                <c:manualLayout>
                  <c:x val="0.10300850126894079"/>
                  <c:y val="4.9957985062229614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F438-49F7-9BF5-A60B993210F1}"/>
                </c:ext>
              </c:extLst>
            </c:dLbl>
            <c:dLbl>
              <c:idx val="2"/>
              <c:layout>
                <c:manualLayout>
                  <c:x val="-9.5084770402099186E-2"/>
                  <c:y val="5.7643828917957232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F438-49F7-9BF5-A60B993210F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L$2:$L$4</c:f>
              <c:numCache>
                <c:formatCode>General</c:formatCode>
                <c:ptCount val="3"/>
                <c:pt idx="0">
                  <c:v>0</c:v>
                </c:pt>
                <c:pt idx="1">
                  <c:v>155897.97</c:v>
                </c:pt>
                <c:pt idx="2">
                  <c:v>126713.01000000001</c:v>
                </c:pt>
              </c:numCache>
            </c:numRef>
          </c:val>
          <c:extLst>
            <c:ext xmlns:c16="http://schemas.microsoft.com/office/drawing/2014/chart" uri="{C3380CC4-5D6E-409C-BE32-E72D297353CC}">
              <c16:uniqueId val="{0000000B-F438-49F7-9BF5-A60B993210F1}"/>
            </c:ext>
          </c:extLst>
        </c:ser>
        <c:ser>
          <c:idx val="11"/>
          <c:order val="11"/>
          <c:tx>
            <c:strRef>
              <c:f>Sheet1!$M$1</c:f>
              <c:strCache>
                <c:ptCount val="1"/>
                <c:pt idx="0">
                  <c:v>2019 Other</c:v>
                </c:pt>
              </c:strCache>
            </c:strRef>
          </c:tx>
          <c:spPr>
            <a:pattFill prst="pct5">
              <a:fgClr>
                <a:schemeClr val="tx1">
                  <a:lumMod val="50000"/>
                </a:schemeClr>
              </a:fgClr>
              <a:bgClr>
                <a:schemeClr val="accent1"/>
              </a:bgClr>
            </a:patt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8-F438-49F7-9BF5-A60B993210F1}"/>
                </c:ext>
              </c:extLst>
            </c:dLbl>
            <c:dLbl>
              <c:idx val="1"/>
              <c:delete val="1"/>
              <c:extLst>
                <c:ext xmlns:c15="http://schemas.microsoft.com/office/drawing/2012/chart" uri="{CE6537A1-D6FC-4f65-9D91-7224C49458BB}"/>
                <c:ext xmlns:c16="http://schemas.microsoft.com/office/drawing/2014/chart" uri="{C3380CC4-5D6E-409C-BE32-E72D297353CC}">
                  <c16:uniqueId val="{0000001A-F438-49F7-9BF5-A60B993210F1}"/>
                </c:ext>
              </c:extLst>
            </c:dLbl>
            <c:dLbl>
              <c:idx val="2"/>
              <c:layout>
                <c:manualLayout>
                  <c:x val="0.11885596300262398"/>
                  <c:y val="7.6858438557276245E-3"/>
                </c:manualLayout>
              </c:layout>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F438-49F7-9BF5-A60B993210F1}"/>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M$2:$M$4</c:f>
              <c:numCache>
                <c:formatCode>General</c:formatCode>
                <c:ptCount val="3"/>
                <c:pt idx="0">
                  <c:v>0</c:v>
                </c:pt>
                <c:pt idx="1">
                  <c:v>0</c:v>
                </c:pt>
                <c:pt idx="2">
                  <c:v>6636.0600000000013</c:v>
                </c:pt>
              </c:numCache>
            </c:numRef>
          </c:val>
          <c:extLst>
            <c:ext xmlns:c16="http://schemas.microsoft.com/office/drawing/2014/chart" uri="{C3380CC4-5D6E-409C-BE32-E72D297353CC}">
              <c16:uniqueId val="{0000000C-F438-49F7-9BF5-A60B993210F1}"/>
            </c:ext>
          </c:extLst>
        </c:ser>
        <c:dLbls>
          <c:dLblPos val="ctr"/>
          <c:showLegendKey val="0"/>
          <c:showVal val="1"/>
          <c:showCatName val="0"/>
          <c:showSerName val="0"/>
          <c:showPercent val="0"/>
          <c:showBubbleSize val="0"/>
        </c:dLbls>
        <c:gapWidth val="100"/>
        <c:overlap val="100"/>
        <c:axId val="1607070320"/>
        <c:axId val="1043744319"/>
      </c:barChart>
      <c:lineChart>
        <c:grouping val="standard"/>
        <c:varyColors val="0"/>
        <c:ser>
          <c:idx val="12"/>
          <c:order val="12"/>
          <c:tx>
            <c:strRef>
              <c:f>Sheet1!$N$1</c:f>
              <c:strCache>
                <c:ptCount val="1"/>
                <c:pt idx="0">
                  <c:v>Total</c:v>
                </c:pt>
              </c:strCache>
            </c:strRef>
          </c:tx>
          <c:spPr>
            <a:ln w="28575" cap="rnd">
              <a:solidFill>
                <a:srgbClr val="007AA9"/>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7AA9"/>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N$2:$N$4</c:f>
              <c:numCache>
                <c:formatCode>General</c:formatCode>
                <c:ptCount val="3"/>
                <c:pt idx="0">
                  <c:v>8798498.4600000009</c:v>
                </c:pt>
                <c:pt idx="1">
                  <c:v>9370247.1400000006</c:v>
                </c:pt>
                <c:pt idx="2">
                  <c:v>9449427.2200000007</c:v>
                </c:pt>
              </c:numCache>
            </c:numRef>
          </c:val>
          <c:smooth val="0"/>
          <c:extLst>
            <c:ext xmlns:c16="http://schemas.microsoft.com/office/drawing/2014/chart" uri="{C3380CC4-5D6E-409C-BE32-E72D297353CC}">
              <c16:uniqueId val="{0000000D-F438-49F7-9BF5-A60B993210F1}"/>
            </c:ext>
          </c:extLst>
        </c:ser>
        <c:dLbls>
          <c:dLblPos val="ctr"/>
          <c:showLegendKey val="0"/>
          <c:showVal val="1"/>
          <c:showCatName val="0"/>
          <c:showSerName val="0"/>
          <c:showPercent val="0"/>
          <c:showBubbleSize val="0"/>
        </c:dLbls>
        <c:marker val="1"/>
        <c:smooth val="0"/>
        <c:axId val="893355792"/>
        <c:axId val="868621904"/>
      </c:lineChart>
      <c:catAx>
        <c:axId val="1607070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043744319"/>
        <c:crosses val="autoZero"/>
        <c:auto val="1"/>
        <c:lblAlgn val="ctr"/>
        <c:lblOffset val="100"/>
        <c:noMultiLvlLbl val="0"/>
      </c:catAx>
      <c:valAx>
        <c:axId val="1043744319"/>
        <c:scaling>
          <c:orientation val="minMax"/>
        </c:scaling>
        <c:delete val="0"/>
        <c:axPos val="l"/>
        <c:majorGridlines>
          <c:spPr>
            <a:ln w="9525" cap="flat" cmpd="sng" algn="ctr">
              <a:solidFill>
                <a:schemeClr val="tx1">
                  <a:lumMod val="15000"/>
                  <a:lumOff val="85000"/>
                </a:schemeClr>
              </a:solidFill>
              <a:round/>
            </a:ln>
            <a:effectLst/>
          </c:spPr>
        </c:majorGridlines>
        <c:numFmt formatCode="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607070320"/>
        <c:crosses val="autoZero"/>
        <c:crossBetween val="between"/>
        <c:dispUnits>
          <c:builtInUnit val="millions"/>
        </c:dispUnits>
      </c:valAx>
      <c:valAx>
        <c:axId val="868621904"/>
        <c:scaling>
          <c:orientation val="minMax"/>
          <c:min val="0"/>
        </c:scaling>
        <c:delete val="1"/>
        <c:axPos val="r"/>
        <c:numFmt formatCode="General" sourceLinked="1"/>
        <c:majorTickMark val="out"/>
        <c:minorTickMark val="none"/>
        <c:tickLblPos val="nextTo"/>
        <c:crossAx val="893355792"/>
        <c:crosses val="max"/>
        <c:crossBetween val="between"/>
        <c:dispUnits>
          <c:builtInUnit val="millions"/>
        </c:dispUnits>
      </c:valAx>
      <c:catAx>
        <c:axId val="893355792"/>
        <c:scaling>
          <c:orientation val="minMax"/>
        </c:scaling>
        <c:delete val="1"/>
        <c:axPos val="b"/>
        <c:numFmt formatCode="General" sourceLinked="1"/>
        <c:majorTickMark val="out"/>
        <c:minorTickMark val="none"/>
        <c:tickLblPos val="nextTo"/>
        <c:crossAx val="868621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85379210127224"/>
          <c:y val="5.5008094483424648E-2"/>
          <c:w val="0.85534709118830698"/>
          <c:h val="0.85953065692386499"/>
        </c:manualLayout>
      </c:layout>
      <c:lineChart>
        <c:grouping val="standard"/>
        <c:varyColors val="0"/>
        <c:ser>
          <c:idx val="0"/>
          <c:order val="0"/>
          <c:tx>
            <c:strRef>
              <c:f>Sheet1!$B$1</c:f>
              <c:strCache>
                <c:ptCount val="1"/>
                <c:pt idx="0">
                  <c:v>Autr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7</c:v>
                </c:pt>
                <c:pt idx="1">
                  <c:v>2018</c:v>
                </c:pt>
                <c:pt idx="2">
                  <c:v>2019</c:v>
                </c:pt>
              </c:strCache>
            </c:strRef>
          </c:cat>
          <c:val>
            <c:numRef>
              <c:f>Sheet1!$B$2:$B$4</c:f>
              <c:numCache>
                <c:formatCode>General</c:formatCode>
                <c:ptCount val="3"/>
                <c:pt idx="0">
                  <c:v>5464.4474687500033</c:v>
                </c:pt>
                <c:pt idx="1">
                  <c:v>5475.1288848920894</c:v>
                </c:pt>
                <c:pt idx="2">
                  <c:v>4999.1172800000013</c:v>
                </c:pt>
              </c:numCache>
            </c:numRef>
          </c:val>
          <c:smooth val="0"/>
          <c:extLst>
            <c:ext xmlns:c16="http://schemas.microsoft.com/office/drawing/2014/chart" uri="{C3380CC4-5D6E-409C-BE32-E72D297353CC}">
              <c16:uniqueId val="{00000000-BAC0-4189-A2D8-2B70CED921CB}"/>
            </c:ext>
          </c:extLst>
        </c:ser>
        <c:ser>
          <c:idx val="1"/>
          <c:order val="1"/>
          <c:tx>
            <c:strRef>
              <c:f>Sheet1!$C$1</c:f>
              <c:strCache>
                <c:ptCount val="1"/>
                <c:pt idx="0">
                  <c:v>Lead generation</c:v>
                </c:pt>
              </c:strCache>
            </c:strRef>
          </c:tx>
          <c:spPr>
            <a:ln w="28575" cap="rnd">
              <a:solidFill>
                <a:srgbClr val="BFBFBF"/>
              </a:solidFill>
              <a:round/>
            </a:ln>
            <a:effectLst/>
          </c:spPr>
          <c:marker>
            <c:symbol val="circle"/>
            <c:size val="5"/>
            <c:spPr>
              <a:solidFill>
                <a:schemeClr val="bg1">
                  <a:lumMod val="75000"/>
                </a:schemeClr>
              </a:solidFill>
              <a:ln w="9525">
                <a:solidFill>
                  <a:srgbClr val="BFBFBF"/>
                </a:solidFill>
              </a:ln>
              <a:effectLst/>
            </c:spPr>
          </c:marker>
          <c:dLbls>
            <c:dLbl>
              <c:idx val="1"/>
              <c:layout>
                <c:manualLayout>
                  <c:x val="-8.4379312530782138E-2"/>
                  <c:y val="3.94077619993603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C30-44DE-A598-C5234EB4C8DC}"/>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7</c:v>
                </c:pt>
                <c:pt idx="1">
                  <c:v>2018</c:v>
                </c:pt>
                <c:pt idx="2">
                  <c:v>2019</c:v>
                </c:pt>
              </c:strCache>
            </c:strRef>
          </c:cat>
          <c:val>
            <c:numRef>
              <c:f>Sheet1!$C$2:$C$4</c:f>
              <c:numCache>
                <c:formatCode>General</c:formatCode>
                <c:ptCount val="3"/>
                <c:pt idx="0">
                  <c:v>13195.979902912621</c:v>
                </c:pt>
                <c:pt idx="1">
                  <c:v>12019.750209790214</c:v>
                </c:pt>
                <c:pt idx="2">
                  <c:v>14206.847653429604</c:v>
                </c:pt>
              </c:numCache>
            </c:numRef>
          </c:val>
          <c:smooth val="0"/>
          <c:extLst>
            <c:ext xmlns:c16="http://schemas.microsoft.com/office/drawing/2014/chart" uri="{C3380CC4-5D6E-409C-BE32-E72D297353CC}">
              <c16:uniqueId val="{00000001-BAC0-4189-A2D8-2B70CED921CB}"/>
            </c:ext>
          </c:extLst>
        </c:ser>
        <c:ser>
          <c:idx val="2"/>
          <c:order val="2"/>
          <c:tx>
            <c:strRef>
              <c:f>Sheet1!$D$1</c:f>
              <c:strCache>
                <c:ptCount val="1"/>
                <c:pt idx="0">
                  <c:v>Recurring </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7</c:v>
                </c:pt>
                <c:pt idx="1">
                  <c:v>2018</c:v>
                </c:pt>
                <c:pt idx="2">
                  <c:v>2019</c:v>
                </c:pt>
              </c:strCache>
            </c:strRef>
          </c:cat>
          <c:val>
            <c:numRef>
              <c:f>Sheet1!$D$2:$D$4</c:f>
              <c:numCache>
                <c:formatCode>General</c:formatCode>
                <c:ptCount val="3"/>
                <c:pt idx="0">
                  <c:v>1603.7852761071624</c:v>
                </c:pt>
                <c:pt idx="1">
                  <c:v>1555.9134730158739</c:v>
                </c:pt>
                <c:pt idx="2">
                  <c:v>1507.7988350217074</c:v>
                </c:pt>
              </c:numCache>
            </c:numRef>
          </c:val>
          <c:smooth val="0"/>
          <c:extLst>
            <c:ext xmlns:c16="http://schemas.microsoft.com/office/drawing/2014/chart" uri="{C3380CC4-5D6E-409C-BE32-E72D297353CC}">
              <c16:uniqueId val="{00000002-BAC0-4189-A2D8-2B70CED921CB}"/>
            </c:ext>
          </c:extLst>
        </c:ser>
        <c:ser>
          <c:idx val="3"/>
          <c:order val="3"/>
          <c:tx>
            <c:strRef>
              <c:f>Sheet1!$E$1</c:f>
              <c:strCache>
                <c:ptCount val="1"/>
                <c:pt idx="0">
                  <c:v>Programmatic</c:v>
                </c:pt>
              </c:strCache>
            </c:strRef>
          </c:tx>
          <c:spPr>
            <a:ln w="28575" cap="rnd">
              <a:solidFill>
                <a:schemeClr val="bg2"/>
              </a:solidFill>
              <a:round/>
            </a:ln>
            <a:effectLst/>
          </c:spPr>
          <c:marker>
            <c:symbol val="circle"/>
            <c:size val="5"/>
            <c:spPr>
              <a:solidFill>
                <a:schemeClr val="bg2"/>
              </a:solidFill>
              <a:ln w="9525">
                <a:solidFill>
                  <a:schemeClr val="bg2"/>
                </a:solidFill>
              </a:ln>
              <a:effectLst/>
            </c:spPr>
          </c:marker>
          <c:dLbls>
            <c:dLbl>
              <c:idx val="0"/>
              <c:layout>
                <c:manualLayout>
                  <c:x val="-7.5089846931062895E-2"/>
                  <c:y val="2.781160413212802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C30-44DE-A598-C5234EB4C8DC}"/>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7</c:v>
                </c:pt>
                <c:pt idx="1">
                  <c:v>2018</c:v>
                </c:pt>
                <c:pt idx="2">
                  <c:v>2019</c:v>
                </c:pt>
              </c:strCache>
            </c:strRef>
          </c:cat>
          <c:val>
            <c:numRef>
              <c:f>Sheet1!$E$2:$E$4</c:f>
              <c:numCache>
                <c:formatCode>General</c:formatCode>
                <c:ptCount val="3"/>
                <c:pt idx="0">
                  <c:v>10923.282343750001</c:v>
                </c:pt>
                <c:pt idx="1">
                  <c:v>13610.757152777778</c:v>
                </c:pt>
                <c:pt idx="2">
                  <c:v>20190.491759259257</c:v>
                </c:pt>
              </c:numCache>
            </c:numRef>
          </c:val>
          <c:smooth val="0"/>
          <c:extLst>
            <c:ext xmlns:c16="http://schemas.microsoft.com/office/drawing/2014/chart" uri="{C3380CC4-5D6E-409C-BE32-E72D297353CC}">
              <c16:uniqueId val="{00000003-BAC0-4189-A2D8-2B70CED921CB}"/>
            </c:ext>
          </c:extLst>
        </c:ser>
        <c:dLbls>
          <c:dLblPos val="t"/>
          <c:showLegendKey val="0"/>
          <c:showVal val="1"/>
          <c:showCatName val="0"/>
          <c:showSerName val="0"/>
          <c:showPercent val="0"/>
          <c:showBubbleSize val="0"/>
        </c:dLbls>
        <c:marker val="1"/>
        <c:smooth val="0"/>
        <c:axId val="628186671"/>
        <c:axId val="30973511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euil1!$B$1</c:f>
              <c:strCache>
                <c:ptCount val="1"/>
                <c:pt idx="0">
                  <c:v>FY18</c:v>
                </c:pt>
              </c:strCache>
            </c:strRef>
          </c:tx>
          <c:spPr>
            <a:solidFill>
              <a:schemeClr val="bg2"/>
            </a:solidFill>
            <a:ln>
              <a:noFill/>
            </a:ln>
            <a:effectLst/>
          </c:spPr>
          <c:invertIfNegative val="0"/>
          <c:cat>
            <c:strRef>
              <c:f>Feuil1!$A$2:$A$8</c:f>
              <c:strCache>
                <c:ptCount val="7"/>
                <c:pt idx="0">
                  <c:v>XBSP - Purchase from DBI </c:v>
                </c:pt>
                <c:pt idx="1">
                  <c:v>IT Services/ Divers (trade proc.)</c:v>
                </c:pt>
                <c:pt idx="2">
                  <c:v>Trademark</c:v>
                </c:pt>
                <c:pt idx="3">
                  <c:v>Vaps / fulfillement </c:v>
                </c:pt>
                <c:pt idx="4">
                  <c:v>IT Services (ENGAGE)</c:v>
                </c:pt>
                <c:pt idx="5">
                  <c:v>Thor</c:v>
                </c:pt>
                <c:pt idx="6">
                  <c:v>Contribution for DBI seminar</c:v>
                </c:pt>
              </c:strCache>
            </c:strRef>
          </c:cat>
          <c:val>
            <c:numRef>
              <c:f>Feuil1!$B$2:$B$8</c:f>
              <c:numCache>
                <c:formatCode>#,##0</c:formatCode>
                <c:ptCount val="7"/>
                <c:pt idx="0">
                  <c:v>3242.5289700000003</c:v>
                </c:pt>
                <c:pt idx="1">
                  <c:v>1728.1990000000001</c:v>
                </c:pt>
                <c:pt idx="2">
                  <c:v>531.35155000000009</c:v>
                </c:pt>
                <c:pt idx="3">
                  <c:v>973.9920800000001</c:v>
                </c:pt>
                <c:pt idx="5">
                  <c:v>237.85031000000001</c:v>
                </c:pt>
                <c:pt idx="6">
                  <c:v>6</c:v>
                </c:pt>
              </c:numCache>
            </c:numRef>
          </c:val>
          <c:extLst>
            <c:ext xmlns:c16="http://schemas.microsoft.com/office/drawing/2014/chart" uri="{C3380CC4-5D6E-409C-BE32-E72D297353CC}">
              <c16:uniqueId val="{00000000-9418-4381-97B8-8E6CB6D7F87A}"/>
            </c:ext>
          </c:extLst>
        </c:ser>
        <c:ser>
          <c:idx val="1"/>
          <c:order val="1"/>
          <c:tx>
            <c:strRef>
              <c:f>Feuil1!$C$1</c:f>
              <c:strCache>
                <c:ptCount val="1"/>
                <c:pt idx="0">
                  <c:v>FY19</c:v>
                </c:pt>
              </c:strCache>
            </c:strRef>
          </c:tx>
          <c:spPr>
            <a:solidFill>
              <a:schemeClr val="tx2"/>
            </a:solidFill>
            <a:ln>
              <a:noFill/>
            </a:ln>
            <a:effectLst/>
          </c:spPr>
          <c:invertIfNegative val="0"/>
          <c:cat>
            <c:strRef>
              <c:f>Feuil1!$A$2:$A$8</c:f>
              <c:strCache>
                <c:ptCount val="7"/>
                <c:pt idx="0">
                  <c:v>XBSP - Purchase from DBI </c:v>
                </c:pt>
                <c:pt idx="1">
                  <c:v>IT Services/ Divers (trade proc.)</c:v>
                </c:pt>
                <c:pt idx="2">
                  <c:v>Trademark</c:v>
                </c:pt>
                <c:pt idx="3">
                  <c:v>Vaps / fulfillement </c:v>
                </c:pt>
                <c:pt idx="4">
                  <c:v>IT Services (ENGAGE)</c:v>
                </c:pt>
                <c:pt idx="5">
                  <c:v>Thor</c:v>
                </c:pt>
                <c:pt idx="6">
                  <c:v>Contribution for DBI seminar</c:v>
                </c:pt>
              </c:strCache>
            </c:strRef>
          </c:cat>
          <c:val>
            <c:numRef>
              <c:f>Feuil1!$C$2:$C$8</c:f>
              <c:numCache>
                <c:formatCode>#,##0</c:formatCode>
                <c:ptCount val="7"/>
                <c:pt idx="0">
                  <c:v>3642.2631499999998</c:v>
                </c:pt>
                <c:pt idx="1">
                  <c:v>1822.41344</c:v>
                </c:pt>
                <c:pt idx="2">
                  <c:v>678.7805699999999</c:v>
                </c:pt>
                <c:pt idx="3">
                  <c:v>598.48368000000005</c:v>
                </c:pt>
                <c:pt idx="4">
                  <c:v>200</c:v>
                </c:pt>
                <c:pt idx="5">
                  <c:v>215.43215000000004</c:v>
                </c:pt>
              </c:numCache>
            </c:numRef>
          </c:val>
          <c:extLst>
            <c:ext xmlns:c16="http://schemas.microsoft.com/office/drawing/2014/chart" uri="{C3380CC4-5D6E-409C-BE32-E72D297353CC}">
              <c16:uniqueId val="{00000001-9418-4381-97B8-8E6CB6D7F87A}"/>
            </c:ext>
          </c:extLst>
        </c:ser>
        <c:dLbls>
          <c:showLegendKey val="0"/>
          <c:showVal val="0"/>
          <c:showCatName val="0"/>
          <c:showSerName val="0"/>
          <c:showPercent val="0"/>
          <c:showBubbleSize val="0"/>
        </c:dLbls>
        <c:gapWidth val="219"/>
        <c:overlap val="-27"/>
        <c:axId val="1904257248"/>
        <c:axId val="1829676256"/>
      </c:barChart>
      <c:catAx>
        <c:axId val="1904257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829676256"/>
        <c:crosses val="autoZero"/>
        <c:auto val="1"/>
        <c:lblAlgn val="ctr"/>
        <c:lblOffset val="100"/>
        <c:noMultiLvlLbl val="0"/>
      </c:catAx>
      <c:valAx>
        <c:axId val="182967625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904257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euil1!$B$1</c:f>
              <c:strCache>
                <c:ptCount val="1"/>
                <c:pt idx="0">
                  <c:v>FY18</c:v>
                </c:pt>
              </c:strCache>
            </c:strRef>
          </c:tx>
          <c:spPr>
            <a:solidFill>
              <a:schemeClr val="bg2"/>
            </a:solidFill>
            <a:ln>
              <a:noFill/>
            </a:ln>
            <a:effectLst/>
          </c:spPr>
          <c:invertIfNegative val="0"/>
          <c:cat>
            <c:strRef>
              <c:f>Feuil1!$A$2:$A$8</c:f>
              <c:strCache>
                <c:ptCount val="7"/>
                <c:pt idx="0">
                  <c:v>XBSP Altares contract with DBI*  </c:v>
                </c:pt>
                <c:pt idx="1">
                  <c:v>Customer Revenue Share</c:v>
                </c:pt>
                <c:pt idx="2">
                  <c:v>Worldbase Payments </c:v>
                </c:pt>
                <c:pt idx="3">
                  <c:v>Marketing refund</c:v>
                </c:pt>
                <c:pt idx="4">
                  <c:v>IT Services (ENGAGE)</c:v>
                </c:pt>
                <c:pt idx="5">
                  <c:v>Thor</c:v>
                </c:pt>
                <c:pt idx="6">
                  <c:v>Contribution for DBI seminar</c:v>
                </c:pt>
              </c:strCache>
            </c:strRef>
          </c:cat>
          <c:val>
            <c:numRef>
              <c:f>Feuil1!$B$2:$B$8</c:f>
              <c:numCache>
                <c:formatCode>#,##0</c:formatCode>
                <c:ptCount val="7"/>
                <c:pt idx="0">
                  <c:v>6301.0519400000003</c:v>
                </c:pt>
                <c:pt idx="1">
                  <c:v>1417.48</c:v>
                </c:pt>
                <c:pt idx="2">
                  <c:v>1194.9086399999997</c:v>
                </c:pt>
                <c:pt idx="3">
                  <c:v>390</c:v>
                </c:pt>
                <c:pt idx="5">
                  <c:v>237.85031000000001</c:v>
                </c:pt>
                <c:pt idx="6">
                  <c:v>6</c:v>
                </c:pt>
              </c:numCache>
            </c:numRef>
          </c:val>
          <c:extLst>
            <c:ext xmlns:c16="http://schemas.microsoft.com/office/drawing/2014/chart" uri="{C3380CC4-5D6E-409C-BE32-E72D297353CC}">
              <c16:uniqueId val="{00000000-9418-4381-97B8-8E6CB6D7F87A}"/>
            </c:ext>
          </c:extLst>
        </c:ser>
        <c:ser>
          <c:idx val="1"/>
          <c:order val="1"/>
          <c:tx>
            <c:strRef>
              <c:f>Feuil1!$C$1</c:f>
              <c:strCache>
                <c:ptCount val="1"/>
                <c:pt idx="0">
                  <c:v>FY19</c:v>
                </c:pt>
              </c:strCache>
            </c:strRef>
          </c:tx>
          <c:spPr>
            <a:solidFill>
              <a:schemeClr val="tx2"/>
            </a:solidFill>
            <a:ln>
              <a:noFill/>
            </a:ln>
            <a:effectLst/>
          </c:spPr>
          <c:invertIfNegative val="0"/>
          <c:cat>
            <c:strRef>
              <c:f>Feuil1!$A$2:$A$8</c:f>
              <c:strCache>
                <c:ptCount val="7"/>
                <c:pt idx="0">
                  <c:v>XBSP Altares contract with DBI*  </c:v>
                </c:pt>
                <c:pt idx="1">
                  <c:v>Customer Revenue Share</c:v>
                </c:pt>
                <c:pt idx="2">
                  <c:v>Worldbase Payments </c:v>
                </c:pt>
                <c:pt idx="3">
                  <c:v>Marketing refund</c:v>
                </c:pt>
                <c:pt idx="4">
                  <c:v>IT Services (ENGAGE)</c:v>
                </c:pt>
                <c:pt idx="5">
                  <c:v>Thor</c:v>
                </c:pt>
                <c:pt idx="6">
                  <c:v>Contribution for DBI seminar</c:v>
                </c:pt>
              </c:strCache>
            </c:strRef>
          </c:cat>
          <c:val>
            <c:numRef>
              <c:f>Feuil1!$C$2:$C$8</c:f>
              <c:numCache>
                <c:formatCode>#,##0</c:formatCode>
                <c:ptCount val="7"/>
                <c:pt idx="0">
                  <c:v>7121.6634300000005</c:v>
                </c:pt>
                <c:pt idx="1">
                  <c:v>1480.6149800000001</c:v>
                </c:pt>
                <c:pt idx="2">
                  <c:v>1420.8953000000001</c:v>
                </c:pt>
                <c:pt idx="3">
                  <c:v>218.23875000000001</c:v>
                </c:pt>
                <c:pt idx="4">
                  <c:v>200</c:v>
                </c:pt>
                <c:pt idx="5">
                  <c:v>215.43215000000004</c:v>
                </c:pt>
              </c:numCache>
            </c:numRef>
          </c:val>
          <c:extLst>
            <c:ext xmlns:c16="http://schemas.microsoft.com/office/drawing/2014/chart" uri="{C3380CC4-5D6E-409C-BE32-E72D297353CC}">
              <c16:uniqueId val="{00000001-9418-4381-97B8-8E6CB6D7F87A}"/>
            </c:ext>
          </c:extLst>
        </c:ser>
        <c:dLbls>
          <c:showLegendKey val="0"/>
          <c:showVal val="0"/>
          <c:showCatName val="0"/>
          <c:showSerName val="0"/>
          <c:showPercent val="0"/>
          <c:showBubbleSize val="0"/>
        </c:dLbls>
        <c:gapWidth val="219"/>
        <c:overlap val="-27"/>
        <c:axId val="1904257248"/>
        <c:axId val="1829676256"/>
      </c:barChart>
      <c:catAx>
        <c:axId val="1904257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829676256"/>
        <c:crosses val="autoZero"/>
        <c:auto val="1"/>
        <c:lblAlgn val="ctr"/>
        <c:lblOffset val="100"/>
        <c:noMultiLvlLbl val="0"/>
      </c:catAx>
      <c:valAx>
        <c:axId val="182967625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904257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euil1!$B$1</c:f>
              <c:strCache>
                <c:ptCount val="1"/>
                <c:pt idx="0">
                  <c:v>FY18</c:v>
                </c:pt>
              </c:strCache>
            </c:strRef>
          </c:tx>
          <c:spPr>
            <a:solidFill>
              <a:schemeClr val="bg2"/>
            </a:solidFill>
            <a:ln>
              <a:noFill/>
            </a:ln>
            <a:effectLst/>
          </c:spPr>
          <c:invertIfNegative val="0"/>
          <c:cat>
            <c:strRef>
              <c:f>Feuil1!$A$2:$A$10</c:f>
              <c:strCache>
                <c:ptCount val="9"/>
                <c:pt idx="0">
                  <c:v>Annual Data Fee</c:v>
                </c:pt>
                <c:pt idx="1">
                  <c:v>VAPS exc. DB Credit</c:v>
                </c:pt>
                <c:pt idx="2">
                  <c:v>GTO - IT Services (trans. Plan)</c:v>
                </c:pt>
                <c:pt idx="3">
                  <c:v>Cust. Revenue Share / LCC (Exp.)</c:v>
                </c:pt>
                <c:pt idx="4">
                  <c:v>Trademark</c:v>
                </c:pt>
                <c:pt idx="5">
                  <c:v>IT Management charges </c:v>
                </c:pt>
                <c:pt idx="6">
                  <c:v>VAP's DB Credit</c:v>
                </c:pt>
                <c:pt idx="7">
                  <c:v>Other Prod. &amp; Serv.(DBI)</c:v>
                </c:pt>
                <c:pt idx="8">
                  <c:v>D&amp;O Services (Trade Processing)</c:v>
                </c:pt>
              </c:strCache>
            </c:strRef>
          </c:cat>
          <c:val>
            <c:numRef>
              <c:f>Feuil1!$B$2:$B$10</c:f>
              <c:numCache>
                <c:formatCode>#,##0</c:formatCode>
                <c:ptCount val="9"/>
                <c:pt idx="0">
                  <c:v>14716.00246</c:v>
                </c:pt>
                <c:pt idx="1">
                  <c:v>7800</c:v>
                </c:pt>
                <c:pt idx="2">
                  <c:v>3666.6666900000005</c:v>
                </c:pt>
                <c:pt idx="3">
                  <c:v>2698.5172200000002</c:v>
                </c:pt>
                <c:pt idx="4">
                  <c:v>1535.1</c:v>
                </c:pt>
                <c:pt idx="5">
                  <c:v>995.83333000000005</c:v>
                </c:pt>
                <c:pt idx="6">
                  <c:v>500</c:v>
                </c:pt>
                <c:pt idx="7">
                  <c:v>375.23655999999988</c:v>
                </c:pt>
                <c:pt idx="8">
                  <c:v>114.84261000000001</c:v>
                </c:pt>
              </c:numCache>
            </c:numRef>
          </c:val>
          <c:extLst>
            <c:ext xmlns:c16="http://schemas.microsoft.com/office/drawing/2014/chart" uri="{C3380CC4-5D6E-409C-BE32-E72D297353CC}">
              <c16:uniqueId val="{00000000-B7AC-4F17-B069-7A367D1B55AE}"/>
            </c:ext>
          </c:extLst>
        </c:ser>
        <c:ser>
          <c:idx val="1"/>
          <c:order val="1"/>
          <c:tx>
            <c:strRef>
              <c:f>Feuil1!$C$1</c:f>
              <c:strCache>
                <c:ptCount val="1"/>
                <c:pt idx="0">
                  <c:v>FY19</c:v>
                </c:pt>
              </c:strCache>
            </c:strRef>
          </c:tx>
          <c:spPr>
            <a:solidFill>
              <a:schemeClr val="tx2"/>
            </a:solidFill>
            <a:ln>
              <a:noFill/>
            </a:ln>
            <a:effectLst/>
          </c:spPr>
          <c:invertIfNegative val="0"/>
          <c:cat>
            <c:strRef>
              <c:f>Feuil1!$A$2:$A$10</c:f>
              <c:strCache>
                <c:ptCount val="9"/>
                <c:pt idx="0">
                  <c:v>Annual Data Fee</c:v>
                </c:pt>
                <c:pt idx="1">
                  <c:v>VAPS exc. DB Credit</c:v>
                </c:pt>
                <c:pt idx="2">
                  <c:v>GTO - IT Services (trans. Plan)</c:v>
                </c:pt>
                <c:pt idx="3">
                  <c:v>Cust. Revenue Share / LCC (Exp.)</c:v>
                </c:pt>
                <c:pt idx="4">
                  <c:v>Trademark</c:v>
                </c:pt>
                <c:pt idx="5">
                  <c:v>IT Management charges </c:v>
                </c:pt>
                <c:pt idx="6">
                  <c:v>VAP's DB Credit</c:v>
                </c:pt>
                <c:pt idx="7">
                  <c:v>Other Prod. &amp; Serv.(DBI)</c:v>
                </c:pt>
                <c:pt idx="8">
                  <c:v>D&amp;O Services (Trade Processing)</c:v>
                </c:pt>
              </c:strCache>
            </c:strRef>
          </c:cat>
          <c:val>
            <c:numRef>
              <c:f>Feuil1!$C$2:$C$10</c:f>
              <c:numCache>
                <c:formatCode>#,##0</c:formatCode>
                <c:ptCount val="9"/>
                <c:pt idx="0">
                  <c:v>14715.999669999999</c:v>
                </c:pt>
                <c:pt idx="1">
                  <c:v>7800</c:v>
                </c:pt>
                <c:pt idx="2">
                  <c:v>2560.6549199999999</c:v>
                </c:pt>
                <c:pt idx="3">
                  <c:v>1975.8260700000001</c:v>
                </c:pt>
                <c:pt idx="4">
                  <c:v>1565.8019999999999</c:v>
                </c:pt>
                <c:pt idx="5">
                  <c:v>833.33230000000003</c:v>
                </c:pt>
                <c:pt idx="6">
                  <c:v>500</c:v>
                </c:pt>
                <c:pt idx="7">
                  <c:v>425.91820000000001</c:v>
                </c:pt>
                <c:pt idx="8">
                  <c:v>115.32068</c:v>
                </c:pt>
              </c:numCache>
            </c:numRef>
          </c:val>
          <c:extLst>
            <c:ext xmlns:c16="http://schemas.microsoft.com/office/drawing/2014/chart" uri="{C3380CC4-5D6E-409C-BE32-E72D297353CC}">
              <c16:uniqueId val="{00000001-B7AC-4F17-B069-7A367D1B55AE}"/>
            </c:ext>
          </c:extLst>
        </c:ser>
        <c:dLbls>
          <c:showLegendKey val="0"/>
          <c:showVal val="0"/>
          <c:showCatName val="0"/>
          <c:showSerName val="0"/>
          <c:showPercent val="0"/>
          <c:showBubbleSize val="0"/>
        </c:dLbls>
        <c:gapWidth val="219"/>
        <c:overlap val="-27"/>
        <c:axId val="1880450480"/>
        <c:axId val="432760575"/>
      </c:barChart>
      <c:catAx>
        <c:axId val="188045048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432760575"/>
        <c:crosses val="autoZero"/>
        <c:auto val="1"/>
        <c:lblAlgn val="ctr"/>
        <c:lblOffset val="100"/>
        <c:noMultiLvlLbl val="0"/>
      </c:catAx>
      <c:valAx>
        <c:axId val="432760575"/>
        <c:scaling>
          <c:orientation val="minMax"/>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8804504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86364902013395"/>
          <c:y val="3.0162291263234327E-2"/>
          <c:w val="0.83577409670576686"/>
          <c:h val="0.57963676137741282"/>
        </c:manualLayout>
      </c:layout>
      <c:barChart>
        <c:barDir val="col"/>
        <c:grouping val="clustered"/>
        <c:varyColors val="0"/>
        <c:ser>
          <c:idx val="0"/>
          <c:order val="0"/>
          <c:tx>
            <c:strRef>
              <c:f>Feuil1!$B$1</c:f>
              <c:strCache>
                <c:ptCount val="1"/>
                <c:pt idx="0">
                  <c:v>FY18</c:v>
                </c:pt>
              </c:strCache>
            </c:strRef>
          </c:tx>
          <c:spPr>
            <a:solidFill>
              <a:schemeClr val="bg2"/>
            </a:solidFill>
            <a:ln>
              <a:noFill/>
            </a:ln>
            <a:effectLst/>
          </c:spPr>
          <c:invertIfNegative val="0"/>
          <c:cat>
            <c:strRef>
              <c:f>Feuil1!$A$2:$A$5</c:f>
              <c:strCache>
                <c:ptCount val="4"/>
                <c:pt idx="0">
                  <c:v>Data Sales to DBI</c:v>
                </c:pt>
                <c:pt idx="1">
                  <c:v>Cust. Revenue Share / LCC  (Rev.)</c:v>
                </c:pt>
                <c:pt idx="2">
                  <c:v>Data Standards and Data Improvement Compensation</c:v>
                </c:pt>
                <c:pt idx="3">
                  <c:v>Marketing Development Fund</c:v>
                </c:pt>
              </c:strCache>
            </c:strRef>
          </c:cat>
          <c:val>
            <c:numRef>
              <c:f>Feuil1!$B$2:$B$5</c:f>
              <c:numCache>
                <c:formatCode>#,##0</c:formatCode>
                <c:ptCount val="4"/>
                <c:pt idx="0">
                  <c:v>4742.1412599999994</c:v>
                </c:pt>
                <c:pt idx="1">
                  <c:v>1240.6453900000001</c:v>
                </c:pt>
                <c:pt idx="2">
                  <c:v>613.25000999999997</c:v>
                </c:pt>
                <c:pt idx="3">
                  <c:v>349.50155000000001</c:v>
                </c:pt>
              </c:numCache>
            </c:numRef>
          </c:val>
          <c:extLst>
            <c:ext xmlns:c16="http://schemas.microsoft.com/office/drawing/2014/chart" uri="{C3380CC4-5D6E-409C-BE32-E72D297353CC}">
              <c16:uniqueId val="{00000000-666C-45AC-B9CD-6BE06F56F81B}"/>
            </c:ext>
          </c:extLst>
        </c:ser>
        <c:ser>
          <c:idx val="1"/>
          <c:order val="1"/>
          <c:tx>
            <c:strRef>
              <c:f>Feuil1!$C$1</c:f>
              <c:strCache>
                <c:ptCount val="1"/>
                <c:pt idx="0">
                  <c:v>FY19</c:v>
                </c:pt>
              </c:strCache>
            </c:strRef>
          </c:tx>
          <c:spPr>
            <a:solidFill>
              <a:schemeClr val="tx2"/>
            </a:solidFill>
            <a:ln>
              <a:noFill/>
            </a:ln>
            <a:effectLst/>
          </c:spPr>
          <c:invertIfNegative val="0"/>
          <c:cat>
            <c:strRef>
              <c:f>Feuil1!$A$2:$A$5</c:f>
              <c:strCache>
                <c:ptCount val="4"/>
                <c:pt idx="0">
                  <c:v>Data Sales to DBI</c:v>
                </c:pt>
                <c:pt idx="1">
                  <c:v>Cust. Revenue Share / LCC  (Rev.)</c:v>
                </c:pt>
                <c:pt idx="2">
                  <c:v>Data Standards and Data Improvement Compensation</c:v>
                </c:pt>
                <c:pt idx="3">
                  <c:v>Marketing Development Fund</c:v>
                </c:pt>
              </c:strCache>
            </c:strRef>
          </c:cat>
          <c:val>
            <c:numRef>
              <c:f>Feuil1!$C$2:$C$5</c:f>
              <c:numCache>
                <c:formatCode>#,##0</c:formatCode>
                <c:ptCount val="4"/>
                <c:pt idx="0">
                  <c:v>4979.2483099999999</c:v>
                </c:pt>
                <c:pt idx="1">
                  <c:v>2089.9639199999997</c:v>
                </c:pt>
                <c:pt idx="2">
                  <c:v>581</c:v>
                </c:pt>
                <c:pt idx="3">
                  <c:v>230.98598999999999</c:v>
                </c:pt>
              </c:numCache>
            </c:numRef>
          </c:val>
          <c:extLst>
            <c:ext xmlns:c16="http://schemas.microsoft.com/office/drawing/2014/chart" uri="{C3380CC4-5D6E-409C-BE32-E72D297353CC}">
              <c16:uniqueId val="{00000001-666C-45AC-B9CD-6BE06F56F81B}"/>
            </c:ext>
          </c:extLst>
        </c:ser>
        <c:dLbls>
          <c:showLegendKey val="0"/>
          <c:showVal val="0"/>
          <c:showCatName val="0"/>
          <c:showSerName val="0"/>
          <c:showPercent val="0"/>
          <c:showBubbleSize val="0"/>
        </c:dLbls>
        <c:gapWidth val="219"/>
        <c:overlap val="-27"/>
        <c:axId val="166655167"/>
        <c:axId val="848375343"/>
      </c:barChart>
      <c:catAx>
        <c:axId val="1666551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848375343"/>
        <c:crosses val="autoZero"/>
        <c:auto val="1"/>
        <c:lblAlgn val="ctr"/>
        <c:lblOffset val="100"/>
        <c:noMultiLvlLbl val="0"/>
      </c:catAx>
      <c:valAx>
        <c:axId val="84837534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666551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Altares proprietary products</c:v>
                </c:pt>
              </c:strCache>
            </c:strRef>
          </c:tx>
          <c:spPr>
            <a:solidFill>
              <a:schemeClr val="accent1"/>
            </a:solidFill>
            <a:ln>
              <a:noFill/>
            </a:ln>
            <a:effectLst/>
          </c:spPr>
          <c:invertIfNegative val="0"/>
          <c:dLbls>
            <c:numFmt formatCode="#,##0.00" sourceLinked="0"/>
            <c:spPr>
              <a:solidFill>
                <a:schemeClr val="accent1"/>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5</c:f>
              <c:numCache>
                <c:formatCode>General</c:formatCode>
                <c:ptCount val="4"/>
                <c:pt idx="0">
                  <c:v>2016</c:v>
                </c:pt>
                <c:pt idx="1">
                  <c:v>2017</c:v>
                </c:pt>
                <c:pt idx="2">
                  <c:v>2018</c:v>
                </c:pt>
                <c:pt idx="3">
                  <c:v>2019</c:v>
                </c:pt>
              </c:numCache>
            </c:numRef>
          </c:cat>
          <c:val>
            <c:numRef>
              <c:f>Feuil1!$B$2:$B$5</c:f>
              <c:numCache>
                <c:formatCode>General</c:formatCode>
                <c:ptCount val="4"/>
                <c:pt idx="0">
                  <c:v>26516794.289999984</c:v>
                </c:pt>
                <c:pt idx="1">
                  <c:v>25075398.470000047</c:v>
                </c:pt>
                <c:pt idx="2">
                  <c:v>24355444.96999998</c:v>
                </c:pt>
                <c:pt idx="3">
                  <c:v>25646199.690000031</c:v>
                </c:pt>
              </c:numCache>
            </c:numRef>
          </c:val>
          <c:extLst>
            <c:ext xmlns:c16="http://schemas.microsoft.com/office/drawing/2014/chart" uri="{C3380CC4-5D6E-409C-BE32-E72D297353CC}">
              <c16:uniqueId val="{00000000-18F3-4789-83CB-8F131B4CD9CB}"/>
            </c:ext>
          </c:extLst>
        </c:ser>
        <c:ser>
          <c:idx val="1"/>
          <c:order val="1"/>
          <c:tx>
            <c:strRef>
              <c:f>Feuil1!$C$1</c:f>
              <c:strCache>
                <c:ptCount val="1"/>
                <c:pt idx="0">
                  <c:v>D&amp;B products</c:v>
                </c:pt>
              </c:strCache>
            </c:strRef>
          </c:tx>
          <c:spPr>
            <a:solidFill>
              <a:schemeClr val="tx2"/>
            </a:solidFill>
            <a:ln>
              <a:noFill/>
            </a:ln>
            <a:effectLst/>
          </c:spPr>
          <c:invertIfNegative val="0"/>
          <c:dLbls>
            <c:numFmt formatCode="#,##0.00" sourceLinked="0"/>
            <c:spPr>
              <a:solidFill>
                <a:schemeClr val="tx2"/>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5</c:f>
              <c:numCache>
                <c:formatCode>General</c:formatCode>
                <c:ptCount val="4"/>
                <c:pt idx="0">
                  <c:v>2016</c:v>
                </c:pt>
                <c:pt idx="1">
                  <c:v>2017</c:v>
                </c:pt>
                <c:pt idx="2">
                  <c:v>2018</c:v>
                </c:pt>
                <c:pt idx="3">
                  <c:v>2019</c:v>
                </c:pt>
              </c:numCache>
            </c:numRef>
          </c:cat>
          <c:val>
            <c:numRef>
              <c:f>Feuil1!$C$2:$C$5</c:f>
              <c:numCache>
                <c:formatCode>General</c:formatCode>
                <c:ptCount val="4"/>
                <c:pt idx="0">
                  <c:v>17174082.429999981</c:v>
                </c:pt>
                <c:pt idx="1">
                  <c:v>17342848.620000008</c:v>
                </c:pt>
                <c:pt idx="2">
                  <c:v>17890591.850000005</c:v>
                </c:pt>
                <c:pt idx="3">
                  <c:v>17621344.770000029</c:v>
                </c:pt>
              </c:numCache>
            </c:numRef>
          </c:val>
          <c:extLst>
            <c:ext xmlns:c16="http://schemas.microsoft.com/office/drawing/2014/chart" uri="{C3380CC4-5D6E-409C-BE32-E72D297353CC}">
              <c16:uniqueId val="{00000001-18F3-4789-83CB-8F131B4CD9CB}"/>
            </c:ext>
          </c:extLst>
        </c:ser>
        <c:ser>
          <c:idx val="2"/>
          <c:order val="2"/>
          <c:tx>
            <c:strRef>
              <c:f>Feuil1!$D$1</c:f>
              <c:strCache>
                <c:ptCount val="1"/>
                <c:pt idx="0">
                  <c:v>DB&amp;I</c:v>
                </c:pt>
              </c:strCache>
            </c:strRef>
          </c:tx>
          <c:spPr>
            <a:solidFill>
              <a:schemeClr val="bg2">
                <a:lumMod val="40000"/>
                <a:lumOff val="60000"/>
              </a:schemeClr>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5</c:f>
              <c:numCache>
                <c:formatCode>General</c:formatCode>
                <c:ptCount val="4"/>
                <c:pt idx="0">
                  <c:v>2016</c:v>
                </c:pt>
                <c:pt idx="1">
                  <c:v>2017</c:v>
                </c:pt>
                <c:pt idx="2">
                  <c:v>2018</c:v>
                </c:pt>
                <c:pt idx="3">
                  <c:v>2019</c:v>
                </c:pt>
              </c:numCache>
            </c:numRef>
          </c:cat>
          <c:val>
            <c:numRef>
              <c:f>Feuil1!$D$2:$D$5</c:f>
              <c:numCache>
                <c:formatCode>General</c:formatCode>
                <c:ptCount val="4"/>
                <c:pt idx="0">
                  <c:v>8900759.4399999995</c:v>
                </c:pt>
                <c:pt idx="1">
                  <c:v>9701120.1500000004</c:v>
                </c:pt>
                <c:pt idx="2">
                  <c:v>9886356.5700000003</c:v>
                </c:pt>
                <c:pt idx="3">
                  <c:v>12214107.580000002</c:v>
                </c:pt>
              </c:numCache>
            </c:numRef>
          </c:val>
          <c:extLst>
            <c:ext xmlns:c16="http://schemas.microsoft.com/office/drawing/2014/chart" uri="{C3380CC4-5D6E-409C-BE32-E72D297353CC}">
              <c16:uniqueId val="{00000004-18F3-4789-83CB-8F131B4CD9CB}"/>
            </c:ext>
          </c:extLst>
        </c:ser>
        <c:dLbls>
          <c:showLegendKey val="0"/>
          <c:showVal val="0"/>
          <c:showCatName val="0"/>
          <c:showSerName val="0"/>
          <c:showPercent val="0"/>
          <c:showBubbleSize val="0"/>
        </c:dLbls>
        <c:gapWidth val="150"/>
        <c:overlap val="100"/>
        <c:axId val="670552815"/>
        <c:axId val="657774400"/>
      </c:barChart>
      <c:lineChart>
        <c:grouping val="standard"/>
        <c:varyColors val="0"/>
        <c:ser>
          <c:idx val="3"/>
          <c:order val="3"/>
          <c:tx>
            <c:strRef>
              <c:f>Feuil1!$E$1</c:f>
              <c:strCache>
                <c:ptCount val="1"/>
                <c:pt idx="0">
                  <c:v>Share</c:v>
                </c:pt>
              </c:strCache>
            </c:strRef>
          </c:tx>
          <c:spPr>
            <a:ln w="28575" cap="rnd">
              <a:solidFill>
                <a:schemeClr val="accent1"/>
              </a:solidFill>
              <a:round/>
            </a:ln>
            <a:effectLst/>
          </c:spPr>
          <c:marker>
            <c:symbol val="none"/>
          </c:marker>
          <c:dLbls>
            <c:dLbl>
              <c:idx val="0"/>
              <c:layout>
                <c:manualLayout>
                  <c:x val="-5.6090644225298407E-2"/>
                  <c:y val="-4.94752156439427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87A-49D0-AE66-7841FC533A9C}"/>
                </c:ext>
              </c:extLst>
            </c:dLbl>
            <c:dLbl>
              <c:idx val="1"/>
              <c:layout>
                <c:manualLayout>
                  <c:x val="-5.2929724542027594E-2"/>
                  <c:y val="-7.19639500275531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87A-49D0-AE66-7841FC533A9C}"/>
                </c:ext>
              </c:extLst>
            </c:dLbl>
            <c:dLbl>
              <c:idx val="2"/>
              <c:layout>
                <c:manualLayout>
                  <c:x val="-5.2929724542027656E-2"/>
                  <c:y val="-8.095944378099727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87A-49D0-AE66-7841FC533A9C}"/>
                </c:ext>
              </c:extLst>
            </c:dLbl>
            <c:dLbl>
              <c:idx val="3"/>
              <c:layout>
                <c:manualLayout>
                  <c:x val="-5.2929724542027538E-2"/>
                  <c:y val="-7.646169690427520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87A-49D0-AE66-7841FC533A9C}"/>
                </c:ext>
              </c:extLst>
            </c:dLbl>
            <c:numFmt formatCode="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5</c:f>
              <c:numCache>
                <c:formatCode>General</c:formatCode>
                <c:ptCount val="4"/>
                <c:pt idx="0">
                  <c:v>2016</c:v>
                </c:pt>
                <c:pt idx="1">
                  <c:v>2017</c:v>
                </c:pt>
                <c:pt idx="2">
                  <c:v>2018</c:v>
                </c:pt>
                <c:pt idx="3">
                  <c:v>2019</c:v>
                </c:pt>
              </c:numCache>
            </c:numRef>
          </c:cat>
          <c:val>
            <c:numRef>
              <c:f>Feuil1!$E$2:$E$5</c:f>
              <c:numCache>
                <c:formatCode>General</c:formatCode>
                <c:ptCount val="4"/>
                <c:pt idx="0">
                  <c:v>0.50420173674246838</c:v>
                </c:pt>
                <c:pt idx="1">
                  <c:v>0.48111479087097264</c:v>
                </c:pt>
                <c:pt idx="2">
                  <c:v>0.46718447756269388</c:v>
                </c:pt>
                <c:pt idx="3">
                  <c:v>0.4622465039705404</c:v>
                </c:pt>
              </c:numCache>
            </c:numRef>
          </c:val>
          <c:smooth val="0"/>
          <c:extLst>
            <c:ext xmlns:c16="http://schemas.microsoft.com/office/drawing/2014/chart" uri="{C3380CC4-5D6E-409C-BE32-E72D297353CC}">
              <c16:uniqueId val="{00000002-687A-49D0-AE66-7841FC533A9C}"/>
            </c:ext>
          </c:extLst>
        </c:ser>
        <c:dLbls>
          <c:showLegendKey val="0"/>
          <c:showVal val="0"/>
          <c:showCatName val="0"/>
          <c:showSerName val="0"/>
          <c:showPercent val="0"/>
          <c:showBubbleSize val="0"/>
        </c:dLbls>
        <c:marker val="1"/>
        <c:smooth val="0"/>
        <c:axId val="1403393199"/>
        <c:axId val="1059900895"/>
      </c:lineChart>
      <c:catAx>
        <c:axId val="6705528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657774400"/>
        <c:crosses val="autoZero"/>
        <c:auto val="1"/>
        <c:lblAlgn val="ctr"/>
        <c:lblOffset val="100"/>
        <c:noMultiLvlLbl val="0"/>
      </c:catAx>
      <c:valAx>
        <c:axId val="657774400"/>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670552815"/>
        <c:crosses val="autoZero"/>
        <c:crossBetween val="between"/>
        <c:dispUnits>
          <c:builtInUnit val="millions"/>
        </c:dispUnits>
      </c:valAx>
      <c:valAx>
        <c:axId val="1059900895"/>
        <c:scaling>
          <c:orientation val="minMax"/>
          <c:max val="0.51"/>
          <c:min val="0"/>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403393199"/>
        <c:crosses val="max"/>
        <c:crossBetween val="between"/>
      </c:valAx>
      <c:catAx>
        <c:axId val="1403393199"/>
        <c:scaling>
          <c:orientation val="minMax"/>
        </c:scaling>
        <c:delete val="1"/>
        <c:axPos val="b"/>
        <c:numFmt formatCode="General" sourceLinked="1"/>
        <c:majorTickMark val="out"/>
        <c:minorTickMark val="none"/>
        <c:tickLblPos val="nextTo"/>
        <c:crossAx val="1059900895"/>
        <c:crosses val="autoZero"/>
        <c:auto val="1"/>
        <c:lblAlgn val="ctr"/>
        <c:lblOffset val="100"/>
        <c:noMultiLvlLbl val="0"/>
      </c:catAx>
      <c:spPr>
        <a:noFill/>
        <a:ln>
          <a:noFill/>
        </a:ln>
        <a:effectLst/>
      </c:spPr>
    </c:plotArea>
    <c:legend>
      <c:legendPos val="b"/>
      <c:legendEntry>
        <c:idx val="3"/>
        <c:delete val="1"/>
      </c:legendEntry>
      <c:layout>
        <c:manualLayout>
          <c:xMode val="edge"/>
          <c:yMode val="edge"/>
          <c:x val="5.9169180883753322E-2"/>
          <c:y val="0.88991569734909171"/>
          <c:w val="0.8943053169655768"/>
          <c:h val="8.3097821390575866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Altares proprietary product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7</c:v>
                </c:pt>
                <c:pt idx="1">
                  <c:v>2018</c:v>
                </c:pt>
                <c:pt idx="2">
                  <c:v>2019</c:v>
                </c:pt>
              </c:numCache>
            </c:numRef>
          </c:cat>
          <c:val>
            <c:numRef>
              <c:f>Feuil1!$B$2:$B$4</c:f>
              <c:numCache>
                <c:formatCode>0.00</c:formatCode>
                <c:ptCount val="3"/>
                <c:pt idx="0">
                  <c:v>5.07</c:v>
                </c:pt>
                <c:pt idx="1">
                  <c:v>6.53</c:v>
                </c:pt>
                <c:pt idx="2">
                  <c:v>7.83</c:v>
                </c:pt>
              </c:numCache>
            </c:numRef>
          </c:val>
          <c:extLst>
            <c:ext xmlns:c16="http://schemas.microsoft.com/office/drawing/2014/chart" uri="{C3380CC4-5D6E-409C-BE32-E72D297353CC}">
              <c16:uniqueId val="{00000000-1198-4A73-B422-E961F4ECD7F4}"/>
            </c:ext>
          </c:extLst>
        </c:ser>
        <c:ser>
          <c:idx val="1"/>
          <c:order val="1"/>
          <c:tx>
            <c:strRef>
              <c:f>Feuil1!$C$1</c:f>
              <c:strCache>
                <c:ptCount val="1"/>
                <c:pt idx="0">
                  <c:v>D&amp;B products</c:v>
                </c:pt>
              </c:strCache>
            </c:strRef>
          </c:tx>
          <c:spPr>
            <a:solidFill>
              <a:schemeClr val="tx2"/>
            </a:solidFill>
            <a:ln>
              <a:noFill/>
            </a:ln>
            <a:effectLst/>
          </c:spPr>
          <c:invertIfNegative val="0"/>
          <c:dLbls>
            <c:numFmt formatCode="#,##0.00" sourceLinked="0"/>
            <c:spPr>
              <a:solidFill>
                <a:schemeClr val="tx2"/>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7</c:v>
                </c:pt>
                <c:pt idx="1">
                  <c:v>2018</c:v>
                </c:pt>
                <c:pt idx="2">
                  <c:v>2019</c:v>
                </c:pt>
              </c:numCache>
            </c:numRef>
          </c:cat>
          <c:val>
            <c:numRef>
              <c:f>Feuil1!$C$2:$C$4</c:f>
              <c:numCache>
                <c:formatCode>0.00</c:formatCode>
                <c:ptCount val="3"/>
                <c:pt idx="0">
                  <c:v>41.53</c:v>
                </c:pt>
                <c:pt idx="1">
                  <c:v>39.880000000000003</c:v>
                </c:pt>
                <c:pt idx="2">
                  <c:v>38.47</c:v>
                </c:pt>
              </c:numCache>
            </c:numRef>
          </c:val>
          <c:extLst>
            <c:ext xmlns:c16="http://schemas.microsoft.com/office/drawing/2014/chart" uri="{C3380CC4-5D6E-409C-BE32-E72D297353CC}">
              <c16:uniqueId val="{00000001-1198-4A73-B422-E961F4ECD7F4}"/>
            </c:ext>
          </c:extLst>
        </c:ser>
        <c:ser>
          <c:idx val="2"/>
          <c:order val="2"/>
          <c:tx>
            <c:strRef>
              <c:f>Feuil1!$D$1</c:f>
              <c:strCache>
                <c:ptCount val="1"/>
                <c:pt idx="0">
                  <c:v>DB&amp;I</c:v>
                </c:pt>
              </c:strCache>
            </c:strRef>
          </c:tx>
          <c:spPr>
            <a:solidFill>
              <a:schemeClr val="bg2">
                <a:lumMod val="40000"/>
                <a:lumOff val="60000"/>
              </a:schemeClr>
            </a:solidFill>
            <a:ln>
              <a:noFill/>
            </a:ln>
            <a:effectLst/>
          </c:spPr>
          <c:invertIfNegative val="0"/>
          <c:dLbls>
            <c:spPr>
              <a:solidFill>
                <a:srgbClr val="D2EBD9"/>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7</c:v>
                </c:pt>
                <c:pt idx="1">
                  <c:v>2018</c:v>
                </c:pt>
                <c:pt idx="2">
                  <c:v>2019</c:v>
                </c:pt>
              </c:numCache>
            </c:numRef>
          </c:cat>
          <c:val>
            <c:numRef>
              <c:f>Feuil1!$D$2:$D$4</c:f>
              <c:numCache>
                <c:formatCode>0.00</c:formatCode>
                <c:ptCount val="3"/>
                <c:pt idx="0">
                  <c:v>8.0399999999999991</c:v>
                </c:pt>
                <c:pt idx="1">
                  <c:v>7.57</c:v>
                </c:pt>
                <c:pt idx="2">
                  <c:v>7.81</c:v>
                </c:pt>
              </c:numCache>
            </c:numRef>
          </c:val>
          <c:extLst>
            <c:ext xmlns:c16="http://schemas.microsoft.com/office/drawing/2014/chart" uri="{C3380CC4-5D6E-409C-BE32-E72D297353CC}">
              <c16:uniqueId val="{00000002-1198-4A73-B422-E961F4ECD7F4}"/>
            </c:ext>
          </c:extLst>
        </c:ser>
        <c:dLbls>
          <c:showLegendKey val="0"/>
          <c:showVal val="0"/>
          <c:showCatName val="0"/>
          <c:showSerName val="0"/>
          <c:showPercent val="0"/>
          <c:showBubbleSize val="0"/>
        </c:dLbls>
        <c:gapWidth val="150"/>
        <c:overlap val="100"/>
        <c:axId val="670552815"/>
        <c:axId val="657774400"/>
      </c:barChart>
      <c:lineChart>
        <c:grouping val="standard"/>
        <c:varyColors val="0"/>
        <c:ser>
          <c:idx val="3"/>
          <c:order val="3"/>
          <c:tx>
            <c:strRef>
              <c:f>Feuil1!$E$1</c:f>
              <c:strCache>
                <c:ptCount val="1"/>
                <c:pt idx="0">
                  <c:v>Share of Altares' product in total income</c:v>
                </c:pt>
              </c:strCache>
            </c:strRef>
          </c:tx>
          <c:spPr>
            <a:ln w="28575" cap="rnd">
              <a:solidFill>
                <a:schemeClr val="accent1"/>
              </a:solidFill>
              <a:round/>
            </a:ln>
            <a:effectLst/>
          </c:spPr>
          <c:marker>
            <c:symbol val="none"/>
          </c:marker>
          <c:dPt>
            <c:idx val="1"/>
            <c:marker>
              <c:symbol val="none"/>
            </c:marker>
            <c:bubble3D val="0"/>
            <c:extLst>
              <c:ext xmlns:c16="http://schemas.microsoft.com/office/drawing/2014/chart" uri="{C3380CC4-5D6E-409C-BE32-E72D297353CC}">
                <c16:uniqueId val="{00000003-8D88-48EC-8BB3-89C7D7961D5B}"/>
              </c:ext>
            </c:extLst>
          </c:dPt>
          <c:dLbls>
            <c:dLbl>
              <c:idx val="0"/>
              <c:layout>
                <c:manualLayout>
                  <c:x val="5.7702464372452911E-2"/>
                  <c:y val="1.08193832349495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D88-48EC-8BB3-89C7D7961D5B}"/>
                </c:ext>
              </c:extLst>
            </c:dLbl>
            <c:dLbl>
              <c:idx val="1"/>
              <c:layout>
                <c:manualLayout>
                  <c:x val="4.8219705322640298E-2"/>
                  <c:y val="6.20862604103361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D88-48EC-8BB3-89C7D7961D5B}"/>
                </c:ext>
              </c:extLst>
            </c:dLbl>
            <c:dLbl>
              <c:idx val="2"/>
              <c:layout>
                <c:manualLayout>
                  <c:x val="5.1380625005911167E-2"/>
                  <c:y val="7.75794047108054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D88-48EC-8BB3-89C7D7961D5B}"/>
                </c:ext>
              </c:extLst>
            </c:dLbl>
            <c:numFmt formatCode="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7</c:v>
                </c:pt>
                <c:pt idx="1">
                  <c:v>2018</c:v>
                </c:pt>
                <c:pt idx="2">
                  <c:v>2019</c:v>
                </c:pt>
              </c:numCache>
            </c:numRef>
          </c:cat>
          <c:val>
            <c:numRef>
              <c:f>Feuil1!$E$2:$E$4</c:f>
              <c:numCache>
                <c:formatCode>General</c:formatCode>
                <c:ptCount val="3"/>
                <c:pt idx="0">
                  <c:v>9.2797624999999995E-2</c:v>
                </c:pt>
                <c:pt idx="1">
                  <c:v>0.12089440899999999</c:v>
                </c:pt>
                <c:pt idx="2">
                  <c:v>0.14476962099999999</c:v>
                </c:pt>
              </c:numCache>
            </c:numRef>
          </c:val>
          <c:smooth val="0"/>
          <c:extLst>
            <c:ext xmlns:c16="http://schemas.microsoft.com/office/drawing/2014/chart" uri="{C3380CC4-5D6E-409C-BE32-E72D297353CC}">
              <c16:uniqueId val="{00000001-8D88-48EC-8BB3-89C7D7961D5B}"/>
            </c:ext>
          </c:extLst>
        </c:ser>
        <c:dLbls>
          <c:showLegendKey val="0"/>
          <c:showVal val="0"/>
          <c:showCatName val="0"/>
          <c:showSerName val="0"/>
          <c:showPercent val="0"/>
          <c:showBubbleSize val="0"/>
        </c:dLbls>
        <c:marker val="1"/>
        <c:smooth val="0"/>
        <c:axId val="1718616976"/>
        <c:axId val="480848960"/>
      </c:lineChart>
      <c:catAx>
        <c:axId val="6705528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657774400"/>
        <c:crosses val="autoZero"/>
        <c:auto val="1"/>
        <c:lblAlgn val="ctr"/>
        <c:lblOffset val="100"/>
        <c:noMultiLvlLbl val="0"/>
      </c:catAx>
      <c:valAx>
        <c:axId val="657774400"/>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670552815"/>
        <c:crosses val="autoZero"/>
        <c:crossBetween val="between"/>
      </c:valAx>
      <c:valAx>
        <c:axId val="480848960"/>
        <c:scaling>
          <c:orientation val="minMax"/>
          <c:max val="0.2"/>
          <c:min val="0"/>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718616976"/>
        <c:crosses val="max"/>
        <c:crossBetween val="between"/>
      </c:valAx>
      <c:catAx>
        <c:axId val="1718616976"/>
        <c:scaling>
          <c:orientation val="minMax"/>
        </c:scaling>
        <c:delete val="1"/>
        <c:axPos val="b"/>
        <c:numFmt formatCode="General" sourceLinked="1"/>
        <c:majorTickMark val="out"/>
        <c:minorTickMark val="none"/>
        <c:tickLblPos val="nextTo"/>
        <c:crossAx val="480848960"/>
        <c:crosses val="autoZero"/>
        <c:auto val="1"/>
        <c:lblAlgn val="ctr"/>
        <c:lblOffset val="100"/>
        <c:noMultiLvlLbl val="0"/>
      </c:catAx>
      <c:spPr>
        <a:noFill/>
        <a:ln>
          <a:noFill/>
        </a:ln>
        <a:effectLst/>
      </c:spPr>
    </c:plotArea>
    <c:legend>
      <c:legendPos val="b"/>
      <c:legendEntry>
        <c:idx val="3"/>
        <c:delete val="1"/>
      </c:legendEntry>
      <c:layout>
        <c:manualLayout>
          <c:xMode val="edge"/>
          <c:yMode val="edge"/>
          <c:x val="6.9545708640859294E-2"/>
          <c:y val="0.84677238850900027"/>
          <c:w val="0.93045430280659369"/>
          <c:h val="0.13973442903766628"/>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164628587306726E-2"/>
          <c:y val="7.5129257817583797E-2"/>
          <c:w val="0.81199649523418238"/>
          <c:h val="0.75842528645382379"/>
        </c:manualLayout>
      </c:layout>
      <c:barChart>
        <c:barDir val="col"/>
        <c:grouping val="stacked"/>
        <c:varyColors val="0"/>
        <c:ser>
          <c:idx val="0"/>
          <c:order val="0"/>
          <c:tx>
            <c:strRef>
              <c:f>Sheet1!$B$1</c:f>
              <c:strCache>
                <c:ptCount val="1"/>
                <c:pt idx="0">
                  <c:v>France</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0</c:formatCode>
                <c:ptCount val="9"/>
                <c:pt idx="0">
                  <c:v>191.39999999999998</c:v>
                </c:pt>
                <c:pt idx="1">
                  <c:v>187.95479999999998</c:v>
                </c:pt>
                <c:pt idx="2">
                  <c:v>185</c:v>
                </c:pt>
                <c:pt idx="3">
                  <c:v>181.29999999999998</c:v>
                </c:pt>
                <c:pt idx="4">
                  <c:v>180.39349999999999</c:v>
                </c:pt>
                <c:pt idx="5">
                  <c:v>178.22877799999998</c:v>
                </c:pt>
                <c:pt idx="6">
                  <c:v>176.09003266399998</c:v>
                </c:pt>
                <c:pt idx="7">
                  <c:v>173.97695227203198</c:v>
                </c:pt>
                <c:pt idx="8">
                  <c:v>171.88922884476759</c:v>
                </c:pt>
              </c:numCache>
            </c:numRef>
          </c:val>
          <c:extLst>
            <c:ext xmlns:c16="http://schemas.microsoft.com/office/drawing/2014/chart" uri="{C3380CC4-5D6E-409C-BE32-E72D297353CC}">
              <c16:uniqueId val="{00000000-1EB3-4A78-BBBA-A6CC3AF3B162}"/>
            </c:ext>
          </c:extLst>
        </c:ser>
        <c:ser>
          <c:idx val="1"/>
          <c:order val="1"/>
          <c:tx>
            <c:strRef>
              <c:f>Sheet1!$C$1</c:f>
              <c:strCache>
                <c:ptCount val="1"/>
                <c:pt idx="0">
                  <c:v>Benelux</c:v>
                </c:pt>
              </c:strCache>
            </c:strRef>
          </c:tx>
          <c:spPr>
            <a:solidFill>
              <a:schemeClr val="bg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C$2:$C$10</c:f>
              <c:numCache>
                <c:formatCode>0</c:formatCode>
                <c:ptCount val="9"/>
                <c:pt idx="0">
                  <c:v>148.83921568627451</c:v>
                </c:pt>
                <c:pt idx="1">
                  <c:v>153.83859008712869</c:v>
                </c:pt>
                <c:pt idx="2">
                  <c:v>156.33697598800001</c:v>
                </c:pt>
                <c:pt idx="3">
                  <c:v>156.29697598800001</c:v>
                </c:pt>
                <c:pt idx="4">
                  <c:v>159.18594574787997</c:v>
                </c:pt>
                <c:pt idx="5">
                  <c:v>161.31837547661937</c:v>
                </c:pt>
                <c:pt idx="6">
                  <c:v>163.48588431800246</c:v>
                </c:pt>
                <c:pt idx="7">
                  <c:v>165.68908717294445</c:v>
                </c:pt>
                <c:pt idx="8">
                  <c:v>167.92860992796153</c:v>
                </c:pt>
              </c:numCache>
            </c:numRef>
          </c:val>
          <c:extLst>
            <c:ext xmlns:c16="http://schemas.microsoft.com/office/drawing/2014/chart" uri="{C3380CC4-5D6E-409C-BE32-E72D297353CC}">
              <c16:uniqueId val="{00000001-1EB3-4A78-BBBA-A6CC3AF3B162}"/>
            </c:ext>
          </c:extLst>
        </c:ser>
        <c:dLbls>
          <c:dLblPos val="ctr"/>
          <c:showLegendKey val="0"/>
          <c:showVal val="1"/>
          <c:showCatName val="0"/>
          <c:showSerName val="0"/>
          <c:showPercent val="0"/>
          <c:showBubbleSize val="0"/>
        </c:dLbls>
        <c:gapWidth val="150"/>
        <c:overlap val="100"/>
        <c:axId val="381331664"/>
        <c:axId val="1079978479"/>
      </c:barChart>
      <c:catAx>
        <c:axId val="3813316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079978479"/>
        <c:crosses val="autoZero"/>
        <c:auto val="1"/>
        <c:lblAlgn val="ctr"/>
        <c:lblOffset val="100"/>
        <c:noMultiLvlLbl val="0"/>
      </c:catAx>
      <c:valAx>
        <c:axId val="1079978479"/>
        <c:scaling>
          <c:orientation val="minMax"/>
        </c:scaling>
        <c:delete val="1"/>
        <c:axPos val="l"/>
        <c:numFmt formatCode="0" sourceLinked="1"/>
        <c:majorTickMark val="none"/>
        <c:minorTickMark val="none"/>
        <c:tickLblPos val="nextTo"/>
        <c:crossAx val="381331664"/>
        <c:crosses val="autoZero"/>
        <c:crossBetween val="between"/>
      </c:valAx>
      <c:spPr>
        <a:noFill/>
        <a:ln>
          <a:noFill/>
        </a:ln>
        <a:effectLst/>
      </c:spPr>
    </c:plotArea>
    <c:legend>
      <c:legendPos val="r"/>
      <c:layout>
        <c:manualLayout>
          <c:xMode val="edge"/>
          <c:yMode val="edge"/>
          <c:x val="0.832586596553896"/>
          <c:y val="0.3805181283618595"/>
          <c:w val="0.15118832714353062"/>
          <c:h val="0.23896374327628098"/>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BNL</c:v>
                </c:pt>
              </c:strCache>
            </c:strRef>
          </c:tx>
          <c:spPr>
            <a:solidFill>
              <a:schemeClr val="tx2"/>
            </a:solidFill>
            <a:ln>
              <a:noFill/>
            </a:ln>
            <a:effectLst/>
          </c:spPr>
          <c:invertIfNegative val="0"/>
          <c:dPt>
            <c:idx val="12"/>
            <c:invertIfNegative val="0"/>
            <c:bubble3D val="0"/>
            <c:spPr>
              <a:solidFill>
                <a:schemeClr val="tx2"/>
              </a:solidFill>
              <a:ln>
                <a:noFill/>
              </a:ln>
              <a:effectLst/>
            </c:spPr>
            <c:extLst>
              <c:ext xmlns:c16="http://schemas.microsoft.com/office/drawing/2014/chart" uri="{C3380CC4-5D6E-409C-BE32-E72D297353CC}">
                <c16:uniqueId val="{00000001-6BEE-46EB-BD60-79A9781E0559}"/>
              </c:ext>
            </c:extLst>
          </c:dPt>
          <c:cat>
            <c:strRef>
              <c:f>Sheet1!$A$2:$A$15</c:f>
              <c:strCache>
                <c:ptCount val="14"/>
                <c:pt idx="0">
                  <c:v>D&amp;B Credit</c:v>
                </c:pt>
                <c:pt idx="1">
                  <c:v>D&amp;B I*</c:v>
                </c:pt>
                <c:pt idx="2">
                  <c:v>Files</c:v>
                </c:pt>
                <c:pt idx="3">
                  <c:v>Intuiz</c:v>
                </c:pt>
                <c:pt idx="4">
                  <c:v>OnBoard</c:v>
                </c:pt>
                <c:pt idx="5">
                  <c:v>Direct+</c:v>
                </c:pt>
                <c:pt idx="6">
                  <c:v>DatAxess</c:v>
                </c:pt>
                <c:pt idx="7">
                  <c:v>Hoovers</c:v>
                </c:pt>
                <c:pt idx="8">
                  <c:v>Other*</c:v>
                </c:pt>
                <c:pt idx="9">
                  <c:v>IndueD</c:v>
                </c:pt>
                <c:pt idx="10">
                  <c:v>Smart</c:v>
                </c:pt>
                <c:pt idx="11">
                  <c:v>InDoc</c:v>
                </c:pt>
                <c:pt idx="12">
                  <c:v>Global Financials</c:v>
                </c:pt>
                <c:pt idx="13">
                  <c:v>D&amp;B Country Risk</c:v>
                </c:pt>
              </c:strCache>
            </c:strRef>
          </c:cat>
          <c:val>
            <c:numRef>
              <c:f>Sheet1!$B$2:$B$15</c:f>
              <c:numCache>
                <c:formatCode>General</c:formatCode>
                <c:ptCount val="14"/>
                <c:pt idx="0">
                  <c:v>27699505.909999996</c:v>
                </c:pt>
                <c:pt idx="1">
                  <c:v>7808010.6086874399</c:v>
                </c:pt>
                <c:pt idx="2">
                  <c:v>10559872.633333333</c:v>
                </c:pt>
                <c:pt idx="4">
                  <c:v>3354343.2500000019</c:v>
                </c:pt>
                <c:pt idx="5">
                  <c:v>794146.8</c:v>
                </c:pt>
                <c:pt idx="6">
                  <c:v>7808010.6086874399</c:v>
                </c:pt>
                <c:pt idx="7">
                  <c:v>1182101.06</c:v>
                </c:pt>
                <c:pt idx="8">
                  <c:v>259427.5</c:v>
                </c:pt>
                <c:pt idx="9">
                  <c:v>260225.19199999998</c:v>
                </c:pt>
                <c:pt idx="10">
                  <c:v>612999.57000000007</c:v>
                </c:pt>
                <c:pt idx="13">
                  <c:v>5260</c:v>
                </c:pt>
              </c:numCache>
            </c:numRef>
          </c:val>
          <c:extLst>
            <c:ext xmlns:c16="http://schemas.microsoft.com/office/drawing/2014/chart" uri="{C3380CC4-5D6E-409C-BE32-E72D297353CC}">
              <c16:uniqueId val="{00000000-0E21-4C35-A48A-5C4D70660F96}"/>
            </c:ext>
          </c:extLst>
        </c:ser>
        <c:ser>
          <c:idx val="1"/>
          <c:order val="1"/>
          <c:tx>
            <c:strRef>
              <c:f>Sheet1!$C$1</c:f>
              <c:strCache>
                <c:ptCount val="1"/>
                <c:pt idx="0">
                  <c:v>FR</c:v>
                </c:pt>
              </c:strCache>
            </c:strRef>
          </c:tx>
          <c:spPr>
            <a:solidFill>
              <a:srgbClr val="D9D9D9"/>
            </a:solidFill>
            <a:ln>
              <a:noFill/>
            </a:ln>
            <a:effectLst/>
          </c:spPr>
          <c:invertIfNegative val="0"/>
          <c:cat>
            <c:strRef>
              <c:f>Sheet1!$A$2:$A$15</c:f>
              <c:strCache>
                <c:ptCount val="14"/>
                <c:pt idx="0">
                  <c:v>D&amp;B Credit</c:v>
                </c:pt>
                <c:pt idx="1">
                  <c:v>D&amp;B I*</c:v>
                </c:pt>
                <c:pt idx="2">
                  <c:v>Files</c:v>
                </c:pt>
                <c:pt idx="3">
                  <c:v>Intuiz</c:v>
                </c:pt>
                <c:pt idx="4">
                  <c:v>OnBoard</c:v>
                </c:pt>
                <c:pt idx="5">
                  <c:v>Direct+</c:v>
                </c:pt>
                <c:pt idx="6">
                  <c:v>DatAxess</c:v>
                </c:pt>
                <c:pt idx="7">
                  <c:v>Hoovers</c:v>
                </c:pt>
                <c:pt idx="8">
                  <c:v>Other*</c:v>
                </c:pt>
                <c:pt idx="9">
                  <c:v>IndueD</c:v>
                </c:pt>
                <c:pt idx="10">
                  <c:v>Smart</c:v>
                </c:pt>
                <c:pt idx="11">
                  <c:v>InDoc</c:v>
                </c:pt>
                <c:pt idx="12">
                  <c:v>Global Financials</c:v>
                </c:pt>
                <c:pt idx="13">
                  <c:v>D&amp;B Country Risk</c:v>
                </c:pt>
              </c:strCache>
            </c:strRef>
          </c:cat>
          <c:val>
            <c:numRef>
              <c:f>Sheet1!$C$2:$C$15</c:f>
              <c:numCache>
                <c:formatCode>General</c:formatCode>
                <c:ptCount val="14"/>
                <c:pt idx="0">
                  <c:v>9713484.8000000026</c:v>
                </c:pt>
                <c:pt idx="1">
                  <c:v>12311231.370000001</c:v>
                </c:pt>
                <c:pt idx="2">
                  <c:v>9913191.2600000054</c:v>
                </c:pt>
                <c:pt idx="3">
                  <c:v>14259105.930000009</c:v>
                </c:pt>
                <c:pt idx="4">
                  <c:v>919638.24999999988</c:v>
                </c:pt>
                <c:pt idx="5">
                  <c:v>2276643.9300000002</c:v>
                </c:pt>
                <c:pt idx="6">
                  <c:v>1507507.92</c:v>
                </c:pt>
                <c:pt idx="7">
                  <c:v>935361.71999999986</c:v>
                </c:pt>
                <c:pt idx="8">
                  <c:v>1269982.9600000002</c:v>
                </c:pt>
                <c:pt idx="9">
                  <c:v>1267692.7700000014</c:v>
                </c:pt>
                <c:pt idx="10">
                  <c:v>289261.13</c:v>
                </c:pt>
                <c:pt idx="11">
                  <c:v>627500</c:v>
                </c:pt>
                <c:pt idx="12">
                  <c:v>163550</c:v>
                </c:pt>
              </c:numCache>
            </c:numRef>
          </c:val>
          <c:extLst>
            <c:ext xmlns:c16="http://schemas.microsoft.com/office/drawing/2014/chart" uri="{C3380CC4-5D6E-409C-BE32-E72D297353CC}">
              <c16:uniqueId val="{00000001-0E21-4C35-A48A-5C4D70660F96}"/>
            </c:ext>
          </c:extLst>
        </c:ser>
        <c:dLbls>
          <c:showLegendKey val="0"/>
          <c:showVal val="0"/>
          <c:showCatName val="0"/>
          <c:showSerName val="0"/>
          <c:showPercent val="0"/>
          <c:showBubbleSize val="0"/>
        </c:dLbls>
        <c:gapWidth val="150"/>
        <c:overlap val="100"/>
        <c:axId val="125685615"/>
        <c:axId val="46063263"/>
      </c:barChart>
      <c:catAx>
        <c:axId val="1256856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46063263"/>
        <c:crosses val="autoZero"/>
        <c:auto val="1"/>
        <c:lblAlgn val="ctr"/>
        <c:lblOffset val="100"/>
        <c:noMultiLvlLbl val="0"/>
      </c:catAx>
      <c:valAx>
        <c:axId val="46063263"/>
        <c:scaling>
          <c:orientation val="minMax"/>
          <c:max val="35000000"/>
        </c:scaling>
        <c:delete val="0"/>
        <c:axPos val="l"/>
        <c:majorGridlines>
          <c:spPr>
            <a:ln w="9525" cap="flat" cmpd="sng" algn="ctr">
              <a:solidFill>
                <a:schemeClr val="tx1">
                  <a:lumMod val="15000"/>
                  <a:lumOff val="85000"/>
                </a:schemeClr>
              </a:solidFill>
              <a:round/>
            </a:ln>
            <a:effectLst/>
          </c:spPr>
        </c:majorGridlines>
        <c:numFmt formatCode="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25685615"/>
        <c:crosses val="autoZero"/>
        <c:crossBetween val="between"/>
        <c:dispUnits>
          <c:builtInUnit val="millions"/>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1"/>
            </a:solidFill>
            <a:ln>
              <a:noFill/>
            </a:ln>
          </c:spPr>
          <c:dPt>
            <c:idx val="0"/>
            <c:bubble3D val="0"/>
            <c:spPr>
              <a:solidFill>
                <a:schemeClr val="accent1"/>
              </a:solidFill>
              <a:ln w="19050">
                <a:noFill/>
              </a:ln>
              <a:effectLst/>
            </c:spPr>
            <c:extLst>
              <c:ext xmlns:c16="http://schemas.microsoft.com/office/drawing/2014/chart" uri="{C3380CC4-5D6E-409C-BE32-E72D297353CC}">
                <c16:uniqueId val="{00000003-FC04-4306-9DBC-AA7D8ECDEE3C}"/>
              </c:ext>
            </c:extLst>
          </c:dPt>
          <c:dPt>
            <c:idx val="1"/>
            <c:bubble3D val="0"/>
            <c:spPr>
              <a:solidFill>
                <a:schemeClr val="tx2"/>
              </a:solidFill>
              <a:ln w="19050">
                <a:noFill/>
              </a:ln>
              <a:effectLst/>
            </c:spPr>
            <c:extLst>
              <c:ext xmlns:c16="http://schemas.microsoft.com/office/drawing/2014/chart" uri="{C3380CC4-5D6E-409C-BE32-E72D297353CC}">
                <c16:uniqueId val="{00000002-FC04-4306-9DBC-AA7D8ECDEE3C}"/>
              </c:ext>
            </c:extLst>
          </c:dPt>
          <c:dPt>
            <c:idx val="2"/>
            <c:bubble3D val="0"/>
            <c:spPr>
              <a:solidFill>
                <a:schemeClr val="bg2">
                  <a:lumMod val="40000"/>
                  <a:lumOff val="60000"/>
                </a:schemeClr>
              </a:solidFill>
              <a:ln w="19050">
                <a:noFill/>
              </a:ln>
              <a:effectLst/>
            </c:spPr>
            <c:extLst>
              <c:ext xmlns:c16="http://schemas.microsoft.com/office/drawing/2014/chart" uri="{C3380CC4-5D6E-409C-BE32-E72D297353CC}">
                <c16:uniqueId val="{00000005-536D-4C4E-9451-9264D971BEE1}"/>
              </c:ext>
            </c:extLst>
          </c:dPt>
          <c:dLbls>
            <c:dLbl>
              <c:idx val="0"/>
              <c:layout>
                <c:manualLayout>
                  <c:x val="-0.22369114523467759"/>
                  <c:y val="-6.7192529737234441E-3"/>
                </c:manualLayout>
              </c:layout>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15:layout>
                    <c:manualLayout>
                      <c:w val="0.22375002765868193"/>
                      <c:h val="0.12231288825513047"/>
                    </c:manualLayout>
                  </c15:layout>
                </c:ext>
                <c:ext xmlns:c16="http://schemas.microsoft.com/office/drawing/2014/chart" uri="{C3380CC4-5D6E-409C-BE32-E72D297353CC}">
                  <c16:uniqueId val="{00000003-FC04-4306-9DBC-AA7D8ECDEE3C}"/>
                </c:ext>
              </c:extLst>
            </c:dLbl>
            <c:dLbl>
              <c:idx val="2"/>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5-536D-4C4E-9451-9264D971BEE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4</c:f>
              <c:strCache>
                <c:ptCount val="3"/>
                <c:pt idx="0">
                  <c:v>CA Altarès</c:v>
                </c:pt>
                <c:pt idx="1">
                  <c:v>CA D&amp;B</c:v>
                </c:pt>
                <c:pt idx="2">
                  <c:v>CA D&amp;B Int</c:v>
                </c:pt>
              </c:strCache>
            </c:strRef>
          </c:cat>
          <c:val>
            <c:numRef>
              <c:f>Sheet1!$B$2:$B$4</c:f>
              <c:numCache>
                <c:formatCode>General</c:formatCode>
                <c:ptCount val="3"/>
                <c:pt idx="0">
                  <c:v>27864259.010000013</c:v>
                </c:pt>
                <c:pt idx="1">
                  <c:v>14008678.700000003</c:v>
                </c:pt>
                <c:pt idx="2">
                  <c:v>12311231.370000001</c:v>
                </c:pt>
              </c:numCache>
            </c:numRef>
          </c:val>
          <c:extLst>
            <c:ext xmlns:c16="http://schemas.microsoft.com/office/drawing/2014/chart" uri="{C3380CC4-5D6E-409C-BE32-E72D297353CC}">
              <c16:uniqueId val="{00000000-FC04-4306-9DBC-AA7D8ECDEE3C}"/>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tx2"/>
            </a:solidFill>
            <a:ln>
              <a:noFill/>
            </a:ln>
          </c:spPr>
          <c:dPt>
            <c:idx val="0"/>
            <c:bubble3D val="0"/>
            <c:spPr>
              <a:solidFill>
                <a:schemeClr val="accent1"/>
              </a:solidFill>
              <a:ln w="19050">
                <a:noFill/>
              </a:ln>
              <a:effectLst/>
            </c:spPr>
            <c:extLst>
              <c:ext xmlns:c16="http://schemas.microsoft.com/office/drawing/2014/chart" uri="{C3380CC4-5D6E-409C-BE32-E72D297353CC}">
                <c16:uniqueId val="{00000001-E03E-479D-A3D4-9D60CEBFE1C3}"/>
              </c:ext>
            </c:extLst>
          </c:dPt>
          <c:dPt>
            <c:idx val="1"/>
            <c:bubble3D val="0"/>
            <c:spPr>
              <a:solidFill>
                <a:schemeClr val="tx2"/>
              </a:solidFill>
              <a:ln w="19050">
                <a:noFill/>
              </a:ln>
              <a:effectLst/>
            </c:spPr>
            <c:extLst>
              <c:ext xmlns:c16="http://schemas.microsoft.com/office/drawing/2014/chart" uri="{C3380CC4-5D6E-409C-BE32-E72D297353CC}">
                <c16:uniqueId val="{00000003-E03E-479D-A3D4-9D60CEBFE1C3}"/>
              </c:ext>
            </c:extLst>
          </c:dPt>
          <c:dPt>
            <c:idx val="2"/>
            <c:bubble3D val="0"/>
            <c:spPr>
              <a:solidFill>
                <a:srgbClr val="D2EBD9"/>
              </a:solidFill>
              <a:ln w="19050">
                <a:noFill/>
              </a:ln>
              <a:effectLst/>
            </c:spPr>
            <c:extLst>
              <c:ext xmlns:c16="http://schemas.microsoft.com/office/drawing/2014/chart" uri="{C3380CC4-5D6E-409C-BE32-E72D297353CC}">
                <c16:uniqueId val="{00000005-8912-4FC7-81A2-5BDE4535BA8F}"/>
              </c:ext>
            </c:extLst>
          </c:dPt>
          <c:dLbls>
            <c:dLbl>
              <c:idx val="0"/>
              <c:layout>
                <c:manualLayout>
                  <c:x val="-0.18730699556652594"/>
                  <c:y val="0.20080841927669907"/>
                </c:manualLayout>
              </c:layout>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15:layout>
                    <c:manualLayout>
                      <c:w val="0.26411922884742028"/>
                      <c:h val="0.18233779623733551"/>
                    </c:manualLayout>
                  </c15:layout>
                </c:ext>
                <c:ext xmlns:c16="http://schemas.microsoft.com/office/drawing/2014/chart" uri="{C3380CC4-5D6E-409C-BE32-E72D297353CC}">
                  <c16:uniqueId val="{00000001-E03E-479D-A3D4-9D60CEBFE1C3}"/>
                </c:ext>
              </c:extLst>
            </c:dLbl>
            <c:dLbl>
              <c:idx val="1"/>
              <c:layout>
                <c:manualLayout>
                  <c:x val="-7.4409443953013354E-2"/>
                  <c:y val="-0.30515308707788646"/>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E03E-479D-A3D4-9D60CEBFE1C3}"/>
                </c:ext>
              </c:extLst>
            </c:dLbl>
            <c:dLbl>
              <c:idx val="2"/>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5-8912-4FC7-81A2-5BDE4535BA8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4</c:f>
              <c:strCache>
                <c:ptCount val="3"/>
                <c:pt idx="0">
                  <c:v>CA Altarès</c:v>
                </c:pt>
                <c:pt idx="1">
                  <c:v>CA D&amp;B</c:v>
                </c:pt>
                <c:pt idx="2">
                  <c:v>D&amp;B Int</c:v>
                </c:pt>
              </c:strCache>
            </c:strRef>
          </c:cat>
          <c:val>
            <c:numRef>
              <c:f>Sheet1!$B$2:$B$4</c:f>
              <c:numCache>
                <c:formatCode>#,##0.00</c:formatCode>
                <c:ptCount val="3"/>
                <c:pt idx="0">
                  <c:v>8334989.4553333335</c:v>
                </c:pt>
                <c:pt idx="1">
                  <c:v>37899554.32</c:v>
                </c:pt>
                <c:pt idx="2">
                  <c:v>7808010.6086874399</c:v>
                </c:pt>
              </c:numCache>
            </c:numRef>
          </c:val>
          <c:extLst>
            <c:ext xmlns:c16="http://schemas.microsoft.com/office/drawing/2014/chart" uri="{C3380CC4-5D6E-409C-BE32-E72D297353CC}">
              <c16:uniqueId val="{00000004-E03E-479D-A3D4-9D60CEBFE1C3}"/>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euil1!$B$1</c:f>
              <c:strCache>
                <c:ptCount val="1"/>
                <c:pt idx="0">
                  <c:v>Série 1</c:v>
                </c:pt>
              </c:strCache>
            </c:strRef>
          </c:tx>
          <c:spPr>
            <a:solidFill>
              <a:schemeClr val="tx2"/>
            </a:solidFill>
            <a:ln>
              <a:noFill/>
            </a:ln>
            <a:effectLst/>
          </c:spPr>
          <c:invertIfNegative val="0"/>
          <c:cat>
            <c:strRef>
              <c:f>Feuil1!$A$2:$A$8</c:f>
              <c:strCache>
                <c:ptCount val="4"/>
                <c:pt idx="0">
                  <c:v>Catégorie 1</c:v>
                </c:pt>
                <c:pt idx="1">
                  <c:v>Catégorie 2</c:v>
                </c:pt>
                <c:pt idx="2">
                  <c:v>Catégorie 3</c:v>
                </c:pt>
                <c:pt idx="3">
                  <c:v>Catégorie 4</c:v>
                </c:pt>
              </c:strCache>
            </c:strRef>
          </c:cat>
          <c:val>
            <c:numRef>
              <c:f>Feuil1!$B$2:$B$8</c:f>
              <c:numCache>
                <c:formatCode>General</c:formatCode>
                <c:ptCount val="7"/>
                <c:pt idx="0">
                  <c:v>7</c:v>
                </c:pt>
                <c:pt idx="1">
                  <c:v>6</c:v>
                </c:pt>
                <c:pt idx="2">
                  <c:v>5</c:v>
                </c:pt>
                <c:pt idx="3">
                  <c:v>4</c:v>
                </c:pt>
                <c:pt idx="4">
                  <c:v>3</c:v>
                </c:pt>
                <c:pt idx="5">
                  <c:v>2</c:v>
                </c:pt>
                <c:pt idx="6">
                  <c:v>1</c:v>
                </c:pt>
              </c:numCache>
            </c:numRef>
          </c:val>
          <c:extLst>
            <c:ext xmlns:c16="http://schemas.microsoft.com/office/drawing/2014/chart" uri="{C3380CC4-5D6E-409C-BE32-E72D297353CC}">
              <c16:uniqueId val="{00000000-B579-464F-B545-B3CC1F956FBA}"/>
            </c:ext>
          </c:extLst>
        </c:ser>
        <c:dLbls>
          <c:showLegendKey val="0"/>
          <c:showVal val="0"/>
          <c:showCatName val="0"/>
          <c:showSerName val="0"/>
          <c:showPercent val="0"/>
          <c:showBubbleSize val="0"/>
        </c:dLbls>
        <c:gapWidth val="219"/>
        <c:overlap val="-27"/>
        <c:axId val="1147246383"/>
        <c:axId val="852038223"/>
      </c:barChart>
      <c:catAx>
        <c:axId val="1147246383"/>
        <c:scaling>
          <c:orientation val="minMax"/>
        </c:scaling>
        <c:delete val="1"/>
        <c:axPos val="b"/>
        <c:numFmt formatCode="General" sourceLinked="1"/>
        <c:majorTickMark val="none"/>
        <c:minorTickMark val="none"/>
        <c:tickLblPos val="nextTo"/>
        <c:crossAx val="852038223"/>
        <c:crosses val="autoZero"/>
        <c:auto val="1"/>
        <c:lblAlgn val="ctr"/>
        <c:lblOffset val="100"/>
        <c:noMultiLvlLbl val="0"/>
      </c:catAx>
      <c:valAx>
        <c:axId val="852038223"/>
        <c:scaling>
          <c:orientation val="minMax"/>
        </c:scaling>
        <c:delete val="1"/>
        <c:axPos val="l"/>
        <c:numFmt formatCode="General" sourceLinked="1"/>
        <c:majorTickMark val="none"/>
        <c:minorTickMark val="none"/>
        <c:tickLblPos val="nextTo"/>
        <c:crossAx val="11472463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2"/>
          </a:solidFill>
        </a:defRPr>
      </a:pPr>
      <a:endParaRPr lang="fr-FR"/>
    </a:p>
  </c:txPr>
  <c:externalData r:id="rId3">
    <c:autoUpdate val="0"/>
  </c:externalData>
  <c:userShapes r:id="rId4"/>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218473565110056E-2"/>
          <c:y val="2.5798998844820946E-2"/>
          <c:w val="0.93108413906603582"/>
          <c:h val="0.94840200231035809"/>
        </c:manualLayout>
      </c:layout>
      <c:barChart>
        <c:barDir val="col"/>
        <c:grouping val="stacked"/>
        <c:varyColors val="0"/>
        <c:ser>
          <c:idx val="0"/>
          <c:order val="0"/>
          <c:tx>
            <c:strRef>
              <c:f>Sheet1!$A$2</c:f>
              <c:strCache>
                <c:ptCount val="1"/>
                <c:pt idx="0">
                  <c:v>Risk</c:v>
                </c:pt>
              </c:strCache>
            </c:strRef>
          </c:tx>
          <c:spPr>
            <a:solidFill>
              <a:srgbClr val="364D6E"/>
            </a:solidFill>
            <a:ln>
              <a:noFill/>
            </a:ln>
          </c:spPr>
          <c:invertIfNegative val="0"/>
          <c:dLbls>
            <c:dLbl>
              <c:idx val="0"/>
              <c:layout>
                <c:manualLayout>
                  <c:x val="0"/>
                  <c:y val="-3.850596842510589E-4"/>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726-4FDC-8231-ACFC212BDB5A}"/>
                </c:ext>
              </c:extLst>
            </c:dLbl>
            <c:dLbl>
              <c:idx val="1"/>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726-4FDC-8231-ACFC212BDB5A}"/>
                </c:ext>
              </c:extLst>
            </c:dLbl>
            <c:dLbl>
              <c:idx val="2"/>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726-4FDC-8231-ACFC212BDB5A}"/>
                </c:ext>
              </c:extLst>
            </c:dLbl>
            <c:dLbl>
              <c:idx val="3"/>
              <c:layout>
                <c:manualLayout>
                  <c:x val="0"/>
                  <c:y val="-3.850596842510589E-4"/>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726-4FDC-8231-ACFC212BDB5A}"/>
                </c:ext>
              </c:extLst>
            </c:dLbl>
            <c:dLbl>
              <c:idx val="4"/>
              <c:layout>
                <c:manualLayout>
                  <c:x val="0"/>
                  <c:y val="-3.850596842510589E-4"/>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726-4FDC-8231-ACFC212BDB5A}"/>
                </c:ext>
              </c:extLst>
            </c:dLbl>
            <c:dLbl>
              <c:idx val="5"/>
              <c:layout>
                <c:manualLayout>
                  <c:x val="0"/>
                  <c:y val="-3.850596842510589E-4"/>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726-4FDC-8231-ACFC212BDB5A}"/>
                </c:ext>
              </c:extLst>
            </c:dLbl>
            <c:dLbl>
              <c:idx val="6"/>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726-4FDC-8231-ACFC212BDB5A}"/>
                </c:ext>
              </c:extLst>
            </c:dLbl>
            <c:dLbl>
              <c:idx val="7"/>
              <c:layout>
                <c:manualLayout>
                  <c:x val="0"/>
                  <c:y val="-3.850596842510589E-4"/>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726-4FDC-8231-ACFC212BDB5A}"/>
                </c:ext>
              </c:extLst>
            </c:dLbl>
            <c:dLbl>
              <c:idx val="8"/>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726-4FDC-8231-ACFC212BDB5A}"/>
                </c:ext>
              </c:extLst>
            </c:dLbl>
            <c:dLbl>
              <c:idx val="9"/>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726-4FDC-8231-ACFC212BDB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K$1</c:f>
              <c:strCache>
                <c:ptCount val="10"/>
                <c:pt idx="0">
                  <c:v>2017</c:v>
                </c:pt>
                <c:pt idx="1">
                  <c:v>2018</c:v>
                </c:pt>
                <c:pt idx="2">
                  <c:v>2019</c:v>
                </c:pt>
                <c:pt idx="3">
                  <c:v>2020B</c:v>
                </c:pt>
                <c:pt idx="4">
                  <c:v>2020F</c:v>
                </c:pt>
                <c:pt idx="5">
                  <c:v>2021F</c:v>
                </c:pt>
                <c:pt idx="6">
                  <c:v>2022F</c:v>
                </c:pt>
                <c:pt idx="7">
                  <c:v>2023F</c:v>
                </c:pt>
                <c:pt idx="8">
                  <c:v>2024F</c:v>
                </c:pt>
                <c:pt idx="9">
                  <c:v>2025F</c:v>
                </c:pt>
              </c:strCache>
            </c:strRef>
          </c:cat>
          <c:val>
            <c:numRef>
              <c:f>Sheet1!$B$2:$K$2</c:f>
              <c:numCache>
                <c:formatCode>0.0</c:formatCode>
                <c:ptCount val="10"/>
                <c:pt idx="0">
                  <c:v>73.116168381495498</c:v>
                </c:pt>
                <c:pt idx="1">
                  <c:v>68.243158633728171</c:v>
                </c:pt>
                <c:pt idx="2">
                  <c:v>66.292004650782772</c:v>
                </c:pt>
                <c:pt idx="3" formatCode="General">
                  <c:v>65.099999999999994</c:v>
                </c:pt>
                <c:pt idx="4">
                  <c:v>64.117529588052122</c:v>
                </c:pt>
                <c:pt idx="5">
                  <c:v>65.682942295764676</c:v>
                </c:pt>
                <c:pt idx="6">
                  <c:v>67.527671525041058</c:v>
                </c:pt>
                <c:pt idx="7">
                  <c:v>69.147645675887006</c:v>
                </c:pt>
                <c:pt idx="8">
                  <c:v>70.760491156767173</c:v>
                </c:pt>
                <c:pt idx="9">
                  <c:v>72.382772538967259</c:v>
                </c:pt>
              </c:numCache>
            </c:numRef>
          </c:val>
          <c:extLst>
            <c:ext xmlns:c16="http://schemas.microsoft.com/office/drawing/2014/chart" uri="{C3380CC4-5D6E-409C-BE32-E72D297353CC}">
              <c16:uniqueId val="{0000000A-3726-4FDC-8231-ACFC212BDB5A}"/>
            </c:ext>
          </c:extLst>
        </c:ser>
        <c:ser>
          <c:idx val="1"/>
          <c:order val="1"/>
          <c:tx>
            <c:strRef>
              <c:f>Sheet1!$A$3</c:f>
              <c:strCache>
                <c:ptCount val="1"/>
                <c:pt idx="0">
                  <c:v>Compliance</c:v>
                </c:pt>
              </c:strCache>
            </c:strRef>
          </c:tx>
          <c:spPr>
            <a:solidFill>
              <a:schemeClr val="accent1"/>
            </a:solidFill>
            <a:ln>
              <a:noFill/>
            </a:ln>
          </c:spPr>
          <c:invertIfNegative val="0"/>
          <c:dLbls>
            <c:dLbl>
              <c:idx val="0"/>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726-4FDC-8231-ACFC212BDB5A}"/>
                </c:ext>
              </c:extLst>
            </c:dLbl>
            <c:dLbl>
              <c:idx val="1"/>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726-4FDC-8231-ACFC212BDB5A}"/>
                </c:ext>
              </c:extLst>
            </c:dLbl>
            <c:dLbl>
              <c:idx val="2"/>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726-4FDC-8231-ACFC212BDB5A}"/>
                </c:ext>
              </c:extLst>
            </c:dLbl>
            <c:dLbl>
              <c:idx val="3"/>
              <c:layout>
                <c:manualLayout>
                  <c:x val="0"/>
                  <c:y val="-3.850596842510589E-4"/>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726-4FDC-8231-ACFC212BDB5A}"/>
                </c:ext>
              </c:extLst>
            </c:dLbl>
            <c:dLbl>
              <c:idx val="4"/>
              <c:layout>
                <c:manualLayout>
                  <c:x val="0"/>
                  <c:y val="-3.850596842510589E-4"/>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726-4FDC-8231-ACFC212BDB5A}"/>
                </c:ext>
              </c:extLst>
            </c:dLbl>
            <c:dLbl>
              <c:idx val="5"/>
              <c:layout>
                <c:manualLayout>
                  <c:x val="0"/>
                  <c:y val="-3.850596842510589E-4"/>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726-4FDC-8231-ACFC212BDB5A}"/>
                </c:ext>
              </c:extLst>
            </c:dLbl>
            <c:dLbl>
              <c:idx val="6"/>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726-4FDC-8231-ACFC212BDB5A}"/>
                </c:ext>
              </c:extLst>
            </c:dLbl>
            <c:dLbl>
              <c:idx val="7"/>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726-4FDC-8231-ACFC212BDB5A}"/>
                </c:ext>
              </c:extLst>
            </c:dLbl>
            <c:dLbl>
              <c:idx val="8"/>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726-4FDC-8231-ACFC212BDB5A}"/>
                </c:ext>
              </c:extLst>
            </c:dLbl>
            <c:dLbl>
              <c:idx val="9"/>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726-4FDC-8231-ACFC212BDB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K$1</c:f>
              <c:strCache>
                <c:ptCount val="10"/>
                <c:pt idx="0">
                  <c:v>2017</c:v>
                </c:pt>
                <c:pt idx="1">
                  <c:v>2018</c:v>
                </c:pt>
                <c:pt idx="2">
                  <c:v>2019</c:v>
                </c:pt>
                <c:pt idx="3">
                  <c:v>2020B</c:v>
                </c:pt>
                <c:pt idx="4">
                  <c:v>2020F</c:v>
                </c:pt>
                <c:pt idx="5">
                  <c:v>2021F</c:v>
                </c:pt>
                <c:pt idx="6">
                  <c:v>2022F</c:v>
                </c:pt>
                <c:pt idx="7">
                  <c:v>2023F</c:v>
                </c:pt>
                <c:pt idx="8">
                  <c:v>2024F</c:v>
                </c:pt>
                <c:pt idx="9">
                  <c:v>2025F</c:v>
                </c:pt>
              </c:strCache>
            </c:strRef>
          </c:cat>
          <c:val>
            <c:numRef>
              <c:f>Sheet1!$B$3:$K$3</c:f>
              <c:numCache>
                <c:formatCode>0.0</c:formatCode>
                <c:ptCount val="10"/>
                <c:pt idx="0">
                  <c:v>7.1670478144001812</c:v>
                </c:pt>
                <c:pt idx="1">
                  <c:v>7.6118051310901214</c:v>
                </c:pt>
                <c:pt idx="2">
                  <c:v>10.035899276437155</c:v>
                </c:pt>
                <c:pt idx="3" formatCode="General">
                  <c:v>14</c:v>
                </c:pt>
                <c:pt idx="4">
                  <c:v>10.969176905542302</c:v>
                </c:pt>
                <c:pt idx="5">
                  <c:v>13.215332764928057</c:v>
                </c:pt>
                <c:pt idx="6">
                  <c:v>15.634359951613922</c:v>
                </c:pt>
                <c:pt idx="7">
                  <c:v>18.198305059689549</c:v>
                </c:pt>
                <c:pt idx="8">
                  <c:v>20.99185877596469</c:v>
                </c:pt>
                <c:pt idx="9">
                  <c:v>23.873590151634396</c:v>
                </c:pt>
              </c:numCache>
            </c:numRef>
          </c:val>
          <c:extLst>
            <c:ext xmlns:c16="http://schemas.microsoft.com/office/drawing/2014/chart" uri="{C3380CC4-5D6E-409C-BE32-E72D297353CC}">
              <c16:uniqueId val="{00000015-3726-4FDC-8231-ACFC212BDB5A}"/>
            </c:ext>
          </c:extLst>
        </c:ser>
        <c:ser>
          <c:idx val="2"/>
          <c:order val="2"/>
          <c:tx>
            <c:strRef>
              <c:f>Sheet1!$A$4</c:f>
              <c:strCache>
                <c:ptCount val="1"/>
                <c:pt idx="0">
                  <c:v>B2B Marketing</c:v>
                </c:pt>
              </c:strCache>
            </c:strRef>
          </c:tx>
          <c:spPr>
            <a:solidFill>
              <a:schemeClr val="accent2"/>
            </a:solidFill>
            <a:ln>
              <a:noFill/>
            </a:ln>
          </c:spPr>
          <c:invertIfNegative val="0"/>
          <c:dLbls>
            <c:dLbl>
              <c:idx val="0"/>
              <c:layout>
                <c:manualLayout>
                  <c:x val="0"/>
                  <c:y val="0"/>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726-4FDC-8231-ACFC212BDB5A}"/>
                </c:ext>
              </c:extLst>
            </c:dLbl>
            <c:dLbl>
              <c:idx val="1"/>
              <c:layout>
                <c:manualLayout>
                  <c:x val="0"/>
                  <c:y val="0"/>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726-4FDC-8231-ACFC212BDB5A}"/>
                </c:ext>
              </c:extLst>
            </c:dLbl>
            <c:dLbl>
              <c:idx val="2"/>
              <c:layout>
                <c:manualLayout>
                  <c:x val="0"/>
                  <c:y val="0"/>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726-4FDC-8231-ACFC212BDB5A}"/>
                </c:ext>
              </c:extLst>
            </c:dLbl>
            <c:dLbl>
              <c:idx val="3"/>
              <c:layout>
                <c:manualLayout>
                  <c:x val="0"/>
                  <c:y val="0"/>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3726-4FDC-8231-ACFC212BDB5A}"/>
                </c:ext>
              </c:extLst>
            </c:dLbl>
            <c:dLbl>
              <c:idx val="4"/>
              <c:layout>
                <c:manualLayout>
                  <c:x val="0"/>
                  <c:y val="-3.850596842510589E-4"/>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3726-4FDC-8231-ACFC212BDB5A}"/>
                </c:ext>
              </c:extLst>
            </c:dLbl>
            <c:dLbl>
              <c:idx val="5"/>
              <c:layout>
                <c:manualLayout>
                  <c:x val="0"/>
                  <c:y val="0"/>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3726-4FDC-8231-ACFC212BDB5A}"/>
                </c:ext>
              </c:extLst>
            </c:dLbl>
            <c:dLbl>
              <c:idx val="6"/>
              <c:layout>
                <c:manualLayout>
                  <c:x val="0"/>
                  <c:y val="0"/>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3726-4FDC-8231-ACFC212BDB5A}"/>
                </c:ext>
              </c:extLst>
            </c:dLbl>
            <c:dLbl>
              <c:idx val="7"/>
              <c:layout>
                <c:manualLayout>
                  <c:x val="0"/>
                  <c:y val="-3.850596842510589E-4"/>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3726-4FDC-8231-ACFC212BDB5A}"/>
                </c:ext>
              </c:extLst>
            </c:dLbl>
            <c:dLbl>
              <c:idx val="8"/>
              <c:layout>
                <c:manualLayout>
                  <c:x val="0"/>
                  <c:y val="0"/>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3726-4FDC-8231-ACFC212BDB5A}"/>
                </c:ext>
              </c:extLst>
            </c:dLbl>
            <c:dLbl>
              <c:idx val="9"/>
              <c:layout>
                <c:manualLayout>
                  <c:x val="0"/>
                  <c:y val="0"/>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3726-4FDC-8231-ACFC212BDB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K$1</c:f>
              <c:strCache>
                <c:ptCount val="10"/>
                <c:pt idx="0">
                  <c:v>2017</c:v>
                </c:pt>
                <c:pt idx="1">
                  <c:v>2018</c:v>
                </c:pt>
                <c:pt idx="2">
                  <c:v>2019</c:v>
                </c:pt>
                <c:pt idx="3">
                  <c:v>2020B</c:v>
                </c:pt>
                <c:pt idx="4">
                  <c:v>2020F</c:v>
                </c:pt>
                <c:pt idx="5">
                  <c:v>2021F</c:v>
                </c:pt>
                <c:pt idx="6">
                  <c:v>2022F</c:v>
                </c:pt>
                <c:pt idx="7">
                  <c:v>2023F</c:v>
                </c:pt>
                <c:pt idx="8">
                  <c:v>2024F</c:v>
                </c:pt>
                <c:pt idx="9">
                  <c:v>2025F</c:v>
                </c:pt>
              </c:strCache>
            </c:strRef>
          </c:cat>
          <c:val>
            <c:numRef>
              <c:f>Sheet1!$B$4:$K$4</c:f>
              <c:numCache>
                <c:formatCode>0.0</c:formatCode>
                <c:ptCount val="10"/>
                <c:pt idx="0">
                  <c:v>17.756228170359861</c:v>
                </c:pt>
                <c:pt idx="1">
                  <c:v>19.582881917735804</c:v>
                </c:pt>
                <c:pt idx="2">
                  <c:v>20.791886560033625</c:v>
                </c:pt>
                <c:pt idx="3" formatCode="General">
                  <c:v>20.400000000000006</c:v>
                </c:pt>
                <c:pt idx="4">
                  <c:v>19.11050592445773</c:v>
                </c:pt>
                <c:pt idx="5">
                  <c:v>20.789983638893343</c:v>
                </c:pt>
                <c:pt idx="6">
                  <c:v>22.485684121551898</c:v>
                </c:pt>
                <c:pt idx="7">
                  <c:v>24.261572210130346</c:v>
                </c:pt>
                <c:pt idx="8">
                  <c:v>26.467579170609099</c:v>
                </c:pt>
                <c:pt idx="9">
                  <c:v>29.038559196020515</c:v>
                </c:pt>
              </c:numCache>
            </c:numRef>
          </c:val>
          <c:extLst>
            <c:ext xmlns:c16="http://schemas.microsoft.com/office/drawing/2014/chart" uri="{C3380CC4-5D6E-409C-BE32-E72D297353CC}">
              <c16:uniqueId val="{00000020-3726-4FDC-8231-ACFC212BDB5A}"/>
            </c:ext>
          </c:extLst>
        </c:ser>
        <c:ser>
          <c:idx val="3"/>
          <c:order val="3"/>
          <c:tx>
            <c:strRef>
              <c:f>Sheet1!$A$5</c:f>
              <c:strCache>
                <c:ptCount val="1"/>
                <c:pt idx="0">
                  <c:v>DBI/WWN</c:v>
                </c:pt>
              </c:strCache>
            </c:strRef>
          </c:tx>
          <c:spPr>
            <a:solidFill>
              <a:schemeClr val="bg2"/>
            </a:solidFill>
          </c:spPr>
          <c:invertIfNegative val="0"/>
          <c:dLbls>
            <c:dLbl>
              <c:idx val="0"/>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3726-4FDC-8231-ACFC212BDB5A}"/>
                </c:ext>
              </c:extLst>
            </c:dLbl>
            <c:dLbl>
              <c:idx val="1"/>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3726-4FDC-8231-ACFC212BDB5A}"/>
                </c:ext>
              </c:extLst>
            </c:dLbl>
            <c:dLbl>
              <c:idx val="2"/>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3726-4FDC-8231-ACFC212BDB5A}"/>
                </c:ext>
              </c:extLst>
            </c:dLbl>
            <c:dLbl>
              <c:idx val="3"/>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3726-4FDC-8231-ACFC212BDB5A}"/>
                </c:ext>
              </c:extLst>
            </c:dLbl>
            <c:dLbl>
              <c:idx val="4"/>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3726-4FDC-8231-ACFC212BDB5A}"/>
                </c:ext>
              </c:extLst>
            </c:dLbl>
            <c:dLbl>
              <c:idx val="5"/>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3726-4FDC-8231-ACFC212BDB5A}"/>
                </c:ext>
              </c:extLst>
            </c:dLbl>
            <c:dLbl>
              <c:idx val="6"/>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3726-4FDC-8231-ACFC212BDB5A}"/>
                </c:ext>
              </c:extLst>
            </c:dLbl>
            <c:dLbl>
              <c:idx val="7"/>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3726-4FDC-8231-ACFC212BDB5A}"/>
                </c:ext>
              </c:extLst>
            </c:dLbl>
            <c:dLbl>
              <c:idx val="8"/>
              <c:layout>
                <c:manualLayout>
                  <c:x val="0"/>
                  <c:y val="-3.850596842510589E-4"/>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3726-4FDC-8231-ACFC212BDB5A}"/>
                </c:ext>
              </c:extLst>
            </c:dLbl>
            <c:dLbl>
              <c:idx val="9"/>
              <c:layout>
                <c:manualLayout>
                  <c:x val="0"/>
                  <c:y val="-1.2321908401649597E-2"/>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3726-4FDC-8231-ACFC212BDB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K$1</c:f>
              <c:strCache>
                <c:ptCount val="10"/>
                <c:pt idx="0">
                  <c:v>2017</c:v>
                </c:pt>
                <c:pt idx="1">
                  <c:v>2018</c:v>
                </c:pt>
                <c:pt idx="2">
                  <c:v>2019</c:v>
                </c:pt>
                <c:pt idx="3">
                  <c:v>2020B</c:v>
                </c:pt>
                <c:pt idx="4">
                  <c:v>2020F</c:v>
                </c:pt>
                <c:pt idx="5">
                  <c:v>2021F</c:v>
                </c:pt>
                <c:pt idx="6">
                  <c:v>2022F</c:v>
                </c:pt>
                <c:pt idx="7">
                  <c:v>2023F</c:v>
                </c:pt>
                <c:pt idx="8">
                  <c:v>2024F</c:v>
                </c:pt>
                <c:pt idx="9">
                  <c:v>2025F</c:v>
                </c:pt>
              </c:strCache>
            </c:strRef>
          </c:cat>
          <c:val>
            <c:numRef>
              <c:f>Sheet1!$B$5:$K$5</c:f>
              <c:numCache>
                <c:formatCode>0.0</c:formatCode>
                <c:ptCount val="10"/>
                <c:pt idx="0">
                  <c:v>17.881137053912255</c:v>
                </c:pt>
                <c:pt idx="1">
                  <c:v>18.658297611955447</c:v>
                </c:pt>
                <c:pt idx="2">
                  <c:v>20.747893503285276</c:v>
                </c:pt>
                <c:pt idx="3" formatCode="General">
                  <c:v>23.700000000000003</c:v>
                </c:pt>
                <c:pt idx="4">
                  <c:v>23.113430430000001</c:v>
                </c:pt>
                <c:pt idx="5">
                  <c:v>24.632745</c:v>
                </c:pt>
                <c:pt idx="6">
                  <c:v>25.494891074999998</c:v>
                </c:pt>
                <c:pt idx="7">
                  <c:v>26.387212262624995</c:v>
                </c:pt>
                <c:pt idx="8">
                  <c:v>27.310764691816871</c:v>
                </c:pt>
                <c:pt idx="9">
                  <c:v>28.266641456030456</c:v>
                </c:pt>
              </c:numCache>
            </c:numRef>
          </c:val>
          <c:extLst>
            <c:ext xmlns:c16="http://schemas.microsoft.com/office/drawing/2014/chart" uri="{C3380CC4-5D6E-409C-BE32-E72D297353CC}">
              <c16:uniqueId val="{0000002B-3726-4FDC-8231-ACFC212BDB5A}"/>
            </c:ext>
          </c:extLst>
        </c:ser>
        <c:ser>
          <c:idx val="4"/>
          <c:order val="4"/>
          <c:tx>
            <c:strRef>
              <c:f>Sheet1!$A$6</c:f>
              <c:strCache>
                <c:ptCount val="1"/>
                <c:pt idx="0">
                  <c:v>Interco elim</c:v>
                </c:pt>
              </c:strCache>
            </c:strRef>
          </c:tx>
          <c:spPr>
            <a:solidFill>
              <a:srgbClr val="969696"/>
            </a:solidFill>
          </c:spPr>
          <c:invertIfNegative val="0"/>
          <c:cat>
            <c:strRef>
              <c:f>Sheet1!$B$1:$K$1</c:f>
              <c:strCache>
                <c:ptCount val="10"/>
                <c:pt idx="0">
                  <c:v>2017</c:v>
                </c:pt>
                <c:pt idx="1">
                  <c:v>2018</c:v>
                </c:pt>
                <c:pt idx="2">
                  <c:v>2019</c:v>
                </c:pt>
                <c:pt idx="3">
                  <c:v>2020B</c:v>
                </c:pt>
                <c:pt idx="4">
                  <c:v>2020F</c:v>
                </c:pt>
                <c:pt idx="5">
                  <c:v>2021F</c:v>
                </c:pt>
                <c:pt idx="6">
                  <c:v>2022F</c:v>
                </c:pt>
                <c:pt idx="7">
                  <c:v>2023F</c:v>
                </c:pt>
                <c:pt idx="8">
                  <c:v>2024F</c:v>
                </c:pt>
                <c:pt idx="9">
                  <c:v>2025F</c:v>
                </c:pt>
              </c:strCache>
            </c:strRef>
          </c:cat>
          <c:val>
            <c:numRef>
              <c:f>Sheet1!$B$6:$K$6</c:f>
              <c:numCache>
                <c:formatCode>0.0</c:formatCode>
                <c:ptCount val="10"/>
                <c:pt idx="0">
                  <c:v>-1.021504</c:v>
                </c:pt>
                <c:pt idx="1">
                  <c:v>-0.998</c:v>
                </c:pt>
                <c:pt idx="2">
                  <c:v>-2.2850000000000001</c:v>
                </c:pt>
                <c:pt idx="3" formatCode="General">
                  <c:v>-2.2999999999999998</c:v>
                </c:pt>
                <c:pt idx="4">
                  <c:v>-2.153</c:v>
                </c:pt>
                <c:pt idx="5">
                  <c:v>-2.2785050159199498</c:v>
                </c:pt>
                <c:pt idx="6">
                  <c:v>-2.4147161666893293</c:v>
                </c:pt>
                <c:pt idx="7">
                  <c:v>-2.5509353274243716</c:v>
                </c:pt>
                <c:pt idx="8">
                  <c:v>-2.7020704841018723</c:v>
                </c:pt>
                <c:pt idx="9">
                  <c:v>-2.8637786607175668</c:v>
                </c:pt>
              </c:numCache>
            </c:numRef>
          </c:val>
          <c:extLst>
            <c:ext xmlns:c16="http://schemas.microsoft.com/office/drawing/2014/chart" uri="{C3380CC4-5D6E-409C-BE32-E72D297353CC}">
              <c16:uniqueId val="{0000002C-3726-4FDC-8231-ACFC212BDB5A}"/>
            </c:ext>
          </c:extLst>
        </c:ser>
        <c:dLbls>
          <c:showLegendKey val="0"/>
          <c:showVal val="0"/>
          <c:showCatName val="0"/>
          <c:showSerName val="0"/>
          <c:showPercent val="0"/>
          <c:showBubbleSize val="0"/>
        </c:dLbls>
        <c:gapWidth val="80"/>
        <c:overlap val="100"/>
        <c:axId val="826371280"/>
        <c:axId val="1"/>
      </c:barChart>
      <c:lineChart>
        <c:grouping val="standard"/>
        <c:varyColors val="0"/>
        <c:ser>
          <c:idx val="5"/>
          <c:order val="5"/>
          <c:tx>
            <c:strRef>
              <c:f>Sheet1!$A$7</c:f>
              <c:strCache>
                <c:ptCount val="1"/>
                <c:pt idx="0">
                  <c:v>TOTAL</c:v>
                </c:pt>
              </c:strCache>
            </c:strRef>
          </c:tx>
          <c:spPr>
            <a:ln>
              <a:noFill/>
            </a:ln>
          </c:spPr>
          <c:marker>
            <c:symbol val="none"/>
          </c:marker>
          <c:dLbls>
            <c:spPr>
              <a:noFill/>
              <a:ln>
                <a:noFill/>
              </a:ln>
              <a:effectLst/>
            </c:spPr>
            <c:txPr>
              <a:bodyPr wrap="square" lIns="38100" tIns="19050" rIns="38100" bIns="19050" anchor="ctr">
                <a:spAutoFit/>
              </a:bodyPr>
              <a:lstStyle/>
              <a:p>
                <a:pPr>
                  <a:defRPr b="1"/>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K$1</c:f>
              <c:strCache>
                <c:ptCount val="10"/>
                <c:pt idx="0">
                  <c:v>2017</c:v>
                </c:pt>
                <c:pt idx="1">
                  <c:v>2018</c:v>
                </c:pt>
                <c:pt idx="2">
                  <c:v>2019</c:v>
                </c:pt>
                <c:pt idx="3">
                  <c:v>2020B</c:v>
                </c:pt>
                <c:pt idx="4">
                  <c:v>2020F</c:v>
                </c:pt>
                <c:pt idx="5">
                  <c:v>2021F</c:v>
                </c:pt>
                <c:pt idx="6">
                  <c:v>2022F</c:v>
                </c:pt>
                <c:pt idx="7">
                  <c:v>2023F</c:v>
                </c:pt>
                <c:pt idx="8">
                  <c:v>2024F</c:v>
                </c:pt>
                <c:pt idx="9">
                  <c:v>2025F</c:v>
                </c:pt>
              </c:strCache>
            </c:strRef>
          </c:cat>
          <c:val>
            <c:numRef>
              <c:f>Sheet1!$B$7:$K$7</c:f>
              <c:numCache>
                <c:formatCode>0.0</c:formatCode>
                <c:ptCount val="10"/>
                <c:pt idx="0">
                  <c:v>114.8990774201678</c:v>
                </c:pt>
                <c:pt idx="1">
                  <c:v>113.09814329450954</c:v>
                </c:pt>
                <c:pt idx="2">
                  <c:v>115.58268399053881</c:v>
                </c:pt>
                <c:pt idx="3">
                  <c:v>120.9</c:v>
                </c:pt>
                <c:pt idx="4">
                  <c:v>115.15764284805213</c:v>
                </c:pt>
                <c:pt idx="5">
                  <c:v>122.04249868366612</c:v>
                </c:pt>
                <c:pt idx="6">
                  <c:v>128.72789050651755</c:v>
                </c:pt>
                <c:pt idx="7">
                  <c:v>135.44379988090751</c:v>
                </c:pt>
                <c:pt idx="8">
                  <c:v>142.82862331105596</c:v>
                </c:pt>
                <c:pt idx="9">
                  <c:v>150.69778468193505</c:v>
                </c:pt>
              </c:numCache>
            </c:numRef>
          </c:val>
          <c:smooth val="0"/>
          <c:extLst>
            <c:ext xmlns:c16="http://schemas.microsoft.com/office/drawing/2014/chart" uri="{C3380CC4-5D6E-409C-BE32-E72D297353CC}">
              <c16:uniqueId val="{00000000-D8C4-46E3-A14E-2D551B0A4A12}"/>
            </c:ext>
          </c:extLst>
        </c:ser>
        <c:dLbls>
          <c:showLegendKey val="0"/>
          <c:showVal val="0"/>
          <c:showCatName val="0"/>
          <c:showSerName val="0"/>
          <c:showPercent val="0"/>
          <c:showBubbleSize val="0"/>
        </c:dLbls>
        <c:marker val="1"/>
        <c:smooth val="0"/>
        <c:axId val="826371280"/>
        <c:axId val="1"/>
      </c:lineChart>
      <c:catAx>
        <c:axId val="826371280"/>
        <c:scaling>
          <c:orientation val="minMax"/>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160"/>
          <c:min val="-1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100">
                <a:solidFill>
                  <a:schemeClr val="tx1"/>
                </a:solidFill>
                <a:latin typeface="+mn-lt"/>
                <a:ea typeface="+mn-ea"/>
                <a:cs typeface="+mn-cs"/>
                <a:sym typeface="+mn-lt"/>
              </a:defRPr>
            </a:pPr>
            <a:endParaRPr lang="fr-FR"/>
          </a:p>
        </c:txPr>
        <c:crossAx val="826371280"/>
        <c:crosses val="min"/>
        <c:crossBetween val="between"/>
        <c:majorUnit val="10"/>
      </c:valAx>
    </c:plotArea>
    <c:plotVisOnly val="0"/>
    <c:dispBlanksAs val="gap"/>
    <c:showDLblsOverMax val="1"/>
  </c:chart>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euil1!$B$1</c:f>
              <c:strCache>
                <c:ptCount val="1"/>
                <c:pt idx="0">
                  <c:v>Série 1</c:v>
                </c:pt>
              </c:strCache>
            </c:strRef>
          </c:tx>
          <c:spPr>
            <a:solidFill>
              <a:schemeClr val="tx2"/>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4-23DF-4757-9655-B802223DA7D7}"/>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Feuil1!$B$2:$B$10</c:f>
              <c:numCache>
                <c:formatCode>0.0</c:formatCode>
                <c:ptCount val="9"/>
                <c:pt idx="0">
                  <c:v>34.925578940511635</c:v>
                </c:pt>
                <c:pt idx="1">
                  <c:v>33.778350305764924</c:v>
                </c:pt>
                <c:pt idx="2">
                  <c:v>32.21001521893799</c:v>
                </c:pt>
                <c:pt idx="3">
                  <c:v>30.638499759156783</c:v>
                </c:pt>
                <c:pt idx="4">
                  <c:v>31.206881260361001</c:v>
                </c:pt>
                <c:pt idx="5">
                  <c:v>31.901771353236668</c:v>
                </c:pt>
                <c:pt idx="6">
                  <c:v>32.399400260317826</c:v>
                </c:pt>
                <c:pt idx="7">
                  <c:v>32.880492218554174</c:v>
                </c:pt>
                <c:pt idx="8">
                  <c:v>33.34537245615536</c:v>
                </c:pt>
              </c:numCache>
            </c:numRef>
          </c:val>
          <c:extLst>
            <c:ext xmlns:c16="http://schemas.microsoft.com/office/drawing/2014/chart" uri="{C3380CC4-5D6E-409C-BE32-E72D297353CC}">
              <c16:uniqueId val="{00000000-23DF-4757-9655-B802223DA7D7}"/>
            </c:ext>
          </c:extLst>
        </c:ser>
        <c:dLbls>
          <c:showLegendKey val="0"/>
          <c:showVal val="0"/>
          <c:showCatName val="0"/>
          <c:showSerName val="0"/>
          <c:showPercent val="0"/>
          <c:showBubbleSize val="0"/>
        </c:dLbls>
        <c:gapWidth val="80"/>
        <c:overlap val="-27"/>
        <c:axId val="1956546831"/>
        <c:axId val="1002877168"/>
      </c:barChart>
      <c:catAx>
        <c:axId val="19565468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002877168"/>
        <c:crosses val="autoZero"/>
        <c:auto val="1"/>
        <c:lblAlgn val="ctr"/>
        <c:lblOffset val="100"/>
        <c:noMultiLvlLbl val="0"/>
      </c:catAx>
      <c:valAx>
        <c:axId val="1002877168"/>
        <c:scaling>
          <c:orientation val="minMax"/>
          <c:max val="40"/>
          <c:min val="0"/>
        </c:scaling>
        <c:delete val="1"/>
        <c:axPos val="l"/>
        <c:numFmt formatCode="0.0" sourceLinked="1"/>
        <c:majorTickMark val="out"/>
        <c:minorTickMark val="none"/>
        <c:tickLblPos val="nextTo"/>
        <c:crossAx val="195654683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euil1!$B$1</c:f>
              <c:strCache>
                <c:ptCount val="1"/>
                <c:pt idx="0">
                  <c:v>Série 1</c:v>
                </c:pt>
              </c:strCache>
            </c:strRef>
          </c:tx>
          <c:spPr>
            <a:solidFill>
              <a:schemeClr val="tx2"/>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4-23DF-4757-9655-B802223DA7D7}"/>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Feuil1!$B$2:$B$10</c:f>
              <c:numCache>
                <c:formatCode>0.0</c:formatCode>
                <c:ptCount val="9"/>
                <c:pt idx="0">
                  <c:v>37.344589440983867</c:v>
                </c:pt>
                <c:pt idx="1">
                  <c:v>33.53180832796324</c:v>
                </c:pt>
                <c:pt idx="2">
                  <c:v>32.72298943184478</c:v>
                </c:pt>
                <c:pt idx="3">
                  <c:v>32.005029828895331</c:v>
                </c:pt>
                <c:pt idx="4">
                  <c:v>32.883140681421374</c:v>
                </c:pt>
                <c:pt idx="5">
                  <c:v>33.855988667379606</c:v>
                </c:pt>
                <c:pt idx="6">
                  <c:v>34.801342760701914</c:v>
                </c:pt>
                <c:pt idx="7">
                  <c:v>35.933096283345733</c:v>
                </c:pt>
                <c:pt idx="8">
                  <c:v>37.090497427944641</c:v>
                </c:pt>
              </c:numCache>
            </c:numRef>
          </c:val>
          <c:extLst>
            <c:ext xmlns:c16="http://schemas.microsoft.com/office/drawing/2014/chart" uri="{C3380CC4-5D6E-409C-BE32-E72D297353CC}">
              <c16:uniqueId val="{00000000-23DF-4757-9655-B802223DA7D7}"/>
            </c:ext>
          </c:extLst>
        </c:ser>
        <c:dLbls>
          <c:showLegendKey val="0"/>
          <c:showVal val="0"/>
          <c:showCatName val="0"/>
          <c:showSerName val="0"/>
          <c:showPercent val="0"/>
          <c:showBubbleSize val="0"/>
        </c:dLbls>
        <c:gapWidth val="80"/>
        <c:overlap val="-27"/>
        <c:axId val="1956546831"/>
        <c:axId val="1002877168"/>
      </c:barChart>
      <c:catAx>
        <c:axId val="19565468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002877168"/>
        <c:crosses val="autoZero"/>
        <c:auto val="1"/>
        <c:lblAlgn val="ctr"/>
        <c:lblOffset val="100"/>
        <c:noMultiLvlLbl val="0"/>
      </c:catAx>
      <c:valAx>
        <c:axId val="1002877168"/>
        <c:scaling>
          <c:orientation val="minMax"/>
          <c:max val="40"/>
          <c:min val="0"/>
        </c:scaling>
        <c:delete val="1"/>
        <c:axPos val="l"/>
        <c:numFmt formatCode="0.0" sourceLinked="1"/>
        <c:majorTickMark val="out"/>
        <c:minorTickMark val="none"/>
        <c:tickLblPos val="nextTo"/>
        <c:crossAx val="195654683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303562340240732E-2"/>
          <c:y val="4.3151205592791619E-2"/>
          <c:w val="0.88847221865484005"/>
          <c:h val="0.86529256177618641"/>
        </c:manualLayout>
      </c:layout>
      <c:barChart>
        <c:barDir val="col"/>
        <c:grouping val="stacked"/>
        <c:varyColors val="0"/>
        <c:ser>
          <c:idx val="0"/>
          <c:order val="0"/>
          <c:tx>
            <c:strRef>
              <c:f>Sheet1!$B$1</c:f>
              <c:strCache>
                <c:ptCount val="1"/>
                <c:pt idx="0">
                  <c:v>DBAI/Toolkit/GDM</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0.00</c:formatCode>
                <c:ptCount val="4"/>
                <c:pt idx="0">
                  <c:v>10988618.400000013</c:v>
                </c:pt>
                <c:pt idx="1">
                  <c:v>8092998.9600000046</c:v>
                </c:pt>
                <c:pt idx="2">
                  <c:v>5855865.7299999977</c:v>
                </c:pt>
                <c:pt idx="3">
                  <c:v>3474212.7000000011</c:v>
                </c:pt>
              </c:numCache>
            </c:numRef>
          </c:val>
          <c:extLst>
            <c:ext xmlns:c16="http://schemas.microsoft.com/office/drawing/2014/chart" uri="{C3380CC4-5D6E-409C-BE32-E72D297353CC}">
              <c16:uniqueId val="{00000000-C32B-48B3-917E-750AAB89AF66}"/>
            </c:ext>
          </c:extLst>
        </c:ser>
        <c:ser>
          <c:idx val="1"/>
          <c:order val="1"/>
          <c:tx>
            <c:strRef>
              <c:f>Sheet1!$C$1</c:f>
              <c:strCache>
                <c:ptCount val="1"/>
                <c:pt idx="0">
                  <c:v>DB Credit</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C32B-48B3-917E-750AAB89AF66}"/>
                </c:ext>
              </c:extLst>
            </c:dLbl>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0.00</c:formatCode>
                <c:ptCount val="4"/>
                <c:pt idx="0">
                  <c:v>44250</c:v>
                </c:pt>
                <c:pt idx="1">
                  <c:v>2588531.7199999997</c:v>
                </c:pt>
                <c:pt idx="2">
                  <c:v>4504109.5500000007</c:v>
                </c:pt>
                <c:pt idx="3">
                  <c:v>5772610.0700000031</c:v>
                </c:pt>
              </c:numCache>
            </c:numRef>
          </c:val>
          <c:extLst>
            <c:ext xmlns:c16="http://schemas.microsoft.com/office/drawing/2014/chart" uri="{C3380CC4-5D6E-409C-BE32-E72D297353CC}">
              <c16:uniqueId val="{00000002-C32B-48B3-917E-750AAB89AF66}"/>
            </c:ext>
          </c:extLst>
        </c:ser>
        <c:dLbls>
          <c:dLblPos val="ctr"/>
          <c:showLegendKey val="0"/>
          <c:showVal val="1"/>
          <c:showCatName val="0"/>
          <c:showSerName val="0"/>
          <c:showPercent val="0"/>
          <c:showBubbleSize val="0"/>
        </c:dLbls>
        <c:gapWidth val="64"/>
        <c:overlap val="100"/>
        <c:axId val="1468785408"/>
        <c:axId val="1211666208"/>
      </c:barChart>
      <c:catAx>
        <c:axId val="146878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sz="1000"/>
      </a:pPr>
      <a:endParaRPr lang="fr-FR"/>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303562340240732E-2"/>
          <c:y val="4.3151205592791619E-2"/>
          <c:w val="0.88847221865484005"/>
          <c:h val="0.86657412478266083"/>
        </c:manualLayout>
      </c:layout>
      <c:barChart>
        <c:barDir val="col"/>
        <c:grouping val="stacked"/>
        <c:varyColors val="0"/>
        <c:ser>
          <c:idx val="0"/>
          <c:order val="0"/>
          <c:tx>
            <c:strRef>
              <c:f>Sheet1!$B$1</c:f>
              <c:strCache>
                <c:ptCount val="1"/>
                <c:pt idx="0">
                  <c:v>DBAI/Toolkit/GDM</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0.00</c:formatCode>
                <c:ptCount val="3"/>
                <c:pt idx="0">
                  <c:v>13697924.753299978</c:v>
                </c:pt>
                <c:pt idx="1">
                  <c:v>11544649.229999987</c:v>
                </c:pt>
                <c:pt idx="2">
                  <c:v>8376332.6399999484</c:v>
                </c:pt>
              </c:numCache>
            </c:numRef>
          </c:val>
          <c:extLst>
            <c:ext xmlns:c16="http://schemas.microsoft.com/office/drawing/2014/chart" uri="{C3380CC4-5D6E-409C-BE32-E72D297353CC}">
              <c16:uniqueId val="{00000000-0416-4DC1-9CBB-69F51A9AE561}"/>
            </c:ext>
          </c:extLst>
        </c:ser>
        <c:ser>
          <c:idx val="1"/>
          <c:order val="1"/>
          <c:tx>
            <c:strRef>
              <c:f>Sheet1!$C$1</c:f>
              <c:strCache>
                <c:ptCount val="1"/>
                <c:pt idx="0">
                  <c:v>DNBi</c:v>
                </c:pt>
              </c:strCache>
            </c:strRef>
          </c:tx>
          <c:spPr>
            <a:solidFill>
              <a:srgbClr val="E9F5EC"/>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0.00</c:formatCode>
                <c:ptCount val="3"/>
                <c:pt idx="0">
                  <c:v>10632532.309999995</c:v>
                </c:pt>
                <c:pt idx="1">
                  <c:v>7053929.3800000008</c:v>
                </c:pt>
                <c:pt idx="2">
                  <c:v>3609815.8699999982</c:v>
                </c:pt>
              </c:numCache>
            </c:numRef>
          </c:val>
          <c:extLst>
            <c:ext xmlns:c16="http://schemas.microsoft.com/office/drawing/2014/chart" uri="{C3380CC4-5D6E-409C-BE32-E72D297353CC}">
              <c16:uniqueId val="{00000001-0416-4DC1-9CBB-69F51A9AE561}"/>
            </c:ext>
          </c:extLst>
        </c:ser>
        <c:ser>
          <c:idx val="2"/>
          <c:order val="2"/>
          <c:tx>
            <c:strRef>
              <c:f>Sheet1!$D$1</c:f>
              <c:strCache>
                <c:ptCount val="1"/>
                <c:pt idx="0">
                  <c:v>DB Credit</c:v>
                </c:pt>
              </c:strCache>
            </c:strRef>
          </c:tx>
          <c:spPr>
            <a:solidFill>
              <a:srgbClr val="289B38"/>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0.00</c:formatCode>
                <c:ptCount val="3"/>
                <c:pt idx="0">
                  <c:v>3982969.5000000005</c:v>
                </c:pt>
                <c:pt idx="1">
                  <c:v>8317677.7700000033</c:v>
                </c:pt>
                <c:pt idx="2">
                  <c:v>13006740.57</c:v>
                </c:pt>
              </c:numCache>
            </c:numRef>
          </c:val>
          <c:extLst>
            <c:ext xmlns:c16="http://schemas.microsoft.com/office/drawing/2014/chart" uri="{C3380CC4-5D6E-409C-BE32-E72D297353CC}">
              <c16:uniqueId val="{00000002-0416-4DC1-9CBB-69F51A9AE561}"/>
            </c:ext>
          </c:extLst>
        </c:ser>
        <c:dLbls>
          <c:showLegendKey val="0"/>
          <c:showVal val="0"/>
          <c:showCatName val="0"/>
          <c:showSerName val="0"/>
          <c:showPercent val="0"/>
          <c:showBubbleSize val="0"/>
        </c:dLbls>
        <c:gapWidth val="64"/>
        <c:overlap val="100"/>
        <c:axId val="1468785408"/>
        <c:axId val="1211666208"/>
      </c:barChart>
      <c:catAx>
        <c:axId val="146878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NB Client DBAI</c:v>
                </c:pt>
              </c:strCache>
            </c:strRef>
          </c:tx>
          <c:spPr>
            <a:solidFill>
              <a:srgbClr val="36784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1329</c:v>
                </c:pt>
                <c:pt idx="1">
                  <c:v>1081</c:v>
                </c:pt>
                <c:pt idx="2">
                  <c:v>674</c:v>
                </c:pt>
              </c:numCache>
            </c:numRef>
          </c:val>
          <c:extLst>
            <c:ext xmlns:c16="http://schemas.microsoft.com/office/drawing/2014/chart" uri="{C3380CC4-5D6E-409C-BE32-E72D297353CC}">
              <c16:uniqueId val="{00000000-4B8A-4851-8187-EB2D24AF71E2}"/>
            </c:ext>
          </c:extLst>
        </c:ser>
        <c:ser>
          <c:idx val="1"/>
          <c:order val="1"/>
          <c:tx>
            <c:strRef>
              <c:f>Sheet1!$C$1</c:f>
              <c:strCache>
                <c:ptCount val="1"/>
                <c:pt idx="0">
                  <c:v>NB Client DNBi</c:v>
                </c:pt>
              </c:strCache>
            </c:strRef>
          </c:tx>
          <c:spPr>
            <a:solidFill>
              <a:srgbClr val="E9F5E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General</c:formatCode>
                <c:ptCount val="3"/>
                <c:pt idx="0">
                  <c:v>832</c:v>
                </c:pt>
                <c:pt idx="1">
                  <c:v>638</c:v>
                </c:pt>
                <c:pt idx="2">
                  <c:v>265</c:v>
                </c:pt>
              </c:numCache>
            </c:numRef>
          </c:val>
          <c:extLst>
            <c:ext xmlns:c16="http://schemas.microsoft.com/office/drawing/2014/chart" uri="{C3380CC4-5D6E-409C-BE32-E72D297353CC}">
              <c16:uniqueId val="{00000001-4B8A-4851-8187-EB2D24AF71E2}"/>
            </c:ext>
          </c:extLst>
        </c:ser>
        <c:ser>
          <c:idx val="2"/>
          <c:order val="2"/>
          <c:tx>
            <c:strRef>
              <c:f>Sheet1!$D$1</c:f>
              <c:strCache>
                <c:ptCount val="1"/>
                <c:pt idx="0">
                  <c:v>NB Client DB Credit</c:v>
                </c:pt>
              </c:strCache>
            </c:strRef>
          </c:tx>
          <c:spPr>
            <a:solidFill>
              <a:srgbClr val="289B3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General</c:formatCode>
                <c:ptCount val="3"/>
                <c:pt idx="0">
                  <c:v>300</c:v>
                </c:pt>
                <c:pt idx="1">
                  <c:v>678</c:v>
                </c:pt>
                <c:pt idx="2">
                  <c:v>1308</c:v>
                </c:pt>
              </c:numCache>
            </c:numRef>
          </c:val>
          <c:extLst>
            <c:ext xmlns:c16="http://schemas.microsoft.com/office/drawing/2014/chart" uri="{C3380CC4-5D6E-409C-BE32-E72D297353CC}">
              <c16:uniqueId val="{00000002-4B8A-4851-8187-EB2D24AF71E2}"/>
            </c:ext>
          </c:extLst>
        </c:ser>
        <c:dLbls>
          <c:dLblPos val="ctr"/>
          <c:showLegendKey val="0"/>
          <c:showVal val="1"/>
          <c:showCatName val="0"/>
          <c:showSerName val="0"/>
          <c:showPercent val="0"/>
          <c:showBubbleSize val="0"/>
        </c:dLbls>
        <c:gapWidth val="64"/>
        <c:overlap val="100"/>
        <c:axId val="1513647183"/>
        <c:axId val="715693455"/>
      </c:barChart>
      <c:lineChart>
        <c:grouping val="standard"/>
        <c:varyColors val="0"/>
        <c:ser>
          <c:idx val="3"/>
          <c:order val="3"/>
          <c:tx>
            <c:strRef>
              <c:f>Sheet1!$E$1</c:f>
              <c:strCache>
                <c:ptCount val="1"/>
                <c:pt idx="0">
                  <c:v>ARPU Total</c:v>
                </c:pt>
              </c:strCache>
            </c:strRef>
          </c:tx>
          <c:spPr>
            <a:ln w="28575" cap="rnd">
              <a:solidFill>
                <a:schemeClr val="tx1"/>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E$2:$E$4</c:f>
              <c:numCache>
                <c:formatCode>General</c:formatCode>
                <c:ptCount val="3"/>
                <c:pt idx="0">
                  <c:v>11504.846226452661</c:v>
                </c:pt>
                <c:pt idx="1">
                  <c:v>11229.143254067585</c:v>
                </c:pt>
                <c:pt idx="2">
                  <c:v>11122.78107699154</c:v>
                </c:pt>
              </c:numCache>
            </c:numRef>
          </c:val>
          <c:smooth val="0"/>
          <c:extLst>
            <c:ext xmlns:c16="http://schemas.microsoft.com/office/drawing/2014/chart" uri="{C3380CC4-5D6E-409C-BE32-E72D297353CC}">
              <c16:uniqueId val="{00000004-4B8A-4851-8187-EB2D24AF71E2}"/>
            </c:ext>
          </c:extLst>
        </c:ser>
        <c:dLbls>
          <c:dLblPos val="ctr"/>
          <c:showLegendKey val="0"/>
          <c:showVal val="1"/>
          <c:showCatName val="0"/>
          <c:showSerName val="0"/>
          <c:showPercent val="0"/>
          <c:showBubbleSize val="0"/>
        </c:dLbls>
        <c:marker val="1"/>
        <c:smooth val="0"/>
        <c:axId val="645386768"/>
        <c:axId val="1446164223"/>
      </c:lineChart>
      <c:catAx>
        <c:axId val="15136471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715693455"/>
        <c:crosses val="autoZero"/>
        <c:auto val="1"/>
        <c:lblAlgn val="ctr"/>
        <c:lblOffset val="100"/>
        <c:noMultiLvlLbl val="0"/>
      </c:catAx>
      <c:valAx>
        <c:axId val="71569345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513647183"/>
        <c:crosses val="autoZero"/>
        <c:crossBetween val="between"/>
      </c:valAx>
      <c:valAx>
        <c:axId val="1446164223"/>
        <c:scaling>
          <c:orientation val="minMax"/>
          <c:max val="12000"/>
          <c:min val="0"/>
        </c:scaling>
        <c:delete val="0"/>
        <c:axPos val="r"/>
        <c:numFmt formatCode="##,##0&quot;€&quot;\k"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rebuchet MS" panose="020B0603020202020204" pitchFamily="34" charset="0"/>
                <a:ea typeface="+mn-ea"/>
                <a:cs typeface="+mn-cs"/>
              </a:defRPr>
            </a:pPr>
            <a:endParaRPr lang="fr-FR"/>
          </a:p>
        </c:txPr>
        <c:crossAx val="645386768"/>
        <c:crosses val="max"/>
        <c:crossBetween val="between"/>
        <c:dispUnits>
          <c:builtInUnit val="thousands"/>
        </c:dispUnits>
      </c:valAx>
      <c:catAx>
        <c:axId val="645386768"/>
        <c:scaling>
          <c:orientation val="minMax"/>
        </c:scaling>
        <c:delete val="1"/>
        <c:axPos val="b"/>
        <c:numFmt formatCode="General" sourceLinked="1"/>
        <c:majorTickMark val="out"/>
        <c:minorTickMark val="none"/>
        <c:tickLblPos val="nextTo"/>
        <c:crossAx val="1446164223"/>
        <c:crosses val="autoZero"/>
        <c:auto val="1"/>
        <c:lblAlgn val="ctr"/>
        <c:lblOffset val="100"/>
        <c:noMultiLvlLbl val="0"/>
      </c:catAx>
      <c:spPr>
        <a:solidFill>
          <a:schemeClr val="bg1"/>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138832416632484E-2"/>
          <c:y val="0.16610417974746672"/>
          <c:w val="0.94977876914238368"/>
          <c:h val="0.54115908155509562"/>
        </c:manualLayout>
      </c:layout>
      <c:barChart>
        <c:barDir val="col"/>
        <c:grouping val="stacked"/>
        <c:varyColors val="0"/>
        <c:ser>
          <c:idx val="0"/>
          <c:order val="0"/>
          <c:tx>
            <c:strRef>
              <c:f>Sheet1!$B$1</c:f>
              <c:strCache>
                <c:ptCount val="1"/>
                <c:pt idx="0">
                  <c:v>France</c:v>
                </c:pt>
              </c:strCache>
            </c:strRef>
          </c:tx>
          <c:spPr>
            <a:solidFill>
              <a:srgbClr val="289B38"/>
            </a:solidFill>
            <a:ln>
              <a:noFill/>
            </a:ln>
            <a:effectLst/>
          </c:spPr>
          <c:invertIfNegative val="0"/>
          <c:dLbls>
            <c:dLbl>
              <c:idx val="8"/>
              <c:layout>
                <c:manualLayout>
                  <c:x val="-1.9111536694378959E-16"/>
                  <c:y val="-2.592221159328390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0DA-4FDB-AD44-92ADE57D866F}"/>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0</c:formatCode>
                <c:ptCount val="9"/>
                <c:pt idx="0">
                  <c:v>8.8132389542483676</c:v>
                </c:pt>
                <c:pt idx="1">
                  <c:v>12.620816666666666</c:v>
                </c:pt>
                <c:pt idx="2">
                  <c:v>16.542581340000002</c:v>
                </c:pt>
                <c:pt idx="3">
                  <c:v>20.224253408399999</c:v>
                </c:pt>
                <c:pt idx="4">
                  <c:v>23.646822164495997</c:v>
                </c:pt>
                <c:pt idx="5">
                  <c:v>26.7904557437184</c:v>
                </c:pt>
                <c:pt idx="6">
                  <c:v>29.634472746974733</c:v>
                </c:pt>
                <c:pt idx="7">
                  <c:v>32.157312993989294</c:v>
                </c:pt>
                <c:pt idx="8">
                  <c:v>34.336507382629605</c:v>
                </c:pt>
              </c:numCache>
            </c:numRef>
          </c:val>
          <c:extLst>
            <c:ext xmlns:c16="http://schemas.microsoft.com/office/drawing/2014/chart" uri="{C3380CC4-5D6E-409C-BE32-E72D297353CC}">
              <c16:uniqueId val="{00000000-30DA-4FDB-AD44-92ADE57D866F}"/>
            </c:ext>
          </c:extLst>
        </c:ser>
        <c:ser>
          <c:idx val="1"/>
          <c:order val="1"/>
          <c:tx>
            <c:strRef>
              <c:f>Sheet1!$C$1</c:f>
              <c:strCache>
                <c:ptCount val="1"/>
                <c:pt idx="0">
                  <c:v>Benelux</c:v>
                </c:pt>
              </c:strCache>
            </c:strRef>
          </c:tx>
          <c:spPr>
            <a:solidFill>
              <a:schemeClr val="bg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C$2:$C$10</c:f>
              <c:numCache>
                <c:formatCode>0</c:formatCode>
                <c:ptCount val="9"/>
                <c:pt idx="0">
                  <c:v>14.285034068883384</c:v>
                </c:pt>
                <c:pt idx="1">
                  <c:v>16.361588235294118</c:v>
                </c:pt>
                <c:pt idx="2">
                  <c:v>18.55725</c:v>
                </c:pt>
                <c:pt idx="3">
                  <c:v>21.039810000000003</c:v>
                </c:pt>
                <c:pt idx="4">
                  <c:v>23.634591999999998</c:v>
                </c:pt>
                <c:pt idx="5">
                  <c:v>26.646074156000001</c:v>
                </c:pt>
                <c:pt idx="6">
                  <c:v>29.678915537440002</c:v>
                </c:pt>
                <c:pt idx="7">
                  <c:v>32.737963734875201</c:v>
                </c:pt>
                <c:pt idx="8">
                  <c:v>35.828262797903243</c:v>
                </c:pt>
              </c:numCache>
            </c:numRef>
          </c:val>
          <c:extLst>
            <c:ext xmlns:c16="http://schemas.microsoft.com/office/drawing/2014/chart" uri="{C3380CC4-5D6E-409C-BE32-E72D297353CC}">
              <c16:uniqueId val="{00000001-30DA-4FDB-AD44-92ADE57D866F}"/>
            </c:ext>
          </c:extLst>
        </c:ser>
        <c:dLbls>
          <c:dLblPos val="ctr"/>
          <c:showLegendKey val="0"/>
          <c:showVal val="1"/>
          <c:showCatName val="0"/>
          <c:showSerName val="0"/>
          <c:showPercent val="0"/>
          <c:showBubbleSize val="0"/>
        </c:dLbls>
        <c:gapWidth val="77"/>
        <c:overlap val="100"/>
        <c:axId val="1967597839"/>
        <c:axId val="517210528"/>
      </c:barChart>
      <c:catAx>
        <c:axId val="19675978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crossAx val="517210528"/>
        <c:crosses val="autoZero"/>
        <c:auto val="1"/>
        <c:lblAlgn val="ctr"/>
        <c:lblOffset val="100"/>
        <c:noMultiLvlLbl val="0"/>
      </c:catAx>
      <c:valAx>
        <c:axId val="517210528"/>
        <c:scaling>
          <c:orientation val="minMax"/>
        </c:scaling>
        <c:delete val="1"/>
        <c:axPos val="l"/>
        <c:numFmt formatCode="0" sourceLinked="1"/>
        <c:majorTickMark val="none"/>
        <c:minorTickMark val="none"/>
        <c:tickLblPos val="nextTo"/>
        <c:crossAx val="1967597839"/>
        <c:crosses val="autoZero"/>
        <c:crossBetween val="between"/>
      </c:valAx>
      <c:spPr>
        <a:noFill/>
        <a:ln>
          <a:noFill/>
        </a:ln>
        <a:effectLst/>
      </c:spPr>
    </c:plotArea>
    <c:legend>
      <c:legendPos val="b"/>
      <c:layout>
        <c:manualLayout>
          <c:xMode val="edge"/>
          <c:yMode val="edge"/>
          <c:x val="3.3126407858995448E-2"/>
          <c:y val="0.11539023093307538"/>
          <c:w val="0.36138253933694248"/>
          <c:h val="9.299329762337510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DBAI</c:v>
                </c:pt>
              </c:strCache>
            </c:strRef>
          </c:tx>
          <c:spPr>
            <a:solidFill>
              <a:srgbClr val="36784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General</c:formatCode>
                <c:ptCount val="4"/>
                <c:pt idx="0">
                  <c:v>1033</c:v>
                </c:pt>
                <c:pt idx="1">
                  <c:v>881</c:v>
                </c:pt>
                <c:pt idx="2">
                  <c:v>669</c:v>
                </c:pt>
                <c:pt idx="3">
                  <c:v>395</c:v>
                </c:pt>
              </c:numCache>
            </c:numRef>
          </c:val>
          <c:extLst>
            <c:ext xmlns:c16="http://schemas.microsoft.com/office/drawing/2014/chart" uri="{C3380CC4-5D6E-409C-BE32-E72D297353CC}">
              <c16:uniqueId val="{00000000-4B8A-4851-8187-EB2D24AF71E2}"/>
            </c:ext>
          </c:extLst>
        </c:ser>
        <c:ser>
          <c:idx val="1"/>
          <c:order val="1"/>
          <c:tx>
            <c:strRef>
              <c:f>Sheet1!$C$1</c:f>
              <c:strCache>
                <c:ptCount val="1"/>
                <c:pt idx="0">
                  <c:v>DB Credt</c:v>
                </c:pt>
              </c:strCache>
            </c:strRef>
          </c:tx>
          <c:spPr>
            <a:solidFill>
              <a:srgbClr val="289B38"/>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DE59-4A49-AF87-1708885CB185}"/>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General</c:formatCode>
                <c:ptCount val="4"/>
                <c:pt idx="0">
                  <c:v>0</c:v>
                </c:pt>
                <c:pt idx="1">
                  <c:v>200</c:v>
                </c:pt>
                <c:pt idx="2">
                  <c:v>388</c:v>
                </c:pt>
                <c:pt idx="3">
                  <c:v>553</c:v>
                </c:pt>
              </c:numCache>
            </c:numRef>
          </c:val>
          <c:extLst>
            <c:ext xmlns:c16="http://schemas.microsoft.com/office/drawing/2014/chart" uri="{C3380CC4-5D6E-409C-BE32-E72D297353CC}">
              <c16:uniqueId val="{00000001-4B8A-4851-8187-EB2D24AF71E2}"/>
            </c:ext>
          </c:extLst>
        </c:ser>
        <c:dLbls>
          <c:dLblPos val="ctr"/>
          <c:showLegendKey val="0"/>
          <c:showVal val="1"/>
          <c:showCatName val="0"/>
          <c:showSerName val="0"/>
          <c:showPercent val="0"/>
          <c:showBubbleSize val="0"/>
        </c:dLbls>
        <c:gapWidth val="64"/>
        <c:overlap val="100"/>
        <c:axId val="1513647183"/>
        <c:axId val="715693455"/>
      </c:barChart>
      <c:lineChart>
        <c:grouping val="standard"/>
        <c:varyColors val="0"/>
        <c:ser>
          <c:idx val="2"/>
          <c:order val="2"/>
          <c:tx>
            <c:strRef>
              <c:f>Sheet1!$D$1</c:f>
              <c:strCache>
                <c:ptCount val="1"/>
                <c:pt idx="0">
                  <c:v>ARPU total</c:v>
                </c:pt>
              </c:strCache>
            </c:strRef>
          </c:tx>
          <c:spPr>
            <a:ln w="28575" cap="rnd">
              <a:solidFill>
                <a:schemeClr val="tx1"/>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D$2:$D$5</c:f>
              <c:numCache>
                <c:formatCode>General</c:formatCode>
                <c:ptCount val="4"/>
                <c:pt idx="0">
                  <c:v>10639.217357762769</c:v>
                </c:pt>
                <c:pt idx="1">
                  <c:v>9881.1569657724285</c:v>
                </c:pt>
                <c:pt idx="2">
                  <c:v>9801.3011163670781</c:v>
                </c:pt>
                <c:pt idx="3">
                  <c:v>9754.0324578059062</c:v>
                </c:pt>
              </c:numCache>
            </c:numRef>
          </c:val>
          <c:smooth val="0"/>
          <c:extLst>
            <c:ext xmlns:c16="http://schemas.microsoft.com/office/drawing/2014/chart" uri="{C3380CC4-5D6E-409C-BE32-E72D297353CC}">
              <c16:uniqueId val="{00000002-4B8A-4851-8187-EB2D24AF71E2}"/>
            </c:ext>
          </c:extLst>
        </c:ser>
        <c:dLbls>
          <c:showLegendKey val="0"/>
          <c:showVal val="0"/>
          <c:showCatName val="0"/>
          <c:showSerName val="0"/>
          <c:showPercent val="0"/>
          <c:showBubbleSize val="0"/>
        </c:dLbls>
        <c:marker val="1"/>
        <c:smooth val="0"/>
        <c:axId val="645386768"/>
        <c:axId val="1446164223"/>
      </c:lineChart>
      <c:catAx>
        <c:axId val="15136471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715693455"/>
        <c:crosses val="autoZero"/>
        <c:auto val="1"/>
        <c:lblAlgn val="ctr"/>
        <c:lblOffset val="100"/>
        <c:noMultiLvlLbl val="0"/>
      </c:catAx>
      <c:valAx>
        <c:axId val="71569345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513647183"/>
        <c:crosses val="autoZero"/>
        <c:crossBetween val="between"/>
      </c:valAx>
      <c:valAx>
        <c:axId val="1446164223"/>
        <c:scaling>
          <c:orientation val="minMax"/>
          <c:max val="11000"/>
          <c:min val="0"/>
        </c:scaling>
        <c:delete val="0"/>
        <c:axPos val="r"/>
        <c:numFmt formatCode="##,##0&quot;€&quot;\k"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45386768"/>
        <c:crosses val="max"/>
        <c:crossBetween val="between"/>
        <c:dispUnits>
          <c:builtInUnit val="thousands"/>
        </c:dispUnits>
      </c:valAx>
      <c:catAx>
        <c:axId val="645386768"/>
        <c:scaling>
          <c:orientation val="minMax"/>
        </c:scaling>
        <c:delete val="1"/>
        <c:axPos val="b"/>
        <c:numFmt formatCode="General" sourceLinked="1"/>
        <c:majorTickMark val="out"/>
        <c:minorTickMark val="none"/>
        <c:tickLblPos val="nextTo"/>
        <c:crossAx val="1446164223"/>
        <c:crosses val="autoZero"/>
        <c:auto val="1"/>
        <c:lblAlgn val="ctr"/>
        <c:lblOffset val="100"/>
        <c:noMultiLvlLbl val="0"/>
      </c:catAx>
      <c:spPr>
        <a:solidFill>
          <a:schemeClr val="bg1"/>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85548413944083"/>
          <c:y val="7.2857919944977437E-2"/>
          <c:w val="0.79967034582828334"/>
          <c:h val="0.81392522223479324"/>
        </c:manualLayout>
      </c:layout>
      <c:barChart>
        <c:barDir val="col"/>
        <c:grouping val="stacked"/>
        <c:varyColors val="0"/>
        <c:ser>
          <c:idx val="0"/>
          <c:order val="0"/>
          <c:tx>
            <c:strRef>
              <c:f>Sheet1!$B$1</c:f>
              <c:strCache>
                <c:ptCount val="1"/>
                <c:pt idx="0">
                  <c:v>&lt;2017</c:v>
                </c:pt>
              </c:strCache>
            </c:strRef>
          </c:tx>
          <c:spPr>
            <a:solidFill>
              <a:schemeClr val="bg2">
                <a:lumMod val="50000"/>
              </a:schemeClr>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General</c:formatCode>
                <c:ptCount val="4"/>
                <c:pt idx="0">
                  <c:v>12971325.579999983</c:v>
                </c:pt>
                <c:pt idx="1">
                  <c:v>11994428.66</c:v>
                </c:pt>
                <c:pt idx="2">
                  <c:v>11660648.87000001</c:v>
                </c:pt>
                <c:pt idx="3">
                  <c:v>11603019.630000005</c:v>
                </c:pt>
              </c:numCache>
            </c:numRef>
          </c:val>
          <c:extLst>
            <c:ext xmlns:c16="http://schemas.microsoft.com/office/drawing/2014/chart" uri="{C3380CC4-5D6E-409C-BE32-E72D297353CC}">
              <c16:uniqueId val="{00000000-F2BE-45F9-BAE5-17717662D9E3}"/>
            </c:ext>
          </c:extLst>
        </c:ser>
        <c:ser>
          <c:idx val="1"/>
          <c:order val="1"/>
          <c:tx>
            <c:strRef>
              <c:f>Sheet1!$C$1</c:f>
              <c:strCache>
                <c:ptCount val="1"/>
                <c:pt idx="0">
                  <c:v>2017</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F2BE-45F9-BAE5-17717662D9E3}"/>
                </c:ext>
              </c:extLst>
            </c:dLbl>
            <c:dLbl>
              <c:idx val="1"/>
              <c:layout>
                <c:manualLayout>
                  <c:x val="6.3827210193054696E-3"/>
                  <c:y val="8.117874088576835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2BE-45F9-BAE5-17717662D9E3}"/>
                </c:ext>
              </c:extLst>
            </c:dLbl>
            <c:dLbl>
              <c:idx val="2"/>
              <c:layout>
                <c:manualLayout>
                  <c:x val="-3.1913605096527348E-3"/>
                  <c:y val="8.117874088576872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2BE-45F9-BAE5-17717662D9E3}"/>
                </c:ext>
              </c:extLst>
            </c:dLbl>
            <c:dLbl>
              <c:idx val="3"/>
              <c:layout>
                <c:manualLayout>
                  <c:x val="0"/>
                  <c:y val="8.117874088576872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2BE-45F9-BAE5-17717662D9E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General</c:formatCode>
                <c:ptCount val="4"/>
                <c:pt idx="0">
                  <c:v>0</c:v>
                </c:pt>
                <c:pt idx="1">
                  <c:v>391162.63</c:v>
                </c:pt>
                <c:pt idx="2">
                  <c:v>436802.56</c:v>
                </c:pt>
                <c:pt idx="3">
                  <c:v>391881.32999999996</c:v>
                </c:pt>
              </c:numCache>
            </c:numRef>
          </c:val>
          <c:extLst>
            <c:ext xmlns:c16="http://schemas.microsoft.com/office/drawing/2014/chart" uri="{C3380CC4-5D6E-409C-BE32-E72D297353CC}">
              <c16:uniqueId val="{00000005-F2BE-45F9-BAE5-17717662D9E3}"/>
            </c:ext>
          </c:extLst>
        </c:ser>
        <c:ser>
          <c:idx val="2"/>
          <c:order val="2"/>
          <c:tx>
            <c:strRef>
              <c:f>Sheet1!$D$1</c:f>
              <c:strCache>
                <c:ptCount val="1"/>
                <c:pt idx="0">
                  <c:v>2018</c:v>
                </c:pt>
              </c:strCache>
            </c:strRef>
          </c:tx>
          <c:spPr>
            <a:solidFill>
              <a:schemeClr val="bg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6-F2BE-45F9-BAE5-17717662D9E3}"/>
                </c:ext>
              </c:extLst>
            </c:dLbl>
            <c:dLbl>
              <c:idx val="1"/>
              <c:delete val="1"/>
              <c:extLst>
                <c:ext xmlns:c15="http://schemas.microsoft.com/office/drawing/2012/chart" uri="{CE6537A1-D6FC-4f65-9D91-7224C49458BB}"/>
                <c:ext xmlns:c16="http://schemas.microsoft.com/office/drawing/2014/chart" uri="{C3380CC4-5D6E-409C-BE32-E72D297353CC}">
                  <c16:uniqueId val="{00000007-F2BE-45F9-BAE5-17717662D9E3}"/>
                </c:ext>
              </c:extLst>
            </c:dLbl>
            <c:dLbl>
              <c:idx val="2"/>
              <c:layout>
                <c:manualLayout>
                  <c:x val="-0.10527865498115101"/>
                  <c:y val="8.392820990684422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2BE-45F9-BAE5-17717662D9E3}"/>
                </c:ext>
              </c:extLst>
            </c:dLbl>
            <c:dLbl>
              <c:idx val="3"/>
              <c:layout>
                <c:manualLayout>
                  <c:x val="-0.10210512273212394"/>
                  <c:y val="5.9022303411506855E-2"/>
                </c:manualLayout>
              </c:layout>
              <c:numFmt formatCode="#,##0.00" sourceLinked="0"/>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layout>
                    <c:manualLayout>
                      <c:w val="0.12837928376615676"/>
                      <c:h val="5.8966255126947635E-2"/>
                    </c:manualLayout>
                  </c15:layout>
                </c:ext>
                <c:ext xmlns:c16="http://schemas.microsoft.com/office/drawing/2014/chart" uri="{C3380CC4-5D6E-409C-BE32-E72D297353CC}">
                  <c16:uniqueId val="{00000009-F2BE-45F9-BAE5-17717662D9E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D$2:$D$5</c:f>
              <c:numCache>
                <c:formatCode>General</c:formatCode>
                <c:ptCount val="4"/>
                <c:pt idx="0">
                  <c:v>0</c:v>
                </c:pt>
                <c:pt idx="1">
                  <c:v>0</c:v>
                </c:pt>
                <c:pt idx="2">
                  <c:v>234552.95</c:v>
                </c:pt>
                <c:pt idx="3">
                  <c:v>257663.53</c:v>
                </c:pt>
              </c:numCache>
            </c:numRef>
          </c:val>
          <c:extLst>
            <c:ext xmlns:c16="http://schemas.microsoft.com/office/drawing/2014/chart" uri="{C3380CC4-5D6E-409C-BE32-E72D297353CC}">
              <c16:uniqueId val="{0000000A-F2BE-45F9-BAE5-17717662D9E3}"/>
            </c:ext>
          </c:extLst>
        </c:ser>
        <c:ser>
          <c:idx val="3"/>
          <c:order val="3"/>
          <c:tx>
            <c:strRef>
              <c:f>Sheet1!$E$1</c:f>
              <c:strCache>
                <c:ptCount val="1"/>
                <c:pt idx="0">
                  <c:v>2019</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B-F2BE-45F9-BAE5-17717662D9E3}"/>
                </c:ext>
              </c:extLst>
            </c:dLbl>
            <c:dLbl>
              <c:idx val="1"/>
              <c:delete val="1"/>
              <c:extLst>
                <c:ext xmlns:c15="http://schemas.microsoft.com/office/drawing/2012/chart" uri="{CE6537A1-D6FC-4f65-9D91-7224C49458BB}"/>
                <c:ext xmlns:c16="http://schemas.microsoft.com/office/drawing/2014/chart" uri="{C3380CC4-5D6E-409C-BE32-E72D297353CC}">
                  <c16:uniqueId val="{0000000C-F2BE-45F9-BAE5-17717662D9E3}"/>
                </c:ext>
              </c:extLst>
            </c:dLbl>
            <c:dLbl>
              <c:idx val="2"/>
              <c:delete val="1"/>
              <c:extLst>
                <c:ext xmlns:c15="http://schemas.microsoft.com/office/drawing/2012/chart" uri="{CE6537A1-D6FC-4f65-9D91-7224C49458BB}"/>
                <c:ext xmlns:c16="http://schemas.microsoft.com/office/drawing/2014/chart" uri="{C3380CC4-5D6E-409C-BE32-E72D297353CC}">
                  <c16:uniqueId val="{0000000D-F2BE-45F9-BAE5-17717662D9E3}"/>
                </c:ext>
              </c:extLst>
            </c:dLbl>
            <c:dLbl>
              <c:idx val="3"/>
              <c:layout>
                <c:manualLayout>
                  <c:x val="0.1003844755152509"/>
                  <c:y val="6.6472559536248005E-2"/>
                </c:manualLayout>
              </c:layout>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F2BE-45F9-BAE5-17717662D9E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E$2:$E$5</c:f>
              <c:numCache>
                <c:formatCode>General</c:formatCode>
                <c:ptCount val="4"/>
                <c:pt idx="0">
                  <c:v>0</c:v>
                </c:pt>
                <c:pt idx="1">
                  <c:v>0</c:v>
                </c:pt>
                <c:pt idx="2">
                  <c:v>0</c:v>
                </c:pt>
                <c:pt idx="3">
                  <c:v>297127.21999999997</c:v>
                </c:pt>
              </c:numCache>
            </c:numRef>
          </c:val>
          <c:extLst>
            <c:ext xmlns:c16="http://schemas.microsoft.com/office/drawing/2014/chart" uri="{C3380CC4-5D6E-409C-BE32-E72D297353CC}">
              <c16:uniqueId val="{0000000F-F2BE-45F9-BAE5-17717662D9E3}"/>
            </c:ext>
          </c:extLst>
        </c:ser>
        <c:dLbls>
          <c:showLegendKey val="0"/>
          <c:showVal val="1"/>
          <c:showCatName val="0"/>
          <c:showSerName val="0"/>
          <c:showPercent val="0"/>
          <c:showBubbleSize val="0"/>
        </c:dLbls>
        <c:gapWidth val="50"/>
        <c:overlap val="100"/>
        <c:axId val="628186671"/>
        <c:axId val="309735119"/>
      </c:barChart>
      <c:lineChart>
        <c:grouping val="standard"/>
        <c:varyColors val="0"/>
        <c:ser>
          <c:idx val="4"/>
          <c:order val="4"/>
          <c:tx>
            <c:strRef>
              <c:f>Sheet1!$F$1</c:f>
              <c:strCache>
                <c:ptCount val="1"/>
                <c:pt idx="0">
                  <c:v>Total</c:v>
                </c:pt>
              </c:strCache>
            </c:strRef>
          </c:tx>
          <c:spPr>
            <a:ln w="19050" cap="rnd">
              <a:solidFill>
                <a:schemeClr val="accent1">
                  <a:lumMod val="75000"/>
                </a:schemeClr>
              </a:solidFill>
              <a:round/>
            </a:ln>
            <a:effectLst/>
          </c:spPr>
          <c:marker>
            <c:symbol val="none"/>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1">
                        <a:lumMod val="7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F$2:$F$5</c:f>
              <c:numCache>
                <c:formatCode>General</c:formatCode>
                <c:ptCount val="4"/>
                <c:pt idx="0">
                  <c:v>12971325.579999983</c:v>
                </c:pt>
                <c:pt idx="1">
                  <c:v>12385591.290000001</c:v>
                </c:pt>
                <c:pt idx="2">
                  <c:v>12332004.38000001</c:v>
                </c:pt>
                <c:pt idx="3">
                  <c:v>12549691.710000005</c:v>
                </c:pt>
              </c:numCache>
            </c:numRef>
          </c:val>
          <c:smooth val="0"/>
          <c:extLst>
            <c:ext xmlns:c16="http://schemas.microsoft.com/office/drawing/2014/chart" uri="{C3380CC4-5D6E-409C-BE32-E72D297353CC}">
              <c16:uniqueId val="{00000010-F2BE-45F9-BAE5-17717662D9E3}"/>
            </c:ext>
          </c:extLst>
        </c:ser>
        <c:dLbls>
          <c:showLegendKey val="0"/>
          <c:showVal val="1"/>
          <c:showCatName val="0"/>
          <c:showSerName val="0"/>
          <c:showPercent val="0"/>
          <c:showBubbleSize val="0"/>
        </c:dLbls>
        <c:marker val="1"/>
        <c:smooth val="0"/>
        <c:axId val="275408176"/>
        <c:axId val="30972055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ax val="15000000"/>
          <c:min val="0"/>
        </c:scaling>
        <c:delete val="0"/>
        <c:axPos val="l"/>
        <c:majorGridlines>
          <c:spPr>
            <a:ln w="9525" cap="flat" cmpd="sng" algn="ctr">
              <a:solidFill>
                <a:schemeClr val="tx1">
                  <a:lumMod val="15000"/>
                  <a:lumOff val="85000"/>
                </a:schemeClr>
              </a:solidFill>
              <a:round/>
            </a:ln>
            <a:effectLst/>
          </c:spPr>
        </c:majorGridlines>
        <c:numFmt formatCode="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dispUnits>
          <c:builtInUnit val="millions"/>
        </c:dispUnits>
      </c:valAx>
      <c:valAx>
        <c:axId val="309720559"/>
        <c:scaling>
          <c:orientation val="minMax"/>
          <c:min val="0"/>
        </c:scaling>
        <c:delete val="1"/>
        <c:axPos val="r"/>
        <c:numFmt formatCode="0&quot;m€&quot;" sourceLinked="0"/>
        <c:majorTickMark val="out"/>
        <c:minorTickMark val="none"/>
        <c:tickLblPos val="nextTo"/>
        <c:crossAx val="275408176"/>
        <c:crosses val="max"/>
        <c:crossBetween val="between"/>
        <c:dispUnits>
          <c:builtInUnit val="millions"/>
        </c:dispUnits>
      </c:valAx>
      <c:catAx>
        <c:axId val="275408176"/>
        <c:scaling>
          <c:orientation val="minMax"/>
        </c:scaling>
        <c:delete val="1"/>
        <c:axPos val="b"/>
        <c:numFmt formatCode="General" sourceLinked="1"/>
        <c:majorTickMark val="out"/>
        <c:minorTickMark val="none"/>
        <c:tickLblPos val="nextTo"/>
        <c:crossAx val="309720559"/>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lt;2017</c:v>
                </c:pt>
              </c:strCache>
            </c:strRef>
          </c:tx>
          <c:spPr>
            <a:solidFill>
              <a:schemeClr val="bg2">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General</c:formatCode>
                <c:ptCount val="4"/>
                <c:pt idx="0">
                  <c:v>1012</c:v>
                </c:pt>
                <c:pt idx="1">
                  <c:v>867</c:v>
                </c:pt>
                <c:pt idx="2">
                  <c:v>725</c:v>
                </c:pt>
                <c:pt idx="3">
                  <c:v>644</c:v>
                </c:pt>
              </c:numCache>
            </c:numRef>
          </c:val>
          <c:extLst>
            <c:ext xmlns:c16="http://schemas.microsoft.com/office/drawing/2014/chart" uri="{C3380CC4-5D6E-409C-BE32-E72D297353CC}">
              <c16:uniqueId val="{00000000-D744-47F3-BB2E-963D8BC9D379}"/>
            </c:ext>
          </c:extLst>
        </c:ser>
        <c:ser>
          <c:idx val="1"/>
          <c:order val="1"/>
          <c:tx>
            <c:strRef>
              <c:f>Sheet1!$C$1</c:f>
              <c:strCache>
                <c:ptCount val="1"/>
                <c:pt idx="0">
                  <c:v>2017</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D744-47F3-BB2E-963D8BC9D37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General</c:formatCode>
                <c:ptCount val="4"/>
                <c:pt idx="0">
                  <c:v>0</c:v>
                </c:pt>
                <c:pt idx="1">
                  <c:v>60</c:v>
                </c:pt>
                <c:pt idx="2">
                  <c:v>40</c:v>
                </c:pt>
                <c:pt idx="3">
                  <c:v>29</c:v>
                </c:pt>
              </c:numCache>
            </c:numRef>
          </c:val>
          <c:extLst>
            <c:ext xmlns:c16="http://schemas.microsoft.com/office/drawing/2014/chart" uri="{C3380CC4-5D6E-409C-BE32-E72D297353CC}">
              <c16:uniqueId val="{00000002-D744-47F3-BB2E-963D8BC9D379}"/>
            </c:ext>
          </c:extLst>
        </c:ser>
        <c:ser>
          <c:idx val="2"/>
          <c:order val="2"/>
          <c:tx>
            <c:strRef>
              <c:f>Sheet1!$D$1</c:f>
              <c:strCache>
                <c:ptCount val="1"/>
                <c:pt idx="0">
                  <c:v>2018</c:v>
                </c:pt>
              </c:strCache>
            </c:strRef>
          </c:tx>
          <c:spPr>
            <a:solidFill>
              <a:schemeClr val="bg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D744-47F3-BB2E-963D8BC9D379}"/>
                </c:ext>
              </c:extLst>
            </c:dLbl>
            <c:dLbl>
              <c:idx val="1"/>
              <c:delete val="1"/>
              <c:extLst>
                <c:ext xmlns:c15="http://schemas.microsoft.com/office/drawing/2012/chart" uri="{CE6537A1-D6FC-4f65-9D91-7224C49458BB}"/>
                <c:ext xmlns:c16="http://schemas.microsoft.com/office/drawing/2014/chart" uri="{C3380CC4-5D6E-409C-BE32-E72D297353CC}">
                  <c16:uniqueId val="{00000004-D744-47F3-BB2E-963D8BC9D37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D$2:$D$5</c:f>
              <c:numCache>
                <c:formatCode>General</c:formatCode>
                <c:ptCount val="4"/>
                <c:pt idx="0">
                  <c:v>0</c:v>
                </c:pt>
                <c:pt idx="1">
                  <c:v>0</c:v>
                </c:pt>
                <c:pt idx="2">
                  <c:v>69</c:v>
                </c:pt>
                <c:pt idx="3">
                  <c:v>58</c:v>
                </c:pt>
              </c:numCache>
            </c:numRef>
          </c:val>
          <c:extLst>
            <c:ext xmlns:c16="http://schemas.microsoft.com/office/drawing/2014/chart" uri="{C3380CC4-5D6E-409C-BE32-E72D297353CC}">
              <c16:uniqueId val="{00000005-D744-47F3-BB2E-963D8BC9D379}"/>
            </c:ext>
          </c:extLst>
        </c:ser>
        <c:ser>
          <c:idx val="3"/>
          <c:order val="3"/>
          <c:tx>
            <c:strRef>
              <c:f>Sheet1!$E$1</c:f>
              <c:strCache>
                <c:ptCount val="1"/>
                <c:pt idx="0">
                  <c:v>2019</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6-D744-47F3-BB2E-963D8BC9D379}"/>
                </c:ext>
              </c:extLst>
            </c:dLbl>
            <c:dLbl>
              <c:idx val="1"/>
              <c:delete val="1"/>
              <c:extLst>
                <c:ext xmlns:c15="http://schemas.microsoft.com/office/drawing/2012/chart" uri="{CE6537A1-D6FC-4f65-9D91-7224C49458BB}"/>
                <c:ext xmlns:c16="http://schemas.microsoft.com/office/drawing/2014/chart" uri="{C3380CC4-5D6E-409C-BE32-E72D297353CC}">
                  <c16:uniqueId val="{00000007-D744-47F3-BB2E-963D8BC9D379}"/>
                </c:ext>
              </c:extLst>
            </c:dLbl>
            <c:dLbl>
              <c:idx val="2"/>
              <c:delete val="1"/>
              <c:extLst>
                <c:ext xmlns:c15="http://schemas.microsoft.com/office/drawing/2012/chart" uri="{CE6537A1-D6FC-4f65-9D91-7224C49458BB}"/>
                <c:ext xmlns:c16="http://schemas.microsoft.com/office/drawing/2014/chart" uri="{C3380CC4-5D6E-409C-BE32-E72D297353CC}">
                  <c16:uniqueId val="{00000008-D744-47F3-BB2E-963D8BC9D37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E$2:$E$5</c:f>
              <c:numCache>
                <c:formatCode>General</c:formatCode>
                <c:ptCount val="4"/>
                <c:pt idx="0">
                  <c:v>0</c:v>
                </c:pt>
                <c:pt idx="1">
                  <c:v>0</c:v>
                </c:pt>
                <c:pt idx="2">
                  <c:v>0</c:v>
                </c:pt>
                <c:pt idx="3">
                  <c:v>119</c:v>
                </c:pt>
              </c:numCache>
            </c:numRef>
          </c:val>
          <c:extLst>
            <c:ext xmlns:c16="http://schemas.microsoft.com/office/drawing/2014/chart" uri="{C3380CC4-5D6E-409C-BE32-E72D297353CC}">
              <c16:uniqueId val="{00000009-D744-47F3-BB2E-963D8BC9D379}"/>
            </c:ext>
          </c:extLst>
        </c:ser>
        <c:dLbls>
          <c:showLegendKey val="0"/>
          <c:showVal val="1"/>
          <c:showCatName val="0"/>
          <c:showSerName val="0"/>
          <c:showPercent val="0"/>
          <c:showBubbleSize val="0"/>
        </c:dLbls>
        <c:gapWidth val="50"/>
        <c:overlap val="100"/>
        <c:axId val="628186671"/>
        <c:axId val="309735119"/>
      </c:barChart>
      <c:lineChart>
        <c:grouping val="standard"/>
        <c:varyColors val="0"/>
        <c:ser>
          <c:idx val="4"/>
          <c:order val="4"/>
          <c:tx>
            <c:strRef>
              <c:f>Sheet1!$F$1</c:f>
              <c:strCache>
                <c:ptCount val="1"/>
                <c:pt idx="0">
                  <c:v>Total</c:v>
                </c:pt>
              </c:strCache>
            </c:strRef>
          </c:tx>
          <c:spPr>
            <a:ln w="19050" cap="rnd">
              <a:solidFill>
                <a:schemeClr val="accent1">
                  <a:lumMod val="75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1">
                        <a:lumMod val="7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F$2:$F$5</c:f>
              <c:numCache>
                <c:formatCode>General</c:formatCode>
                <c:ptCount val="4"/>
                <c:pt idx="0">
                  <c:v>1012</c:v>
                </c:pt>
                <c:pt idx="1">
                  <c:v>927</c:v>
                </c:pt>
                <c:pt idx="2">
                  <c:v>834</c:v>
                </c:pt>
                <c:pt idx="3">
                  <c:v>850</c:v>
                </c:pt>
              </c:numCache>
            </c:numRef>
          </c:val>
          <c:smooth val="0"/>
          <c:extLst>
            <c:ext xmlns:c16="http://schemas.microsoft.com/office/drawing/2014/chart" uri="{C3380CC4-5D6E-409C-BE32-E72D297353CC}">
              <c16:uniqueId val="{0000000A-D744-47F3-BB2E-963D8BC9D379}"/>
            </c:ext>
          </c:extLst>
        </c:ser>
        <c:dLbls>
          <c:showLegendKey val="0"/>
          <c:showVal val="1"/>
          <c:showCatName val="0"/>
          <c:showSerName val="0"/>
          <c:showPercent val="0"/>
          <c:showBubbleSize val="0"/>
        </c:dLbls>
        <c:marker val="1"/>
        <c:smooth val="0"/>
        <c:axId val="275408176"/>
        <c:axId val="30972055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valAx>
      <c:valAx>
        <c:axId val="309720559"/>
        <c:scaling>
          <c:orientation val="minMax"/>
          <c:min val="0"/>
        </c:scaling>
        <c:delete val="1"/>
        <c:axPos val="r"/>
        <c:numFmt formatCode="#,##0" sourceLinked="0"/>
        <c:majorTickMark val="out"/>
        <c:minorTickMark val="none"/>
        <c:tickLblPos val="nextTo"/>
        <c:crossAx val="275408176"/>
        <c:crosses val="max"/>
        <c:crossBetween val="between"/>
      </c:valAx>
      <c:catAx>
        <c:axId val="275408176"/>
        <c:scaling>
          <c:orientation val="minMax"/>
        </c:scaling>
        <c:delete val="1"/>
        <c:axPos val="b"/>
        <c:numFmt formatCode="General" sourceLinked="1"/>
        <c:majorTickMark val="out"/>
        <c:minorTickMark val="none"/>
        <c:tickLblPos val="nextTo"/>
        <c:crossAx val="309720559"/>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1" u="none" strike="noStrike" kern="1200" spc="0" baseline="0">
                <a:solidFill>
                  <a:schemeClr val="tx1"/>
                </a:solidFill>
                <a:latin typeface="+mn-lt"/>
                <a:ea typeface="+mn-ea"/>
                <a:cs typeface="+mn-cs"/>
              </a:defRPr>
            </a:pPr>
            <a:r>
              <a:rPr lang="en-US" sz="1100" b="1" i="1">
                <a:solidFill>
                  <a:schemeClr val="tx1"/>
                </a:solidFill>
              </a:rPr>
              <a:t>Booking projections of the European Commission contract per year, in €m</a:t>
            </a:r>
          </a:p>
        </c:rich>
      </c:tx>
      <c:overlay val="0"/>
      <c:spPr>
        <a:noFill/>
        <a:ln>
          <a:noFill/>
        </a:ln>
        <a:effectLst/>
      </c:spPr>
      <c:txPr>
        <a:bodyPr rot="0" spcFirstLastPara="1" vertOverflow="ellipsis" vert="horz" wrap="square" anchor="ctr" anchorCtr="1"/>
        <a:lstStyle/>
        <a:p>
          <a:pPr>
            <a:defRPr sz="1100" b="1" i="1" u="none" strike="noStrike" kern="1200" spc="0" baseline="0">
              <a:solidFill>
                <a:schemeClr val="tx1"/>
              </a:solidFill>
              <a:latin typeface="+mn-lt"/>
              <a:ea typeface="+mn-ea"/>
              <a:cs typeface="+mn-cs"/>
            </a:defRPr>
          </a:pPr>
          <a:endParaRPr lang="fr-FR"/>
        </a:p>
      </c:txPr>
    </c:title>
    <c:autoTitleDeleted val="0"/>
    <c:plotArea>
      <c:layout/>
      <c:barChart>
        <c:barDir val="col"/>
        <c:grouping val="clustered"/>
        <c:varyColors val="0"/>
        <c:ser>
          <c:idx val="0"/>
          <c:order val="0"/>
          <c:tx>
            <c:strRef>
              <c:f>Feuil1!$A$2</c:f>
              <c:strCache>
                <c:ptCount val="1"/>
                <c:pt idx="0">
                  <c:v>Booking projections</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F$1</c:f>
              <c:strCache>
                <c:ptCount val="5"/>
                <c:pt idx="0">
                  <c:v>2020</c:v>
                </c:pt>
                <c:pt idx="1">
                  <c:v>2021</c:v>
                </c:pt>
                <c:pt idx="2">
                  <c:v>2022</c:v>
                </c:pt>
                <c:pt idx="3">
                  <c:v>2023</c:v>
                </c:pt>
                <c:pt idx="4">
                  <c:v>2024</c:v>
                </c:pt>
              </c:strCache>
            </c:strRef>
          </c:cat>
          <c:val>
            <c:numRef>
              <c:f>Feuil1!$B$2:$F$2</c:f>
              <c:numCache>
                <c:formatCode>General</c:formatCode>
                <c:ptCount val="5"/>
                <c:pt idx="0">
                  <c:v>1.2</c:v>
                </c:pt>
                <c:pt idx="1">
                  <c:v>2</c:v>
                </c:pt>
                <c:pt idx="2">
                  <c:v>2.8</c:v>
                </c:pt>
                <c:pt idx="3">
                  <c:v>3.5</c:v>
                </c:pt>
                <c:pt idx="4">
                  <c:v>3.5</c:v>
                </c:pt>
              </c:numCache>
            </c:numRef>
          </c:val>
          <c:extLst>
            <c:ext xmlns:c16="http://schemas.microsoft.com/office/drawing/2014/chart" uri="{C3380CC4-5D6E-409C-BE32-E72D297353CC}">
              <c16:uniqueId val="{00000000-9848-44EE-9383-A3AB16FAD1E0}"/>
            </c:ext>
          </c:extLst>
        </c:ser>
        <c:dLbls>
          <c:showLegendKey val="0"/>
          <c:showVal val="0"/>
          <c:showCatName val="0"/>
          <c:showSerName val="0"/>
          <c:showPercent val="0"/>
          <c:showBubbleSize val="0"/>
        </c:dLbls>
        <c:gapWidth val="219"/>
        <c:overlap val="-27"/>
        <c:axId val="82769919"/>
        <c:axId val="522545855"/>
      </c:barChart>
      <c:catAx>
        <c:axId val="827699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522545855"/>
        <c:crosses val="autoZero"/>
        <c:auto val="1"/>
        <c:lblAlgn val="ctr"/>
        <c:lblOffset val="100"/>
        <c:noMultiLvlLbl val="0"/>
      </c:catAx>
      <c:valAx>
        <c:axId val="522545855"/>
        <c:scaling>
          <c:orientation val="minMax"/>
        </c:scaling>
        <c:delete val="1"/>
        <c:axPos val="l"/>
        <c:majorGridlines>
          <c:spPr>
            <a:ln w="9525" cap="flat" cmpd="sng" algn="ctr">
              <a:solidFill>
                <a:schemeClr val="tx1">
                  <a:lumMod val="15000"/>
                  <a:lumOff val="85000"/>
                </a:schemeClr>
              </a:solidFill>
              <a:round/>
            </a:ln>
            <a:effectLst/>
          </c:spPr>
        </c:majorGridlines>
        <c:numFmt formatCode="#,##0\ &quot;€&quot;" sourceLinked="0"/>
        <c:majorTickMark val="none"/>
        <c:minorTickMark val="none"/>
        <c:tickLblPos val="nextTo"/>
        <c:crossAx val="8276991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463685169595596E-2"/>
          <c:y val="4.3151205592791619E-2"/>
          <c:w val="0.9138824237931531"/>
          <c:h val="0.86916721262053842"/>
        </c:manualLayout>
      </c:layout>
      <c:barChart>
        <c:barDir val="col"/>
        <c:grouping val="stacked"/>
        <c:varyColors val="0"/>
        <c:ser>
          <c:idx val="0"/>
          <c:order val="0"/>
          <c:tx>
            <c:strRef>
              <c:f>Sheet1!$B$1</c:f>
              <c:strCache>
                <c:ptCount val="1"/>
                <c:pt idx="0">
                  <c:v>Direct +</c:v>
                </c:pt>
              </c:strCache>
            </c:strRef>
          </c:tx>
          <c:spPr>
            <a:solidFill>
              <a:schemeClr val="bg2">
                <a:lumMod val="5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BD16-4B90-95B8-5A45C7660CC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0.00</c:formatCode>
                <c:ptCount val="4"/>
                <c:pt idx="0">
                  <c:v>6989</c:v>
                </c:pt>
                <c:pt idx="1">
                  <c:v>1301576.25</c:v>
                </c:pt>
                <c:pt idx="2">
                  <c:v>1820990.93</c:v>
                </c:pt>
                <c:pt idx="3">
                  <c:v>2276643.9300000002</c:v>
                </c:pt>
              </c:numCache>
            </c:numRef>
          </c:val>
          <c:extLst>
            <c:ext xmlns:c16="http://schemas.microsoft.com/office/drawing/2014/chart" uri="{C3380CC4-5D6E-409C-BE32-E72D297353CC}">
              <c16:uniqueId val="{00000001-BD16-4B90-95B8-5A45C7660CC9}"/>
            </c:ext>
          </c:extLst>
        </c:ser>
        <c:ser>
          <c:idx val="1"/>
          <c:order val="1"/>
          <c:tx>
            <c:strRef>
              <c:f>Sheet1!$C$1</c:f>
              <c:strCache>
                <c:ptCount val="1"/>
                <c:pt idx="0">
                  <c:v>Business Add On</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0.00</c:formatCode>
                <c:ptCount val="4"/>
                <c:pt idx="0">
                  <c:v>714969.65</c:v>
                </c:pt>
                <c:pt idx="1">
                  <c:v>928194.2</c:v>
                </c:pt>
                <c:pt idx="2">
                  <c:v>1015230.39</c:v>
                </c:pt>
                <c:pt idx="3">
                  <c:v>1076734.33</c:v>
                </c:pt>
              </c:numCache>
            </c:numRef>
          </c:val>
          <c:extLst>
            <c:ext xmlns:c16="http://schemas.microsoft.com/office/drawing/2014/chart" uri="{C3380CC4-5D6E-409C-BE32-E72D297353CC}">
              <c16:uniqueId val="{00000002-BD16-4B90-95B8-5A45C7660CC9}"/>
            </c:ext>
          </c:extLst>
        </c:ser>
        <c:ser>
          <c:idx val="2"/>
          <c:order val="2"/>
          <c:tx>
            <c:strRef>
              <c:f>Sheet1!$D$1</c:f>
              <c:strCache>
                <c:ptCount val="1"/>
                <c:pt idx="0">
                  <c:v>Dataxess</c:v>
                </c:pt>
              </c:strCache>
            </c:strRef>
          </c:tx>
          <c:spPr>
            <a:solidFill>
              <a:schemeClr val="bg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BD16-4B90-95B8-5A45C7660CC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D$2:$D$5</c:f>
              <c:numCache>
                <c:formatCode>#,##0.00</c:formatCode>
                <c:ptCount val="4"/>
                <c:pt idx="0" formatCode="General">
                  <c:v>0</c:v>
                </c:pt>
                <c:pt idx="1">
                  <c:v>274950</c:v>
                </c:pt>
                <c:pt idx="2">
                  <c:v>819028.5</c:v>
                </c:pt>
                <c:pt idx="3">
                  <c:v>1507507.92</c:v>
                </c:pt>
              </c:numCache>
            </c:numRef>
          </c:val>
          <c:extLst>
            <c:ext xmlns:c16="http://schemas.microsoft.com/office/drawing/2014/chart" uri="{C3380CC4-5D6E-409C-BE32-E72D297353CC}">
              <c16:uniqueId val="{00000004-BD16-4B90-95B8-5A45C7660CC9}"/>
            </c:ext>
          </c:extLst>
        </c:ser>
        <c:dLbls>
          <c:dLblPos val="ctr"/>
          <c:showLegendKey val="0"/>
          <c:showVal val="1"/>
          <c:showCatName val="0"/>
          <c:showSerName val="0"/>
          <c:showPercent val="0"/>
          <c:showBubbleSize val="0"/>
        </c:dLbls>
        <c:gapWidth val="64"/>
        <c:overlap val="100"/>
        <c:axId val="1468785408"/>
        <c:axId val="1211666208"/>
      </c:barChart>
      <c:lineChart>
        <c:grouping val="standard"/>
        <c:varyColors val="0"/>
        <c:ser>
          <c:idx val="3"/>
          <c:order val="3"/>
          <c:tx>
            <c:strRef>
              <c:f>Sheet1!$E$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E$2:$E$5</c:f>
              <c:numCache>
                <c:formatCode>#,##0.00</c:formatCode>
                <c:ptCount val="4"/>
                <c:pt idx="0">
                  <c:v>721958.65</c:v>
                </c:pt>
                <c:pt idx="1">
                  <c:v>2504720.4500000002</c:v>
                </c:pt>
                <c:pt idx="2">
                  <c:v>3655249.82</c:v>
                </c:pt>
                <c:pt idx="3">
                  <c:v>4860886.18</c:v>
                </c:pt>
              </c:numCache>
            </c:numRef>
          </c:val>
          <c:smooth val="0"/>
          <c:extLst>
            <c:ext xmlns:c16="http://schemas.microsoft.com/office/drawing/2014/chart" uri="{C3380CC4-5D6E-409C-BE32-E72D297353CC}">
              <c16:uniqueId val="{00000005-BD16-4B90-95B8-5A45C7660CC9}"/>
            </c:ext>
          </c:extLst>
        </c:ser>
        <c:dLbls>
          <c:dLblPos val="ctr"/>
          <c:showLegendKey val="0"/>
          <c:showVal val="1"/>
          <c:showCatName val="0"/>
          <c:showSerName val="0"/>
          <c:showPercent val="0"/>
          <c:showBubbleSize val="0"/>
        </c:dLbls>
        <c:marker val="1"/>
        <c:smooth val="0"/>
        <c:axId val="1058019983"/>
        <c:axId val="1098902591"/>
      </c:lineChart>
      <c:catAx>
        <c:axId val="146878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t"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max val="52000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dispUnits>
          <c:builtInUnit val="millions"/>
        </c:dispUnits>
      </c:valAx>
      <c:valAx>
        <c:axId val="1098902591"/>
        <c:scaling>
          <c:orientation val="minMax"/>
        </c:scaling>
        <c:delete val="1"/>
        <c:axPos val="r"/>
        <c:numFmt formatCode="#,##0.00" sourceLinked="1"/>
        <c:majorTickMark val="out"/>
        <c:minorTickMark val="none"/>
        <c:tickLblPos val="nextTo"/>
        <c:crossAx val="1058019983"/>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1058019983"/>
        <c:scaling>
          <c:orientation val="minMax"/>
        </c:scaling>
        <c:delete val="1"/>
        <c:axPos val="b"/>
        <c:numFmt formatCode="General" sourceLinked="1"/>
        <c:majorTickMark val="out"/>
        <c:minorTickMark val="none"/>
        <c:tickLblPos val="nextTo"/>
        <c:crossAx val="1098902591"/>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771863117870721E-2"/>
          <c:y val="3.3964728935336384E-2"/>
          <c:w val="0.96045627376425846"/>
          <c:h val="0.93207054212932727"/>
        </c:manualLayout>
      </c:layout>
      <c:barChart>
        <c:barDir val="col"/>
        <c:grouping val="stacked"/>
        <c:varyColors val="0"/>
        <c:ser>
          <c:idx val="0"/>
          <c:order val="0"/>
          <c:spPr>
            <a:solidFill>
              <a:schemeClr val="tx2"/>
            </a:solidFill>
            <a:ln>
              <a:noFill/>
            </a:ln>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I$1</c:f>
              <c:numCache>
                <c:formatCode>_-* #,##0.0\ _€_-;\-* #,##0.0\ _€_-;_-* "-"?\ _€_-;_-@_-</c:formatCode>
                <c:ptCount val="9"/>
                <c:pt idx="0">
                  <c:v>2.3074362147335146</c:v>
                </c:pt>
                <c:pt idx="1">
                  <c:v>1.7021529270338434</c:v>
                </c:pt>
                <c:pt idx="2">
                  <c:v>2.8405099779184404</c:v>
                </c:pt>
                <c:pt idx="3">
                  <c:v>4.2951769055423004</c:v>
                </c:pt>
                <c:pt idx="4">
                  <c:v>5.3277296640789498</c:v>
                </c:pt>
                <c:pt idx="5">
                  <c:v>6.3837723964809499</c:v>
                </c:pt>
                <c:pt idx="6">
                  <c:v>7.4447371544178589</c:v>
                </c:pt>
                <c:pt idx="7">
                  <c:v>8.558634926822922</c:v>
                </c:pt>
                <c:pt idx="8">
                  <c:v>9.65719360030754</c:v>
                </c:pt>
              </c:numCache>
            </c:numRef>
          </c:val>
          <c:extLst>
            <c:ext xmlns:c16="http://schemas.microsoft.com/office/drawing/2014/chart" uri="{C3380CC4-5D6E-409C-BE32-E72D297353CC}">
              <c16:uniqueId val="{00000000-A601-4B88-9B79-6BBB446726D9}"/>
            </c:ext>
          </c:extLst>
        </c:ser>
        <c:dLbls>
          <c:showLegendKey val="0"/>
          <c:showVal val="0"/>
          <c:showCatName val="0"/>
          <c:showSerName val="0"/>
          <c:showPercent val="0"/>
          <c:showBubbleSize val="0"/>
        </c:dLbls>
        <c:gapWidth val="80"/>
        <c:overlap val="100"/>
        <c:axId val="447209888"/>
        <c:axId val="1"/>
      </c:barChart>
      <c:catAx>
        <c:axId val="44720988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7571936003075432"/>
          <c:min val="0"/>
        </c:scaling>
        <c:delete val="1"/>
        <c:axPos val="l"/>
        <c:numFmt formatCode="_-* #,##0.0\ _€_-;\-* #,##0.0\ _€_-;_-* &quot;-&quot;?\ _€_-;_-@_-" sourceLinked="1"/>
        <c:majorTickMark val="out"/>
        <c:minorTickMark val="none"/>
        <c:tickLblPos val="nextTo"/>
        <c:crossAx val="447209888"/>
        <c:crosses val="min"/>
        <c:crossBetween val="between"/>
      </c:valAx>
    </c:plotArea>
    <c:plotVisOnly val="0"/>
    <c:dispBlanksAs val="gap"/>
    <c:showDLblsOverMax val="1"/>
  </c:chart>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771863117870721E-2"/>
          <c:y val="3.3964728935336384E-2"/>
          <c:w val="0.96045627376425846"/>
          <c:h val="0.93207054212932727"/>
        </c:manualLayout>
      </c:layout>
      <c:barChart>
        <c:barDir val="col"/>
        <c:grouping val="stacked"/>
        <c:varyColors val="0"/>
        <c:ser>
          <c:idx val="0"/>
          <c:order val="0"/>
          <c:spPr>
            <a:solidFill>
              <a:schemeClr val="tx2"/>
            </a:solidFill>
            <a:ln>
              <a:noFill/>
            </a:ln>
          </c:spPr>
          <c:invertIfNegative val="0"/>
          <c:dLbls>
            <c:dLbl>
              <c:idx val="8"/>
              <c:layout>
                <c:manualLayout>
                  <c:x val="-1.1153229838812953E-16"/>
                  <c:y val="-0.4134290462352234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57D-4D37-9092-F92516E933F8}"/>
                </c:ext>
              </c:extLst>
            </c:dLbl>
            <c:spPr>
              <a:noFill/>
              <a:ln>
                <a:noFill/>
              </a:ln>
              <a:effectLst/>
            </c:spPr>
            <c:txPr>
              <a:bodyPr wrap="square" lIns="38100" tIns="19050" rIns="38100" bIns="19050" anchor="ctr">
                <a:spAutoFit/>
              </a:bodyPr>
              <a:lstStyle/>
              <a:p>
                <a:pPr>
                  <a:defRPr>
                    <a:solidFill>
                      <a:schemeClr val="bg1"/>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I$1</c:f>
              <c:numCache>
                <c:formatCode>0.0</c:formatCode>
                <c:ptCount val="9"/>
                <c:pt idx="0">
                  <c:v>4.8596115996666667</c:v>
                </c:pt>
                <c:pt idx="1">
                  <c:v>5.909652204056278</c:v>
                </c:pt>
                <c:pt idx="2">
                  <c:v>7.1953892985187142</c:v>
                </c:pt>
                <c:pt idx="3">
                  <c:v>6.6740000000000004</c:v>
                </c:pt>
                <c:pt idx="4">
                  <c:v>7.8876031008491081</c:v>
                </c:pt>
                <c:pt idx="5">
                  <c:v>9.2505875551329719</c:v>
                </c:pt>
                <c:pt idx="6">
                  <c:v>10.753567905271689</c:v>
                </c:pt>
                <c:pt idx="7">
                  <c:v>12.433223849141768</c:v>
                </c:pt>
                <c:pt idx="8">
                  <c:v>14.219158467736964</c:v>
                </c:pt>
              </c:numCache>
            </c:numRef>
          </c:val>
          <c:extLst>
            <c:ext xmlns:c16="http://schemas.microsoft.com/office/drawing/2014/chart" uri="{C3380CC4-5D6E-409C-BE32-E72D297353CC}">
              <c16:uniqueId val="{00000000-FE5D-4991-A790-C8ACD36CA78E}"/>
            </c:ext>
          </c:extLst>
        </c:ser>
        <c:dLbls>
          <c:showLegendKey val="0"/>
          <c:showVal val="0"/>
          <c:showCatName val="0"/>
          <c:showSerName val="0"/>
          <c:showPercent val="0"/>
          <c:showBubbleSize val="0"/>
        </c:dLbls>
        <c:gapWidth val="80"/>
        <c:overlap val="100"/>
        <c:axId val="447223088"/>
        <c:axId val="1"/>
      </c:barChart>
      <c:catAx>
        <c:axId val="44722308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3.57421823643465"/>
          <c:min val="0"/>
        </c:scaling>
        <c:delete val="1"/>
        <c:axPos val="l"/>
        <c:numFmt formatCode="0.0" sourceLinked="1"/>
        <c:majorTickMark val="out"/>
        <c:minorTickMark val="none"/>
        <c:tickLblPos val="nextTo"/>
        <c:crossAx val="447223088"/>
        <c:crosses val="min"/>
        <c:crossBetween val="between"/>
      </c:valAx>
    </c:plotArea>
    <c:plotVisOnly val="0"/>
    <c:dispBlanksAs val="gap"/>
    <c:showDLblsOverMax val="1"/>
  </c:chart>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138832416632484E-2"/>
          <c:y val="1.3490673452159572E-2"/>
          <c:w val="0.94977876914238368"/>
          <c:h val="0.69377259189325935"/>
        </c:manualLayout>
      </c:layout>
      <c:barChart>
        <c:barDir val="col"/>
        <c:grouping val="stacked"/>
        <c:varyColors val="0"/>
        <c:ser>
          <c:idx val="0"/>
          <c:order val="0"/>
          <c:tx>
            <c:strRef>
              <c:f>Sheet1!$B$1</c:f>
              <c:strCache>
                <c:ptCount val="1"/>
                <c:pt idx="0">
                  <c:v>France</c:v>
                </c:pt>
              </c:strCache>
            </c:strRef>
          </c:tx>
          <c:spPr>
            <a:solidFill>
              <a:schemeClr val="tx2"/>
            </a:solidFill>
            <a:ln>
              <a:noFill/>
            </a:ln>
            <a:effectLst/>
          </c:spPr>
          <c:invertIfNegative val="0"/>
          <c:dLbls>
            <c:dLbl>
              <c:idx val="8"/>
              <c:layout>
                <c:manualLayout>
                  <c:x val="-1.9111536694378959E-16"/>
                  <c:y val="-2.592221159328390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9BB-49F0-9106-1A6AC3049FCF}"/>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General</c:formatCode>
                <c:ptCount val="9"/>
                <c:pt idx="0">
                  <c:v>8.8000000000000007</c:v>
                </c:pt>
                <c:pt idx="1">
                  <c:v>12.6</c:v>
                </c:pt>
                <c:pt idx="2">
                  <c:v>16.5</c:v>
                </c:pt>
                <c:pt idx="3">
                  <c:v>20.2</c:v>
                </c:pt>
                <c:pt idx="4">
                  <c:v>23.6</c:v>
                </c:pt>
                <c:pt idx="5">
                  <c:v>26.8</c:v>
                </c:pt>
                <c:pt idx="6">
                  <c:v>29.6</c:v>
                </c:pt>
                <c:pt idx="7">
                  <c:v>32.15</c:v>
                </c:pt>
                <c:pt idx="8">
                  <c:v>34.299999999999997</c:v>
                </c:pt>
              </c:numCache>
            </c:numRef>
          </c:val>
          <c:extLst>
            <c:ext xmlns:c16="http://schemas.microsoft.com/office/drawing/2014/chart" uri="{C3380CC4-5D6E-409C-BE32-E72D297353CC}">
              <c16:uniqueId val="{00000001-99BB-49F0-9106-1A6AC3049FCF}"/>
            </c:ext>
          </c:extLst>
        </c:ser>
        <c:ser>
          <c:idx val="1"/>
          <c:order val="1"/>
          <c:tx>
            <c:strRef>
              <c:f>Sheet1!$C$1</c:f>
              <c:strCache>
                <c:ptCount val="1"/>
                <c:pt idx="0">
                  <c:v>Benelux</c:v>
                </c:pt>
              </c:strCache>
            </c:strRef>
          </c:tx>
          <c:spPr>
            <a:solidFill>
              <a:schemeClr val="bg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C$2:$C$10</c:f>
              <c:numCache>
                <c:formatCode>General</c:formatCode>
                <c:ptCount val="9"/>
                <c:pt idx="0">
                  <c:v>12.5</c:v>
                </c:pt>
                <c:pt idx="1">
                  <c:v>14.3</c:v>
                </c:pt>
                <c:pt idx="2">
                  <c:v>16.2</c:v>
                </c:pt>
                <c:pt idx="3">
                  <c:v>18.3</c:v>
                </c:pt>
                <c:pt idx="4">
                  <c:v>20.399999999999999</c:v>
                </c:pt>
                <c:pt idx="5">
                  <c:v>22.6</c:v>
                </c:pt>
                <c:pt idx="6">
                  <c:v>25</c:v>
                </c:pt>
                <c:pt idx="7">
                  <c:v>27.3</c:v>
                </c:pt>
                <c:pt idx="8">
                  <c:v>29.7</c:v>
                </c:pt>
              </c:numCache>
            </c:numRef>
          </c:val>
          <c:extLst>
            <c:ext xmlns:c16="http://schemas.microsoft.com/office/drawing/2014/chart" uri="{C3380CC4-5D6E-409C-BE32-E72D297353CC}">
              <c16:uniqueId val="{00000002-99BB-49F0-9106-1A6AC3049FCF}"/>
            </c:ext>
          </c:extLst>
        </c:ser>
        <c:dLbls>
          <c:dLblPos val="ctr"/>
          <c:showLegendKey val="0"/>
          <c:showVal val="1"/>
          <c:showCatName val="0"/>
          <c:showSerName val="0"/>
          <c:showPercent val="0"/>
          <c:showBubbleSize val="0"/>
        </c:dLbls>
        <c:gapWidth val="77"/>
        <c:overlap val="100"/>
        <c:axId val="1967597839"/>
        <c:axId val="517210528"/>
      </c:barChart>
      <c:catAx>
        <c:axId val="19675978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crossAx val="517210528"/>
        <c:crosses val="autoZero"/>
        <c:auto val="1"/>
        <c:lblAlgn val="ctr"/>
        <c:lblOffset val="100"/>
        <c:noMultiLvlLbl val="0"/>
      </c:catAx>
      <c:valAx>
        <c:axId val="517210528"/>
        <c:scaling>
          <c:orientation val="minMax"/>
        </c:scaling>
        <c:delete val="1"/>
        <c:axPos val="l"/>
        <c:numFmt formatCode="General" sourceLinked="1"/>
        <c:majorTickMark val="none"/>
        <c:minorTickMark val="none"/>
        <c:tickLblPos val="nextTo"/>
        <c:crossAx val="1967597839"/>
        <c:crosses val="autoZero"/>
        <c:crossBetween val="between"/>
      </c:valAx>
      <c:spPr>
        <a:noFill/>
        <a:ln>
          <a:noFill/>
        </a:ln>
        <a:effectLst/>
      </c:spPr>
    </c:plotArea>
    <c:legend>
      <c:legendPos val="b"/>
      <c:layout>
        <c:manualLayout>
          <c:xMode val="edge"/>
          <c:yMode val="edge"/>
          <c:x val="0.26633135472821751"/>
          <c:y val="0.79157891002256675"/>
          <c:w val="0.43435479789795312"/>
          <c:h val="0.1158853935749047"/>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BNL</c:v>
                </c:pt>
              </c:strCache>
            </c:strRef>
          </c:tx>
          <c:spPr>
            <a:solidFill>
              <a:schemeClr val="tx2"/>
            </a:solidFill>
            <a:ln>
              <a:noFill/>
            </a:ln>
            <a:effectLst/>
          </c:spPr>
          <c:invertIfNegative val="0"/>
          <c:dPt>
            <c:idx val="12"/>
            <c:invertIfNegative val="0"/>
            <c:bubble3D val="0"/>
            <c:spPr>
              <a:solidFill>
                <a:schemeClr val="tx2"/>
              </a:solidFill>
              <a:ln>
                <a:noFill/>
              </a:ln>
              <a:effectLst/>
            </c:spPr>
            <c:extLst>
              <c:ext xmlns:c16="http://schemas.microsoft.com/office/drawing/2014/chart" uri="{C3380CC4-5D6E-409C-BE32-E72D297353CC}">
                <c16:uniqueId val="{00000001-2F41-4D0B-B698-CB32F666D786}"/>
              </c:ext>
            </c:extLst>
          </c:dPt>
          <c:cat>
            <c:strRef>
              <c:f>Sheet1!$A$2:$A$15</c:f>
              <c:strCache>
                <c:ptCount val="14"/>
                <c:pt idx="0">
                  <c:v>D&amp;B Credit</c:v>
                </c:pt>
                <c:pt idx="1">
                  <c:v>D&amp;B I*</c:v>
                </c:pt>
                <c:pt idx="2">
                  <c:v>Files</c:v>
                </c:pt>
                <c:pt idx="3">
                  <c:v>Intuiz</c:v>
                </c:pt>
                <c:pt idx="4">
                  <c:v>OnBoard</c:v>
                </c:pt>
                <c:pt idx="5">
                  <c:v>Direct+</c:v>
                </c:pt>
                <c:pt idx="6">
                  <c:v>DatAxess</c:v>
                </c:pt>
                <c:pt idx="7">
                  <c:v>Hoovers</c:v>
                </c:pt>
                <c:pt idx="8">
                  <c:v>Other*</c:v>
                </c:pt>
                <c:pt idx="9">
                  <c:v>IndueD</c:v>
                </c:pt>
                <c:pt idx="10">
                  <c:v>Smart</c:v>
                </c:pt>
                <c:pt idx="11">
                  <c:v>InDoc</c:v>
                </c:pt>
                <c:pt idx="12">
                  <c:v>Global Financials</c:v>
                </c:pt>
                <c:pt idx="13">
                  <c:v>D&amp;B Country Risk</c:v>
                </c:pt>
              </c:strCache>
            </c:strRef>
          </c:cat>
          <c:val>
            <c:numRef>
              <c:f>Sheet1!$B$2:$B$15</c:f>
              <c:numCache>
                <c:formatCode>General</c:formatCode>
                <c:ptCount val="14"/>
                <c:pt idx="0">
                  <c:v>27699505.909999996</c:v>
                </c:pt>
                <c:pt idx="1">
                  <c:v>7808010.6086874399</c:v>
                </c:pt>
                <c:pt idx="2">
                  <c:v>10559872.633333333</c:v>
                </c:pt>
                <c:pt idx="4">
                  <c:v>3354343.2500000019</c:v>
                </c:pt>
                <c:pt idx="5">
                  <c:v>794146.8</c:v>
                </c:pt>
                <c:pt idx="6">
                  <c:v>7808010.6086874399</c:v>
                </c:pt>
                <c:pt idx="7">
                  <c:v>1182101.06</c:v>
                </c:pt>
                <c:pt idx="8">
                  <c:v>259427.5</c:v>
                </c:pt>
                <c:pt idx="9">
                  <c:v>260225.19199999998</c:v>
                </c:pt>
                <c:pt idx="10">
                  <c:v>612999.57000000007</c:v>
                </c:pt>
                <c:pt idx="13">
                  <c:v>5260</c:v>
                </c:pt>
              </c:numCache>
            </c:numRef>
          </c:val>
          <c:extLst>
            <c:ext xmlns:c16="http://schemas.microsoft.com/office/drawing/2014/chart" uri="{C3380CC4-5D6E-409C-BE32-E72D297353CC}">
              <c16:uniqueId val="{00000002-2F41-4D0B-B698-CB32F666D786}"/>
            </c:ext>
          </c:extLst>
        </c:ser>
        <c:ser>
          <c:idx val="1"/>
          <c:order val="1"/>
          <c:tx>
            <c:strRef>
              <c:f>Sheet1!$C$1</c:f>
              <c:strCache>
                <c:ptCount val="1"/>
                <c:pt idx="0">
                  <c:v>FR</c:v>
                </c:pt>
              </c:strCache>
            </c:strRef>
          </c:tx>
          <c:spPr>
            <a:solidFill>
              <a:srgbClr val="D9D9D9"/>
            </a:solidFill>
            <a:ln>
              <a:noFill/>
            </a:ln>
            <a:effectLst/>
          </c:spPr>
          <c:invertIfNegative val="0"/>
          <c:cat>
            <c:strRef>
              <c:f>Sheet1!$A$2:$A$15</c:f>
              <c:strCache>
                <c:ptCount val="14"/>
                <c:pt idx="0">
                  <c:v>D&amp;B Credit</c:v>
                </c:pt>
                <c:pt idx="1">
                  <c:v>D&amp;B I*</c:v>
                </c:pt>
                <c:pt idx="2">
                  <c:v>Files</c:v>
                </c:pt>
                <c:pt idx="3">
                  <c:v>Intuiz</c:v>
                </c:pt>
                <c:pt idx="4">
                  <c:v>OnBoard</c:v>
                </c:pt>
                <c:pt idx="5">
                  <c:v>Direct+</c:v>
                </c:pt>
                <c:pt idx="6">
                  <c:v>DatAxess</c:v>
                </c:pt>
                <c:pt idx="7">
                  <c:v>Hoovers</c:v>
                </c:pt>
                <c:pt idx="8">
                  <c:v>Other*</c:v>
                </c:pt>
                <c:pt idx="9">
                  <c:v>IndueD</c:v>
                </c:pt>
                <c:pt idx="10">
                  <c:v>Smart</c:v>
                </c:pt>
                <c:pt idx="11">
                  <c:v>InDoc</c:v>
                </c:pt>
                <c:pt idx="12">
                  <c:v>Global Financials</c:v>
                </c:pt>
                <c:pt idx="13">
                  <c:v>D&amp;B Country Risk</c:v>
                </c:pt>
              </c:strCache>
            </c:strRef>
          </c:cat>
          <c:val>
            <c:numRef>
              <c:f>Sheet1!$C$2:$C$15</c:f>
              <c:numCache>
                <c:formatCode>General</c:formatCode>
                <c:ptCount val="14"/>
                <c:pt idx="0">
                  <c:v>9713484.8000000026</c:v>
                </c:pt>
                <c:pt idx="1">
                  <c:v>12311231.370000001</c:v>
                </c:pt>
                <c:pt idx="2">
                  <c:v>9913191.2600000054</c:v>
                </c:pt>
                <c:pt idx="3">
                  <c:v>14259105.930000009</c:v>
                </c:pt>
                <c:pt idx="4">
                  <c:v>919638.24999999988</c:v>
                </c:pt>
                <c:pt idx="5">
                  <c:v>2276643.9300000002</c:v>
                </c:pt>
                <c:pt idx="6">
                  <c:v>1507507.92</c:v>
                </c:pt>
                <c:pt idx="7">
                  <c:v>935361.71999999986</c:v>
                </c:pt>
                <c:pt idx="8">
                  <c:v>1269982.9600000002</c:v>
                </c:pt>
                <c:pt idx="9">
                  <c:v>1267692.7700000014</c:v>
                </c:pt>
                <c:pt idx="10">
                  <c:v>289261.13</c:v>
                </c:pt>
                <c:pt idx="11">
                  <c:v>627500</c:v>
                </c:pt>
                <c:pt idx="12">
                  <c:v>163550</c:v>
                </c:pt>
              </c:numCache>
            </c:numRef>
          </c:val>
          <c:extLst>
            <c:ext xmlns:c16="http://schemas.microsoft.com/office/drawing/2014/chart" uri="{C3380CC4-5D6E-409C-BE32-E72D297353CC}">
              <c16:uniqueId val="{00000003-2F41-4D0B-B698-CB32F666D786}"/>
            </c:ext>
          </c:extLst>
        </c:ser>
        <c:dLbls>
          <c:showLegendKey val="0"/>
          <c:showVal val="0"/>
          <c:showCatName val="0"/>
          <c:showSerName val="0"/>
          <c:showPercent val="0"/>
          <c:showBubbleSize val="0"/>
        </c:dLbls>
        <c:gapWidth val="150"/>
        <c:overlap val="100"/>
        <c:axId val="125685615"/>
        <c:axId val="46063263"/>
      </c:barChart>
      <c:catAx>
        <c:axId val="1256856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46063263"/>
        <c:crosses val="autoZero"/>
        <c:auto val="1"/>
        <c:lblAlgn val="ctr"/>
        <c:lblOffset val="100"/>
        <c:noMultiLvlLbl val="0"/>
      </c:catAx>
      <c:valAx>
        <c:axId val="46063263"/>
        <c:scaling>
          <c:orientation val="minMax"/>
          <c:max val="35000000"/>
        </c:scaling>
        <c:delete val="0"/>
        <c:axPos val="l"/>
        <c:majorGridlines>
          <c:spPr>
            <a:ln w="9525" cap="flat" cmpd="sng" algn="ctr">
              <a:solidFill>
                <a:schemeClr val="tx1">
                  <a:lumMod val="15000"/>
                  <a:lumOff val="85000"/>
                </a:schemeClr>
              </a:solidFill>
              <a:round/>
            </a:ln>
            <a:effectLst/>
          </c:spPr>
        </c:majorGridlines>
        <c:numFmt formatCode="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5685615"/>
        <c:crosses val="autoZero"/>
        <c:crossBetween val="between"/>
        <c:dispUnits>
          <c:builtInUnit val="millions"/>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userShapes r:id="rId4"/>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BE</c:v>
                </c:pt>
              </c:strCache>
            </c:strRef>
          </c:tx>
          <c:spPr>
            <a:solidFill>
              <a:schemeClr val="accent1"/>
            </a:solidFill>
            <a:ln>
              <a:noFill/>
            </a:ln>
            <a:effectLst/>
          </c:spPr>
          <c:invertIfNegative val="0"/>
          <c:cat>
            <c:strRef>
              <c:f>Sheet1!$A$2:$A$7</c:f>
              <c:strCache>
                <c:ptCount val="6"/>
                <c:pt idx="0">
                  <c:v>Smart</c:v>
                </c:pt>
                <c:pt idx="1">
                  <c:v>Global Financials</c:v>
                </c:pt>
                <c:pt idx="2">
                  <c:v>intuiz+</c:v>
                </c:pt>
                <c:pt idx="3">
                  <c:v>Direct+</c:v>
                </c:pt>
                <c:pt idx="4">
                  <c:v>Dataxess</c:v>
                </c:pt>
                <c:pt idx="5">
                  <c:v>indueD</c:v>
                </c:pt>
              </c:strCache>
            </c:strRef>
          </c:cat>
          <c:val>
            <c:numRef>
              <c:f>Sheet1!$B$2:$B$7</c:f>
              <c:numCache>
                <c:formatCode>#,##0.00</c:formatCode>
                <c:ptCount val="6"/>
                <c:pt idx="0">
                  <c:v>155000</c:v>
                </c:pt>
                <c:pt idx="1">
                  <c:v>899547.55</c:v>
                </c:pt>
                <c:pt idx="2">
                  <c:v>0</c:v>
                </c:pt>
                <c:pt idx="3">
                  <c:v>590353</c:v>
                </c:pt>
                <c:pt idx="4">
                  <c:v>3107739.5</c:v>
                </c:pt>
                <c:pt idx="5">
                  <c:v>1232819.1000000001</c:v>
                </c:pt>
              </c:numCache>
            </c:numRef>
          </c:val>
          <c:extLst>
            <c:ext xmlns:c16="http://schemas.microsoft.com/office/drawing/2014/chart" uri="{C3380CC4-5D6E-409C-BE32-E72D297353CC}">
              <c16:uniqueId val="{00000000-8AE3-4B2D-91B0-F7C38605B29F}"/>
            </c:ext>
          </c:extLst>
        </c:ser>
        <c:ser>
          <c:idx val="1"/>
          <c:order val="1"/>
          <c:tx>
            <c:strRef>
              <c:f>Sheet1!$C$1</c:f>
              <c:strCache>
                <c:ptCount val="1"/>
                <c:pt idx="0">
                  <c:v>FR</c:v>
                </c:pt>
              </c:strCache>
            </c:strRef>
          </c:tx>
          <c:spPr>
            <a:solidFill>
              <a:srgbClr val="BCE1C5"/>
            </a:solidFill>
            <a:ln>
              <a:noFill/>
            </a:ln>
            <a:effectLst/>
          </c:spPr>
          <c:invertIfNegative val="0"/>
          <c:cat>
            <c:strRef>
              <c:f>Sheet1!$A$2:$A$7</c:f>
              <c:strCache>
                <c:ptCount val="6"/>
                <c:pt idx="0">
                  <c:v>Smart</c:v>
                </c:pt>
                <c:pt idx="1">
                  <c:v>Global Financials</c:v>
                </c:pt>
                <c:pt idx="2">
                  <c:v>intuiz+</c:v>
                </c:pt>
                <c:pt idx="3">
                  <c:v>Direct+</c:v>
                </c:pt>
                <c:pt idx="4">
                  <c:v>Dataxess</c:v>
                </c:pt>
                <c:pt idx="5">
                  <c:v>indueD</c:v>
                </c:pt>
              </c:strCache>
            </c:strRef>
          </c:cat>
          <c:val>
            <c:numRef>
              <c:f>Sheet1!$C$2:$C$7</c:f>
              <c:numCache>
                <c:formatCode>#,##0.00</c:formatCode>
                <c:ptCount val="6"/>
                <c:pt idx="0">
                  <c:v>375787</c:v>
                </c:pt>
                <c:pt idx="1">
                  <c:v>157550</c:v>
                </c:pt>
                <c:pt idx="2">
                  <c:v>7755439.8200000003</c:v>
                </c:pt>
                <c:pt idx="3">
                  <c:v>4179975.5</c:v>
                </c:pt>
                <c:pt idx="4">
                  <c:v>2849327.6</c:v>
                </c:pt>
                <c:pt idx="5">
                  <c:v>9219359.7799999975</c:v>
                </c:pt>
              </c:numCache>
            </c:numRef>
          </c:val>
          <c:extLst>
            <c:ext xmlns:c16="http://schemas.microsoft.com/office/drawing/2014/chart" uri="{C3380CC4-5D6E-409C-BE32-E72D297353CC}">
              <c16:uniqueId val="{00000001-8AE3-4B2D-91B0-F7C38605B29F}"/>
            </c:ext>
          </c:extLst>
        </c:ser>
        <c:ser>
          <c:idx val="2"/>
          <c:order val="2"/>
          <c:tx>
            <c:strRef>
              <c:f>Sheet1!$D$1</c:f>
              <c:strCache>
                <c:ptCount val="1"/>
                <c:pt idx="0">
                  <c:v>NL</c:v>
                </c:pt>
              </c:strCache>
            </c:strRef>
          </c:tx>
          <c:spPr>
            <a:solidFill>
              <a:srgbClr val="289B38"/>
            </a:solidFill>
            <a:ln>
              <a:noFill/>
            </a:ln>
            <a:effectLst/>
          </c:spPr>
          <c:invertIfNegative val="0"/>
          <c:cat>
            <c:strRef>
              <c:f>Sheet1!$A$2:$A$7</c:f>
              <c:strCache>
                <c:ptCount val="6"/>
                <c:pt idx="0">
                  <c:v>Smart</c:v>
                </c:pt>
                <c:pt idx="1">
                  <c:v>Global Financials</c:v>
                </c:pt>
                <c:pt idx="2">
                  <c:v>intuiz+</c:v>
                </c:pt>
                <c:pt idx="3">
                  <c:v>Direct+</c:v>
                </c:pt>
                <c:pt idx="4">
                  <c:v>Dataxess</c:v>
                </c:pt>
                <c:pt idx="5">
                  <c:v>indueD</c:v>
                </c:pt>
              </c:strCache>
            </c:strRef>
          </c:cat>
          <c:val>
            <c:numRef>
              <c:f>Sheet1!$D$2:$D$7</c:f>
              <c:numCache>
                <c:formatCode>#,##0.00</c:formatCode>
                <c:ptCount val="6"/>
                <c:pt idx="0">
                  <c:v>376398.52</c:v>
                </c:pt>
                <c:pt idx="1">
                  <c:v>1004332</c:v>
                </c:pt>
                <c:pt idx="2">
                  <c:v>0</c:v>
                </c:pt>
                <c:pt idx="3">
                  <c:v>2166892.2800000003</c:v>
                </c:pt>
                <c:pt idx="4">
                  <c:v>2789852.1099999994</c:v>
                </c:pt>
                <c:pt idx="5">
                  <c:v>3178106.3299999996</c:v>
                </c:pt>
              </c:numCache>
            </c:numRef>
          </c:val>
          <c:extLst>
            <c:ext xmlns:c16="http://schemas.microsoft.com/office/drawing/2014/chart" uri="{C3380CC4-5D6E-409C-BE32-E72D297353CC}">
              <c16:uniqueId val="{00000002-8AE3-4B2D-91B0-F7C38605B29F}"/>
            </c:ext>
          </c:extLst>
        </c:ser>
        <c:ser>
          <c:idx val="3"/>
          <c:order val="3"/>
          <c:tx>
            <c:strRef>
              <c:f>Sheet1!$E$1</c:f>
              <c:strCache>
                <c:ptCount val="1"/>
                <c:pt idx="0">
                  <c:v>Total</c:v>
                </c:pt>
              </c:strCache>
            </c:strRef>
          </c:tx>
          <c:spPr>
            <a:solidFill>
              <a:srgbClr val="6C6C6C"/>
            </a:solidFill>
            <a:ln>
              <a:noFill/>
            </a:ln>
            <a:effectLst/>
          </c:spPr>
          <c:invertIfNegative val="0"/>
          <c:cat>
            <c:strRef>
              <c:f>Sheet1!$A$2:$A$7</c:f>
              <c:strCache>
                <c:ptCount val="6"/>
                <c:pt idx="0">
                  <c:v>Smart</c:v>
                </c:pt>
                <c:pt idx="1">
                  <c:v>Global Financials</c:v>
                </c:pt>
                <c:pt idx="2">
                  <c:v>intuiz+</c:v>
                </c:pt>
                <c:pt idx="3">
                  <c:v>Direct+</c:v>
                </c:pt>
                <c:pt idx="4">
                  <c:v>Dataxess</c:v>
                </c:pt>
                <c:pt idx="5">
                  <c:v>indueD</c:v>
                </c:pt>
              </c:strCache>
            </c:strRef>
          </c:cat>
          <c:val>
            <c:numRef>
              <c:f>Sheet1!$E$2:$E$7</c:f>
              <c:numCache>
                <c:formatCode>#,##0.00</c:formatCode>
                <c:ptCount val="6"/>
                <c:pt idx="0">
                  <c:v>907185.52</c:v>
                </c:pt>
                <c:pt idx="1">
                  <c:v>2061429.55</c:v>
                </c:pt>
                <c:pt idx="2">
                  <c:v>7755439.8200000003</c:v>
                </c:pt>
                <c:pt idx="3">
                  <c:v>6937220.7800000003</c:v>
                </c:pt>
                <c:pt idx="4">
                  <c:v>8746919.209999999</c:v>
                </c:pt>
                <c:pt idx="5">
                  <c:v>13630285.209999997</c:v>
                </c:pt>
              </c:numCache>
            </c:numRef>
          </c:val>
          <c:extLst>
            <c:ext xmlns:c16="http://schemas.microsoft.com/office/drawing/2014/chart" uri="{C3380CC4-5D6E-409C-BE32-E72D297353CC}">
              <c16:uniqueId val="{00000007-8AE3-4B2D-91B0-F7C38605B29F}"/>
            </c:ext>
          </c:extLst>
        </c:ser>
        <c:dLbls>
          <c:showLegendKey val="0"/>
          <c:showVal val="0"/>
          <c:showCatName val="0"/>
          <c:showSerName val="0"/>
          <c:showPercent val="0"/>
          <c:showBubbleSize val="0"/>
        </c:dLbls>
        <c:gapWidth val="182"/>
        <c:axId val="1012843344"/>
        <c:axId val="729058991"/>
      </c:barChart>
      <c:catAx>
        <c:axId val="10128433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crossAx val="729058991"/>
        <c:crosses val="autoZero"/>
        <c:auto val="1"/>
        <c:lblAlgn val="ctr"/>
        <c:lblOffset val="100"/>
        <c:noMultiLvlLbl val="0"/>
      </c:catAx>
      <c:valAx>
        <c:axId val="729058991"/>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crossAx val="1012843344"/>
        <c:crosses val="autoZero"/>
        <c:crossBetween val="between"/>
        <c:dispUnits>
          <c:builtInUnit val="millions"/>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532654543252961E-2"/>
          <c:y val="7.6694815796199606E-2"/>
          <c:w val="0.94977876914238368"/>
          <c:h val="0.69377259189325935"/>
        </c:manualLayout>
      </c:layout>
      <c:barChart>
        <c:barDir val="col"/>
        <c:grouping val="stacked"/>
        <c:varyColors val="0"/>
        <c:ser>
          <c:idx val="0"/>
          <c:order val="0"/>
          <c:tx>
            <c:strRef>
              <c:f>Sheet1!$B$1</c:f>
              <c:strCache>
                <c:ptCount val="1"/>
                <c:pt idx="0">
                  <c:v>France</c:v>
                </c:pt>
              </c:strCache>
            </c:strRef>
          </c:tx>
          <c:spPr>
            <a:solidFill>
              <a:srgbClr val="289B3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0</c:formatCode>
                <c:ptCount val="9"/>
                <c:pt idx="0">
                  <c:v>69.3</c:v>
                </c:pt>
                <c:pt idx="1">
                  <c:v>76.923000000000002</c:v>
                </c:pt>
                <c:pt idx="2">
                  <c:v>85</c:v>
                </c:pt>
                <c:pt idx="3">
                  <c:v>76.5</c:v>
                </c:pt>
                <c:pt idx="4">
                  <c:v>81.855000000000004</c:v>
                </c:pt>
                <c:pt idx="5">
                  <c:v>86.766300000000015</c:v>
                </c:pt>
                <c:pt idx="6">
                  <c:v>91.972278000000017</c:v>
                </c:pt>
                <c:pt idx="7">
                  <c:v>97.490614680000022</c:v>
                </c:pt>
                <c:pt idx="8">
                  <c:v>103.34005156080003</c:v>
                </c:pt>
              </c:numCache>
            </c:numRef>
          </c:val>
          <c:extLst>
            <c:ext xmlns:c16="http://schemas.microsoft.com/office/drawing/2014/chart" uri="{C3380CC4-5D6E-409C-BE32-E72D297353CC}">
              <c16:uniqueId val="{00000000-29CD-424D-8927-631F543207B8}"/>
            </c:ext>
          </c:extLst>
        </c:ser>
        <c:ser>
          <c:idx val="1"/>
          <c:order val="1"/>
          <c:tx>
            <c:strRef>
              <c:f>Sheet1!$C$1</c:f>
              <c:strCache>
                <c:ptCount val="1"/>
                <c:pt idx="0">
                  <c:v>Benelux</c:v>
                </c:pt>
              </c:strCache>
            </c:strRef>
          </c:tx>
          <c:spPr>
            <a:solidFill>
              <a:schemeClr val="bg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C$2:$C$10</c:f>
              <c:numCache>
                <c:formatCode>0</c:formatCode>
                <c:ptCount val="9"/>
                <c:pt idx="0">
                  <c:v>55.700263754784906</c:v>
                </c:pt>
                <c:pt idx="1">
                  <c:v>58.279647944832597</c:v>
                </c:pt>
                <c:pt idx="2">
                  <c:v>61</c:v>
                </c:pt>
                <c:pt idx="3">
                  <c:v>54.97</c:v>
                </c:pt>
                <c:pt idx="4">
                  <c:v>58.097900000000003</c:v>
                </c:pt>
                <c:pt idx="5">
                  <c:v>60.854352999999996</c:v>
                </c:pt>
                <c:pt idx="6">
                  <c:v>63.359532110000004</c:v>
                </c:pt>
                <c:pt idx="7">
                  <c:v>66.008490496900009</c:v>
                </c:pt>
                <c:pt idx="8">
                  <c:v>68.721721162309606</c:v>
                </c:pt>
              </c:numCache>
            </c:numRef>
          </c:val>
          <c:extLst>
            <c:ext xmlns:c16="http://schemas.microsoft.com/office/drawing/2014/chart" uri="{C3380CC4-5D6E-409C-BE32-E72D297353CC}">
              <c16:uniqueId val="{00000001-29CD-424D-8927-631F543207B8}"/>
            </c:ext>
          </c:extLst>
        </c:ser>
        <c:dLbls>
          <c:dLblPos val="ctr"/>
          <c:showLegendKey val="0"/>
          <c:showVal val="1"/>
          <c:showCatName val="0"/>
          <c:showSerName val="0"/>
          <c:showPercent val="0"/>
          <c:showBubbleSize val="0"/>
        </c:dLbls>
        <c:gapWidth val="59"/>
        <c:overlap val="100"/>
        <c:axId val="1967597839"/>
        <c:axId val="517210528"/>
      </c:barChart>
      <c:catAx>
        <c:axId val="19675978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517210528"/>
        <c:crosses val="autoZero"/>
        <c:auto val="1"/>
        <c:lblAlgn val="ctr"/>
        <c:lblOffset val="100"/>
        <c:noMultiLvlLbl val="0"/>
      </c:catAx>
      <c:valAx>
        <c:axId val="517210528"/>
        <c:scaling>
          <c:orientation val="minMax"/>
        </c:scaling>
        <c:delete val="1"/>
        <c:axPos val="l"/>
        <c:numFmt formatCode="0" sourceLinked="1"/>
        <c:majorTickMark val="none"/>
        <c:minorTickMark val="none"/>
        <c:tickLblPos val="nextTo"/>
        <c:crossAx val="1967597839"/>
        <c:crosses val="autoZero"/>
        <c:crossBetween val="between"/>
      </c:valAx>
      <c:spPr>
        <a:noFill/>
        <a:ln>
          <a:noFill/>
        </a:ln>
        <a:effectLst/>
      </c:spPr>
    </c:plotArea>
    <c:legend>
      <c:legendPos val="b"/>
      <c:layout>
        <c:manualLayout>
          <c:xMode val="edge"/>
          <c:yMode val="edge"/>
          <c:x val="0.27028596642529301"/>
          <c:y val="0.85556583354969573"/>
          <c:w val="0.43435479789795312"/>
          <c:h val="0.1158853935749047"/>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771863117870721E-2"/>
          <c:y val="3.3964728935336384E-2"/>
          <c:w val="0.96045627376425846"/>
          <c:h val="0.93207054212932727"/>
        </c:manualLayout>
      </c:layout>
      <c:barChart>
        <c:barDir val="col"/>
        <c:grouping val="stacked"/>
        <c:varyColors val="0"/>
        <c:ser>
          <c:idx val="0"/>
          <c:order val="0"/>
          <c:spPr>
            <a:solidFill>
              <a:schemeClr val="tx2"/>
            </a:solidFill>
            <a:ln>
              <a:noFill/>
            </a:ln>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I$1</c:f>
              <c:numCache>
                <c:formatCode>0.0</c:formatCode>
                <c:ptCount val="9"/>
                <c:pt idx="0">
                  <c:v>12.980745384754847</c:v>
                </c:pt>
                <c:pt idx="1">
                  <c:v>13.904125617201236</c:v>
                </c:pt>
                <c:pt idx="2">
                  <c:v>14.438020163143564</c:v>
                </c:pt>
                <c:pt idx="3">
                  <c:v>13.146535753353062</c:v>
                </c:pt>
                <c:pt idx="4">
                  <c:v>14.312358256087778</c:v>
                </c:pt>
                <c:pt idx="5">
                  <c:v>15.518164951453047</c:v>
                </c:pt>
                <c:pt idx="6">
                  <c:v>16.817143960540228</c:v>
                </c:pt>
                <c:pt idx="7">
                  <c:v>18.381869101848647</c:v>
                </c:pt>
                <c:pt idx="8">
                  <c:v>20.208161608885167</c:v>
                </c:pt>
              </c:numCache>
            </c:numRef>
          </c:val>
          <c:extLst>
            <c:ext xmlns:c16="http://schemas.microsoft.com/office/drawing/2014/chart" uri="{C3380CC4-5D6E-409C-BE32-E72D297353CC}">
              <c16:uniqueId val="{00000000-D58E-45E8-A35F-7460A68C42D3}"/>
            </c:ext>
          </c:extLst>
        </c:ser>
        <c:dLbls>
          <c:showLegendKey val="0"/>
          <c:showVal val="0"/>
          <c:showCatName val="0"/>
          <c:showSerName val="0"/>
          <c:showPercent val="0"/>
          <c:showBubbleSize val="0"/>
        </c:dLbls>
        <c:gapWidth val="80"/>
        <c:overlap val="100"/>
        <c:axId val="1784574975"/>
        <c:axId val="1"/>
      </c:barChart>
      <c:catAx>
        <c:axId val="178457497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445843727475008"/>
          <c:min val="0"/>
        </c:scaling>
        <c:delete val="1"/>
        <c:axPos val="l"/>
        <c:numFmt formatCode="0.0" sourceLinked="1"/>
        <c:majorTickMark val="out"/>
        <c:minorTickMark val="none"/>
        <c:tickLblPos val="nextTo"/>
        <c:crossAx val="1784574975"/>
        <c:crosses val="min"/>
        <c:crossBetween val="between"/>
      </c:valAx>
    </c:plotArea>
    <c:plotVisOnly val="0"/>
    <c:dispBlanksAs val="gap"/>
    <c:showDLblsOverMax val="1"/>
  </c:chart>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771863117870721E-2"/>
          <c:y val="3.3964728935336384E-2"/>
          <c:w val="0.96045627376425846"/>
          <c:h val="0.93207054212932727"/>
        </c:manualLayout>
      </c:layout>
      <c:barChart>
        <c:barDir val="col"/>
        <c:grouping val="stacked"/>
        <c:varyColors val="0"/>
        <c:ser>
          <c:idx val="0"/>
          <c:order val="0"/>
          <c:spPr>
            <a:solidFill>
              <a:schemeClr val="tx2"/>
            </a:solidFill>
            <a:ln>
              <a:noFill/>
            </a:ln>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I$1</c:f>
              <c:numCache>
                <c:formatCode>0.0</c:formatCode>
                <c:ptCount val="9"/>
                <c:pt idx="0">
                  <c:v>4.775482785605015</c:v>
                </c:pt>
                <c:pt idx="1">
                  <c:v>5.678756300534566</c:v>
                </c:pt>
                <c:pt idx="2">
                  <c:v>6.3538663968900622</c:v>
                </c:pt>
                <c:pt idx="3">
                  <c:v>5.9639701711046671</c:v>
                </c:pt>
                <c:pt idx="4">
                  <c:v>6.4776253828055648</c:v>
                </c:pt>
                <c:pt idx="5">
                  <c:v>6.9675191700988508</c:v>
                </c:pt>
                <c:pt idx="6">
                  <c:v>7.4444282495901168</c:v>
                </c:pt>
                <c:pt idx="7">
                  <c:v>8.0857100687604504</c:v>
                </c:pt>
                <c:pt idx="8">
                  <c:v>8.8303975871353479</c:v>
                </c:pt>
              </c:numCache>
            </c:numRef>
          </c:val>
          <c:extLst>
            <c:ext xmlns:c16="http://schemas.microsoft.com/office/drawing/2014/chart" uri="{C3380CC4-5D6E-409C-BE32-E72D297353CC}">
              <c16:uniqueId val="{00000000-0043-41EC-A763-8F8A801CB0CC}"/>
            </c:ext>
          </c:extLst>
        </c:ser>
        <c:dLbls>
          <c:showLegendKey val="0"/>
          <c:showVal val="0"/>
          <c:showCatName val="0"/>
          <c:showSerName val="0"/>
          <c:showPercent val="0"/>
          <c:showBubbleSize val="0"/>
        </c:dLbls>
        <c:gapWidth val="80"/>
        <c:overlap val="100"/>
        <c:axId val="891435615"/>
        <c:axId val="1"/>
      </c:barChart>
      <c:catAx>
        <c:axId val="89143561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2427279141092065"/>
          <c:min val="0"/>
        </c:scaling>
        <c:delete val="1"/>
        <c:axPos val="l"/>
        <c:numFmt formatCode="0.0" sourceLinked="1"/>
        <c:majorTickMark val="out"/>
        <c:minorTickMark val="none"/>
        <c:tickLblPos val="nextTo"/>
        <c:crossAx val="891435615"/>
        <c:crosses val="min"/>
        <c:crossBetween val="between"/>
      </c:valAx>
    </c:plotArea>
    <c:plotVisOnly val="0"/>
    <c:dispBlanksAs val="gap"/>
    <c:showDLblsOverMax val="1"/>
  </c:chart>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09450666325839E-2"/>
          <c:y val="0.161097821754492"/>
          <c:w val="0.73632622692280469"/>
          <c:h val="0.75165875788646419"/>
        </c:manualLayout>
      </c:layout>
      <c:barChart>
        <c:barDir val="col"/>
        <c:grouping val="stacked"/>
        <c:varyColors val="0"/>
        <c:ser>
          <c:idx val="0"/>
          <c:order val="0"/>
          <c:tx>
            <c:strRef>
              <c:f>Sheet1!$B$1</c:f>
              <c:strCache>
                <c:ptCount val="1"/>
                <c:pt idx="0">
                  <c:v>Xborder FR</c:v>
                </c:pt>
              </c:strCache>
            </c:strRef>
          </c:tx>
          <c:spPr>
            <a:solidFill>
              <a:schemeClr val="bg2">
                <a:lumMod val="50000"/>
              </a:schemeClr>
            </a:solidFill>
            <a:ln>
              <a:noFill/>
            </a:ln>
            <a:effectLst/>
          </c:spPr>
          <c:invertIfNegative val="0"/>
          <c:dPt>
            <c:idx val="8"/>
            <c:invertIfNegative val="0"/>
            <c:bubble3D val="0"/>
            <c:spPr>
              <a:solidFill>
                <a:srgbClr val="367847"/>
              </a:solidFill>
              <a:ln>
                <a:noFill/>
              </a:ln>
              <a:effectLst/>
            </c:spPr>
            <c:extLst>
              <c:ext xmlns:c16="http://schemas.microsoft.com/office/drawing/2014/chart" uri="{C3380CC4-5D6E-409C-BE32-E72D297353CC}">
                <c16:uniqueId val="{0000000A-393A-4CFA-A9A9-A617250EF251}"/>
              </c:ext>
            </c:extLst>
          </c:dPt>
          <c:dLbls>
            <c:delete val="1"/>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General</c:formatCode>
                <c:ptCount val="9"/>
                <c:pt idx="0">
                  <c:v>6.5183888477391276</c:v>
                </c:pt>
                <c:pt idx="1">
                  <c:v>6.3528549255879865</c:v>
                </c:pt>
                <c:pt idx="2">
                  <c:v>7.3927605328395902</c:v>
                </c:pt>
                <c:pt idx="3">
                  <c:v>8.2199352496110247</c:v>
                </c:pt>
                <c:pt idx="4">
                  <c:v>8.7018159181207313</c:v>
                </c:pt>
                <c:pt idx="5">
                  <c:v>8.9534855830634719</c:v>
                </c:pt>
                <c:pt idx="6">
                  <c:v>9.2100148294249156</c:v>
                </c:pt>
                <c:pt idx="7">
                  <c:v>9.4713817605202308</c:v>
                </c:pt>
                <c:pt idx="8">
                  <c:v>9.7375575246563066</c:v>
                </c:pt>
              </c:numCache>
            </c:numRef>
          </c:val>
          <c:extLst>
            <c:ext xmlns:c16="http://schemas.microsoft.com/office/drawing/2014/chart" uri="{C3380CC4-5D6E-409C-BE32-E72D297353CC}">
              <c16:uniqueId val="{00000000-393A-4CFA-A9A9-A617250EF251}"/>
            </c:ext>
          </c:extLst>
        </c:ser>
        <c:ser>
          <c:idx val="1"/>
          <c:order val="1"/>
          <c:tx>
            <c:strRef>
              <c:f>Sheet1!$C$1</c:f>
              <c:strCache>
                <c:ptCount val="1"/>
                <c:pt idx="0">
                  <c:v>Xborder BNLX</c:v>
                </c:pt>
              </c:strCache>
            </c:strRef>
          </c:tx>
          <c:spPr>
            <a:solidFill>
              <a:schemeClr val="bg2">
                <a:lumMod val="75000"/>
              </a:schemeClr>
            </a:solidFill>
            <a:ln>
              <a:noFill/>
            </a:ln>
            <a:effectLst/>
          </c:spPr>
          <c:invertIfNegative val="0"/>
          <c:dLbls>
            <c:delete val="1"/>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C$2:$C$10</c:f>
              <c:numCache>
                <c:formatCode>General</c:formatCode>
                <c:ptCount val="9"/>
                <c:pt idx="0">
                  <c:v>4.447199337246543</c:v>
                </c:pt>
                <c:pt idx="1">
                  <c:v>4.7417039700111561</c:v>
                </c:pt>
                <c:pt idx="2">
                  <c:v>5.1257303441676347</c:v>
                </c:pt>
                <c:pt idx="3">
                  <c:v>6.6920547850895753</c:v>
                </c:pt>
                <c:pt idx="4">
                  <c:v>7.0843658843400394</c:v>
                </c:pt>
                <c:pt idx="5">
                  <c:v>7.2892564503115471</c:v>
                </c:pt>
                <c:pt idx="6">
                  <c:v>7.498103323005556</c:v>
                </c:pt>
                <c:pt idx="7">
                  <c:v>7.710888675783532</c:v>
                </c:pt>
                <c:pt idx="8">
                  <c:v>7.9275890197608136</c:v>
                </c:pt>
              </c:numCache>
            </c:numRef>
          </c:val>
          <c:extLst>
            <c:ext xmlns:c16="http://schemas.microsoft.com/office/drawing/2014/chart" uri="{C3380CC4-5D6E-409C-BE32-E72D297353CC}">
              <c16:uniqueId val="{00000001-393A-4CFA-A9A9-A617250EF251}"/>
            </c:ext>
          </c:extLst>
        </c:ser>
        <c:ser>
          <c:idx val="2"/>
          <c:order val="2"/>
          <c:tx>
            <c:strRef>
              <c:f>Sheet1!$D$1</c:f>
              <c:strCache>
                <c:ptCount val="1"/>
                <c:pt idx="0">
                  <c:v>Xborder IAA</c:v>
                </c:pt>
              </c:strCache>
            </c:strRef>
          </c:tx>
          <c:spPr>
            <a:pattFill prst="pct5">
              <a:fgClr>
                <a:schemeClr val="bg2">
                  <a:lumMod val="60000"/>
                  <a:lumOff val="40000"/>
                </a:schemeClr>
              </a:fgClr>
              <a:bgClr>
                <a:srgbClr val="BCE1C5"/>
              </a:bgClr>
            </a:pattFill>
            <a:ln>
              <a:noFill/>
            </a:ln>
            <a:effectLst/>
          </c:spPr>
          <c:invertIfNegative val="0"/>
          <c:dPt>
            <c:idx val="4"/>
            <c:invertIfNegative val="0"/>
            <c:bubble3D val="0"/>
            <c:spPr>
              <a:pattFill prst="pct5">
                <a:fgClr>
                  <a:schemeClr val="bg2">
                    <a:lumMod val="60000"/>
                    <a:lumOff val="40000"/>
                  </a:schemeClr>
                </a:fgClr>
                <a:bgClr>
                  <a:srgbClr val="BCE1C5"/>
                </a:bgClr>
              </a:pattFill>
              <a:ln>
                <a:noFill/>
              </a:ln>
              <a:effectLst/>
            </c:spPr>
            <c:extLst>
              <c:ext xmlns:c16="http://schemas.microsoft.com/office/drawing/2014/chart" uri="{C3380CC4-5D6E-409C-BE32-E72D297353CC}">
                <c16:uniqueId val="{0000000F-393A-4CFA-A9A9-A617250EF251}"/>
              </c:ext>
            </c:extLst>
          </c:dPt>
          <c:dPt>
            <c:idx val="5"/>
            <c:invertIfNegative val="0"/>
            <c:bubble3D val="0"/>
            <c:spPr>
              <a:pattFill prst="pct5">
                <a:fgClr>
                  <a:schemeClr val="bg2">
                    <a:lumMod val="60000"/>
                    <a:lumOff val="40000"/>
                  </a:schemeClr>
                </a:fgClr>
                <a:bgClr>
                  <a:srgbClr val="BCE1C5"/>
                </a:bgClr>
              </a:pattFill>
              <a:ln>
                <a:noFill/>
              </a:ln>
              <a:effectLst/>
            </c:spPr>
            <c:extLst>
              <c:ext xmlns:c16="http://schemas.microsoft.com/office/drawing/2014/chart" uri="{C3380CC4-5D6E-409C-BE32-E72D297353CC}">
                <c16:uniqueId val="{0000000E-393A-4CFA-A9A9-A617250EF251}"/>
              </c:ext>
            </c:extLst>
          </c:dPt>
          <c:dPt>
            <c:idx val="6"/>
            <c:invertIfNegative val="0"/>
            <c:bubble3D val="0"/>
            <c:spPr>
              <a:pattFill prst="pct5">
                <a:fgClr>
                  <a:schemeClr val="bg2">
                    <a:lumMod val="60000"/>
                    <a:lumOff val="40000"/>
                  </a:schemeClr>
                </a:fgClr>
                <a:bgClr>
                  <a:srgbClr val="BCE1C5"/>
                </a:bgClr>
              </a:pattFill>
              <a:ln>
                <a:noFill/>
              </a:ln>
              <a:effectLst/>
            </c:spPr>
            <c:extLst>
              <c:ext xmlns:c16="http://schemas.microsoft.com/office/drawing/2014/chart" uri="{C3380CC4-5D6E-409C-BE32-E72D297353CC}">
                <c16:uniqueId val="{0000000D-393A-4CFA-A9A9-A617250EF251}"/>
              </c:ext>
            </c:extLst>
          </c:dPt>
          <c:dPt>
            <c:idx val="7"/>
            <c:invertIfNegative val="0"/>
            <c:bubble3D val="0"/>
            <c:spPr>
              <a:pattFill prst="pct5">
                <a:fgClr>
                  <a:schemeClr val="bg2">
                    <a:lumMod val="60000"/>
                    <a:lumOff val="40000"/>
                  </a:schemeClr>
                </a:fgClr>
                <a:bgClr>
                  <a:srgbClr val="BCE1C5"/>
                </a:bgClr>
              </a:pattFill>
              <a:ln>
                <a:noFill/>
              </a:ln>
              <a:effectLst/>
            </c:spPr>
            <c:extLst>
              <c:ext xmlns:c16="http://schemas.microsoft.com/office/drawing/2014/chart" uri="{C3380CC4-5D6E-409C-BE32-E72D297353CC}">
                <c16:uniqueId val="{0000000C-393A-4CFA-A9A9-A617250EF251}"/>
              </c:ext>
            </c:extLst>
          </c:dPt>
          <c:dPt>
            <c:idx val="8"/>
            <c:invertIfNegative val="0"/>
            <c:bubble3D val="0"/>
            <c:spPr>
              <a:pattFill prst="pct5">
                <a:fgClr>
                  <a:schemeClr val="bg2">
                    <a:lumMod val="60000"/>
                    <a:lumOff val="40000"/>
                  </a:schemeClr>
                </a:fgClr>
                <a:bgClr>
                  <a:srgbClr val="BCE1C5"/>
                </a:bgClr>
              </a:pattFill>
              <a:ln>
                <a:noFill/>
              </a:ln>
              <a:effectLst/>
            </c:spPr>
            <c:extLst>
              <c:ext xmlns:c16="http://schemas.microsoft.com/office/drawing/2014/chart" uri="{C3380CC4-5D6E-409C-BE32-E72D297353CC}">
                <c16:uniqueId val="{0000000B-393A-4CFA-A9A9-A617250EF251}"/>
              </c:ext>
            </c:extLst>
          </c:dPt>
          <c:dLbls>
            <c:delete val="1"/>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D$2:$D$10</c:f>
              <c:numCache>
                <c:formatCode>General</c:formatCode>
                <c:ptCount val="9"/>
                <c:pt idx="0">
                  <c:v>0.68311523644242489</c:v>
                </c:pt>
                <c:pt idx="1">
                  <c:v>0.84590466315954937</c:v>
                </c:pt>
                <c:pt idx="2">
                  <c:v>1.0099910135429544</c:v>
                </c:pt>
                <c:pt idx="3">
                  <c:v>1.057289171481218</c:v>
                </c:pt>
                <c:pt idx="4">
                  <c:v>1.2011689558196168</c:v>
                </c:pt>
                <c:pt idx="5">
                  <c:v>1.2961968002771873</c:v>
                </c:pt>
                <c:pt idx="6">
                  <c:v>1.398375269312168</c:v>
                </c:pt>
                <c:pt idx="7">
                  <c:v>1.5082083680650358</c:v>
                </c:pt>
                <c:pt idx="8">
                  <c:v>1.6262325117534602</c:v>
                </c:pt>
              </c:numCache>
            </c:numRef>
          </c:val>
          <c:extLst>
            <c:ext xmlns:c16="http://schemas.microsoft.com/office/drawing/2014/chart" uri="{C3380CC4-5D6E-409C-BE32-E72D297353CC}">
              <c16:uniqueId val="{00000002-393A-4CFA-A9A9-A617250EF251}"/>
            </c:ext>
          </c:extLst>
        </c:ser>
        <c:ser>
          <c:idx val="3"/>
          <c:order val="3"/>
          <c:tx>
            <c:strRef>
              <c:f>Sheet1!$E$1</c:f>
              <c:strCache>
                <c:ptCount val="1"/>
                <c:pt idx="0">
                  <c:v>WB Compensation FR</c:v>
                </c:pt>
              </c:strCache>
            </c:strRef>
          </c:tx>
          <c:spPr>
            <a:solidFill>
              <a:schemeClr val="accent1">
                <a:lumMod val="50000"/>
              </a:schemeClr>
            </a:solidFill>
            <a:ln>
              <a:noFill/>
            </a:ln>
            <a:effectLst/>
          </c:spPr>
          <c:invertIfNegative val="0"/>
          <c:dLbls>
            <c:delete val="1"/>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E$2:$E$10</c:f>
              <c:numCache>
                <c:formatCode>General</c:formatCode>
                <c:ptCount val="9"/>
                <c:pt idx="0">
                  <c:v>1.2679333676409543</c:v>
                </c:pt>
                <c:pt idx="1">
                  <c:v>1.2048344129626478</c:v>
                </c:pt>
                <c:pt idx="2">
                  <c:v>1.3338524690675195</c:v>
                </c:pt>
                <c:pt idx="3">
                  <c:v>1.239155238878862</c:v>
                </c:pt>
                <c:pt idx="4">
                  <c:v>1.2798036582016588</c:v>
                </c:pt>
                <c:pt idx="5">
                  <c:v>1.2847000134651452</c:v>
                </c:pt>
                <c:pt idx="6">
                  <c:v>1.2892764625337934</c:v>
                </c:pt>
                <c:pt idx="7">
                  <c:v>1.2935261152730073</c:v>
                </c:pt>
                <c:pt idx="8">
                  <c:v>1.2974422318285277</c:v>
                </c:pt>
              </c:numCache>
            </c:numRef>
          </c:val>
          <c:extLst>
            <c:ext xmlns:c16="http://schemas.microsoft.com/office/drawing/2014/chart" uri="{C3380CC4-5D6E-409C-BE32-E72D297353CC}">
              <c16:uniqueId val="{00000004-393A-4CFA-A9A9-A617250EF251}"/>
            </c:ext>
          </c:extLst>
        </c:ser>
        <c:ser>
          <c:idx val="4"/>
          <c:order val="4"/>
          <c:tx>
            <c:strRef>
              <c:f>Sheet1!$F$1</c:f>
              <c:strCache>
                <c:ptCount val="1"/>
                <c:pt idx="0">
                  <c:v>WB Compensation BNL</c:v>
                </c:pt>
              </c:strCache>
            </c:strRef>
          </c:tx>
          <c:spPr>
            <a:solidFill>
              <a:schemeClr val="accent1">
                <a:lumMod val="60000"/>
                <a:lumOff val="40000"/>
              </a:schemeClr>
            </a:solidFill>
            <a:ln>
              <a:noFill/>
            </a:ln>
            <a:effectLst/>
          </c:spPr>
          <c:invertIfNegative val="0"/>
          <c:dLbls>
            <c:delete val="1"/>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F$2:$F$10</c:f>
              <c:numCache>
                <c:formatCode>General</c:formatCode>
                <c:ptCount val="9"/>
                <c:pt idx="0">
                  <c:v>0.57687493077478036</c:v>
                </c:pt>
                <c:pt idx="1">
                  <c:v>0.58578141751573087</c:v>
                </c:pt>
                <c:pt idx="2">
                  <c:v>0.60308815916593683</c:v>
                </c:pt>
                <c:pt idx="3">
                  <c:v>0.5969727975030007</c:v>
                </c:pt>
                <c:pt idx="4">
                  <c:v>0.61655549371074936</c:v>
                </c:pt>
                <c:pt idx="5">
                  <c:v>0.61891435142889673</c:v>
                </c:pt>
                <c:pt idx="6">
                  <c:v>0.62111909181768987</c:v>
                </c:pt>
                <c:pt idx="7">
                  <c:v>0.62316639550051167</c:v>
                </c:pt>
                <c:pt idx="8">
                  <c:v>0.62505301549948133</c:v>
                </c:pt>
              </c:numCache>
            </c:numRef>
          </c:val>
          <c:extLst>
            <c:ext xmlns:c16="http://schemas.microsoft.com/office/drawing/2014/chart" uri="{C3380CC4-5D6E-409C-BE32-E72D297353CC}">
              <c16:uniqueId val="{00000005-393A-4CFA-A9A9-A617250EF251}"/>
            </c:ext>
          </c:extLst>
        </c:ser>
        <c:ser>
          <c:idx val="5"/>
          <c:order val="5"/>
          <c:tx>
            <c:strRef>
              <c:f>Sheet1!$G$1</c:f>
              <c:strCache>
                <c:ptCount val="1"/>
                <c:pt idx="0">
                  <c:v>WB Compensation IAA</c:v>
                </c:pt>
              </c:strCache>
            </c:strRef>
          </c:tx>
          <c:spPr>
            <a:solidFill>
              <a:schemeClr val="accent2"/>
            </a:solidFill>
            <a:ln>
              <a:noFill/>
            </a:ln>
            <a:effectLst/>
          </c:spPr>
          <c:invertIfNegative val="0"/>
          <c:dLbls>
            <c:delete val="1"/>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G$2:$G$10</c:f>
              <c:numCache>
                <c:formatCode>General</c:formatCode>
                <c:ptCount val="9"/>
                <c:pt idx="0">
                  <c:v>0.13503440720373516</c:v>
                </c:pt>
                <c:pt idx="1">
                  <c:v>0.13711923026185782</c:v>
                </c:pt>
                <c:pt idx="2">
                  <c:v>0.14117037804916938</c:v>
                </c:pt>
                <c:pt idx="3">
                  <c:v>0.13973889924338742</c:v>
                </c:pt>
                <c:pt idx="4">
                  <c:v>0.14432280059322186</c:v>
                </c:pt>
                <c:pt idx="5">
                  <c:v>0.1448749600590877</c:v>
                </c:pt>
                <c:pt idx="6">
                  <c:v>0.14539104386782412</c:v>
                </c:pt>
                <c:pt idx="7">
                  <c:v>0.145870275022495</c:v>
                </c:pt>
                <c:pt idx="8">
                  <c:v>0.14631189347320045</c:v>
                </c:pt>
              </c:numCache>
            </c:numRef>
          </c:val>
          <c:extLst>
            <c:ext xmlns:c16="http://schemas.microsoft.com/office/drawing/2014/chart" uri="{C3380CC4-5D6E-409C-BE32-E72D297353CC}">
              <c16:uniqueId val="{00000006-393A-4CFA-A9A9-A617250EF251}"/>
            </c:ext>
          </c:extLst>
        </c:ser>
        <c:ser>
          <c:idx val="6"/>
          <c:order val="6"/>
          <c:tx>
            <c:strRef>
              <c:f>Sheet1!$H$1</c:f>
              <c:strCache>
                <c:ptCount val="1"/>
                <c:pt idx="0">
                  <c:v>WWN Sales FR</c:v>
                </c:pt>
              </c:strCache>
            </c:strRef>
          </c:tx>
          <c:spPr>
            <a:pattFill prst="ltDnDiag">
              <a:fgClr>
                <a:schemeClr val="bg1">
                  <a:lumMod val="65000"/>
                </a:schemeClr>
              </a:fgClr>
              <a:bgClr>
                <a:schemeClr val="bg1">
                  <a:lumMod val="65000"/>
                </a:schemeClr>
              </a:bgClr>
            </a:pattFill>
            <a:ln>
              <a:noFill/>
            </a:ln>
            <a:effectLst/>
          </c:spPr>
          <c:invertIfNegative val="0"/>
          <c:dPt>
            <c:idx val="4"/>
            <c:invertIfNegative val="0"/>
            <c:bubble3D val="0"/>
            <c:spPr>
              <a:pattFill prst="ltDnDiag">
                <a:fgClr>
                  <a:schemeClr val="bg1">
                    <a:lumMod val="65000"/>
                  </a:schemeClr>
                </a:fgClr>
                <a:bgClr>
                  <a:schemeClr val="bg1">
                    <a:lumMod val="65000"/>
                  </a:schemeClr>
                </a:bgClr>
              </a:pattFill>
              <a:ln>
                <a:noFill/>
              </a:ln>
              <a:effectLst/>
            </c:spPr>
            <c:extLst>
              <c:ext xmlns:c16="http://schemas.microsoft.com/office/drawing/2014/chart" uri="{C3380CC4-5D6E-409C-BE32-E72D297353CC}">
                <c16:uniqueId val="{00000014-393A-4CFA-A9A9-A617250EF251}"/>
              </c:ext>
            </c:extLst>
          </c:dPt>
          <c:dPt>
            <c:idx val="5"/>
            <c:invertIfNegative val="0"/>
            <c:bubble3D val="0"/>
            <c:spPr>
              <a:pattFill prst="ltDnDiag">
                <a:fgClr>
                  <a:schemeClr val="bg1">
                    <a:lumMod val="65000"/>
                  </a:schemeClr>
                </a:fgClr>
                <a:bgClr>
                  <a:schemeClr val="bg1">
                    <a:lumMod val="65000"/>
                  </a:schemeClr>
                </a:bgClr>
              </a:pattFill>
              <a:ln>
                <a:noFill/>
              </a:ln>
              <a:effectLst/>
            </c:spPr>
            <c:extLst>
              <c:ext xmlns:c16="http://schemas.microsoft.com/office/drawing/2014/chart" uri="{C3380CC4-5D6E-409C-BE32-E72D297353CC}">
                <c16:uniqueId val="{00000013-393A-4CFA-A9A9-A617250EF251}"/>
              </c:ext>
            </c:extLst>
          </c:dPt>
          <c:dPt>
            <c:idx val="6"/>
            <c:invertIfNegative val="0"/>
            <c:bubble3D val="0"/>
            <c:spPr>
              <a:pattFill prst="ltDnDiag">
                <a:fgClr>
                  <a:schemeClr val="bg1">
                    <a:lumMod val="65000"/>
                  </a:schemeClr>
                </a:fgClr>
                <a:bgClr>
                  <a:schemeClr val="bg1">
                    <a:lumMod val="65000"/>
                  </a:schemeClr>
                </a:bgClr>
              </a:pattFill>
              <a:ln>
                <a:noFill/>
              </a:ln>
              <a:effectLst/>
            </c:spPr>
            <c:extLst>
              <c:ext xmlns:c16="http://schemas.microsoft.com/office/drawing/2014/chart" uri="{C3380CC4-5D6E-409C-BE32-E72D297353CC}">
                <c16:uniqueId val="{00000012-393A-4CFA-A9A9-A617250EF251}"/>
              </c:ext>
            </c:extLst>
          </c:dPt>
          <c:dPt>
            <c:idx val="7"/>
            <c:invertIfNegative val="0"/>
            <c:bubble3D val="0"/>
            <c:spPr>
              <a:pattFill prst="ltDnDiag">
                <a:fgClr>
                  <a:schemeClr val="bg1">
                    <a:lumMod val="65000"/>
                  </a:schemeClr>
                </a:fgClr>
                <a:bgClr>
                  <a:schemeClr val="bg1">
                    <a:lumMod val="65000"/>
                  </a:schemeClr>
                </a:bgClr>
              </a:pattFill>
              <a:ln>
                <a:noFill/>
              </a:ln>
              <a:effectLst/>
            </c:spPr>
            <c:extLst>
              <c:ext xmlns:c16="http://schemas.microsoft.com/office/drawing/2014/chart" uri="{C3380CC4-5D6E-409C-BE32-E72D297353CC}">
                <c16:uniqueId val="{00000011-393A-4CFA-A9A9-A617250EF251}"/>
              </c:ext>
            </c:extLst>
          </c:dPt>
          <c:dPt>
            <c:idx val="8"/>
            <c:invertIfNegative val="0"/>
            <c:bubble3D val="0"/>
            <c:spPr>
              <a:pattFill prst="ltDnDiag">
                <a:fgClr>
                  <a:schemeClr val="bg1">
                    <a:lumMod val="65000"/>
                  </a:schemeClr>
                </a:fgClr>
                <a:bgClr>
                  <a:schemeClr val="bg1">
                    <a:lumMod val="65000"/>
                  </a:schemeClr>
                </a:bgClr>
              </a:pattFill>
              <a:ln>
                <a:noFill/>
              </a:ln>
              <a:effectLst/>
            </c:spPr>
            <c:extLst>
              <c:ext xmlns:c16="http://schemas.microsoft.com/office/drawing/2014/chart" uri="{C3380CC4-5D6E-409C-BE32-E72D297353CC}">
                <c16:uniqueId val="{00000010-393A-4CFA-A9A9-A617250EF251}"/>
              </c:ext>
            </c:extLst>
          </c:dPt>
          <c:dLbls>
            <c:delete val="1"/>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H$2:$H$10</c:f>
              <c:numCache>
                <c:formatCode>General</c:formatCode>
                <c:ptCount val="9"/>
                <c:pt idx="0">
                  <c:v>2.2667908209274072</c:v>
                </c:pt>
                <c:pt idx="1">
                  <c:v>2.7736397238997856</c:v>
                </c:pt>
                <c:pt idx="2">
                  <c:v>2.8960687849792834</c:v>
                </c:pt>
                <c:pt idx="3">
                  <c:v>2.8667024183018448</c:v>
                </c:pt>
                <c:pt idx="4">
                  <c:v>3.1087767966017905</c:v>
                </c:pt>
                <c:pt idx="5">
                  <c:v>3.2767040828511194</c:v>
                </c:pt>
                <c:pt idx="6">
                  <c:v>3.4527954188926238</c:v>
                </c:pt>
                <c:pt idx="7">
                  <c:v>3.6373851796439838</c:v>
                </c:pt>
                <c:pt idx="8">
                  <c:v>3.8308171317641504</c:v>
                </c:pt>
              </c:numCache>
            </c:numRef>
          </c:val>
          <c:extLst>
            <c:ext xmlns:c16="http://schemas.microsoft.com/office/drawing/2014/chart" uri="{C3380CC4-5D6E-409C-BE32-E72D297353CC}">
              <c16:uniqueId val="{00000007-393A-4CFA-A9A9-A617250EF251}"/>
            </c:ext>
          </c:extLst>
        </c:ser>
        <c:ser>
          <c:idx val="7"/>
          <c:order val="7"/>
          <c:tx>
            <c:strRef>
              <c:f>Sheet1!$I$1</c:f>
              <c:strCache>
                <c:ptCount val="1"/>
                <c:pt idx="0">
                  <c:v>WWN Sales BNLX</c:v>
                </c:pt>
              </c:strCache>
            </c:strRef>
          </c:tx>
          <c:spPr>
            <a:pattFill prst="ltDnDiag">
              <a:fgClr>
                <a:schemeClr val="bg1">
                  <a:lumMod val="85000"/>
                </a:schemeClr>
              </a:fgClr>
              <a:bgClr>
                <a:schemeClr val="bg1">
                  <a:lumMod val="85000"/>
                </a:schemeClr>
              </a:bgClr>
            </a:pattFill>
            <a:ln>
              <a:noFill/>
            </a:ln>
            <a:effectLst/>
          </c:spPr>
          <c:invertIfNegative val="0"/>
          <c:dPt>
            <c:idx val="4"/>
            <c:invertIfNegative val="0"/>
            <c:bubble3D val="0"/>
            <c:spPr>
              <a:pattFill prst="ltDnDiag">
                <a:fgClr>
                  <a:schemeClr val="bg1">
                    <a:lumMod val="85000"/>
                  </a:schemeClr>
                </a:fgClr>
                <a:bgClr>
                  <a:schemeClr val="bg1">
                    <a:lumMod val="85000"/>
                  </a:schemeClr>
                </a:bgClr>
              </a:pattFill>
              <a:ln>
                <a:noFill/>
              </a:ln>
              <a:effectLst/>
            </c:spPr>
            <c:extLst>
              <c:ext xmlns:c16="http://schemas.microsoft.com/office/drawing/2014/chart" uri="{C3380CC4-5D6E-409C-BE32-E72D297353CC}">
                <c16:uniqueId val="{00000019-393A-4CFA-A9A9-A617250EF251}"/>
              </c:ext>
            </c:extLst>
          </c:dPt>
          <c:dPt>
            <c:idx val="5"/>
            <c:invertIfNegative val="0"/>
            <c:bubble3D val="0"/>
            <c:spPr>
              <a:pattFill prst="ltDnDiag">
                <a:fgClr>
                  <a:schemeClr val="bg1">
                    <a:lumMod val="85000"/>
                  </a:schemeClr>
                </a:fgClr>
                <a:bgClr>
                  <a:schemeClr val="bg1">
                    <a:lumMod val="85000"/>
                  </a:schemeClr>
                </a:bgClr>
              </a:pattFill>
              <a:ln>
                <a:noFill/>
              </a:ln>
              <a:effectLst/>
            </c:spPr>
            <c:extLst>
              <c:ext xmlns:c16="http://schemas.microsoft.com/office/drawing/2014/chart" uri="{C3380CC4-5D6E-409C-BE32-E72D297353CC}">
                <c16:uniqueId val="{00000018-393A-4CFA-A9A9-A617250EF251}"/>
              </c:ext>
            </c:extLst>
          </c:dPt>
          <c:dPt>
            <c:idx val="6"/>
            <c:invertIfNegative val="0"/>
            <c:bubble3D val="0"/>
            <c:spPr>
              <a:pattFill prst="ltDnDiag">
                <a:fgClr>
                  <a:schemeClr val="bg1">
                    <a:lumMod val="85000"/>
                  </a:schemeClr>
                </a:fgClr>
                <a:bgClr>
                  <a:schemeClr val="bg1">
                    <a:lumMod val="85000"/>
                  </a:schemeClr>
                </a:bgClr>
              </a:pattFill>
              <a:ln>
                <a:noFill/>
              </a:ln>
              <a:effectLst/>
            </c:spPr>
            <c:extLst>
              <c:ext xmlns:c16="http://schemas.microsoft.com/office/drawing/2014/chart" uri="{C3380CC4-5D6E-409C-BE32-E72D297353CC}">
                <c16:uniqueId val="{00000017-393A-4CFA-A9A9-A617250EF251}"/>
              </c:ext>
            </c:extLst>
          </c:dPt>
          <c:dPt>
            <c:idx val="7"/>
            <c:invertIfNegative val="0"/>
            <c:bubble3D val="0"/>
            <c:spPr>
              <a:pattFill prst="ltDnDiag">
                <a:fgClr>
                  <a:schemeClr val="bg1">
                    <a:lumMod val="85000"/>
                  </a:schemeClr>
                </a:fgClr>
                <a:bgClr>
                  <a:schemeClr val="bg1">
                    <a:lumMod val="85000"/>
                  </a:schemeClr>
                </a:bgClr>
              </a:pattFill>
              <a:ln>
                <a:noFill/>
              </a:ln>
              <a:effectLst/>
            </c:spPr>
            <c:extLst>
              <c:ext xmlns:c16="http://schemas.microsoft.com/office/drawing/2014/chart" uri="{C3380CC4-5D6E-409C-BE32-E72D297353CC}">
                <c16:uniqueId val="{00000016-393A-4CFA-A9A9-A617250EF251}"/>
              </c:ext>
            </c:extLst>
          </c:dPt>
          <c:dPt>
            <c:idx val="8"/>
            <c:invertIfNegative val="0"/>
            <c:bubble3D val="0"/>
            <c:spPr>
              <a:pattFill prst="ltDnDiag">
                <a:fgClr>
                  <a:schemeClr val="bg1">
                    <a:lumMod val="85000"/>
                  </a:schemeClr>
                </a:fgClr>
                <a:bgClr>
                  <a:schemeClr val="bg1">
                    <a:lumMod val="85000"/>
                  </a:schemeClr>
                </a:bgClr>
              </a:pattFill>
              <a:ln>
                <a:noFill/>
              </a:ln>
              <a:effectLst/>
            </c:spPr>
            <c:extLst>
              <c:ext xmlns:c16="http://schemas.microsoft.com/office/drawing/2014/chart" uri="{C3380CC4-5D6E-409C-BE32-E72D297353CC}">
                <c16:uniqueId val="{00000015-393A-4CFA-A9A9-A617250EF251}"/>
              </c:ext>
            </c:extLst>
          </c:dPt>
          <c:dLbls>
            <c:delete val="1"/>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I$2:$I$10</c:f>
              <c:numCache>
                <c:formatCode>General</c:formatCode>
                <c:ptCount val="9"/>
                <c:pt idx="0">
                  <c:v>1.9858001059372818</c:v>
                </c:pt>
                <c:pt idx="1">
                  <c:v>2.0164592685567326</c:v>
                </c:pt>
                <c:pt idx="2">
                  <c:v>2.2452318214731868</c:v>
                </c:pt>
                <c:pt idx="3">
                  <c:v>2.3015818698910873</c:v>
                </c:pt>
                <c:pt idx="4">
                  <c:v>2.4959354926121899</c:v>
                </c:pt>
                <c:pt idx="5">
                  <c:v>2.6307588335435512</c:v>
                </c:pt>
                <c:pt idx="6">
                  <c:v>2.7721368237704218</c:v>
                </c:pt>
                <c:pt idx="7">
                  <c:v>2.920337922008073</c:v>
                </c:pt>
                <c:pt idx="8">
                  <c:v>3.075638127294515</c:v>
                </c:pt>
              </c:numCache>
            </c:numRef>
          </c:val>
          <c:extLst>
            <c:ext xmlns:c16="http://schemas.microsoft.com/office/drawing/2014/chart" uri="{C3380CC4-5D6E-409C-BE32-E72D297353CC}">
              <c16:uniqueId val="{00000008-393A-4CFA-A9A9-A617250EF251}"/>
            </c:ext>
          </c:extLst>
        </c:ser>
        <c:dLbls>
          <c:dLblPos val="ctr"/>
          <c:showLegendKey val="0"/>
          <c:showVal val="1"/>
          <c:showCatName val="0"/>
          <c:showSerName val="0"/>
          <c:showPercent val="0"/>
          <c:showBubbleSize val="0"/>
        </c:dLbls>
        <c:gapWidth val="73"/>
        <c:overlap val="100"/>
        <c:axId val="2006264735"/>
        <c:axId val="2011026831"/>
      </c:barChart>
      <c:lineChart>
        <c:grouping val="standard"/>
        <c:varyColors val="0"/>
        <c:ser>
          <c:idx val="8"/>
          <c:order val="8"/>
          <c:tx>
            <c:strRef>
              <c:f>Sheet1!$J$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J$2:$J$10</c:f>
              <c:numCache>
                <c:formatCode>General</c:formatCode>
                <c:ptCount val="9"/>
                <c:pt idx="0">
                  <c:v>17.881137053912255</c:v>
                </c:pt>
                <c:pt idx="1">
                  <c:v>18.658297611955447</c:v>
                </c:pt>
                <c:pt idx="2">
                  <c:v>20.747893503285276</c:v>
                </c:pt>
                <c:pt idx="3">
                  <c:v>23.113430430000001</c:v>
                </c:pt>
                <c:pt idx="4">
                  <c:v>24.632745</c:v>
                </c:pt>
                <c:pt idx="5">
                  <c:v>25.494891075000005</c:v>
                </c:pt>
                <c:pt idx="6">
                  <c:v>26.387212262624992</c:v>
                </c:pt>
                <c:pt idx="7">
                  <c:v>27.310764691816871</c:v>
                </c:pt>
                <c:pt idx="8">
                  <c:v>28.266641456030452</c:v>
                </c:pt>
              </c:numCache>
            </c:numRef>
          </c:val>
          <c:smooth val="0"/>
          <c:extLst>
            <c:ext xmlns:c16="http://schemas.microsoft.com/office/drawing/2014/chart" uri="{C3380CC4-5D6E-409C-BE32-E72D297353CC}">
              <c16:uniqueId val="{00000009-393A-4CFA-A9A9-A617250EF251}"/>
            </c:ext>
          </c:extLst>
        </c:ser>
        <c:dLbls>
          <c:dLblPos val="ctr"/>
          <c:showLegendKey val="0"/>
          <c:showVal val="1"/>
          <c:showCatName val="0"/>
          <c:showSerName val="0"/>
          <c:showPercent val="0"/>
          <c:showBubbleSize val="0"/>
        </c:dLbls>
        <c:marker val="1"/>
        <c:smooth val="0"/>
        <c:axId val="852268847"/>
        <c:axId val="1782571136"/>
      </c:lineChart>
      <c:catAx>
        <c:axId val="20062647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011026831"/>
        <c:crosses val="autoZero"/>
        <c:auto val="1"/>
        <c:lblAlgn val="ctr"/>
        <c:lblOffset val="100"/>
        <c:noMultiLvlLbl val="0"/>
      </c:catAx>
      <c:valAx>
        <c:axId val="2011026831"/>
        <c:scaling>
          <c:orientation val="minMax"/>
          <c:max val="3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006264735"/>
        <c:crosses val="autoZero"/>
        <c:crossBetween val="between"/>
      </c:valAx>
      <c:valAx>
        <c:axId val="1782571136"/>
        <c:scaling>
          <c:orientation val="minMax"/>
          <c:max val="28"/>
          <c:min val="0"/>
        </c:scaling>
        <c:delete val="1"/>
        <c:axPos val="r"/>
        <c:numFmt formatCode="General" sourceLinked="1"/>
        <c:majorTickMark val="out"/>
        <c:minorTickMark val="none"/>
        <c:tickLblPos val="nextTo"/>
        <c:crossAx val="852268847"/>
        <c:crosses val="max"/>
        <c:crossBetween val="between"/>
      </c:valAx>
      <c:catAx>
        <c:axId val="852268847"/>
        <c:scaling>
          <c:orientation val="minMax"/>
        </c:scaling>
        <c:delete val="1"/>
        <c:axPos val="b"/>
        <c:numFmt formatCode="General" sourceLinked="1"/>
        <c:majorTickMark val="out"/>
        <c:minorTickMark val="none"/>
        <c:tickLblPos val="nextTo"/>
        <c:crossAx val="1782571136"/>
        <c:crosses val="autoZero"/>
        <c:auto val="1"/>
        <c:lblAlgn val="ctr"/>
        <c:lblOffset val="100"/>
        <c:noMultiLvlLbl val="0"/>
      </c:catAx>
      <c:spPr>
        <a:noFill/>
        <a:ln>
          <a:noFill/>
        </a:ln>
        <a:effectLst/>
      </c:spPr>
    </c:plotArea>
    <c:legend>
      <c:legendPos val="r"/>
      <c:legendEntry>
        <c:idx val="8"/>
        <c:delete val="1"/>
      </c:legendEntry>
      <c:layout>
        <c:manualLayout>
          <c:xMode val="edge"/>
          <c:yMode val="edge"/>
          <c:x val="0.80601496294639507"/>
          <c:y val="0.20295196606995169"/>
          <c:w val="0.16934729966290007"/>
          <c:h val="0.5940960678600966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4</cx:f>
        <cx:lvl ptCount="13">
          <cx:pt idx="0">2016</cx:pt>
          <cx:pt idx="1">LFL2016</cx:pt>
          <cx:pt idx="2">Churn 2016</cx:pt>
          <cx:pt idx="3">New logo 2017</cx:pt>
          <cx:pt idx="4">2017</cx:pt>
          <cx:pt idx="5">LFL2017</cx:pt>
          <cx:pt idx="6">Churn 2017</cx:pt>
          <cx:pt idx="7">New logo 2018</cx:pt>
          <cx:pt idx="8">2018</cx:pt>
          <cx:pt idx="9">LFL2018</cx:pt>
          <cx:pt idx="10">Churn 2018</cx:pt>
          <cx:pt idx="11">New logo 2019</cx:pt>
          <cx:pt idx="12">2019</cx:pt>
        </cx:lvl>
      </cx:strDim>
      <cx:numDim type="val">
        <cx:f>Sheet1!$B$2:$B$14</cx:f>
        <cx:lvl ptCount="13" formatCode="Standard">
          <cx:pt idx="0">36348936.240000002</cx:pt>
          <cx:pt idx="1">998866.91000000236</cx:pt>
          <cx:pt idx="2">-1082836.8599999996</cx:pt>
          <cx:pt idx="3">627442.1100000001</cx:pt>
          <cx:pt idx="4">36892408.399999984</cx:pt>
          <cx:pt idx="5">767541.20000000042</cx:pt>
          <cx:pt idx="6">-1076810.3300000001</cx:pt>
          <cx:pt idx="7">771387.80999999994</cx:pt>
          <cx:pt idx="8">37354527.079999991</cx:pt>
          <cx:pt idx="9">1057257.5699999894</cx:pt>
          <cx:pt idx="10">-1057314.8400000001</cx:pt>
          <cx:pt idx="11">1839049.9900000002</cx:pt>
          <cx:pt idx="12">39193519.799999982</cx:pt>
        </cx:lvl>
      </cx:numDim>
    </cx:data>
  </cx:chartData>
  <cx:chart>
    <cx:plotArea>
      <cx:plotAreaRegion>
        <cx:series layoutId="waterfall" uniqueId="{00000005-8E19-45FF-AA4B-A83094600688}">
          <cx:tx>
            <cx:txData>
              <cx:f>Sheet1!$B$1</cx:f>
              <cx:v>Series1</cx:v>
            </cx:txData>
          </cx:tx>
          <cx:spPr>
            <a:solidFill>
              <a:schemeClr val="accent1"/>
            </a:solidFill>
          </cx:spPr>
          <cx:dataPt idx="0">
            <cx:spPr>
              <a:solidFill>
                <a:srgbClr val="289B38"/>
              </a:solidFill>
            </cx:spPr>
          </cx:dataPt>
          <cx:dataPt idx="1">
            <cx:spPr>
              <a:solidFill>
                <a:srgbClr val="8FCD9F"/>
              </a:solidFill>
            </cx:spPr>
          </cx:dataPt>
          <cx:dataPt idx="3">
            <cx:spPr>
              <a:solidFill>
                <a:srgbClr val="ADD9FD"/>
              </a:solidFill>
            </cx:spPr>
          </cx:dataPt>
          <cx:dataPt idx="4">
            <cx:spPr>
              <a:solidFill>
                <a:srgbClr val="289B38"/>
              </a:solidFill>
            </cx:spPr>
          </cx:dataPt>
          <cx:dataPt idx="5">
            <cx:spPr>
              <a:solidFill>
                <a:srgbClr val="8FCD9F"/>
              </a:solidFill>
            </cx:spPr>
          </cx:dataPt>
          <cx:dataPt idx="7">
            <cx:spPr>
              <a:solidFill>
                <a:srgbClr val="ADD9FD"/>
              </a:solidFill>
            </cx:spPr>
          </cx:dataPt>
          <cx:dataPt idx="8">
            <cx:spPr>
              <a:solidFill>
                <a:srgbClr val="289B38"/>
              </a:solidFill>
            </cx:spPr>
          </cx:dataPt>
          <cx:dataPt idx="9">
            <cx:spPr>
              <a:solidFill>
                <a:srgbClr val="8FCD9F"/>
              </a:solidFill>
            </cx:spPr>
          </cx:dataPt>
          <cx:dataPt idx="11">
            <cx:spPr>
              <a:solidFill>
                <a:srgbClr val="ADD9FD"/>
              </a:solidFill>
            </cx:spPr>
          </cx:dataPt>
          <cx:dataPt idx="12">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00" b="0">
                    <a:solidFill>
                      <a:schemeClr val="tx1"/>
                    </a:solidFill>
                  </a:defRPr>
                </a:pPr>
                <a:endParaRPr lang="en-US" sz="1000" b="0" i="0" u="none" strike="noStrike" baseline="0">
                  <a:solidFill>
                    <a:schemeClr val="tx1"/>
                  </a:solidFill>
                  <a:latin typeface="Trebuchet MS"/>
                </a:endParaRPr>
              </a:p>
            </cx:txPr>
            <cx:visibility seriesName="0" categoryName="0" value="1"/>
            <cx:separator>, </cx:separator>
          </cx:dataLabels>
          <cx:dataId val="0"/>
          <cx:layoutPr>
            <cx:subtotals>
              <cx:idx val="4"/>
              <cx:idx val="8"/>
              <cx:idx val="12"/>
            </cx:subtotals>
          </cx:layoutPr>
        </cx:series>
      </cx:plotAreaRegion>
      <cx:axis id="0">
        <cx:catScaling gapWidth="0.5"/>
        <cx:tickLabels/>
        <cx:txPr>
          <a:bodyPr spcFirstLastPara="1" vertOverflow="ellipsis" horzOverflow="overflow" wrap="square" lIns="0" tIns="0" rIns="0" bIns="0" anchor="ctr" anchorCtr="1"/>
          <a:lstStyle/>
          <a:p>
            <a:pPr algn="ctr" rtl="0">
              <a:defRPr sz="900">
                <a:solidFill>
                  <a:schemeClr val="tx1"/>
                </a:solidFill>
              </a:defRPr>
            </a:pPr>
            <a:endParaRPr lang="en-US" sz="900" b="0" i="0" u="none" strike="noStrike" baseline="0">
              <a:solidFill>
                <a:schemeClr val="tx1"/>
              </a:solidFill>
              <a:latin typeface="Trebuchet MS"/>
            </a:endParaRPr>
          </a:p>
        </cx:txPr>
      </cx:axis>
      <cx:axis id="1" hidden="1">
        <cx:valScaling max="45000000"/>
        <cx:units unit="millions"/>
        <cx:tickLabels/>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axis>
    </cx:plotArea>
  </cx:chart>
  <cx:spPr>
    <a:solidFill>
      <a:schemeClr val="bg1"/>
    </a:solidFill>
  </cx:spPr>
</cx:chartSpace>
</file>

<file path=ppt/charts/chartEx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4</cx:f>
        <cx:lvl ptCount="13">
          <cx:pt idx="0">2016</cx:pt>
          <cx:pt idx="1">LFL2016</cx:pt>
          <cx:pt idx="2">Churn 2016</cx:pt>
          <cx:pt idx="3">New logo 2017</cx:pt>
          <cx:pt idx="4">2017</cx:pt>
          <cx:pt idx="5">LFL2017</cx:pt>
          <cx:pt idx="6">Churn 2017</cx:pt>
          <cx:pt idx="7">New logo 2018</cx:pt>
          <cx:pt idx="8">2018</cx:pt>
          <cx:pt idx="9">LFL2018</cx:pt>
          <cx:pt idx="10">Churn 2018</cx:pt>
          <cx:pt idx="11">New logo 2019</cx:pt>
          <cx:pt idx="12">2019</cx:pt>
        </cx:lvl>
      </cx:strDim>
      <cx:numDim type="val">
        <cx:f>Sheet1!$B$2:$B$14</cx:f>
        <cx:lvl ptCount="13" formatCode="Standard">
          <cx:pt idx="0">1201978.6099999999</cx:pt>
          <cx:pt idx="1">585446.66000000003</cx:pt>
          <cx:pt idx="2">-37445</cx:pt>
          <cx:pt idx="3">1753865.1600000001</cx:pt>
          <cx:pt idx="4">3503845.4300000002</cx:pt>
          <cx:pt idx="5">233454.1400000001</cx:pt>
          <cx:pt idx="6">-70452.020000000004</cx:pt>
          <cx:pt idx="7">1311048.5999999999</cx:pt>
          <cx:pt idx="8">4977896.1500000004</cx:pt>
          <cx:pt idx="9">603563.95000000007</cx:pt>
          <cx:pt idx="10">-33429.459999999999</cx:pt>
          <cx:pt idx="11">1689522.6899999999</cx:pt>
          <cx:pt idx="12">7237553.3300000001</cx:pt>
        </cx:lvl>
      </cx:numDim>
    </cx:data>
  </cx:chartData>
  <cx:chart>
    <cx:plotArea>
      <cx:plotAreaRegion>
        <cx:series layoutId="waterfall" uniqueId="{00000005-8E19-45FF-AA4B-A83094600688}">
          <cx:tx>
            <cx:txData>
              <cx:f>Sheet1!$B$1</cx:f>
              <cx:v>Series1</cx:v>
            </cx:txData>
          </cx:tx>
          <cx:spPr>
            <a:solidFill>
              <a:schemeClr val="accent1"/>
            </a:solidFill>
          </cx:spPr>
          <cx:dataPt idx="0">
            <cx:spPr>
              <a:solidFill>
                <a:srgbClr val="289B38"/>
              </a:solidFill>
            </cx:spPr>
          </cx:dataPt>
          <cx:dataPt idx="1">
            <cx:spPr>
              <a:solidFill>
                <a:srgbClr val="8FCD9F"/>
              </a:solidFill>
            </cx:spPr>
          </cx:dataPt>
          <cx:dataPt idx="3">
            <cx:spPr>
              <a:solidFill>
                <a:srgbClr val="ADD9FD"/>
              </a:solidFill>
            </cx:spPr>
          </cx:dataPt>
          <cx:dataPt idx="4">
            <cx:spPr>
              <a:solidFill>
                <a:srgbClr val="289B38"/>
              </a:solidFill>
            </cx:spPr>
          </cx:dataPt>
          <cx:dataPt idx="5">
            <cx:spPr>
              <a:solidFill>
                <a:srgbClr val="8FCD9F"/>
              </a:solidFill>
            </cx:spPr>
          </cx:dataPt>
          <cx:dataPt idx="7">
            <cx:spPr>
              <a:solidFill>
                <a:srgbClr val="ADD9FD"/>
              </a:solidFill>
            </cx:spPr>
          </cx:dataPt>
          <cx:dataPt idx="8">
            <cx:spPr>
              <a:solidFill>
                <a:srgbClr val="289B38"/>
              </a:solidFill>
            </cx:spPr>
          </cx:dataPt>
          <cx:dataPt idx="9">
            <cx:spPr>
              <a:solidFill>
                <a:srgbClr val="8FCD9F"/>
              </a:solidFill>
            </cx:spPr>
          </cx:dataPt>
          <cx:dataPt idx="11">
            <cx:spPr>
              <a:solidFill>
                <a:srgbClr val="ADD9FD"/>
              </a:solidFill>
            </cx:spPr>
          </cx:dataPt>
          <cx:dataPt idx="12">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visibility seriesName="0" categoryName="0" value="1"/>
            <cx:separator>, </cx:separator>
          </cx:dataLabels>
          <cx:dataId val="0"/>
          <cx:layoutPr>
            <cx:subtotals>
              <cx:idx val="0"/>
              <cx:idx val="4"/>
              <cx:idx val="8"/>
              <cx:idx val="12"/>
            </cx:subtotals>
          </cx:layoutPr>
        </cx:series>
      </cx:plotAreaRegion>
      <cx:axis id="0">
        <cx:catScaling gapWidth="0.5"/>
        <cx:tickLabels/>
        <cx:txPr>
          <a:bodyPr spcFirstLastPara="1" vertOverflow="ellipsis" horzOverflow="overflow" wrap="square" lIns="0" tIns="0" rIns="0" bIns="0" anchor="ctr" anchorCtr="1"/>
          <a:lstStyle/>
          <a:p>
            <a:pPr algn="ctr" rtl="0">
              <a:defRPr sz="900">
                <a:solidFill>
                  <a:schemeClr val="tx1"/>
                </a:solidFill>
              </a:defRPr>
            </a:pPr>
            <a:endParaRPr lang="en-US" sz="900" b="0" i="0" u="none" strike="noStrike" baseline="0">
              <a:solidFill>
                <a:schemeClr val="tx1"/>
              </a:solidFill>
              <a:latin typeface="Trebuchet MS"/>
            </a:endParaRPr>
          </a:p>
        </cx:txPr>
      </cx:axis>
      <cx:axis id="1" hidden="1">
        <cx:valScaling/>
        <cx:units unit="millions"/>
        <cx:tickLabels/>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axis>
    </cx:plotArea>
  </cx:chart>
  <cx:spPr>
    <a:solidFill>
      <a:schemeClr val="bg1"/>
    </a:solidFill>
  </cx:spPr>
</cx:chartSpace>
</file>

<file path=ppt/charts/chartEx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2017</cx:pt>
          <cx:pt idx="1">LFL2017</cx:pt>
          <cx:pt idx="2">Churn 2017</cx:pt>
          <cx:pt idx="3">New business 2018</cx:pt>
          <cx:pt idx="4">2018</cx:pt>
          <cx:pt idx="5">LFL2018</cx:pt>
          <cx:pt idx="6">Churn 2018</cx:pt>
          <cx:pt idx="7">New business 2019</cx:pt>
          <cx:pt idx="8">2019</cx:pt>
        </cx:lvl>
      </cx:strDim>
      <cx:numDim type="val">
        <cx:f>Sheet1!$B$2:$B$10</cx:f>
        <cx:lvl ptCount="9" formatCode="Standard">
          <cx:pt idx="0">3093350.2199999997</cx:pt>
          <cx:pt idx="1">-172383.91999999981</cx:pt>
          <cx:pt idx="2">-258104.79999999999</cx:pt>
          <cx:pt idx="3">592028.88000000012</cx:pt>
          <cx:pt idx="4">3254890.3799999999</cx:pt>
          <cx:pt idx="5">813683.43999999994</cx:pt>
          <cx:pt idx="6">-148679.51000000001</cx:pt>
          <cx:pt idx="7">2608482.3620000002</cx:pt>
          <cx:pt idx="8">6528376.6720000003</cx:pt>
        </cx:lvl>
      </cx:numDim>
    </cx:data>
  </cx:chartData>
  <cx:chart>
    <cx:plotArea>
      <cx:plotAreaRegion>
        <cx:series layoutId="waterfall" uniqueId="{6A33849D-0DE8-418F-84E6-DBA5FB23841F}">
          <cx:tx>
            <cx:txData>
              <cx:f>Sheet1!$B$1</cx:f>
              <cx:v>Series1</cx:v>
            </cx:txData>
          </cx:tx>
          <cx:spPr>
            <a:solidFill>
              <a:schemeClr val="accent1"/>
            </a:solidFill>
          </cx:spPr>
          <cx:dataPt idx="0">
            <cx:spPr>
              <a:solidFill>
                <a:srgbClr val="289B38"/>
              </a:solidFill>
            </cx:spPr>
          </cx:dataPt>
          <cx:dataPt idx="1">
            <cx:spPr>
              <a:solidFill>
                <a:srgbClr val="8FCD9F"/>
              </a:solidFill>
            </cx:spPr>
          </cx:dataPt>
          <cx:dataPt idx="3">
            <cx:spPr>
              <a:solidFill>
                <a:srgbClr val="ADD9FD"/>
              </a:solidFill>
            </cx:spPr>
          </cx:dataPt>
          <cx:dataPt idx="4">
            <cx:spPr>
              <a:solidFill>
                <a:srgbClr val="289B38"/>
              </a:solidFill>
            </cx:spPr>
          </cx:dataPt>
          <cx:dataPt idx="5">
            <cx:spPr>
              <a:solidFill>
                <a:srgbClr val="8FCD9F"/>
              </a:solidFill>
            </cx:spPr>
          </cx:dataPt>
          <cx:dataPt idx="7">
            <cx:spPr>
              <a:solidFill>
                <a:srgbClr val="ADD9FD"/>
              </a:solidFill>
            </cx:spPr>
          </cx:dataPt>
          <cx:dataPt idx="8">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visibility seriesName="0" categoryName="0" value="1"/>
            <cx:separator>, </cx:separator>
          </cx:dataLabels>
          <cx:dataId val="0"/>
          <cx:layoutPr>
            <cx:subtotals>
              <cx:idx val="0"/>
              <cx:idx val="4"/>
              <cx:idx val="8"/>
            </cx:subtotals>
          </cx:layoutPr>
        </cx:series>
      </cx:plotAreaRegion>
      <cx:axis id="0">
        <cx:catScaling gapWidth="0.5"/>
        <cx:tickLabels/>
        <cx:txPr>
          <a:bodyPr spcFirstLastPara="1" vertOverflow="ellipsis" horzOverflow="overflow" wrap="square" lIns="0" tIns="0" rIns="0" bIns="0" anchor="ctr" anchorCtr="1"/>
          <a:lstStyle/>
          <a:p>
            <a:pPr algn="ctr" rtl="0">
              <a:defRPr sz="900">
                <a:solidFill>
                  <a:schemeClr val="tx1"/>
                </a:solidFill>
              </a:defRPr>
            </a:pPr>
            <a:endParaRPr lang="en-US" sz="900" b="0" i="0" u="none" strike="noStrike" baseline="0">
              <a:solidFill>
                <a:schemeClr val="tx1"/>
              </a:solidFill>
              <a:latin typeface="Trebuchet MS"/>
            </a:endParaRPr>
          </a:p>
        </cx:txPr>
      </cx:axis>
      <cx:axis id="1" hidden="1">
        <cx:valScaling/>
        <cx:units unit="millions"/>
        <cx:tickLabels/>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axis>
    </cx:plotArea>
  </cx:chart>
  <cx:spPr>
    <a:solidFill>
      <a:schemeClr val="bg1"/>
    </a:solidFill>
  </cx:spPr>
</cx:chartSpace>
</file>

<file path=ppt/charts/chartEx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Feuil1!$A$2:$A$12</cx:f>
        <cx:lvl ptCount="11">
          <cx:pt idx="0">2020</cx:pt>
          <cx:pt idx="1">Risk FR</cx:pt>
          <cx:pt idx="2">Risk BNL</cx:pt>
          <cx:pt idx="3">Compliance FR</cx:pt>
          <cx:pt idx="4">Compliance BNL</cx:pt>
          <cx:pt idx="5">B2B Marketing FR</cx:pt>
          <cx:pt idx="6">B2B Marketing BNL</cx:pt>
          <cx:pt idx="7">Maghreb</cx:pt>
          <cx:pt idx="8">DBI/WWN</cx:pt>
          <cx:pt idx="9">Interco elim.</cx:pt>
          <cx:pt idx="10">2025F</cx:pt>
        </cx:lvl>
      </cx:strDim>
      <cx:numDim type="val">
        <cx:f>Feuil1!$B$2:$B$12</cx:f>
        <cx:lvl ptCount="11" formatCode="0,0">
          <cx:pt idx="0">115.15764284805213</cx:pt>
          <cx:pt idx="1">2.7068726969985768</cx:pt>
          <cx:pt idx="2">5.0854675990493092</cx:pt>
          <cx:pt idx="3">5.3592547783551296</cx:pt>
          <cx:pt idx="4">7.5451584677369636</cx:pt>
          <cx:pt idx="5">7.061625855532105</cx:pt>
          <cx:pt idx="6">2.8664274160306809</cx:pt>
          <cx:pt idx="7">0.47290265486725702</cx:pt>
          <cx:pt idx="8">5.1532110260304549</cx:pt>
          <cx:pt idx="9">-0.71077866071756679</cx:pt>
          <cx:pt idx="10">150.69778468193502</cx:pt>
        </cx:lvl>
      </cx:numDim>
    </cx:data>
  </cx:chartData>
  <cx:chart>
    <cx:plotArea>
      <cx:plotAreaRegion>
        <cx:series layoutId="waterfall" uniqueId="{547FB0BD-09E7-460C-8CEC-962170817518}">
          <cx:spPr>
            <a:solidFill>
              <a:schemeClr val="accent1">
                <a:lumMod val="75000"/>
              </a:schemeClr>
            </a:solidFill>
          </cx:spPr>
          <cx:dataPt idx="0">
            <cx:spPr>
              <a:solidFill>
                <a:srgbClr val="6C6C6C"/>
              </a:solidFill>
            </cx:spPr>
          </cx:dataPt>
          <cx:dataPt idx="3">
            <cx:spPr>
              <a:solidFill>
                <a:srgbClr val="00A3E2"/>
              </a:solidFill>
            </cx:spPr>
          </cx:dataPt>
          <cx:dataPt idx="4">
            <cx:spPr>
              <a:solidFill>
                <a:srgbClr val="00A3E2"/>
              </a:solidFill>
            </cx:spPr>
          </cx:dataPt>
          <cx:dataPt idx="5">
            <cx:spPr>
              <a:solidFill>
                <a:srgbClr val="ADD9FD">
                  <a:lumMod val="90000"/>
                </a:srgbClr>
              </a:solidFill>
            </cx:spPr>
          </cx:dataPt>
          <cx:dataPt idx="6">
            <cx:spPr>
              <a:solidFill>
                <a:srgbClr val="ADD9FD">
                  <a:lumMod val="90000"/>
                </a:srgbClr>
              </a:solidFill>
            </cx:spPr>
          </cx:dataPt>
          <cx:dataPt idx="7">
            <cx:spPr>
              <a:solidFill>
                <a:srgbClr val="8FCD9F"/>
              </a:solidFill>
            </cx:spPr>
          </cx:dataPt>
          <cx:dataPt idx="8">
            <cx:spPr>
              <a:solidFill>
                <a:srgbClr val="8FCD9F"/>
              </a:solidFill>
            </cx:spPr>
          </cx:dataPt>
          <cx:dataPt idx="9">
            <cx:spPr>
              <a:solidFill>
                <a:srgbClr val="8FCD9F"/>
              </a:solidFill>
            </cx:spPr>
          </cx:dataPt>
          <cx:dataPt idx="10">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50" b="1"/>
                </a:pPr>
                <a:endParaRPr lang="fr-FR" sz="1050" b="1" i="0" u="none" strike="noStrike" baseline="0">
                  <a:solidFill>
                    <a:srgbClr val="6C6C6C">
                      <a:lumMod val="65000"/>
                      <a:lumOff val="35000"/>
                    </a:srgbClr>
                  </a:solidFill>
                  <a:latin typeface="Trebuchet MS"/>
                </a:endParaRPr>
              </a:p>
            </cx:txPr>
            <cx:visibility seriesName="0" categoryName="0" value="1"/>
            <cx:separator>, </cx:separator>
            <cx:dataLabel idx="8">
              <cx:numFmt formatCode="# ##0.0" sourceLinked="0"/>
              <cx:txPr>
                <a:bodyPr spcFirstLastPara="1" vertOverflow="ellipsis" horzOverflow="overflow" wrap="square" lIns="0" tIns="0" rIns="0" bIns="0" anchor="ctr" anchorCtr="1"/>
                <a:lstStyle/>
                <a:p>
                  <a:pPr algn="ctr" rtl="0">
                    <a:defRPr sz="1050"/>
                  </a:pPr>
                  <a:r>
                    <a:rPr lang="fr-FR" sz="1050" b="1" i="0" u="none" strike="noStrike" baseline="0">
                      <a:solidFill>
                        <a:srgbClr val="6C6C6C">
                          <a:lumMod val="65000"/>
                          <a:lumOff val="35000"/>
                        </a:srgbClr>
                      </a:solidFill>
                      <a:latin typeface="Trebuchet MS"/>
                    </a:rPr>
                    <a:t>5.2</a:t>
                  </a:r>
                </a:p>
              </cx:txPr>
              <cx:visibility seriesName="0" categoryName="0" value="1"/>
              <cx:separator>, </cx:separator>
            </cx:dataLabel>
            <cx:dataLabel idx="9">
              <cx:numFmt formatCode="# ##0.0" sourceLinked="0"/>
              <cx:txPr>
                <a:bodyPr spcFirstLastPara="1" vertOverflow="ellipsis" horzOverflow="overflow" wrap="square" lIns="0" tIns="0" rIns="0" bIns="0" anchor="ctr" anchorCtr="1"/>
                <a:lstStyle/>
                <a:p>
                  <a:pPr algn="ctr" rtl="0">
                    <a:defRPr sz="1050"/>
                  </a:pPr>
                  <a:r>
                    <a:rPr lang="fr-FR" sz="1050" b="1" i="0" u="none" strike="noStrike" baseline="0">
                      <a:solidFill>
                        <a:srgbClr val="6C6C6C">
                          <a:lumMod val="65000"/>
                          <a:lumOff val="35000"/>
                        </a:srgbClr>
                      </a:solidFill>
                      <a:latin typeface="Trebuchet MS"/>
                    </a:rPr>
                    <a:t>-0.7</a:t>
                  </a:r>
                </a:p>
              </cx:txPr>
              <cx:visibility seriesName="0" categoryName="0" value="1"/>
              <cx:separator>, </cx:separator>
            </cx:dataLabel>
          </cx:dataLabels>
          <cx:dataId val="0"/>
          <cx:layoutPr>
            <cx:subtotals>
              <cx:idx val="10"/>
            </cx:subtotals>
          </cx:layoutPr>
        </cx:series>
      </cx:plotAreaRegion>
      <cx:axis id="0">
        <cx:catScaling gapWidth="0.5"/>
        <cx:tickLabels/>
        <cx:txPr>
          <a:bodyPr spcFirstLastPara="1" vertOverflow="ellipsis" horzOverflow="overflow" wrap="square" lIns="0" tIns="0" rIns="0" bIns="0" anchor="ctr" anchorCtr="1"/>
          <a:lstStyle/>
          <a:p>
            <a:pPr algn="ctr" rtl="0">
              <a:defRPr sz="900" b="1" i="1"/>
            </a:pPr>
            <a:endParaRPr lang="fr-FR" sz="900" b="1" i="1" u="none" strike="noStrike" baseline="0">
              <a:solidFill>
                <a:srgbClr val="6C6C6C">
                  <a:lumMod val="65000"/>
                  <a:lumOff val="35000"/>
                </a:srgbClr>
              </a:solidFill>
              <a:latin typeface="Trebuchet MS"/>
            </a:endParaRPr>
          </a:p>
        </cx:txPr>
      </cx:axis>
      <cx:axis id="1" hidden="1">
        <cx:valScaling max="160" min="100"/>
        <cx:majorGridlines/>
        <cx:tickLabels/>
      </cx:axis>
    </cx:plotArea>
  </cx:chart>
</cx:chartSpace>
</file>

<file path=ppt/charts/chartEx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Feuil1!$A$2:$A$12</cx:f>
        <cx:lvl ptCount="11">
          <cx:pt idx="0">2020</cx:pt>
          <cx:pt idx="1">Risk FR</cx:pt>
          <cx:pt idx="2">Risk BNL</cx:pt>
          <cx:pt idx="3">Compliance FR</cx:pt>
          <cx:pt idx="4">Compliance BNL</cx:pt>
          <cx:pt idx="5">B2B Marketing FR</cx:pt>
          <cx:pt idx="6">B2B Marketing BNL</cx:pt>
          <cx:pt idx="7">Maghreb</cx:pt>
          <cx:pt idx="8">DBI/WWN</cx:pt>
          <cx:pt idx="9">Interco elim.</cx:pt>
          <cx:pt idx="10">2025F</cx:pt>
        </cx:lvl>
      </cx:strDim>
      <cx:numDim type="val">
        <cx:f>Feuil1!$B$2:$B$12</cx:f>
        <cx:lvl ptCount="11" formatCode="0,0">
          <cx:pt idx="0">115.15764284805213</cx:pt>
          <cx:pt idx="1">2.7068726969985768</cx:pt>
          <cx:pt idx="2">5.0854675990493092</cx:pt>
          <cx:pt idx="3">5.3592547783551296</cx:pt>
          <cx:pt idx="4">7.5451584677369636</cx:pt>
          <cx:pt idx="5">7.061625855532105</cx:pt>
          <cx:pt idx="6">2.8664274160306809</cx:pt>
          <cx:pt idx="7">0.47290265486725702</cx:pt>
          <cx:pt idx="8">5.1532110260304549</cx:pt>
          <cx:pt idx="9">-0.71077866071756679</cx:pt>
          <cx:pt idx="10">150.69778468193502</cx:pt>
        </cx:lvl>
      </cx:numDim>
    </cx:data>
  </cx:chartData>
  <cx:chart>
    <cx:plotArea>
      <cx:plotAreaRegion>
        <cx:series layoutId="waterfall" uniqueId="{547FB0BD-09E7-460C-8CEC-962170817518}">
          <cx:spPr>
            <a:solidFill>
              <a:schemeClr val="accent1">
                <a:lumMod val="75000"/>
              </a:schemeClr>
            </a:solidFill>
          </cx:spPr>
          <cx:dataPt idx="0">
            <cx:spPr>
              <a:solidFill>
                <a:srgbClr val="6C6C6C"/>
              </a:solidFill>
            </cx:spPr>
          </cx:dataPt>
          <cx:dataPt idx="3">
            <cx:spPr>
              <a:solidFill>
                <a:srgbClr val="00A3E2"/>
              </a:solidFill>
            </cx:spPr>
          </cx:dataPt>
          <cx:dataPt idx="4">
            <cx:spPr>
              <a:solidFill>
                <a:srgbClr val="00A3E2"/>
              </a:solidFill>
            </cx:spPr>
          </cx:dataPt>
          <cx:dataPt idx="5">
            <cx:spPr>
              <a:solidFill>
                <a:srgbClr val="ADD9FD">
                  <a:lumMod val="90000"/>
                </a:srgbClr>
              </a:solidFill>
            </cx:spPr>
          </cx:dataPt>
          <cx:dataPt idx="6">
            <cx:spPr>
              <a:solidFill>
                <a:srgbClr val="ADD9FD">
                  <a:lumMod val="90000"/>
                </a:srgbClr>
              </a:solidFill>
            </cx:spPr>
          </cx:dataPt>
          <cx:dataPt idx="7">
            <cx:spPr>
              <a:solidFill>
                <a:srgbClr val="8FCD9F"/>
              </a:solidFill>
            </cx:spPr>
          </cx:dataPt>
          <cx:dataPt idx="8">
            <cx:spPr>
              <a:solidFill>
                <a:srgbClr val="8FCD9F"/>
              </a:solidFill>
            </cx:spPr>
          </cx:dataPt>
          <cx:dataPt idx="9">
            <cx:spPr>
              <a:solidFill>
                <a:srgbClr val="8FCD9F"/>
              </a:solidFill>
            </cx:spPr>
          </cx:dataPt>
          <cx:dataPt idx="10">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50" b="1"/>
                </a:pPr>
                <a:endParaRPr lang="fr-FR" sz="1050" b="1" i="0" u="none" strike="noStrike" baseline="0">
                  <a:solidFill>
                    <a:srgbClr val="6C6C6C">
                      <a:lumMod val="65000"/>
                      <a:lumOff val="35000"/>
                    </a:srgbClr>
                  </a:solidFill>
                  <a:latin typeface="Trebuchet MS"/>
                </a:endParaRPr>
              </a:p>
            </cx:txPr>
            <cx:visibility seriesName="0" categoryName="0" value="1"/>
            <cx:separator>, </cx:separator>
            <cx:dataLabel idx="8">
              <cx:numFmt formatCode="# ##0.0" sourceLinked="0"/>
              <cx:txPr>
                <a:bodyPr spcFirstLastPara="1" vertOverflow="ellipsis" horzOverflow="overflow" wrap="square" lIns="0" tIns="0" rIns="0" bIns="0" anchor="ctr" anchorCtr="1"/>
                <a:lstStyle/>
                <a:p>
                  <a:pPr algn="ctr" rtl="0">
                    <a:defRPr sz="1050"/>
                  </a:pPr>
                  <a:r>
                    <a:rPr lang="fr-FR" sz="1050" b="1" i="0" u="none" strike="noStrike" baseline="0">
                      <a:solidFill>
                        <a:srgbClr val="6C6C6C">
                          <a:lumMod val="65000"/>
                          <a:lumOff val="35000"/>
                        </a:srgbClr>
                      </a:solidFill>
                      <a:latin typeface="Trebuchet MS"/>
                    </a:rPr>
                    <a:t>0.5</a:t>
                  </a:r>
                </a:p>
              </cx:txPr>
              <cx:visibility seriesName="0" categoryName="0" value="1"/>
              <cx:separator>, </cx:separator>
            </cx:dataLabel>
            <cx:dataLabel idx="9">
              <cx:numFmt formatCode="# ##0.0" sourceLinked="0"/>
              <cx:txPr>
                <a:bodyPr spcFirstLastPara="1" vertOverflow="ellipsis" horzOverflow="overflow" wrap="square" lIns="0" tIns="0" rIns="0" bIns="0" anchor="ctr" anchorCtr="1"/>
                <a:lstStyle/>
                <a:p>
                  <a:pPr algn="ctr" rtl="0">
                    <a:defRPr sz="1050"/>
                  </a:pPr>
                  <a:r>
                    <a:rPr lang="fr-FR" sz="1050" b="1" i="0" u="none" strike="noStrike" baseline="0">
                      <a:solidFill>
                        <a:srgbClr val="6C6C6C">
                          <a:lumMod val="65000"/>
                          <a:lumOff val="35000"/>
                        </a:srgbClr>
                      </a:solidFill>
                      <a:latin typeface="Trebuchet MS"/>
                    </a:rPr>
                    <a:t>-0.1</a:t>
                  </a:r>
                </a:p>
              </cx:txPr>
              <cx:visibility seriesName="0" categoryName="0" value="1"/>
              <cx:separator>, </cx:separator>
            </cx:dataLabel>
          </cx:dataLabels>
          <cx:dataId val="0"/>
          <cx:layoutPr>
            <cx:subtotals>
              <cx:idx val="10"/>
            </cx:subtotals>
          </cx:layoutPr>
        </cx:series>
      </cx:plotAreaRegion>
      <cx:axis id="0">
        <cx:catScaling gapWidth="0.5"/>
        <cx:tickLabels/>
        <cx:txPr>
          <a:bodyPr spcFirstLastPara="1" vertOverflow="ellipsis" horzOverflow="overflow" wrap="square" lIns="0" tIns="0" rIns="0" bIns="0" anchor="ctr" anchorCtr="1"/>
          <a:lstStyle/>
          <a:p>
            <a:pPr algn="ctr" rtl="0">
              <a:defRPr sz="900" b="1" i="1"/>
            </a:pPr>
            <a:endParaRPr lang="fr-FR" sz="900" b="1" i="1" u="none" strike="noStrike" baseline="0">
              <a:solidFill>
                <a:srgbClr val="6C6C6C">
                  <a:lumMod val="65000"/>
                  <a:lumOff val="35000"/>
                </a:srgbClr>
              </a:solidFill>
              <a:latin typeface="Trebuchet MS"/>
            </a:endParaRPr>
          </a:p>
        </cx:txPr>
      </cx:axis>
      <cx:axis id="1" hidden="1">
        <cx:valScaling max="160" min="100"/>
        <cx:majorGridlines/>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2017</cx:pt>
          <cx:pt idx="1">LFL2017</cx:pt>
          <cx:pt idx="2">Churn 2017</cx:pt>
          <cx:pt idx="3">New business 2018</cx:pt>
          <cx:pt idx="4">2018</cx:pt>
          <cx:pt idx="5">LFL2018</cx:pt>
          <cx:pt idx="6">Churn 2018</cx:pt>
          <cx:pt idx="7">New business 2019</cx:pt>
          <cx:pt idx="8">2019</cx:pt>
        </cx:lvl>
      </cx:strDim>
      <cx:numDim type="val">
        <cx:f>Sheet1!$B$2:$B$10</cx:f>
        <cx:lvl ptCount="9" formatCode="Standard">
          <cx:pt idx="0">46595281.666988768</cx:pt>
          <cx:pt idx="1">-179379.03365927943</cx:pt>
          <cx:pt idx="2">-1594399.8500000027</cx:pt>
          <cx:pt idx="3">1586508.0100000023</cx:pt>
          <cx:pt idx="4">46408010.793329492</cx:pt>
          <cx:pt idx="5">-1162347.5600000001</cx:pt>
          <cx:pt idx="6">-2940496.1233294415</cx:pt>
          <cx:pt idx="7">4009661.6653333376</cx:pt>
          <cx:pt idx="8">46314828.77533339</cx:pt>
        </cx:lvl>
      </cx:numDim>
    </cx:data>
  </cx:chartData>
  <cx:chart>
    <cx:plotArea>
      <cx:plotAreaRegion>
        <cx:series layoutId="waterfall" uniqueId="{6A33849D-0DE8-418F-84E6-DBA5FB23841F}">
          <cx:tx>
            <cx:txData>
              <cx:f>Sheet1!$B$1</cx:f>
              <cx:v>Series1</cx:v>
            </cx:txData>
          </cx:tx>
          <cx:spPr>
            <a:solidFill>
              <a:schemeClr val="accent1"/>
            </a:solidFill>
          </cx:spPr>
          <cx:dataPt idx="0">
            <cx:spPr>
              <a:solidFill>
                <a:srgbClr val="289B38"/>
              </a:solidFill>
            </cx:spPr>
          </cx:dataPt>
          <cx:dataPt idx="1">
            <cx:spPr>
              <a:solidFill>
                <a:srgbClr val="8FCD9F"/>
              </a:solidFill>
            </cx:spPr>
          </cx:dataPt>
          <cx:dataPt idx="3">
            <cx:spPr>
              <a:solidFill>
                <a:srgbClr val="ADD9FD"/>
              </a:solidFill>
            </cx:spPr>
          </cx:dataPt>
          <cx:dataPt idx="4">
            <cx:spPr>
              <a:solidFill>
                <a:srgbClr val="289B38"/>
              </a:solidFill>
            </cx:spPr>
          </cx:dataPt>
          <cx:dataPt idx="5">
            <cx:spPr>
              <a:solidFill>
                <a:srgbClr val="8FCD9F"/>
              </a:solidFill>
            </cx:spPr>
          </cx:dataPt>
          <cx:dataPt idx="7">
            <cx:spPr>
              <a:solidFill>
                <a:srgbClr val="ADD9FD"/>
              </a:solidFill>
            </cx:spPr>
          </cx:dataPt>
          <cx:dataPt idx="8">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visibility seriesName="0" categoryName="0" value="1"/>
            <cx:separator>, </cx:separator>
          </cx:dataLabels>
          <cx:dataId val="0"/>
          <cx:layoutPr>
            <cx:subtotals>
              <cx:idx val="0"/>
              <cx:idx val="4"/>
              <cx:idx val="8"/>
            </cx:subtotals>
          </cx:layoutPr>
        </cx:series>
      </cx:plotAreaRegion>
      <cx:axis id="0">
        <cx:catScaling gapWidth="0.5"/>
        <cx:tickLabels/>
        <cx:txPr>
          <a:bodyPr spcFirstLastPara="1" vertOverflow="ellipsis" horzOverflow="overflow" wrap="square" lIns="0" tIns="0" rIns="0" bIns="0" anchor="ctr" anchorCtr="1"/>
          <a:lstStyle/>
          <a:p>
            <a:pPr algn="ctr" rtl="0">
              <a:defRPr sz="900">
                <a:solidFill>
                  <a:schemeClr val="tx1"/>
                </a:solidFill>
              </a:defRPr>
            </a:pPr>
            <a:endParaRPr lang="en-US" sz="900" b="0" i="0" u="none" strike="noStrike" baseline="0">
              <a:solidFill>
                <a:schemeClr val="tx1"/>
              </a:solidFill>
              <a:latin typeface="Trebuchet MS"/>
            </a:endParaRPr>
          </a:p>
        </cx:txPr>
      </cx:axis>
      <cx:axis id="1" hidden="1">
        <cx:valScaling max="55000000"/>
        <cx:units unit="millions"/>
        <cx:tickLabels/>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axis>
    </cx:plotArea>
  </cx:chart>
  <cx:spPr>
    <a:solidFill>
      <a:schemeClr val="bg1"/>
    </a:solidFill>
  </cx:spPr>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Feuil1!$A$2:$A$12</cx:f>
        <cx:lvl ptCount="11">
          <cx:pt idx="0">2020</cx:pt>
          <cx:pt idx="1">Risk FR</cx:pt>
          <cx:pt idx="2">Risk BNL</cx:pt>
          <cx:pt idx="3">Compliance FR</cx:pt>
          <cx:pt idx="4">Compliance BNL</cx:pt>
          <cx:pt idx="5">B2B Marketing FR</cx:pt>
          <cx:pt idx="6">B2B Marketing BNL</cx:pt>
          <cx:pt idx="7">Maghreb</cx:pt>
          <cx:pt idx="8">DBI/WWN</cx:pt>
          <cx:pt idx="9">Interco elim.</cx:pt>
          <cx:pt idx="10">2025F</cx:pt>
        </cx:lvl>
      </cx:strDim>
      <cx:numDim type="val">
        <cx:f>Feuil1!$B$2:$B$12</cx:f>
        <cx:lvl ptCount="11" formatCode="0,0">
          <cx:pt idx="0">115.15764284805213</cx:pt>
          <cx:pt idx="1">2.7068726969985768</cx:pt>
          <cx:pt idx="2">5.0854675990493092</cx:pt>
          <cx:pt idx="3">5.3592547783551296</cx:pt>
          <cx:pt idx="4">7.5451584677369636</cx:pt>
          <cx:pt idx="5">7.061625855532105</cx:pt>
          <cx:pt idx="6">2.8664274160306809</cx:pt>
          <cx:pt idx="7">0.47290265486725702</cx:pt>
          <cx:pt idx="8">5.1532110260304549</cx:pt>
          <cx:pt idx="9">-0.71077866071756679</cx:pt>
          <cx:pt idx="10">150.69778468193502</cx:pt>
        </cx:lvl>
      </cx:numDim>
    </cx:data>
  </cx:chartData>
  <cx:chart>
    <cx:plotArea>
      <cx:plotAreaRegion>
        <cx:series layoutId="waterfall" uniqueId="{547FB0BD-09E7-460C-8CEC-962170817518}">
          <cx:spPr>
            <a:solidFill>
              <a:schemeClr val="accent1">
                <a:lumMod val="75000"/>
              </a:schemeClr>
            </a:solidFill>
          </cx:spPr>
          <cx:dataPt idx="0">
            <cx:spPr>
              <a:solidFill>
                <a:srgbClr val="6C6C6C"/>
              </a:solidFill>
            </cx:spPr>
          </cx:dataPt>
          <cx:dataPt idx="3">
            <cx:spPr>
              <a:solidFill>
                <a:srgbClr val="00A3E2"/>
              </a:solidFill>
            </cx:spPr>
          </cx:dataPt>
          <cx:dataPt idx="4">
            <cx:spPr>
              <a:solidFill>
                <a:srgbClr val="00A3E2"/>
              </a:solidFill>
            </cx:spPr>
          </cx:dataPt>
          <cx:dataPt idx="5">
            <cx:spPr>
              <a:solidFill>
                <a:srgbClr val="ADD9FD">
                  <a:lumMod val="90000"/>
                </a:srgbClr>
              </a:solidFill>
            </cx:spPr>
          </cx:dataPt>
          <cx:dataPt idx="6">
            <cx:spPr>
              <a:solidFill>
                <a:srgbClr val="ADD9FD">
                  <a:lumMod val="90000"/>
                </a:srgbClr>
              </a:solidFill>
            </cx:spPr>
          </cx:dataPt>
          <cx:dataPt idx="7">
            <cx:spPr>
              <a:solidFill>
                <a:srgbClr val="8FCD9F"/>
              </a:solidFill>
            </cx:spPr>
          </cx:dataPt>
          <cx:dataPt idx="8">
            <cx:spPr>
              <a:solidFill>
                <a:srgbClr val="8FCD9F"/>
              </a:solidFill>
            </cx:spPr>
          </cx:dataPt>
          <cx:dataPt idx="9">
            <cx:spPr>
              <a:solidFill>
                <a:srgbClr val="8FCD9F"/>
              </a:solidFill>
            </cx:spPr>
          </cx:dataPt>
          <cx:dataPt idx="10">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50" b="1"/>
                </a:pPr>
                <a:endParaRPr lang="fr-FR" sz="1050" b="1" i="0" u="none" strike="noStrike" baseline="0">
                  <a:solidFill>
                    <a:srgbClr val="6C6C6C">
                      <a:lumMod val="65000"/>
                      <a:lumOff val="35000"/>
                    </a:srgbClr>
                  </a:solidFill>
                  <a:latin typeface="Trebuchet MS"/>
                </a:endParaRPr>
              </a:p>
            </cx:txPr>
            <cx:visibility seriesName="0" categoryName="0" value="1"/>
            <cx:separator>, </cx:separator>
            <cx:dataLabel idx="8">
              <cx:numFmt formatCode="# ##0.0" sourceLinked="0"/>
              <cx:txPr>
                <a:bodyPr spcFirstLastPara="1" vertOverflow="ellipsis" horzOverflow="overflow" wrap="square" lIns="0" tIns="0" rIns="0" bIns="0" anchor="ctr" anchorCtr="1"/>
                <a:lstStyle/>
                <a:p>
                  <a:pPr algn="ctr" rtl="0">
                    <a:defRPr sz="1050"/>
                  </a:pPr>
                  <a:r>
                    <a:rPr lang="fr-FR" sz="1050" b="1" i="0" u="none" strike="noStrike" baseline="0">
                      <a:solidFill>
                        <a:srgbClr val="6C6C6C">
                          <a:lumMod val="65000"/>
                          <a:lumOff val="35000"/>
                        </a:srgbClr>
                      </a:solidFill>
                      <a:latin typeface="Trebuchet MS"/>
                    </a:rPr>
                    <a:t> 5.2</a:t>
                  </a:r>
                </a:p>
              </cx:txPr>
              <cx:visibility seriesName="0" categoryName="0" value="1"/>
              <cx:separator>, </cx:separator>
            </cx:dataLabel>
            <cx:dataLabel idx="9">
              <cx:numFmt formatCode="# ##0.0" sourceLinked="0"/>
              <cx:txPr>
                <a:bodyPr spcFirstLastPara="1" vertOverflow="ellipsis" horzOverflow="overflow" wrap="square" lIns="0" tIns="0" rIns="0" bIns="0" anchor="ctr" anchorCtr="1"/>
                <a:lstStyle/>
                <a:p>
                  <a:pPr algn="ctr" rtl="0">
                    <a:defRPr sz="1050"/>
                  </a:pPr>
                  <a:r>
                    <a:rPr lang="fr-FR" sz="1050" b="1" i="0" u="none" strike="noStrike" baseline="0">
                      <a:solidFill>
                        <a:srgbClr val="6C6C6C">
                          <a:lumMod val="65000"/>
                          <a:lumOff val="35000"/>
                        </a:srgbClr>
                      </a:solidFill>
                      <a:latin typeface="Trebuchet MS"/>
                    </a:rPr>
                    <a:t>- 0.7</a:t>
                  </a:r>
                </a:p>
              </cx:txPr>
              <cx:visibility seriesName="0" categoryName="0" value="1"/>
              <cx:separator>, </cx:separator>
            </cx:dataLabel>
          </cx:dataLabels>
          <cx:dataId val="0"/>
          <cx:layoutPr>
            <cx:subtotals>
              <cx:idx val="10"/>
            </cx:subtotals>
          </cx:layoutPr>
        </cx:series>
      </cx:plotAreaRegion>
      <cx:axis id="0">
        <cx:catScaling gapWidth="0.5"/>
        <cx:tickLabels/>
        <cx:txPr>
          <a:bodyPr spcFirstLastPara="1" vertOverflow="ellipsis" horzOverflow="overflow" wrap="square" lIns="0" tIns="0" rIns="0" bIns="0" anchor="ctr" anchorCtr="1"/>
          <a:lstStyle/>
          <a:p>
            <a:pPr algn="ctr" rtl="0">
              <a:defRPr sz="900" b="1" i="1"/>
            </a:pPr>
            <a:endParaRPr lang="fr-FR" sz="900" b="1" i="1" u="none" strike="noStrike" baseline="0">
              <a:solidFill>
                <a:srgbClr val="6C6C6C">
                  <a:lumMod val="65000"/>
                  <a:lumOff val="35000"/>
                </a:srgbClr>
              </a:solidFill>
              <a:latin typeface="Trebuchet MS"/>
            </a:endParaRPr>
          </a:p>
        </cx:txPr>
      </cx:axis>
      <cx:axis id="1" hidden="1">
        <cx:valScaling max="160" min="100"/>
        <cx:majorGridlines/>
        <cx:tickLabels/>
      </cx:axis>
    </cx:plotArea>
  </cx:chart>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Top 10</cx:pt>
          <cx:pt idx="1">Top 30</cx:pt>
          <cx:pt idx="2">Top 50</cx:pt>
          <cx:pt idx="3">Top 150</cx:pt>
          <cx:pt idx="4">Other</cx:pt>
        </cx:lvl>
      </cx:strDim>
      <cx:numDim type="val">
        <cx:f>Sheet1!$B$2:$B$6</cx:f>
        <cx:lvl ptCount="5" formatCode="Standard">
          <cx:pt idx="0">0.29999999999999999</cx:pt>
          <cx:pt idx="1">0.5</cx:pt>
          <cx:pt idx="2">0.59999999999999998</cx:pt>
          <cx:pt idx="3">0.80000000000000004</cx:pt>
          <cx:pt idx="4">1</cx:pt>
        </cx:lvl>
      </cx:numDim>
    </cx:data>
  </cx:chartData>
  <cx:chart>
    <cx:plotArea>
      <cx:plotAreaRegion>
        <cx:series layoutId="funnel" uniqueId="{09A9ED64-D7F5-4AAF-A120-F24471541DCB}">
          <cx:tx>
            <cx:txData>
              <cx:f>Sheet1!$B$1</cx:f>
              <cx:v>Column1</cx:v>
            </cx:txData>
          </cx:tx>
          <cx:spPr>
            <a:solidFill>
              <a:schemeClr val="tx2"/>
            </a:solidFill>
          </cx:spPr>
          <cx:dataLabels pos="ctr">
            <cx:numFmt formatCode="# ##0%" sourceLinked="0"/>
            <cx:txPr>
              <a:bodyPr vertOverflow="overflow" horzOverflow="overflow" wrap="square" lIns="0" tIns="0" rIns="0" bIns="0"/>
              <a:lstStyle/>
              <a:p>
                <a:pPr algn="ctr" rtl="0">
                  <a:defRPr sz="1000" b="0" i="0">
                    <a:solidFill>
                      <a:srgbClr val="919191"/>
                    </a:solidFill>
                    <a:latin typeface="Trebuchet MS" panose="020B0603020202020204" pitchFamily="34" charset="0"/>
                    <a:ea typeface="Trebuchet MS" panose="020B0603020202020204" pitchFamily="34" charset="0"/>
                    <a:cs typeface="Trebuchet MS" panose="020B0603020202020204" pitchFamily="34" charset="0"/>
                  </a:defRPr>
                </a:pPr>
                <a:endParaRPr lang="fr-FR" sz="1000"/>
              </a:p>
            </cx:txPr>
            <cx:visibility seriesName="0" categoryName="0" value="1"/>
            <cx:separator>, </cx:separator>
          </cx:dataLabels>
          <cx:dataId val="0"/>
        </cx:series>
      </cx:plotAreaRegion>
      <cx:axis id="0">
        <cx:catScaling/>
        <cx:tickLabels/>
        <cx:txPr>
          <a:bodyPr vertOverflow="overflow" horzOverflow="overflow" wrap="square" lIns="0" tIns="0" rIns="0" bIns="0"/>
          <a:lstStyle/>
          <a:p>
            <a:pPr algn="ctr" rtl="0">
              <a:defRPr sz="1000" b="0" i="0">
                <a:solidFill>
                  <a:schemeClr val="tx1"/>
                </a:solidFill>
                <a:latin typeface="Trebuchet MS" panose="020B0603020202020204" pitchFamily="34" charset="0"/>
                <a:ea typeface="Trebuchet MS" panose="020B0603020202020204" pitchFamily="34" charset="0"/>
                <a:cs typeface="Trebuchet MS" panose="020B0603020202020204" pitchFamily="34" charset="0"/>
              </a:defRPr>
            </a:pPr>
            <a:endParaRPr lang="fr-FR" sz="1000">
              <a:solidFill>
                <a:schemeClr val="tx1"/>
              </a:solidFill>
            </a:endParaRPr>
          </a:p>
        </cx:txPr>
      </cx:axis>
    </cx:plotArea>
  </cx:chart>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Top 10</cx:pt>
          <cx:pt idx="1">Top 30</cx:pt>
          <cx:pt idx="2">Top 50</cx:pt>
          <cx:pt idx="3">Top 150</cx:pt>
          <cx:pt idx="4">Other</cx:pt>
        </cx:lvl>
      </cx:strDim>
      <cx:numDim type="val">
        <cx:f>Sheet1!$B$2:$B$6</cx:f>
        <cx:lvl ptCount="5" formatCode="Standard">
          <cx:pt idx="0">0.20000000000000001</cx:pt>
          <cx:pt idx="1">0.40000000000000002</cx:pt>
          <cx:pt idx="2">0.5</cx:pt>
          <cx:pt idx="3">0.65000000000000002</cx:pt>
          <cx:pt idx="4">1</cx:pt>
        </cx:lvl>
      </cx:numDim>
    </cx:data>
  </cx:chartData>
  <cx:chart>
    <cx:plotArea>
      <cx:plotAreaRegion>
        <cx:series layoutId="funnel" uniqueId="{09A9ED64-D7F5-4AAF-A120-F24471541DCB}">
          <cx:tx>
            <cx:txData>
              <cx:f>Sheet1!$B$1</cx:f>
              <cx:v>Column1</cx:v>
            </cx:txData>
          </cx:tx>
          <cx:spPr>
            <a:solidFill>
              <a:schemeClr val="tx2"/>
            </a:solidFill>
          </cx:spPr>
          <cx:dataLabels pos="ctr">
            <cx:numFmt formatCode="# ##0%" sourceLinked="0"/>
            <cx:txPr>
              <a:bodyPr spcFirstLastPara="1" vertOverflow="ellipsis" horzOverflow="overflow" wrap="square" lIns="0" tIns="0" rIns="0" bIns="0" anchor="ctr" anchorCtr="1"/>
              <a:lstStyle/>
              <a:p>
                <a:pPr algn="ctr" rtl="0">
                  <a:defRPr sz="1000">
                    <a:solidFill>
                      <a:schemeClr val="bg1"/>
                    </a:solidFill>
                  </a:defRPr>
                </a:pPr>
                <a:endParaRPr lang="en-US" sz="1000" b="0" i="0" u="none" strike="noStrike" kern="1200" baseline="0">
                  <a:solidFill>
                    <a:schemeClr val="bg1"/>
                  </a:solidFill>
                  <a:latin typeface="Trebuchet MS"/>
                </a:endParaRPr>
              </a:p>
            </cx:txPr>
            <cx:visibility seriesName="0" categoryName="0" value="1"/>
            <cx:separator>, </cx:separator>
          </cx:dataLabels>
          <cx:dataId val="0"/>
        </cx:series>
      </cx:plotAreaRegion>
      <cx:axis id="0">
        <cx:catScaling/>
        <cx:tickLabels/>
        <cx:txPr>
          <a:bodyPr vertOverflow="overflow" horzOverflow="overflow" wrap="square" lIns="0" tIns="0" rIns="0" bIns="0"/>
          <a:lstStyle/>
          <a:p>
            <a:pPr algn="ctr" rtl="0">
              <a:defRPr sz="1000" b="0" i="0">
                <a:solidFill>
                  <a:schemeClr val="tx1"/>
                </a:solidFill>
                <a:latin typeface="Trebuchet MS" panose="020B0603020202020204" pitchFamily="34" charset="0"/>
                <a:ea typeface="Trebuchet MS" panose="020B0603020202020204" pitchFamily="34" charset="0"/>
                <a:cs typeface="Trebuchet MS" panose="020B0603020202020204" pitchFamily="34" charset="0"/>
              </a:defRPr>
            </a:pPr>
            <a:endParaRPr lang="fr-FR" sz="1000">
              <a:solidFill>
                <a:schemeClr val="tx1"/>
              </a:solidFill>
            </a:endParaRPr>
          </a:p>
        </cx:txPr>
      </cx:axis>
    </cx:plotArea>
  </cx:chart>
</cx:chartSpace>
</file>

<file path=ppt/charts/chartEx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Top 10</cx:pt>
          <cx:pt idx="1">Top 30</cx:pt>
          <cx:pt idx="2">Top 50</cx:pt>
          <cx:pt idx="3">Top 150</cx:pt>
          <cx:pt idx="4">Other</cx:pt>
        </cx:lvl>
      </cx:strDim>
      <cx:numDim type="val">
        <cx:f>Sheet1!$B$2:$B$6</cx:f>
        <cx:lvl ptCount="5" formatCode="Standard">
          <cx:pt idx="0">0.40000000000000002</cx:pt>
          <cx:pt idx="1">0.59999999999999998</cx:pt>
          <cx:pt idx="2">0.65000000000000002</cx:pt>
          <cx:pt idx="3">0.69999999999999996</cx:pt>
          <cx:pt idx="4">1</cx:pt>
        </cx:lvl>
      </cx:numDim>
    </cx:data>
  </cx:chartData>
  <cx:chart>
    <cx:plotArea>
      <cx:plotAreaRegion>
        <cx:series layoutId="funnel" uniqueId="{09A9ED64-D7F5-4AAF-A120-F24471541DCB}">
          <cx:tx>
            <cx:txData>
              <cx:f>Sheet1!$B$1</cx:f>
              <cx:v>Column1</cx:v>
            </cx:txData>
          </cx:tx>
          <cx:spPr>
            <a:solidFill>
              <a:schemeClr val="tx2"/>
            </a:solidFill>
          </cx:spPr>
          <cx:dataLabels pos="ctr">
            <cx:numFmt formatCode="# ##0%" sourceLinked="0"/>
            <cx:txPr>
              <a:bodyPr spcFirstLastPara="1" vertOverflow="ellipsis" horzOverflow="overflow" wrap="square" lIns="0" tIns="0" rIns="0" bIns="0" anchor="ctr" anchorCtr="1"/>
              <a:lstStyle/>
              <a:p>
                <a:pPr algn="ctr" rtl="0">
                  <a:defRPr sz="1000">
                    <a:solidFill>
                      <a:schemeClr val="bg1"/>
                    </a:solidFill>
                  </a:defRPr>
                </a:pPr>
                <a:endParaRPr lang="en-US" sz="1000" b="0" i="0" u="none" strike="noStrike" kern="1200" baseline="0">
                  <a:solidFill>
                    <a:schemeClr val="bg1"/>
                  </a:solidFill>
                  <a:latin typeface="Trebuchet MS"/>
                </a:endParaRPr>
              </a:p>
            </cx:txPr>
            <cx:visibility seriesName="0" categoryName="0" value="1"/>
            <cx:separator>, </cx:separator>
          </cx:dataLabels>
          <cx:dataId val="0"/>
        </cx:series>
      </cx:plotAreaRegion>
      <cx:axis id="0">
        <cx:catScaling/>
        <cx:tickLabels/>
        <cx:txPr>
          <a:bodyPr vertOverflow="overflow" horzOverflow="overflow" wrap="square" lIns="0" tIns="0" rIns="0" bIns="0"/>
          <a:lstStyle/>
          <a:p>
            <a:pPr algn="ctr" rtl="0">
              <a:defRPr sz="1000" b="0" i="0">
                <a:solidFill>
                  <a:schemeClr val="tx1"/>
                </a:solidFill>
                <a:latin typeface="Trebuchet MS" panose="020B0603020202020204" pitchFamily="34" charset="0"/>
                <a:ea typeface="Trebuchet MS" panose="020B0603020202020204" pitchFamily="34" charset="0"/>
                <a:cs typeface="Trebuchet MS" panose="020B0603020202020204" pitchFamily="34" charset="0"/>
              </a:defRPr>
            </a:pPr>
            <a:endParaRPr lang="fr-FR" sz="1000">
              <a:solidFill>
                <a:schemeClr val="tx1"/>
              </a:solidFill>
            </a:endParaRPr>
          </a:p>
        </cx:txPr>
      </cx:axis>
    </cx:plotArea>
  </cx:chart>
</cx:chartSpace>
</file>

<file path=ppt/charts/chartEx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4</cx:f>
        <cx:lvl ptCount="13">
          <cx:pt idx="0">2016</cx:pt>
          <cx:pt idx="1">LFL2016</cx:pt>
          <cx:pt idx="2">Churn 2016</cx:pt>
          <cx:pt idx="3">New logo 2017</cx:pt>
          <cx:pt idx="4">2017</cx:pt>
          <cx:pt idx="5">LFL2017</cx:pt>
          <cx:pt idx="6">Churn 2017</cx:pt>
          <cx:pt idx="7">New logo 2018</cx:pt>
          <cx:pt idx="8">2018</cx:pt>
          <cx:pt idx="9">LFL2018</cx:pt>
          <cx:pt idx="10">Churn 2018</cx:pt>
          <cx:pt idx="11">New logo 2019</cx:pt>
          <cx:pt idx="12">2019</cx:pt>
        </cx:lvl>
      </cx:strDim>
      <cx:numDim type="val">
        <cx:f>Sheet1!$B$2:$B$14</cx:f>
        <cx:lvl ptCount="13" formatCode="# ##0.00">
          <cx:pt idx="0">36348936.240000002</cx:pt>
          <cx:pt idx="1">998866.91000000236</cx:pt>
          <cx:pt idx="2">-1082836.8599999996</cx:pt>
          <cx:pt idx="3">627442.1100000001</cx:pt>
          <cx:pt idx="4">36892408.399999984</cx:pt>
          <cx:pt idx="5">767541.20000000042</cx:pt>
          <cx:pt idx="6">-1076810.3300000001</cx:pt>
          <cx:pt idx="7">771387.80999999994</cx:pt>
          <cx:pt idx="8">37354527.079999991</cx:pt>
          <cx:pt idx="9">1057257.5699999894</cx:pt>
          <cx:pt idx="10">-1057314.8400000001</cx:pt>
          <cx:pt idx="11">1839049.9900000002</cx:pt>
          <cx:pt idx="12">39193519.799999982</cx:pt>
        </cx:lvl>
      </cx:numDim>
    </cx:data>
  </cx:chartData>
  <cx:chart>
    <cx:plotArea>
      <cx:plotAreaRegion>
        <cx:series layoutId="waterfall" uniqueId="{00000005-8E19-45FF-AA4B-A83094600688}">
          <cx:tx>
            <cx:txData>
              <cx:f>Sheet1!$B$1</cx:f>
              <cx:v>Series1</cx:v>
            </cx:txData>
          </cx:tx>
          <cx:spPr>
            <a:solidFill>
              <a:schemeClr val="accent1"/>
            </a:solidFill>
          </cx:spPr>
          <cx:dataPt idx="0">
            <cx:spPr>
              <a:solidFill>
                <a:srgbClr val="289B38"/>
              </a:solidFill>
            </cx:spPr>
          </cx:dataPt>
          <cx:dataPt idx="1">
            <cx:spPr>
              <a:solidFill>
                <a:srgbClr val="8FCD9F"/>
              </a:solidFill>
            </cx:spPr>
          </cx:dataPt>
          <cx:dataPt idx="3">
            <cx:spPr>
              <a:solidFill>
                <a:srgbClr val="ADD9FD"/>
              </a:solidFill>
            </cx:spPr>
          </cx:dataPt>
          <cx:dataPt idx="4">
            <cx:spPr>
              <a:solidFill>
                <a:srgbClr val="289B38"/>
              </a:solidFill>
            </cx:spPr>
          </cx:dataPt>
          <cx:dataPt idx="5">
            <cx:spPr>
              <a:solidFill>
                <a:srgbClr val="8FCD9F"/>
              </a:solidFill>
            </cx:spPr>
          </cx:dataPt>
          <cx:dataPt idx="7">
            <cx:spPr>
              <a:solidFill>
                <a:srgbClr val="ADD9FD"/>
              </a:solidFill>
            </cx:spPr>
          </cx:dataPt>
          <cx:dataPt idx="8">
            <cx:spPr>
              <a:solidFill>
                <a:srgbClr val="289B38"/>
              </a:solidFill>
            </cx:spPr>
          </cx:dataPt>
          <cx:dataPt idx="9">
            <cx:spPr>
              <a:solidFill>
                <a:srgbClr val="8FCD9F"/>
              </a:solidFill>
            </cx:spPr>
          </cx:dataPt>
          <cx:dataPt idx="11">
            <cx:spPr>
              <a:solidFill>
                <a:srgbClr val="ADD9FD"/>
              </a:solidFill>
            </cx:spPr>
          </cx:dataPt>
          <cx:dataPt idx="12">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visibility seriesName="0" categoryName="0" value="1"/>
            <cx:separator>, </cx:separator>
          </cx:dataLabels>
          <cx:dataId val="0"/>
          <cx:layoutPr>
            <cx:subtotals>
              <cx:idx val="4"/>
              <cx:idx val="8"/>
              <cx:idx val="12"/>
            </cx:subtotals>
          </cx:layoutPr>
        </cx:series>
      </cx:plotAreaRegion>
      <cx:axis id="0">
        <cx:catScaling gapWidth="0.5"/>
        <cx:tickLabels/>
        <cx:txPr>
          <a:bodyPr spcFirstLastPara="1" vertOverflow="ellipsis" horzOverflow="overflow" wrap="square" lIns="0" tIns="0" rIns="0" bIns="0" anchor="ctr" anchorCtr="1"/>
          <a:lstStyle/>
          <a:p>
            <a:pPr algn="ctr" rtl="0">
              <a:defRPr sz="900">
                <a:solidFill>
                  <a:schemeClr val="tx1"/>
                </a:solidFill>
              </a:defRPr>
            </a:pPr>
            <a:endParaRPr lang="en-US" sz="900" b="0" i="0" u="none" strike="noStrike" baseline="0">
              <a:solidFill>
                <a:schemeClr val="tx1"/>
              </a:solidFill>
              <a:latin typeface="Trebuchet MS"/>
            </a:endParaRPr>
          </a:p>
        </cx:txPr>
      </cx:axis>
      <cx:axis id="1" hidden="1">
        <cx:valScaling max="45000000"/>
        <cx:units unit="millions"/>
        <cx:tickLabels/>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axis>
    </cx:plotArea>
  </cx:chart>
  <cx:spPr>
    <a:solidFill>
      <a:schemeClr val="bg1"/>
    </a:solidFill>
  </cx:spPr>
</cx:chartSpace>
</file>

<file path=ppt/charts/chartEx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2017</cx:pt>
          <cx:pt idx="1">LFL2017</cx:pt>
          <cx:pt idx="2">Churn 2017</cx:pt>
          <cx:pt idx="3">New business 2018</cx:pt>
          <cx:pt idx="4">2018</cx:pt>
          <cx:pt idx="5">LFL2018</cx:pt>
          <cx:pt idx="6">Churn 2018</cx:pt>
          <cx:pt idx="7">New business 2019</cx:pt>
          <cx:pt idx="8">2019</cx:pt>
        </cx:lvl>
      </cx:strDim>
      <cx:numDim type="val">
        <cx:f>Sheet1!$B$2:$B$10</cx:f>
        <cx:lvl ptCount="9" formatCode="Standard">
          <cx:pt idx="0">46595281.666988768</cx:pt>
          <cx:pt idx="1">-179379.03365927943</cx:pt>
          <cx:pt idx="2">-1594399.8500000027</cx:pt>
          <cx:pt idx="3">1586508.0100000023</cx:pt>
          <cx:pt idx="4">46408010.793329492</cx:pt>
          <cx:pt idx="5">-1162347.5600000001</cx:pt>
          <cx:pt idx="6">-2940496.1233294415</cx:pt>
          <cx:pt idx="7">4009661.6653333376</cx:pt>
          <cx:pt idx="8">46314828.77533339</cx:pt>
        </cx:lvl>
      </cx:numDim>
    </cx:data>
  </cx:chartData>
  <cx:chart>
    <cx:plotArea>
      <cx:plotAreaRegion>
        <cx:series layoutId="waterfall" uniqueId="{6A33849D-0DE8-418F-84E6-DBA5FB23841F}">
          <cx:tx>
            <cx:txData>
              <cx:f>Sheet1!$B$1</cx:f>
              <cx:v>Series1</cx:v>
            </cx:txData>
          </cx:tx>
          <cx:spPr>
            <a:solidFill>
              <a:schemeClr val="accent1"/>
            </a:solidFill>
          </cx:spPr>
          <cx:dataPt idx="0">
            <cx:spPr>
              <a:solidFill>
                <a:srgbClr val="289B38"/>
              </a:solidFill>
            </cx:spPr>
          </cx:dataPt>
          <cx:dataPt idx="1">
            <cx:spPr>
              <a:solidFill>
                <a:srgbClr val="8FCD9F"/>
              </a:solidFill>
            </cx:spPr>
          </cx:dataPt>
          <cx:dataPt idx="3">
            <cx:spPr>
              <a:solidFill>
                <a:srgbClr val="ADD9FD"/>
              </a:solidFill>
            </cx:spPr>
          </cx:dataPt>
          <cx:dataPt idx="4">
            <cx:spPr>
              <a:solidFill>
                <a:srgbClr val="289B38"/>
              </a:solidFill>
            </cx:spPr>
          </cx:dataPt>
          <cx:dataPt idx="5">
            <cx:spPr>
              <a:solidFill>
                <a:srgbClr val="8FCD9F"/>
              </a:solidFill>
            </cx:spPr>
          </cx:dataPt>
          <cx:dataPt idx="7">
            <cx:spPr>
              <a:solidFill>
                <a:srgbClr val="ADD9FD"/>
              </a:solidFill>
            </cx:spPr>
          </cx:dataPt>
          <cx:dataPt idx="8">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visibility seriesName="0" categoryName="0" value="1"/>
            <cx:separator>, </cx:separator>
          </cx:dataLabels>
          <cx:dataId val="0"/>
          <cx:layoutPr>
            <cx:subtotals>
              <cx:idx val="0"/>
              <cx:idx val="4"/>
              <cx:idx val="8"/>
            </cx:subtotals>
          </cx:layoutPr>
        </cx:series>
      </cx:plotAreaRegion>
      <cx:axis id="0">
        <cx:catScaling gapWidth="0.5"/>
        <cx:tickLabels/>
        <cx:txPr>
          <a:bodyPr spcFirstLastPara="1" vertOverflow="ellipsis" horzOverflow="overflow" wrap="square" lIns="0" tIns="0" rIns="0" bIns="0" anchor="ctr" anchorCtr="1"/>
          <a:lstStyle/>
          <a:p>
            <a:pPr algn="ctr" rtl="0">
              <a:defRPr sz="900">
                <a:solidFill>
                  <a:schemeClr val="tx1"/>
                </a:solidFill>
              </a:defRPr>
            </a:pPr>
            <a:endParaRPr lang="en-US" sz="900" b="0" i="0" u="none" strike="noStrike" baseline="0">
              <a:solidFill>
                <a:schemeClr val="tx1"/>
              </a:solidFill>
              <a:latin typeface="Trebuchet MS"/>
            </a:endParaRPr>
          </a:p>
        </cx:txPr>
      </cx:axis>
      <cx:axis id="1" hidden="1">
        <cx:valScaling/>
        <cx:units unit="millions"/>
        <cx:tickLabels/>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axis>
    </cx:plotArea>
  </cx:chart>
  <cx:spPr>
    <a:solidFill>
      <a:schemeClr val="bg1"/>
    </a:solidFill>
  </cx:spPr>
</cx:chartSpace>
</file>

<file path=ppt/charts/chartEx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2017</cx:pt>
          <cx:pt idx="1">LFL2017</cx:pt>
          <cx:pt idx="2">Churn 2017</cx:pt>
          <cx:pt idx="3">New business 2018</cx:pt>
          <cx:pt idx="4">2018</cx:pt>
          <cx:pt idx="5">LFL2018</cx:pt>
          <cx:pt idx="6">Churn 2018</cx:pt>
          <cx:pt idx="7">New business 2019</cx:pt>
          <cx:pt idx="8">2019</cx:pt>
        </cx:lvl>
      </cx:strDim>
      <cx:numDim type="val">
        <cx:f>Sheet1!$B$2:$B$10</cx:f>
        <cx:lvl ptCount="9" formatCode="Standard">
          <cx:pt idx="0">8798498.4599999916</cx:pt>
          <cx:pt idx="1">72844.330000000366</cx:pt>
          <cx:pt idx="2">-3069700.6299999985</cx:pt>
          <cx:pt idx="3">3568604.9799999995</cx:pt>
          <cx:pt idx="4">9370247.1399999931</cx:pt>
          <cx:pt idx="5">-74360.64999999982</cx:pt>
          <cx:pt idx="6">-3423751.0999999992</cx:pt>
          <cx:pt idx="7">3577291.8299999977</cx:pt>
          <cx:pt idx="8">9449427.2199999914</cx:pt>
        </cx:lvl>
      </cx:numDim>
    </cx:data>
  </cx:chartData>
  <cx:chart>
    <cx:plotArea>
      <cx:plotAreaRegion>
        <cx:series layoutId="waterfall" uniqueId="{6A33849D-0DE8-418F-84E6-DBA5FB23841F}">
          <cx:tx>
            <cx:txData>
              <cx:f>Sheet1!$B$1</cx:f>
              <cx:v>Series1</cx:v>
            </cx:txData>
          </cx:tx>
          <cx:spPr>
            <a:solidFill>
              <a:schemeClr val="accent1"/>
            </a:solidFill>
          </cx:spPr>
          <cx:dataPt idx="0">
            <cx:spPr>
              <a:solidFill>
                <a:srgbClr val="289B38"/>
              </a:solidFill>
            </cx:spPr>
          </cx:dataPt>
          <cx:dataPt idx="1">
            <cx:spPr>
              <a:solidFill>
                <a:srgbClr val="8FCD9F"/>
              </a:solidFill>
            </cx:spPr>
          </cx:dataPt>
          <cx:dataPt idx="3">
            <cx:spPr>
              <a:solidFill>
                <a:srgbClr val="ADD9FD"/>
              </a:solidFill>
            </cx:spPr>
          </cx:dataPt>
          <cx:dataPt idx="4">
            <cx:spPr>
              <a:solidFill>
                <a:srgbClr val="289B38"/>
              </a:solidFill>
            </cx:spPr>
          </cx:dataPt>
          <cx:dataPt idx="5">
            <cx:spPr>
              <a:solidFill>
                <a:srgbClr val="8FCD9F"/>
              </a:solidFill>
            </cx:spPr>
          </cx:dataPt>
          <cx:dataPt idx="7">
            <cx:spPr>
              <a:solidFill>
                <a:srgbClr val="ADD9FD"/>
              </a:solidFill>
            </cx:spPr>
          </cx:dataPt>
          <cx:dataPt idx="8">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visibility seriesName="0" categoryName="0" value="1"/>
            <cx:separator>, </cx:separator>
          </cx:dataLabels>
          <cx:dataId val="0"/>
          <cx:layoutPr>
            <cx:subtotals>
              <cx:idx val="0"/>
              <cx:idx val="4"/>
              <cx:idx val="8"/>
            </cx:subtotals>
          </cx:layoutPr>
        </cx:series>
      </cx:plotAreaRegion>
      <cx:axis id="0">
        <cx:catScaling gapWidth="0.5"/>
        <cx:tickLabels/>
        <cx:txPr>
          <a:bodyPr spcFirstLastPara="1" vertOverflow="ellipsis" horzOverflow="overflow" wrap="square" lIns="0" tIns="0" rIns="0" bIns="0" anchor="ctr" anchorCtr="1"/>
          <a:lstStyle/>
          <a:p>
            <a:pPr algn="ctr" rtl="0">
              <a:defRPr sz="900">
                <a:solidFill>
                  <a:schemeClr val="tx1"/>
                </a:solidFill>
              </a:defRPr>
            </a:pPr>
            <a:endParaRPr lang="en-US" sz="900" b="0" i="0" u="none" strike="noStrike" baseline="0">
              <a:solidFill>
                <a:schemeClr val="tx1"/>
              </a:solidFill>
              <a:latin typeface="Trebuchet MS"/>
            </a:endParaRPr>
          </a:p>
        </cx:txPr>
      </cx:axis>
      <cx:axis id="1" hidden="1">
        <cx:valScaling/>
        <cx:units unit="millions"/>
        <cx:tickLabels/>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axis>
    </cx:plotArea>
  </cx:chart>
  <cx:spPr>
    <a:solidFill>
      <a:schemeClr val="bg1"/>
    </a:solidFill>
  </cx:spPr>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drawings/drawing1.xml><?xml version="1.0" encoding="utf-8"?>
<c:userShapes xmlns:c="http://schemas.openxmlformats.org/drawingml/2006/chart">
  <cdr:relSizeAnchor xmlns:cdr="http://schemas.openxmlformats.org/drawingml/2006/chartDrawing">
    <cdr:from>
      <cdr:x>0.23322</cdr:x>
      <cdr:y>0.06356</cdr:y>
    </cdr:from>
    <cdr:to>
      <cdr:x>0.7839</cdr:x>
      <cdr:y>0.10867</cdr:y>
    </cdr:to>
    <cdr:cxnSp macro="">
      <cdr:nvCxnSpPr>
        <cdr:cNvPr id="2" name="Straight Arrow Connector 1">
          <a:extLst xmlns:a="http://schemas.openxmlformats.org/drawingml/2006/main">
            <a:ext uri="{FF2B5EF4-FFF2-40B4-BE49-F238E27FC236}">
              <a16:creationId xmlns:a16="http://schemas.microsoft.com/office/drawing/2014/main" id="{EA7B0DAA-E00E-4B8F-A0E8-391D474AC8BA}"/>
            </a:ext>
          </a:extLst>
        </cdr:cNvPr>
        <cdr:cNvCxnSpPr>
          <a:cxnSpLocks xmlns:a="http://schemas.openxmlformats.org/drawingml/2006/main"/>
        </cdr:cNvCxnSpPr>
      </cdr:nvCxnSpPr>
      <cdr:spPr bwMode="auto">
        <a:xfrm xmlns:a="http://schemas.openxmlformats.org/drawingml/2006/main" flipV="1">
          <a:off x="928105" y="198872"/>
          <a:ext cx="2191419" cy="141151"/>
        </a:xfrm>
        <a:prstGeom xmlns:a="http://schemas.openxmlformats.org/drawingml/2006/main" prst="straightConnector1">
          <a:avLst/>
        </a:prstGeom>
        <a:solidFill xmlns:a="http://schemas.openxmlformats.org/drawingml/2006/main">
          <a:schemeClr val="accent1"/>
        </a:solidFill>
        <a:ln xmlns:a="http://schemas.openxmlformats.org/drawingml/2006/main" w="9525" cap="flat" cmpd="sng" algn="ctr">
          <a:solidFill>
            <a:schemeClr val="tx1"/>
          </a:solidFill>
          <a:prstDash val="solid"/>
          <a:round/>
          <a:headEnd type="none" w="med" len="med"/>
          <a:tailEnd type="triangle"/>
        </a:ln>
        <a:effectLst xmlns:a="http://schemas.openxmlformats.org/drawingml/2006/main"/>
      </cdr:spPr>
    </cdr:cxnSp>
  </cdr:relSizeAnchor>
  <cdr:relSizeAnchor xmlns:cdr="http://schemas.openxmlformats.org/drawingml/2006/chartDrawing">
    <cdr:from>
      <cdr:x>0.32695</cdr:x>
      <cdr:y>0.01386</cdr:y>
    </cdr:from>
    <cdr:to>
      <cdr:x>0.69023</cdr:x>
      <cdr:y>0.09255</cdr:y>
    </cdr:to>
    <cdr:sp macro="" textlink="">
      <cdr:nvSpPr>
        <cdr:cNvPr id="3" name="TextBox 32">
          <a:extLst xmlns:a="http://schemas.openxmlformats.org/drawingml/2006/main">
            <a:ext uri="{FF2B5EF4-FFF2-40B4-BE49-F238E27FC236}">
              <a16:creationId xmlns:a16="http://schemas.microsoft.com/office/drawing/2014/main" id="{6E117431-EEF9-4137-98CE-74F094FDECD5}"/>
            </a:ext>
          </a:extLst>
        </cdr:cNvPr>
        <cdr:cNvSpPr txBox="1"/>
      </cdr:nvSpPr>
      <cdr:spPr>
        <a:xfrm xmlns:a="http://schemas.openxmlformats.org/drawingml/2006/main">
          <a:off x="1301097" y="43371"/>
          <a:ext cx="1445671"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xmlns:a="http://schemas.openxmlformats.org/drawingml/2006/main">
          <a:r>
            <a:rPr lang="en-US" sz="1000" b="1" i="1" dirty="0">
              <a:latin typeface="+mj-lt"/>
            </a:rPr>
            <a:t>CAGR</a:t>
          </a:r>
          <a:r>
            <a:rPr lang="en-US" sz="1000" b="1" i="1" baseline="-25000" dirty="0">
              <a:latin typeface="+mj-lt"/>
            </a:rPr>
            <a:t>16-19</a:t>
          </a:r>
          <a:r>
            <a:rPr lang="en-US" sz="1000" b="1" i="1" dirty="0">
              <a:latin typeface="+mj-lt"/>
            </a:rPr>
            <a:t>: 2.54%</a:t>
          </a:r>
        </a:p>
      </cdr:txBody>
    </cdr:sp>
  </cdr:relSizeAnchor>
</c:userShapes>
</file>

<file path=ppt/drawings/drawing2.xml><?xml version="1.0" encoding="utf-8"?>
<c:userShapes xmlns:c="http://schemas.openxmlformats.org/drawingml/2006/chart">
  <cdr:relSizeAnchor xmlns:cdr="http://schemas.openxmlformats.org/drawingml/2006/chartDrawing">
    <cdr:from>
      <cdr:x>0.30254</cdr:x>
      <cdr:y>0.13075</cdr:y>
    </cdr:from>
    <cdr:to>
      <cdr:x>0.89859</cdr:x>
      <cdr:y>0.17188</cdr:y>
    </cdr:to>
    <cdr:cxnSp macro="">
      <cdr:nvCxnSpPr>
        <cdr:cNvPr id="2" name="Straight Arrow Connector 1">
          <a:extLst xmlns:a="http://schemas.openxmlformats.org/drawingml/2006/main">
            <a:ext uri="{FF2B5EF4-FFF2-40B4-BE49-F238E27FC236}">
              <a16:creationId xmlns:a16="http://schemas.microsoft.com/office/drawing/2014/main" id="{EA7B0DAA-E00E-4B8F-A0E8-391D474AC8BA}"/>
            </a:ext>
          </a:extLst>
        </cdr:cNvPr>
        <cdr:cNvCxnSpPr>
          <a:cxnSpLocks xmlns:a="http://schemas.openxmlformats.org/drawingml/2006/main"/>
        </cdr:cNvCxnSpPr>
      </cdr:nvCxnSpPr>
      <cdr:spPr bwMode="auto">
        <a:xfrm xmlns:a="http://schemas.openxmlformats.org/drawingml/2006/main">
          <a:off x="1203973" y="409101"/>
          <a:ext cx="2371978" cy="128691"/>
        </a:xfrm>
        <a:prstGeom xmlns:a="http://schemas.openxmlformats.org/drawingml/2006/main" prst="straightConnector1">
          <a:avLst/>
        </a:prstGeom>
        <a:solidFill xmlns:a="http://schemas.openxmlformats.org/drawingml/2006/main">
          <a:schemeClr val="accent1"/>
        </a:solidFill>
        <a:ln xmlns:a="http://schemas.openxmlformats.org/drawingml/2006/main" w="9525" cap="flat" cmpd="sng" algn="ctr">
          <a:solidFill>
            <a:schemeClr val="tx1"/>
          </a:solidFill>
          <a:prstDash val="solid"/>
          <a:round/>
          <a:headEnd type="none" w="med" len="med"/>
          <a:tailEnd type="triangle"/>
        </a:ln>
        <a:effectLst xmlns:a="http://schemas.openxmlformats.org/drawingml/2006/main"/>
      </cdr:spPr>
    </cdr:cxnSp>
  </cdr:relSizeAnchor>
  <cdr:relSizeAnchor xmlns:cdr="http://schemas.openxmlformats.org/drawingml/2006/chartDrawing">
    <cdr:from>
      <cdr:x>0.42071</cdr:x>
      <cdr:y>0.03489</cdr:y>
    </cdr:from>
    <cdr:to>
      <cdr:x>0.82581</cdr:x>
      <cdr:y>0.12342</cdr:y>
    </cdr:to>
    <cdr:sp macro="" textlink="">
      <cdr:nvSpPr>
        <cdr:cNvPr id="3" name="TextBox 32">
          <a:extLst xmlns:a="http://schemas.openxmlformats.org/drawingml/2006/main">
            <a:ext uri="{FF2B5EF4-FFF2-40B4-BE49-F238E27FC236}">
              <a16:creationId xmlns:a16="http://schemas.microsoft.com/office/drawing/2014/main" id="{6E117431-EEF9-4137-98CE-74F094FDECD5}"/>
            </a:ext>
          </a:extLst>
        </cdr:cNvPr>
        <cdr:cNvSpPr txBox="1"/>
      </cdr:nvSpPr>
      <cdr:spPr>
        <a:xfrm xmlns:a="http://schemas.openxmlformats.org/drawingml/2006/main">
          <a:off x="1674231" y="109175"/>
          <a:ext cx="1612093" cy="27700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xmlns:a="http://schemas.openxmlformats.org/drawingml/2006/main">
          <a:r>
            <a:rPr lang="en-US" sz="1100" b="1" i="1" dirty="0">
              <a:latin typeface="+mj-lt"/>
            </a:rPr>
            <a:t>CAGR</a:t>
          </a:r>
          <a:r>
            <a:rPr lang="en-US" sz="1100" b="1" i="1" baseline="-25000" dirty="0">
              <a:latin typeface="+mj-lt"/>
            </a:rPr>
            <a:t>17-19</a:t>
          </a:r>
          <a:r>
            <a:rPr lang="en-US" sz="1200" b="1" i="1" dirty="0">
              <a:latin typeface="+mj-lt"/>
            </a:rPr>
            <a:t>: -2.16%</a:t>
          </a:r>
        </a:p>
      </cdr:txBody>
    </cdr:sp>
  </cdr:relSizeAnchor>
</c:userShapes>
</file>

<file path=ppt/drawings/drawing3.xml><?xml version="1.0" encoding="utf-8"?>
<c:userShapes xmlns:c="http://schemas.openxmlformats.org/drawingml/2006/chart">
  <cdr:relSizeAnchor xmlns:cdr="http://schemas.openxmlformats.org/drawingml/2006/chartDrawing">
    <cdr:from>
      <cdr:x>0.24103</cdr:x>
      <cdr:y>0.07421</cdr:y>
    </cdr:from>
    <cdr:to>
      <cdr:x>0.82485</cdr:x>
      <cdr:y>0.07421</cdr:y>
    </cdr:to>
    <cdr:cxnSp macro="">
      <cdr:nvCxnSpPr>
        <cdr:cNvPr id="2" name="Straight Arrow Connector 1">
          <a:extLst xmlns:a="http://schemas.openxmlformats.org/drawingml/2006/main">
            <a:ext uri="{FF2B5EF4-FFF2-40B4-BE49-F238E27FC236}">
              <a16:creationId xmlns:a16="http://schemas.microsoft.com/office/drawing/2014/main" id="{EA7B0DAA-E00E-4B8F-A0E8-391D474AC8BA}"/>
            </a:ext>
          </a:extLst>
        </cdr:cNvPr>
        <cdr:cNvCxnSpPr>
          <a:cxnSpLocks xmlns:a="http://schemas.openxmlformats.org/drawingml/2006/main"/>
        </cdr:cNvCxnSpPr>
      </cdr:nvCxnSpPr>
      <cdr:spPr bwMode="auto">
        <a:xfrm xmlns:a="http://schemas.openxmlformats.org/drawingml/2006/main">
          <a:off x="959190" y="232182"/>
          <a:ext cx="2323276" cy="0"/>
        </a:xfrm>
        <a:prstGeom xmlns:a="http://schemas.openxmlformats.org/drawingml/2006/main" prst="straightConnector1">
          <a:avLst/>
        </a:prstGeom>
        <a:solidFill xmlns:a="http://schemas.openxmlformats.org/drawingml/2006/main">
          <a:schemeClr val="accent1"/>
        </a:solidFill>
        <a:ln xmlns:a="http://schemas.openxmlformats.org/drawingml/2006/main" w="9525" cap="flat" cmpd="sng" algn="ctr">
          <a:solidFill>
            <a:schemeClr val="tx1"/>
          </a:solidFill>
          <a:prstDash val="solid"/>
          <a:round/>
          <a:headEnd type="none" w="med" len="med"/>
          <a:tailEnd type="triangle"/>
        </a:ln>
        <a:effectLst xmlns:a="http://schemas.openxmlformats.org/drawingml/2006/main"/>
      </cdr:spPr>
    </cdr:cxnSp>
  </cdr:relSizeAnchor>
  <cdr:relSizeAnchor xmlns:cdr="http://schemas.openxmlformats.org/drawingml/2006/chartDrawing">
    <cdr:from>
      <cdr:x>0.45508</cdr:x>
      <cdr:y>0</cdr:y>
    </cdr:from>
    <cdr:to>
      <cdr:x>0.81836</cdr:x>
      <cdr:y>0.08853</cdr:y>
    </cdr:to>
    <cdr:sp macro="" textlink="">
      <cdr:nvSpPr>
        <cdr:cNvPr id="3" name="TextBox 32">
          <a:extLst xmlns:a="http://schemas.openxmlformats.org/drawingml/2006/main">
            <a:ext uri="{FF2B5EF4-FFF2-40B4-BE49-F238E27FC236}">
              <a16:creationId xmlns:a16="http://schemas.microsoft.com/office/drawing/2014/main" id="{6E117431-EEF9-4137-98CE-74F094FDECD5}"/>
            </a:ext>
          </a:extLst>
        </cdr:cNvPr>
        <cdr:cNvSpPr txBox="1"/>
      </cdr:nvSpPr>
      <cdr:spPr>
        <a:xfrm xmlns:a="http://schemas.openxmlformats.org/drawingml/2006/main">
          <a:off x="1810990" y="0"/>
          <a:ext cx="1445670"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xmlns:a="http://schemas.openxmlformats.org/drawingml/2006/main">
          <a:r>
            <a:rPr lang="en-US" sz="1100" b="1" i="1" dirty="0">
              <a:latin typeface="+mj-lt"/>
            </a:rPr>
            <a:t>CAGR</a:t>
          </a:r>
          <a:r>
            <a:rPr lang="en-US" sz="1100" b="1" i="1" baseline="-25000" dirty="0">
              <a:latin typeface="+mj-lt"/>
            </a:rPr>
            <a:t>17-19</a:t>
          </a:r>
          <a:r>
            <a:rPr lang="en-US" sz="1200" b="1" i="1" dirty="0">
              <a:latin typeface="+mj-lt"/>
            </a:rPr>
            <a:t>: </a:t>
          </a:r>
          <a:r>
            <a:rPr lang="en-US" sz="1200" b="1" i="1">
              <a:latin typeface="+mj-lt"/>
            </a:rPr>
            <a:t>-0.3</a:t>
          </a:r>
          <a:r>
            <a:rPr lang="en-US" sz="1200" b="1" i="1" dirty="0">
              <a:latin typeface="+mj-lt"/>
            </a:rPr>
            <a:t>%</a:t>
          </a:r>
        </a:p>
      </cdr:txBody>
    </cdr:sp>
  </cdr:relSizeAnchor>
</c:userShapes>
</file>

<file path=ppt/drawings/drawing4.xml><?xml version="1.0" encoding="utf-8"?>
<c:userShapes xmlns:c="http://schemas.openxmlformats.org/drawingml/2006/chart">
  <cdr:relSizeAnchor xmlns:cdr="http://schemas.openxmlformats.org/drawingml/2006/chartDrawing">
    <cdr:from>
      <cdr:x>0.2818</cdr:x>
      <cdr:y>0.0572</cdr:y>
    </cdr:from>
    <cdr:to>
      <cdr:x>0.85959</cdr:x>
      <cdr:y>0.11242</cdr:y>
    </cdr:to>
    <cdr:cxnSp macro="">
      <cdr:nvCxnSpPr>
        <cdr:cNvPr id="2" name="Straight Arrow Connector 1">
          <a:extLst xmlns:a="http://schemas.openxmlformats.org/drawingml/2006/main">
            <a:ext uri="{FF2B5EF4-FFF2-40B4-BE49-F238E27FC236}">
              <a16:creationId xmlns:a16="http://schemas.microsoft.com/office/drawing/2014/main" id="{EA7B0DAA-E00E-4B8F-A0E8-391D474AC8BA}"/>
            </a:ext>
          </a:extLst>
        </cdr:cNvPr>
        <cdr:cNvCxnSpPr>
          <a:cxnSpLocks xmlns:a="http://schemas.openxmlformats.org/drawingml/2006/main"/>
        </cdr:cNvCxnSpPr>
      </cdr:nvCxnSpPr>
      <cdr:spPr bwMode="auto">
        <a:xfrm xmlns:a="http://schemas.openxmlformats.org/drawingml/2006/main" flipV="1">
          <a:off x="1121406" y="193086"/>
          <a:ext cx="2299316" cy="186413"/>
        </a:xfrm>
        <a:prstGeom xmlns:a="http://schemas.openxmlformats.org/drawingml/2006/main" prst="straightConnector1">
          <a:avLst/>
        </a:prstGeom>
        <a:solidFill xmlns:a="http://schemas.openxmlformats.org/drawingml/2006/main">
          <a:schemeClr val="accent1"/>
        </a:solidFill>
        <a:ln xmlns:a="http://schemas.openxmlformats.org/drawingml/2006/main" w="9525" cap="flat" cmpd="sng" algn="ctr">
          <a:solidFill>
            <a:schemeClr val="tx1"/>
          </a:solidFill>
          <a:prstDash val="solid"/>
          <a:round/>
          <a:headEnd type="none" w="med" len="med"/>
          <a:tailEnd type="triangle"/>
        </a:ln>
        <a:effectLst xmlns:a="http://schemas.openxmlformats.org/drawingml/2006/main"/>
      </cdr:spPr>
    </cdr:cxnSp>
  </cdr:relSizeAnchor>
  <cdr:relSizeAnchor xmlns:cdr="http://schemas.openxmlformats.org/drawingml/2006/chartDrawing">
    <cdr:from>
      <cdr:x>0.38465</cdr:x>
      <cdr:y>0</cdr:y>
    </cdr:from>
    <cdr:to>
      <cdr:x>0.74793</cdr:x>
      <cdr:y>0.08206</cdr:y>
    </cdr:to>
    <cdr:sp macro="" textlink="">
      <cdr:nvSpPr>
        <cdr:cNvPr id="3" name="TextBox 32">
          <a:extLst xmlns:a="http://schemas.openxmlformats.org/drawingml/2006/main">
            <a:ext uri="{FF2B5EF4-FFF2-40B4-BE49-F238E27FC236}">
              <a16:creationId xmlns:a16="http://schemas.microsoft.com/office/drawing/2014/main" id="{6E117431-EEF9-4137-98CE-74F094FDECD5}"/>
            </a:ext>
          </a:extLst>
        </cdr:cNvPr>
        <cdr:cNvSpPr txBox="1"/>
      </cdr:nvSpPr>
      <cdr:spPr>
        <a:xfrm xmlns:a="http://schemas.openxmlformats.org/drawingml/2006/main">
          <a:off x="1530699" y="0"/>
          <a:ext cx="1445671"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xmlns:a="http://schemas.openxmlformats.org/drawingml/2006/main">
          <a:r>
            <a:rPr lang="en-US" sz="1100" b="1" i="1" dirty="0">
              <a:latin typeface="+mj-lt"/>
            </a:rPr>
            <a:t>CAGR</a:t>
          </a:r>
          <a:r>
            <a:rPr lang="en-US" sz="1100" b="1" i="1" baseline="-25000" dirty="0">
              <a:latin typeface="+mj-lt"/>
            </a:rPr>
            <a:t>17-19</a:t>
          </a:r>
          <a:r>
            <a:rPr lang="en-US" sz="1200" b="1" i="1" dirty="0">
              <a:latin typeface="+mj-lt"/>
            </a:rPr>
            <a:t>: -3.6%</a:t>
          </a:r>
        </a:p>
      </cdr:txBody>
    </cdr:sp>
  </cdr:relSizeAnchor>
</c:userShapes>
</file>

<file path=ppt/drawings/drawing5.xml><?xml version="1.0" encoding="utf-8"?>
<c:userShapes xmlns:c="http://schemas.openxmlformats.org/drawingml/2006/chart">
  <cdr:relSizeAnchor xmlns:cdr="http://schemas.openxmlformats.org/drawingml/2006/chartDrawing">
    <cdr:from>
      <cdr:x>0.08417</cdr:x>
      <cdr:y>0.14858</cdr:y>
    </cdr:from>
    <cdr:to>
      <cdr:x>0.94823</cdr:x>
      <cdr:y>0.89077</cdr:y>
    </cdr:to>
    <cdr:sp macro="" textlink="">
      <cdr:nvSpPr>
        <cdr:cNvPr id="4" name="Forme libre : forme 3">
          <a:extLst xmlns:a="http://schemas.openxmlformats.org/drawingml/2006/main">
            <a:ext uri="{FF2B5EF4-FFF2-40B4-BE49-F238E27FC236}">
              <a16:creationId xmlns:a16="http://schemas.microsoft.com/office/drawing/2014/main" id="{8271DE04-CBF2-4801-8945-336DF565AB89}"/>
            </a:ext>
          </a:extLst>
        </cdr:cNvPr>
        <cdr:cNvSpPr/>
      </cdr:nvSpPr>
      <cdr:spPr bwMode="auto">
        <a:xfrm xmlns:a="http://schemas.openxmlformats.org/drawingml/2006/main">
          <a:off x="269178" y="250290"/>
          <a:ext cx="2763298" cy="1250298"/>
        </a:xfrm>
        <a:custGeom xmlns:a="http://schemas.openxmlformats.org/drawingml/2006/main">
          <a:avLst/>
          <a:gdLst>
            <a:gd name="connsiteX0" fmla="*/ 0 w 2843684"/>
            <a:gd name="connsiteY0" fmla="*/ 0 h 1055077"/>
            <a:gd name="connsiteX1" fmla="*/ 1185706 w 2843684"/>
            <a:gd name="connsiteY1" fmla="*/ 763675 h 1055077"/>
            <a:gd name="connsiteX2" fmla="*/ 2843684 w 2843684"/>
            <a:gd name="connsiteY2" fmla="*/ 1055077 h 1055077"/>
          </a:gdLst>
          <a:ahLst/>
          <a:cxnLst>
            <a:cxn ang="0">
              <a:pos x="connsiteX0" y="connsiteY0"/>
            </a:cxn>
            <a:cxn ang="0">
              <a:pos x="connsiteX1" y="connsiteY1"/>
            </a:cxn>
            <a:cxn ang="0">
              <a:pos x="connsiteX2" y="connsiteY2"/>
            </a:cxn>
          </a:cxnLst>
          <a:rect l="l" t="t" r="r" b="b"/>
          <a:pathLst>
            <a:path w="2843684" h="1055077">
              <a:moveTo>
                <a:pt x="0" y="0"/>
              </a:moveTo>
              <a:cubicBezTo>
                <a:pt x="355879" y="293914"/>
                <a:pt x="711759" y="587829"/>
                <a:pt x="1185706" y="763675"/>
              </a:cubicBezTo>
              <a:cubicBezTo>
                <a:pt x="1659653" y="939521"/>
                <a:pt x="2251668" y="997299"/>
                <a:pt x="2843684" y="1055077"/>
              </a:cubicBezTo>
            </a:path>
          </a:pathLst>
        </a:custGeom>
        <a:noFill xmlns:a="http://schemas.openxmlformats.org/drawingml/2006/main"/>
        <a:ln xmlns:a="http://schemas.openxmlformats.org/drawingml/2006/main" w="28575" cap="flat" cmpd="sng" algn="ctr">
          <a:solidFill>
            <a:schemeClr val="tx2"/>
          </a:solidFill>
          <a:prstDash val="solid"/>
          <a:round/>
          <a:headEnd type="none" w="med" len="med"/>
          <a:tailEnd type="triangle" w="med" len="med"/>
        </a:ln>
        <a:effectLst xmlns:a="http://schemas.openxmlformats.org/drawingml/2006/main"/>
      </cdr:spPr>
      <cdr:txBody>
        <a:bodyPr xmlns:a="http://schemas.openxmlformats.org/drawingml/2006/main" vertOverflow="clip" vert="horz" wrap="square" lIns="91440" tIns="45720" rIns="91440" bIns="45720" numCol="1" rtlCol="0" anchor="t" anchorCtr="0" compatLnSpc="1">
          <a:prstTxWarp prst="textNoShape">
            <a:avLst/>
          </a:prstTxWarp>
        </a:bodyPr>
        <a:lstStyle xmlns:a="http://schemas.openxmlformats.org/drawingml/2006/main"/>
        <a:p xmlns:a="http://schemas.openxmlformats.org/drawingml/2006/main">
          <a:endParaRPr lang="fr-FR">
            <a:solidFill>
              <a:schemeClr val="tx1"/>
            </a:solidFill>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58402</cdr:x>
      <cdr:y>0.03957</cdr:y>
    </cdr:from>
    <cdr:to>
      <cdr:x>0.95558</cdr:x>
      <cdr:y>0.33535</cdr:y>
    </cdr:to>
    <cdr:sp macro="" textlink="">
      <cdr:nvSpPr>
        <cdr:cNvPr id="2" name="Bulle narrative : rectangle 1">
          <a:extLst xmlns:a="http://schemas.openxmlformats.org/drawingml/2006/main">
            <a:ext uri="{FF2B5EF4-FFF2-40B4-BE49-F238E27FC236}">
              <a16:creationId xmlns:a16="http://schemas.microsoft.com/office/drawing/2014/main" id="{FD78C963-82A0-4FA6-9FC0-86BA1BF72CE4}"/>
            </a:ext>
          </a:extLst>
        </cdr:cNvPr>
        <cdr:cNvSpPr/>
      </cdr:nvSpPr>
      <cdr:spPr bwMode="auto">
        <a:xfrm xmlns:a="http://schemas.openxmlformats.org/drawingml/2006/main">
          <a:off x="2572415" y="93781"/>
          <a:ext cx="1636608" cy="701021"/>
        </a:xfrm>
        <a:prstGeom xmlns:a="http://schemas.openxmlformats.org/drawingml/2006/main" prst="wedgeRectCallout">
          <a:avLst>
            <a:gd name="adj1" fmla="val -19802"/>
            <a:gd name="adj2" fmla="val 70326"/>
          </a:avLst>
        </a:prstGeom>
        <a:solidFill xmlns:a="http://schemas.openxmlformats.org/drawingml/2006/main">
          <a:schemeClr val="bg1"/>
        </a:solidFill>
        <a:ln xmlns:a="http://schemas.openxmlformats.org/drawingml/2006/main">
          <a:solidFill>
            <a:schemeClr val="bg1">
              <a:lumMod val="85000"/>
            </a:schemeClr>
          </a:solidFill>
        </a:ln>
        <a:effectLst xmlns:a="http://schemas.openxmlformats.org/drawingml/2006/main">
          <a:outerShdw blurRad="50800" dist="38100" dir="2700000" algn="tl" rotWithShape="0">
            <a:prstClr val="black">
              <a:alpha val="40000"/>
            </a:prstClr>
          </a:outerShdw>
        </a:effectLst>
      </cdr:spPr>
      <cdr:txBody>
        <a:bodyPr xmlns:a="http://schemas.openxmlformats.org/drawingml/2006/main" wrap="square" rtlCol="0" anchor="ctr">
          <a:noAutofit/>
        </a:bodyPr>
        <a:lstStyle xmlns:a="http://schemas.openxmlformats.org/drawingml/2006/main"/>
        <a:p xmlns:a="http://schemas.openxmlformats.org/drawingml/2006/main">
          <a:pPr marL="0" indent="0" algn="ctr" rtl="0" fontAlgn="base">
            <a:spcBef>
              <a:spcPct val="0"/>
            </a:spcBef>
            <a:spcAft>
              <a:spcPct val="0"/>
            </a:spcAft>
          </a:pPr>
          <a:r>
            <a:rPr lang="en-GB" sz="1000" kern="1200" noProof="0" dirty="0" err="1">
              <a:solidFill>
                <a:schemeClr val="tx1"/>
              </a:solidFill>
              <a:latin typeface="Trebuchet MS" panose="020B0603020202020204" pitchFamily="34" charset="0"/>
              <a:ea typeface="+mn-ea"/>
              <a:cs typeface="Arial" pitchFamily="34" charset="0"/>
            </a:rPr>
            <a:t>indueD</a:t>
          </a:r>
          <a:r>
            <a:rPr lang="en-GB" sz="1000" kern="1200" noProof="0" dirty="0">
              <a:solidFill>
                <a:schemeClr val="tx1"/>
              </a:solidFill>
              <a:latin typeface="Trebuchet MS" panose="020B0603020202020204" pitchFamily="34" charset="0"/>
              <a:ea typeface="+mn-ea"/>
              <a:cs typeface="Arial" pitchFamily="34" charset="0"/>
            </a:rPr>
            <a:t> only represented </a:t>
          </a:r>
          <a:r>
            <a:rPr lang="en-GB" sz="1000" kern="1200" noProof="0" dirty="0">
              <a:solidFill>
                <a:schemeClr val="tx2"/>
              </a:solidFill>
              <a:latin typeface="Trebuchet MS" panose="020B0603020202020204" pitchFamily="34" charset="0"/>
              <a:cs typeface="Arial" pitchFamily="34" charset="0"/>
            </a:rPr>
            <a:t>~1.5 €m </a:t>
          </a:r>
          <a:r>
            <a:rPr lang="en-GB" sz="1000" kern="1200" dirty="0">
              <a:solidFill>
                <a:schemeClr val="tx1"/>
              </a:solidFill>
              <a:latin typeface="Trebuchet MS" panose="020B0603020202020204" pitchFamily="34" charset="0"/>
              <a:cs typeface="Arial" pitchFamily="34" charset="0"/>
            </a:rPr>
            <a:t>of</a:t>
          </a:r>
          <a:r>
            <a:rPr lang="en-GB" sz="1000" kern="1200" noProof="0" dirty="0">
              <a:solidFill>
                <a:schemeClr val="tx1"/>
              </a:solidFill>
              <a:latin typeface="Trebuchet MS" panose="020B0603020202020204" pitchFamily="34" charset="0"/>
              <a:ea typeface="+mn-ea"/>
              <a:cs typeface="Arial" pitchFamily="34" charset="0"/>
            </a:rPr>
            <a:t> total booking 2019 </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2A81ACBB-73F6-4806-906D-878542C69155}" type="datetimeFigureOut">
              <a:rPr lang="fr-FR" smtClean="0"/>
              <a:t>27/08/2021</a:t>
            </a:fld>
            <a:endParaRPr lang="fr-FR"/>
          </a:p>
        </p:txBody>
      </p:sp>
      <p:sp>
        <p:nvSpPr>
          <p:cNvPr id="4" name="Slide Image Placeholder 3"/>
          <p:cNvSpPr>
            <a:spLocks noGrp="1" noRot="1" noChangeAspect="1"/>
          </p:cNvSpPr>
          <p:nvPr>
            <p:ph type="sldImg" idx="2"/>
          </p:nvPr>
        </p:nvSpPr>
        <p:spPr>
          <a:xfrm>
            <a:off x="963613" y="1233488"/>
            <a:ext cx="4808537" cy="3328987"/>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FA1CC064-C9F0-49D0-ADD5-86C6DEC90002}" type="slidenum">
              <a:rPr lang="fr-FR" smtClean="0"/>
              <a:t>‹#›</a:t>
            </a:fld>
            <a:endParaRPr lang="fr-FR"/>
          </a:p>
        </p:txBody>
      </p:sp>
    </p:spTree>
    <p:extLst>
      <p:ext uri="{BB962C8B-B14F-4D97-AF65-F5344CB8AC3E}">
        <p14:creationId xmlns:p14="http://schemas.microsoft.com/office/powerpoint/2010/main" val="21827997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4</a:t>
            </a:fld>
            <a:endParaRPr lang="fr-FR"/>
          </a:p>
        </p:txBody>
      </p:sp>
    </p:spTree>
    <p:extLst>
      <p:ext uri="{BB962C8B-B14F-4D97-AF65-F5344CB8AC3E}">
        <p14:creationId xmlns:p14="http://schemas.microsoft.com/office/powerpoint/2010/main" val="24961783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31606D5-C694-490C-BB3C-1752646257AE}" type="slidenum">
              <a:rPr lang="en-US" smtClean="0"/>
              <a:t>20</a:t>
            </a:fld>
            <a:endParaRPr lang="en-US"/>
          </a:p>
        </p:txBody>
      </p:sp>
    </p:spTree>
    <p:extLst>
      <p:ext uri="{BB962C8B-B14F-4D97-AF65-F5344CB8AC3E}">
        <p14:creationId xmlns:p14="http://schemas.microsoft.com/office/powerpoint/2010/main" val="42861385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014A114B-4430-4427-924D-3C064E812669}" type="slidenum">
              <a:rPr lang="en-US" smtClean="0"/>
              <a:t>21</a:t>
            </a:fld>
            <a:endParaRPr lang="en-US"/>
          </a:p>
        </p:txBody>
      </p:sp>
    </p:spTree>
    <p:extLst>
      <p:ext uri="{BB962C8B-B14F-4D97-AF65-F5344CB8AC3E}">
        <p14:creationId xmlns:p14="http://schemas.microsoft.com/office/powerpoint/2010/main" val="31448298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24</a:t>
            </a:fld>
            <a:endParaRPr lang="fr-FR"/>
          </a:p>
        </p:txBody>
      </p:sp>
    </p:spTree>
    <p:extLst>
      <p:ext uri="{BB962C8B-B14F-4D97-AF65-F5344CB8AC3E}">
        <p14:creationId xmlns:p14="http://schemas.microsoft.com/office/powerpoint/2010/main" val="3699359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27</a:t>
            </a:fld>
            <a:endParaRPr lang="fr-FR"/>
          </a:p>
        </p:txBody>
      </p:sp>
    </p:spTree>
    <p:extLst>
      <p:ext uri="{BB962C8B-B14F-4D97-AF65-F5344CB8AC3E}">
        <p14:creationId xmlns:p14="http://schemas.microsoft.com/office/powerpoint/2010/main" val="16305157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lesechos.fr/pme-regions/actualite-pme/malgre-le-Covid-19-plus-dune-entreprise-sur-deux-continue-a-exporter-1197203</a:t>
            </a:r>
          </a:p>
          <a:p>
            <a:r>
              <a:rPr lang="en-US"/>
              <a:t>https://www.latribune.fr/economie/france/Covid-19-la-catastrophe-des-delais-de-paiement-s-amplifie-847082.html</a:t>
            </a:r>
          </a:p>
          <a:p>
            <a:r>
              <a:rPr lang="en-US"/>
              <a:t>https://publications.banque-france.fr/en/do-late-customer-payments-impact-companies-probability-default</a:t>
            </a:r>
          </a:p>
          <a:p>
            <a:r>
              <a:rPr lang="en-US"/>
              <a:t>https://www.xerfi.com/flash/Covid-19-Enqu%C3%AAte-Entrepreneurs-Juin-2020-VF.pdf</a:t>
            </a:r>
          </a:p>
          <a:p>
            <a:endParaRPr lang="en-US"/>
          </a:p>
        </p:txBody>
      </p:sp>
      <p:sp>
        <p:nvSpPr>
          <p:cNvPr id="4" name="Slide Number Placeholder 3"/>
          <p:cNvSpPr>
            <a:spLocks noGrp="1"/>
          </p:cNvSpPr>
          <p:nvPr>
            <p:ph type="sldNum" sz="quarter" idx="5"/>
          </p:nvPr>
        </p:nvSpPr>
        <p:spPr/>
        <p:txBody>
          <a:bodyPr/>
          <a:lstStyle/>
          <a:p>
            <a:fld id="{B31606D5-C694-490C-BB3C-1752646257AE}" type="slidenum">
              <a:rPr lang="en-US" smtClean="0"/>
              <a:t>33</a:t>
            </a:fld>
            <a:endParaRPr lang="en-US"/>
          </a:p>
        </p:txBody>
      </p:sp>
    </p:spTree>
    <p:extLst>
      <p:ext uri="{BB962C8B-B14F-4D97-AF65-F5344CB8AC3E}">
        <p14:creationId xmlns:p14="http://schemas.microsoft.com/office/powerpoint/2010/main" val="26058776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challenges.fr/entreprise/faillites-d-entreprises-les-assureurs-credit-doivent-prendre-leurs-responsabilites_712948</a:t>
            </a:r>
          </a:p>
          <a:p>
            <a:r>
              <a:rPr lang="en-US"/>
              <a:t>https://www.eulerhermes.fr/actualites/barometre-export-2018.html</a:t>
            </a:r>
          </a:p>
          <a:p>
            <a:r>
              <a:rPr lang="en-US"/>
              <a:t>https://www.statista.com/statistics/818465/b2b-average-payment-delays-in-the-netherlands/</a:t>
            </a:r>
          </a:p>
          <a:p>
            <a:r>
              <a:rPr lang="en-US"/>
              <a:t>https://group.atradius.com/publications/payment-practice-barometer-france-2019.html</a:t>
            </a:r>
          </a:p>
          <a:p>
            <a:r>
              <a:rPr lang="en-US"/>
              <a:t>https://group.atradius.com/publications/payment-practice-barometer-netherlands-2019.html</a:t>
            </a:r>
          </a:p>
          <a:p>
            <a:r>
              <a:rPr lang="en-US"/>
              <a:t>https://group.atradius.com/publications/payment-practice-barometer-belgium-2019.html</a:t>
            </a:r>
          </a:p>
        </p:txBody>
      </p:sp>
      <p:sp>
        <p:nvSpPr>
          <p:cNvPr id="4" name="Slide Number Placeholder 3"/>
          <p:cNvSpPr>
            <a:spLocks noGrp="1"/>
          </p:cNvSpPr>
          <p:nvPr>
            <p:ph type="sldNum" sz="quarter" idx="5"/>
          </p:nvPr>
        </p:nvSpPr>
        <p:spPr/>
        <p:txBody>
          <a:bodyPr/>
          <a:lstStyle/>
          <a:p>
            <a:fld id="{B31606D5-C694-490C-BB3C-1752646257AE}" type="slidenum">
              <a:rPr lang="en-US" smtClean="0"/>
              <a:t>34</a:t>
            </a:fld>
            <a:endParaRPr lang="en-US"/>
          </a:p>
        </p:txBody>
      </p:sp>
    </p:spTree>
    <p:extLst>
      <p:ext uri="{BB962C8B-B14F-4D97-AF65-F5344CB8AC3E}">
        <p14:creationId xmlns:p14="http://schemas.microsoft.com/office/powerpoint/2010/main" val="41900669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challenges.fr/entreprise/faillites-d-entreprises-les-assureurs-credit-doivent-prendre-leurs-responsabilites_712948</a:t>
            </a:r>
          </a:p>
          <a:p>
            <a:r>
              <a:rPr lang="en-US"/>
              <a:t>https://www.eulerhermes.fr/actualites/barometre-export-2018.html</a:t>
            </a:r>
          </a:p>
          <a:p>
            <a:r>
              <a:rPr lang="en-US"/>
              <a:t>https://www.statista.com/statistics/818465/b2b-average-payment-delays-in-the-netherlands/</a:t>
            </a:r>
          </a:p>
          <a:p>
            <a:r>
              <a:rPr lang="en-US"/>
              <a:t>https://group.atradius.com/publications/payment-practice-barometer-france-2019.html</a:t>
            </a:r>
          </a:p>
          <a:p>
            <a:r>
              <a:rPr lang="en-US"/>
              <a:t>https://group.atradius.com/publications/payment-practice-barometer-netherlands-2019.html</a:t>
            </a:r>
          </a:p>
          <a:p>
            <a:r>
              <a:rPr lang="en-US"/>
              <a:t>https://group.atradius.com/publications/payment-practice-barometer-belgium-2019.html</a:t>
            </a:r>
          </a:p>
        </p:txBody>
      </p:sp>
      <p:sp>
        <p:nvSpPr>
          <p:cNvPr id="4" name="Slide Number Placeholder 3"/>
          <p:cNvSpPr>
            <a:spLocks noGrp="1"/>
          </p:cNvSpPr>
          <p:nvPr>
            <p:ph type="sldNum" sz="quarter" idx="5"/>
          </p:nvPr>
        </p:nvSpPr>
        <p:spPr/>
        <p:txBody>
          <a:bodyPr/>
          <a:lstStyle/>
          <a:p>
            <a:fld id="{B31606D5-C694-490C-BB3C-1752646257AE}" type="slidenum">
              <a:rPr lang="en-US" smtClean="0"/>
              <a:t>35</a:t>
            </a:fld>
            <a:endParaRPr lang="en-US"/>
          </a:p>
        </p:txBody>
      </p:sp>
    </p:spTree>
    <p:extLst>
      <p:ext uri="{BB962C8B-B14F-4D97-AF65-F5344CB8AC3E}">
        <p14:creationId xmlns:p14="http://schemas.microsoft.com/office/powerpoint/2010/main" val="30753511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statbel.fgov.be/fr/nouvelles/analyse-des-faillites-et-de-la-perte-demplois-en-2019</a:t>
            </a:r>
          </a:p>
        </p:txBody>
      </p:sp>
      <p:sp>
        <p:nvSpPr>
          <p:cNvPr id="4" name="Slide Number Placeholder 3"/>
          <p:cNvSpPr>
            <a:spLocks noGrp="1"/>
          </p:cNvSpPr>
          <p:nvPr>
            <p:ph type="sldNum" sz="quarter" idx="5"/>
          </p:nvPr>
        </p:nvSpPr>
        <p:spPr/>
        <p:txBody>
          <a:bodyPr/>
          <a:lstStyle/>
          <a:p>
            <a:fld id="{B31606D5-C694-490C-BB3C-1752646257AE}" type="slidenum">
              <a:rPr lang="en-US" smtClean="0"/>
              <a:t>36</a:t>
            </a:fld>
            <a:endParaRPr lang="en-US"/>
          </a:p>
        </p:txBody>
      </p:sp>
    </p:spTree>
    <p:extLst>
      <p:ext uri="{BB962C8B-B14F-4D97-AF65-F5344CB8AC3E}">
        <p14:creationId xmlns:p14="http://schemas.microsoft.com/office/powerpoint/2010/main" val="5854651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31606D5-C694-490C-BB3C-1752646257AE}" type="slidenum">
              <a:rPr lang="en-US" smtClean="0"/>
              <a:t>37</a:t>
            </a:fld>
            <a:endParaRPr lang="en-US"/>
          </a:p>
        </p:txBody>
      </p:sp>
    </p:spTree>
    <p:extLst>
      <p:ext uri="{BB962C8B-B14F-4D97-AF65-F5344CB8AC3E}">
        <p14:creationId xmlns:p14="http://schemas.microsoft.com/office/powerpoint/2010/main" val="42920105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31606D5-C694-490C-BB3C-1752646257AE}" type="slidenum">
              <a:rPr lang="en-US" smtClean="0"/>
              <a:t>38</a:t>
            </a:fld>
            <a:endParaRPr lang="en-US"/>
          </a:p>
        </p:txBody>
      </p:sp>
    </p:spTree>
    <p:extLst>
      <p:ext uri="{BB962C8B-B14F-4D97-AF65-F5344CB8AC3E}">
        <p14:creationId xmlns:p14="http://schemas.microsoft.com/office/powerpoint/2010/main" val="3875853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6</a:t>
            </a:fld>
            <a:endParaRPr lang="fr-FR"/>
          </a:p>
        </p:txBody>
      </p:sp>
    </p:spTree>
    <p:extLst>
      <p:ext uri="{BB962C8B-B14F-4D97-AF65-F5344CB8AC3E}">
        <p14:creationId xmlns:p14="http://schemas.microsoft.com/office/powerpoint/2010/main" val="16017188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41</a:t>
            </a:fld>
            <a:endParaRPr lang="fr-FR"/>
          </a:p>
        </p:txBody>
      </p:sp>
    </p:spTree>
    <p:extLst>
      <p:ext uri="{BB962C8B-B14F-4D97-AF65-F5344CB8AC3E}">
        <p14:creationId xmlns:p14="http://schemas.microsoft.com/office/powerpoint/2010/main" val="41159628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014A114B-4430-4427-924D-3C064E812669}" type="slidenum">
              <a:rPr lang="en-US" smtClean="0"/>
              <a:t>42</a:t>
            </a:fld>
            <a:endParaRPr lang="en-US"/>
          </a:p>
        </p:txBody>
      </p:sp>
    </p:spTree>
    <p:extLst>
      <p:ext uri="{BB962C8B-B14F-4D97-AF65-F5344CB8AC3E}">
        <p14:creationId xmlns:p14="http://schemas.microsoft.com/office/powerpoint/2010/main" val="4623537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a:t>https://www.tmf-group.com/en/news-insights/articles/2018/september/netherlands-corporate-compliance/?utm_source=Mondaq&amp;utm_medium=syndication&amp;utm_campaign=LinkedIn-integration</a:t>
            </a:r>
          </a:p>
        </p:txBody>
      </p:sp>
      <p:sp>
        <p:nvSpPr>
          <p:cNvPr id="4" name="Espace réservé du numéro de diapositive 3"/>
          <p:cNvSpPr>
            <a:spLocks noGrp="1"/>
          </p:cNvSpPr>
          <p:nvPr>
            <p:ph type="sldNum" sz="quarter" idx="5"/>
          </p:nvPr>
        </p:nvSpPr>
        <p:spPr/>
        <p:txBody>
          <a:bodyPr/>
          <a:lstStyle/>
          <a:p>
            <a:fld id="{014A114B-4430-4427-924D-3C064E812669}" type="slidenum">
              <a:rPr lang="en-US" smtClean="0"/>
              <a:t>44</a:t>
            </a:fld>
            <a:endParaRPr lang="en-US"/>
          </a:p>
        </p:txBody>
      </p:sp>
    </p:spTree>
    <p:extLst>
      <p:ext uri="{BB962C8B-B14F-4D97-AF65-F5344CB8AC3E}">
        <p14:creationId xmlns:p14="http://schemas.microsoft.com/office/powerpoint/2010/main" val="38411082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014A114B-4430-4427-924D-3C064E812669}" type="slidenum">
              <a:rPr lang="en-US" smtClean="0"/>
              <a:t>45</a:t>
            </a:fld>
            <a:endParaRPr lang="en-US"/>
          </a:p>
        </p:txBody>
      </p:sp>
    </p:spTree>
    <p:extLst>
      <p:ext uri="{BB962C8B-B14F-4D97-AF65-F5344CB8AC3E}">
        <p14:creationId xmlns:p14="http://schemas.microsoft.com/office/powerpoint/2010/main" val="20038204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014A114B-4430-4427-924D-3C064E812669}" type="slidenum">
              <a:rPr lang="en-US" smtClean="0"/>
              <a:t>46</a:t>
            </a:fld>
            <a:endParaRPr lang="en-US"/>
          </a:p>
        </p:txBody>
      </p:sp>
    </p:spTree>
    <p:extLst>
      <p:ext uri="{BB962C8B-B14F-4D97-AF65-F5344CB8AC3E}">
        <p14:creationId xmlns:p14="http://schemas.microsoft.com/office/powerpoint/2010/main" val="35257231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B31606D5-C694-490C-BB3C-1752646257AE}" type="slidenum">
              <a:rPr lang="en-US" smtClean="0"/>
              <a:t>47</a:t>
            </a:fld>
            <a:endParaRPr lang="en-US"/>
          </a:p>
        </p:txBody>
      </p:sp>
    </p:spTree>
    <p:extLst>
      <p:ext uri="{BB962C8B-B14F-4D97-AF65-F5344CB8AC3E}">
        <p14:creationId xmlns:p14="http://schemas.microsoft.com/office/powerpoint/2010/main" val="3311842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a:t>https://blogs.thomsonreuters.com/answerson/strategic-compliance-outsourcing/</a:t>
            </a:r>
          </a:p>
        </p:txBody>
      </p:sp>
      <p:sp>
        <p:nvSpPr>
          <p:cNvPr id="4" name="Espace réservé du numéro de diapositive 3"/>
          <p:cNvSpPr>
            <a:spLocks noGrp="1"/>
          </p:cNvSpPr>
          <p:nvPr>
            <p:ph type="sldNum" sz="quarter" idx="5"/>
          </p:nvPr>
        </p:nvSpPr>
        <p:spPr/>
        <p:txBody>
          <a:bodyPr/>
          <a:lstStyle/>
          <a:p>
            <a:fld id="{014A114B-4430-4427-924D-3C064E812669}" type="slidenum">
              <a:rPr lang="en-US" smtClean="0"/>
              <a:t>49</a:t>
            </a:fld>
            <a:endParaRPr lang="en-US"/>
          </a:p>
        </p:txBody>
      </p:sp>
    </p:spTree>
    <p:extLst>
      <p:ext uri="{BB962C8B-B14F-4D97-AF65-F5344CB8AC3E}">
        <p14:creationId xmlns:p14="http://schemas.microsoft.com/office/powerpoint/2010/main" val="26959163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014A114B-4430-4427-924D-3C064E812669}" type="slidenum">
              <a:rPr lang="en-US" smtClean="0"/>
              <a:t>50</a:t>
            </a:fld>
            <a:endParaRPr lang="en-US"/>
          </a:p>
        </p:txBody>
      </p:sp>
    </p:spTree>
    <p:extLst>
      <p:ext uri="{BB962C8B-B14F-4D97-AF65-F5344CB8AC3E}">
        <p14:creationId xmlns:p14="http://schemas.microsoft.com/office/powerpoint/2010/main" val="8192225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a:latin typeface="+mj-lt"/>
              </a:rPr>
              <a:t>https://www.openpr.com/news/1910086/europe-anti-money-laundering-software-market-in-depth-swot</a:t>
            </a:r>
          </a:p>
          <a:p>
            <a:endParaRPr lang="fr-FR"/>
          </a:p>
          <a:p>
            <a:endParaRPr lang="en-US"/>
          </a:p>
        </p:txBody>
      </p:sp>
      <p:sp>
        <p:nvSpPr>
          <p:cNvPr id="4" name="Espace réservé du numéro de diapositive 3"/>
          <p:cNvSpPr>
            <a:spLocks noGrp="1"/>
          </p:cNvSpPr>
          <p:nvPr>
            <p:ph type="sldNum" sz="quarter" idx="5"/>
          </p:nvPr>
        </p:nvSpPr>
        <p:spPr/>
        <p:txBody>
          <a:bodyPr/>
          <a:lstStyle/>
          <a:p>
            <a:fld id="{014A114B-4430-4427-924D-3C064E812669}" type="slidenum">
              <a:rPr lang="en-US" smtClean="0"/>
              <a:t>54</a:t>
            </a:fld>
            <a:endParaRPr lang="en-US"/>
          </a:p>
        </p:txBody>
      </p:sp>
    </p:spTree>
    <p:extLst>
      <p:ext uri="{BB962C8B-B14F-4D97-AF65-F5344CB8AC3E}">
        <p14:creationId xmlns:p14="http://schemas.microsoft.com/office/powerpoint/2010/main" val="28310420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a:t>https://home.kpmg/fr/fr/home/media/press-releases/2019/12/regtech-nouvelles-technologies-reglementation-financiere.html</a:t>
            </a:r>
          </a:p>
        </p:txBody>
      </p:sp>
      <p:sp>
        <p:nvSpPr>
          <p:cNvPr id="4" name="Espace réservé du numéro de diapositive 3"/>
          <p:cNvSpPr>
            <a:spLocks noGrp="1"/>
          </p:cNvSpPr>
          <p:nvPr>
            <p:ph type="sldNum" sz="quarter" idx="5"/>
          </p:nvPr>
        </p:nvSpPr>
        <p:spPr/>
        <p:txBody>
          <a:bodyPr/>
          <a:lstStyle/>
          <a:p>
            <a:fld id="{014A114B-4430-4427-924D-3C064E812669}" type="slidenum">
              <a:rPr lang="en-US" smtClean="0"/>
              <a:t>55</a:t>
            </a:fld>
            <a:endParaRPr lang="en-US"/>
          </a:p>
        </p:txBody>
      </p:sp>
    </p:spTree>
    <p:extLst>
      <p:ext uri="{BB962C8B-B14F-4D97-AF65-F5344CB8AC3E}">
        <p14:creationId xmlns:p14="http://schemas.microsoft.com/office/powerpoint/2010/main" val="8073698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8</a:t>
            </a:fld>
            <a:endParaRPr lang="fr-FR"/>
          </a:p>
        </p:txBody>
      </p:sp>
    </p:spTree>
    <p:extLst>
      <p:ext uri="{BB962C8B-B14F-4D97-AF65-F5344CB8AC3E}">
        <p14:creationId xmlns:p14="http://schemas.microsoft.com/office/powerpoint/2010/main" val="11212163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B0288A1B-D61A-4942-ADE0-68428247C569}" type="slidenum">
              <a:rPr lang="en-US" smtClean="0"/>
              <a:t>61</a:t>
            </a:fld>
            <a:endParaRPr lang="en-US"/>
          </a:p>
        </p:txBody>
      </p:sp>
    </p:spTree>
    <p:extLst>
      <p:ext uri="{BB962C8B-B14F-4D97-AF65-F5344CB8AC3E}">
        <p14:creationId xmlns:p14="http://schemas.microsoft.com/office/powerpoint/2010/main" val="40986925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https://www.statista.com/statistics/1133017/change-global-b2b-marketing-spend-Covid-19/</a:t>
            </a:r>
          </a:p>
          <a:p>
            <a:r>
              <a:rPr lang="fr-FR"/>
              <a:t>https://www.bcg.com/fr-fr/publications/2020/stabilize-increase-sales-through-Covid-crisis</a:t>
            </a:r>
          </a:p>
          <a:p>
            <a:r>
              <a:rPr lang="fr-FR"/>
              <a:t>https://www.mckinsey.com/business-functions/marketing-and-sales/our-insights/the-b2b-digital-inflection-point-how-sales-have-changed-during-Covid-19</a:t>
            </a:r>
          </a:p>
        </p:txBody>
      </p:sp>
      <p:sp>
        <p:nvSpPr>
          <p:cNvPr id="4" name="Slide Number Placeholder 3"/>
          <p:cNvSpPr>
            <a:spLocks noGrp="1"/>
          </p:cNvSpPr>
          <p:nvPr>
            <p:ph type="sldNum" sz="quarter" idx="5"/>
          </p:nvPr>
        </p:nvSpPr>
        <p:spPr/>
        <p:txBody>
          <a:bodyPr/>
          <a:lstStyle/>
          <a:p>
            <a:fld id="{FA1CC064-C9F0-49D0-ADD5-86C6DEC90002}" type="slidenum">
              <a:rPr lang="fr-FR" smtClean="0"/>
              <a:t>62</a:t>
            </a:fld>
            <a:endParaRPr lang="fr-FR"/>
          </a:p>
        </p:txBody>
      </p:sp>
    </p:spTree>
    <p:extLst>
      <p:ext uri="{BB962C8B-B14F-4D97-AF65-F5344CB8AC3E}">
        <p14:creationId xmlns:p14="http://schemas.microsoft.com/office/powerpoint/2010/main" val="14858680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014A114B-4430-4427-924D-3C064E812669}" type="slidenum">
              <a:rPr lang="en-US" smtClean="0"/>
              <a:t>63</a:t>
            </a:fld>
            <a:endParaRPr lang="en-US"/>
          </a:p>
        </p:txBody>
      </p:sp>
    </p:spTree>
    <p:extLst>
      <p:ext uri="{BB962C8B-B14F-4D97-AF65-F5344CB8AC3E}">
        <p14:creationId xmlns:p14="http://schemas.microsoft.com/office/powerpoint/2010/main" val="2327087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67</a:t>
            </a:fld>
            <a:endParaRPr lang="fr-FR"/>
          </a:p>
        </p:txBody>
      </p:sp>
    </p:spTree>
    <p:extLst>
      <p:ext uri="{BB962C8B-B14F-4D97-AF65-F5344CB8AC3E}">
        <p14:creationId xmlns:p14="http://schemas.microsoft.com/office/powerpoint/2010/main" val="334840254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31606D5-C694-490C-BB3C-1752646257AE}" type="slidenum">
              <a:rPr lang="en-US" smtClean="0"/>
              <a:t>69</a:t>
            </a:fld>
            <a:endParaRPr lang="en-US"/>
          </a:p>
        </p:txBody>
      </p:sp>
    </p:spTree>
    <p:extLst>
      <p:ext uri="{BB962C8B-B14F-4D97-AF65-F5344CB8AC3E}">
        <p14:creationId xmlns:p14="http://schemas.microsoft.com/office/powerpoint/2010/main" val="21573019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FA1CC064-C9F0-49D0-ADD5-86C6DEC90002}" type="slidenum">
              <a:rPr lang="fr-FR" smtClean="0"/>
              <a:t>70</a:t>
            </a:fld>
            <a:endParaRPr lang="fr-FR"/>
          </a:p>
        </p:txBody>
      </p:sp>
    </p:spTree>
    <p:extLst>
      <p:ext uri="{BB962C8B-B14F-4D97-AF65-F5344CB8AC3E}">
        <p14:creationId xmlns:p14="http://schemas.microsoft.com/office/powerpoint/2010/main" val="8882658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72</a:t>
            </a:fld>
            <a:endParaRPr lang="fr-FR"/>
          </a:p>
        </p:txBody>
      </p:sp>
    </p:spTree>
    <p:extLst>
      <p:ext uri="{BB962C8B-B14F-4D97-AF65-F5344CB8AC3E}">
        <p14:creationId xmlns:p14="http://schemas.microsoft.com/office/powerpoint/2010/main" val="41647745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sz="1300"/>
          </a:p>
        </p:txBody>
      </p:sp>
      <p:sp>
        <p:nvSpPr>
          <p:cNvPr id="4" name="Espace réservé du numéro de diapositive 3"/>
          <p:cNvSpPr>
            <a:spLocks noGrp="1"/>
          </p:cNvSpPr>
          <p:nvPr>
            <p:ph type="sldNum" sz="quarter" idx="5"/>
          </p:nvPr>
        </p:nvSpPr>
        <p:spPr/>
        <p:txBody>
          <a:bodyPr/>
          <a:lstStyle/>
          <a:p>
            <a:fld id="{0B9545C6-6768-434C-ADF2-7A2F9CFBA00F}" type="slidenum">
              <a:rPr lang="en-US" smtClean="0"/>
              <a:t>73</a:t>
            </a:fld>
            <a:endParaRPr lang="en-US"/>
          </a:p>
        </p:txBody>
      </p:sp>
    </p:spTree>
    <p:extLst>
      <p:ext uri="{BB962C8B-B14F-4D97-AF65-F5344CB8AC3E}">
        <p14:creationId xmlns:p14="http://schemas.microsoft.com/office/powerpoint/2010/main" val="343521576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74</a:t>
            </a:fld>
            <a:endParaRPr lang="fr-FR"/>
          </a:p>
        </p:txBody>
      </p:sp>
    </p:spTree>
    <p:extLst>
      <p:ext uri="{BB962C8B-B14F-4D97-AF65-F5344CB8AC3E}">
        <p14:creationId xmlns:p14="http://schemas.microsoft.com/office/powerpoint/2010/main" val="10833666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Trebuchet MS" pitchFamily="34" charset="0"/>
              </a:rPr>
              <a:t>Quote sur </a:t>
            </a:r>
            <a:r>
              <a:rPr kumimoji="0" lang="en-US" sz="1200" b="0" i="0" u="none" strike="noStrike" cap="none" normalizeH="0" baseline="0" err="1">
                <a:ln>
                  <a:noFill/>
                </a:ln>
                <a:solidFill>
                  <a:schemeClr val="tx1"/>
                </a:solidFill>
                <a:effectLst/>
                <a:latin typeface="Trebuchet MS" pitchFamily="34" charset="0"/>
              </a:rPr>
              <a:t>indueD</a:t>
            </a:r>
            <a:r>
              <a:rPr kumimoji="0" lang="en-US" sz="1200" b="0" i="0" u="none" strike="noStrike" cap="none" normalizeH="0" baseline="0">
                <a:ln>
                  <a:noFill/>
                </a:ln>
                <a:solidFill>
                  <a:schemeClr val="tx1"/>
                </a:solidFill>
                <a:effectLst/>
                <a:latin typeface="Trebuchet MS" pitchFamily="34" charset="0"/>
              </a:rPr>
              <a:t> de client </a:t>
            </a:r>
            <a:r>
              <a:rPr kumimoji="0" lang="en-US" sz="1200" b="0" i="0" u="none" strike="noStrike" cap="none" normalizeH="0" baseline="0" err="1">
                <a:ln>
                  <a:noFill/>
                </a:ln>
                <a:solidFill>
                  <a:schemeClr val="tx1"/>
                </a:solidFill>
                <a:effectLst/>
                <a:latin typeface="Trebuchet MS" pitchFamily="34" charset="0"/>
              </a:rPr>
              <a:t>Altares</a:t>
            </a:r>
            <a:r>
              <a:rPr kumimoji="0" lang="en-US" sz="1200" b="0" i="0" u="none" strike="noStrike" cap="none" normalizeH="0" baseline="0">
                <a:ln>
                  <a:noFill/>
                </a:ln>
                <a:solidFill>
                  <a:schemeClr val="tx1"/>
                </a:solidFill>
                <a:effectLst/>
                <a:latin typeface="Trebuchet MS" pitchFamily="34" charset="0"/>
              </a:rPr>
              <a:t> (</a:t>
            </a:r>
            <a:r>
              <a:rPr kumimoji="0" lang="en-US" sz="1200" b="0" i="0" u="none" strike="noStrike" cap="none" normalizeH="0" baseline="0" err="1">
                <a:ln>
                  <a:noFill/>
                </a:ln>
                <a:solidFill>
                  <a:schemeClr val="tx1"/>
                </a:solidFill>
                <a:effectLst/>
                <a:latin typeface="Trebuchet MS" pitchFamily="34" charset="0"/>
              </a:rPr>
              <a:t>anonmyser</a:t>
            </a:r>
            <a:r>
              <a:rPr kumimoji="0" lang="en-US" sz="1200" b="0" i="0" u="none" strike="noStrike" cap="none" normalizeH="0" baseline="0">
                <a:ln>
                  <a:noFill/>
                </a:ln>
                <a:solidFill>
                  <a:schemeClr val="tx1"/>
                </a:solidFill>
                <a:effectLst/>
                <a:latin typeface="Trebuchet MS" pitchFamily="34" charset="0"/>
              </a:rPr>
              <a:t> les </a:t>
            </a:r>
            <a:r>
              <a:rPr kumimoji="0" lang="en-US" sz="1200" b="0" i="0" u="none" strike="noStrike" cap="none" normalizeH="0" baseline="0" err="1">
                <a:ln>
                  <a:noFill/>
                </a:ln>
                <a:solidFill>
                  <a:schemeClr val="tx1"/>
                </a:solidFill>
                <a:effectLst/>
                <a:latin typeface="Trebuchet MS" pitchFamily="34" charset="0"/>
              </a:rPr>
              <a:t>npms</a:t>
            </a:r>
            <a:r>
              <a:rPr kumimoji="0" lang="en-US" sz="1200" b="0" i="0" u="none" strike="noStrike" cap="none" normalizeH="0" baseline="0">
                <a:ln>
                  <a:noFill/>
                </a:ln>
                <a:solidFill>
                  <a:schemeClr val="tx1"/>
                </a:solidFill>
                <a:effectLst/>
                <a:latin typeface="Trebuchet MS" pitchFamily="34" charset="0"/>
              </a:rPr>
              <a:t>)</a:t>
            </a:r>
          </a:p>
          <a:p>
            <a:pPr marL="0" marR="0" indent="0" algn="ctr" defTabSz="914400" rtl="0" eaLnBrk="1" fontAlgn="base" latinLnBrk="0" hangingPunct="1">
              <a:lnSpc>
                <a:spcPct val="100000"/>
              </a:lnSpc>
              <a:spcBef>
                <a:spcPct val="0"/>
              </a:spcBef>
              <a:spcAft>
                <a:spcPct val="0"/>
              </a:spcAft>
              <a:buClrTx/>
              <a:buSzTx/>
              <a:buFontTx/>
              <a:buNone/>
              <a:tabLst/>
            </a:pPr>
            <a:endParaRPr lang="en-US" sz="1200">
              <a:latin typeface="Trebuchet MS" pitchFamily="34" charset="0"/>
            </a:endParaRPr>
          </a:p>
          <a:p>
            <a:r>
              <a:rPr lang="en-US" sz="1200">
                <a:solidFill>
                  <a:srgbClr val="1F497D"/>
                </a:solidFill>
                <a:effectLst/>
                <a:latin typeface="Arial" panose="020B0604020202020204" pitchFamily="34" charset="0"/>
                <a:ea typeface="Calibri" panose="020F0502020204030204" pitchFamily="34" charset="0"/>
              </a:rPr>
              <a:t>"We selected </a:t>
            </a:r>
            <a:r>
              <a:rPr lang="en-US" sz="1200" err="1">
                <a:solidFill>
                  <a:srgbClr val="1F497D"/>
                </a:solidFill>
                <a:effectLst/>
                <a:latin typeface="Arial" panose="020B0604020202020204" pitchFamily="34" charset="0"/>
                <a:ea typeface="Calibri" panose="020F0502020204030204" pitchFamily="34" charset="0"/>
              </a:rPr>
              <a:t>Altares</a:t>
            </a:r>
            <a:r>
              <a:rPr lang="en-US" sz="1200">
                <a:solidFill>
                  <a:srgbClr val="1F497D"/>
                </a:solidFill>
                <a:effectLst/>
                <a:latin typeface="Arial" panose="020B0604020202020204" pitchFamily="34" charset="0"/>
                <a:ea typeface="Calibri" panose="020F0502020204030204" pitchFamily="34" charset="0"/>
              </a:rPr>
              <a:t>' </a:t>
            </a:r>
            <a:r>
              <a:rPr lang="en-US" sz="1200" err="1">
                <a:solidFill>
                  <a:srgbClr val="1F497D"/>
                </a:solidFill>
                <a:effectLst/>
                <a:latin typeface="Arial" panose="020B0604020202020204" pitchFamily="34" charset="0"/>
                <a:ea typeface="Calibri" panose="020F0502020204030204" pitchFamily="34" charset="0"/>
              </a:rPr>
              <a:t>indueD</a:t>
            </a:r>
            <a:r>
              <a:rPr lang="en-US" sz="1200">
                <a:solidFill>
                  <a:srgbClr val="1F497D"/>
                </a:solidFill>
                <a:effectLst/>
                <a:latin typeface="Arial" panose="020B0604020202020204" pitchFamily="34" charset="0"/>
                <a:ea typeface="Calibri" panose="020F0502020204030204" pitchFamily="34" charset="0"/>
              </a:rPr>
              <a:t> platform in January 2019. First of all for the quality and clarity of the summary reports. Thanks to dynamic data visualization, these are very readable and very well presented, and make us save precious time with its red, orange or green “light” system.</a:t>
            </a:r>
            <a:endParaRPr lang="en-US" sz="1200">
              <a:effectLst/>
              <a:latin typeface="Calibri" panose="020F0502020204030204" pitchFamily="34" charset="0"/>
              <a:ea typeface="Calibri" panose="020F0502020204030204" pitchFamily="34" charset="0"/>
            </a:endParaRPr>
          </a:p>
          <a:p>
            <a:r>
              <a:rPr lang="en-US" sz="1200" b="1">
                <a:solidFill>
                  <a:srgbClr val="1F497D"/>
                </a:solidFill>
                <a:effectLst/>
                <a:latin typeface="Arial" panose="020B0604020202020204" pitchFamily="34" charset="0"/>
                <a:ea typeface="Calibri" panose="020F0502020204030204" pitchFamily="34" charset="0"/>
              </a:rPr>
              <a:t>CCO EDF</a:t>
            </a:r>
            <a:endParaRPr lang="en-US" sz="1200">
              <a:effectLst/>
              <a:latin typeface="Calibri" panose="020F0502020204030204" pitchFamily="34" charset="0"/>
              <a:ea typeface="Calibri" panose="020F0502020204030204" pitchFamily="34" charset="0"/>
            </a:endParaRPr>
          </a:p>
          <a:p>
            <a:r>
              <a:rPr lang="en-US" sz="1200">
                <a:solidFill>
                  <a:srgbClr val="1F497D"/>
                </a:solidFill>
                <a:effectLst/>
                <a:latin typeface="Arial" panose="020B060402020202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p>
            <a:r>
              <a:rPr lang="en-US" sz="1200">
                <a:solidFill>
                  <a:srgbClr val="1F497D"/>
                </a:solidFill>
                <a:effectLst/>
                <a:latin typeface="Arial" panose="020B0604020202020204" pitchFamily="34" charset="0"/>
                <a:ea typeface="Calibri" panose="020F0502020204030204" pitchFamily="34" charset="0"/>
              </a:rPr>
              <a:t>"We can thus carry out an efficient and tailor-made screening which saves us even more time. This model is now standardized and responds as much to AFA rules as to those of the Group"</a:t>
            </a:r>
            <a:endParaRPr lang="en-US" sz="1200">
              <a:effectLst/>
              <a:latin typeface="Calibri" panose="020F0502020204030204" pitchFamily="34" charset="0"/>
              <a:ea typeface="Calibri" panose="020F0502020204030204" pitchFamily="34" charset="0"/>
            </a:endParaRPr>
          </a:p>
          <a:p>
            <a:r>
              <a:rPr lang="en-US" sz="1200">
                <a:solidFill>
                  <a:srgbClr val="1F497D"/>
                </a:solidFill>
                <a:effectLst/>
                <a:latin typeface="Arial" panose="020B0604020202020204" pitchFamily="34" charset="0"/>
                <a:ea typeface="Calibri" panose="020F0502020204030204" pitchFamily="34" charset="0"/>
              </a:rPr>
              <a:t>Jean-Luc Le </a:t>
            </a:r>
            <a:r>
              <a:rPr lang="en-US" sz="1200" err="1">
                <a:solidFill>
                  <a:srgbClr val="1F497D"/>
                </a:solidFill>
                <a:effectLst/>
                <a:latin typeface="Arial" panose="020B0604020202020204" pitchFamily="34" charset="0"/>
                <a:ea typeface="Calibri" panose="020F0502020204030204" pitchFamily="34" charset="0"/>
              </a:rPr>
              <a:t>Moal</a:t>
            </a:r>
            <a:r>
              <a:rPr lang="en-US" sz="1200">
                <a:solidFill>
                  <a:srgbClr val="1F497D"/>
                </a:solidFill>
                <a:effectLst/>
                <a:latin typeface="Arial" panose="020B0604020202020204" pitchFamily="34" charset="0"/>
                <a:ea typeface="Calibri" panose="020F0502020204030204" pitchFamily="34" charset="0"/>
              </a:rPr>
              <a:t>, Country Anti-Corruption Compliance Project Leader de SKF France (</a:t>
            </a:r>
            <a:r>
              <a:rPr lang="en-US" sz="1200" err="1">
                <a:solidFill>
                  <a:srgbClr val="1F497D"/>
                </a:solidFill>
                <a:effectLst/>
                <a:latin typeface="Arial" panose="020B0604020202020204" pitchFamily="34" charset="0"/>
                <a:ea typeface="Calibri" panose="020F0502020204030204" pitchFamily="34" charset="0"/>
              </a:rPr>
              <a:t>induestrie</a:t>
            </a:r>
            <a:r>
              <a:rPr lang="en-US" sz="1200">
                <a:solidFill>
                  <a:srgbClr val="1F497D"/>
                </a:solidFill>
                <a:effectLst/>
                <a:latin typeface="Arial" panose="020B0604020202020204" pitchFamily="34" charset="0"/>
                <a:ea typeface="Calibri" panose="020F0502020204030204" pitchFamily="34" charset="0"/>
              </a:rPr>
              <a:t>)</a:t>
            </a:r>
            <a:endParaRPr lang="en-US" sz="1200">
              <a:effectLst/>
              <a:latin typeface="Calibri" panose="020F0502020204030204" pitchFamily="34" charset="0"/>
              <a:ea typeface="Calibri" panose="020F0502020204030204" pitchFamily="34" charset="0"/>
            </a:endParaRPr>
          </a:p>
          <a:p>
            <a:r>
              <a:rPr lang="en-US" sz="1200">
                <a:solidFill>
                  <a:srgbClr val="1F497D"/>
                </a:solidFill>
                <a:effectLst/>
                <a:latin typeface="Arial" panose="020B060402020202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p>
            <a:r>
              <a:rPr lang="en-US" sz="1200">
                <a:solidFill>
                  <a:srgbClr val="1F497D"/>
                </a:solidFill>
                <a:effectLst/>
                <a:latin typeface="Arial" panose="020B0604020202020204" pitchFamily="34" charset="0"/>
                <a:ea typeface="Calibri" panose="020F0502020204030204" pitchFamily="34" charset="0"/>
              </a:rPr>
              <a:t>The main </a:t>
            </a:r>
            <a:r>
              <a:rPr lang="en-US" sz="1200" err="1">
                <a:solidFill>
                  <a:srgbClr val="1F497D"/>
                </a:solidFill>
                <a:effectLst/>
                <a:latin typeface="Arial" panose="020B0604020202020204" pitchFamily="34" charset="0"/>
                <a:ea typeface="Calibri" panose="020F0502020204030204" pitchFamily="34" charset="0"/>
              </a:rPr>
              <a:t>indueD</a:t>
            </a:r>
            <a:r>
              <a:rPr lang="en-US" sz="1200">
                <a:solidFill>
                  <a:srgbClr val="1F497D"/>
                </a:solidFill>
                <a:effectLst/>
                <a:latin typeface="Arial" panose="020B0604020202020204" pitchFamily="34" charset="0"/>
                <a:ea typeface="Calibri" panose="020F0502020204030204" pitchFamily="34" charset="0"/>
              </a:rPr>
              <a:t> benefits: Make compliance a competitive advantage, Accelerate your decision-making KYC, The best of the data, Reconcile performance and compliance, </a:t>
            </a:r>
            <a:endParaRPr lang="en-US" sz="1200">
              <a:effectLst/>
              <a:latin typeface="Calibri" panose="020F0502020204030204" pitchFamily="34" charset="0"/>
              <a:ea typeface="Calibri" panose="020F0502020204030204" pitchFamily="34" charset="0"/>
            </a:endParaRPr>
          </a:p>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82</a:t>
            </a:fld>
            <a:endParaRPr lang="fr-FR"/>
          </a:p>
        </p:txBody>
      </p:sp>
    </p:spTree>
    <p:extLst>
      <p:ext uri="{BB962C8B-B14F-4D97-AF65-F5344CB8AC3E}">
        <p14:creationId xmlns:p14="http://schemas.microsoft.com/office/powerpoint/2010/main" val="613431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9</a:t>
            </a:fld>
            <a:endParaRPr lang="fr-FR"/>
          </a:p>
        </p:txBody>
      </p:sp>
    </p:spTree>
    <p:extLst>
      <p:ext uri="{BB962C8B-B14F-4D97-AF65-F5344CB8AC3E}">
        <p14:creationId xmlns:p14="http://schemas.microsoft.com/office/powerpoint/2010/main" val="23042276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88</a:t>
            </a:fld>
            <a:endParaRPr lang="fr-FR"/>
          </a:p>
        </p:txBody>
      </p:sp>
    </p:spTree>
    <p:extLst>
      <p:ext uri="{BB962C8B-B14F-4D97-AF65-F5344CB8AC3E}">
        <p14:creationId xmlns:p14="http://schemas.microsoft.com/office/powerpoint/2010/main" val="9584027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charts</a:t>
            </a:r>
          </a:p>
        </p:txBody>
      </p:sp>
      <p:sp>
        <p:nvSpPr>
          <p:cNvPr id="4" name="Slide Number Placeholder 3"/>
          <p:cNvSpPr>
            <a:spLocks noGrp="1"/>
          </p:cNvSpPr>
          <p:nvPr>
            <p:ph type="sldNum" sz="quarter" idx="5"/>
          </p:nvPr>
        </p:nvSpPr>
        <p:spPr/>
        <p:txBody>
          <a:bodyPr/>
          <a:lstStyle/>
          <a:p>
            <a:fld id="{FA1CC064-C9F0-49D0-ADD5-86C6DEC90002}" type="slidenum">
              <a:rPr lang="fr-FR" smtClean="0"/>
              <a:t>89</a:t>
            </a:fld>
            <a:endParaRPr lang="fr-FR"/>
          </a:p>
        </p:txBody>
      </p:sp>
    </p:spTree>
    <p:extLst>
      <p:ext uri="{BB962C8B-B14F-4D97-AF65-F5344CB8AC3E}">
        <p14:creationId xmlns:p14="http://schemas.microsoft.com/office/powerpoint/2010/main" val="297748853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91</a:t>
            </a:fld>
            <a:endParaRPr lang="fr-FR"/>
          </a:p>
        </p:txBody>
      </p:sp>
    </p:spTree>
    <p:extLst>
      <p:ext uri="{BB962C8B-B14F-4D97-AF65-F5344CB8AC3E}">
        <p14:creationId xmlns:p14="http://schemas.microsoft.com/office/powerpoint/2010/main" val="176063430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912367">
              <a:defRPr/>
            </a:pPr>
            <a:r>
              <a:rPr lang="fr-FR" b="1" u="sng"/>
              <a:t>Doc source:</a:t>
            </a:r>
            <a:r>
              <a:rPr lang="fr-FR"/>
              <a:t> </a:t>
            </a:r>
          </a:p>
          <a:p>
            <a:pPr marL="358569" indent="-358569" defTabSz="1912367">
              <a:buFontTx/>
              <a:buChar char="-"/>
              <a:defRPr/>
            </a:pPr>
            <a:r>
              <a:rPr lang="fr-FR"/>
              <a:t>RESULTATS_COHORTES</a:t>
            </a:r>
            <a:endParaRPr lang="en-US"/>
          </a:p>
          <a:p>
            <a:endParaRPr lang="en-US"/>
          </a:p>
        </p:txBody>
      </p:sp>
      <p:sp>
        <p:nvSpPr>
          <p:cNvPr id="4" name="Slide Number Placeholder 3"/>
          <p:cNvSpPr>
            <a:spLocks noGrp="1"/>
          </p:cNvSpPr>
          <p:nvPr>
            <p:ph type="sldNum" sz="quarter" idx="5"/>
          </p:nvPr>
        </p:nvSpPr>
        <p:spPr/>
        <p:txBody>
          <a:bodyPr/>
          <a:lstStyle/>
          <a:p>
            <a:fld id="{0B9545C6-6768-434C-ADF2-7A2F9CFBA00F}" type="slidenum">
              <a:rPr lang="fr-FR" smtClean="0"/>
              <a:t>93</a:t>
            </a:fld>
            <a:endParaRPr lang="fr-FR"/>
          </a:p>
        </p:txBody>
      </p:sp>
    </p:spTree>
    <p:extLst>
      <p:ext uri="{BB962C8B-B14F-4D97-AF65-F5344CB8AC3E}">
        <p14:creationId xmlns:p14="http://schemas.microsoft.com/office/powerpoint/2010/main" val="374672710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94</a:t>
            </a:fld>
            <a:endParaRPr lang="fr-FR"/>
          </a:p>
        </p:txBody>
      </p:sp>
    </p:spTree>
    <p:extLst>
      <p:ext uri="{BB962C8B-B14F-4D97-AF65-F5344CB8AC3E}">
        <p14:creationId xmlns:p14="http://schemas.microsoft.com/office/powerpoint/2010/main" val="53753173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95</a:t>
            </a:fld>
            <a:endParaRPr lang="fr-FR"/>
          </a:p>
        </p:txBody>
      </p:sp>
    </p:spTree>
    <p:extLst>
      <p:ext uri="{BB962C8B-B14F-4D97-AF65-F5344CB8AC3E}">
        <p14:creationId xmlns:p14="http://schemas.microsoft.com/office/powerpoint/2010/main" val="38774927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98</a:t>
            </a:fld>
            <a:endParaRPr lang="fr-FR"/>
          </a:p>
        </p:txBody>
      </p:sp>
    </p:spTree>
    <p:extLst>
      <p:ext uri="{BB962C8B-B14F-4D97-AF65-F5344CB8AC3E}">
        <p14:creationId xmlns:p14="http://schemas.microsoft.com/office/powerpoint/2010/main" val="175748430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912367">
              <a:defRPr/>
            </a:pPr>
            <a:r>
              <a:rPr lang="fr-FR" b="1" u="sng"/>
              <a:t>Doc source:</a:t>
            </a:r>
            <a:r>
              <a:rPr lang="fr-FR"/>
              <a:t> </a:t>
            </a:r>
          </a:p>
          <a:p>
            <a:pPr marL="358569" indent="-358569" defTabSz="1912367">
              <a:buFontTx/>
              <a:buChar char="-"/>
              <a:defRPr/>
            </a:pPr>
            <a:r>
              <a:rPr lang="fr-FR"/>
              <a:t>RESULTATS_COHORTES</a:t>
            </a:r>
            <a:endParaRPr lang="en-US"/>
          </a:p>
          <a:p>
            <a:endParaRPr lang="en-US"/>
          </a:p>
        </p:txBody>
      </p:sp>
      <p:sp>
        <p:nvSpPr>
          <p:cNvPr id="4" name="Slide Number Placeholder 3"/>
          <p:cNvSpPr>
            <a:spLocks noGrp="1"/>
          </p:cNvSpPr>
          <p:nvPr>
            <p:ph type="sldNum" sz="quarter" idx="5"/>
          </p:nvPr>
        </p:nvSpPr>
        <p:spPr/>
        <p:txBody>
          <a:bodyPr/>
          <a:lstStyle/>
          <a:p>
            <a:fld id="{0B9545C6-6768-434C-ADF2-7A2F9CFBA00F}" type="slidenum">
              <a:rPr lang="fr-FR" smtClean="0"/>
              <a:t>99</a:t>
            </a:fld>
            <a:endParaRPr lang="fr-FR"/>
          </a:p>
        </p:txBody>
      </p:sp>
    </p:spTree>
    <p:extLst>
      <p:ext uri="{BB962C8B-B14F-4D97-AF65-F5344CB8AC3E}">
        <p14:creationId xmlns:p14="http://schemas.microsoft.com/office/powerpoint/2010/main" val="235862557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912367">
              <a:defRPr/>
            </a:pPr>
            <a:r>
              <a:rPr lang="fr-FR" b="1" u="sng"/>
              <a:t>Doc source:</a:t>
            </a:r>
            <a:r>
              <a:rPr lang="fr-FR"/>
              <a:t> </a:t>
            </a:r>
          </a:p>
          <a:p>
            <a:pPr marL="358569" indent="-358569" defTabSz="1912367">
              <a:buFontTx/>
              <a:buChar char="-"/>
              <a:defRPr/>
            </a:pPr>
            <a:r>
              <a:rPr lang="fr-FR"/>
              <a:t>RESULTATS_COHORTES</a:t>
            </a:r>
            <a:endParaRPr lang="en-US"/>
          </a:p>
          <a:p>
            <a:endParaRPr lang="en-US"/>
          </a:p>
        </p:txBody>
      </p:sp>
      <p:sp>
        <p:nvSpPr>
          <p:cNvPr id="4" name="Slide Number Placeholder 3"/>
          <p:cNvSpPr>
            <a:spLocks noGrp="1"/>
          </p:cNvSpPr>
          <p:nvPr>
            <p:ph type="sldNum" sz="quarter" idx="5"/>
          </p:nvPr>
        </p:nvSpPr>
        <p:spPr/>
        <p:txBody>
          <a:bodyPr/>
          <a:lstStyle/>
          <a:p>
            <a:fld id="{0B9545C6-6768-434C-ADF2-7A2F9CFBA00F}" type="slidenum">
              <a:rPr lang="fr-FR" smtClean="0"/>
              <a:t>102</a:t>
            </a:fld>
            <a:endParaRPr lang="fr-FR"/>
          </a:p>
        </p:txBody>
      </p:sp>
    </p:spTree>
    <p:extLst>
      <p:ext uri="{BB962C8B-B14F-4D97-AF65-F5344CB8AC3E}">
        <p14:creationId xmlns:p14="http://schemas.microsoft.com/office/powerpoint/2010/main" val="394090598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40B436E3-364A-4B66-ACEB-A3917CE9CF0B}" type="slidenum">
              <a:rPr lang="fr-FR" smtClean="0"/>
              <a:t>106</a:t>
            </a:fld>
            <a:endParaRPr lang="fr-FR"/>
          </a:p>
        </p:txBody>
      </p:sp>
    </p:spTree>
    <p:extLst>
      <p:ext uri="{BB962C8B-B14F-4D97-AF65-F5344CB8AC3E}">
        <p14:creationId xmlns:p14="http://schemas.microsoft.com/office/powerpoint/2010/main" val="31519514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10</a:t>
            </a:fld>
            <a:endParaRPr lang="fr-FR"/>
          </a:p>
        </p:txBody>
      </p:sp>
    </p:spTree>
    <p:extLst>
      <p:ext uri="{BB962C8B-B14F-4D97-AF65-F5344CB8AC3E}">
        <p14:creationId xmlns:p14="http://schemas.microsoft.com/office/powerpoint/2010/main" val="52742196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107</a:t>
            </a:fld>
            <a:endParaRPr lang="fr-FR"/>
          </a:p>
        </p:txBody>
      </p:sp>
    </p:spTree>
    <p:extLst>
      <p:ext uri="{BB962C8B-B14F-4D97-AF65-F5344CB8AC3E}">
        <p14:creationId xmlns:p14="http://schemas.microsoft.com/office/powerpoint/2010/main" val="309525339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110</a:t>
            </a:fld>
            <a:endParaRPr lang="fr-FR"/>
          </a:p>
        </p:txBody>
      </p:sp>
    </p:spTree>
    <p:extLst>
      <p:ext uri="{BB962C8B-B14F-4D97-AF65-F5344CB8AC3E}">
        <p14:creationId xmlns:p14="http://schemas.microsoft.com/office/powerpoint/2010/main" val="105463101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err="1"/>
              <a:t>UpdatingCharts</a:t>
            </a:r>
            <a:r>
              <a:rPr lang="fr-FR" dirty="0"/>
              <a:t> (revenue)</a:t>
            </a:r>
          </a:p>
        </p:txBody>
      </p:sp>
      <p:sp>
        <p:nvSpPr>
          <p:cNvPr id="4" name="Espace réservé du numéro de diapositive 3"/>
          <p:cNvSpPr>
            <a:spLocks noGrp="1"/>
          </p:cNvSpPr>
          <p:nvPr>
            <p:ph type="sldNum" sz="quarter" idx="5"/>
          </p:nvPr>
        </p:nvSpPr>
        <p:spPr/>
        <p:txBody>
          <a:bodyPr/>
          <a:lstStyle/>
          <a:p>
            <a:fld id="{40B436E3-364A-4B66-ACEB-A3917CE9CF0B}" type="slidenum">
              <a:rPr lang="fr-FR" smtClean="0"/>
              <a:t>111</a:t>
            </a:fld>
            <a:endParaRPr lang="fr-FR"/>
          </a:p>
        </p:txBody>
      </p:sp>
    </p:spTree>
    <p:extLst>
      <p:ext uri="{BB962C8B-B14F-4D97-AF65-F5344CB8AC3E}">
        <p14:creationId xmlns:p14="http://schemas.microsoft.com/office/powerpoint/2010/main" val="102735162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113</a:t>
            </a:fld>
            <a:endParaRPr lang="fr-FR"/>
          </a:p>
        </p:txBody>
      </p:sp>
    </p:spTree>
    <p:extLst>
      <p:ext uri="{BB962C8B-B14F-4D97-AF65-F5344CB8AC3E}">
        <p14:creationId xmlns:p14="http://schemas.microsoft.com/office/powerpoint/2010/main" val="374668982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115</a:t>
            </a:fld>
            <a:endParaRPr lang="fr-FR"/>
          </a:p>
        </p:txBody>
      </p:sp>
    </p:spTree>
    <p:extLst>
      <p:ext uri="{BB962C8B-B14F-4D97-AF65-F5344CB8AC3E}">
        <p14:creationId xmlns:p14="http://schemas.microsoft.com/office/powerpoint/2010/main" val="346254341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40B436E3-364A-4B66-ACEB-A3917CE9CF0B}" type="slidenum">
              <a:rPr lang="fr-FR" smtClean="0"/>
              <a:t>117</a:t>
            </a:fld>
            <a:endParaRPr lang="fr-FR"/>
          </a:p>
        </p:txBody>
      </p:sp>
    </p:spTree>
    <p:extLst>
      <p:ext uri="{BB962C8B-B14F-4D97-AF65-F5344CB8AC3E}">
        <p14:creationId xmlns:p14="http://schemas.microsoft.com/office/powerpoint/2010/main" val="259633273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125</a:t>
            </a:fld>
            <a:endParaRPr lang="fr-FR"/>
          </a:p>
        </p:txBody>
      </p:sp>
    </p:spTree>
    <p:extLst>
      <p:ext uri="{BB962C8B-B14F-4D97-AF65-F5344CB8AC3E}">
        <p14:creationId xmlns:p14="http://schemas.microsoft.com/office/powerpoint/2010/main" val="221359976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0B9545C6-6768-434C-ADF2-7A2F9CFBA00F}" type="slidenum">
              <a:rPr lang="fr-FR" smtClean="0"/>
              <a:t>128</a:t>
            </a:fld>
            <a:endParaRPr lang="fr-FR"/>
          </a:p>
        </p:txBody>
      </p:sp>
    </p:spTree>
    <p:extLst>
      <p:ext uri="{BB962C8B-B14F-4D97-AF65-F5344CB8AC3E}">
        <p14:creationId xmlns:p14="http://schemas.microsoft.com/office/powerpoint/2010/main" val="225748833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134</a:t>
            </a:fld>
            <a:endParaRPr lang="fr-FR"/>
          </a:p>
        </p:txBody>
      </p:sp>
    </p:spTree>
    <p:extLst>
      <p:ext uri="{BB962C8B-B14F-4D97-AF65-F5344CB8AC3E}">
        <p14:creationId xmlns:p14="http://schemas.microsoft.com/office/powerpoint/2010/main" val="53864696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A1CC064-C9F0-49D0-ADD5-86C6DEC90002}" type="slidenum">
              <a:rPr kumimoji="0" lang="fr-FR" sz="1200" b="0" i="0" u="none" strike="noStrike" kern="1200" cap="none" spc="0" normalizeH="0" baseline="0" noProof="0" smtClean="0">
                <a:ln>
                  <a:noFill/>
                </a:ln>
                <a:solidFill>
                  <a:prstClr val="black"/>
                </a:solidFill>
                <a:effectLst/>
                <a:uLnTx/>
                <a:uFillTx/>
                <a:latin typeface="Trebuchet MS"/>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46</a:t>
            </a:fld>
            <a:endParaRPr kumimoji="0" lang="fr-FR" sz="1200" b="0" i="0" u="none" strike="noStrike" kern="1200" cap="none" spc="0" normalizeH="0" baseline="0" noProof="0">
              <a:ln>
                <a:noFill/>
              </a:ln>
              <a:solidFill>
                <a:prstClr val="black"/>
              </a:solidFill>
              <a:effectLst/>
              <a:uLnTx/>
              <a:uFillTx/>
              <a:latin typeface="Trebuchet MS"/>
              <a:ea typeface="+mn-ea"/>
              <a:cs typeface="Arial" pitchFamily="34" charset="0"/>
            </a:endParaRPr>
          </a:p>
        </p:txBody>
      </p:sp>
    </p:spTree>
    <p:extLst>
      <p:ext uri="{BB962C8B-B14F-4D97-AF65-F5344CB8AC3E}">
        <p14:creationId xmlns:p14="http://schemas.microsoft.com/office/powerpoint/2010/main" val="35470306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12</a:t>
            </a:fld>
            <a:endParaRPr lang="fr-FR"/>
          </a:p>
        </p:txBody>
      </p:sp>
    </p:spTree>
    <p:extLst>
      <p:ext uri="{BB962C8B-B14F-4D97-AF65-F5344CB8AC3E}">
        <p14:creationId xmlns:p14="http://schemas.microsoft.com/office/powerpoint/2010/main" val="28769215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13</a:t>
            </a:fld>
            <a:endParaRPr lang="fr-FR"/>
          </a:p>
        </p:txBody>
      </p:sp>
    </p:spTree>
    <p:extLst>
      <p:ext uri="{BB962C8B-B14F-4D97-AF65-F5344CB8AC3E}">
        <p14:creationId xmlns:p14="http://schemas.microsoft.com/office/powerpoint/2010/main" val="1852125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14</a:t>
            </a:fld>
            <a:endParaRPr lang="fr-FR"/>
          </a:p>
        </p:txBody>
      </p:sp>
    </p:spTree>
    <p:extLst>
      <p:ext uri="{BB962C8B-B14F-4D97-AF65-F5344CB8AC3E}">
        <p14:creationId xmlns:p14="http://schemas.microsoft.com/office/powerpoint/2010/main" val="32292449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Information Commerciale : 200M€ en 2018</a:t>
            </a:r>
          </a:p>
        </p:txBody>
      </p:sp>
      <p:sp>
        <p:nvSpPr>
          <p:cNvPr id="4" name="Slide Number Placeholder 3"/>
          <p:cNvSpPr>
            <a:spLocks noGrp="1"/>
          </p:cNvSpPr>
          <p:nvPr>
            <p:ph type="sldNum" sz="quarter" idx="5"/>
          </p:nvPr>
        </p:nvSpPr>
        <p:spPr/>
        <p:txBody>
          <a:bodyPr/>
          <a:lstStyle/>
          <a:p>
            <a:fld id="{FA1CC064-C9F0-49D0-ADD5-86C6DEC90002}" type="slidenum">
              <a:rPr lang="fr-FR" smtClean="0"/>
              <a:t>18</a:t>
            </a:fld>
            <a:endParaRPr lang="fr-FR"/>
          </a:p>
        </p:txBody>
      </p:sp>
    </p:spTree>
    <p:extLst>
      <p:ext uri="{BB962C8B-B14F-4D97-AF65-F5344CB8AC3E}">
        <p14:creationId xmlns:p14="http://schemas.microsoft.com/office/powerpoint/2010/main" val="202627606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re sans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latin typeface="+mj-lt"/>
              </a:defRPr>
            </a:lvl1pPr>
          </a:lstStyle>
          <a:p>
            <a:pPr lvl="0"/>
            <a:r>
              <a:rPr lang="fr-FR" altLang="en-GB"/>
              <a:t>Modifiez le style du titre</a:t>
            </a:r>
            <a:endParaRPr lang="en-US" altLang="en-GB"/>
          </a:p>
        </p:txBody>
      </p:sp>
      <p:sp>
        <p:nvSpPr>
          <p:cNvPr id="8" name="Espace réservé du texte 4">
            <a:extLst>
              <a:ext uri="{FF2B5EF4-FFF2-40B4-BE49-F238E27FC236}">
                <a16:creationId xmlns:a16="http://schemas.microsoft.com/office/drawing/2014/main" id="{DAB023CD-156D-4860-ACD8-2D21E2090735}"/>
              </a:ext>
            </a:extLst>
          </p:cNvPr>
          <p:cNvSpPr>
            <a:spLocks noGrp="1"/>
          </p:cNvSpPr>
          <p:nvPr>
            <p:ph type="body" sz="quarter" idx="10" hasCustomPrompt="1"/>
          </p:nvPr>
        </p:nvSpPr>
        <p:spPr>
          <a:xfrm>
            <a:off x="1315274" y="6580025"/>
            <a:ext cx="7131600" cy="244800"/>
          </a:xfr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defRPr>
            </a:lvl1pPr>
            <a:lvl2pPr>
              <a:defRPr lang="fr-FR" kern="1200" smtClean="0">
                <a:ea typeface="+mn-ea"/>
                <a:cs typeface="Arial" pitchFamily="34" charset="0"/>
              </a:defRPr>
            </a:lvl2pPr>
            <a:lvl3pPr>
              <a:defRPr lang="fr-FR" kern="1200" smtClean="0">
                <a:ea typeface="+mn-ea"/>
                <a:cs typeface="Arial" pitchFamily="34" charset="0"/>
              </a:defRPr>
            </a:lvl3pPr>
            <a:lvl4pPr>
              <a:defRPr lang="fr-FR" kern="1200" smtClean="0">
                <a:ea typeface="+mn-ea"/>
                <a:cs typeface="Arial" pitchFamily="34" charset="0"/>
              </a:defRPr>
            </a:lvl4pPr>
            <a:lvl5pPr>
              <a:defRPr lang="fr-FR" kern="1200">
                <a:ea typeface="+mn-ea"/>
                <a:cs typeface="Arial" pitchFamily="34" charset="0"/>
              </a:defRPr>
            </a:lvl5pPr>
          </a:lstStyle>
          <a:p>
            <a:pPr marL="0" marR="0" lvl="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a:pP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Sources: </a:t>
            </a:r>
            <a:b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br>
            <a:r>
              <a:rPr kumimoji="0" lang="fr-FR"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1</a:t>
            </a: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 Note	2. Note</a:t>
            </a:r>
          </a:p>
        </p:txBody>
      </p:sp>
    </p:spTree>
    <p:extLst>
      <p:ext uri="{BB962C8B-B14F-4D97-AF65-F5344CB8AC3E}">
        <p14:creationId xmlns:p14="http://schemas.microsoft.com/office/powerpoint/2010/main" val="3178992238"/>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2_Titre et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latin typeface="+mj-lt"/>
              </a:defRPr>
            </a:lvl1pPr>
          </a:lstStyle>
          <a:p>
            <a:pPr lvl="0"/>
            <a:r>
              <a:rPr lang="fr-FR" altLang="en-GB"/>
              <a:t>Modifiez le style du titre</a:t>
            </a:r>
            <a:endParaRPr lang="en-US" altLang="en-GB"/>
          </a:p>
        </p:txBody>
      </p:sp>
      <p:sp>
        <p:nvSpPr>
          <p:cNvPr id="10" name="Espace réservé du contenu 2"/>
          <p:cNvSpPr>
            <a:spLocks noGrp="1"/>
          </p:cNvSpPr>
          <p:nvPr>
            <p:ph idx="1" hasCustomPrompt="1"/>
            <p:custDataLst>
              <p:tags r:id="rId2"/>
            </p:custDataLst>
          </p:nvPr>
        </p:nvSpPr>
        <p:spPr>
          <a:xfrm>
            <a:off x="165600" y="943200"/>
            <a:ext cx="9540000" cy="5436000"/>
          </a:xfrm>
          <a:prstGeom prst="rect">
            <a:avLst/>
          </a:prstGeom>
        </p:spPr>
        <p:txBody>
          <a:bodyPr anchor="t" anchorCtr="0">
            <a:noAutofit/>
          </a:bodyPr>
          <a:lstStyle>
            <a:lvl1pPr marL="0" indent="0">
              <a:buFont typeface="Arial" panose="020B0604020202020204" pitchFamily="34" charset="0"/>
              <a:buNone/>
              <a:defRPr sz="1200" b="0">
                <a:solidFill>
                  <a:schemeClr val="tx1"/>
                </a:solidFill>
                <a:latin typeface="+mj-lt"/>
                <a:cs typeface="Arial" pitchFamily="34" charset="0"/>
              </a:defRPr>
            </a:lvl1pPr>
            <a:lvl2pPr marL="363537" indent="0">
              <a:buFont typeface="Arial" panose="020B0604020202020204" pitchFamily="34" charset="0"/>
              <a:buNone/>
              <a:defRPr sz="1100">
                <a:solidFill>
                  <a:schemeClr val="tx1"/>
                </a:solidFill>
                <a:latin typeface="+mj-lt"/>
                <a:cs typeface="Arial" pitchFamily="34" charset="0"/>
              </a:defRPr>
            </a:lvl2pPr>
            <a:lvl3pPr marL="623887" indent="0">
              <a:buFont typeface="Arial" panose="020B0604020202020204" pitchFamily="34" charset="0"/>
              <a:buNone/>
              <a:defRPr sz="1100">
                <a:solidFill>
                  <a:schemeClr val="tx1"/>
                </a:solidFill>
                <a:latin typeface="+mj-lt"/>
                <a:cs typeface="Arial" pitchFamily="34" charset="0"/>
              </a:defRPr>
            </a:lvl3pPr>
            <a:lvl4pPr marL="906463" indent="0">
              <a:buFont typeface="Arial" panose="020B0604020202020204" pitchFamily="34" charset="0"/>
              <a:buNone/>
              <a:defRPr lang="en-GB" sz="1000" dirty="0">
                <a:solidFill>
                  <a:schemeClr val="tx1"/>
                </a:solidFill>
                <a:latin typeface="+mj-lt"/>
                <a:cs typeface="Arial" pitchFamily="34" charset="0"/>
              </a:defRPr>
            </a:lvl4pPr>
            <a:lvl5pPr marL="1174750" indent="0">
              <a:buFont typeface="Arial" panose="020B0604020202020204" pitchFamily="34" charset="0"/>
              <a:buNone/>
              <a:defRPr lang="fr-FR" altLang="en-GB" sz="1000" noProof="0" dirty="0" smtClean="0">
                <a:solidFill>
                  <a:schemeClr val="tx1"/>
                </a:solidFill>
                <a:latin typeface="+mj-lt"/>
                <a:cs typeface="Arial" pitchFamily="34" charset="0"/>
              </a:defRPr>
            </a:lvl5pPr>
          </a:lstStyle>
          <a:p>
            <a:pPr lvl="0"/>
            <a:r>
              <a:rPr lang="fr-FR" noProof="0"/>
              <a:t>Cliquez pour modifier les styles du texte du masque</a:t>
            </a:r>
          </a:p>
          <a:p>
            <a:pPr lvl="4"/>
            <a:endParaRPr lang="fr-FR" noProof="0"/>
          </a:p>
          <a:p>
            <a:pPr lvl="3"/>
            <a:endParaRPr lang="fr-FR" noProof="0"/>
          </a:p>
          <a:p>
            <a:pPr lvl="3"/>
            <a:endParaRPr lang="fr-FR" noProof="0"/>
          </a:p>
          <a:p>
            <a:pPr lvl="4"/>
            <a:endParaRPr lang="fr-FR" noProof="0"/>
          </a:p>
        </p:txBody>
      </p:sp>
    </p:spTree>
    <p:extLst>
      <p:ext uri="{BB962C8B-B14F-4D97-AF65-F5344CB8AC3E}">
        <p14:creationId xmlns:p14="http://schemas.microsoft.com/office/powerpoint/2010/main" val="2633574484"/>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Titre sans conten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1B95BA-39E0-44F8-87EC-43336B59053A}"/>
              </a:ext>
            </a:extLst>
          </p:cNvPr>
          <p:cNvGraphicFramePr>
            <a:graphicFrameLocks noChangeAspect="1"/>
          </p:cNvGraphicFramePr>
          <p:nvPr userDrawn="1">
            <p:custDataLst>
              <p:tags r:id="rId1"/>
            </p:custDataLst>
            <p:extLst>
              <p:ext uri="{D42A27DB-BD31-4B8C-83A1-F6EECF244321}">
                <p14:modId xmlns:p14="http://schemas.microsoft.com/office/powerpoint/2010/main" val="4211582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FE1B95BA-39E0-44F8-87EC-43336B5905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25650A-CC1A-41A2-9DFB-F1A2AC464269}"/>
              </a:ext>
            </a:extLst>
          </p:cNvPr>
          <p:cNvSpPr/>
          <p:nvPr userDrawn="1">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err="1">
              <a:ln>
                <a:noFill/>
              </a:ln>
              <a:solidFill>
                <a:schemeClr val="tx1"/>
              </a:solidFill>
              <a:effectLst/>
              <a:latin typeface="Trebuchet MS" pitchFamily="34" charset="0"/>
              <a:ea typeface="+mj-ea"/>
              <a:cs typeface="+mj-cs"/>
              <a:sym typeface="Trebuchet MS" panose="020B0603020202020204" pitchFamily="34" charset="0"/>
            </a:endParaRPr>
          </a:p>
        </p:txBody>
      </p:sp>
      <p:sp>
        <p:nvSpPr>
          <p:cNvPr id="7" name="Rectangle 2"/>
          <p:cNvSpPr>
            <a:spLocks noGrp="1" noChangeArrowheads="1"/>
          </p:cNvSpPr>
          <p:nvPr>
            <p:ph type="title"/>
            <p:custDataLst>
              <p:tags r:id="rId3"/>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latin typeface="+mj-lt"/>
              </a:defRPr>
            </a:lvl1pPr>
          </a:lstStyle>
          <a:p>
            <a:pPr lvl="0"/>
            <a:r>
              <a:rPr lang="en-US" altLang="en-GB" err="1"/>
              <a:t>Modifiez</a:t>
            </a:r>
            <a:r>
              <a:rPr lang="en-US" altLang="en-GB"/>
              <a:t> le style du </a:t>
            </a:r>
            <a:r>
              <a:rPr lang="en-US" altLang="en-GB" err="1"/>
              <a:t>titre</a:t>
            </a:r>
            <a:endParaRPr lang="en-US" altLang="en-GB"/>
          </a:p>
        </p:txBody>
      </p:sp>
    </p:spTree>
    <p:extLst>
      <p:ext uri="{BB962C8B-B14F-4D97-AF65-F5344CB8AC3E}">
        <p14:creationId xmlns:p14="http://schemas.microsoft.com/office/powerpoint/2010/main" val="262888498"/>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1">
                <a:solidFill>
                  <a:schemeClr val="tx1"/>
                </a:solidFill>
                <a:latin typeface="+mj-lt"/>
              </a:defRPr>
            </a:lvl1pPr>
          </a:lstStyle>
          <a:p>
            <a:pPr lvl="0"/>
            <a:r>
              <a:rPr lang="en-US" altLang="en-GB"/>
              <a:t>Click to edit Master title style</a:t>
            </a:r>
          </a:p>
        </p:txBody>
      </p:sp>
    </p:spTree>
    <p:extLst>
      <p:ext uri="{BB962C8B-B14F-4D97-AF65-F5344CB8AC3E}">
        <p14:creationId xmlns:p14="http://schemas.microsoft.com/office/powerpoint/2010/main" val="237551129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3_Diapositive de titr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CA4038-9595-48B5-A783-E02B9CD5C773}"/>
              </a:ext>
            </a:extLst>
          </p:cNvPr>
          <p:cNvGraphicFramePr>
            <a:graphicFrameLocks noChangeAspect="1"/>
          </p:cNvGraphicFramePr>
          <p:nvPr userDrawn="1">
            <p:custDataLst>
              <p:tags r:id="rId1"/>
            </p:custDataLst>
            <p:extLst>
              <p:ext uri="{D42A27DB-BD31-4B8C-83A1-F6EECF244321}">
                <p14:modId xmlns:p14="http://schemas.microsoft.com/office/powerpoint/2010/main" val="3177286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35" progId="TCLayout.ActiveDocument.1">
                  <p:embed/>
                </p:oleObj>
              </mc:Choice>
              <mc:Fallback>
                <p:oleObj name="think-cell Slide" r:id="rId4" imgW="624" imgH="635" progId="TCLayout.ActiveDocument.1">
                  <p:embed/>
                  <p:pic>
                    <p:nvPicPr>
                      <p:cNvPr id="3" name="Object 2" hidden="1">
                        <a:extLst>
                          <a:ext uri="{FF2B5EF4-FFF2-40B4-BE49-F238E27FC236}">
                            <a16:creationId xmlns:a16="http://schemas.microsoft.com/office/drawing/2014/main" id="{86CA4038-9595-48B5-A783-E02B9CD5C7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6C206B0-CA1F-4627-B326-F6E3BE3A39DA}"/>
              </a:ext>
            </a:extLst>
          </p:cNvPr>
          <p:cNvSpPr/>
          <p:nvPr userDrawn="1">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err="1">
              <a:ln>
                <a:noFill/>
              </a:ln>
              <a:solidFill>
                <a:schemeClr val="tx1"/>
              </a:solidFill>
              <a:effectLst/>
              <a:latin typeface="Trebuchet MS" pitchFamily="34" charset="0"/>
              <a:ea typeface="+mj-ea"/>
              <a:cs typeface="+mj-cs"/>
              <a:sym typeface="Trebuchet MS" panose="020B0603020202020204" pitchFamily="34" charset="0"/>
            </a:endParaRPr>
          </a:p>
        </p:txBody>
      </p:sp>
      <p:pic>
        <p:nvPicPr>
          <p:cNvPr id="51" name="Picture 2" descr="RÃ©sultat de recherche d'images pour &quot;data science image hd&quot;">
            <a:extLst>
              <a:ext uri="{FF2B5EF4-FFF2-40B4-BE49-F238E27FC236}">
                <a16:creationId xmlns:a16="http://schemas.microsoft.com/office/drawing/2014/main" id="{0CD53316-41C0-4DEE-8B84-AB9110D19A07}"/>
              </a:ext>
            </a:extLst>
          </p:cNvPr>
          <p:cNvPicPr>
            <a:picLocks noChangeAspect="1" noChangeArrowheads="1"/>
          </p:cNvPicPr>
          <p:nvPr userDrawn="1"/>
        </p:nvPicPr>
        <p:blipFill rotWithShape="1">
          <a:blip r:embed="rId6">
            <a:duotone>
              <a:prstClr val="black"/>
              <a:schemeClr val="bg2">
                <a:lumMod val="40000"/>
                <a:lumOff val="60000"/>
                <a:tint val="45000"/>
                <a:satMod val="400000"/>
              </a:schemeClr>
            </a:duotone>
            <a:extLst>
              <a:ext uri="{28A0092B-C50C-407E-A947-70E740481C1C}">
                <a14:useLocalDpi xmlns:a14="http://schemas.microsoft.com/office/drawing/2010/main" val="0"/>
              </a:ext>
            </a:extLst>
          </a:blip>
          <a:srcRect/>
          <a:stretch/>
        </p:blipFill>
        <p:spPr bwMode="auto">
          <a:xfrm>
            <a:off x="-232144" y="-13702"/>
            <a:ext cx="10385793" cy="68751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5088540"/>
      </p:ext>
    </p:extLst>
  </p:cSld>
  <p:clrMapOvr>
    <a:masterClrMapping/>
  </p:clrMapOvr>
  <p:transition/>
  <p:extLst>
    <p:ext uri="{DCECCB84-F9BA-43D5-87BE-67443E8EF086}">
      <p15:sldGuideLst xmlns:p15="http://schemas.microsoft.com/office/powerpoint/2012/main">
        <p15:guide id="1" orient="horz" pos="2840">
          <p15:clr>
            <a:srgbClr val="FBAE40"/>
          </p15:clr>
        </p15:guide>
        <p15:guide id="2" pos="425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ans contenu">
    <p:spTree>
      <p:nvGrpSpPr>
        <p:cNvPr id="1" name=""/>
        <p:cNvGrpSpPr/>
        <p:nvPr/>
      </p:nvGrpSpPr>
      <p:grpSpPr>
        <a:xfrm>
          <a:off x="0" y="0"/>
          <a:ext cx="0" cy="0"/>
          <a:chOff x="0" y="0"/>
          <a:chExt cx="0" cy="0"/>
        </a:xfrm>
      </p:grpSpPr>
      <p:sp>
        <p:nvSpPr>
          <p:cNvPr id="4" name="Espace réservé du texte 4">
            <a:extLst>
              <a:ext uri="{FF2B5EF4-FFF2-40B4-BE49-F238E27FC236}">
                <a16:creationId xmlns:a16="http://schemas.microsoft.com/office/drawing/2014/main" id="{C0C73928-E24E-4BBC-9DAA-A9A83623FF04}"/>
              </a:ext>
            </a:extLst>
          </p:cNvPr>
          <p:cNvSpPr>
            <a:spLocks noGrp="1"/>
          </p:cNvSpPr>
          <p:nvPr>
            <p:ph type="body" sz="quarter" idx="10" hasCustomPrompt="1"/>
          </p:nvPr>
        </p:nvSpPr>
        <p:spPr>
          <a:xfrm>
            <a:off x="1315274" y="6580025"/>
            <a:ext cx="7131600" cy="244800"/>
          </a:xfr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defRPr>
            </a:lvl1pPr>
            <a:lvl2pPr>
              <a:defRPr lang="fr-FR" kern="1200" smtClean="0">
                <a:ea typeface="+mn-ea"/>
                <a:cs typeface="Arial" pitchFamily="34" charset="0"/>
              </a:defRPr>
            </a:lvl2pPr>
            <a:lvl3pPr>
              <a:defRPr lang="fr-FR" kern="1200" smtClean="0">
                <a:ea typeface="+mn-ea"/>
                <a:cs typeface="Arial" pitchFamily="34" charset="0"/>
              </a:defRPr>
            </a:lvl3pPr>
            <a:lvl4pPr>
              <a:defRPr lang="fr-FR" kern="1200" smtClean="0">
                <a:ea typeface="+mn-ea"/>
                <a:cs typeface="Arial" pitchFamily="34" charset="0"/>
              </a:defRPr>
            </a:lvl4pPr>
            <a:lvl5pPr>
              <a:defRPr lang="fr-FR" kern="1200">
                <a:ea typeface="+mn-ea"/>
                <a:cs typeface="Arial" pitchFamily="34" charset="0"/>
              </a:defRPr>
            </a:lvl5pPr>
          </a:lstStyle>
          <a:p>
            <a:pPr marL="0" marR="0" lvl="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a:pP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Sources: </a:t>
            </a:r>
            <a:b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br>
            <a:r>
              <a:rPr kumimoji="0" lang="fr-FR"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1</a:t>
            </a: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 Note	2. Note</a:t>
            </a:r>
          </a:p>
        </p:txBody>
      </p:sp>
    </p:spTree>
    <p:extLst>
      <p:ext uri="{BB962C8B-B14F-4D97-AF65-F5344CB8AC3E}">
        <p14:creationId xmlns:p14="http://schemas.microsoft.com/office/powerpoint/2010/main" val="102112630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latin typeface="+mj-lt"/>
              </a:defRPr>
            </a:lvl1pPr>
          </a:lstStyle>
          <a:p>
            <a:pPr lvl="0"/>
            <a:r>
              <a:rPr lang="fr-FR" altLang="en-GB"/>
              <a:t>Modifiez le style du titre</a:t>
            </a:r>
            <a:endParaRPr lang="en-US" altLang="en-GB"/>
          </a:p>
        </p:txBody>
      </p:sp>
      <p:sp>
        <p:nvSpPr>
          <p:cNvPr id="10" name="Espace réservé du contenu 2"/>
          <p:cNvSpPr>
            <a:spLocks noGrp="1"/>
          </p:cNvSpPr>
          <p:nvPr>
            <p:ph idx="1" hasCustomPrompt="1"/>
            <p:custDataLst>
              <p:tags r:id="rId2"/>
            </p:custDataLst>
          </p:nvPr>
        </p:nvSpPr>
        <p:spPr>
          <a:xfrm>
            <a:off x="165600" y="943200"/>
            <a:ext cx="9540000" cy="5436000"/>
          </a:xfrm>
          <a:prstGeom prst="rect">
            <a:avLst/>
          </a:prstGeom>
        </p:spPr>
        <p:txBody>
          <a:bodyPr anchor="t" anchorCtr="0">
            <a:noAutofit/>
          </a:bodyPr>
          <a:lstStyle>
            <a:lvl1pPr marL="0" indent="0">
              <a:buFont typeface="Arial" panose="020B0604020202020204" pitchFamily="34" charset="0"/>
              <a:buNone/>
              <a:defRPr sz="1200" b="0">
                <a:solidFill>
                  <a:schemeClr val="tx1"/>
                </a:solidFill>
                <a:latin typeface="+mj-lt"/>
                <a:cs typeface="Arial" pitchFamily="34" charset="0"/>
              </a:defRPr>
            </a:lvl1pPr>
            <a:lvl2pPr marL="363537" indent="0">
              <a:buFont typeface="Arial" panose="020B0604020202020204" pitchFamily="34" charset="0"/>
              <a:buNone/>
              <a:defRPr sz="1100">
                <a:solidFill>
                  <a:schemeClr val="tx1"/>
                </a:solidFill>
                <a:latin typeface="+mj-lt"/>
                <a:cs typeface="Arial" pitchFamily="34" charset="0"/>
              </a:defRPr>
            </a:lvl2pPr>
            <a:lvl3pPr marL="623887" indent="0">
              <a:buFont typeface="Arial" panose="020B0604020202020204" pitchFamily="34" charset="0"/>
              <a:buNone/>
              <a:defRPr sz="1100">
                <a:solidFill>
                  <a:schemeClr val="tx1"/>
                </a:solidFill>
                <a:latin typeface="+mj-lt"/>
                <a:cs typeface="Arial" pitchFamily="34" charset="0"/>
              </a:defRPr>
            </a:lvl3pPr>
            <a:lvl4pPr marL="906463" indent="0">
              <a:buFont typeface="Arial" panose="020B0604020202020204" pitchFamily="34" charset="0"/>
              <a:buNone/>
              <a:defRPr lang="en-GB" sz="1000" dirty="0">
                <a:solidFill>
                  <a:schemeClr val="tx1"/>
                </a:solidFill>
                <a:latin typeface="+mj-lt"/>
                <a:cs typeface="Arial" pitchFamily="34" charset="0"/>
              </a:defRPr>
            </a:lvl4pPr>
            <a:lvl5pPr marL="1174750" indent="0">
              <a:buFont typeface="Arial" panose="020B0604020202020204" pitchFamily="34" charset="0"/>
              <a:buNone/>
              <a:defRPr lang="fr-FR" altLang="en-GB" sz="1000" noProof="0" dirty="0" smtClean="0">
                <a:solidFill>
                  <a:schemeClr val="tx1"/>
                </a:solidFill>
                <a:latin typeface="+mj-lt"/>
                <a:cs typeface="Arial" pitchFamily="34" charset="0"/>
              </a:defRPr>
            </a:lvl5pPr>
          </a:lstStyle>
          <a:p>
            <a:pPr lvl="0"/>
            <a:r>
              <a:rPr lang="fr-FR" noProof="0"/>
              <a:t>Cliquez pour modifier les styles du texte du masque</a:t>
            </a:r>
          </a:p>
          <a:p>
            <a:pPr lvl="4"/>
            <a:endParaRPr lang="fr-FR" noProof="0"/>
          </a:p>
          <a:p>
            <a:pPr lvl="3"/>
            <a:endParaRPr lang="fr-FR" noProof="0"/>
          </a:p>
          <a:p>
            <a:pPr lvl="3"/>
            <a:endParaRPr lang="fr-FR" noProof="0"/>
          </a:p>
          <a:p>
            <a:pPr lvl="4"/>
            <a:endParaRPr lang="fr-FR" noProof="0"/>
          </a:p>
        </p:txBody>
      </p:sp>
      <p:sp>
        <p:nvSpPr>
          <p:cNvPr id="4" name="Espace réservé du texte 4">
            <a:extLst>
              <a:ext uri="{FF2B5EF4-FFF2-40B4-BE49-F238E27FC236}">
                <a16:creationId xmlns:a16="http://schemas.microsoft.com/office/drawing/2014/main" id="{B1654254-4792-4FA9-8477-E72E811378E3}"/>
              </a:ext>
            </a:extLst>
          </p:cNvPr>
          <p:cNvSpPr>
            <a:spLocks noGrp="1"/>
          </p:cNvSpPr>
          <p:nvPr>
            <p:ph type="body" sz="quarter" idx="10" hasCustomPrompt="1"/>
          </p:nvPr>
        </p:nvSpPr>
        <p:spPr>
          <a:xfrm>
            <a:off x="1315274" y="6580025"/>
            <a:ext cx="7131600" cy="244800"/>
          </a:xfr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defRPr>
            </a:lvl1pPr>
            <a:lvl2pPr>
              <a:defRPr lang="fr-FR" kern="1200" smtClean="0">
                <a:ea typeface="+mn-ea"/>
                <a:cs typeface="Arial" pitchFamily="34" charset="0"/>
              </a:defRPr>
            </a:lvl2pPr>
            <a:lvl3pPr>
              <a:defRPr lang="fr-FR" kern="1200" smtClean="0">
                <a:ea typeface="+mn-ea"/>
                <a:cs typeface="Arial" pitchFamily="34" charset="0"/>
              </a:defRPr>
            </a:lvl3pPr>
            <a:lvl4pPr>
              <a:defRPr lang="fr-FR" kern="1200" smtClean="0">
                <a:ea typeface="+mn-ea"/>
                <a:cs typeface="Arial" pitchFamily="34" charset="0"/>
              </a:defRPr>
            </a:lvl4pPr>
            <a:lvl5pPr>
              <a:defRPr lang="fr-FR" kern="1200">
                <a:ea typeface="+mn-ea"/>
                <a:cs typeface="Arial" pitchFamily="34" charset="0"/>
              </a:defRPr>
            </a:lvl5pPr>
          </a:lstStyle>
          <a:p>
            <a:pPr marL="0" marR="0" lvl="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a:pP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Sources: </a:t>
            </a:r>
            <a:b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br>
            <a:r>
              <a:rPr kumimoji="0" lang="fr-FR"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1</a:t>
            </a: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 Note	2. Note</a:t>
            </a:r>
          </a:p>
        </p:txBody>
      </p:sp>
    </p:spTree>
    <p:extLst>
      <p:ext uri="{BB962C8B-B14F-4D97-AF65-F5344CB8AC3E}">
        <p14:creationId xmlns:p14="http://schemas.microsoft.com/office/powerpoint/2010/main" val="2611210575"/>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re et double contenu">
    <p:spTree>
      <p:nvGrpSpPr>
        <p:cNvPr id="1" name=""/>
        <p:cNvGrpSpPr/>
        <p:nvPr/>
      </p:nvGrpSpPr>
      <p:grpSpPr>
        <a:xfrm>
          <a:off x="0" y="0"/>
          <a:ext cx="0" cy="0"/>
          <a:chOff x="0" y="0"/>
          <a:chExt cx="0" cy="0"/>
        </a:xfrm>
      </p:grpSpPr>
      <p:sp>
        <p:nvSpPr>
          <p:cNvPr id="4"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defRPr>
            </a:lvl1pPr>
          </a:lstStyle>
          <a:p>
            <a:pPr lvl="0"/>
            <a:r>
              <a:rPr lang="fr-FR" altLang="en-GB"/>
              <a:t>Modifiez le style du titre</a:t>
            </a:r>
            <a:endParaRPr lang="en-US" altLang="en-GB"/>
          </a:p>
        </p:txBody>
      </p:sp>
      <p:sp>
        <p:nvSpPr>
          <p:cNvPr id="5" name="Espace réservé du texte 2"/>
          <p:cNvSpPr>
            <a:spLocks noGrp="1"/>
          </p:cNvSpPr>
          <p:nvPr>
            <p:ph idx="1" hasCustomPrompt="1"/>
            <p:custDataLst>
              <p:tags r:id="rId2"/>
            </p:custDataLst>
          </p:nvPr>
        </p:nvSpPr>
        <p:spPr>
          <a:xfrm>
            <a:off x="363633" y="1789043"/>
            <a:ext cx="4356000" cy="4522857"/>
          </a:xfrm>
          <a:prstGeom prst="rect">
            <a:avLst/>
          </a:prstGeom>
        </p:spPr>
        <p:txBody>
          <a:bodyPr vert="horz" lIns="91440" tIns="45720" rIns="91440" bIns="45720" rtlCol="0" anchor="t">
            <a:noAutofit/>
          </a:bodyPr>
          <a:lstStyle>
            <a:lvl1pPr marL="0" indent="0">
              <a:buNone/>
              <a:defRPr sz="1200">
                <a:solidFill>
                  <a:schemeClr val="tx1"/>
                </a:solidFill>
              </a:defRPr>
            </a:lvl1pPr>
            <a:lvl2pPr marL="533400" indent="0">
              <a:buNone/>
              <a:defRPr sz="1100">
                <a:solidFill>
                  <a:schemeClr val="tx1"/>
                </a:solidFill>
              </a:defRPr>
            </a:lvl2pPr>
            <a:lvl3pPr marL="847725" indent="0">
              <a:buNone/>
              <a:defRPr sz="1100">
                <a:solidFill>
                  <a:schemeClr val="tx1"/>
                </a:solidFill>
              </a:defRPr>
            </a:lvl3pPr>
            <a:lvl4pPr marL="1368425" indent="0">
              <a:buNone/>
              <a:defRPr sz="1100">
                <a:solidFill>
                  <a:schemeClr val="tx1"/>
                </a:solidFill>
              </a:defRPr>
            </a:lvl4pPr>
            <a:lvl5pPr marL="1981200" indent="0">
              <a:buNone/>
              <a:defRPr sz="1100">
                <a:solidFill>
                  <a:schemeClr val="tx1"/>
                </a:solidFill>
              </a:defRPr>
            </a:lvl5pPr>
          </a:lstStyle>
          <a:p>
            <a:pPr lvl="0"/>
            <a:r>
              <a:rPr lang="fr-FR" noProof="0"/>
              <a:t>Cliquez pour modifier les styles du texte du masque</a:t>
            </a:r>
          </a:p>
        </p:txBody>
      </p:sp>
      <p:sp>
        <p:nvSpPr>
          <p:cNvPr id="7" name="Espace réservé du texte 2"/>
          <p:cNvSpPr>
            <a:spLocks noGrp="1"/>
          </p:cNvSpPr>
          <p:nvPr>
            <p:ph idx="11" hasCustomPrompt="1"/>
            <p:custDataLst>
              <p:tags r:id="rId3"/>
            </p:custDataLst>
          </p:nvPr>
        </p:nvSpPr>
        <p:spPr>
          <a:xfrm>
            <a:off x="5211128" y="1789043"/>
            <a:ext cx="4356000" cy="4522857"/>
          </a:xfrm>
          <a:prstGeom prst="rect">
            <a:avLst/>
          </a:prstGeom>
        </p:spPr>
        <p:txBody>
          <a:bodyPr vert="horz" lIns="91440" tIns="45720" rIns="91440" bIns="45720" rtlCol="0" anchor="t">
            <a:noAutofit/>
          </a:bodyPr>
          <a:lstStyle>
            <a:lvl1pPr marL="0" indent="0">
              <a:buNone/>
              <a:defRPr sz="1200">
                <a:solidFill>
                  <a:schemeClr val="tx1"/>
                </a:solidFill>
              </a:defRPr>
            </a:lvl1pPr>
            <a:lvl2pPr marL="533400" indent="0">
              <a:buNone/>
              <a:defRPr sz="1100">
                <a:solidFill>
                  <a:schemeClr val="tx1"/>
                </a:solidFill>
              </a:defRPr>
            </a:lvl2pPr>
            <a:lvl3pPr marL="847725" indent="0">
              <a:buNone/>
              <a:defRPr sz="1100">
                <a:solidFill>
                  <a:schemeClr val="tx1"/>
                </a:solidFill>
              </a:defRPr>
            </a:lvl3pPr>
            <a:lvl4pPr marL="1368425" indent="0">
              <a:buNone/>
              <a:defRPr sz="1100">
                <a:solidFill>
                  <a:schemeClr val="tx1"/>
                </a:solidFill>
              </a:defRPr>
            </a:lvl4pPr>
            <a:lvl5pPr marL="1981200" indent="0">
              <a:buNone/>
              <a:defRPr sz="1100">
                <a:solidFill>
                  <a:schemeClr val="tx1"/>
                </a:solidFill>
              </a:defRPr>
            </a:lvl5pPr>
          </a:lstStyle>
          <a:p>
            <a:pPr lvl="0"/>
            <a:r>
              <a:rPr lang="fr-FR" noProof="0"/>
              <a:t>Cliquez pour modifier les styles du texte du masque</a:t>
            </a:r>
          </a:p>
        </p:txBody>
      </p:sp>
      <p:sp>
        <p:nvSpPr>
          <p:cNvPr id="10" name="Espace réservé du texte 5"/>
          <p:cNvSpPr>
            <a:spLocks noGrp="1"/>
          </p:cNvSpPr>
          <p:nvPr>
            <p:ph type="body" sz="quarter" idx="10"/>
          </p:nvPr>
        </p:nvSpPr>
        <p:spPr>
          <a:xfrm>
            <a:off x="363633" y="1084336"/>
            <a:ext cx="4354138" cy="364902"/>
          </a:xfrm>
        </p:spPr>
        <p:txBody>
          <a:bodyPr>
            <a:noAutofit/>
          </a:bodyPr>
          <a:lstStyle>
            <a:lvl1pPr marL="0" indent="0">
              <a:buNone/>
              <a:defRPr lang="fr-FR" sz="1400" b="0" dirty="0" smtClean="0">
                <a:solidFill>
                  <a:schemeClr val="tx1"/>
                </a:solidFill>
                <a:latin typeface="+mj-lt"/>
                <a:ea typeface="+mn-ea"/>
                <a:cs typeface="Arial" pitchFamily="34" charset="0"/>
              </a:defRPr>
            </a:lvl1pPr>
          </a:lstStyle>
          <a:p>
            <a:pPr lvl="0"/>
            <a:r>
              <a:rPr lang="fr-FR"/>
              <a:t>Cliquez pour modifier les styles du texte du masque</a:t>
            </a:r>
          </a:p>
        </p:txBody>
      </p:sp>
      <p:cxnSp>
        <p:nvCxnSpPr>
          <p:cNvPr id="3" name="Connecteur droit 2"/>
          <p:cNvCxnSpPr/>
          <p:nvPr/>
        </p:nvCxnSpPr>
        <p:spPr bwMode="auto">
          <a:xfrm>
            <a:off x="363633" y="1570005"/>
            <a:ext cx="4354138" cy="0"/>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p:spPr>
      </p:cxnSp>
      <p:cxnSp>
        <p:nvCxnSpPr>
          <p:cNvPr id="9" name="Connecteur droit 8"/>
          <p:cNvCxnSpPr/>
          <p:nvPr/>
        </p:nvCxnSpPr>
        <p:spPr bwMode="auto">
          <a:xfrm>
            <a:off x="5211128" y="1570005"/>
            <a:ext cx="4354138" cy="0"/>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p:spPr>
      </p:cxnSp>
      <p:sp>
        <p:nvSpPr>
          <p:cNvPr id="12" name="Espace réservé du texte 5"/>
          <p:cNvSpPr>
            <a:spLocks noGrp="1"/>
          </p:cNvSpPr>
          <p:nvPr>
            <p:ph type="body" sz="quarter" idx="12"/>
          </p:nvPr>
        </p:nvSpPr>
        <p:spPr>
          <a:xfrm>
            <a:off x="5211128" y="1084336"/>
            <a:ext cx="4354138" cy="364902"/>
          </a:xfrm>
        </p:spPr>
        <p:txBody>
          <a:bodyPr>
            <a:noAutofit/>
          </a:bodyPr>
          <a:lstStyle>
            <a:lvl1pPr marL="0" indent="0">
              <a:buNone/>
              <a:defRPr lang="fr-FR" sz="1400" b="0" dirty="0" smtClean="0">
                <a:solidFill>
                  <a:schemeClr val="tx1"/>
                </a:solidFill>
                <a:latin typeface="+mj-lt"/>
                <a:ea typeface="+mn-ea"/>
                <a:cs typeface="Arial" pitchFamily="34" charset="0"/>
              </a:defRPr>
            </a:lvl1pPr>
          </a:lstStyle>
          <a:p>
            <a:pPr marL="0" lvl="0" indent="0" algn="l" rtl="0" eaLnBrk="1" fontAlgn="base" hangingPunct="1">
              <a:spcBef>
                <a:spcPct val="35000"/>
              </a:spcBef>
              <a:spcAft>
                <a:spcPct val="0"/>
              </a:spcAft>
              <a:buClr>
                <a:schemeClr val="tx1"/>
              </a:buClr>
              <a:buSzPct val="100000"/>
              <a:buFont typeface="Arial" panose="020B0604020202020204" pitchFamily="34" charset="0"/>
              <a:buNone/>
            </a:pPr>
            <a:r>
              <a:rPr lang="fr-FR"/>
              <a:t>Cliquez pour modifier les styles du texte du masque</a:t>
            </a:r>
          </a:p>
        </p:txBody>
      </p:sp>
      <p:cxnSp>
        <p:nvCxnSpPr>
          <p:cNvPr id="8" name="Connecteur droit 7"/>
          <p:cNvCxnSpPr/>
          <p:nvPr/>
        </p:nvCxnSpPr>
        <p:spPr bwMode="auto">
          <a:xfrm>
            <a:off x="4951562" y="1789043"/>
            <a:ext cx="0" cy="4522857"/>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p:spPr>
      </p:cxnSp>
      <p:sp>
        <p:nvSpPr>
          <p:cNvPr id="11" name="Espace réservé du texte 4">
            <a:extLst>
              <a:ext uri="{FF2B5EF4-FFF2-40B4-BE49-F238E27FC236}">
                <a16:creationId xmlns:a16="http://schemas.microsoft.com/office/drawing/2014/main" id="{713081DF-1234-4172-BAF5-C8C5A3DB8346}"/>
              </a:ext>
            </a:extLst>
          </p:cNvPr>
          <p:cNvSpPr>
            <a:spLocks noGrp="1"/>
          </p:cNvSpPr>
          <p:nvPr>
            <p:ph type="body" sz="quarter" idx="13" hasCustomPrompt="1"/>
          </p:nvPr>
        </p:nvSpPr>
        <p:spPr>
          <a:xfrm>
            <a:off x="1315274" y="6580025"/>
            <a:ext cx="7131600" cy="244800"/>
          </a:xfr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defRPr>
            </a:lvl1pPr>
            <a:lvl2pPr>
              <a:defRPr lang="fr-FR" kern="1200" smtClean="0">
                <a:ea typeface="+mn-ea"/>
                <a:cs typeface="Arial" pitchFamily="34" charset="0"/>
              </a:defRPr>
            </a:lvl2pPr>
            <a:lvl3pPr>
              <a:defRPr lang="fr-FR" kern="1200" smtClean="0">
                <a:ea typeface="+mn-ea"/>
                <a:cs typeface="Arial" pitchFamily="34" charset="0"/>
              </a:defRPr>
            </a:lvl3pPr>
            <a:lvl4pPr>
              <a:defRPr lang="fr-FR" kern="1200" smtClean="0">
                <a:ea typeface="+mn-ea"/>
                <a:cs typeface="Arial" pitchFamily="34" charset="0"/>
              </a:defRPr>
            </a:lvl4pPr>
            <a:lvl5pPr>
              <a:defRPr lang="fr-FR" kern="1200">
                <a:ea typeface="+mn-ea"/>
                <a:cs typeface="Arial" pitchFamily="34" charset="0"/>
              </a:defRPr>
            </a:lvl5pPr>
          </a:lstStyle>
          <a:p>
            <a:pPr marL="0" marR="0" lvl="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a:pP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Sources: </a:t>
            </a:r>
            <a:b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br>
            <a:r>
              <a:rPr kumimoji="0" lang="fr-FR"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1</a:t>
            </a: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 Note	2. Note</a:t>
            </a:r>
          </a:p>
        </p:txBody>
      </p:sp>
    </p:spTree>
    <p:extLst>
      <p:ext uri="{BB962C8B-B14F-4D97-AF65-F5344CB8AC3E}">
        <p14:creationId xmlns:p14="http://schemas.microsoft.com/office/powerpoint/2010/main" val="4212097414"/>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1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2_Diapositive de titre">
    <p:spTree>
      <p:nvGrpSpPr>
        <p:cNvPr id="1" name=""/>
        <p:cNvGrpSpPr/>
        <p:nvPr/>
      </p:nvGrpSpPr>
      <p:grpSpPr>
        <a:xfrm>
          <a:off x="0" y="0"/>
          <a:ext cx="0" cy="0"/>
          <a:chOff x="0" y="0"/>
          <a:chExt cx="0" cy="0"/>
        </a:xfrm>
      </p:grpSpPr>
      <p:sp>
        <p:nvSpPr>
          <p:cNvPr id="8" name="Rectangle 2"/>
          <p:cNvSpPr>
            <a:spLocks noGrp="1" noChangeArrowheads="1"/>
          </p:cNvSpPr>
          <p:nvPr>
            <p:ph type="ctrTitle"/>
            <p:custDataLst>
              <p:tags r:id="rId1"/>
            </p:custDataLst>
          </p:nvPr>
        </p:nvSpPr>
        <p:spPr>
          <a:xfrm>
            <a:off x="975124" y="1845126"/>
            <a:ext cx="5209366" cy="461665"/>
          </a:xfrm>
        </p:spPr>
        <p:txBody>
          <a:bodyPr wrap="square" lIns="0" rIns="0">
            <a:spAutoFit/>
          </a:bodyPr>
          <a:lstStyle>
            <a:lvl1pPr>
              <a:defRPr kumimoji="0" lang="en-GB" sz="2400" b="1" i="0" u="none" strike="noStrike" kern="0" cap="none" spc="0" normalizeH="0" baseline="0" dirty="0">
                <a:ln>
                  <a:noFill/>
                </a:ln>
                <a:solidFill>
                  <a:schemeClr val="tx1"/>
                </a:solidFill>
                <a:effectLst/>
                <a:uLnTx/>
                <a:uFillTx/>
                <a:latin typeface="Trebuchet MS" panose="020B0603020202020204" pitchFamily="34" charset="0"/>
                <a:ea typeface="+mn-ea"/>
                <a:cs typeface="Arial" pitchFamily="34" charset="0"/>
              </a:defRPr>
            </a:lvl1pPr>
          </a:lstStyle>
          <a:p>
            <a:r>
              <a:rPr lang="fr-FR"/>
              <a:t>Modifiez le style du titre</a:t>
            </a:r>
            <a:endParaRPr lang="en-GB"/>
          </a:p>
        </p:txBody>
      </p:sp>
      <p:sp>
        <p:nvSpPr>
          <p:cNvPr id="9" name="Espace réservé du texte 50"/>
          <p:cNvSpPr>
            <a:spLocks noGrp="1"/>
          </p:cNvSpPr>
          <p:nvPr>
            <p:ph type="body" sz="quarter" idx="10"/>
            <p:custDataLst>
              <p:tags r:id="rId2"/>
            </p:custDataLst>
          </p:nvPr>
        </p:nvSpPr>
        <p:spPr>
          <a:xfrm>
            <a:off x="975124" y="3859338"/>
            <a:ext cx="3676775" cy="360362"/>
          </a:xfrm>
          <a:prstGeom prst="rect">
            <a:avLst/>
          </a:prstGeom>
        </p:spPr>
        <p:txBody>
          <a:bodyPr vert="horz" lIns="91440" tIns="45720" rIns="91440" bIns="45720" rtlCol="0" anchor="t">
            <a:noAutofit/>
          </a:bodyPr>
          <a:lstStyle>
            <a:lvl1pPr marL="0" indent="0">
              <a:buFont typeface="Arial" panose="020B0604020202020204" pitchFamily="34" charset="0"/>
              <a:buNone/>
              <a:defRPr kumimoji="0" lang="fr-FR" sz="1200" b="0" i="0" u="none" strike="noStrike" kern="0" cap="none" spc="0" normalizeH="0" baseline="0" dirty="0" smtClean="0">
                <a:ln>
                  <a:noFill/>
                </a:ln>
                <a:solidFill>
                  <a:schemeClr val="tx1"/>
                </a:solidFill>
                <a:effectLst/>
                <a:uLnTx/>
                <a:uFillTx/>
                <a:latin typeface="Trebuchet MS" panose="020B0603020202020204" pitchFamily="34" charset="0"/>
                <a:ea typeface="+mn-ea"/>
                <a:cs typeface="Arial" pitchFamily="34" charset="0"/>
              </a:defRPr>
            </a:lvl1pPr>
          </a:lstStyle>
          <a:p>
            <a:pPr marL="285750" lvl="0" indent="-285750"/>
            <a:r>
              <a:rPr lang="fr-FR"/>
              <a:t>Cliquez pour modifier les styles du texte du masque</a:t>
            </a:r>
          </a:p>
        </p:txBody>
      </p:sp>
      <p:cxnSp>
        <p:nvCxnSpPr>
          <p:cNvPr id="11" name="Connecteur droit 10"/>
          <p:cNvCxnSpPr/>
          <p:nvPr/>
        </p:nvCxnSpPr>
        <p:spPr>
          <a:xfrm>
            <a:off x="629747" y="6624385"/>
            <a:ext cx="4817743" cy="0"/>
          </a:xfrm>
          <a:prstGeom prst="line">
            <a:avLst/>
          </a:prstGeom>
          <a:noFill/>
          <a:ln w="6350" cap="flat" cmpd="sng" algn="ctr">
            <a:solidFill>
              <a:schemeClr val="bg1">
                <a:lumMod val="50000"/>
              </a:schemeClr>
            </a:solidFill>
            <a:prstDash val="solid"/>
          </a:ln>
          <a:effectLst/>
        </p:spPr>
      </p:cxnSp>
      <p:cxnSp>
        <p:nvCxnSpPr>
          <p:cNvPr id="12" name="Connecteur droit 11"/>
          <p:cNvCxnSpPr/>
          <p:nvPr/>
        </p:nvCxnSpPr>
        <p:spPr>
          <a:xfrm>
            <a:off x="629747" y="5709985"/>
            <a:ext cx="4817743" cy="0"/>
          </a:xfrm>
          <a:prstGeom prst="line">
            <a:avLst/>
          </a:prstGeom>
          <a:noFill/>
          <a:ln w="6350" cap="flat" cmpd="sng" algn="ctr">
            <a:solidFill>
              <a:schemeClr val="bg1">
                <a:lumMod val="50000"/>
              </a:schemeClr>
            </a:solidFill>
            <a:prstDash val="solid"/>
          </a:ln>
          <a:effectLst/>
        </p:spPr>
      </p:cxnSp>
      <p:sp>
        <p:nvSpPr>
          <p:cNvPr id="14" name="Espace réservé du texte 50"/>
          <p:cNvSpPr>
            <a:spLocks noGrp="1"/>
          </p:cNvSpPr>
          <p:nvPr>
            <p:ph type="body" sz="quarter" idx="11"/>
            <p:custDataLst>
              <p:tags r:id="rId3"/>
            </p:custDataLst>
          </p:nvPr>
        </p:nvSpPr>
        <p:spPr>
          <a:xfrm>
            <a:off x="975124" y="4555990"/>
            <a:ext cx="3676775" cy="360362"/>
          </a:xfrm>
          <a:prstGeom prst="rect">
            <a:avLst/>
          </a:prstGeom>
        </p:spPr>
        <p:txBody>
          <a:bodyPr vert="horz" lIns="91440" tIns="45720" rIns="91440" bIns="45720" rtlCol="0" anchor="t">
            <a:noAutofit/>
          </a:bodyPr>
          <a:lstStyle>
            <a:lvl1pPr marL="0" indent="0">
              <a:buNone/>
              <a:defRPr kumimoji="0" lang="fr-FR" sz="1200" b="0" i="0" u="none" strike="noStrike" kern="0" cap="none" spc="0" normalizeH="0" baseline="0" dirty="0" smtClean="0">
                <a:ln>
                  <a:noFill/>
                </a:ln>
                <a:solidFill>
                  <a:schemeClr val="tx1"/>
                </a:solidFill>
                <a:effectLst/>
                <a:uLnTx/>
                <a:uFillTx/>
                <a:latin typeface="Trebuchet MS" panose="020B0603020202020204" pitchFamily="34" charset="0"/>
                <a:ea typeface="+mn-ea"/>
                <a:cs typeface="Arial" pitchFamily="34" charset="0"/>
              </a:defRPr>
            </a:lvl1pPr>
          </a:lstStyle>
          <a:p>
            <a:pPr marL="285750" lvl="0" indent="-285750"/>
            <a:r>
              <a:rPr lang="fr-FR"/>
              <a:t>Cliquez pour modifier les styles du texte du masque</a:t>
            </a:r>
          </a:p>
        </p:txBody>
      </p:sp>
      <p:grpSp>
        <p:nvGrpSpPr>
          <p:cNvPr id="86" name="Graphique 7">
            <a:extLst>
              <a:ext uri="{FF2B5EF4-FFF2-40B4-BE49-F238E27FC236}">
                <a16:creationId xmlns:a16="http://schemas.microsoft.com/office/drawing/2014/main" id="{65C783B5-0FA9-4173-B7B2-D53A2BCB045D}"/>
              </a:ext>
            </a:extLst>
          </p:cNvPr>
          <p:cNvGrpSpPr/>
          <p:nvPr/>
        </p:nvGrpSpPr>
        <p:grpSpPr>
          <a:xfrm>
            <a:off x="3575509" y="5737845"/>
            <a:ext cx="1551553" cy="864631"/>
            <a:chOff x="2269715" y="1722641"/>
            <a:chExt cx="4324350" cy="2409825"/>
          </a:xfrm>
        </p:grpSpPr>
        <p:sp>
          <p:nvSpPr>
            <p:cNvPr id="87" name="Forme libre : forme 86">
              <a:extLst>
                <a:ext uri="{FF2B5EF4-FFF2-40B4-BE49-F238E27FC236}">
                  <a16:creationId xmlns:a16="http://schemas.microsoft.com/office/drawing/2014/main" id="{DC9A3497-21A3-45E3-A9E4-89DC78B9478D}"/>
                </a:ext>
              </a:extLst>
            </p:cNvPr>
            <p:cNvSpPr/>
            <p:nvPr/>
          </p:nvSpPr>
          <p:spPr>
            <a:xfrm>
              <a:off x="2436869" y="2236734"/>
              <a:ext cx="685800" cy="771525"/>
            </a:xfrm>
            <a:custGeom>
              <a:avLst/>
              <a:gdLst>
                <a:gd name="connsiteX0" fmla="*/ 673275 w 685800"/>
                <a:gd name="connsiteY0" fmla="*/ 400641 h 771525"/>
                <a:gd name="connsiteX1" fmla="*/ 144180 w 685800"/>
                <a:gd name="connsiteY1" fmla="*/ 400641 h 771525"/>
                <a:gd name="connsiteX2" fmla="*/ 214836 w 685800"/>
                <a:gd name="connsiteY2" fmla="*/ 598637 h 771525"/>
                <a:gd name="connsiteX3" fmla="*/ 375333 w 685800"/>
                <a:gd name="connsiteY3" fmla="*/ 658911 h 771525"/>
                <a:gd name="connsiteX4" fmla="*/ 561927 w 685800"/>
                <a:gd name="connsiteY4" fmla="*/ 593931 h 771525"/>
                <a:gd name="connsiteX5" fmla="*/ 616791 w 685800"/>
                <a:gd name="connsiteY5" fmla="*/ 687896 h 771525"/>
                <a:gd name="connsiteX6" fmla="*/ 524218 w 685800"/>
                <a:gd name="connsiteY6" fmla="*/ 739950 h 771525"/>
                <a:gd name="connsiteX7" fmla="*/ 350006 w 685800"/>
                <a:gd name="connsiteY7" fmla="*/ 768725 h 771525"/>
                <a:gd name="connsiteX8" fmla="*/ 114814 w 685800"/>
                <a:gd name="connsiteY8" fmla="*/ 674780 h 771525"/>
                <a:gd name="connsiteX9" fmla="*/ 7144 w 685800"/>
                <a:gd name="connsiteY9" fmla="*/ 396469 h 771525"/>
                <a:gd name="connsiteX10" fmla="*/ 117510 w 685800"/>
                <a:gd name="connsiteY10" fmla="*/ 105118 h 771525"/>
                <a:gd name="connsiteX11" fmla="*/ 351177 w 685800"/>
                <a:gd name="connsiteY11" fmla="*/ 7144 h 771525"/>
                <a:gd name="connsiteX12" fmla="*/ 597179 w 685800"/>
                <a:gd name="connsiteY12" fmla="*/ 95574 h 771525"/>
                <a:gd name="connsiteX13" fmla="*/ 683533 w 685800"/>
                <a:gd name="connsiteY13" fmla="*/ 321107 h 771525"/>
                <a:gd name="connsiteX14" fmla="*/ 673275 w 685800"/>
                <a:gd name="connsiteY14" fmla="*/ 400641 h 771525"/>
                <a:gd name="connsiteX15" fmla="*/ 357597 w 685800"/>
                <a:gd name="connsiteY15" fmla="*/ 116938 h 771525"/>
                <a:gd name="connsiteX16" fmla="*/ 211512 w 685800"/>
                <a:gd name="connsiteY16" fmla="*/ 173050 h 771525"/>
                <a:gd name="connsiteX17" fmla="*/ 147704 w 685800"/>
                <a:gd name="connsiteY17" fmla="*/ 305810 h 771525"/>
                <a:gd name="connsiteX18" fmla="*/ 554422 w 685800"/>
                <a:gd name="connsiteY18" fmla="*/ 305810 h 771525"/>
                <a:gd name="connsiteX19" fmla="*/ 505054 w 685800"/>
                <a:gd name="connsiteY19" fmla="*/ 174450 h 771525"/>
                <a:gd name="connsiteX20" fmla="*/ 357597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75" y="400641"/>
                  </a:moveTo>
                  <a:lnTo>
                    <a:pt x="144180" y="400641"/>
                  </a:lnTo>
                  <a:cubicBezTo>
                    <a:pt x="144180" y="486518"/>
                    <a:pt x="167735" y="552488"/>
                    <a:pt x="214836" y="598637"/>
                  </a:cubicBezTo>
                  <a:cubicBezTo>
                    <a:pt x="256470" y="638842"/>
                    <a:pt x="309934" y="658911"/>
                    <a:pt x="375333" y="658911"/>
                  </a:cubicBezTo>
                  <a:cubicBezTo>
                    <a:pt x="449885" y="658911"/>
                    <a:pt x="512083" y="637223"/>
                    <a:pt x="561927" y="593931"/>
                  </a:cubicBezTo>
                  <a:lnTo>
                    <a:pt x="616791" y="687896"/>
                  </a:lnTo>
                  <a:cubicBezTo>
                    <a:pt x="596627" y="707993"/>
                    <a:pt x="565775" y="725367"/>
                    <a:pt x="524218" y="739950"/>
                  </a:cubicBezTo>
                  <a:cubicBezTo>
                    <a:pt x="472116" y="759114"/>
                    <a:pt x="414033" y="768725"/>
                    <a:pt x="350006" y="768725"/>
                  </a:cubicBezTo>
                  <a:cubicBezTo>
                    <a:pt x="257670" y="768725"/>
                    <a:pt x="179261" y="737416"/>
                    <a:pt x="114814" y="674780"/>
                  </a:cubicBezTo>
                  <a:cubicBezTo>
                    <a:pt x="43005" y="605828"/>
                    <a:pt x="7144" y="513055"/>
                    <a:pt x="7144" y="396469"/>
                  </a:cubicBezTo>
                  <a:cubicBezTo>
                    <a:pt x="7144" y="275368"/>
                    <a:pt x="43929" y="178241"/>
                    <a:pt x="117510" y="105118"/>
                  </a:cubicBezTo>
                  <a:cubicBezTo>
                    <a:pt x="183290" y="39786"/>
                    <a:pt x="261176" y="7144"/>
                    <a:pt x="351177" y="7144"/>
                  </a:cubicBezTo>
                  <a:cubicBezTo>
                    <a:pt x="455762" y="7144"/>
                    <a:pt x="537772" y="36614"/>
                    <a:pt x="597179" y="95574"/>
                  </a:cubicBezTo>
                  <a:cubicBezTo>
                    <a:pt x="654758" y="152238"/>
                    <a:pt x="683533" y="227457"/>
                    <a:pt x="683533" y="321107"/>
                  </a:cubicBezTo>
                  <a:cubicBezTo>
                    <a:pt x="683543" y="349910"/>
                    <a:pt x="680085" y="376438"/>
                    <a:pt x="673275" y="400641"/>
                  </a:cubicBezTo>
                  <a:close/>
                  <a:moveTo>
                    <a:pt x="357597" y="116938"/>
                  </a:moveTo>
                  <a:cubicBezTo>
                    <a:pt x="299514" y="116938"/>
                    <a:pt x="250822" y="135674"/>
                    <a:pt x="211512" y="173050"/>
                  </a:cubicBezTo>
                  <a:cubicBezTo>
                    <a:pt x="174003" y="208636"/>
                    <a:pt x="152695" y="252879"/>
                    <a:pt x="147704" y="305810"/>
                  </a:cubicBezTo>
                  <a:lnTo>
                    <a:pt x="554422" y="305810"/>
                  </a:lnTo>
                  <a:cubicBezTo>
                    <a:pt x="554422" y="253375"/>
                    <a:pt x="537953" y="209588"/>
                    <a:pt x="505054" y="174450"/>
                  </a:cubicBezTo>
                  <a:cubicBezTo>
                    <a:pt x="468935" y="136103"/>
                    <a:pt x="419738" y="116938"/>
                    <a:pt x="357597" y="116938"/>
                  </a:cubicBezTo>
                  <a:close/>
                </a:path>
              </a:pathLst>
            </a:custGeom>
            <a:solidFill>
              <a:srgbClr val="289B38"/>
            </a:solidFill>
            <a:ln w="9525" cap="flat">
              <a:noFill/>
              <a:prstDash val="solid"/>
              <a:miter/>
            </a:ln>
          </p:spPr>
          <p:txBody>
            <a:bodyPr rtlCol="0" anchor="ctr"/>
            <a:lstStyle/>
            <a:p>
              <a:endParaRPr lang="fr-FR"/>
            </a:p>
          </p:txBody>
        </p:sp>
        <p:sp>
          <p:nvSpPr>
            <p:cNvPr id="88" name="Forme libre : forme 87">
              <a:extLst>
                <a:ext uri="{FF2B5EF4-FFF2-40B4-BE49-F238E27FC236}">
                  <a16:creationId xmlns:a16="http://schemas.microsoft.com/office/drawing/2014/main" id="{A05312BB-6D00-4A33-8DCC-A0CFD12D9B7A}"/>
                </a:ext>
              </a:extLst>
            </p:cNvPr>
            <p:cNvSpPr/>
            <p:nvPr/>
          </p:nvSpPr>
          <p:spPr>
            <a:xfrm>
              <a:off x="3259963" y="1950365"/>
              <a:ext cx="266700" cy="1057275"/>
            </a:xfrm>
            <a:custGeom>
              <a:avLst/>
              <a:gdLst>
                <a:gd name="connsiteX0" fmla="*/ 7144 w 266700"/>
                <a:gd name="connsiteY0" fmla="*/ 833847 h 1057275"/>
                <a:gd name="connsiteX1" fmla="*/ 7144 w 266700"/>
                <a:gd name="connsiteY1" fmla="*/ 7144 h 1057275"/>
                <a:gd name="connsiteX2" fmla="*/ 137160 w 266700"/>
                <a:gd name="connsiteY2" fmla="*/ 7144 h 1057275"/>
                <a:gd name="connsiteX3" fmla="*/ 137160 w 266700"/>
                <a:gd name="connsiteY3" fmla="*/ 811578 h 1057275"/>
                <a:gd name="connsiteX4" fmla="*/ 171136 w 266700"/>
                <a:gd name="connsiteY4" fmla="*/ 904389 h 1057275"/>
                <a:gd name="connsiteX5" fmla="*/ 260137 w 266700"/>
                <a:gd name="connsiteY5" fmla="*/ 938251 h 1057275"/>
                <a:gd name="connsiteX6" fmla="*/ 260137 w 266700"/>
                <a:gd name="connsiteY6" fmla="*/ 1055103 h 1057275"/>
                <a:gd name="connsiteX7" fmla="*/ 7144 w 266700"/>
                <a:gd name="connsiteY7" fmla="*/ 833847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1057275">
                  <a:moveTo>
                    <a:pt x="7144" y="833847"/>
                  </a:moveTo>
                  <a:lnTo>
                    <a:pt x="7144" y="7144"/>
                  </a:lnTo>
                  <a:lnTo>
                    <a:pt x="137160" y="7144"/>
                  </a:lnTo>
                  <a:lnTo>
                    <a:pt x="137160" y="811578"/>
                  </a:lnTo>
                  <a:cubicBezTo>
                    <a:pt x="137160" y="850868"/>
                    <a:pt x="148523" y="881767"/>
                    <a:pt x="171136" y="904389"/>
                  </a:cubicBezTo>
                  <a:cubicBezTo>
                    <a:pt x="193872" y="926954"/>
                    <a:pt x="223514" y="938251"/>
                    <a:pt x="260137" y="938251"/>
                  </a:cubicBezTo>
                  <a:lnTo>
                    <a:pt x="260137" y="1055103"/>
                  </a:lnTo>
                  <a:cubicBezTo>
                    <a:pt x="91469" y="1055103"/>
                    <a:pt x="7144" y="981370"/>
                    <a:pt x="7144" y="833847"/>
                  </a:cubicBezTo>
                  <a:close/>
                </a:path>
              </a:pathLst>
            </a:custGeom>
            <a:solidFill>
              <a:srgbClr val="00A3E5"/>
            </a:solidFill>
            <a:ln w="9525" cap="flat">
              <a:noFill/>
              <a:prstDash val="solid"/>
              <a:miter/>
            </a:ln>
          </p:spPr>
          <p:txBody>
            <a:bodyPr rtlCol="0" anchor="ctr"/>
            <a:lstStyle/>
            <a:p>
              <a:endParaRPr lang="fr-FR"/>
            </a:p>
          </p:txBody>
        </p:sp>
        <p:sp>
          <p:nvSpPr>
            <p:cNvPr id="89" name="Forme libre : forme 88">
              <a:extLst>
                <a:ext uri="{FF2B5EF4-FFF2-40B4-BE49-F238E27FC236}">
                  <a16:creationId xmlns:a16="http://schemas.microsoft.com/office/drawing/2014/main" id="{D8C294E5-A588-4C96-BAA1-B184FBEDD217}"/>
                </a:ext>
              </a:extLst>
            </p:cNvPr>
            <p:cNvSpPr/>
            <p:nvPr/>
          </p:nvSpPr>
          <p:spPr>
            <a:xfrm>
              <a:off x="3615674" y="2236734"/>
              <a:ext cx="685800" cy="771525"/>
            </a:xfrm>
            <a:custGeom>
              <a:avLst/>
              <a:gdLst>
                <a:gd name="connsiteX0" fmla="*/ 673246 w 685800"/>
                <a:gd name="connsiteY0" fmla="*/ 400641 h 771525"/>
                <a:gd name="connsiteX1" fmla="*/ 144161 w 685800"/>
                <a:gd name="connsiteY1" fmla="*/ 400641 h 771525"/>
                <a:gd name="connsiteX2" fmla="*/ 214827 w 685800"/>
                <a:gd name="connsiteY2" fmla="*/ 598637 h 771525"/>
                <a:gd name="connsiteX3" fmla="*/ 375361 w 685800"/>
                <a:gd name="connsiteY3" fmla="*/ 658911 h 771525"/>
                <a:gd name="connsiteX4" fmla="*/ 561899 w 685800"/>
                <a:gd name="connsiteY4" fmla="*/ 593931 h 771525"/>
                <a:gd name="connsiteX5" fmla="*/ 616744 w 685800"/>
                <a:gd name="connsiteY5" fmla="*/ 687896 h 771525"/>
                <a:gd name="connsiteX6" fmla="*/ 524199 w 685800"/>
                <a:gd name="connsiteY6" fmla="*/ 739950 h 771525"/>
                <a:gd name="connsiteX7" fmla="*/ 350044 w 685800"/>
                <a:gd name="connsiteY7" fmla="*/ 768725 h 771525"/>
                <a:gd name="connsiteX8" fmla="*/ 114862 w 685800"/>
                <a:gd name="connsiteY8" fmla="*/ 674780 h 771525"/>
                <a:gd name="connsiteX9" fmla="*/ 7144 w 685800"/>
                <a:gd name="connsiteY9" fmla="*/ 396469 h 771525"/>
                <a:gd name="connsiteX10" fmla="*/ 117481 w 685800"/>
                <a:gd name="connsiteY10" fmla="*/ 105118 h 771525"/>
                <a:gd name="connsiteX11" fmla="*/ 351120 w 685800"/>
                <a:gd name="connsiteY11" fmla="*/ 7144 h 771525"/>
                <a:gd name="connsiteX12" fmla="*/ 597218 w 685800"/>
                <a:gd name="connsiteY12" fmla="*/ 95574 h 771525"/>
                <a:gd name="connsiteX13" fmla="*/ 683514 w 685800"/>
                <a:gd name="connsiteY13" fmla="*/ 321107 h 771525"/>
                <a:gd name="connsiteX14" fmla="*/ 673246 w 685800"/>
                <a:gd name="connsiteY14" fmla="*/ 400641 h 771525"/>
                <a:gd name="connsiteX15" fmla="*/ 357569 w 685800"/>
                <a:gd name="connsiteY15" fmla="*/ 116938 h 771525"/>
                <a:gd name="connsiteX16" fmla="*/ 211484 w 685800"/>
                <a:gd name="connsiteY16" fmla="*/ 173050 h 771525"/>
                <a:gd name="connsiteX17" fmla="*/ 147695 w 685800"/>
                <a:gd name="connsiteY17" fmla="*/ 305810 h 771525"/>
                <a:gd name="connsiteX18" fmla="*/ 554393 w 685800"/>
                <a:gd name="connsiteY18" fmla="*/ 305810 h 771525"/>
                <a:gd name="connsiteX19" fmla="*/ 505044 w 685800"/>
                <a:gd name="connsiteY19" fmla="*/ 174450 h 771525"/>
                <a:gd name="connsiteX20" fmla="*/ 35756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46" y="400641"/>
                  </a:moveTo>
                  <a:lnTo>
                    <a:pt x="144161" y="400641"/>
                  </a:lnTo>
                  <a:cubicBezTo>
                    <a:pt x="144161" y="486518"/>
                    <a:pt x="167716" y="552488"/>
                    <a:pt x="214827" y="598637"/>
                  </a:cubicBezTo>
                  <a:cubicBezTo>
                    <a:pt x="256442" y="638842"/>
                    <a:pt x="309982" y="658911"/>
                    <a:pt x="375361" y="658911"/>
                  </a:cubicBezTo>
                  <a:cubicBezTo>
                    <a:pt x="449847" y="658911"/>
                    <a:pt x="512055" y="637223"/>
                    <a:pt x="561899" y="593931"/>
                  </a:cubicBezTo>
                  <a:lnTo>
                    <a:pt x="616744" y="687896"/>
                  </a:lnTo>
                  <a:cubicBezTo>
                    <a:pt x="596656" y="707993"/>
                    <a:pt x="565804" y="725367"/>
                    <a:pt x="524199" y="739950"/>
                  </a:cubicBezTo>
                  <a:cubicBezTo>
                    <a:pt x="472078" y="759114"/>
                    <a:pt x="414071" y="768725"/>
                    <a:pt x="350044" y="768725"/>
                  </a:cubicBezTo>
                  <a:cubicBezTo>
                    <a:pt x="257718" y="768725"/>
                    <a:pt x="179299" y="737416"/>
                    <a:pt x="114862" y="674780"/>
                  </a:cubicBezTo>
                  <a:cubicBezTo>
                    <a:pt x="43043" y="605828"/>
                    <a:pt x="7144" y="513055"/>
                    <a:pt x="7144" y="396469"/>
                  </a:cubicBezTo>
                  <a:cubicBezTo>
                    <a:pt x="7144" y="275368"/>
                    <a:pt x="43910" y="178241"/>
                    <a:pt x="117481" y="105118"/>
                  </a:cubicBezTo>
                  <a:cubicBezTo>
                    <a:pt x="183261" y="39786"/>
                    <a:pt x="261147" y="7144"/>
                    <a:pt x="351120" y="7144"/>
                  </a:cubicBezTo>
                  <a:cubicBezTo>
                    <a:pt x="455790" y="7144"/>
                    <a:pt x="537791" y="36614"/>
                    <a:pt x="597218" y="95574"/>
                  </a:cubicBezTo>
                  <a:cubicBezTo>
                    <a:pt x="654739" y="152238"/>
                    <a:pt x="683514" y="227457"/>
                    <a:pt x="683514" y="321107"/>
                  </a:cubicBezTo>
                  <a:cubicBezTo>
                    <a:pt x="683524" y="349910"/>
                    <a:pt x="680104" y="376438"/>
                    <a:pt x="673246" y="400641"/>
                  </a:cubicBezTo>
                  <a:close/>
                  <a:moveTo>
                    <a:pt x="357569" y="116938"/>
                  </a:moveTo>
                  <a:cubicBezTo>
                    <a:pt x="299533" y="116938"/>
                    <a:pt x="250784" y="135674"/>
                    <a:pt x="211484" y="173050"/>
                  </a:cubicBezTo>
                  <a:cubicBezTo>
                    <a:pt x="173993" y="208636"/>
                    <a:pt x="152733" y="252879"/>
                    <a:pt x="147695" y="305810"/>
                  </a:cubicBezTo>
                  <a:lnTo>
                    <a:pt x="554393" y="305810"/>
                  </a:lnTo>
                  <a:cubicBezTo>
                    <a:pt x="554393" y="253375"/>
                    <a:pt x="537924" y="209588"/>
                    <a:pt x="505044" y="174450"/>
                  </a:cubicBezTo>
                  <a:cubicBezTo>
                    <a:pt x="468906" y="136103"/>
                    <a:pt x="419786" y="116938"/>
                    <a:pt x="357569" y="116938"/>
                  </a:cubicBezTo>
                  <a:close/>
                </a:path>
              </a:pathLst>
            </a:custGeom>
            <a:solidFill>
              <a:srgbClr val="289B38"/>
            </a:solidFill>
            <a:ln w="9525" cap="flat">
              <a:noFill/>
              <a:prstDash val="solid"/>
              <a:miter/>
            </a:ln>
          </p:spPr>
          <p:txBody>
            <a:bodyPr rtlCol="0" anchor="ctr"/>
            <a:lstStyle/>
            <a:p>
              <a:endParaRPr lang="fr-FR"/>
            </a:p>
          </p:txBody>
        </p:sp>
        <p:sp>
          <p:nvSpPr>
            <p:cNvPr id="90" name="Forme libre : forme 89">
              <a:extLst>
                <a:ext uri="{FF2B5EF4-FFF2-40B4-BE49-F238E27FC236}">
                  <a16:creationId xmlns:a16="http://schemas.microsoft.com/office/drawing/2014/main" id="{E0AC33C0-F4DB-4ACB-8C93-7639BB156C72}"/>
                </a:ext>
              </a:extLst>
            </p:cNvPr>
            <p:cNvSpPr/>
            <p:nvPr/>
          </p:nvSpPr>
          <p:spPr>
            <a:xfrm>
              <a:off x="4343860" y="2249040"/>
              <a:ext cx="676275" cy="762000"/>
            </a:xfrm>
            <a:custGeom>
              <a:avLst/>
              <a:gdLst>
                <a:gd name="connsiteX0" fmla="*/ 355873 w 676275"/>
                <a:gd name="connsiteY0" fmla="*/ 756428 h 762000"/>
                <a:gd name="connsiteX1" fmla="*/ 321631 w 676275"/>
                <a:gd name="connsiteY1" fmla="*/ 756428 h 762000"/>
                <a:gd name="connsiteX2" fmla="*/ 7144 w 676275"/>
                <a:gd name="connsiteY2" fmla="*/ 7144 h 762000"/>
                <a:gd name="connsiteX3" fmla="*/ 149447 w 676275"/>
                <a:gd name="connsiteY3" fmla="*/ 7144 h 762000"/>
                <a:gd name="connsiteX4" fmla="*/ 343586 w 676275"/>
                <a:gd name="connsiteY4" fmla="*/ 521017 h 762000"/>
                <a:gd name="connsiteX5" fmla="*/ 542115 w 676275"/>
                <a:gd name="connsiteY5" fmla="*/ 7144 h 762000"/>
                <a:gd name="connsiteX6" fmla="*/ 678266 w 676275"/>
                <a:gd name="connsiteY6" fmla="*/ 7144 h 762000"/>
                <a:gd name="connsiteX7" fmla="*/ 355873 w 676275"/>
                <a:gd name="connsiteY7" fmla="*/ 756428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6275" h="762000">
                  <a:moveTo>
                    <a:pt x="355873" y="756428"/>
                  </a:moveTo>
                  <a:lnTo>
                    <a:pt x="321631" y="756428"/>
                  </a:lnTo>
                  <a:lnTo>
                    <a:pt x="7144" y="7144"/>
                  </a:lnTo>
                  <a:lnTo>
                    <a:pt x="149447" y="7144"/>
                  </a:lnTo>
                  <a:lnTo>
                    <a:pt x="343586" y="521017"/>
                  </a:lnTo>
                  <a:lnTo>
                    <a:pt x="542115" y="7144"/>
                  </a:lnTo>
                  <a:lnTo>
                    <a:pt x="678266" y="7144"/>
                  </a:lnTo>
                  <a:lnTo>
                    <a:pt x="355873" y="756428"/>
                  </a:lnTo>
                  <a:close/>
                </a:path>
              </a:pathLst>
            </a:custGeom>
            <a:solidFill>
              <a:srgbClr val="289B38"/>
            </a:solidFill>
            <a:ln w="9525" cap="flat">
              <a:noFill/>
              <a:prstDash val="solid"/>
              <a:miter/>
            </a:ln>
          </p:spPr>
          <p:txBody>
            <a:bodyPr rtlCol="0" anchor="ctr"/>
            <a:lstStyle/>
            <a:p>
              <a:endParaRPr lang="fr-FR"/>
            </a:p>
          </p:txBody>
        </p:sp>
        <p:sp>
          <p:nvSpPr>
            <p:cNvPr id="91" name="Forme libre : forme 90">
              <a:extLst>
                <a:ext uri="{FF2B5EF4-FFF2-40B4-BE49-F238E27FC236}">
                  <a16:creationId xmlns:a16="http://schemas.microsoft.com/office/drawing/2014/main" id="{514F0AD8-B1B4-4C2C-9407-C2CCF225A435}"/>
                </a:ext>
              </a:extLst>
            </p:cNvPr>
            <p:cNvSpPr/>
            <p:nvPr/>
          </p:nvSpPr>
          <p:spPr>
            <a:xfrm>
              <a:off x="5067808" y="2236734"/>
              <a:ext cx="685800" cy="771525"/>
            </a:xfrm>
            <a:custGeom>
              <a:avLst/>
              <a:gdLst>
                <a:gd name="connsiteX0" fmla="*/ 673227 w 685800"/>
                <a:gd name="connsiteY0" fmla="*/ 400641 h 771525"/>
                <a:gd name="connsiteX1" fmla="*/ 144151 w 685800"/>
                <a:gd name="connsiteY1" fmla="*/ 400641 h 771525"/>
                <a:gd name="connsiteX2" fmla="*/ 214827 w 685800"/>
                <a:gd name="connsiteY2" fmla="*/ 598637 h 771525"/>
                <a:gd name="connsiteX3" fmla="*/ 375295 w 685800"/>
                <a:gd name="connsiteY3" fmla="*/ 658911 h 771525"/>
                <a:gd name="connsiteX4" fmla="*/ 561832 w 685800"/>
                <a:gd name="connsiteY4" fmla="*/ 593931 h 771525"/>
                <a:gd name="connsiteX5" fmla="*/ 616791 w 685800"/>
                <a:gd name="connsiteY5" fmla="*/ 687896 h 771525"/>
                <a:gd name="connsiteX6" fmla="*/ 524208 w 685800"/>
                <a:gd name="connsiteY6" fmla="*/ 739950 h 771525"/>
                <a:gd name="connsiteX7" fmla="*/ 349996 w 685800"/>
                <a:gd name="connsiteY7" fmla="*/ 768725 h 771525"/>
                <a:gd name="connsiteX8" fmla="*/ 114805 w 685800"/>
                <a:gd name="connsiteY8" fmla="*/ 674780 h 771525"/>
                <a:gd name="connsiteX9" fmla="*/ 7144 w 685800"/>
                <a:gd name="connsiteY9" fmla="*/ 396469 h 771525"/>
                <a:gd name="connsiteX10" fmla="*/ 117491 w 685800"/>
                <a:gd name="connsiteY10" fmla="*/ 105118 h 771525"/>
                <a:gd name="connsiteX11" fmla="*/ 351158 w 685800"/>
                <a:gd name="connsiteY11" fmla="*/ 7144 h 771525"/>
                <a:gd name="connsiteX12" fmla="*/ 597180 w 685800"/>
                <a:gd name="connsiteY12" fmla="*/ 95574 h 771525"/>
                <a:gd name="connsiteX13" fmla="*/ 683514 w 685800"/>
                <a:gd name="connsiteY13" fmla="*/ 321107 h 771525"/>
                <a:gd name="connsiteX14" fmla="*/ 673227 w 685800"/>
                <a:gd name="connsiteY14" fmla="*/ 400641 h 771525"/>
                <a:gd name="connsiteX15" fmla="*/ 357559 w 685800"/>
                <a:gd name="connsiteY15" fmla="*/ 116938 h 771525"/>
                <a:gd name="connsiteX16" fmla="*/ 211474 w 685800"/>
                <a:gd name="connsiteY16" fmla="*/ 173050 h 771525"/>
                <a:gd name="connsiteX17" fmla="*/ 147695 w 685800"/>
                <a:gd name="connsiteY17" fmla="*/ 305810 h 771525"/>
                <a:gd name="connsiteX18" fmla="*/ 554364 w 685800"/>
                <a:gd name="connsiteY18" fmla="*/ 305810 h 771525"/>
                <a:gd name="connsiteX19" fmla="*/ 504968 w 685800"/>
                <a:gd name="connsiteY19" fmla="*/ 174450 h 771525"/>
                <a:gd name="connsiteX20" fmla="*/ 35755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27" y="400641"/>
                  </a:moveTo>
                  <a:lnTo>
                    <a:pt x="144151" y="400641"/>
                  </a:lnTo>
                  <a:cubicBezTo>
                    <a:pt x="144151" y="486518"/>
                    <a:pt x="167726" y="552488"/>
                    <a:pt x="214827" y="598637"/>
                  </a:cubicBezTo>
                  <a:cubicBezTo>
                    <a:pt x="256422" y="638842"/>
                    <a:pt x="309915" y="658911"/>
                    <a:pt x="375295" y="658911"/>
                  </a:cubicBezTo>
                  <a:cubicBezTo>
                    <a:pt x="449875" y="658911"/>
                    <a:pt x="512026" y="637223"/>
                    <a:pt x="561832" y="593931"/>
                  </a:cubicBezTo>
                  <a:lnTo>
                    <a:pt x="616791" y="687896"/>
                  </a:lnTo>
                  <a:cubicBezTo>
                    <a:pt x="596665" y="707993"/>
                    <a:pt x="565795" y="725367"/>
                    <a:pt x="524208" y="739950"/>
                  </a:cubicBezTo>
                  <a:cubicBezTo>
                    <a:pt x="472031" y="759114"/>
                    <a:pt x="414023" y="768725"/>
                    <a:pt x="349996" y="768725"/>
                  </a:cubicBezTo>
                  <a:cubicBezTo>
                    <a:pt x="257642" y="768725"/>
                    <a:pt x="179241" y="737416"/>
                    <a:pt x="114805" y="674780"/>
                  </a:cubicBezTo>
                  <a:cubicBezTo>
                    <a:pt x="43053" y="605828"/>
                    <a:pt x="7144" y="513055"/>
                    <a:pt x="7144" y="396469"/>
                  </a:cubicBezTo>
                  <a:cubicBezTo>
                    <a:pt x="7144" y="275368"/>
                    <a:pt x="43920" y="178241"/>
                    <a:pt x="117491" y="105118"/>
                  </a:cubicBezTo>
                  <a:cubicBezTo>
                    <a:pt x="183261" y="39786"/>
                    <a:pt x="261118" y="7144"/>
                    <a:pt x="351158" y="7144"/>
                  </a:cubicBezTo>
                  <a:cubicBezTo>
                    <a:pt x="455790" y="7144"/>
                    <a:pt x="537763" y="36614"/>
                    <a:pt x="597180" y="95574"/>
                  </a:cubicBezTo>
                  <a:cubicBezTo>
                    <a:pt x="654739" y="152238"/>
                    <a:pt x="683514" y="227457"/>
                    <a:pt x="683514" y="321107"/>
                  </a:cubicBezTo>
                  <a:cubicBezTo>
                    <a:pt x="683514" y="349910"/>
                    <a:pt x="680113" y="376438"/>
                    <a:pt x="673227" y="400641"/>
                  </a:cubicBezTo>
                  <a:close/>
                  <a:moveTo>
                    <a:pt x="357559" y="116938"/>
                  </a:moveTo>
                  <a:cubicBezTo>
                    <a:pt x="299495" y="116938"/>
                    <a:pt x="250774" y="135674"/>
                    <a:pt x="211474" y="173050"/>
                  </a:cubicBezTo>
                  <a:cubicBezTo>
                    <a:pt x="173984" y="208636"/>
                    <a:pt x="152733" y="252879"/>
                    <a:pt x="147695" y="305810"/>
                  </a:cubicBezTo>
                  <a:lnTo>
                    <a:pt x="554364" y="305810"/>
                  </a:lnTo>
                  <a:cubicBezTo>
                    <a:pt x="554364" y="253375"/>
                    <a:pt x="537915" y="209588"/>
                    <a:pt x="504968" y="174450"/>
                  </a:cubicBezTo>
                  <a:cubicBezTo>
                    <a:pt x="468849" y="136103"/>
                    <a:pt x="419710" y="116938"/>
                    <a:pt x="357559" y="116938"/>
                  </a:cubicBezTo>
                  <a:close/>
                </a:path>
              </a:pathLst>
            </a:custGeom>
            <a:solidFill>
              <a:srgbClr val="289B38"/>
            </a:solidFill>
            <a:ln w="9525" cap="flat">
              <a:noFill/>
              <a:prstDash val="solid"/>
              <a:miter/>
            </a:ln>
          </p:spPr>
          <p:txBody>
            <a:bodyPr rtlCol="0" anchor="ctr"/>
            <a:lstStyle/>
            <a:p>
              <a:endParaRPr lang="fr-FR"/>
            </a:p>
          </p:txBody>
        </p:sp>
        <p:sp>
          <p:nvSpPr>
            <p:cNvPr id="92" name="Forme libre : forme 91">
              <a:extLst>
                <a:ext uri="{FF2B5EF4-FFF2-40B4-BE49-F238E27FC236}">
                  <a16:creationId xmlns:a16="http://schemas.microsoft.com/office/drawing/2014/main" id="{12C0952D-99F4-482C-ACA6-6EC2658765FE}"/>
                </a:ext>
              </a:extLst>
            </p:cNvPr>
            <p:cNvSpPr/>
            <p:nvPr/>
          </p:nvSpPr>
          <p:spPr>
            <a:xfrm>
              <a:off x="5880319" y="2236743"/>
              <a:ext cx="590550" cy="752475"/>
            </a:xfrm>
            <a:custGeom>
              <a:avLst/>
              <a:gdLst>
                <a:gd name="connsiteX0" fmla="*/ 458667 w 590550"/>
                <a:gd name="connsiteY0" fmla="*/ 754666 h 752475"/>
                <a:gd name="connsiteX1" fmla="*/ 458667 w 590550"/>
                <a:gd name="connsiteY1" fmla="*/ 327908 h 752475"/>
                <a:gd name="connsiteX2" fmla="*/ 423386 w 590550"/>
                <a:gd name="connsiteY2" fmla="*/ 163859 h 752475"/>
                <a:gd name="connsiteX3" fmla="*/ 305105 w 590550"/>
                <a:gd name="connsiteY3" fmla="*/ 116919 h 752475"/>
                <a:gd name="connsiteX4" fmla="*/ 211874 w 590550"/>
                <a:gd name="connsiteY4" fmla="*/ 143675 h 752475"/>
                <a:gd name="connsiteX5" fmla="*/ 137170 w 590550"/>
                <a:gd name="connsiteY5" fmla="*/ 209417 h 752475"/>
                <a:gd name="connsiteX6" fmla="*/ 137170 w 590550"/>
                <a:gd name="connsiteY6" fmla="*/ 754656 h 752475"/>
                <a:gd name="connsiteX7" fmla="*/ 7144 w 590550"/>
                <a:gd name="connsiteY7" fmla="*/ 754656 h 752475"/>
                <a:gd name="connsiteX8" fmla="*/ 7144 w 590550"/>
                <a:gd name="connsiteY8" fmla="*/ 21193 h 752475"/>
                <a:gd name="connsiteX9" fmla="*/ 96231 w 590550"/>
                <a:gd name="connsiteY9" fmla="*/ 21193 h 752475"/>
                <a:gd name="connsiteX10" fmla="*/ 137284 w 590550"/>
                <a:gd name="connsiteY10" fmla="*/ 115719 h 752475"/>
                <a:gd name="connsiteX11" fmla="*/ 347529 w 590550"/>
                <a:gd name="connsiteY11" fmla="*/ 7144 h 752475"/>
                <a:gd name="connsiteX12" fmla="*/ 588673 w 590550"/>
                <a:gd name="connsiteY12" fmla="*/ 300352 h 752475"/>
                <a:gd name="connsiteX13" fmla="*/ 588673 w 590550"/>
                <a:gd name="connsiteY13" fmla="*/ 754666 h 752475"/>
                <a:gd name="connsiteX14" fmla="*/ 458667 w 590550"/>
                <a:gd name="connsiteY14" fmla="*/ 754666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0550" h="752475">
                  <a:moveTo>
                    <a:pt x="458667" y="754666"/>
                  </a:moveTo>
                  <a:lnTo>
                    <a:pt x="458667" y="327908"/>
                  </a:lnTo>
                  <a:cubicBezTo>
                    <a:pt x="458667" y="249831"/>
                    <a:pt x="446922" y="195148"/>
                    <a:pt x="423386" y="163859"/>
                  </a:cubicBezTo>
                  <a:cubicBezTo>
                    <a:pt x="399812" y="132559"/>
                    <a:pt x="360378" y="116919"/>
                    <a:pt x="305105" y="116919"/>
                  </a:cubicBezTo>
                  <a:cubicBezTo>
                    <a:pt x="275415" y="116919"/>
                    <a:pt x="244335" y="125835"/>
                    <a:pt x="211874" y="143675"/>
                  </a:cubicBezTo>
                  <a:cubicBezTo>
                    <a:pt x="179432" y="161439"/>
                    <a:pt x="154496" y="183413"/>
                    <a:pt x="137170" y="209417"/>
                  </a:cubicBezTo>
                  <a:lnTo>
                    <a:pt x="137170" y="754656"/>
                  </a:lnTo>
                  <a:lnTo>
                    <a:pt x="7144" y="754656"/>
                  </a:lnTo>
                  <a:lnTo>
                    <a:pt x="7144" y="21193"/>
                  </a:lnTo>
                  <a:lnTo>
                    <a:pt x="96231" y="21193"/>
                  </a:lnTo>
                  <a:lnTo>
                    <a:pt x="137284" y="115719"/>
                  </a:lnTo>
                  <a:cubicBezTo>
                    <a:pt x="180222" y="43282"/>
                    <a:pt x="250317" y="7144"/>
                    <a:pt x="347529" y="7144"/>
                  </a:cubicBezTo>
                  <a:cubicBezTo>
                    <a:pt x="508302" y="7144"/>
                    <a:pt x="588673" y="104918"/>
                    <a:pt x="588673" y="300352"/>
                  </a:cubicBezTo>
                  <a:lnTo>
                    <a:pt x="588673" y="754666"/>
                  </a:lnTo>
                  <a:lnTo>
                    <a:pt x="458667" y="754666"/>
                  </a:lnTo>
                  <a:close/>
                </a:path>
              </a:pathLst>
            </a:custGeom>
            <a:solidFill>
              <a:srgbClr val="289B38"/>
            </a:solidFill>
            <a:ln w="9525" cap="flat">
              <a:noFill/>
              <a:prstDash val="solid"/>
              <a:miter/>
            </a:ln>
          </p:spPr>
          <p:txBody>
            <a:bodyPr rtlCol="0" anchor="ctr"/>
            <a:lstStyle/>
            <a:p>
              <a:endParaRPr lang="fr-FR"/>
            </a:p>
          </p:txBody>
        </p:sp>
        <p:sp>
          <p:nvSpPr>
            <p:cNvPr id="93" name="Forme libre : forme 92">
              <a:extLst>
                <a:ext uri="{FF2B5EF4-FFF2-40B4-BE49-F238E27FC236}">
                  <a16:creationId xmlns:a16="http://schemas.microsoft.com/office/drawing/2014/main" id="{A516946E-2603-401C-8B73-70E873D19B86}"/>
                </a:ext>
              </a:extLst>
            </p:cNvPr>
            <p:cNvSpPr/>
            <p:nvPr/>
          </p:nvSpPr>
          <p:spPr>
            <a:xfrm>
              <a:off x="2436869" y="3603895"/>
              <a:ext cx="114300" cy="190500"/>
            </a:xfrm>
            <a:custGeom>
              <a:avLst/>
              <a:gdLst>
                <a:gd name="connsiteX0" fmla="*/ 7144 w 114300"/>
                <a:gd name="connsiteY0" fmla="*/ 184299 h 190500"/>
                <a:gd name="connsiteX1" fmla="*/ 7144 w 114300"/>
                <a:gd name="connsiteY1" fmla="*/ 7144 h 190500"/>
                <a:gd name="connsiteX2" fmla="*/ 31556 w 114300"/>
                <a:gd name="connsiteY2" fmla="*/ 7144 h 190500"/>
                <a:gd name="connsiteX3" fmla="*/ 31556 w 114300"/>
                <a:gd name="connsiteY3" fmla="*/ 162525 h 190500"/>
                <a:gd name="connsiteX4" fmla="*/ 112376 w 114300"/>
                <a:gd name="connsiteY4" fmla="*/ 162525 h 190500"/>
                <a:gd name="connsiteX5" fmla="*/ 112376 w 114300"/>
                <a:gd name="connsiteY5" fmla="*/ 184290 h 190500"/>
                <a:gd name="connsiteX6" fmla="*/ 7144 w 114300"/>
                <a:gd name="connsiteY6" fmla="*/ 18429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0">
                  <a:moveTo>
                    <a:pt x="7144" y="184299"/>
                  </a:moveTo>
                  <a:lnTo>
                    <a:pt x="7144" y="7144"/>
                  </a:lnTo>
                  <a:lnTo>
                    <a:pt x="31556" y="7144"/>
                  </a:lnTo>
                  <a:lnTo>
                    <a:pt x="31556" y="162525"/>
                  </a:lnTo>
                  <a:lnTo>
                    <a:pt x="112376" y="162525"/>
                  </a:lnTo>
                  <a:lnTo>
                    <a:pt x="112376" y="184290"/>
                  </a:lnTo>
                  <a:lnTo>
                    <a:pt x="7144" y="184290"/>
                  </a:lnTo>
                  <a:close/>
                </a:path>
              </a:pathLst>
            </a:custGeom>
            <a:solidFill>
              <a:srgbClr val="22A138">
                <a:alpha val="50000"/>
              </a:srgbClr>
            </a:solidFill>
            <a:ln w="9525" cap="flat">
              <a:noFill/>
              <a:prstDash val="solid"/>
              <a:miter/>
            </a:ln>
          </p:spPr>
          <p:txBody>
            <a:bodyPr rtlCol="0" anchor="ctr"/>
            <a:lstStyle/>
            <a:p>
              <a:endParaRPr lang="fr-FR"/>
            </a:p>
          </p:txBody>
        </p:sp>
        <p:sp>
          <p:nvSpPr>
            <p:cNvPr id="94" name="Forme libre : forme 93">
              <a:extLst>
                <a:ext uri="{FF2B5EF4-FFF2-40B4-BE49-F238E27FC236}">
                  <a16:creationId xmlns:a16="http://schemas.microsoft.com/office/drawing/2014/main" id="{FFC47E35-3B12-42EE-9400-EFD02A9433AA}"/>
                </a:ext>
              </a:extLst>
            </p:cNvPr>
            <p:cNvSpPr/>
            <p:nvPr/>
          </p:nvSpPr>
          <p:spPr>
            <a:xfrm>
              <a:off x="2620597" y="3649120"/>
              <a:ext cx="123825" cy="142875"/>
            </a:xfrm>
            <a:custGeom>
              <a:avLst/>
              <a:gdLst>
                <a:gd name="connsiteX0" fmla="*/ 7144 w 123825"/>
                <a:gd name="connsiteY0" fmla="*/ 74019 h 142875"/>
                <a:gd name="connsiteX1" fmla="*/ 23441 w 123825"/>
                <a:gd name="connsiteY1" fmla="*/ 25584 h 142875"/>
                <a:gd name="connsiteX2" fmla="*/ 66351 w 123825"/>
                <a:gd name="connsiteY2" fmla="*/ 7144 h 142875"/>
                <a:gd name="connsiteX3" fmla="*/ 109938 w 123825"/>
                <a:gd name="connsiteY3" fmla="*/ 24851 h 142875"/>
                <a:gd name="connsiteX4" fmla="*/ 125444 w 123825"/>
                <a:gd name="connsiteY4" fmla="*/ 74009 h 142875"/>
                <a:gd name="connsiteX5" fmla="*/ 109576 w 123825"/>
                <a:gd name="connsiteY5" fmla="*/ 123415 h 142875"/>
                <a:gd name="connsiteX6" fmla="*/ 66361 w 123825"/>
                <a:gd name="connsiteY6" fmla="*/ 141484 h 142875"/>
                <a:gd name="connsiteX7" fmla="*/ 22774 w 123825"/>
                <a:gd name="connsiteY7" fmla="*/ 123225 h 142875"/>
                <a:gd name="connsiteX8" fmla="*/ 7144 w 123825"/>
                <a:gd name="connsiteY8" fmla="*/ 74019 h 142875"/>
                <a:gd name="connsiteX9" fmla="*/ 31566 w 123825"/>
                <a:gd name="connsiteY9" fmla="*/ 74019 h 142875"/>
                <a:gd name="connsiteX10" fmla="*/ 66361 w 123825"/>
                <a:gd name="connsiteY10" fmla="*/ 122749 h 142875"/>
                <a:gd name="connsiteX11" fmla="*/ 91811 w 123825"/>
                <a:gd name="connsiteY11" fmla="*/ 109690 h 142875"/>
                <a:gd name="connsiteX12" fmla="*/ 101032 w 123825"/>
                <a:gd name="connsiteY12" fmla="*/ 74019 h 142875"/>
                <a:gd name="connsiteX13" fmla="*/ 66361 w 123825"/>
                <a:gd name="connsiteY13" fmla="*/ 25889 h 142875"/>
                <a:gd name="connsiteX14" fmla="*/ 41024 w 123825"/>
                <a:gd name="connsiteY14" fmla="*/ 38710 h 142875"/>
                <a:gd name="connsiteX15" fmla="*/ 31566 w 123825"/>
                <a:gd name="connsiteY15" fmla="*/ 7401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825" h="142875">
                  <a:moveTo>
                    <a:pt x="7144" y="74019"/>
                  </a:moveTo>
                  <a:cubicBezTo>
                    <a:pt x="7144" y="54026"/>
                    <a:pt x="12573" y="37881"/>
                    <a:pt x="23441" y="25584"/>
                  </a:cubicBezTo>
                  <a:cubicBezTo>
                    <a:pt x="34309" y="13297"/>
                    <a:pt x="48606" y="7144"/>
                    <a:pt x="66351" y="7144"/>
                  </a:cubicBezTo>
                  <a:cubicBezTo>
                    <a:pt x="85068" y="7144"/>
                    <a:pt x="99603" y="13049"/>
                    <a:pt x="109938" y="24851"/>
                  </a:cubicBezTo>
                  <a:cubicBezTo>
                    <a:pt x="120272" y="36662"/>
                    <a:pt x="125444" y="53054"/>
                    <a:pt x="125444" y="74009"/>
                  </a:cubicBezTo>
                  <a:cubicBezTo>
                    <a:pt x="125444" y="94888"/>
                    <a:pt x="120148" y="111357"/>
                    <a:pt x="109576" y="123415"/>
                  </a:cubicBezTo>
                  <a:cubicBezTo>
                    <a:pt x="98993" y="135465"/>
                    <a:pt x="84592" y="141484"/>
                    <a:pt x="66361" y="141484"/>
                  </a:cubicBezTo>
                  <a:cubicBezTo>
                    <a:pt x="47720" y="141484"/>
                    <a:pt x="33195" y="135388"/>
                    <a:pt x="22774" y="123225"/>
                  </a:cubicBezTo>
                  <a:cubicBezTo>
                    <a:pt x="12354" y="111061"/>
                    <a:pt x="7144" y="94659"/>
                    <a:pt x="7144" y="74019"/>
                  </a:cubicBezTo>
                  <a:close/>
                  <a:moveTo>
                    <a:pt x="31566" y="74019"/>
                  </a:moveTo>
                  <a:cubicBezTo>
                    <a:pt x="31566" y="106508"/>
                    <a:pt x="43167" y="122749"/>
                    <a:pt x="66361" y="122749"/>
                  </a:cubicBezTo>
                  <a:cubicBezTo>
                    <a:pt x="77181" y="122749"/>
                    <a:pt x="85668" y="118396"/>
                    <a:pt x="91811" y="109690"/>
                  </a:cubicBezTo>
                  <a:cubicBezTo>
                    <a:pt x="97955" y="100984"/>
                    <a:pt x="101032" y="89097"/>
                    <a:pt x="101032" y="74019"/>
                  </a:cubicBezTo>
                  <a:cubicBezTo>
                    <a:pt x="101032" y="41939"/>
                    <a:pt x="89478" y="25889"/>
                    <a:pt x="66361" y="25889"/>
                  </a:cubicBezTo>
                  <a:cubicBezTo>
                    <a:pt x="55778" y="25889"/>
                    <a:pt x="47339" y="30156"/>
                    <a:pt x="41024" y="38710"/>
                  </a:cubicBezTo>
                  <a:cubicBezTo>
                    <a:pt x="34709" y="47263"/>
                    <a:pt x="31566" y="59017"/>
                    <a:pt x="31566" y="74019"/>
                  </a:cubicBezTo>
                  <a:close/>
                </a:path>
              </a:pathLst>
            </a:custGeom>
            <a:solidFill>
              <a:srgbClr val="22A138">
                <a:alpha val="50000"/>
              </a:srgbClr>
            </a:solidFill>
            <a:ln w="9525" cap="flat">
              <a:noFill/>
              <a:prstDash val="solid"/>
              <a:miter/>
            </a:ln>
          </p:spPr>
          <p:txBody>
            <a:bodyPr rtlCol="0" anchor="ctr"/>
            <a:lstStyle/>
            <a:p>
              <a:endParaRPr lang="fr-FR"/>
            </a:p>
          </p:txBody>
        </p:sp>
        <p:sp>
          <p:nvSpPr>
            <p:cNvPr id="95" name="Forme libre : forme 94">
              <a:extLst>
                <a:ext uri="{FF2B5EF4-FFF2-40B4-BE49-F238E27FC236}">
                  <a16:creationId xmlns:a16="http://schemas.microsoft.com/office/drawing/2014/main" id="{A3CBEA83-BE2F-4A88-94E7-8737934851A9}"/>
                </a:ext>
              </a:extLst>
            </p:cNvPr>
            <p:cNvSpPr/>
            <p:nvPr/>
          </p:nvSpPr>
          <p:spPr>
            <a:xfrm>
              <a:off x="2830823" y="3649120"/>
              <a:ext cx="114300" cy="142875"/>
            </a:xfrm>
            <a:custGeom>
              <a:avLst/>
              <a:gdLst>
                <a:gd name="connsiteX0" fmla="*/ 87592 w 114300"/>
                <a:gd name="connsiteY0" fmla="*/ 139075 h 142875"/>
                <a:gd name="connsiteX1" fmla="*/ 87592 w 114300"/>
                <a:gd name="connsiteY1" fmla="*/ 63741 h 142875"/>
                <a:gd name="connsiteX2" fmla="*/ 81305 w 114300"/>
                <a:gd name="connsiteY2" fmla="*/ 34776 h 142875"/>
                <a:gd name="connsiteX3" fmla="*/ 60246 w 114300"/>
                <a:gd name="connsiteY3" fmla="*/ 26499 h 142875"/>
                <a:gd name="connsiteX4" fmla="*/ 43644 w 114300"/>
                <a:gd name="connsiteY4" fmla="*/ 31213 h 142875"/>
                <a:gd name="connsiteX5" fmla="*/ 30337 w 114300"/>
                <a:gd name="connsiteY5" fmla="*/ 42824 h 142875"/>
                <a:gd name="connsiteX6" fmla="*/ 30337 w 114300"/>
                <a:gd name="connsiteY6" fmla="*/ 139075 h 142875"/>
                <a:gd name="connsiteX7" fmla="*/ 7144 w 114300"/>
                <a:gd name="connsiteY7" fmla="*/ 139075 h 142875"/>
                <a:gd name="connsiteX8" fmla="*/ 7144 w 114300"/>
                <a:gd name="connsiteY8" fmla="*/ 9563 h 142875"/>
                <a:gd name="connsiteX9" fmla="*/ 23012 w 114300"/>
                <a:gd name="connsiteY9" fmla="*/ 9563 h 142875"/>
                <a:gd name="connsiteX10" fmla="*/ 30337 w 114300"/>
                <a:gd name="connsiteY10" fmla="*/ 26251 h 142875"/>
                <a:gd name="connsiteX11" fmla="*/ 67818 w 114300"/>
                <a:gd name="connsiteY11" fmla="*/ 7144 h 142875"/>
                <a:gd name="connsiteX12" fmla="*/ 110795 w 114300"/>
                <a:gd name="connsiteY12" fmla="*/ 58903 h 142875"/>
                <a:gd name="connsiteX13" fmla="*/ 110795 w 114300"/>
                <a:gd name="connsiteY13" fmla="*/ 139075 h 142875"/>
                <a:gd name="connsiteX14" fmla="*/ 87592 w 114300"/>
                <a:gd name="connsiteY14" fmla="*/ 1390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300" h="142875">
                  <a:moveTo>
                    <a:pt x="87592" y="139075"/>
                  </a:moveTo>
                  <a:lnTo>
                    <a:pt x="87592" y="63741"/>
                  </a:lnTo>
                  <a:cubicBezTo>
                    <a:pt x="87592" y="49959"/>
                    <a:pt x="85496" y="40300"/>
                    <a:pt x="81305" y="34776"/>
                  </a:cubicBezTo>
                  <a:cubicBezTo>
                    <a:pt x="77114" y="29261"/>
                    <a:pt x="70094" y="26499"/>
                    <a:pt x="60246" y="26499"/>
                  </a:cubicBezTo>
                  <a:cubicBezTo>
                    <a:pt x="54950" y="26499"/>
                    <a:pt x="49425" y="28070"/>
                    <a:pt x="43644" y="31213"/>
                  </a:cubicBezTo>
                  <a:cubicBezTo>
                    <a:pt x="37862" y="34357"/>
                    <a:pt x="33433" y="38224"/>
                    <a:pt x="30337" y="42824"/>
                  </a:cubicBezTo>
                  <a:lnTo>
                    <a:pt x="30337" y="139075"/>
                  </a:lnTo>
                  <a:lnTo>
                    <a:pt x="7144" y="139075"/>
                  </a:lnTo>
                  <a:lnTo>
                    <a:pt x="7144" y="9563"/>
                  </a:lnTo>
                  <a:lnTo>
                    <a:pt x="23012" y="9563"/>
                  </a:lnTo>
                  <a:lnTo>
                    <a:pt x="30337" y="26251"/>
                  </a:lnTo>
                  <a:cubicBezTo>
                    <a:pt x="37986" y="13506"/>
                    <a:pt x="50482" y="7144"/>
                    <a:pt x="67818" y="7144"/>
                  </a:cubicBezTo>
                  <a:cubicBezTo>
                    <a:pt x="96469" y="7144"/>
                    <a:pt x="110795" y="24393"/>
                    <a:pt x="110795" y="58903"/>
                  </a:cubicBezTo>
                  <a:lnTo>
                    <a:pt x="110795" y="139075"/>
                  </a:lnTo>
                  <a:lnTo>
                    <a:pt x="87592" y="139075"/>
                  </a:lnTo>
                  <a:close/>
                </a:path>
              </a:pathLst>
            </a:custGeom>
            <a:solidFill>
              <a:srgbClr val="22A138">
                <a:alpha val="50000"/>
              </a:srgbClr>
            </a:solidFill>
            <a:ln w="9525" cap="flat">
              <a:noFill/>
              <a:prstDash val="solid"/>
              <a:miter/>
            </a:ln>
          </p:spPr>
          <p:txBody>
            <a:bodyPr rtlCol="0" anchor="ctr"/>
            <a:lstStyle/>
            <a:p>
              <a:endParaRPr lang="fr-FR"/>
            </a:p>
          </p:txBody>
        </p:sp>
        <p:sp>
          <p:nvSpPr>
            <p:cNvPr id="96" name="Forme libre : forme 95">
              <a:extLst>
                <a:ext uri="{FF2B5EF4-FFF2-40B4-BE49-F238E27FC236}">
                  <a16:creationId xmlns:a16="http://schemas.microsoft.com/office/drawing/2014/main" id="{8E1FCF69-EBCE-4857-B83A-5AEC00B57F02}"/>
                </a:ext>
              </a:extLst>
            </p:cNvPr>
            <p:cNvSpPr/>
            <p:nvPr/>
          </p:nvSpPr>
          <p:spPr>
            <a:xfrm>
              <a:off x="3027619" y="3598447"/>
              <a:ext cx="123825" cy="190500"/>
            </a:xfrm>
            <a:custGeom>
              <a:avLst/>
              <a:gdLst>
                <a:gd name="connsiteX0" fmla="*/ 97355 w 123825"/>
                <a:gd name="connsiteY0" fmla="*/ 189624 h 190500"/>
                <a:gd name="connsiteX1" fmla="*/ 97355 w 123825"/>
                <a:gd name="connsiteY1" fmla="*/ 180070 h 190500"/>
                <a:gd name="connsiteX2" fmla="*/ 62198 w 123825"/>
                <a:gd name="connsiteY2" fmla="*/ 192043 h 190500"/>
                <a:gd name="connsiteX3" fmla="*/ 22403 w 123825"/>
                <a:gd name="connsiteY3" fmla="*/ 174631 h 190500"/>
                <a:gd name="connsiteX4" fmla="*/ 7144 w 123825"/>
                <a:gd name="connsiteY4" fmla="*/ 128197 h 190500"/>
                <a:gd name="connsiteX5" fmla="*/ 24727 w 123825"/>
                <a:gd name="connsiteY5" fmla="*/ 78429 h 190500"/>
                <a:gd name="connsiteX6" fmla="*/ 66599 w 123825"/>
                <a:gd name="connsiteY6" fmla="*/ 57817 h 190500"/>
                <a:gd name="connsiteX7" fmla="*/ 97365 w 123825"/>
                <a:gd name="connsiteY7" fmla="*/ 67246 h 190500"/>
                <a:gd name="connsiteX8" fmla="*/ 97365 w 123825"/>
                <a:gd name="connsiteY8" fmla="*/ 7144 h 190500"/>
                <a:gd name="connsiteX9" fmla="*/ 120558 w 123825"/>
                <a:gd name="connsiteY9" fmla="*/ 7144 h 190500"/>
                <a:gd name="connsiteX10" fmla="*/ 120558 w 123825"/>
                <a:gd name="connsiteY10" fmla="*/ 189614 h 190500"/>
                <a:gd name="connsiteX11" fmla="*/ 97355 w 123825"/>
                <a:gd name="connsiteY11" fmla="*/ 189614 h 190500"/>
                <a:gd name="connsiteX12" fmla="*/ 97355 w 123825"/>
                <a:gd name="connsiteY12" fmla="*/ 90230 h 190500"/>
                <a:gd name="connsiteX13" fmla="*/ 73304 w 123825"/>
                <a:gd name="connsiteY13" fmla="*/ 77172 h 190500"/>
                <a:gd name="connsiteX14" fmla="*/ 43091 w 123825"/>
                <a:gd name="connsiteY14" fmla="*/ 90954 h 190500"/>
                <a:gd name="connsiteX15" fmla="*/ 31556 w 123825"/>
                <a:gd name="connsiteY15" fmla="*/ 126025 h 190500"/>
                <a:gd name="connsiteX16" fmla="*/ 74533 w 123825"/>
                <a:gd name="connsiteY16" fmla="*/ 172822 h 190500"/>
                <a:gd name="connsiteX17" fmla="*/ 87716 w 123825"/>
                <a:gd name="connsiteY17" fmla="*/ 169374 h 190500"/>
                <a:gd name="connsiteX18" fmla="*/ 97365 w 123825"/>
                <a:gd name="connsiteY18" fmla="*/ 162058 h 190500"/>
                <a:gd name="connsiteX19" fmla="*/ 9736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55" y="189624"/>
                  </a:moveTo>
                  <a:lnTo>
                    <a:pt x="97355" y="180070"/>
                  </a:lnTo>
                  <a:cubicBezTo>
                    <a:pt x="89297" y="188052"/>
                    <a:pt x="77581" y="192043"/>
                    <a:pt x="62198" y="192043"/>
                  </a:cubicBezTo>
                  <a:cubicBezTo>
                    <a:pt x="45844" y="192043"/>
                    <a:pt x="32575" y="186242"/>
                    <a:pt x="22403" y="174631"/>
                  </a:cubicBezTo>
                  <a:cubicBezTo>
                    <a:pt x="12230" y="163020"/>
                    <a:pt x="7144" y="147542"/>
                    <a:pt x="7144" y="128197"/>
                  </a:cubicBezTo>
                  <a:cubicBezTo>
                    <a:pt x="7144" y="108775"/>
                    <a:pt x="13002" y="92183"/>
                    <a:pt x="24727" y="78429"/>
                  </a:cubicBezTo>
                  <a:cubicBezTo>
                    <a:pt x="36443" y="64694"/>
                    <a:pt x="50406" y="57817"/>
                    <a:pt x="66599" y="57817"/>
                  </a:cubicBezTo>
                  <a:cubicBezTo>
                    <a:pt x="80105" y="57817"/>
                    <a:pt x="90364" y="60960"/>
                    <a:pt x="97365" y="67246"/>
                  </a:cubicBezTo>
                  <a:lnTo>
                    <a:pt x="97365" y="7144"/>
                  </a:lnTo>
                  <a:lnTo>
                    <a:pt x="120558" y="7144"/>
                  </a:lnTo>
                  <a:lnTo>
                    <a:pt x="120558" y="189614"/>
                  </a:lnTo>
                  <a:lnTo>
                    <a:pt x="97355" y="189614"/>
                  </a:lnTo>
                  <a:close/>
                  <a:moveTo>
                    <a:pt x="97355" y="90230"/>
                  </a:moveTo>
                  <a:cubicBezTo>
                    <a:pt x="91497" y="81525"/>
                    <a:pt x="83477" y="77172"/>
                    <a:pt x="73304" y="77172"/>
                  </a:cubicBezTo>
                  <a:cubicBezTo>
                    <a:pt x="60855" y="77172"/>
                    <a:pt x="50778" y="81763"/>
                    <a:pt x="43091" y="90954"/>
                  </a:cubicBezTo>
                  <a:cubicBezTo>
                    <a:pt x="35404" y="100146"/>
                    <a:pt x="31556" y="111824"/>
                    <a:pt x="31556" y="126025"/>
                  </a:cubicBezTo>
                  <a:cubicBezTo>
                    <a:pt x="31556" y="157220"/>
                    <a:pt x="45882" y="172822"/>
                    <a:pt x="74533" y="172822"/>
                  </a:cubicBezTo>
                  <a:cubicBezTo>
                    <a:pt x="78200" y="172822"/>
                    <a:pt x="82591" y="171679"/>
                    <a:pt x="87716" y="169374"/>
                  </a:cubicBezTo>
                  <a:cubicBezTo>
                    <a:pt x="92840" y="167088"/>
                    <a:pt x="96060" y="164649"/>
                    <a:pt x="97365" y="162058"/>
                  </a:cubicBezTo>
                  <a:lnTo>
                    <a:pt x="97365" y="90230"/>
                  </a:lnTo>
                  <a:close/>
                </a:path>
              </a:pathLst>
            </a:custGeom>
            <a:solidFill>
              <a:srgbClr val="22A138">
                <a:alpha val="50000"/>
              </a:srgbClr>
            </a:solidFill>
            <a:ln w="9525" cap="flat">
              <a:noFill/>
              <a:prstDash val="solid"/>
              <a:miter/>
            </a:ln>
          </p:spPr>
          <p:txBody>
            <a:bodyPr rtlCol="0" anchor="ctr"/>
            <a:lstStyle/>
            <a:p>
              <a:endParaRPr lang="fr-FR"/>
            </a:p>
          </p:txBody>
        </p:sp>
        <p:sp>
          <p:nvSpPr>
            <p:cNvPr id="97" name="Forme libre : forme 96">
              <a:extLst>
                <a:ext uri="{FF2B5EF4-FFF2-40B4-BE49-F238E27FC236}">
                  <a16:creationId xmlns:a16="http://schemas.microsoft.com/office/drawing/2014/main" id="{1060C7BC-EA2E-4237-A593-09DE893A3112}"/>
                </a:ext>
              </a:extLst>
            </p:cNvPr>
            <p:cNvSpPr/>
            <p:nvPr/>
          </p:nvSpPr>
          <p:spPr>
            <a:xfrm>
              <a:off x="3233188" y="3649120"/>
              <a:ext cx="123825" cy="142875"/>
            </a:xfrm>
            <a:custGeom>
              <a:avLst/>
              <a:gdLst>
                <a:gd name="connsiteX0" fmla="*/ 7144 w 123825"/>
                <a:gd name="connsiteY0" fmla="*/ 74019 h 142875"/>
                <a:gd name="connsiteX1" fmla="*/ 23441 w 123825"/>
                <a:gd name="connsiteY1" fmla="*/ 25584 h 142875"/>
                <a:gd name="connsiteX2" fmla="*/ 66351 w 123825"/>
                <a:gd name="connsiteY2" fmla="*/ 7144 h 142875"/>
                <a:gd name="connsiteX3" fmla="*/ 109938 w 123825"/>
                <a:gd name="connsiteY3" fmla="*/ 24851 h 142875"/>
                <a:gd name="connsiteX4" fmla="*/ 125444 w 123825"/>
                <a:gd name="connsiteY4" fmla="*/ 74009 h 142875"/>
                <a:gd name="connsiteX5" fmla="*/ 109576 w 123825"/>
                <a:gd name="connsiteY5" fmla="*/ 123415 h 142875"/>
                <a:gd name="connsiteX6" fmla="*/ 66361 w 123825"/>
                <a:gd name="connsiteY6" fmla="*/ 141484 h 142875"/>
                <a:gd name="connsiteX7" fmla="*/ 22774 w 123825"/>
                <a:gd name="connsiteY7" fmla="*/ 123225 h 142875"/>
                <a:gd name="connsiteX8" fmla="*/ 7144 w 123825"/>
                <a:gd name="connsiteY8" fmla="*/ 74019 h 142875"/>
                <a:gd name="connsiteX9" fmla="*/ 31566 w 123825"/>
                <a:gd name="connsiteY9" fmla="*/ 74019 h 142875"/>
                <a:gd name="connsiteX10" fmla="*/ 66361 w 123825"/>
                <a:gd name="connsiteY10" fmla="*/ 122749 h 142875"/>
                <a:gd name="connsiteX11" fmla="*/ 91811 w 123825"/>
                <a:gd name="connsiteY11" fmla="*/ 109690 h 142875"/>
                <a:gd name="connsiteX12" fmla="*/ 101032 w 123825"/>
                <a:gd name="connsiteY12" fmla="*/ 74019 h 142875"/>
                <a:gd name="connsiteX13" fmla="*/ 66361 w 123825"/>
                <a:gd name="connsiteY13" fmla="*/ 25889 h 142875"/>
                <a:gd name="connsiteX14" fmla="*/ 41024 w 123825"/>
                <a:gd name="connsiteY14" fmla="*/ 38710 h 142875"/>
                <a:gd name="connsiteX15" fmla="*/ 31566 w 123825"/>
                <a:gd name="connsiteY15" fmla="*/ 7401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825" h="142875">
                  <a:moveTo>
                    <a:pt x="7144" y="74019"/>
                  </a:moveTo>
                  <a:cubicBezTo>
                    <a:pt x="7144" y="54026"/>
                    <a:pt x="12573" y="37881"/>
                    <a:pt x="23441" y="25584"/>
                  </a:cubicBezTo>
                  <a:cubicBezTo>
                    <a:pt x="34309" y="13297"/>
                    <a:pt x="48606" y="7144"/>
                    <a:pt x="66351" y="7144"/>
                  </a:cubicBezTo>
                  <a:cubicBezTo>
                    <a:pt x="85068" y="7144"/>
                    <a:pt x="99603" y="13049"/>
                    <a:pt x="109938" y="24851"/>
                  </a:cubicBezTo>
                  <a:cubicBezTo>
                    <a:pt x="120272" y="36662"/>
                    <a:pt x="125444" y="53054"/>
                    <a:pt x="125444" y="74009"/>
                  </a:cubicBezTo>
                  <a:cubicBezTo>
                    <a:pt x="125444" y="94888"/>
                    <a:pt x="120148" y="111357"/>
                    <a:pt x="109576" y="123415"/>
                  </a:cubicBezTo>
                  <a:cubicBezTo>
                    <a:pt x="98993" y="135465"/>
                    <a:pt x="84591" y="141484"/>
                    <a:pt x="66361" y="141484"/>
                  </a:cubicBezTo>
                  <a:cubicBezTo>
                    <a:pt x="47720" y="141484"/>
                    <a:pt x="33195" y="135388"/>
                    <a:pt x="22774" y="123225"/>
                  </a:cubicBezTo>
                  <a:cubicBezTo>
                    <a:pt x="12354" y="111061"/>
                    <a:pt x="7144" y="94659"/>
                    <a:pt x="7144" y="74019"/>
                  </a:cubicBezTo>
                  <a:close/>
                  <a:moveTo>
                    <a:pt x="31566" y="74019"/>
                  </a:moveTo>
                  <a:cubicBezTo>
                    <a:pt x="31566" y="106508"/>
                    <a:pt x="43167" y="122749"/>
                    <a:pt x="66361" y="122749"/>
                  </a:cubicBezTo>
                  <a:cubicBezTo>
                    <a:pt x="77181" y="122749"/>
                    <a:pt x="85668" y="118396"/>
                    <a:pt x="91811" y="109690"/>
                  </a:cubicBezTo>
                  <a:cubicBezTo>
                    <a:pt x="97955" y="100984"/>
                    <a:pt x="101032" y="89097"/>
                    <a:pt x="101032" y="74019"/>
                  </a:cubicBezTo>
                  <a:cubicBezTo>
                    <a:pt x="101032" y="41939"/>
                    <a:pt x="89478" y="25889"/>
                    <a:pt x="66361" y="25889"/>
                  </a:cubicBezTo>
                  <a:cubicBezTo>
                    <a:pt x="55778" y="25889"/>
                    <a:pt x="47339" y="30156"/>
                    <a:pt x="41024" y="38710"/>
                  </a:cubicBezTo>
                  <a:cubicBezTo>
                    <a:pt x="34719" y="47254"/>
                    <a:pt x="31566" y="59017"/>
                    <a:pt x="31566" y="74019"/>
                  </a:cubicBezTo>
                  <a:close/>
                </a:path>
              </a:pathLst>
            </a:custGeom>
            <a:solidFill>
              <a:srgbClr val="22A138">
                <a:alpha val="50000"/>
              </a:srgbClr>
            </a:solidFill>
            <a:ln w="9525" cap="flat">
              <a:noFill/>
              <a:prstDash val="solid"/>
              <a:miter/>
            </a:ln>
          </p:spPr>
          <p:txBody>
            <a:bodyPr rtlCol="0" anchor="ctr"/>
            <a:lstStyle/>
            <a:p>
              <a:endParaRPr lang="fr-FR"/>
            </a:p>
          </p:txBody>
        </p:sp>
        <p:sp>
          <p:nvSpPr>
            <p:cNvPr id="98" name="Forme libre : forme 97">
              <a:extLst>
                <a:ext uri="{FF2B5EF4-FFF2-40B4-BE49-F238E27FC236}">
                  <a16:creationId xmlns:a16="http://schemas.microsoft.com/office/drawing/2014/main" id="{0BA543BB-A610-44E3-B159-3435A7FE8FA4}"/>
                </a:ext>
              </a:extLst>
            </p:cNvPr>
            <p:cNvSpPr/>
            <p:nvPr/>
          </p:nvSpPr>
          <p:spPr>
            <a:xfrm>
              <a:off x="3443414" y="3649120"/>
              <a:ext cx="114300" cy="142875"/>
            </a:xfrm>
            <a:custGeom>
              <a:avLst/>
              <a:gdLst>
                <a:gd name="connsiteX0" fmla="*/ 87592 w 114300"/>
                <a:gd name="connsiteY0" fmla="*/ 139075 h 142875"/>
                <a:gd name="connsiteX1" fmla="*/ 87592 w 114300"/>
                <a:gd name="connsiteY1" fmla="*/ 63741 h 142875"/>
                <a:gd name="connsiteX2" fmla="*/ 81305 w 114300"/>
                <a:gd name="connsiteY2" fmla="*/ 34776 h 142875"/>
                <a:gd name="connsiteX3" fmla="*/ 60246 w 114300"/>
                <a:gd name="connsiteY3" fmla="*/ 26499 h 142875"/>
                <a:gd name="connsiteX4" fmla="*/ 43644 w 114300"/>
                <a:gd name="connsiteY4" fmla="*/ 31213 h 142875"/>
                <a:gd name="connsiteX5" fmla="*/ 30337 w 114300"/>
                <a:gd name="connsiteY5" fmla="*/ 42824 h 142875"/>
                <a:gd name="connsiteX6" fmla="*/ 30337 w 114300"/>
                <a:gd name="connsiteY6" fmla="*/ 139075 h 142875"/>
                <a:gd name="connsiteX7" fmla="*/ 7144 w 114300"/>
                <a:gd name="connsiteY7" fmla="*/ 139075 h 142875"/>
                <a:gd name="connsiteX8" fmla="*/ 7144 w 114300"/>
                <a:gd name="connsiteY8" fmla="*/ 9563 h 142875"/>
                <a:gd name="connsiteX9" fmla="*/ 23012 w 114300"/>
                <a:gd name="connsiteY9" fmla="*/ 9563 h 142875"/>
                <a:gd name="connsiteX10" fmla="*/ 30337 w 114300"/>
                <a:gd name="connsiteY10" fmla="*/ 26251 h 142875"/>
                <a:gd name="connsiteX11" fmla="*/ 67818 w 114300"/>
                <a:gd name="connsiteY11" fmla="*/ 7144 h 142875"/>
                <a:gd name="connsiteX12" fmla="*/ 110795 w 114300"/>
                <a:gd name="connsiteY12" fmla="*/ 58903 h 142875"/>
                <a:gd name="connsiteX13" fmla="*/ 110795 w 114300"/>
                <a:gd name="connsiteY13" fmla="*/ 139075 h 142875"/>
                <a:gd name="connsiteX14" fmla="*/ 87592 w 114300"/>
                <a:gd name="connsiteY14" fmla="*/ 1390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300" h="142875">
                  <a:moveTo>
                    <a:pt x="87592" y="139075"/>
                  </a:moveTo>
                  <a:lnTo>
                    <a:pt x="87592" y="63741"/>
                  </a:lnTo>
                  <a:cubicBezTo>
                    <a:pt x="87592" y="49959"/>
                    <a:pt x="85496" y="40300"/>
                    <a:pt x="81305" y="34776"/>
                  </a:cubicBezTo>
                  <a:cubicBezTo>
                    <a:pt x="77114" y="29261"/>
                    <a:pt x="70094" y="26499"/>
                    <a:pt x="60246" y="26499"/>
                  </a:cubicBezTo>
                  <a:cubicBezTo>
                    <a:pt x="54950" y="26499"/>
                    <a:pt x="49425" y="28070"/>
                    <a:pt x="43644" y="31213"/>
                  </a:cubicBezTo>
                  <a:cubicBezTo>
                    <a:pt x="37862" y="34357"/>
                    <a:pt x="33433" y="38224"/>
                    <a:pt x="30337" y="42824"/>
                  </a:cubicBezTo>
                  <a:lnTo>
                    <a:pt x="30337" y="139075"/>
                  </a:lnTo>
                  <a:lnTo>
                    <a:pt x="7144" y="139075"/>
                  </a:lnTo>
                  <a:lnTo>
                    <a:pt x="7144" y="9563"/>
                  </a:lnTo>
                  <a:lnTo>
                    <a:pt x="23012" y="9563"/>
                  </a:lnTo>
                  <a:lnTo>
                    <a:pt x="30337" y="26251"/>
                  </a:lnTo>
                  <a:cubicBezTo>
                    <a:pt x="37986" y="13506"/>
                    <a:pt x="50482" y="7144"/>
                    <a:pt x="67818" y="7144"/>
                  </a:cubicBezTo>
                  <a:cubicBezTo>
                    <a:pt x="96469" y="7144"/>
                    <a:pt x="110795" y="24393"/>
                    <a:pt x="110795" y="58903"/>
                  </a:cubicBezTo>
                  <a:lnTo>
                    <a:pt x="110795" y="139075"/>
                  </a:lnTo>
                  <a:lnTo>
                    <a:pt x="87592" y="139075"/>
                  </a:lnTo>
                  <a:close/>
                </a:path>
              </a:pathLst>
            </a:custGeom>
            <a:solidFill>
              <a:srgbClr val="22A138">
                <a:alpha val="50000"/>
              </a:srgbClr>
            </a:solidFill>
            <a:ln w="9525" cap="flat">
              <a:noFill/>
              <a:prstDash val="solid"/>
              <a:miter/>
            </a:ln>
          </p:spPr>
          <p:txBody>
            <a:bodyPr rtlCol="0" anchor="ctr"/>
            <a:lstStyle/>
            <a:p>
              <a:endParaRPr lang="fr-FR"/>
            </a:p>
          </p:txBody>
        </p:sp>
        <p:sp>
          <p:nvSpPr>
            <p:cNvPr id="99" name="Forme libre : forme 98">
              <a:extLst>
                <a:ext uri="{FF2B5EF4-FFF2-40B4-BE49-F238E27FC236}">
                  <a16:creationId xmlns:a16="http://schemas.microsoft.com/office/drawing/2014/main" id="{49C9833A-F4C6-4E5A-A814-23E4F1973BA9}"/>
                </a:ext>
              </a:extLst>
            </p:cNvPr>
            <p:cNvSpPr/>
            <p:nvPr/>
          </p:nvSpPr>
          <p:spPr>
            <a:xfrm>
              <a:off x="3797639" y="3689420"/>
              <a:ext cx="66675" cy="66675"/>
            </a:xfrm>
            <a:custGeom>
              <a:avLst/>
              <a:gdLst>
                <a:gd name="connsiteX0" fmla="*/ 34280 w 66675"/>
                <a:gd name="connsiteY0" fmla="*/ 7144 h 66675"/>
                <a:gd name="connsiteX1" fmla="*/ 53483 w 66675"/>
                <a:gd name="connsiteY1" fmla="*/ 15002 h 66675"/>
                <a:gd name="connsiteX2" fmla="*/ 61417 w 66675"/>
                <a:gd name="connsiteY2" fmla="*/ 34023 h 66675"/>
                <a:gd name="connsiteX3" fmla="*/ 53483 w 66675"/>
                <a:gd name="connsiteY3" fmla="*/ 53045 h 66675"/>
                <a:gd name="connsiteX4" fmla="*/ 34280 w 66675"/>
                <a:gd name="connsiteY4" fmla="*/ 60903 h 66675"/>
                <a:gd name="connsiteX5" fmla="*/ 15078 w 66675"/>
                <a:gd name="connsiteY5" fmla="*/ 53045 h 66675"/>
                <a:gd name="connsiteX6" fmla="*/ 7144 w 66675"/>
                <a:gd name="connsiteY6" fmla="*/ 34023 h 66675"/>
                <a:gd name="connsiteX7" fmla="*/ 15078 w 66675"/>
                <a:gd name="connsiteY7" fmla="*/ 15002 h 66675"/>
                <a:gd name="connsiteX8" fmla="*/ 34280 w 66675"/>
                <a:gd name="connsiteY8"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66675">
                  <a:moveTo>
                    <a:pt x="34280" y="7144"/>
                  </a:moveTo>
                  <a:cubicBezTo>
                    <a:pt x="41796" y="7144"/>
                    <a:pt x="48196" y="9763"/>
                    <a:pt x="53483" y="15002"/>
                  </a:cubicBezTo>
                  <a:cubicBezTo>
                    <a:pt x="58779" y="20241"/>
                    <a:pt x="61417" y="26584"/>
                    <a:pt x="61417" y="34023"/>
                  </a:cubicBezTo>
                  <a:cubicBezTo>
                    <a:pt x="61417" y="41462"/>
                    <a:pt x="58769" y="47806"/>
                    <a:pt x="53483" y="53045"/>
                  </a:cubicBezTo>
                  <a:cubicBezTo>
                    <a:pt x="48187" y="58284"/>
                    <a:pt x="41796" y="60903"/>
                    <a:pt x="34280" y="60903"/>
                  </a:cubicBezTo>
                  <a:cubicBezTo>
                    <a:pt x="26765" y="60903"/>
                    <a:pt x="20364" y="58284"/>
                    <a:pt x="15078" y="53045"/>
                  </a:cubicBezTo>
                  <a:cubicBezTo>
                    <a:pt x="9782" y="47806"/>
                    <a:pt x="7144" y="41462"/>
                    <a:pt x="7144" y="34023"/>
                  </a:cubicBezTo>
                  <a:cubicBezTo>
                    <a:pt x="7144" y="26584"/>
                    <a:pt x="9792" y="20241"/>
                    <a:pt x="15078" y="15002"/>
                  </a:cubicBezTo>
                  <a:cubicBezTo>
                    <a:pt x="20364" y="9763"/>
                    <a:pt x="26765" y="7144"/>
                    <a:pt x="34280" y="7144"/>
                  </a:cubicBezTo>
                  <a:close/>
                </a:path>
              </a:pathLst>
            </a:custGeom>
            <a:solidFill>
              <a:srgbClr val="22A138">
                <a:alpha val="50000"/>
              </a:srgbClr>
            </a:solidFill>
            <a:ln w="9525" cap="flat">
              <a:noFill/>
              <a:prstDash val="solid"/>
              <a:miter/>
            </a:ln>
          </p:spPr>
          <p:txBody>
            <a:bodyPr rtlCol="0" anchor="ctr"/>
            <a:lstStyle/>
            <a:p>
              <a:endParaRPr lang="fr-FR"/>
            </a:p>
          </p:txBody>
        </p:sp>
        <p:sp>
          <p:nvSpPr>
            <p:cNvPr id="100" name="Forme libre : forme 99">
              <a:extLst>
                <a:ext uri="{FF2B5EF4-FFF2-40B4-BE49-F238E27FC236}">
                  <a16:creationId xmlns:a16="http://schemas.microsoft.com/office/drawing/2014/main" id="{83B03A28-0611-4D66-95A4-C7A81D300E58}"/>
                </a:ext>
              </a:extLst>
            </p:cNvPr>
            <p:cNvSpPr/>
            <p:nvPr/>
          </p:nvSpPr>
          <p:spPr>
            <a:xfrm>
              <a:off x="4087809" y="3602686"/>
              <a:ext cx="123825" cy="190500"/>
            </a:xfrm>
            <a:custGeom>
              <a:avLst/>
              <a:gdLst>
                <a:gd name="connsiteX0" fmla="*/ 31556 w 123825"/>
                <a:gd name="connsiteY0" fmla="*/ 117310 h 190500"/>
                <a:gd name="connsiteX1" fmla="*/ 31556 w 123825"/>
                <a:gd name="connsiteY1" fmla="*/ 185509 h 190500"/>
                <a:gd name="connsiteX2" fmla="*/ 7144 w 123825"/>
                <a:gd name="connsiteY2" fmla="*/ 185509 h 190500"/>
                <a:gd name="connsiteX3" fmla="*/ 7144 w 123825"/>
                <a:gd name="connsiteY3" fmla="*/ 8353 h 190500"/>
                <a:gd name="connsiteX4" fmla="*/ 40595 w 123825"/>
                <a:gd name="connsiteY4" fmla="*/ 7144 h 190500"/>
                <a:gd name="connsiteX5" fmla="*/ 118481 w 123825"/>
                <a:gd name="connsiteY5" fmla="*/ 58779 h 190500"/>
                <a:gd name="connsiteX6" fmla="*/ 49625 w 123825"/>
                <a:gd name="connsiteY6" fmla="*/ 118510 h 190500"/>
                <a:gd name="connsiteX7" fmla="*/ 31556 w 123825"/>
                <a:gd name="connsiteY7" fmla="*/ 117310 h 190500"/>
                <a:gd name="connsiteX8" fmla="*/ 31556 w 123825"/>
                <a:gd name="connsiteY8" fmla="*/ 30118 h 190500"/>
                <a:gd name="connsiteX9" fmla="*/ 31556 w 123825"/>
                <a:gd name="connsiteY9" fmla="*/ 95536 h 190500"/>
                <a:gd name="connsiteX10" fmla="*/ 47911 w 123825"/>
                <a:gd name="connsiteY10" fmla="*/ 96745 h 190500"/>
                <a:gd name="connsiteX11" fmla="*/ 93326 w 123825"/>
                <a:gd name="connsiteY11" fmla="*/ 61312 h 190500"/>
                <a:gd name="connsiteX12" fmla="*/ 44863 w 123825"/>
                <a:gd name="connsiteY12" fmla="*/ 28908 h 190500"/>
                <a:gd name="connsiteX13" fmla="*/ 31556 w 123825"/>
                <a:gd name="connsiteY13" fmla="*/ 3011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90500">
                  <a:moveTo>
                    <a:pt x="31556" y="117310"/>
                  </a:moveTo>
                  <a:lnTo>
                    <a:pt x="31556" y="185509"/>
                  </a:lnTo>
                  <a:lnTo>
                    <a:pt x="7144" y="185509"/>
                  </a:lnTo>
                  <a:lnTo>
                    <a:pt x="7144" y="8353"/>
                  </a:lnTo>
                  <a:cubicBezTo>
                    <a:pt x="25622" y="7553"/>
                    <a:pt x="36766" y="7144"/>
                    <a:pt x="40595" y="7144"/>
                  </a:cubicBezTo>
                  <a:cubicBezTo>
                    <a:pt x="92526" y="7144"/>
                    <a:pt x="118481" y="24355"/>
                    <a:pt x="118481" y="58779"/>
                  </a:cubicBezTo>
                  <a:cubicBezTo>
                    <a:pt x="118481" y="98603"/>
                    <a:pt x="95526" y="118510"/>
                    <a:pt x="49625" y="118510"/>
                  </a:cubicBezTo>
                  <a:cubicBezTo>
                    <a:pt x="46853" y="118520"/>
                    <a:pt x="40834" y="118120"/>
                    <a:pt x="31556" y="117310"/>
                  </a:cubicBezTo>
                  <a:close/>
                  <a:moveTo>
                    <a:pt x="31556" y="30118"/>
                  </a:moveTo>
                  <a:lnTo>
                    <a:pt x="31556" y="95536"/>
                  </a:lnTo>
                  <a:cubicBezTo>
                    <a:pt x="41891" y="96345"/>
                    <a:pt x="47349" y="96745"/>
                    <a:pt x="47911" y="96745"/>
                  </a:cubicBezTo>
                  <a:cubicBezTo>
                    <a:pt x="78191" y="96745"/>
                    <a:pt x="93326" y="84944"/>
                    <a:pt x="93326" y="61312"/>
                  </a:cubicBezTo>
                  <a:cubicBezTo>
                    <a:pt x="93326" y="39710"/>
                    <a:pt x="77171" y="28908"/>
                    <a:pt x="44863" y="28908"/>
                  </a:cubicBezTo>
                  <a:cubicBezTo>
                    <a:pt x="41605" y="28908"/>
                    <a:pt x="37166" y="29318"/>
                    <a:pt x="31556" y="30118"/>
                  </a:cubicBezTo>
                  <a:close/>
                </a:path>
              </a:pathLst>
            </a:custGeom>
            <a:solidFill>
              <a:srgbClr val="22A138">
                <a:alpha val="50000"/>
              </a:srgbClr>
            </a:solidFill>
            <a:ln w="9525" cap="flat">
              <a:noFill/>
              <a:prstDash val="solid"/>
              <a:miter/>
            </a:ln>
          </p:spPr>
          <p:txBody>
            <a:bodyPr rtlCol="0" anchor="ctr"/>
            <a:lstStyle/>
            <a:p>
              <a:endParaRPr lang="fr-FR"/>
            </a:p>
          </p:txBody>
        </p:sp>
        <p:sp>
          <p:nvSpPr>
            <p:cNvPr id="101" name="Forme libre : forme 100">
              <a:extLst>
                <a:ext uri="{FF2B5EF4-FFF2-40B4-BE49-F238E27FC236}">
                  <a16:creationId xmlns:a16="http://schemas.microsoft.com/office/drawing/2014/main" id="{C3D0899A-F391-45AD-8F04-EE970BF4D696}"/>
                </a:ext>
              </a:extLst>
            </p:cNvPr>
            <p:cNvSpPr/>
            <p:nvPr/>
          </p:nvSpPr>
          <p:spPr>
            <a:xfrm>
              <a:off x="4274451" y="3649110"/>
              <a:ext cx="123825" cy="142875"/>
            </a:xfrm>
            <a:custGeom>
              <a:avLst/>
              <a:gdLst>
                <a:gd name="connsiteX0" fmla="*/ 87725 w 123825"/>
                <a:gd name="connsiteY0" fmla="*/ 124206 h 142875"/>
                <a:gd name="connsiteX1" fmla="*/ 45120 w 123825"/>
                <a:gd name="connsiteY1" fmla="*/ 141494 h 142875"/>
                <a:gd name="connsiteX2" fmla="*/ 18440 w 123825"/>
                <a:gd name="connsiteY2" fmla="*/ 130435 h 142875"/>
                <a:gd name="connsiteX3" fmla="*/ 7144 w 123825"/>
                <a:gd name="connsiteY3" fmla="*/ 102918 h 142875"/>
                <a:gd name="connsiteX4" fmla="*/ 24536 w 123825"/>
                <a:gd name="connsiteY4" fmla="*/ 69599 h 142875"/>
                <a:gd name="connsiteX5" fmla="*/ 68913 w 123825"/>
                <a:gd name="connsiteY5" fmla="*/ 55997 h 142875"/>
                <a:gd name="connsiteX6" fmla="*/ 85516 w 123825"/>
                <a:gd name="connsiteY6" fmla="*/ 59141 h 142875"/>
                <a:gd name="connsiteX7" fmla="*/ 57188 w 123825"/>
                <a:gd name="connsiteY7" fmla="*/ 27699 h 142875"/>
                <a:gd name="connsiteX8" fmla="*/ 23736 w 123825"/>
                <a:gd name="connsiteY8" fmla="*/ 39310 h 142875"/>
                <a:gd name="connsiteX9" fmla="*/ 13973 w 123825"/>
                <a:gd name="connsiteY9" fmla="*/ 20079 h 142875"/>
                <a:gd name="connsiteX10" fmla="*/ 32223 w 123825"/>
                <a:gd name="connsiteY10" fmla="*/ 10954 h 142875"/>
                <a:gd name="connsiteX11" fmla="*/ 54502 w 123825"/>
                <a:gd name="connsiteY11" fmla="*/ 7144 h 142875"/>
                <a:gd name="connsiteX12" fmla="*/ 95822 w 123825"/>
                <a:gd name="connsiteY12" fmla="*/ 19964 h 142875"/>
                <a:gd name="connsiteX13" fmla="*/ 108709 w 123825"/>
                <a:gd name="connsiteY13" fmla="*/ 60712 h 142875"/>
                <a:gd name="connsiteX14" fmla="*/ 108709 w 123825"/>
                <a:gd name="connsiteY14" fmla="*/ 107147 h 142875"/>
                <a:gd name="connsiteX15" fmla="*/ 118967 w 123825"/>
                <a:gd name="connsiteY15" fmla="*/ 129883 h 142875"/>
                <a:gd name="connsiteX16" fmla="*/ 118967 w 123825"/>
                <a:gd name="connsiteY16" fmla="*/ 141370 h 142875"/>
                <a:gd name="connsiteX17" fmla="*/ 97784 w 123825"/>
                <a:gd name="connsiteY17" fmla="*/ 137379 h 142875"/>
                <a:gd name="connsiteX18" fmla="*/ 87725 w 123825"/>
                <a:gd name="connsiteY18" fmla="*/ 124206 h 142875"/>
                <a:gd name="connsiteX19" fmla="*/ 85525 w 123825"/>
                <a:gd name="connsiteY19" fmla="*/ 75476 h 142875"/>
                <a:gd name="connsiteX20" fmla="*/ 70142 w 123825"/>
                <a:gd name="connsiteY20" fmla="*/ 73057 h 142875"/>
                <a:gd name="connsiteX21" fmla="*/ 41453 w 123825"/>
                <a:gd name="connsiteY21" fmla="*/ 82001 h 142875"/>
                <a:gd name="connsiteX22" fmla="*/ 30347 w 123825"/>
                <a:gd name="connsiteY22" fmla="*/ 103165 h 142875"/>
                <a:gd name="connsiteX23" fmla="*/ 54397 w 123825"/>
                <a:gd name="connsiteY23" fmla="*/ 123358 h 142875"/>
                <a:gd name="connsiteX24" fmla="*/ 85525 w 123825"/>
                <a:gd name="connsiteY24" fmla="*/ 106794 h 142875"/>
                <a:gd name="connsiteX25" fmla="*/ 85525 w 123825"/>
                <a:gd name="connsiteY25" fmla="*/ 7547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3825" h="142875">
                  <a:moveTo>
                    <a:pt x="87725" y="124206"/>
                  </a:moveTo>
                  <a:cubicBezTo>
                    <a:pt x="78448" y="135741"/>
                    <a:pt x="64246" y="141494"/>
                    <a:pt x="45120" y="141494"/>
                  </a:cubicBezTo>
                  <a:cubicBezTo>
                    <a:pt x="34862" y="141494"/>
                    <a:pt x="25975" y="137798"/>
                    <a:pt x="18440" y="130435"/>
                  </a:cubicBezTo>
                  <a:cubicBezTo>
                    <a:pt x="10916" y="123054"/>
                    <a:pt x="7144" y="113881"/>
                    <a:pt x="7144" y="102918"/>
                  </a:cubicBezTo>
                  <a:cubicBezTo>
                    <a:pt x="7144" y="89783"/>
                    <a:pt x="12945" y="78677"/>
                    <a:pt x="24536" y="69599"/>
                  </a:cubicBezTo>
                  <a:cubicBezTo>
                    <a:pt x="36138" y="60541"/>
                    <a:pt x="50921" y="55997"/>
                    <a:pt x="68913" y="55997"/>
                  </a:cubicBezTo>
                  <a:cubicBezTo>
                    <a:pt x="73800" y="55997"/>
                    <a:pt x="79334" y="57036"/>
                    <a:pt x="85516" y="59141"/>
                  </a:cubicBezTo>
                  <a:cubicBezTo>
                    <a:pt x="85516" y="38176"/>
                    <a:pt x="76067" y="27699"/>
                    <a:pt x="57188" y="27699"/>
                  </a:cubicBezTo>
                  <a:cubicBezTo>
                    <a:pt x="42701" y="27699"/>
                    <a:pt x="31547" y="31566"/>
                    <a:pt x="23736" y="39310"/>
                  </a:cubicBezTo>
                  <a:lnTo>
                    <a:pt x="13973" y="20079"/>
                  </a:lnTo>
                  <a:cubicBezTo>
                    <a:pt x="18364" y="16535"/>
                    <a:pt x="24451" y="13487"/>
                    <a:pt x="32223" y="10954"/>
                  </a:cubicBezTo>
                  <a:cubicBezTo>
                    <a:pt x="39996" y="8401"/>
                    <a:pt x="47425" y="7144"/>
                    <a:pt x="54502" y="7144"/>
                  </a:cubicBezTo>
                  <a:cubicBezTo>
                    <a:pt x="73466" y="7144"/>
                    <a:pt x="87240" y="11421"/>
                    <a:pt x="95822" y="19964"/>
                  </a:cubicBezTo>
                  <a:cubicBezTo>
                    <a:pt x="104413" y="28499"/>
                    <a:pt x="108709" y="42091"/>
                    <a:pt x="108709" y="60712"/>
                  </a:cubicBezTo>
                  <a:lnTo>
                    <a:pt x="108709" y="107147"/>
                  </a:lnTo>
                  <a:cubicBezTo>
                    <a:pt x="108709" y="118510"/>
                    <a:pt x="112128" y="126092"/>
                    <a:pt x="118967" y="129883"/>
                  </a:cubicBezTo>
                  <a:lnTo>
                    <a:pt x="118967" y="141370"/>
                  </a:lnTo>
                  <a:cubicBezTo>
                    <a:pt x="109518" y="141370"/>
                    <a:pt x="102470" y="140037"/>
                    <a:pt x="97784" y="137379"/>
                  </a:cubicBezTo>
                  <a:cubicBezTo>
                    <a:pt x="93116" y="134731"/>
                    <a:pt x="89754" y="130331"/>
                    <a:pt x="87725" y="124206"/>
                  </a:cubicBezTo>
                  <a:close/>
                  <a:moveTo>
                    <a:pt x="85525" y="75476"/>
                  </a:moveTo>
                  <a:cubicBezTo>
                    <a:pt x="78200" y="73866"/>
                    <a:pt x="73076" y="73057"/>
                    <a:pt x="70142" y="73057"/>
                  </a:cubicBezTo>
                  <a:cubicBezTo>
                    <a:pt x="58426" y="73057"/>
                    <a:pt x="48854" y="76038"/>
                    <a:pt x="41453" y="82001"/>
                  </a:cubicBezTo>
                  <a:cubicBezTo>
                    <a:pt x="34052" y="87963"/>
                    <a:pt x="30347" y="95012"/>
                    <a:pt x="30347" y="103165"/>
                  </a:cubicBezTo>
                  <a:cubicBezTo>
                    <a:pt x="30347" y="116634"/>
                    <a:pt x="38357" y="123358"/>
                    <a:pt x="54397" y="123358"/>
                  </a:cubicBezTo>
                  <a:cubicBezTo>
                    <a:pt x="66113" y="123358"/>
                    <a:pt x="76495" y="117843"/>
                    <a:pt x="85525" y="106794"/>
                  </a:cubicBezTo>
                  <a:lnTo>
                    <a:pt x="85525" y="75476"/>
                  </a:lnTo>
                  <a:close/>
                </a:path>
              </a:pathLst>
            </a:custGeom>
            <a:solidFill>
              <a:srgbClr val="22A138">
                <a:alpha val="50000"/>
              </a:srgbClr>
            </a:solidFill>
            <a:ln w="9525" cap="flat">
              <a:noFill/>
              <a:prstDash val="solid"/>
              <a:miter/>
            </a:ln>
          </p:spPr>
          <p:txBody>
            <a:bodyPr rtlCol="0" anchor="ctr"/>
            <a:lstStyle/>
            <a:p>
              <a:endParaRPr lang="fr-FR"/>
            </a:p>
          </p:txBody>
        </p:sp>
        <p:sp>
          <p:nvSpPr>
            <p:cNvPr id="102" name="Forme libre : forme 101">
              <a:extLst>
                <a:ext uri="{FF2B5EF4-FFF2-40B4-BE49-F238E27FC236}">
                  <a16:creationId xmlns:a16="http://schemas.microsoft.com/office/drawing/2014/main" id="{AF4FC958-61A1-429F-BDA5-D5CC9D4D081A}"/>
                </a:ext>
              </a:extLst>
            </p:cNvPr>
            <p:cNvSpPr/>
            <p:nvPr/>
          </p:nvSpPr>
          <p:spPr>
            <a:xfrm>
              <a:off x="4481868" y="3649120"/>
              <a:ext cx="85725" cy="142875"/>
            </a:xfrm>
            <a:custGeom>
              <a:avLst/>
              <a:gdLst>
                <a:gd name="connsiteX0" fmla="*/ 76372 w 85725"/>
                <a:gd name="connsiteY0" fmla="*/ 31690 h 142875"/>
                <a:gd name="connsiteX1" fmla="*/ 61103 w 85725"/>
                <a:gd name="connsiteY1" fmla="*/ 26489 h 142875"/>
                <a:gd name="connsiteX2" fmla="*/ 39557 w 85725"/>
                <a:gd name="connsiteY2" fmla="*/ 37738 h 142875"/>
                <a:gd name="connsiteX3" fmla="*/ 30337 w 85725"/>
                <a:gd name="connsiteY3" fmla="*/ 64827 h 142875"/>
                <a:gd name="connsiteX4" fmla="*/ 30337 w 85725"/>
                <a:gd name="connsiteY4" fmla="*/ 139075 h 142875"/>
                <a:gd name="connsiteX5" fmla="*/ 7144 w 85725"/>
                <a:gd name="connsiteY5" fmla="*/ 139075 h 142875"/>
                <a:gd name="connsiteX6" fmla="*/ 7144 w 85725"/>
                <a:gd name="connsiteY6" fmla="*/ 9563 h 142875"/>
                <a:gd name="connsiteX7" fmla="*/ 30337 w 85725"/>
                <a:gd name="connsiteY7" fmla="*/ 9563 h 142875"/>
                <a:gd name="connsiteX8" fmla="*/ 30337 w 85725"/>
                <a:gd name="connsiteY8" fmla="*/ 30242 h 142875"/>
                <a:gd name="connsiteX9" fmla="*/ 68066 w 85725"/>
                <a:gd name="connsiteY9" fmla="*/ 7144 h 142875"/>
                <a:gd name="connsiteX10" fmla="*/ 86001 w 85725"/>
                <a:gd name="connsiteY10" fmla="*/ 9325 h 142875"/>
                <a:gd name="connsiteX11" fmla="*/ 76372 w 85725"/>
                <a:gd name="connsiteY11" fmla="*/ 3169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142875">
                  <a:moveTo>
                    <a:pt x="76372" y="31690"/>
                  </a:moveTo>
                  <a:cubicBezTo>
                    <a:pt x="71323" y="28223"/>
                    <a:pt x="66227" y="26489"/>
                    <a:pt x="61103" y="26489"/>
                  </a:cubicBezTo>
                  <a:cubicBezTo>
                    <a:pt x="52883" y="26489"/>
                    <a:pt x="45701" y="30242"/>
                    <a:pt x="39557" y="37738"/>
                  </a:cubicBezTo>
                  <a:cubicBezTo>
                    <a:pt x="33414" y="45234"/>
                    <a:pt x="30337" y="54264"/>
                    <a:pt x="30337" y="64827"/>
                  </a:cubicBezTo>
                  <a:lnTo>
                    <a:pt x="30337" y="139075"/>
                  </a:lnTo>
                  <a:lnTo>
                    <a:pt x="7144" y="139075"/>
                  </a:lnTo>
                  <a:lnTo>
                    <a:pt x="7144" y="9563"/>
                  </a:lnTo>
                  <a:lnTo>
                    <a:pt x="30337" y="9563"/>
                  </a:lnTo>
                  <a:lnTo>
                    <a:pt x="30337" y="30242"/>
                  </a:lnTo>
                  <a:cubicBezTo>
                    <a:pt x="38805" y="14849"/>
                    <a:pt x="51378" y="7144"/>
                    <a:pt x="68066" y="7144"/>
                  </a:cubicBezTo>
                  <a:cubicBezTo>
                    <a:pt x="72219" y="7144"/>
                    <a:pt x="78191" y="7868"/>
                    <a:pt x="86001" y="9325"/>
                  </a:cubicBezTo>
                  <a:lnTo>
                    <a:pt x="76372" y="31690"/>
                  </a:lnTo>
                  <a:close/>
                </a:path>
              </a:pathLst>
            </a:custGeom>
            <a:solidFill>
              <a:srgbClr val="22A138">
                <a:alpha val="50000"/>
              </a:srgbClr>
            </a:solidFill>
            <a:ln w="9525" cap="flat">
              <a:noFill/>
              <a:prstDash val="solid"/>
              <a:miter/>
            </a:ln>
          </p:spPr>
          <p:txBody>
            <a:bodyPr rtlCol="0" anchor="ctr"/>
            <a:lstStyle/>
            <a:p>
              <a:endParaRPr lang="fr-FR"/>
            </a:p>
          </p:txBody>
        </p:sp>
        <p:sp>
          <p:nvSpPr>
            <p:cNvPr id="103" name="Forme libre : forme 102">
              <a:extLst>
                <a:ext uri="{FF2B5EF4-FFF2-40B4-BE49-F238E27FC236}">
                  <a16:creationId xmlns:a16="http://schemas.microsoft.com/office/drawing/2014/main" id="{59F5228F-98E9-4DA1-9ABC-498710FA2A2A}"/>
                </a:ext>
              </a:extLst>
            </p:cNvPr>
            <p:cNvSpPr/>
            <p:nvPr/>
          </p:nvSpPr>
          <p:spPr>
            <a:xfrm>
              <a:off x="4638011" y="3602562"/>
              <a:ext cx="57150" cy="190500"/>
            </a:xfrm>
            <a:custGeom>
              <a:avLst/>
              <a:gdLst>
                <a:gd name="connsiteX0" fmla="*/ 25089 w 57150"/>
                <a:gd name="connsiteY0" fmla="*/ 185633 h 190500"/>
                <a:gd name="connsiteX1" fmla="*/ 25089 w 57150"/>
                <a:gd name="connsiteY1" fmla="*/ 75466 h 190500"/>
                <a:gd name="connsiteX2" fmla="*/ 7144 w 57150"/>
                <a:gd name="connsiteY2" fmla="*/ 75466 h 190500"/>
                <a:gd name="connsiteX3" fmla="*/ 7144 w 57150"/>
                <a:gd name="connsiteY3" fmla="*/ 56121 h 190500"/>
                <a:gd name="connsiteX4" fmla="*/ 48282 w 57150"/>
                <a:gd name="connsiteY4" fmla="*/ 56121 h 190500"/>
                <a:gd name="connsiteX5" fmla="*/ 48282 w 57150"/>
                <a:gd name="connsiteY5" fmla="*/ 185633 h 190500"/>
                <a:gd name="connsiteX6" fmla="*/ 25089 w 57150"/>
                <a:gd name="connsiteY6" fmla="*/ 185633 h 190500"/>
                <a:gd name="connsiteX7" fmla="*/ 37786 w 57150"/>
                <a:gd name="connsiteY7" fmla="*/ 7144 h 190500"/>
                <a:gd name="connsiteX8" fmla="*/ 47987 w 57150"/>
                <a:gd name="connsiteY8" fmla="*/ 11316 h 190500"/>
                <a:gd name="connsiteX9" fmla="*/ 52197 w 57150"/>
                <a:gd name="connsiteY9" fmla="*/ 21288 h 190500"/>
                <a:gd name="connsiteX10" fmla="*/ 47987 w 57150"/>
                <a:gd name="connsiteY10" fmla="*/ 31394 h 190500"/>
                <a:gd name="connsiteX11" fmla="*/ 37786 w 57150"/>
                <a:gd name="connsiteY11" fmla="*/ 35566 h 190500"/>
                <a:gd name="connsiteX12" fmla="*/ 27718 w 57150"/>
                <a:gd name="connsiteY12" fmla="*/ 31394 h 190500"/>
                <a:gd name="connsiteX13" fmla="*/ 23498 w 57150"/>
                <a:gd name="connsiteY13" fmla="*/ 21288 h 190500"/>
                <a:gd name="connsiteX14" fmla="*/ 27651 w 57150"/>
                <a:gd name="connsiteY14" fmla="*/ 11249 h 190500"/>
                <a:gd name="connsiteX15" fmla="*/ 37786 w 57150"/>
                <a:gd name="connsiteY15"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 h="190500">
                  <a:moveTo>
                    <a:pt x="25089" y="185633"/>
                  </a:moveTo>
                  <a:lnTo>
                    <a:pt x="25089" y="75466"/>
                  </a:lnTo>
                  <a:lnTo>
                    <a:pt x="7144" y="75466"/>
                  </a:lnTo>
                  <a:lnTo>
                    <a:pt x="7144" y="56121"/>
                  </a:lnTo>
                  <a:lnTo>
                    <a:pt x="48282" y="56121"/>
                  </a:lnTo>
                  <a:lnTo>
                    <a:pt x="48282" y="185633"/>
                  </a:lnTo>
                  <a:lnTo>
                    <a:pt x="25089" y="185633"/>
                  </a:lnTo>
                  <a:close/>
                  <a:moveTo>
                    <a:pt x="37786" y="7144"/>
                  </a:moveTo>
                  <a:cubicBezTo>
                    <a:pt x="41767" y="7144"/>
                    <a:pt x="45168" y="8534"/>
                    <a:pt x="47987" y="11316"/>
                  </a:cubicBezTo>
                  <a:cubicBezTo>
                    <a:pt x="50787" y="14087"/>
                    <a:pt x="52197" y="17421"/>
                    <a:pt x="52197" y="21288"/>
                  </a:cubicBezTo>
                  <a:cubicBezTo>
                    <a:pt x="52197" y="25232"/>
                    <a:pt x="50787" y="28603"/>
                    <a:pt x="47987" y="31394"/>
                  </a:cubicBezTo>
                  <a:cubicBezTo>
                    <a:pt x="45168" y="34166"/>
                    <a:pt x="41767" y="35566"/>
                    <a:pt x="37786" y="35566"/>
                  </a:cubicBezTo>
                  <a:cubicBezTo>
                    <a:pt x="33880" y="35566"/>
                    <a:pt x="30518" y="34176"/>
                    <a:pt x="27718" y="31394"/>
                  </a:cubicBezTo>
                  <a:cubicBezTo>
                    <a:pt x="24898" y="28603"/>
                    <a:pt x="23498" y="25241"/>
                    <a:pt x="23498" y="21288"/>
                  </a:cubicBezTo>
                  <a:cubicBezTo>
                    <a:pt x="23498" y="17335"/>
                    <a:pt x="24879" y="13992"/>
                    <a:pt x="27651" y="11249"/>
                  </a:cubicBezTo>
                  <a:cubicBezTo>
                    <a:pt x="30423" y="8515"/>
                    <a:pt x="33804" y="7144"/>
                    <a:pt x="37786" y="7144"/>
                  </a:cubicBezTo>
                  <a:close/>
                </a:path>
              </a:pathLst>
            </a:custGeom>
            <a:solidFill>
              <a:srgbClr val="22A138">
                <a:alpha val="50000"/>
              </a:srgbClr>
            </a:solidFill>
            <a:ln w="9525" cap="flat">
              <a:noFill/>
              <a:prstDash val="solid"/>
              <a:miter/>
            </a:ln>
          </p:spPr>
          <p:txBody>
            <a:bodyPr rtlCol="0" anchor="ctr"/>
            <a:lstStyle/>
            <a:p>
              <a:endParaRPr lang="fr-FR"/>
            </a:p>
          </p:txBody>
        </p:sp>
        <p:sp>
          <p:nvSpPr>
            <p:cNvPr id="104" name="Forme libre : forme 103">
              <a:extLst>
                <a:ext uri="{FF2B5EF4-FFF2-40B4-BE49-F238E27FC236}">
                  <a16:creationId xmlns:a16="http://schemas.microsoft.com/office/drawing/2014/main" id="{FBBB3FAA-A65C-4584-92A7-634B6E82AE2B}"/>
                </a:ext>
              </a:extLst>
            </p:cNvPr>
            <p:cNvSpPr/>
            <p:nvPr/>
          </p:nvSpPr>
          <p:spPr>
            <a:xfrm>
              <a:off x="4774980" y="3649120"/>
              <a:ext cx="95250" cy="142875"/>
            </a:xfrm>
            <a:custGeom>
              <a:avLst/>
              <a:gdLst>
                <a:gd name="connsiteX0" fmla="*/ 7144 w 95250"/>
                <a:gd name="connsiteY0" fmla="*/ 131331 h 142875"/>
                <a:gd name="connsiteX1" fmla="*/ 15335 w 95250"/>
                <a:gd name="connsiteY1" fmla="*/ 109566 h 142875"/>
                <a:gd name="connsiteX2" fmla="*/ 46587 w 95250"/>
                <a:gd name="connsiteY2" fmla="*/ 122139 h 142875"/>
                <a:gd name="connsiteX3" fmla="*/ 68075 w 95250"/>
                <a:gd name="connsiteY3" fmla="*/ 104242 h 142875"/>
                <a:gd name="connsiteX4" fmla="*/ 47320 w 95250"/>
                <a:gd name="connsiteY4" fmla="*/ 82229 h 142875"/>
                <a:gd name="connsiteX5" fmla="*/ 25765 w 95250"/>
                <a:gd name="connsiteY5" fmla="*/ 71228 h 142875"/>
                <a:gd name="connsiteX6" fmla="*/ 16116 w 95250"/>
                <a:gd name="connsiteY6" fmla="*/ 62703 h 142875"/>
                <a:gd name="connsiteX7" fmla="*/ 10011 w 95250"/>
                <a:gd name="connsiteY7" fmla="*/ 52549 h 142875"/>
                <a:gd name="connsiteX8" fmla="*/ 8001 w 95250"/>
                <a:gd name="connsiteY8" fmla="*/ 40996 h 142875"/>
                <a:gd name="connsiteX9" fmla="*/ 19717 w 95250"/>
                <a:gd name="connsiteY9" fmla="*/ 16088 h 142875"/>
                <a:gd name="connsiteX10" fmla="*/ 50349 w 95250"/>
                <a:gd name="connsiteY10" fmla="*/ 7144 h 142875"/>
                <a:gd name="connsiteX11" fmla="*/ 86373 w 95250"/>
                <a:gd name="connsiteY11" fmla="*/ 16088 h 142875"/>
                <a:gd name="connsiteX12" fmla="*/ 79781 w 95250"/>
                <a:gd name="connsiteY12" fmla="*/ 37366 h 142875"/>
                <a:gd name="connsiteX13" fmla="*/ 52064 w 95250"/>
                <a:gd name="connsiteY13" fmla="*/ 26479 h 142875"/>
                <a:gd name="connsiteX14" fmla="*/ 38091 w 95250"/>
                <a:gd name="connsiteY14" fmla="*/ 30347 h 142875"/>
                <a:gd name="connsiteX15" fmla="*/ 32414 w 95250"/>
                <a:gd name="connsiteY15" fmla="*/ 40138 h 142875"/>
                <a:gd name="connsiteX16" fmla="*/ 46692 w 95250"/>
                <a:gd name="connsiteY16" fmla="*/ 58998 h 142875"/>
                <a:gd name="connsiteX17" fmla="*/ 63294 w 95250"/>
                <a:gd name="connsiteY17" fmla="*/ 66494 h 142875"/>
                <a:gd name="connsiteX18" fmla="*/ 85515 w 95250"/>
                <a:gd name="connsiteY18" fmla="*/ 82210 h 142875"/>
                <a:gd name="connsiteX19" fmla="*/ 92488 w 95250"/>
                <a:gd name="connsiteY19" fmla="*/ 104337 h 142875"/>
                <a:gd name="connsiteX20" fmla="*/ 80143 w 95250"/>
                <a:gd name="connsiteY20" fmla="*/ 131607 h 142875"/>
                <a:gd name="connsiteX21" fmla="*/ 45958 w 95250"/>
                <a:gd name="connsiteY21" fmla="*/ 141456 h 142875"/>
                <a:gd name="connsiteX22" fmla="*/ 7144 w 95250"/>
                <a:gd name="connsiteY22" fmla="*/ 131331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250" h="142875">
                  <a:moveTo>
                    <a:pt x="7144" y="131331"/>
                  </a:moveTo>
                  <a:lnTo>
                    <a:pt x="15335" y="109566"/>
                  </a:lnTo>
                  <a:cubicBezTo>
                    <a:pt x="28280" y="117948"/>
                    <a:pt x="38691" y="122139"/>
                    <a:pt x="46587" y="122139"/>
                  </a:cubicBezTo>
                  <a:cubicBezTo>
                    <a:pt x="60913" y="122139"/>
                    <a:pt x="68075" y="116176"/>
                    <a:pt x="68075" y="104242"/>
                  </a:cubicBezTo>
                  <a:cubicBezTo>
                    <a:pt x="68075" y="95698"/>
                    <a:pt x="61151" y="88363"/>
                    <a:pt x="47320" y="82229"/>
                  </a:cubicBezTo>
                  <a:cubicBezTo>
                    <a:pt x="36652" y="77391"/>
                    <a:pt x="29480" y="73714"/>
                    <a:pt x="25765" y="71228"/>
                  </a:cubicBezTo>
                  <a:cubicBezTo>
                    <a:pt x="22050" y="68742"/>
                    <a:pt x="18840" y="65884"/>
                    <a:pt x="16116" y="62703"/>
                  </a:cubicBezTo>
                  <a:cubicBezTo>
                    <a:pt x="13392" y="59512"/>
                    <a:pt x="11354" y="56131"/>
                    <a:pt x="10011" y="52549"/>
                  </a:cubicBezTo>
                  <a:cubicBezTo>
                    <a:pt x="8668" y="48958"/>
                    <a:pt x="8001" y="45110"/>
                    <a:pt x="8001" y="40996"/>
                  </a:cubicBezTo>
                  <a:cubicBezTo>
                    <a:pt x="8001" y="30356"/>
                    <a:pt x="11906" y="22060"/>
                    <a:pt x="19717" y="16088"/>
                  </a:cubicBezTo>
                  <a:cubicBezTo>
                    <a:pt x="27527" y="10116"/>
                    <a:pt x="37738" y="7144"/>
                    <a:pt x="50349" y="7144"/>
                  </a:cubicBezTo>
                  <a:cubicBezTo>
                    <a:pt x="59874" y="7144"/>
                    <a:pt x="71885" y="10125"/>
                    <a:pt x="86373" y="16088"/>
                  </a:cubicBezTo>
                  <a:lnTo>
                    <a:pt x="79781" y="37366"/>
                  </a:lnTo>
                  <a:cubicBezTo>
                    <a:pt x="70580" y="30108"/>
                    <a:pt x="61341" y="26479"/>
                    <a:pt x="52064" y="26479"/>
                  </a:cubicBezTo>
                  <a:cubicBezTo>
                    <a:pt x="46530" y="26479"/>
                    <a:pt x="41872" y="27765"/>
                    <a:pt x="38091" y="30347"/>
                  </a:cubicBezTo>
                  <a:cubicBezTo>
                    <a:pt x="34309" y="32928"/>
                    <a:pt x="32414" y="36185"/>
                    <a:pt x="32414" y="40138"/>
                  </a:cubicBezTo>
                  <a:cubicBezTo>
                    <a:pt x="32414" y="48444"/>
                    <a:pt x="37167" y="54731"/>
                    <a:pt x="46692" y="58998"/>
                  </a:cubicBezTo>
                  <a:lnTo>
                    <a:pt x="63294" y="66494"/>
                  </a:lnTo>
                  <a:cubicBezTo>
                    <a:pt x="73476" y="71085"/>
                    <a:pt x="80877" y="76324"/>
                    <a:pt x="85515" y="82210"/>
                  </a:cubicBezTo>
                  <a:cubicBezTo>
                    <a:pt x="90154" y="88097"/>
                    <a:pt x="92488" y="95469"/>
                    <a:pt x="92488" y="104337"/>
                  </a:cubicBezTo>
                  <a:cubicBezTo>
                    <a:pt x="92488" y="115948"/>
                    <a:pt x="88373" y="125035"/>
                    <a:pt x="80143" y="131607"/>
                  </a:cubicBezTo>
                  <a:cubicBezTo>
                    <a:pt x="71924" y="138170"/>
                    <a:pt x="60531" y="141456"/>
                    <a:pt x="45958" y="141456"/>
                  </a:cubicBezTo>
                  <a:cubicBezTo>
                    <a:pt x="32214" y="141494"/>
                    <a:pt x="19269" y="138103"/>
                    <a:pt x="7144" y="131331"/>
                  </a:cubicBezTo>
                  <a:close/>
                </a:path>
              </a:pathLst>
            </a:custGeom>
            <a:solidFill>
              <a:srgbClr val="22A138">
                <a:alpha val="50000"/>
              </a:srgbClr>
            </a:solidFill>
            <a:ln w="9525" cap="flat">
              <a:noFill/>
              <a:prstDash val="solid"/>
              <a:miter/>
            </a:ln>
          </p:spPr>
          <p:txBody>
            <a:bodyPr rtlCol="0" anchor="ctr"/>
            <a:lstStyle/>
            <a:p>
              <a:endParaRPr lang="fr-FR"/>
            </a:p>
          </p:txBody>
        </p:sp>
        <p:sp>
          <p:nvSpPr>
            <p:cNvPr id="105" name="Forme libre : forme 104">
              <a:extLst>
                <a:ext uri="{FF2B5EF4-FFF2-40B4-BE49-F238E27FC236}">
                  <a16:creationId xmlns:a16="http://schemas.microsoft.com/office/drawing/2014/main" id="{BD5CBC48-64FA-4943-B560-6D23857954F0}"/>
                </a:ext>
              </a:extLst>
            </p:cNvPr>
            <p:cNvSpPr/>
            <p:nvPr/>
          </p:nvSpPr>
          <p:spPr>
            <a:xfrm>
              <a:off x="5102345" y="3689420"/>
              <a:ext cx="66675" cy="66675"/>
            </a:xfrm>
            <a:custGeom>
              <a:avLst/>
              <a:gdLst>
                <a:gd name="connsiteX0" fmla="*/ 34280 w 66675"/>
                <a:gd name="connsiteY0" fmla="*/ 7144 h 66675"/>
                <a:gd name="connsiteX1" fmla="*/ 53492 w 66675"/>
                <a:gd name="connsiteY1" fmla="*/ 15002 h 66675"/>
                <a:gd name="connsiteX2" fmla="*/ 61417 w 66675"/>
                <a:gd name="connsiteY2" fmla="*/ 34023 h 66675"/>
                <a:gd name="connsiteX3" fmla="*/ 53492 w 66675"/>
                <a:gd name="connsiteY3" fmla="*/ 53045 h 66675"/>
                <a:gd name="connsiteX4" fmla="*/ 34280 w 66675"/>
                <a:gd name="connsiteY4" fmla="*/ 60903 h 66675"/>
                <a:gd name="connsiteX5" fmla="*/ 15087 w 66675"/>
                <a:gd name="connsiteY5" fmla="*/ 53045 h 66675"/>
                <a:gd name="connsiteX6" fmla="*/ 7144 w 66675"/>
                <a:gd name="connsiteY6" fmla="*/ 34023 h 66675"/>
                <a:gd name="connsiteX7" fmla="*/ 15087 w 66675"/>
                <a:gd name="connsiteY7" fmla="*/ 15002 h 66675"/>
                <a:gd name="connsiteX8" fmla="*/ 34280 w 66675"/>
                <a:gd name="connsiteY8"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66675">
                  <a:moveTo>
                    <a:pt x="34280" y="7144"/>
                  </a:moveTo>
                  <a:cubicBezTo>
                    <a:pt x="41796" y="7144"/>
                    <a:pt x="48196" y="9763"/>
                    <a:pt x="53492" y="15002"/>
                  </a:cubicBezTo>
                  <a:cubicBezTo>
                    <a:pt x="58779" y="20241"/>
                    <a:pt x="61417" y="26584"/>
                    <a:pt x="61417" y="34023"/>
                  </a:cubicBezTo>
                  <a:cubicBezTo>
                    <a:pt x="61417" y="41462"/>
                    <a:pt x="58779" y="47806"/>
                    <a:pt x="53492" y="53045"/>
                  </a:cubicBezTo>
                  <a:cubicBezTo>
                    <a:pt x="48196" y="58284"/>
                    <a:pt x="41796" y="60903"/>
                    <a:pt x="34280" y="60903"/>
                  </a:cubicBezTo>
                  <a:cubicBezTo>
                    <a:pt x="26765" y="60903"/>
                    <a:pt x="20374" y="58284"/>
                    <a:pt x="15087" y="53045"/>
                  </a:cubicBezTo>
                  <a:cubicBezTo>
                    <a:pt x="9792" y="47806"/>
                    <a:pt x="7144" y="41462"/>
                    <a:pt x="7144" y="34023"/>
                  </a:cubicBezTo>
                  <a:cubicBezTo>
                    <a:pt x="7144" y="26584"/>
                    <a:pt x="9792" y="20241"/>
                    <a:pt x="15087" y="15002"/>
                  </a:cubicBezTo>
                  <a:cubicBezTo>
                    <a:pt x="20374" y="9763"/>
                    <a:pt x="26765" y="7144"/>
                    <a:pt x="34280" y="7144"/>
                  </a:cubicBezTo>
                  <a:close/>
                </a:path>
              </a:pathLst>
            </a:custGeom>
            <a:solidFill>
              <a:srgbClr val="22A138">
                <a:alpha val="50000"/>
              </a:srgbClr>
            </a:solidFill>
            <a:ln w="9525" cap="flat">
              <a:noFill/>
              <a:prstDash val="solid"/>
              <a:miter/>
            </a:ln>
          </p:spPr>
          <p:txBody>
            <a:bodyPr rtlCol="0" anchor="ctr"/>
            <a:lstStyle/>
            <a:p>
              <a:endParaRPr lang="fr-FR"/>
            </a:p>
          </p:txBody>
        </p:sp>
        <p:sp>
          <p:nvSpPr>
            <p:cNvPr id="106" name="Forme libre : forme 105">
              <a:extLst>
                <a:ext uri="{FF2B5EF4-FFF2-40B4-BE49-F238E27FC236}">
                  <a16:creationId xmlns:a16="http://schemas.microsoft.com/office/drawing/2014/main" id="{4F8034E1-49AC-47DE-AAEE-33A30F35F8CD}"/>
                </a:ext>
              </a:extLst>
            </p:cNvPr>
            <p:cNvSpPr/>
            <p:nvPr/>
          </p:nvSpPr>
          <p:spPr>
            <a:xfrm>
              <a:off x="5376656" y="3603895"/>
              <a:ext cx="180975" cy="190500"/>
            </a:xfrm>
            <a:custGeom>
              <a:avLst/>
              <a:gdLst>
                <a:gd name="connsiteX0" fmla="*/ 157658 w 180975"/>
                <a:gd name="connsiteY0" fmla="*/ 184299 h 190500"/>
                <a:gd name="connsiteX1" fmla="*/ 136417 w 180975"/>
                <a:gd name="connsiteY1" fmla="*/ 70514 h 190500"/>
                <a:gd name="connsiteX2" fmla="*/ 97355 w 180975"/>
                <a:gd name="connsiteY2" fmla="*/ 186719 h 190500"/>
                <a:gd name="connsiteX3" fmla="*/ 91250 w 180975"/>
                <a:gd name="connsiteY3" fmla="*/ 186719 h 190500"/>
                <a:gd name="connsiteX4" fmla="*/ 51092 w 180975"/>
                <a:gd name="connsiteY4" fmla="*/ 70514 h 190500"/>
                <a:gd name="connsiteX5" fmla="*/ 30337 w 180975"/>
                <a:gd name="connsiteY5" fmla="*/ 184299 h 190500"/>
                <a:gd name="connsiteX6" fmla="*/ 7144 w 180975"/>
                <a:gd name="connsiteY6" fmla="*/ 184299 h 190500"/>
                <a:gd name="connsiteX7" fmla="*/ 40596 w 180975"/>
                <a:gd name="connsiteY7" fmla="*/ 7144 h 190500"/>
                <a:gd name="connsiteX8" fmla="*/ 51692 w 180975"/>
                <a:gd name="connsiteY8" fmla="*/ 7144 h 190500"/>
                <a:gd name="connsiteX9" fmla="*/ 94307 w 180975"/>
                <a:gd name="connsiteY9" fmla="*/ 136408 h 190500"/>
                <a:gd name="connsiteX10" fmla="*/ 133617 w 180975"/>
                <a:gd name="connsiteY10" fmla="*/ 7144 h 190500"/>
                <a:gd name="connsiteX11" fmla="*/ 144609 w 180975"/>
                <a:gd name="connsiteY11" fmla="*/ 7144 h 190500"/>
                <a:gd name="connsiteX12" fmla="*/ 180861 w 180975"/>
                <a:gd name="connsiteY12" fmla="*/ 184299 h 190500"/>
                <a:gd name="connsiteX13" fmla="*/ 157658 w 180975"/>
                <a:gd name="connsiteY13" fmla="*/ 18429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975" h="190500">
                  <a:moveTo>
                    <a:pt x="157658" y="184299"/>
                  </a:moveTo>
                  <a:lnTo>
                    <a:pt x="136417" y="70514"/>
                  </a:lnTo>
                  <a:lnTo>
                    <a:pt x="97355" y="186719"/>
                  </a:lnTo>
                  <a:lnTo>
                    <a:pt x="91250" y="186719"/>
                  </a:lnTo>
                  <a:lnTo>
                    <a:pt x="51092" y="70514"/>
                  </a:lnTo>
                  <a:lnTo>
                    <a:pt x="30337" y="184299"/>
                  </a:lnTo>
                  <a:lnTo>
                    <a:pt x="7144" y="184299"/>
                  </a:lnTo>
                  <a:lnTo>
                    <a:pt x="40596" y="7144"/>
                  </a:lnTo>
                  <a:lnTo>
                    <a:pt x="51692" y="7144"/>
                  </a:lnTo>
                  <a:lnTo>
                    <a:pt x="94307" y="136408"/>
                  </a:lnTo>
                  <a:lnTo>
                    <a:pt x="133617" y="7144"/>
                  </a:lnTo>
                  <a:lnTo>
                    <a:pt x="144609" y="7144"/>
                  </a:lnTo>
                  <a:lnTo>
                    <a:pt x="180861" y="184299"/>
                  </a:lnTo>
                  <a:lnTo>
                    <a:pt x="157658" y="184299"/>
                  </a:lnTo>
                  <a:close/>
                </a:path>
              </a:pathLst>
            </a:custGeom>
            <a:solidFill>
              <a:srgbClr val="22A138">
                <a:alpha val="50000"/>
              </a:srgbClr>
            </a:solidFill>
            <a:ln w="9525" cap="flat">
              <a:noFill/>
              <a:prstDash val="solid"/>
              <a:miter/>
            </a:ln>
          </p:spPr>
          <p:txBody>
            <a:bodyPr rtlCol="0" anchor="ctr"/>
            <a:lstStyle/>
            <a:p>
              <a:endParaRPr lang="fr-FR"/>
            </a:p>
          </p:txBody>
        </p:sp>
        <p:sp>
          <p:nvSpPr>
            <p:cNvPr id="107" name="Forme libre : forme 106">
              <a:extLst>
                <a:ext uri="{FF2B5EF4-FFF2-40B4-BE49-F238E27FC236}">
                  <a16:creationId xmlns:a16="http://schemas.microsoft.com/office/drawing/2014/main" id="{04A6C2A8-2A59-4C96-898C-DDF358A3360F}"/>
                </a:ext>
              </a:extLst>
            </p:cNvPr>
            <p:cNvSpPr/>
            <p:nvPr/>
          </p:nvSpPr>
          <p:spPr>
            <a:xfrm>
              <a:off x="5628859" y="3649110"/>
              <a:ext cx="123825" cy="142875"/>
            </a:xfrm>
            <a:custGeom>
              <a:avLst/>
              <a:gdLst>
                <a:gd name="connsiteX0" fmla="*/ 87716 w 123825"/>
                <a:gd name="connsiteY0" fmla="*/ 124206 h 142875"/>
                <a:gd name="connsiteX1" fmla="*/ 45111 w 123825"/>
                <a:gd name="connsiteY1" fmla="*/ 141494 h 142875"/>
                <a:gd name="connsiteX2" fmla="*/ 18440 w 123825"/>
                <a:gd name="connsiteY2" fmla="*/ 130435 h 142875"/>
                <a:gd name="connsiteX3" fmla="*/ 7144 w 123825"/>
                <a:gd name="connsiteY3" fmla="*/ 102918 h 142875"/>
                <a:gd name="connsiteX4" fmla="*/ 24546 w 123825"/>
                <a:gd name="connsiteY4" fmla="*/ 69599 h 142875"/>
                <a:gd name="connsiteX5" fmla="*/ 68914 w 123825"/>
                <a:gd name="connsiteY5" fmla="*/ 55997 h 142875"/>
                <a:gd name="connsiteX6" fmla="*/ 85516 w 123825"/>
                <a:gd name="connsiteY6" fmla="*/ 59141 h 142875"/>
                <a:gd name="connsiteX7" fmla="*/ 57188 w 123825"/>
                <a:gd name="connsiteY7" fmla="*/ 27699 h 142875"/>
                <a:gd name="connsiteX8" fmla="*/ 23736 w 123825"/>
                <a:gd name="connsiteY8" fmla="*/ 39310 h 142875"/>
                <a:gd name="connsiteX9" fmla="*/ 13973 w 123825"/>
                <a:gd name="connsiteY9" fmla="*/ 20079 h 142875"/>
                <a:gd name="connsiteX10" fmla="*/ 32223 w 123825"/>
                <a:gd name="connsiteY10" fmla="*/ 10954 h 142875"/>
                <a:gd name="connsiteX11" fmla="*/ 54512 w 123825"/>
                <a:gd name="connsiteY11" fmla="*/ 7144 h 142875"/>
                <a:gd name="connsiteX12" fmla="*/ 95841 w 123825"/>
                <a:gd name="connsiteY12" fmla="*/ 19964 h 142875"/>
                <a:gd name="connsiteX13" fmla="*/ 108718 w 123825"/>
                <a:gd name="connsiteY13" fmla="*/ 60712 h 142875"/>
                <a:gd name="connsiteX14" fmla="*/ 108718 w 123825"/>
                <a:gd name="connsiteY14" fmla="*/ 107147 h 142875"/>
                <a:gd name="connsiteX15" fmla="*/ 118977 w 123825"/>
                <a:gd name="connsiteY15" fmla="*/ 129883 h 142875"/>
                <a:gd name="connsiteX16" fmla="*/ 118977 w 123825"/>
                <a:gd name="connsiteY16" fmla="*/ 141370 h 142875"/>
                <a:gd name="connsiteX17" fmla="*/ 97803 w 123825"/>
                <a:gd name="connsiteY17" fmla="*/ 137379 h 142875"/>
                <a:gd name="connsiteX18" fmla="*/ 87716 w 123825"/>
                <a:gd name="connsiteY18" fmla="*/ 124206 h 142875"/>
                <a:gd name="connsiteX19" fmla="*/ 85525 w 123825"/>
                <a:gd name="connsiteY19" fmla="*/ 75476 h 142875"/>
                <a:gd name="connsiteX20" fmla="*/ 70142 w 123825"/>
                <a:gd name="connsiteY20" fmla="*/ 73057 h 142875"/>
                <a:gd name="connsiteX21" fmla="*/ 41453 w 123825"/>
                <a:gd name="connsiteY21" fmla="*/ 82001 h 142875"/>
                <a:gd name="connsiteX22" fmla="*/ 30347 w 123825"/>
                <a:gd name="connsiteY22" fmla="*/ 103165 h 142875"/>
                <a:gd name="connsiteX23" fmla="*/ 54398 w 123825"/>
                <a:gd name="connsiteY23" fmla="*/ 123358 h 142875"/>
                <a:gd name="connsiteX24" fmla="*/ 85525 w 123825"/>
                <a:gd name="connsiteY24" fmla="*/ 106794 h 142875"/>
                <a:gd name="connsiteX25" fmla="*/ 85525 w 123825"/>
                <a:gd name="connsiteY25" fmla="*/ 7547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3825" h="142875">
                  <a:moveTo>
                    <a:pt x="87716" y="124206"/>
                  </a:moveTo>
                  <a:cubicBezTo>
                    <a:pt x="78439" y="135741"/>
                    <a:pt x="64227" y="141494"/>
                    <a:pt x="45111" y="141494"/>
                  </a:cubicBezTo>
                  <a:cubicBezTo>
                    <a:pt x="34852" y="141494"/>
                    <a:pt x="25965" y="137798"/>
                    <a:pt x="18440" y="130435"/>
                  </a:cubicBezTo>
                  <a:cubicBezTo>
                    <a:pt x="10906" y="123054"/>
                    <a:pt x="7144" y="113881"/>
                    <a:pt x="7144" y="102918"/>
                  </a:cubicBezTo>
                  <a:cubicBezTo>
                    <a:pt x="7144" y="89783"/>
                    <a:pt x="12935" y="78677"/>
                    <a:pt x="24546" y="69599"/>
                  </a:cubicBezTo>
                  <a:cubicBezTo>
                    <a:pt x="36138" y="60541"/>
                    <a:pt x="50930" y="55997"/>
                    <a:pt x="68914" y="55997"/>
                  </a:cubicBezTo>
                  <a:cubicBezTo>
                    <a:pt x="73800" y="55997"/>
                    <a:pt x="79324" y="57036"/>
                    <a:pt x="85516" y="59141"/>
                  </a:cubicBezTo>
                  <a:cubicBezTo>
                    <a:pt x="85516" y="38176"/>
                    <a:pt x="76076" y="27699"/>
                    <a:pt x="57188" y="27699"/>
                  </a:cubicBezTo>
                  <a:cubicBezTo>
                    <a:pt x="42701" y="27699"/>
                    <a:pt x="31547" y="31566"/>
                    <a:pt x="23736" y="39310"/>
                  </a:cubicBezTo>
                  <a:lnTo>
                    <a:pt x="13973" y="20079"/>
                  </a:lnTo>
                  <a:cubicBezTo>
                    <a:pt x="18364" y="16535"/>
                    <a:pt x="24451" y="13487"/>
                    <a:pt x="32223" y="10954"/>
                  </a:cubicBezTo>
                  <a:cubicBezTo>
                    <a:pt x="39996" y="8401"/>
                    <a:pt x="47425" y="7144"/>
                    <a:pt x="54512" y="7144"/>
                  </a:cubicBezTo>
                  <a:cubicBezTo>
                    <a:pt x="73476" y="7144"/>
                    <a:pt x="87249" y="11421"/>
                    <a:pt x="95841" y="19964"/>
                  </a:cubicBezTo>
                  <a:cubicBezTo>
                    <a:pt x="104423" y="28499"/>
                    <a:pt x="108718" y="42091"/>
                    <a:pt x="108718" y="60712"/>
                  </a:cubicBezTo>
                  <a:lnTo>
                    <a:pt x="108718" y="107147"/>
                  </a:lnTo>
                  <a:cubicBezTo>
                    <a:pt x="108718" y="118510"/>
                    <a:pt x="112138" y="126092"/>
                    <a:pt x="118977" y="129883"/>
                  </a:cubicBezTo>
                  <a:lnTo>
                    <a:pt x="118977" y="141370"/>
                  </a:lnTo>
                  <a:cubicBezTo>
                    <a:pt x="109538" y="141370"/>
                    <a:pt x="102480" y="140037"/>
                    <a:pt x="97803" y="137379"/>
                  </a:cubicBezTo>
                  <a:cubicBezTo>
                    <a:pt x="93107" y="134731"/>
                    <a:pt x="89754" y="130331"/>
                    <a:pt x="87716" y="124206"/>
                  </a:cubicBezTo>
                  <a:close/>
                  <a:moveTo>
                    <a:pt x="85525" y="75476"/>
                  </a:moveTo>
                  <a:cubicBezTo>
                    <a:pt x="78200" y="73866"/>
                    <a:pt x="73076" y="73057"/>
                    <a:pt x="70142" y="73057"/>
                  </a:cubicBezTo>
                  <a:cubicBezTo>
                    <a:pt x="58426" y="73057"/>
                    <a:pt x="48854" y="76038"/>
                    <a:pt x="41453" y="82001"/>
                  </a:cubicBezTo>
                  <a:cubicBezTo>
                    <a:pt x="34052" y="87963"/>
                    <a:pt x="30347" y="95012"/>
                    <a:pt x="30347" y="103165"/>
                  </a:cubicBezTo>
                  <a:cubicBezTo>
                    <a:pt x="30347" y="116634"/>
                    <a:pt x="38357" y="123358"/>
                    <a:pt x="54398" y="123358"/>
                  </a:cubicBezTo>
                  <a:cubicBezTo>
                    <a:pt x="66113" y="123358"/>
                    <a:pt x="76495" y="117843"/>
                    <a:pt x="85525" y="106794"/>
                  </a:cubicBezTo>
                  <a:lnTo>
                    <a:pt x="85525" y="75476"/>
                  </a:lnTo>
                  <a:close/>
                </a:path>
              </a:pathLst>
            </a:custGeom>
            <a:solidFill>
              <a:srgbClr val="22A138">
                <a:alpha val="50000"/>
              </a:srgbClr>
            </a:solidFill>
            <a:ln w="9525" cap="flat">
              <a:noFill/>
              <a:prstDash val="solid"/>
              <a:miter/>
            </a:ln>
          </p:spPr>
          <p:txBody>
            <a:bodyPr rtlCol="0" anchor="ctr"/>
            <a:lstStyle/>
            <a:p>
              <a:endParaRPr lang="fr-FR"/>
            </a:p>
          </p:txBody>
        </p:sp>
        <p:sp>
          <p:nvSpPr>
            <p:cNvPr id="108" name="Forme libre : forme 107">
              <a:extLst>
                <a:ext uri="{FF2B5EF4-FFF2-40B4-BE49-F238E27FC236}">
                  <a16:creationId xmlns:a16="http://schemas.microsoft.com/office/drawing/2014/main" id="{C1DD6637-8CDE-4825-9EB4-46066DB32677}"/>
                </a:ext>
              </a:extLst>
            </p:cNvPr>
            <p:cNvSpPr/>
            <p:nvPr/>
          </p:nvSpPr>
          <p:spPr>
            <a:xfrm>
              <a:off x="5827121" y="3598447"/>
              <a:ext cx="123825" cy="190500"/>
            </a:xfrm>
            <a:custGeom>
              <a:avLst/>
              <a:gdLst>
                <a:gd name="connsiteX0" fmla="*/ 97365 w 123825"/>
                <a:gd name="connsiteY0" fmla="*/ 189624 h 190500"/>
                <a:gd name="connsiteX1" fmla="*/ 97365 w 123825"/>
                <a:gd name="connsiteY1" fmla="*/ 180070 h 190500"/>
                <a:gd name="connsiteX2" fmla="*/ 62208 w 123825"/>
                <a:gd name="connsiteY2" fmla="*/ 192043 h 190500"/>
                <a:gd name="connsiteX3" fmla="*/ 22413 w 123825"/>
                <a:gd name="connsiteY3" fmla="*/ 174631 h 190500"/>
                <a:gd name="connsiteX4" fmla="*/ 7144 w 123825"/>
                <a:gd name="connsiteY4" fmla="*/ 128197 h 190500"/>
                <a:gd name="connsiteX5" fmla="*/ 24727 w 123825"/>
                <a:gd name="connsiteY5" fmla="*/ 78429 h 190500"/>
                <a:gd name="connsiteX6" fmla="*/ 66608 w 123825"/>
                <a:gd name="connsiteY6" fmla="*/ 57817 h 190500"/>
                <a:gd name="connsiteX7" fmla="*/ 97374 w 123825"/>
                <a:gd name="connsiteY7" fmla="*/ 67246 h 190500"/>
                <a:gd name="connsiteX8" fmla="*/ 97374 w 123825"/>
                <a:gd name="connsiteY8" fmla="*/ 7144 h 190500"/>
                <a:gd name="connsiteX9" fmla="*/ 120568 w 123825"/>
                <a:gd name="connsiteY9" fmla="*/ 7144 h 190500"/>
                <a:gd name="connsiteX10" fmla="*/ 120568 w 123825"/>
                <a:gd name="connsiteY10" fmla="*/ 189614 h 190500"/>
                <a:gd name="connsiteX11" fmla="*/ 97365 w 123825"/>
                <a:gd name="connsiteY11" fmla="*/ 189614 h 190500"/>
                <a:gd name="connsiteX12" fmla="*/ 97365 w 123825"/>
                <a:gd name="connsiteY12" fmla="*/ 90230 h 190500"/>
                <a:gd name="connsiteX13" fmla="*/ 73305 w 123825"/>
                <a:gd name="connsiteY13" fmla="*/ 77172 h 190500"/>
                <a:gd name="connsiteX14" fmla="*/ 43091 w 123825"/>
                <a:gd name="connsiteY14" fmla="*/ 90954 h 190500"/>
                <a:gd name="connsiteX15" fmla="*/ 31547 w 123825"/>
                <a:gd name="connsiteY15" fmla="*/ 126025 h 190500"/>
                <a:gd name="connsiteX16" fmla="*/ 74524 w 123825"/>
                <a:gd name="connsiteY16" fmla="*/ 172822 h 190500"/>
                <a:gd name="connsiteX17" fmla="*/ 87706 w 123825"/>
                <a:gd name="connsiteY17" fmla="*/ 169374 h 190500"/>
                <a:gd name="connsiteX18" fmla="*/ 97365 w 123825"/>
                <a:gd name="connsiteY18" fmla="*/ 162058 h 190500"/>
                <a:gd name="connsiteX19" fmla="*/ 9736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65" y="189624"/>
                  </a:moveTo>
                  <a:lnTo>
                    <a:pt x="97365" y="180070"/>
                  </a:lnTo>
                  <a:cubicBezTo>
                    <a:pt x="89306" y="188052"/>
                    <a:pt x="77591" y="192043"/>
                    <a:pt x="62208" y="192043"/>
                  </a:cubicBezTo>
                  <a:cubicBezTo>
                    <a:pt x="45854" y="192043"/>
                    <a:pt x="32576" y="186242"/>
                    <a:pt x="22413" y="174631"/>
                  </a:cubicBezTo>
                  <a:cubicBezTo>
                    <a:pt x="12230" y="163020"/>
                    <a:pt x="7144" y="147542"/>
                    <a:pt x="7144" y="128197"/>
                  </a:cubicBezTo>
                  <a:cubicBezTo>
                    <a:pt x="7144" y="108775"/>
                    <a:pt x="13002" y="92183"/>
                    <a:pt x="24727" y="78429"/>
                  </a:cubicBezTo>
                  <a:cubicBezTo>
                    <a:pt x="36443" y="64694"/>
                    <a:pt x="50407" y="57817"/>
                    <a:pt x="66608" y="57817"/>
                  </a:cubicBezTo>
                  <a:cubicBezTo>
                    <a:pt x="80115" y="57817"/>
                    <a:pt x="90364" y="60960"/>
                    <a:pt x="97374" y="67246"/>
                  </a:cubicBezTo>
                  <a:lnTo>
                    <a:pt x="97374" y="7144"/>
                  </a:lnTo>
                  <a:lnTo>
                    <a:pt x="120568" y="7144"/>
                  </a:lnTo>
                  <a:lnTo>
                    <a:pt x="120568" y="189614"/>
                  </a:lnTo>
                  <a:lnTo>
                    <a:pt x="97365" y="189614"/>
                  </a:lnTo>
                  <a:close/>
                  <a:moveTo>
                    <a:pt x="97365" y="90230"/>
                  </a:moveTo>
                  <a:cubicBezTo>
                    <a:pt x="91507" y="81525"/>
                    <a:pt x="83487" y="77172"/>
                    <a:pt x="73305" y="77172"/>
                  </a:cubicBezTo>
                  <a:cubicBezTo>
                    <a:pt x="60855" y="77172"/>
                    <a:pt x="50787" y="81763"/>
                    <a:pt x="43091" y="90954"/>
                  </a:cubicBezTo>
                  <a:cubicBezTo>
                    <a:pt x="35405" y="100146"/>
                    <a:pt x="31547" y="111824"/>
                    <a:pt x="31547" y="126025"/>
                  </a:cubicBezTo>
                  <a:cubicBezTo>
                    <a:pt x="31547" y="157220"/>
                    <a:pt x="45882" y="172822"/>
                    <a:pt x="74524" y="172822"/>
                  </a:cubicBezTo>
                  <a:cubicBezTo>
                    <a:pt x="78181" y="172822"/>
                    <a:pt x="82582" y="171679"/>
                    <a:pt x="87706" y="169374"/>
                  </a:cubicBezTo>
                  <a:cubicBezTo>
                    <a:pt x="92831" y="167088"/>
                    <a:pt x="96050" y="164649"/>
                    <a:pt x="97365" y="162058"/>
                  </a:cubicBezTo>
                  <a:lnTo>
                    <a:pt x="97365" y="90230"/>
                  </a:lnTo>
                  <a:close/>
                </a:path>
              </a:pathLst>
            </a:custGeom>
            <a:solidFill>
              <a:srgbClr val="22A138">
                <a:alpha val="50000"/>
              </a:srgbClr>
            </a:solidFill>
            <a:ln w="9525" cap="flat">
              <a:noFill/>
              <a:prstDash val="solid"/>
              <a:miter/>
            </a:ln>
          </p:spPr>
          <p:txBody>
            <a:bodyPr rtlCol="0" anchor="ctr"/>
            <a:lstStyle/>
            <a:p>
              <a:endParaRPr lang="fr-FR"/>
            </a:p>
          </p:txBody>
        </p:sp>
        <p:sp>
          <p:nvSpPr>
            <p:cNvPr id="109" name="Forme libre : forme 108">
              <a:extLst>
                <a:ext uri="{FF2B5EF4-FFF2-40B4-BE49-F238E27FC236}">
                  <a16:creationId xmlns:a16="http://schemas.microsoft.com/office/drawing/2014/main" id="{530E22A0-9583-4150-89B3-CED9626A10FC}"/>
                </a:ext>
              </a:extLst>
            </p:cNvPr>
            <p:cNvSpPr/>
            <p:nvPr/>
          </p:nvSpPr>
          <p:spPr>
            <a:xfrm>
              <a:off x="6043072" y="3649120"/>
              <a:ext cx="85725" cy="142875"/>
            </a:xfrm>
            <a:custGeom>
              <a:avLst/>
              <a:gdLst>
                <a:gd name="connsiteX0" fmla="*/ 76362 w 85725"/>
                <a:gd name="connsiteY0" fmla="*/ 31690 h 142875"/>
                <a:gd name="connsiteX1" fmla="*/ 61103 w 85725"/>
                <a:gd name="connsiteY1" fmla="*/ 26489 h 142875"/>
                <a:gd name="connsiteX2" fmla="*/ 39557 w 85725"/>
                <a:gd name="connsiteY2" fmla="*/ 37738 h 142875"/>
                <a:gd name="connsiteX3" fmla="*/ 30337 w 85725"/>
                <a:gd name="connsiteY3" fmla="*/ 64827 h 142875"/>
                <a:gd name="connsiteX4" fmla="*/ 30337 w 85725"/>
                <a:gd name="connsiteY4" fmla="*/ 139075 h 142875"/>
                <a:gd name="connsiteX5" fmla="*/ 7144 w 85725"/>
                <a:gd name="connsiteY5" fmla="*/ 139075 h 142875"/>
                <a:gd name="connsiteX6" fmla="*/ 7144 w 85725"/>
                <a:gd name="connsiteY6" fmla="*/ 9563 h 142875"/>
                <a:gd name="connsiteX7" fmla="*/ 30337 w 85725"/>
                <a:gd name="connsiteY7" fmla="*/ 9563 h 142875"/>
                <a:gd name="connsiteX8" fmla="*/ 30337 w 85725"/>
                <a:gd name="connsiteY8" fmla="*/ 30242 h 142875"/>
                <a:gd name="connsiteX9" fmla="*/ 68056 w 85725"/>
                <a:gd name="connsiteY9" fmla="*/ 7144 h 142875"/>
                <a:gd name="connsiteX10" fmla="*/ 86001 w 85725"/>
                <a:gd name="connsiteY10" fmla="*/ 9325 h 142875"/>
                <a:gd name="connsiteX11" fmla="*/ 76362 w 85725"/>
                <a:gd name="connsiteY11" fmla="*/ 3169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142875">
                  <a:moveTo>
                    <a:pt x="76362" y="31690"/>
                  </a:moveTo>
                  <a:cubicBezTo>
                    <a:pt x="71323" y="28223"/>
                    <a:pt x="66227" y="26489"/>
                    <a:pt x="61103" y="26489"/>
                  </a:cubicBezTo>
                  <a:cubicBezTo>
                    <a:pt x="52883" y="26489"/>
                    <a:pt x="45701" y="30242"/>
                    <a:pt x="39557" y="37738"/>
                  </a:cubicBezTo>
                  <a:cubicBezTo>
                    <a:pt x="33404" y="45234"/>
                    <a:pt x="30337" y="54264"/>
                    <a:pt x="30337" y="64827"/>
                  </a:cubicBezTo>
                  <a:lnTo>
                    <a:pt x="30337" y="139075"/>
                  </a:lnTo>
                  <a:lnTo>
                    <a:pt x="7144" y="139075"/>
                  </a:lnTo>
                  <a:lnTo>
                    <a:pt x="7144" y="9563"/>
                  </a:lnTo>
                  <a:lnTo>
                    <a:pt x="30337" y="9563"/>
                  </a:lnTo>
                  <a:lnTo>
                    <a:pt x="30337" y="30242"/>
                  </a:lnTo>
                  <a:cubicBezTo>
                    <a:pt x="38795" y="14849"/>
                    <a:pt x="51368" y="7144"/>
                    <a:pt x="68056" y="7144"/>
                  </a:cubicBezTo>
                  <a:cubicBezTo>
                    <a:pt x="72209" y="7144"/>
                    <a:pt x="78191" y="7868"/>
                    <a:pt x="86001" y="9325"/>
                  </a:cubicBezTo>
                  <a:lnTo>
                    <a:pt x="76362" y="31690"/>
                  </a:lnTo>
                  <a:close/>
                </a:path>
              </a:pathLst>
            </a:custGeom>
            <a:solidFill>
              <a:srgbClr val="22A138">
                <a:alpha val="50000"/>
              </a:srgbClr>
            </a:solidFill>
            <a:ln w="9525" cap="flat">
              <a:noFill/>
              <a:prstDash val="solid"/>
              <a:miter/>
            </a:ln>
          </p:spPr>
          <p:txBody>
            <a:bodyPr rtlCol="0" anchor="ctr"/>
            <a:lstStyle/>
            <a:p>
              <a:endParaRPr lang="fr-FR"/>
            </a:p>
          </p:txBody>
        </p:sp>
        <p:sp>
          <p:nvSpPr>
            <p:cNvPr id="110" name="Forme libre : forme 109">
              <a:extLst>
                <a:ext uri="{FF2B5EF4-FFF2-40B4-BE49-F238E27FC236}">
                  <a16:creationId xmlns:a16="http://schemas.microsoft.com/office/drawing/2014/main" id="{EF9CBD14-2F10-4512-AE15-AF56DAB8AD78}"/>
                </a:ext>
              </a:extLst>
            </p:cNvPr>
            <p:cNvSpPr/>
            <p:nvPr/>
          </p:nvSpPr>
          <p:spPr>
            <a:xfrm>
              <a:off x="6199206" y="3602562"/>
              <a:ext cx="57150" cy="190500"/>
            </a:xfrm>
            <a:custGeom>
              <a:avLst/>
              <a:gdLst>
                <a:gd name="connsiteX0" fmla="*/ 25089 w 57150"/>
                <a:gd name="connsiteY0" fmla="*/ 185633 h 190500"/>
                <a:gd name="connsiteX1" fmla="*/ 25089 w 57150"/>
                <a:gd name="connsiteY1" fmla="*/ 75466 h 190500"/>
                <a:gd name="connsiteX2" fmla="*/ 7144 w 57150"/>
                <a:gd name="connsiteY2" fmla="*/ 75466 h 190500"/>
                <a:gd name="connsiteX3" fmla="*/ 7144 w 57150"/>
                <a:gd name="connsiteY3" fmla="*/ 56121 h 190500"/>
                <a:gd name="connsiteX4" fmla="*/ 48282 w 57150"/>
                <a:gd name="connsiteY4" fmla="*/ 56121 h 190500"/>
                <a:gd name="connsiteX5" fmla="*/ 48282 w 57150"/>
                <a:gd name="connsiteY5" fmla="*/ 185633 h 190500"/>
                <a:gd name="connsiteX6" fmla="*/ 25089 w 57150"/>
                <a:gd name="connsiteY6" fmla="*/ 185633 h 190500"/>
                <a:gd name="connsiteX7" fmla="*/ 37785 w 57150"/>
                <a:gd name="connsiteY7" fmla="*/ 7144 h 190500"/>
                <a:gd name="connsiteX8" fmla="*/ 47977 w 57150"/>
                <a:gd name="connsiteY8" fmla="*/ 11316 h 190500"/>
                <a:gd name="connsiteX9" fmla="*/ 52197 w 57150"/>
                <a:gd name="connsiteY9" fmla="*/ 21288 h 190500"/>
                <a:gd name="connsiteX10" fmla="*/ 47977 w 57150"/>
                <a:gd name="connsiteY10" fmla="*/ 31394 h 190500"/>
                <a:gd name="connsiteX11" fmla="*/ 37785 w 57150"/>
                <a:gd name="connsiteY11" fmla="*/ 35566 h 190500"/>
                <a:gd name="connsiteX12" fmla="*/ 27708 w 57150"/>
                <a:gd name="connsiteY12" fmla="*/ 31394 h 190500"/>
                <a:gd name="connsiteX13" fmla="*/ 23498 w 57150"/>
                <a:gd name="connsiteY13" fmla="*/ 21288 h 190500"/>
                <a:gd name="connsiteX14" fmla="*/ 27651 w 57150"/>
                <a:gd name="connsiteY14" fmla="*/ 11249 h 190500"/>
                <a:gd name="connsiteX15" fmla="*/ 37785 w 57150"/>
                <a:gd name="connsiteY15"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 h="190500">
                  <a:moveTo>
                    <a:pt x="25089" y="185633"/>
                  </a:moveTo>
                  <a:lnTo>
                    <a:pt x="25089" y="75466"/>
                  </a:lnTo>
                  <a:lnTo>
                    <a:pt x="7144" y="75466"/>
                  </a:lnTo>
                  <a:lnTo>
                    <a:pt x="7144" y="56121"/>
                  </a:lnTo>
                  <a:lnTo>
                    <a:pt x="48282" y="56121"/>
                  </a:lnTo>
                  <a:lnTo>
                    <a:pt x="48282" y="185633"/>
                  </a:lnTo>
                  <a:lnTo>
                    <a:pt x="25089" y="185633"/>
                  </a:lnTo>
                  <a:close/>
                  <a:moveTo>
                    <a:pt x="37785" y="7144"/>
                  </a:moveTo>
                  <a:cubicBezTo>
                    <a:pt x="41777" y="7144"/>
                    <a:pt x="45177" y="8534"/>
                    <a:pt x="47977" y="11316"/>
                  </a:cubicBezTo>
                  <a:cubicBezTo>
                    <a:pt x="50797" y="14087"/>
                    <a:pt x="52197" y="17421"/>
                    <a:pt x="52197" y="21288"/>
                  </a:cubicBezTo>
                  <a:cubicBezTo>
                    <a:pt x="52197" y="25232"/>
                    <a:pt x="50797" y="28603"/>
                    <a:pt x="47977" y="31394"/>
                  </a:cubicBezTo>
                  <a:cubicBezTo>
                    <a:pt x="45177" y="34166"/>
                    <a:pt x="41777" y="35566"/>
                    <a:pt x="37785" y="35566"/>
                  </a:cubicBezTo>
                  <a:cubicBezTo>
                    <a:pt x="33880" y="35566"/>
                    <a:pt x="30527" y="34176"/>
                    <a:pt x="27708" y="31394"/>
                  </a:cubicBezTo>
                  <a:cubicBezTo>
                    <a:pt x="24908" y="28603"/>
                    <a:pt x="23498" y="25241"/>
                    <a:pt x="23498" y="21288"/>
                  </a:cubicBezTo>
                  <a:cubicBezTo>
                    <a:pt x="23498" y="17335"/>
                    <a:pt x="24879" y="13992"/>
                    <a:pt x="27651" y="11249"/>
                  </a:cubicBezTo>
                  <a:cubicBezTo>
                    <a:pt x="30423" y="8515"/>
                    <a:pt x="33794" y="7144"/>
                    <a:pt x="37785" y="7144"/>
                  </a:cubicBezTo>
                  <a:close/>
                </a:path>
              </a:pathLst>
            </a:custGeom>
            <a:solidFill>
              <a:srgbClr val="22A138">
                <a:alpha val="50000"/>
              </a:srgbClr>
            </a:solidFill>
            <a:ln w="9525" cap="flat">
              <a:noFill/>
              <a:prstDash val="solid"/>
              <a:miter/>
            </a:ln>
          </p:spPr>
          <p:txBody>
            <a:bodyPr rtlCol="0" anchor="ctr"/>
            <a:lstStyle/>
            <a:p>
              <a:endParaRPr lang="fr-FR"/>
            </a:p>
          </p:txBody>
        </p:sp>
        <p:sp>
          <p:nvSpPr>
            <p:cNvPr id="111" name="Forme libre : forme 110">
              <a:extLst>
                <a:ext uri="{FF2B5EF4-FFF2-40B4-BE49-F238E27FC236}">
                  <a16:creationId xmlns:a16="http://schemas.microsoft.com/office/drawing/2014/main" id="{E8C840D5-B804-4B87-B743-3F918F8E502C}"/>
                </a:ext>
              </a:extLst>
            </p:cNvPr>
            <p:cNvSpPr/>
            <p:nvPr/>
          </p:nvSpPr>
          <p:spPr>
            <a:xfrm>
              <a:off x="6337404" y="3598447"/>
              <a:ext cx="123825" cy="190500"/>
            </a:xfrm>
            <a:custGeom>
              <a:avLst/>
              <a:gdLst>
                <a:gd name="connsiteX0" fmla="*/ 97355 w 123825"/>
                <a:gd name="connsiteY0" fmla="*/ 189624 h 190500"/>
                <a:gd name="connsiteX1" fmla="*/ 97355 w 123825"/>
                <a:gd name="connsiteY1" fmla="*/ 180070 h 190500"/>
                <a:gd name="connsiteX2" fmla="*/ 62199 w 123825"/>
                <a:gd name="connsiteY2" fmla="*/ 192043 h 190500"/>
                <a:gd name="connsiteX3" fmla="*/ 22403 w 123825"/>
                <a:gd name="connsiteY3" fmla="*/ 174631 h 190500"/>
                <a:gd name="connsiteX4" fmla="*/ 7144 w 123825"/>
                <a:gd name="connsiteY4" fmla="*/ 128197 h 190500"/>
                <a:gd name="connsiteX5" fmla="*/ 24727 w 123825"/>
                <a:gd name="connsiteY5" fmla="*/ 78429 h 190500"/>
                <a:gd name="connsiteX6" fmla="*/ 66599 w 123825"/>
                <a:gd name="connsiteY6" fmla="*/ 57817 h 190500"/>
                <a:gd name="connsiteX7" fmla="*/ 97365 w 123825"/>
                <a:gd name="connsiteY7" fmla="*/ 67246 h 190500"/>
                <a:gd name="connsiteX8" fmla="*/ 97365 w 123825"/>
                <a:gd name="connsiteY8" fmla="*/ 7144 h 190500"/>
                <a:gd name="connsiteX9" fmla="*/ 120558 w 123825"/>
                <a:gd name="connsiteY9" fmla="*/ 7144 h 190500"/>
                <a:gd name="connsiteX10" fmla="*/ 120558 w 123825"/>
                <a:gd name="connsiteY10" fmla="*/ 189614 h 190500"/>
                <a:gd name="connsiteX11" fmla="*/ 97355 w 123825"/>
                <a:gd name="connsiteY11" fmla="*/ 189614 h 190500"/>
                <a:gd name="connsiteX12" fmla="*/ 97355 w 123825"/>
                <a:gd name="connsiteY12" fmla="*/ 90230 h 190500"/>
                <a:gd name="connsiteX13" fmla="*/ 73305 w 123825"/>
                <a:gd name="connsiteY13" fmla="*/ 77172 h 190500"/>
                <a:gd name="connsiteX14" fmla="*/ 43091 w 123825"/>
                <a:gd name="connsiteY14" fmla="*/ 90954 h 190500"/>
                <a:gd name="connsiteX15" fmla="*/ 31547 w 123825"/>
                <a:gd name="connsiteY15" fmla="*/ 126025 h 190500"/>
                <a:gd name="connsiteX16" fmla="*/ 74524 w 123825"/>
                <a:gd name="connsiteY16" fmla="*/ 172822 h 190500"/>
                <a:gd name="connsiteX17" fmla="*/ 87706 w 123825"/>
                <a:gd name="connsiteY17" fmla="*/ 169374 h 190500"/>
                <a:gd name="connsiteX18" fmla="*/ 97355 w 123825"/>
                <a:gd name="connsiteY18" fmla="*/ 162058 h 190500"/>
                <a:gd name="connsiteX19" fmla="*/ 9735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55" y="189624"/>
                  </a:moveTo>
                  <a:lnTo>
                    <a:pt x="97355" y="180070"/>
                  </a:lnTo>
                  <a:cubicBezTo>
                    <a:pt x="89297" y="188052"/>
                    <a:pt x="77581" y="192043"/>
                    <a:pt x="62199" y="192043"/>
                  </a:cubicBezTo>
                  <a:cubicBezTo>
                    <a:pt x="45844" y="192043"/>
                    <a:pt x="32566" y="186242"/>
                    <a:pt x="22403" y="174631"/>
                  </a:cubicBezTo>
                  <a:cubicBezTo>
                    <a:pt x="12240" y="163020"/>
                    <a:pt x="7144" y="147542"/>
                    <a:pt x="7144" y="128197"/>
                  </a:cubicBezTo>
                  <a:cubicBezTo>
                    <a:pt x="7144" y="108775"/>
                    <a:pt x="13002" y="92183"/>
                    <a:pt x="24727" y="78429"/>
                  </a:cubicBezTo>
                  <a:cubicBezTo>
                    <a:pt x="36443" y="64694"/>
                    <a:pt x="50397" y="57817"/>
                    <a:pt x="66599" y="57817"/>
                  </a:cubicBezTo>
                  <a:cubicBezTo>
                    <a:pt x="80115" y="57817"/>
                    <a:pt x="90364" y="60960"/>
                    <a:pt x="97365" y="67246"/>
                  </a:cubicBezTo>
                  <a:lnTo>
                    <a:pt x="97365" y="7144"/>
                  </a:lnTo>
                  <a:lnTo>
                    <a:pt x="120558" y="7144"/>
                  </a:lnTo>
                  <a:lnTo>
                    <a:pt x="120558" y="189614"/>
                  </a:lnTo>
                  <a:lnTo>
                    <a:pt x="97355" y="189614"/>
                  </a:lnTo>
                  <a:close/>
                  <a:moveTo>
                    <a:pt x="97355" y="90230"/>
                  </a:moveTo>
                  <a:cubicBezTo>
                    <a:pt x="91497" y="81525"/>
                    <a:pt x="83477" y="77172"/>
                    <a:pt x="73305" y="77172"/>
                  </a:cubicBezTo>
                  <a:cubicBezTo>
                    <a:pt x="60855" y="77172"/>
                    <a:pt x="50778" y="81763"/>
                    <a:pt x="43091" y="90954"/>
                  </a:cubicBezTo>
                  <a:cubicBezTo>
                    <a:pt x="35395" y="100146"/>
                    <a:pt x="31547" y="111824"/>
                    <a:pt x="31547" y="126025"/>
                  </a:cubicBezTo>
                  <a:cubicBezTo>
                    <a:pt x="31547" y="157220"/>
                    <a:pt x="45872" y="172822"/>
                    <a:pt x="74524" y="172822"/>
                  </a:cubicBezTo>
                  <a:cubicBezTo>
                    <a:pt x="78181" y="172822"/>
                    <a:pt x="82582" y="171679"/>
                    <a:pt x="87706" y="169374"/>
                  </a:cubicBezTo>
                  <a:cubicBezTo>
                    <a:pt x="92831" y="167088"/>
                    <a:pt x="96050" y="164649"/>
                    <a:pt x="97355" y="162058"/>
                  </a:cubicBezTo>
                  <a:lnTo>
                    <a:pt x="97355" y="90230"/>
                  </a:lnTo>
                  <a:close/>
                </a:path>
              </a:pathLst>
            </a:custGeom>
            <a:solidFill>
              <a:srgbClr val="22A138">
                <a:alpha val="50000"/>
              </a:srgbClr>
            </a:solidFill>
            <a:ln w="9525" cap="flat">
              <a:noFill/>
              <a:prstDash val="solid"/>
              <a:miter/>
            </a:ln>
          </p:spPr>
          <p:txBody>
            <a:bodyPr rtlCol="0" anchor="ctr"/>
            <a:lstStyle/>
            <a:p>
              <a:endParaRPr lang="fr-FR"/>
            </a:p>
          </p:txBody>
        </p:sp>
        <p:sp>
          <p:nvSpPr>
            <p:cNvPr id="112" name="Forme libre : forme 111">
              <a:extLst>
                <a:ext uri="{FF2B5EF4-FFF2-40B4-BE49-F238E27FC236}">
                  <a16:creationId xmlns:a16="http://schemas.microsoft.com/office/drawing/2014/main" id="{1296E9EE-1918-4E0A-9F01-F0A93C949143}"/>
                </a:ext>
              </a:extLst>
            </p:cNvPr>
            <p:cNvSpPr/>
            <p:nvPr/>
          </p:nvSpPr>
          <p:spPr>
            <a:xfrm>
              <a:off x="2428087" y="3174813"/>
              <a:ext cx="161925" cy="238125"/>
            </a:xfrm>
            <a:custGeom>
              <a:avLst/>
              <a:gdLst>
                <a:gd name="connsiteX0" fmla="*/ 7144 w 161925"/>
                <a:gd name="connsiteY0" fmla="*/ 217989 h 238125"/>
                <a:gd name="connsiteX1" fmla="*/ 21717 w 161925"/>
                <a:gd name="connsiteY1" fmla="*/ 181032 h 238125"/>
                <a:gd name="connsiteX2" fmla="*/ 77400 w 161925"/>
                <a:gd name="connsiteY2" fmla="*/ 202378 h 238125"/>
                <a:gd name="connsiteX3" fmla="*/ 115691 w 161925"/>
                <a:gd name="connsiteY3" fmla="*/ 172002 h 238125"/>
                <a:gd name="connsiteX4" fmla="*/ 78715 w 161925"/>
                <a:gd name="connsiteY4" fmla="*/ 134636 h 238125"/>
                <a:gd name="connsiteX5" fmla="*/ 40319 w 161925"/>
                <a:gd name="connsiteY5" fmla="*/ 115957 h 238125"/>
                <a:gd name="connsiteX6" fmla="*/ 23136 w 161925"/>
                <a:gd name="connsiteY6" fmla="*/ 101479 h 238125"/>
                <a:gd name="connsiteX7" fmla="*/ 12259 w 161925"/>
                <a:gd name="connsiteY7" fmla="*/ 84230 h 238125"/>
                <a:gd name="connsiteX8" fmla="*/ 8677 w 161925"/>
                <a:gd name="connsiteY8" fmla="*/ 64627 h 238125"/>
                <a:gd name="connsiteX9" fmla="*/ 29556 w 161925"/>
                <a:gd name="connsiteY9" fmla="*/ 22346 h 238125"/>
                <a:gd name="connsiteX10" fmla="*/ 84153 w 161925"/>
                <a:gd name="connsiteY10" fmla="*/ 7144 h 238125"/>
                <a:gd name="connsiteX11" fmla="*/ 148323 w 161925"/>
                <a:gd name="connsiteY11" fmla="*/ 22346 h 238125"/>
                <a:gd name="connsiteX12" fmla="*/ 136579 w 161925"/>
                <a:gd name="connsiteY12" fmla="*/ 58474 h 238125"/>
                <a:gd name="connsiteX13" fmla="*/ 87201 w 161925"/>
                <a:gd name="connsiteY13" fmla="*/ 40005 h 238125"/>
                <a:gd name="connsiteX14" fmla="*/ 62293 w 161925"/>
                <a:gd name="connsiteY14" fmla="*/ 46568 h 238125"/>
                <a:gd name="connsiteX15" fmla="*/ 52178 w 161925"/>
                <a:gd name="connsiteY15" fmla="*/ 63189 h 238125"/>
                <a:gd name="connsiteX16" fmla="*/ 77629 w 161925"/>
                <a:gd name="connsiteY16" fmla="*/ 95212 h 238125"/>
                <a:gd name="connsiteX17" fmla="*/ 107213 w 161925"/>
                <a:gd name="connsiteY17" fmla="*/ 107937 h 238125"/>
                <a:gd name="connsiteX18" fmla="*/ 146799 w 161925"/>
                <a:gd name="connsiteY18" fmla="*/ 134626 h 238125"/>
                <a:gd name="connsiteX19" fmla="*/ 159201 w 161925"/>
                <a:gd name="connsiteY19" fmla="*/ 172193 h 238125"/>
                <a:gd name="connsiteX20" fmla="*/ 137227 w 161925"/>
                <a:gd name="connsiteY20" fmla="*/ 218484 h 238125"/>
                <a:gd name="connsiteX21" fmla="*/ 76314 w 161925"/>
                <a:gd name="connsiteY21" fmla="*/ 235210 h 238125"/>
                <a:gd name="connsiteX22" fmla="*/ 7144 w 161925"/>
                <a:gd name="connsiteY22" fmla="*/ 21798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1925" h="238125">
                  <a:moveTo>
                    <a:pt x="7144" y="217989"/>
                  </a:moveTo>
                  <a:lnTo>
                    <a:pt x="21717" y="181032"/>
                  </a:lnTo>
                  <a:cubicBezTo>
                    <a:pt x="44777" y="195263"/>
                    <a:pt x="63341" y="202378"/>
                    <a:pt x="77400" y="202378"/>
                  </a:cubicBezTo>
                  <a:cubicBezTo>
                    <a:pt x="102927" y="202378"/>
                    <a:pt x="115691" y="192253"/>
                    <a:pt x="115691" y="172002"/>
                  </a:cubicBezTo>
                  <a:cubicBezTo>
                    <a:pt x="115691" y="157505"/>
                    <a:pt x="103365" y="145047"/>
                    <a:pt x="78715" y="134636"/>
                  </a:cubicBezTo>
                  <a:cubicBezTo>
                    <a:pt x="59712" y="126435"/>
                    <a:pt x="46920" y="120196"/>
                    <a:pt x="40319" y="115957"/>
                  </a:cubicBezTo>
                  <a:cubicBezTo>
                    <a:pt x="33718" y="111719"/>
                    <a:pt x="27994" y="106899"/>
                    <a:pt x="23136" y="101479"/>
                  </a:cubicBezTo>
                  <a:cubicBezTo>
                    <a:pt x="18278" y="96079"/>
                    <a:pt x="14649" y="90326"/>
                    <a:pt x="12259" y="84230"/>
                  </a:cubicBezTo>
                  <a:cubicBezTo>
                    <a:pt x="9868" y="78143"/>
                    <a:pt x="8677" y="71609"/>
                    <a:pt x="8677" y="64627"/>
                  </a:cubicBezTo>
                  <a:cubicBezTo>
                    <a:pt x="8677" y="46568"/>
                    <a:pt x="15631" y="32471"/>
                    <a:pt x="29556" y="22346"/>
                  </a:cubicBezTo>
                  <a:cubicBezTo>
                    <a:pt x="43472" y="12221"/>
                    <a:pt x="61674" y="7144"/>
                    <a:pt x="84153" y="7144"/>
                  </a:cubicBezTo>
                  <a:cubicBezTo>
                    <a:pt x="101117" y="7144"/>
                    <a:pt x="122511" y="12211"/>
                    <a:pt x="148323" y="22346"/>
                  </a:cubicBezTo>
                  <a:lnTo>
                    <a:pt x="136579" y="58474"/>
                  </a:lnTo>
                  <a:cubicBezTo>
                    <a:pt x="120186" y="46158"/>
                    <a:pt x="103737" y="40005"/>
                    <a:pt x="87201" y="40005"/>
                  </a:cubicBezTo>
                  <a:cubicBezTo>
                    <a:pt x="77333" y="40005"/>
                    <a:pt x="69037" y="42186"/>
                    <a:pt x="62293" y="46568"/>
                  </a:cubicBezTo>
                  <a:cubicBezTo>
                    <a:pt x="55550" y="50949"/>
                    <a:pt x="52178" y="56493"/>
                    <a:pt x="52178" y="63189"/>
                  </a:cubicBezTo>
                  <a:cubicBezTo>
                    <a:pt x="52178" y="77286"/>
                    <a:pt x="60665" y="87963"/>
                    <a:pt x="77629" y="95212"/>
                  </a:cubicBezTo>
                  <a:lnTo>
                    <a:pt x="107213" y="107937"/>
                  </a:lnTo>
                  <a:cubicBezTo>
                    <a:pt x="125339" y="115738"/>
                    <a:pt x="138541" y="124644"/>
                    <a:pt x="146799" y="134626"/>
                  </a:cubicBezTo>
                  <a:cubicBezTo>
                    <a:pt x="155067" y="144628"/>
                    <a:pt x="159201" y="157143"/>
                    <a:pt x="159201" y="172193"/>
                  </a:cubicBezTo>
                  <a:cubicBezTo>
                    <a:pt x="159201" y="191900"/>
                    <a:pt x="151876" y="207331"/>
                    <a:pt x="137227" y="218484"/>
                  </a:cubicBezTo>
                  <a:cubicBezTo>
                    <a:pt x="122577" y="229638"/>
                    <a:pt x="102279" y="235210"/>
                    <a:pt x="76314" y="235210"/>
                  </a:cubicBezTo>
                  <a:cubicBezTo>
                    <a:pt x="51816" y="235229"/>
                    <a:pt x="28756" y="229476"/>
                    <a:pt x="7144" y="217989"/>
                  </a:cubicBezTo>
                  <a:close/>
                </a:path>
              </a:pathLst>
            </a:custGeom>
            <a:solidFill>
              <a:srgbClr val="009740"/>
            </a:solidFill>
            <a:ln w="9525" cap="flat">
              <a:noFill/>
              <a:prstDash val="solid"/>
              <a:miter/>
            </a:ln>
          </p:spPr>
          <p:txBody>
            <a:bodyPr rtlCol="0" anchor="ctr"/>
            <a:lstStyle/>
            <a:p>
              <a:endParaRPr lang="fr-FR"/>
            </a:p>
          </p:txBody>
        </p:sp>
        <p:sp>
          <p:nvSpPr>
            <p:cNvPr id="113" name="Forme libre : forme 112">
              <a:extLst>
                <a:ext uri="{FF2B5EF4-FFF2-40B4-BE49-F238E27FC236}">
                  <a16:creationId xmlns:a16="http://schemas.microsoft.com/office/drawing/2014/main" id="{940358D1-302A-4428-A544-EBDDC5A07249}"/>
                </a:ext>
              </a:extLst>
            </p:cNvPr>
            <p:cNvSpPr/>
            <p:nvPr/>
          </p:nvSpPr>
          <p:spPr>
            <a:xfrm>
              <a:off x="2614139"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2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2"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fr-FR"/>
            </a:p>
          </p:txBody>
        </p:sp>
        <p:sp>
          <p:nvSpPr>
            <p:cNvPr id="114" name="Forme libre : forme 113">
              <a:extLst>
                <a:ext uri="{FF2B5EF4-FFF2-40B4-BE49-F238E27FC236}">
                  <a16:creationId xmlns:a16="http://schemas.microsoft.com/office/drawing/2014/main" id="{7557BEC3-C7CA-4FAE-B724-BD0460256CBB}"/>
                </a:ext>
              </a:extLst>
            </p:cNvPr>
            <p:cNvSpPr/>
            <p:nvPr/>
          </p:nvSpPr>
          <p:spPr>
            <a:xfrm>
              <a:off x="2808878" y="3174823"/>
              <a:ext cx="152400" cy="238125"/>
            </a:xfrm>
            <a:custGeom>
              <a:avLst/>
              <a:gdLst>
                <a:gd name="connsiteX0" fmla="*/ 130483 w 152400"/>
                <a:gd name="connsiteY0" fmla="*/ 48816 h 238125"/>
                <a:gd name="connsiteX1" fmla="*/ 103299 w 152400"/>
                <a:gd name="connsiteY1" fmla="*/ 39995 h 238125"/>
                <a:gd name="connsiteX2" fmla="*/ 64903 w 152400"/>
                <a:gd name="connsiteY2" fmla="*/ 59083 h 238125"/>
                <a:gd name="connsiteX3" fmla="*/ 48473 w 152400"/>
                <a:gd name="connsiteY3" fmla="*/ 105061 h 238125"/>
                <a:gd name="connsiteX4" fmla="*/ 48473 w 152400"/>
                <a:gd name="connsiteY4" fmla="*/ 231105 h 238125"/>
                <a:gd name="connsiteX5" fmla="*/ 7144 w 152400"/>
                <a:gd name="connsiteY5" fmla="*/ 231105 h 238125"/>
                <a:gd name="connsiteX6" fmla="*/ 7144 w 152400"/>
                <a:gd name="connsiteY6" fmla="*/ 11249 h 238125"/>
                <a:gd name="connsiteX7" fmla="*/ 48473 w 152400"/>
                <a:gd name="connsiteY7" fmla="*/ 11249 h 238125"/>
                <a:gd name="connsiteX8" fmla="*/ 48473 w 152400"/>
                <a:gd name="connsiteY8" fmla="*/ 46358 h 238125"/>
                <a:gd name="connsiteX9" fmla="*/ 115691 w 152400"/>
                <a:gd name="connsiteY9" fmla="*/ 7144 h 238125"/>
                <a:gd name="connsiteX10" fmla="*/ 147666 w 152400"/>
                <a:gd name="connsiteY10" fmla="*/ 10849 h 238125"/>
                <a:gd name="connsiteX11" fmla="*/ 130483 w 152400"/>
                <a:gd name="connsiteY11" fmla="*/ 48816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400" h="238125">
                  <a:moveTo>
                    <a:pt x="130483" y="48816"/>
                  </a:moveTo>
                  <a:cubicBezTo>
                    <a:pt x="121491" y="42939"/>
                    <a:pt x="112424" y="39995"/>
                    <a:pt x="103299" y="39995"/>
                  </a:cubicBezTo>
                  <a:cubicBezTo>
                    <a:pt x="88649" y="39995"/>
                    <a:pt x="75848" y="46358"/>
                    <a:pt x="64903" y="59083"/>
                  </a:cubicBezTo>
                  <a:cubicBezTo>
                    <a:pt x="53950" y="71809"/>
                    <a:pt x="48473" y="87135"/>
                    <a:pt x="48473" y="105061"/>
                  </a:cubicBezTo>
                  <a:lnTo>
                    <a:pt x="48473" y="231105"/>
                  </a:lnTo>
                  <a:lnTo>
                    <a:pt x="7144" y="231105"/>
                  </a:lnTo>
                  <a:lnTo>
                    <a:pt x="7144" y="11249"/>
                  </a:lnTo>
                  <a:lnTo>
                    <a:pt x="48473" y="11249"/>
                  </a:lnTo>
                  <a:lnTo>
                    <a:pt x="48473" y="46358"/>
                  </a:lnTo>
                  <a:cubicBezTo>
                    <a:pt x="63551" y="20221"/>
                    <a:pt x="85963" y="7144"/>
                    <a:pt x="115691" y="7144"/>
                  </a:cubicBezTo>
                  <a:cubicBezTo>
                    <a:pt x="123082" y="7144"/>
                    <a:pt x="133750" y="8382"/>
                    <a:pt x="147666" y="10849"/>
                  </a:cubicBezTo>
                  <a:lnTo>
                    <a:pt x="130483" y="48816"/>
                  </a:lnTo>
                  <a:close/>
                </a:path>
              </a:pathLst>
            </a:custGeom>
            <a:solidFill>
              <a:srgbClr val="009740"/>
            </a:solidFill>
            <a:ln w="9525" cap="flat">
              <a:noFill/>
              <a:prstDash val="solid"/>
              <a:miter/>
            </a:ln>
          </p:spPr>
          <p:txBody>
            <a:bodyPr rtlCol="0" anchor="ctr"/>
            <a:lstStyle/>
            <a:p>
              <a:endParaRPr lang="fr-FR"/>
            </a:p>
          </p:txBody>
        </p:sp>
        <p:sp>
          <p:nvSpPr>
            <p:cNvPr id="115" name="Forme libre : forme 114">
              <a:extLst>
                <a:ext uri="{FF2B5EF4-FFF2-40B4-BE49-F238E27FC236}">
                  <a16:creationId xmlns:a16="http://schemas.microsoft.com/office/drawing/2014/main" id="{9CE7BF76-40A3-4F9B-9C17-107416A3DEF0}"/>
                </a:ext>
              </a:extLst>
            </p:cNvPr>
            <p:cNvSpPr/>
            <p:nvPr/>
          </p:nvSpPr>
          <p:spPr>
            <a:xfrm>
              <a:off x="2969488" y="3174813"/>
              <a:ext cx="209550" cy="238125"/>
            </a:xfrm>
            <a:custGeom>
              <a:avLst/>
              <a:gdLst>
                <a:gd name="connsiteX0" fmla="*/ 150705 w 209550"/>
                <a:gd name="connsiteY0" fmla="*/ 205873 h 238125"/>
                <a:gd name="connsiteX1" fmla="*/ 74790 w 209550"/>
                <a:gd name="connsiteY1" fmla="*/ 235229 h 238125"/>
                <a:gd name="connsiteX2" fmla="*/ 27261 w 209550"/>
                <a:gd name="connsiteY2" fmla="*/ 216446 h 238125"/>
                <a:gd name="connsiteX3" fmla="*/ 7144 w 209550"/>
                <a:gd name="connsiteY3" fmla="*/ 169745 h 238125"/>
                <a:gd name="connsiteX4" fmla="*/ 38138 w 209550"/>
                <a:gd name="connsiteY4" fmla="*/ 113186 h 238125"/>
                <a:gd name="connsiteX5" fmla="*/ 117205 w 209550"/>
                <a:gd name="connsiteY5" fmla="*/ 90088 h 238125"/>
                <a:gd name="connsiteX6" fmla="*/ 146790 w 209550"/>
                <a:gd name="connsiteY6" fmla="*/ 95431 h 238125"/>
                <a:gd name="connsiteX7" fmla="*/ 96326 w 209550"/>
                <a:gd name="connsiteY7" fmla="*/ 42053 h 238125"/>
                <a:gd name="connsiteX8" fmla="*/ 36728 w 209550"/>
                <a:gd name="connsiteY8" fmla="*/ 61760 h 238125"/>
                <a:gd name="connsiteX9" fmla="*/ 19326 w 209550"/>
                <a:gd name="connsiteY9" fmla="*/ 29118 h 238125"/>
                <a:gd name="connsiteX10" fmla="*/ 51845 w 209550"/>
                <a:gd name="connsiteY10" fmla="*/ 13621 h 238125"/>
                <a:gd name="connsiteX11" fmla="*/ 91545 w 209550"/>
                <a:gd name="connsiteY11" fmla="*/ 7144 h 238125"/>
                <a:gd name="connsiteX12" fmla="*/ 165173 w 209550"/>
                <a:gd name="connsiteY12" fmla="*/ 28908 h 238125"/>
                <a:gd name="connsiteX13" fmla="*/ 188128 w 209550"/>
                <a:gd name="connsiteY13" fmla="*/ 98088 h 238125"/>
                <a:gd name="connsiteX14" fmla="*/ 188128 w 209550"/>
                <a:gd name="connsiteY14" fmla="*/ 176917 h 238125"/>
                <a:gd name="connsiteX15" fmla="*/ 206397 w 209550"/>
                <a:gd name="connsiteY15" fmla="*/ 215513 h 238125"/>
                <a:gd name="connsiteX16" fmla="*/ 206397 w 209550"/>
                <a:gd name="connsiteY16" fmla="*/ 235010 h 238125"/>
                <a:gd name="connsiteX17" fmla="*/ 168659 w 209550"/>
                <a:gd name="connsiteY17" fmla="*/ 228238 h 238125"/>
                <a:gd name="connsiteX18" fmla="*/ 150705 w 209550"/>
                <a:gd name="connsiteY18" fmla="*/ 205873 h 238125"/>
                <a:gd name="connsiteX19" fmla="*/ 146790 w 209550"/>
                <a:gd name="connsiteY19" fmla="*/ 123149 h 238125"/>
                <a:gd name="connsiteX20" fmla="*/ 119386 w 209550"/>
                <a:gd name="connsiteY20" fmla="*/ 119034 h 238125"/>
                <a:gd name="connsiteX21" fmla="*/ 68266 w 209550"/>
                <a:gd name="connsiteY21" fmla="*/ 134226 h 238125"/>
                <a:gd name="connsiteX22" fmla="*/ 48473 w 209550"/>
                <a:gd name="connsiteY22" fmla="*/ 170145 h 238125"/>
                <a:gd name="connsiteX23" fmla="*/ 91326 w 209550"/>
                <a:gd name="connsiteY23" fmla="*/ 204435 h 238125"/>
                <a:gd name="connsiteX24" fmla="*/ 146799 w 209550"/>
                <a:gd name="connsiteY24" fmla="*/ 176317 h 238125"/>
                <a:gd name="connsiteX25" fmla="*/ 146799 w 209550"/>
                <a:gd name="connsiteY25" fmla="*/ 12314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550" h="238125">
                  <a:moveTo>
                    <a:pt x="150705" y="205873"/>
                  </a:moveTo>
                  <a:cubicBezTo>
                    <a:pt x="134169" y="225457"/>
                    <a:pt x="108861" y="235229"/>
                    <a:pt x="74790" y="235229"/>
                  </a:cubicBezTo>
                  <a:cubicBezTo>
                    <a:pt x="56521" y="235229"/>
                    <a:pt x="40672" y="228971"/>
                    <a:pt x="27261" y="216446"/>
                  </a:cubicBezTo>
                  <a:cubicBezTo>
                    <a:pt x="13849" y="203921"/>
                    <a:pt x="7144" y="188357"/>
                    <a:pt x="7144" y="169745"/>
                  </a:cubicBezTo>
                  <a:cubicBezTo>
                    <a:pt x="7144" y="147438"/>
                    <a:pt x="17469" y="128588"/>
                    <a:pt x="38138" y="113186"/>
                  </a:cubicBezTo>
                  <a:cubicBezTo>
                    <a:pt x="58798" y="97793"/>
                    <a:pt x="85163" y="90088"/>
                    <a:pt x="117205" y="90088"/>
                  </a:cubicBezTo>
                  <a:cubicBezTo>
                    <a:pt x="125911" y="90088"/>
                    <a:pt x="135769" y="91878"/>
                    <a:pt x="146790" y="95431"/>
                  </a:cubicBezTo>
                  <a:cubicBezTo>
                    <a:pt x="146790" y="59855"/>
                    <a:pt x="129959" y="42053"/>
                    <a:pt x="96326" y="42053"/>
                  </a:cubicBezTo>
                  <a:cubicBezTo>
                    <a:pt x="70514" y="42053"/>
                    <a:pt x="50644" y="48616"/>
                    <a:pt x="36728" y="61760"/>
                  </a:cubicBezTo>
                  <a:lnTo>
                    <a:pt x="19326" y="29118"/>
                  </a:lnTo>
                  <a:cubicBezTo>
                    <a:pt x="27156" y="23098"/>
                    <a:pt x="37995" y="17926"/>
                    <a:pt x="51845" y="13621"/>
                  </a:cubicBezTo>
                  <a:cubicBezTo>
                    <a:pt x="65694" y="9306"/>
                    <a:pt x="78924" y="7144"/>
                    <a:pt x="91545" y="7144"/>
                  </a:cubicBezTo>
                  <a:cubicBezTo>
                    <a:pt x="125330" y="7144"/>
                    <a:pt x="149876" y="14402"/>
                    <a:pt x="165173" y="28908"/>
                  </a:cubicBezTo>
                  <a:cubicBezTo>
                    <a:pt x="180470" y="43405"/>
                    <a:pt x="188128" y="66465"/>
                    <a:pt x="188128" y="98088"/>
                  </a:cubicBezTo>
                  <a:lnTo>
                    <a:pt x="188128" y="176917"/>
                  </a:lnTo>
                  <a:cubicBezTo>
                    <a:pt x="188128" y="196205"/>
                    <a:pt x="194215" y="209074"/>
                    <a:pt x="206397" y="215513"/>
                  </a:cubicBezTo>
                  <a:lnTo>
                    <a:pt x="206397" y="235010"/>
                  </a:lnTo>
                  <a:cubicBezTo>
                    <a:pt x="189576" y="235010"/>
                    <a:pt x="176994" y="232762"/>
                    <a:pt x="168659" y="228238"/>
                  </a:cubicBezTo>
                  <a:cubicBezTo>
                    <a:pt x="160315" y="223742"/>
                    <a:pt x="154334" y="216275"/>
                    <a:pt x="150705" y="205873"/>
                  </a:cubicBezTo>
                  <a:close/>
                  <a:moveTo>
                    <a:pt x="146790" y="123149"/>
                  </a:moveTo>
                  <a:cubicBezTo>
                    <a:pt x="133741" y="120406"/>
                    <a:pt x="124596" y="119034"/>
                    <a:pt x="119386" y="119034"/>
                  </a:cubicBezTo>
                  <a:cubicBezTo>
                    <a:pt x="98508" y="119034"/>
                    <a:pt x="81458" y="124101"/>
                    <a:pt x="68266" y="134226"/>
                  </a:cubicBezTo>
                  <a:cubicBezTo>
                    <a:pt x="55074" y="144351"/>
                    <a:pt x="48473" y="156334"/>
                    <a:pt x="48473" y="170145"/>
                  </a:cubicBezTo>
                  <a:cubicBezTo>
                    <a:pt x="48473" y="193005"/>
                    <a:pt x="62760" y="204435"/>
                    <a:pt x="91326" y="204435"/>
                  </a:cubicBezTo>
                  <a:cubicBezTo>
                    <a:pt x="112204" y="204435"/>
                    <a:pt x="130702" y="195063"/>
                    <a:pt x="146799" y="176317"/>
                  </a:cubicBezTo>
                  <a:lnTo>
                    <a:pt x="146799" y="123149"/>
                  </a:lnTo>
                  <a:close/>
                </a:path>
              </a:pathLst>
            </a:custGeom>
            <a:solidFill>
              <a:srgbClr val="009740"/>
            </a:solidFill>
            <a:ln w="9525" cap="flat">
              <a:noFill/>
              <a:prstDash val="solid"/>
              <a:miter/>
            </a:ln>
          </p:spPr>
          <p:txBody>
            <a:bodyPr rtlCol="0" anchor="ctr"/>
            <a:lstStyle/>
            <a:p>
              <a:endParaRPr lang="fr-FR"/>
            </a:p>
          </p:txBody>
        </p:sp>
        <p:sp>
          <p:nvSpPr>
            <p:cNvPr id="116" name="Forme libre : forme 115">
              <a:extLst>
                <a:ext uri="{FF2B5EF4-FFF2-40B4-BE49-F238E27FC236}">
                  <a16:creationId xmlns:a16="http://schemas.microsoft.com/office/drawing/2014/main" id="{B246315D-379A-46AC-8B2A-DD098BD0DBF7}"/>
                </a:ext>
              </a:extLst>
            </p:cNvPr>
            <p:cNvSpPr/>
            <p:nvPr/>
          </p:nvSpPr>
          <p:spPr>
            <a:xfrm>
              <a:off x="3206003"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3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3"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fr-FR"/>
            </a:p>
          </p:txBody>
        </p:sp>
        <p:sp>
          <p:nvSpPr>
            <p:cNvPr id="117" name="Forme libre : forme 116">
              <a:extLst>
                <a:ext uri="{FF2B5EF4-FFF2-40B4-BE49-F238E27FC236}">
                  <a16:creationId xmlns:a16="http://schemas.microsoft.com/office/drawing/2014/main" id="{2E966495-FF18-442B-9EE3-2AE1D61A8FEF}"/>
                </a:ext>
              </a:extLst>
            </p:cNvPr>
            <p:cNvSpPr/>
            <p:nvPr/>
          </p:nvSpPr>
          <p:spPr>
            <a:xfrm>
              <a:off x="3382273" y="3174823"/>
              <a:ext cx="228600" cy="238125"/>
            </a:xfrm>
            <a:custGeom>
              <a:avLst/>
              <a:gdLst>
                <a:gd name="connsiteX0" fmla="*/ 218570 w 228600"/>
                <a:gd name="connsiteY0" fmla="*/ 124977 h 238125"/>
                <a:gd name="connsiteX1" fmla="*/ 50635 w 228600"/>
                <a:gd name="connsiteY1" fmla="*/ 124977 h 238125"/>
                <a:gd name="connsiteX2" fmla="*/ 73047 w 228600"/>
                <a:gd name="connsiteY2" fmla="*/ 184309 h 238125"/>
                <a:gd name="connsiteX3" fmla="*/ 123949 w 228600"/>
                <a:gd name="connsiteY3" fmla="*/ 202368 h 238125"/>
                <a:gd name="connsiteX4" fmla="*/ 183118 w 228600"/>
                <a:gd name="connsiteY4" fmla="*/ 182870 h 238125"/>
                <a:gd name="connsiteX5" fmla="*/ 200520 w 228600"/>
                <a:gd name="connsiteY5" fmla="*/ 210988 h 238125"/>
                <a:gd name="connsiteX6" fmla="*/ 171155 w 228600"/>
                <a:gd name="connsiteY6" fmla="*/ 226590 h 238125"/>
                <a:gd name="connsiteX7" fmla="*/ 115900 w 228600"/>
                <a:gd name="connsiteY7" fmla="*/ 235210 h 238125"/>
                <a:gd name="connsiteX8" fmla="*/ 41291 w 228600"/>
                <a:gd name="connsiteY8" fmla="*/ 207092 h 238125"/>
                <a:gd name="connsiteX9" fmla="*/ 7144 w 228600"/>
                <a:gd name="connsiteY9" fmla="*/ 123749 h 238125"/>
                <a:gd name="connsiteX10" fmla="*/ 42167 w 228600"/>
                <a:gd name="connsiteY10" fmla="*/ 36500 h 238125"/>
                <a:gd name="connsiteX11" fmla="*/ 116348 w 228600"/>
                <a:gd name="connsiteY11" fmla="*/ 7144 h 238125"/>
                <a:gd name="connsiteX12" fmla="*/ 194443 w 228600"/>
                <a:gd name="connsiteY12" fmla="*/ 33623 h 238125"/>
                <a:gd name="connsiteX13" fmla="*/ 221856 w 228600"/>
                <a:gd name="connsiteY13" fmla="*/ 101165 h 238125"/>
                <a:gd name="connsiteX14" fmla="*/ 218570 w 228600"/>
                <a:gd name="connsiteY14" fmla="*/ 124977 h 238125"/>
                <a:gd name="connsiteX15" fmla="*/ 118281 w 228600"/>
                <a:gd name="connsiteY15" fmla="*/ 39995 h 238125"/>
                <a:gd name="connsiteX16" fmla="*/ 71952 w 228600"/>
                <a:gd name="connsiteY16" fmla="*/ 56826 h 238125"/>
                <a:gd name="connsiteX17" fmla="*/ 51721 w 228600"/>
                <a:gd name="connsiteY17" fmla="*/ 96660 h 238125"/>
                <a:gd name="connsiteX18" fmla="*/ 180718 w 228600"/>
                <a:gd name="connsiteY18" fmla="*/ 96660 h 238125"/>
                <a:gd name="connsiteX19" fmla="*/ 165049 w 228600"/>
                <a:gd name="connsiteY19" fmla="*/ 57236 h 238125"/>
                <a:gd name="connsiteX20" fmla="*/ 118281 w 228600"/>
                <a:gd name="connsiteY20" fmla="*/ 3999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8600" h="238125">
                  <a:moveTo>
                    <a:pt x="218570" y="124977"/>
                  </a:moveTo>
                  <a:lnTo>
                    <a:pt x="50635" y="124977"/>
                  </a:lnTo>
                  <a:cubicBezTo>
                    <a:pt x="50635" y="150704"/>
                    <a:pt x="58102" y="170478"/>
                    <a:pt x="73047" y="184309"/>
                  </a:cubicBezTo>
                  <a:cubicBezTo>
                    <a:pt x="86239" y="196358"/>
                    <a:pt x="103213" y="202368"/>
                    <a:pt x="123949" y="202368"/>
                  </a:cubicBezTo>
                  <a:cubicBezTo>
                    <a:pt x="147580" y="202368"/>
                    <a:pt x="167307" y="195872"/>
                    <a:pt x="183118" y="182870"/>
                  </a:cubicBezTo>
                  <a:lnTo>
                    <a:pt x="200520" y="210988"/>
                  </a:lnTo>
                  <a:cubicBezTo>
                    <a:pt x="194139" y="217018"/>
                    <a:pt x="184347" y="222218"/>
                    <a:pt x="171155" y="226590"/>
                  </a:cubicBezTo>
                  <a:cubicBezTo>
                    <a:pt x="154619" y="232343"/>
                    <a:pt x="136208" y="235210"/>
                    <a:pt x="115900" y="235210"/>
                  </a:cubicBezTo>
                  <a:cubicBezTo>
                    <a:pt x="86601" y="235210"/>
                    <a:pt x="61732" y="225847"/>
                    <a:pt x="41291" y="207092"/>
                  </a:cubicBezTo>
                  <a:cubicBezTo>
                    <a:pt x="18526" y="186423"/>
                    <a:pt x="7144" y="158648"/>
                    <a:pt x="7144" y="123749"/>
                  </a:cubicBezTo>
                  <a:cubicBezTo>
                    <a:pt x="7144" y="87478"/>
                    <a:pt x="18821" y="58398"/>
                    <a:pt x="42167" y="36500"/>
                  </a:cubicBezTo>
                  <a:cubicBezTo>
                    <a:pt x="63046" y="16935"/>
                    <a:pt x="87773" y="7144"/>
                    <a:pt x="116348" y="7144"/>
                  </a:cubicBezTo>
                  <a:cubicBezTo>
                    <a:pt x="149552" y="7144"/>
                    <a:pt x="175593" y="15973"/>
                    <a:pt x="194443" y="33623"/>
                  </a:cubicBezTo>
                  <a:cubicBezTo>
                    <a:pt x="212712" y="50597"/>
                    <a:pt x="221856" y="73114"/>
                    <a:pt x="221856" y="101165"/>
                  </a:cubicBezTo>
                  <a:cubicBezTo>
                    <a:pt x="221828" y="109795"/>
                    <a:pt x="220742" y="117738"/>
                    <a:pt x="218570" y="124977"/>
                  </a:cubicBezTo>
                  <a:close/>
                  <a:moveTo>
                    <a:pt x="118281" y="39995"/>
                  </a:moveTo>
                  <a:cubicBezTo>
                    <a:pt x="99860" y="39995"/>
                    <a:pt x="84420" y="45606"/>
                    <a:pt x="71952" y="56826"/>
                  </a:cubicBezTo>
                  <a:cubicBezTo>
                    <a:pt x="60055" y="67504"/>
                    <a:pt x="53311" y="80781"/>
                    <a:pt x="51721" y="96660"/>
                  </a:cubicBezTo>
                  <a:lnTo>
                    <a:pt x="180718" y="96660"/>
                  </a:lnTo>
                  <a:cubicBezTo>
                    <a:pt x="180718" y="80924"/>
                    <a:pt x="175498" y="67780"/>
                    <a:pt x="165049" y="57236"/>
                  </a:cubicBezTo>
                  <a:cubicBezTo>
                    <a:pt x="153600" y="45739"/>
                    <a:pt x="138008" y="39995"/>
                    <a:pt x="118281" y="39995"/>
                  </a:cubicBezTo>
                  <a:close/>
                </a:path>
              </a:pathLst>
            </a:custGeom>
            <a:solidFill>
              <a:srgbClr val="009740"/>
            </a:solidFill>
            <a:ln w="9525" cap="flat">
              <a:noFill/>
              <a:prstDash val="solid"/>
              <a:miter/>
            </a:ln>
          </p:spPr>
          <p:txBody>
            <a:bodyPr rtlCol="0" anchor="ctr"/>
            <a:lstStyle/>
            <a:p>
              <a:endParaRPr lang="fr-FR"/>
            </a:p>
          </p:txBody>
        </p:sp>
        <p:sp>
          <p:nvSpPr>
            <p:cNvPr id="118" name="Forme libre : forme 117">
              <a:extLst>
                <a:ext uri="{FF2B5EF4-FFF2-40B4-BE49-F238E27FC236}">
                  <a16:creationId xmlns:a16="http://schemas.microsoft.com/office/drawing/2014/main" id="{33C96522-BE3A-4B97-924A-C50B023B8379}"/>
                </a:ext>
              </a:extLst>
            </p:cNvPr>
            <p:cNvSpPr/>
            <p:nvPr/>
          </p:nvSpPr>
          <p:spPr>
            <a:xfrm>
              <a:off x="3631171" y="3164774"/>
              <a:ext cx="200025" cy="333375"/>
            </a:xfrm>
            <a:custGeom>
              <a:avLst/>
              <a:gdLst>
                <a:gd name="connsiteX0" fmla="*/ 10620 w 200025"/>
                <a:gd name="connsiteY0" fmla="*/ 301304 h 333375"/>
                <a:gd name="connsiteX1" fmla="*/ 33033 w 200025"/>
                <a:gd name="connsiteY1" fmla="*/ 270110 h 333375"/>
                <a:gd name="connsiteX2" fmla="*/ 99593 w 200025"/>
                <a:gd name="connsiteY2" fmla="*/ 292894 h 333375"/>
                <a:gd name="connsiteX3" fmla="*/ 143856 w 200025"/>
                <a:gd name="connsiteY3" fmla="*/ 283759 h 333375"/>
                <a:gd name="connsiteX4" fmla="*/ 160058 w 200025"/>
                <a:gd name="connsiteY4" fmla="*/ 261080 h 333375"/>
                <a:gd name="connsiteX5" fmla="*/ 119167 w 200025"/>
                <a:gd name="connsiteY5" fmla="*/ 234391 h 333375"/>
                <a:gd name="connsiteX6" fmla="*/ 93936 w 200025"/>
                <a:gd name="connsiteY6" fmla="*/ 237677 h 333375"/>
                <a:gd name="connsiteX7" fmla="*/ 65437 w 200025"/>
                <a:gd name="connsiteY7" fmla="*/ 240963 h 333375"/>
                <a:gd name="connsiteX8" fmla="*/ 15840 w 200025"/>
                <a:gd name="connsiteY8" fmla="*/ 205654 h 333375"/>
                <a:gd name="connsiteX9" fmla="*/ 27480 w 200025"/>
                <a:gd name="connsiteY9" fmla="*/ 185947 h 333375"/>
                <a:gd name="connsiteX10" fmla="*/ 56302 w 200025"/>
                <a:gd name="connsiteY10" fmla="*/ 173222 h 333375"/>
                <a:gd name="connsiteX11" fmla="*/ 7144 w 200025"/>
                <a:gd name="connsiteY11" fmla="*/ 97679 h 333375"/>
                <a:gd name="connsiteX12" fmla="*/ 32595 w 200025"/>
                <a:gd name="connsiteY12" fmla="*/ 40196 h 333375"/>
                <a:gd name="connsiteX13" fmla="*/ 95460 w 200025"/>
                <a:gd name="connsiteY13" fmla="*/ 17202 h 333375"/>
                <a:gd name="connsiteX14" fmla="*/ 149190 w 200025"/>
                <a:gd name="connsiteY14" fmla="*/ 30547 h 333375"/>
                <a:gd name="connsiteX15" fmla="*/ 169859 w 200025"/>
                <a:gd name="connsiteY15" fmla="*/ 7144 h 333375"/>
                <a:gd name="connsiteX16" fmla="*/ 196834 w 200025"/>
                <a:gd name="connsiteY16" fmla="*/ 31156 h 333375"/>
                <a:gd name="connsiteX17" fmla="*/ 172031 w 200025"/>
                <a:gd name="connsiteY17" fmla="*/ 48816 h 333375"/>
                <a:gd name="connsiteX18" fmla="*/ 187909 w 200025"/>
                <a:gd name="connsiteY18" fmla="*/ 99727 h 333375"/>
                <a:gd name="connsiteX19" fmla="*/ 165935 w 200025"/>
                <a:gd name="connsiteY19" fmla="*/ 155562 h 333375"/>
                <a:gd name="connsiteX20" fmla="*/ 108290 w 200025"/>
                <a:gd name="connsiteY20" fmla="*/ 181432 h 333375"/>
                <a:gd name="connsiteX21" fmla="*/ 74143 w 200025"/>
                <a:gd name="connsiteY21" fmla="*/ 184718 h 333375"/>
                <a:gd name="connsiteX22" fmla="*/ 57826 w 200025"/>
                <a:gd name="connsiteY22" fmla="*/ 189128 h 333375"/>
                <a:gd name="connsiteX23" fmla="*/ 47606 w 200025"/>
                <a:gd name="connsiteY23" fmla="*/ 199092 h 333375"/>
                <a:gd name="connsiteX24" fmla="*/ 68923 w 200025"/>
                <a:gd name="connsiteY24" fmla="*/ 207512 h 333375"/>
                <a:gd name="connsiteX25" fmla="*/ 98069 w 200025"/>
                <a:gd name="connsiteY25" fmla="*/ 204330 h 333375"/>
                <a:gd name="connsiteX26" fmla="*/ 127435 w 200025"/>
                <a:gd name="connsiteY26" fmla="*/ 201139 h 333375"/>
                <a:gd name="connsiteX27" fmla="*/ 181051 w 200025"/>
                <a:gd name="connsiteY27" fmla="*/ 216646 h 333375"/>
                <a:gd name="connsiteX28" fmla="*/ 200301 w 200025"/>
                <a:gd name="connsiteY28" fmla="*/ 259651 h 333375"/>
                <a:gd name="connsiteX29" fmla="*/ 171479 w 200025"/>
                <a:gd name="connsiteY29" fmla="*/ 308715 h 333375"/>
                <a:gd name="connsiteX30" fmla="*/ 98498 w 200025"/>
                <a:gd name="connsiteY30" fmla="*/ 327393 h 333375"/>
                <a:gd name="connsiteX31" fmla="*/ 50863 w 200025"/>
                <a:gd name="connsiteY31" fmla="*/ 319802 h 333375"/>
                <a:gd name="connsiteX32" fmla="*/ 10620 w 200025"/>
                <a:gd name="connsiteY32" fmla="*/ 301304 h 333375"/>
                <a:gd name="connsiteX33" fmla="*/ 98288 w 200025"/>
                <a:gd name="connsiteY33" fmla="*/ 48606 h 333375"/>
                <a:gd name="connsiteX34" fmla="*/ 63160 w 200025"/>
                <a:gd name="connsiteY34" fmla="*/ 62979 h 333375"/>
                <a:gd name="connsiteX35" fmla="*/ 49568 w 200025"/>
                <a:gd name="connsiteY35" fmla="*/ 97879 h 333375"/>
                <a:gd name="connsiteX36" fmla="*/ 62732 w 200025"/>
                <a:gd name="connsiteY36" fmla="*/ 135950 h 333375"/>
                <a:gd name="connsiteX37" fmla="*/ 98298 w 200025"/>
                <a:gd name="connsiteY37" fmla="*/ 151047 h 333375"/>
                <a:gd name="connsiteX38" fmla="*/ 132664 w 200025"/>
                <a:gd name="connsiteY38" fmla="*/ 136369 h 333375"/>
                <a:gd name="connsiteX39" fmla="*/ 145066 w 200025"/>
                <a:gd name="connsiteY39" fmla="*/ 97879 h 333375"/>
                <a:gd name="connsiteX40" fmla="*/ 131683 w 200025"/>
                <a:gd name="connsiteY40" fmla="*/ 62979 h 333375"/>
                <a:gd name="connsiteX41" fmla="*/ 98288 w 200025"/>
                <a:gd name="connsiteY41" fmla="*/ 4860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0025" h="333375">
                  <a:moveTo>
                    <a:pt x="10620" y="301304"/>
                  </a:moveTo>
                  <a:lnTo>
                    <a:pt x="33033" y="270110"/>
                  </a:lnTo>
                  <a:cubicBezTo>
                    <a:pt x="57102" y="285302"/>
                    <a:pt x="79286" y="292894"/>
                    <a:pt x="99593" y="292894"/>
                  </a:cubicBezTo>
                  <a:cubicBezTo>
                    <a:pt x="118300" y="292894"/>
                    <a:pt x="133055" y="289855"/>
                    <a:pt x="143856" y="283759"/>
                  </a:cubicBezTo>
                  <a:cubicBezTo>
                    <a:pt x="154657" y="277673"/>
                    <a:pt x="160058" y="270110"/>
                    <a:pt x="160058" y="261080"/>
                  </a:cubicBezTo>
                  <a:cubicBezTo>
                    <a:pt x="160058" y="243288"/>
                    <a:pt x="146428" y="234391"/>
                    <a:pt x="119167" y="234391"/>
                  </a:cubicBezTo>
                  <a:cubicBezTo>
                    <a:pt x="114529" y="234391"/>
                    <a:pt x="106118" y="235487"/>
                    <a:pt x="93936" y="237677"/>
                  </a:cubicBezTo>
                  <a:cubicBezTo>
                    <a:pt x="81753" y="239859"/>
                    <a:pt x="72257" y="240963"/>
                    <a:pt x="65437" y="240963"/>
                  </a:cubicBezTo>
                  <a:cubicBezTo>
                    <a:pt x="32375" y="240963"/>
                    <a:pt x="15840" y="229200"/>
                    <a:pt x="15840" y="205654"/>
                  </a:cubicBezTo>
                  <a:cubicBezTo>
                    <a:pt x="15840" y="198396"/>
                    <a:pt x="19717" y="191834"/>
                    <a:pt x="27480" y="185947"/>
                  </a:cubicBezTo>
                  <a:cubicBezTo>
                    <a:pt x="35233" y="180070"/>
                    <a:pt x="44844" y="175822"/>
                    <a:pt x="56302" y="173222"/>
                  </a:cubicBezTo>
                  <a:cubicBezTo>
                    <a:pt x="23527" y="158725"/>
                    <a:pt x="7144" y="133531"/>
                    <a:pt x="7144" y="97679"/>
                  </a:cubicBezTo>
                  <a:cubicBezTo>
                    <a:pt x="7144" y="74686"/>
                    <a:pt x="15631" y="55521"/>
                    <a:pt x="32595" y="40196"/>
                  </a:cubicBezTo>
                  <a:cubicBezTo>
                    <a:pt x="49559" y="24879"/>
                    <a:pt x="70514" y="17202"/>
                    <a:pt x="95460" y="17202"/>
                  </a:cubicBezTo>
                  <a:cubicBezTo>
                    <a:pt x="118367" y="17202"/>
                    <a:pt x="136284" y="21660"/>
                    <a:pt x="149190" y="30547"/>
                  </a:cubicBezTo>
                  <a:lnTo>
                    <a:pt x="169859" y="7144"/>
                  </a:lnTo>
                  <a:lnTo>
                    <a:pt x="196834" y="31156"/>
                  </a:lnTo>
                  <a:lnTo>
                    <a:pt x="172031" y="48816"/>
                  </a:lnTo>
                  <a:cubicBezTo>
                    <a:pt x="182613" y="61817"/>
                    <a:pt x="187909" y="78781"/>
                    <a:pt x="187909" y="99727"/>
                  </a:cubicBezTo>
                  <a:cubicBezTo>
                    <a:pt x="187909" y="121901"/>
                    <a:pt x="180584" y="140513"/>
                    <a:pt x="165935" y="155562"/>
                  </a:cubicBezTo>
                  <a:cubicBezTo>
                    <a:pt x="151286" y="170621"/>
                    <a:pt x="132074" y="179242"/>
                    <a:pt x="108290" y="181432"/>
                  </a:cubicBezTo>
                  <a:lnTo>
                    <a:pt x="74143" y="184718"/>
                  </a:lnTo>
                  <a:cubicBezTo>
                    <a:pt x="70085" y="185128"/>
                    <a:pt x="64646" y="186595"/>
                    <a:pt x="57826" y="189128"/>
                  </a:cubicBezTo>
                  <a:cubicBezTo>
                    <a:pt x="51006" y="191672"/>
                    <a:pt x="47606" y="194977"/>
                    <a:pt x="47606" y="199092"/>
                  </a:cubicBezTo>
                  <a:cubicBezTo>
                    <a:pt x="47606" y="204702"/>
                    <a:pt x="54712" y="207512"/>
                    <a:pt x="68923" y="207512"/>
                  </a:cubicBezTo>
                  <a:cubicBezTo>
                    <a:pt x="75152" y="207512"/>
                    <a:pt x="84868" y="206454"/>
                    <a:pt x="98069" y="204330"/>
                  </a:cubicBezTo>
                  <a:cubicBezTo>
                    <a:pt x="111262" y="202206"/>
                    <a:pt x="121053" y="201139"/>
                    <a:pt x="127435" y="201139"/>
                  </a:cubicBezTo>
                  <a:cubicBezTo>
                    <a:pt x="150352" y="201139"/>
                    <a:pt x="168221" y="206312"/>
                    <a:pt x="181051" y="216646"/>
                  </a:cubicBezTo>
                  <a:cubicBezTo>
                    <a:pt x="193891" y="226981"/>
                    <a:pt x="200301" y="241306"/>
                    <a:pt x="200301" y="259651"/>
                  </a:cubicBezTo>
                  <a:cubicBezTo>
                    <a:pt x="200301" y="279911"/>
                    <a:pt x="190691" y="296266"/>
                    <a:pt x="171479" y="308715"/>
                  </a:cubicBezTo>
                  <a:cubicBezTo>
                    <a:pt x="152257" y="321164"/>
                    <a:pt x="127930" y="327393"/>
                    <a:pt x="98498" y="327393"/>
                  </a:cubicBezTo>
                  <a:cubicBezTo>
                    <a:pt x="83410" y="327393"/>
                    <a:pt x="67532" y="324860"/>
                    <a:pt x="50863" y="319802"/>
                  </a:cubicBezTo>
                  <a:cubicBezTo>
                    <a:pt x="34195" y="314725"/>
                    <a:pt x="20774" y="308562"/>
                    <a:pt x="10620" y="301304"/>
                  </a:cubicBezTo>
                  <a:close/>
                  <a:moveTo>
                    <a:pt x="98288" y="48606"/>
                  </a:moveTo>
                  <a:cubicBezTo>
                    <a:pt x="83934" y="48606"/>
                    <a:pt x="72219" y="53397"/>
                    <a:pt x="63160" y="62979"/>
                  </a:cubicBezTo>
                  <a:cubicBezTo>
                    <a:pt x="54102" y="72561"/>
                    <a:pt x="49568" y="84201"/>
                    <a:pt x="49568" y="97879"/>
                  </a:cubicBezTo>
                  <a:cubicBezTo>
                    <a:pt x="49568" y="113205"/>
                    <a:pt x="53950" y="125892"/>
                    <a:pt x="62732" y="135950"/>
                  </a:cubicBezTo>
                  <a:cubicBezTo>
                    <a:pt x="71504" y="146018"/>
                    <a:pt x="83363" y="151047"/>
                    <a:pt x="98298" y="151047"/>
                  </a:cubicBezTo>
                  <a:cubicBezTo>
                    <a:pt x="112947" y="151047"/>
                    <a:pt x="124406" y="146152"/>
                    <a:pt x="132664" y="136369"/>
                  </a:cubicBezTo>
                  <a:cubicBezTo>
                    <a:pt x="140922" y="126587"/>
                    <a:pt x="145066" y="113757"/>
                    <a:pt x="145066" y="97879"/>
                  </a:cubicBezTo>
                  <a:cubicBezTo>
                    <a:pt x="145066" y="84192"/>
                    <a:pt x="140608" y="72561"/>
                    <a:pt x="131683" y="62979"/>
                  </a:cubicBezTo>
                  <a:cubicBezTo>
                    <a:pt x="122758" y="53397"/>
                    <a:pt x="111624" y="48606"/>
                    <a:pt x="98288" y="48606"/>
                  </a:cubicBezTo>
                  <a:close/>
                </a:path>
              </a:pathLst>
            </a:custGeom>
            <a:solidFill>
              <a:srgbClr val="009740"/>
            </a:solidFill>
            <a:ln w="9525" cap="flat">
              <a:noFill/>
              <a:prstDash val="solid"/>
              <a:miter/>
            </a:ln>
          </p:spPr>
          <p:txBody>
            <a:bodyPr rtlCol="0" anchor="ctr"/>
            <a:lstStyle/>
            <a:p>
              <a:endParaRPr lang="fr-FR"/>
            </a:p>
          </p:txBody>
        </p:sp>
        <p:sp>
          <p:nvSpPr>
            <p:cNvPr id="119" name="Forme libre : forme 118">
              <a:extLst>
                <a:ext uri="{FF2B5EF4-FFF2-40B4-BE49-F238E27FC236}">
                  <a16:creationId xmlns:a16="http://schemas.microsoft.com/office/drawing/2014/main" id="{62E9089B-F80B-4A40-B426-1B41438860A9}"/>
                </a:ext>
              </a:extLst>
            </p:cNvPr>
            <p:cNvSpPr/>
            <p:nvPr/>
          </p:nvSpPr>
          <p:spPr>
            <a:xfrm>
              <a:off x="3842673" y="3178937"/>
              <a:ext cx="228600" cy="314325"/>
            </a:xfrm>
            <a:custGeom>
              <a:avLst/>
              <a:gdLst>
                <a:gd name="connsiteX0" fmla="*/ 122872 w 228600"/>
                <a:gd name="connsiteY0" fmla="*/ 264366 h 314325"/>
                <a:gd name="connsiteX1" fmla="*/ 89049 w 228600"/>
                <a:gd name="connsiteY1" fmla="*/ 299256 h 314325"/>
                <a:gd name="connsiteX2" fmla="*/ 31509 w 228600"/>
                <a:gd name="connsiteY2" fmla="*/ 313220 h 314325"/>
                <a:gd name="connsiteX3" fmla="*/ 31509 w 228600"/>
                <a:gd name="connsiteY3" fmla="*/ 278321 h 314325"/>
                <a:gd name="connsiteX4" fmla="*/ 75886 w 228600"/>
                <a:gd name="connsiteY4" fmla="*/ 266929 h 314325"/>
                <a:gd name="connsiteX5" fmla="*/ 94374 w 228600"/>
                <a:gd name="connsiteY5" fmla="*/ 239116 h 314325"/>
                <a:gd name="connsiteX6" fmla="*/ 87630 w 228600"/>
                <a:gd name="connsiteY6" fmla="*/ 203502 h 314325"/>
                <a:gd name="connsiteX7" fmla="*/ 70228 w 228600"/>
                <a:gd name="connsiteY7" fmla="*/ 160077 h 314325"/>
                <a:gd name="connsiteX8" fmla="*/ 7144 w 228600"/>
                <a:gd name="connsiteY8" fmla="*/ 7144 h 314325"/>
                <a:gd name="connsiteX9" fmla="*/ 49349 w 228600"/>
                <a:gd name="connsiteY9" fmla="*/ 7144 h 314325"/>
                <a:gd name="connsiteX10" fmla="*/ 117872 w 228600"/>
                <a:gd name="connsiteY10" fmla="*/ 177117 h 314325"/>
                <a:gd name="connsiteX11" fmla="*/ 179432 w 228600"/>
                <a:gd name="connsiteY11" fmla="*/ 7144 h 314325"/>
                <a:gd name="connsiteX12" fmla="*/ 221637 w 228600"/>
                <a:gd name="connsiteY12" fmla="*/ 7144 h 314325"/>
                <a:gd name="connsiteX13" fmla="*/ 122872 w 228600"/>
                <a:gd name="connsiteY13" fmla="*/ 26436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8600" h="314325">
                  <a:moveTo>
                    <a:pt x="122872" y="264366"/>
                  </a:moveTo>
                  <a:cubicBezTo>
                    <a:pt x="117510" y="278321"/>
                    <a:pt x="106232" y="289960"/>
                    <a:pt x="89049" y="299256"/>
                  </a:cubicBezTo>
                  <a:cubicBezTo>
                    <a:pt x="71866" y="308572"/>
                    <a:pt x="52683" y="313220"/>
                    <a:pt x="31509" y="313220"/>
                  </a:cubicBezTo>
                  <a:lnTo>
                    <a:pt x="31509" y="278321"/>
                  </a:lnTo>
                  <a:cubicBezTo>
                    <a:pt x="48768" y="278321"/>
                    <a:pt x="63551" y="274530"/>
                    <a:pt x="75886" y="266929"/>
                  </a:cubicBezTo>
                  <a:cubicBezTo>
                    <a:pt x="88211" y="259337"/>
                    <a:pt x="94374" y="250060"/>
                    <a:pt x="94374" y="239116"/>
                  </a:cubicBezTo>
                  <a:cubicBezTo>
                    <a:pt x="94374" y="227067"/>
                    <a:pt x="92126" y="215198"/>
                    <a:pt x="87630" y="203502"/>
                  </a:cubicBezTo>
                  <a:cubicBezTo>
                    <a:pt x="83134" y="191795"/>
                    <a:pt x="77324" y="177327"/>
                    <a:pt x="70228" y="160077"/>
                  </a:cubicBezTo>
                  <a:lnTo>
                    <a:pt x="7144" y="7144"/>
                  </a:lnTo>
                  <a:lnTo>
                    <a:pt x="49349" y="7144"/>
                  </a:lnTo>
                  <a:lnTo>
                    <a:pt x="117872" y="177117"/>
                  </a:lnTo>
                  <a:lnTo>
                    <a:pt x="179432" y="7144"/>
                  </a:lnTo>
                  <a:lnTo>
                    <a:pt x="221637" y="7144"/>
                  </a:lnTo>
                  <a:lnTo>
                    <a:pt x="122872" y="264366"/>
                  </a:lnTo>
                  <a:close/>
                </a:path>
              </a:pathLst>
            </a:custGeom>
            <a:solidFill>
              <a:srgbClr val="009740"/>
            </a:solidFill>
            <a:ln w="9525" cap="flat">
              <a:noFill/>
              <a:prstDash val="solid"/>
              <a:miter/>
            </a:ln>
          </p:spPr>
          <p:txBody>
            <a:bodyPr rtlCol="0" anchor="ctr"/>
            <a:lstStyle/>
            <a:p>
              <a:endParaRPr lang="fr-FR"/>
            </a:p>
          </p:txBody>
        </p:sp>
        <p:sp>
          <p:nvSpPr>
            <p:cNvPr id="120" name="Forme libre : forme 119">
              <a:extLst>
                <a:ext uri="{FF2B5EF4-FFF2-40B4-BE49-F238E27FC236}">
                  <a16:creationId xmlns:a16="http://schemas.microsoft.com/office/drawing/2014/main" id="{6A6AC0AF-8041-415B-BB1D-11EB5EEB51D1}"/>
                </a:ext>
              </a:extLst>
            </p:cNvPr>
            <p:cNvSpPr/>
            <p:nvPr/>
          </p:nvSpPr>
          <p:spPr>
            <a:xfrm>
              <a:off x="4216730" y="3175851"/>
              <a:ext cx="209550" cy="238125"/>
            </a:xfrm>
            <a:custGeom>
              <a:avLst/>
              <a:gdLst>
                <a:gd name="connsiteX0" fmla="*/ 169859 w 209550"/>
                <a:gd name="connsiteY0" fmla="*/ 150228 h 238125"/>
                <a:gd name="connsiteX1" fmla="*/ 208359 w 209550"/>
                <a:gd name="connsiteY1" fmla="*/ 154953 h 238125"/>
                <a:gd name="connsiteX2" fmla="*/ 176051 w 209550"/>
                <a:gd name="connsiteY2" fmla="*/ 213760 h 238125"/>
                <a:gd name="connsiteX3" fmla="*/ 112204 w 209550"/>
                <a:gd name="connsiteY3" fmla="*/ 235010 h 238125"/>
                <a:gd name="connsiteX4" fmla="*/ 35966 w 209550"/>
                <a:gd name="connsiteY4" fmla="*/ 205759 h 238125"/>
                <a:gd name="connsiteX5" fmla="*/ 7144 w 209550"/>
                <a:gd name="connsiteY5" fmla="*/ 121892 h 238125"/>
                <a:gd name="connsiteX6" fmla="*/ 19545 w 209550"/>
                <a:gd name="connsiteY6" fmla="*/ 60112 h 238125"/>
                <a:gd name="connsiteX7" fmla="*/ 57283 w 209550"/>
                <a:gd name="connsiteY7" fmla="*/ 20383 h 238125"/>
                <a:gd name="connsiteX8" fmla="*/ 112424 w 209550"/>
                <a:gd name="connsiteY8" fmla="*/ 7144 h 238125"/>
                <a:gd name="connsiteX9" fmla="*/ 173984 w 209550"/>
                <a:gd name="connsiteY9" fmla="*/ 25108 h 238125"/>
                <a:gd name="connsiteX10" fmla="*/ 204654 w 209550"/>
                <a:gd name="connsiteY10" fmla="*/ 76114 h 238125"/>
                <a:gd name="connsiteX11" fmla="*/ 166583 w 209550"/>
                <a:gd name="connsiteY11" fmla="*/ 81658 h 238125"/>
                <a:gd name="connsiteX12" fmla="*/ 147333 w 209550"/>
                <a:gd name="connsiteY12" fmla="*/ 48606 h 238125"/>
                <a:gd name="connsiteX13" fmla="*/ 113938 w 209550"/>
                <a:gd name="connsiteY13" fmla="*/ 37519 h 238125"/>
                <a:gd name="connsiteX14" fmla="*/ 65865 w 209550"/>
                <a:gd name="connsiteY14" fmla="*/ 57541 h 238125"/>
                <a:gd name="connsiteX15" fmla="*/ 47377 w 209550"/>
                <a:gd name="connsiteY15" fmla="*/ 120863 h 238125"/>
                <a:gd name="connsiteX16" fmla="*/ 65218 w 209550"/>
                <a:gd name="connsiteY16" fmla="*/ 184709 h 238125"/>
                <a:gd name="connsiteX17" fmla="*/ 111766 w 209550"/>
                <a:gd name="connsiteY17" fmla="*/ 204616 h 238125"/>
                <a:gd name="connsiteX18" fmla="*/ 150266 w 209550"/>
                <a:gd name="connsiteY18" fmla="*/ 191281 h 238125"/>
                <a:gd name="connsiteX19" fmla="*/ 169859 w 209550"/>
                <a:gd name="connsiteY19" fmla="*/ 15022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238125">
                  <a:moveTo>
                    <a:pt x="169859" y="150228"/>
                  </a:moveTo>
                  <a:lnTo>
                    <a:pt x="208359" y="154953"/>
                  </a:lnTo>
                  <a:cubicBezTo>
                    <a:pt x="204149" y="179994"/>
                    <a:pt x="193386" y="199606"/>
                    <a:pt x="176051" y="213760"/>
                  </a:cubicBezTo>
                  <a:cubicBezTo>
                    <a:pt x="158715" y="227924"/>
                    <a:pt x="137436" y="235010"/>
                    <a:pt x="112204" y="235010"/>
                  </a:cubicBezTo>
                  <a:cubicBezTo>
                    <a:pt x="80591" y="235010"/>
                    <a:pt x="55178" y="225257"/>
                    <a:pt x="35966" y="205759"/>
                  </a:cubicBezTo>
                  <a:cubicBezTo>
                    <a:pt x="16745" y="186252"/>
                    <a:pt x="7144" y="158306"/>
                    <a:pt x="7144" y="121892"/>
                  </a:cubicBezTo>
                  <a:cubicBezTo>
                    <a:pt x="7144" y="98355"/>
                    <a:pt x="11278" y="77762"/>
                    <a:pt x="19545" y="60112"/>
                  </a:cubicBezTo>
                  <a:cubicBezTo>
                    <a:pt x="27813" y="42453"/>
                    <a:pt x="40386" y="29213"/>
                    <a:pt x="57283" y="20383"/>
                  </a:cubicBezTo>
                  <a:cubicBezTo>
                    <a:pt x="74171" y="11554"/>
                    <a:pt x="92555" y="7144"/>
                    <a:pt x="112424" y="7144"/>
                  </a:cubicBezTo>
                  <a:cubicBezTo>
                    <a:pt x="137513" y="7144"/>
                    <a:pt x="158029" y="13135"/>
                    <a:pt x="173984" y="25108"/>
                  </a:cubicBezTo>
                  <a:cubicBezTo>
                    <a:pt x="189938" y="37081"/>
                    <a:pt x="200168" y="54083"/>
                    <a:pt x="204654" y="76114"/>
                  </a:cubicBezTo>
                  <a:lnTo>
                    <a:pt x="166583" y="81658"/>
                  </a:lnTo>
                  <a:cubicBezTo>
                    <a:pt x="162954" y="67018"/>
                    <a:pt x="156543" y="55998"/>
                    <a:pt x="147333" y="48606"/>
                  </a:cubicBezTo>
                  <a:cubicBezTo>
                    <a:pt x="138122" y="41215"/>
                    <a:pt x="126997" y="37519"/>
                    <a:pt x="113938" y="37519"/>
                  </a:cubicBezTo>
                  <a:cubicBezTo>
                    <a:pt x="94221" y="37519"/>
                    <a:pt x="78191" y="44187"/>
                    <a:pt x="65865" y="57541"/>
                  </a:cubicBezTo>
                  <a:cubicBezTo>
                    <a:pt x="53540" y="70876"/>
                    <a:pt x="47377" y="91992"/>
                    <a:pt x="47377" y="120863"/>
                  </a:cubicBezTo>
                  <a:cubicBezTo>
                    <a:pt x="47377" y="150152"/>
                    <a:pt x="53330" y="171441"/>
                    <a:pt x="65218" y="184709"/>
                  </a:cubicBezTo>
                  <a:cubicBezTo>
                    <a:pt x="77105" y="197987"/>
                    <a:pt x="92621" y="204616"/>
                    <a:pt x="111766" y="204616"/>
                  </a:cubicBezTo>
                  <a:cubicBezTo>
                    <a:pt x="127130" y="204616"/>
                    <a:pt x="139970" y="200168"/>
                    <a:pt x="150266" y="191281"/>
                  </a:cubicBezTo>
                  <a:cubicBezTo>
                    <a:pt x="160563" y="182394"/>
                    <a:pt x="167097" y="168707"/>
                    <a:pt x="169859" y="150228"/>
                  </a:cubicBezTo>
                  <a:close/>
                </a:path>
              </a:pathLst>
            </a:custGeom>
            <a:solidFill>
              <a:srgbClr val="009740"/>
            </a:solidFill>
            <a:ln w="9525" cap="flat">
              <a:noFill/>
              <a:prstDash val="solid"/>
              <a:miter/>
            </a:ln>
          </p:spPr>
          <p:txBody>
            <a:bodyPr rtlCol="0" anchor="ctr"/>
            <a:lstStyle/>
            <a:p>
              <a:endParaRPr lang="fr-FR"/>
            </a:p>
          </p:txBody>
        </p:sp>
        <p:sp>
          <p:nvSpPr>
            <p:cNvPr id="121" name="Forme libre : forme 120">
              <a:extLst>
                <a:ext uri="{FF2B5EF4-FFF2-40B4-BE49-F238E27FC236}">
                  <a16:creationId xmlns:a16="http://schemas.microsoft.com/office/drawing/2014/main" id="{54DDF795-567F-4120-9238-03949882BBC3}"/>
                </a:ext>
              </a:extLst>
            </p:cNvPr>
            <p:cNvSpPr/>
            <p:nvPr/>
          </p:nvSpPr>
          <p:spPr>
            <a:xfrm>
              <a:off x="4439539" y="3175861"/>
              <a:ext cx="228600" cy="238125"/>
            </a:xfrm>
            <a:custGeom>
              <a:avLst/>
              <a:gdLst>
                <a:gd name="connsiteX0" fmla="*/ 7144 w 228600"/>
                <a:gd name="connsiteY0" fmla="*/ 121072 h 238125"/>
                <a:gd name="connsiteX1" fmla="*/ 42815 w 228600"/>
                <a:gd name="connsiteY1" fmla="*/ 31366 h 238125"/>
                <a:gd name="connsiteX2" fmla="*/ 115472 w 228600"/>
                <a:gd name="connsiteY2" fmla="*/ 7144 h 238125"/>
                <a:gd name="connsiteX3" fmla="*/ 193348 w 228600"/>
                <a:gd name="connsiteY3" fmla="*/ 36605 h 238125"/>
                <a:gd name="connsiteX4" fmla="*/ 223590 w 228600"/>
                <a:gd name="connsiteY4" fmla="*/ 117996 h 238125"/>
                <a:gd name="connsiteX5" fmla="*/ 210217 w 228600"/>
                <a:gd name="connsiteY5" fmla="*/ 184204 h 238125"/>
                <a:gd name="connsiteX6" fmla="*/ 171279 w 228600"/>
                <a:gd name="connsiteY6" fmla="*/ 221666 h 238125"/>
                <a:gd name="connsiteX7" fmla="*/ 115481 w 228600"/>
                <a:gd name="connsiteY7" fmla="*/ 235010 h 238125"/>
                <a:gd name="connsiteX8" fmla="*/ 37071 w 228600"/>
                <a:gd name="connsiteY8" fmla="*/ 205654 h 238125"/>
                <a:gd name="connsiteX9" fmla="*/ 7144 w 228600"/>
                <a:gd name="connsiteY9" fmla="*/ 121072 h 238125"/>
                <a:gd name="connsiteX10" fmla="*/ 47387 w 228600"/>
                <a:gd name="connsiteY10" fmla="*/ 121072 h 238125"/>
                <a:gd name="connsiteX11" fmla="*/ 66742 w 228600"/>
                <a:gd name="connsiteY11" fmla="*/ 183785 h 238125"/>
                <a:gd name="connsiteX12" fmla="*/ 115462 w 228600"/>
                <a:gd name="connsiteY12" fmla="*/ 204626 h 238125"/>
                <a:gd name="connsiteX13" fmla="*/ 163973 w 228600"/>
                <a:gd name="connsiteY13" fmla="*/ 183690 h 238125"/>
                <a:gd name="connsiteX14" fmla="*/ 183337 w 228600"/>
                <a:gd name="connsiteY14" fmla="*/ 119853 h 238125"/>
                <a:gd name="connsiteX15" fmla="*/ 163868 w 228600"/>
                <a:gd name="connsiteY15" fmla="*/ 58569 h 238125"/>
                <a:gd name="connsiteX16" fmla="*/ 115462 w 228600"/>
                <a:gd name="connsiteY16" fmla="*/ 37729 h 238125"/>
                <a:gd name="connsiteX17" fmla="*/ 66742 w 228600"/>
                <a:gd name="connsiteY17" fmla="*/ 58464 h 238125"/>
                <a:gd name="connsiteX18" fmla="*/ 47387 w 228600"/>
                <a:gd name="connsiteY18" fmla="*/ 12107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8600" h="238125">
                  <a:moveTo>
                    <a:pt x="7144" y="121072"/>
                  </a:moveTo>
                  <a:cubicBezTo>
                    <a:pt x="7144" y="80705"/>
                    <a:pt x="19031" y="50797"/>
                    <a:pt x="42815" y="31366"/>
                  </a:cubicBezTo>
                  <a:cubicBezTo>
                    <a:pt x="62684" y="15221"/>
                    <a:pt x="86906" y="7144"/>
                    <a:pt x="115472" y="7144"/>
                  </a:cubicBezTo>
                  <a:cubicBezTo>
                    <a:pt x="147238" y="7144"/>
                    <a:pt x="173193" y="16964"/>
                    <a:pt x="193348" y="36605"/>
                  </a:cubicBezTo>
                  <a:cubicBezTo>
                    <a:pt x="213503" y="56245"/>
                    <a:pt x="223590" y="83372"/>
                    <a:pt x="223590" y="117996"/>
                  </a:cubicBezTo>
                  <a:cubicBezTo>
                    <a:pt x="223590" y="146047"/>
                    <a:pt x="219132" y="168126"/>
                    <a:pt x="210217" y="184204"/>
                  </a:cubicBezTo>
                  <a:cubicBezTo>
                    <a:pt x="201301" y="200282"/>
                    <a:pt x="188319" y="212769"/>
                    <a:pt x="171279" y="221666"/>
                  </a:cubicBezTo>
                  <a:cubicBezTo>
                    <a:pt x="154238" y="230562"/>
                    <a:pt x="135636" y="235010"/>
                    <a:pt x="115481" y="235010"/>
                  </a:cubicBezTo>
                  <a:cubicBezTo>
                    <a:pt x="83144" y="235010"/>
                    <a:pt x="56998" y="225228"/>
                    <a:pt x="37071" y="205654"/>
                  </a:cubicBezTo>
                  <a:cubicBezTo>
                    <a:pt x="17117" y="186080"/>
                    <a:pt x="7144" y="157886"/>
                    <a:pt x="7144" y="121072"/>
                  </a:cubicBezTo>
                  <a:close/>
                  <a:moveTo>
                    <a:pt x="47387" y="121072"/>
                  </a:moveTo>
                  <a:cubicBezTo>
                    <a:pt x="47387" y="149000"/>
                    <a:pt x="53835" y="169897"/>
                    <a:pt x="66742" y="183785"/>
                  </a:cubicBezTo>
                  <a:cubicBezTo>
                    <a:pt x="79639" y="197682"/>
                    <a:pt x="95898" y="204626"/>
                    <a:pt x="115462" y="204626"/>
                  </a:cubicBezTo>
                  <a:cubicBezTo>
                    <a:pt x="134893" y="204626"/>
                    <a:pt x="151067" y="197653"/>
                    <a:pt x="163973" y="183690"/>
                  </a:cubicBezTo>
                  <a:cubicBezTo>
                    <a:pt x="176879" y="169736"/>
                    <a:pt x="183337" y="148457"/>
                    <a:pt x="183337" y="119853"/>
                  </a:cubicBezTo>
                  <a:cubicBezTo>
                    <a:pt x="183337" y="92888"/>
                    <a:pt x="176841" y="72466"/>
                    <a:pt x="163868" y="58569"/>
                  </a:cubicBezTo>
                  <a:cubicBezTo>
                    <a:pt x="150886" y="44682"/>
                    <a:pt x="134750" y="37729"/>
                    <a:pt x="115462" y="37729"/>
                  </a:cubicBezTo>
                  <a:cubicBezTo>
                    <a:pt x="95888" y="37729"/>
                    <a:pt x="79639" y="44644"/>
                    <a:pt x="66742" y="58464"/>
                  </a:cubicBezTo>
                  <a:cubicBezTo>
                    <a:pt x="53835" y="72285"/>
                    <a:pt x="47387" y="93154"/>
                    <a:pt x="47387" y="121072"/>
                  </a:cubicBezTo>
                  <a:close/>
                </a:path>
              </a:pathLst>
            </a:custGeom>
            <a:solidFill>
              <a:srgbClr val="009740"/>
            </a:solidFill>
            <a:ln w="9525" cap="flat">
              <a:noFill/>
              <a:prstDash val="solid"/>
              <a:miter/>
            </a:ln>
          </p:spPr>
          <p:txBody>
            <a:bodyPr rtlCol="0" anchor="ctr"/>
            <a:lstStyle/>
            <a:p>
              <a:endParaRPr lang="fr-FR"/>
            </a:p>
          </p:txBody>
        </p:sp>
        <p:sp>
          <p:nvSpPr>
            <p:cNvPr id="122" name="Forme libre : forme 121">
              <a:extLst>
                <a:ext uri="{FF2B5EF4-FFF2-40B4-BE49-F238E27FC236}">
                  <a16:creationId xmlns:a16="http://schemas.microsoft.com/office/drawing/2014/main" id="{AD021256-C0E6-4EDC-A687-92A2652E0864}"/>
                </a:ext>
              </a:extLst>
            </p:cNvPr>
            <p:cNvSpPr/>
            <p:nvPr/>
          </p:nvSpPr>
          <p:spPr>
            <a:xfrm>
              <a:off x="4704553"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8"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8"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fr-FR"/>
            </a:p>
          </p:txBody>
        </p:sp>
        <p:sp>
          <p:nvSpPr>
            <p:cNvPr id="123" name="Forme libre : forme 122">
              <a:extLst>
                <a:ext uri="{FF2B5EF4-FFF2-40B4-BE49-F238E27FC236}">
                  <a16:creationId xmlns:a16="http://schemas.microsoft.com/office/drawing/2014/main" id="{51388068-D1C7-4F0A-A0FA-62322DA7B128}"/>
                </a:ext>
              </a:extLst>
            </p:cNvPr>
            <p:cNvSpPr/>
            <p:nvPr/>
          </p:nvSpPr>
          <p:spPr>
            <a:xfrm>
              <a:off x="4939325"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9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9" y="80639"/>
                    <a:pt x="13669" y="69961"/>
                  </a:cubicBezTo>
                  <a:cubicBezTo>
                    <a:pt x="13669"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3"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fr-FR"/>
            </a:p>
          </p:txBody>
        </p:sp>
        <p:sp>
          <p:nvSpPr>
            <p:cNvPr id="124" name="Forme libre : forme 123">
              <a:extLst>
                <a:ext uri="{FF2B5EF4-FFF2-40B4-BE49-F238E27FC236}">
                  <a16:creationId xmlns:a16="http://schemas.microsoft.com/office/drawing/2014/main" id="{3DF1E406-3DB0-4685-9480-8D4585AA7202}"/>
                </a:ext>
              </a:extLst>
            </p:cNvPr>
            <p:cNvSpPr/>
            <p:nvPr/>
          </p:nvSpPr>
          <p:spPr>
            <a:xfrm>
              <a:off x="5179536" y="3180766"/>
              <a:ext cx="200025" cy="228600"/>
            </a:xfrm>
            <a:custGeom>
              <a:avLst/>
              <a:gdLst>
                <a:gd name="connsiteX0" fmla="*/ 159420 w 200025"/>
                <a:gd name="connsiteY0" fmla="*/ 225171 h 228600"/>
                <a:gd name="connsiteX1" fmla="*/ 159420 w 200025"/>
                <a:gd name="connsiteY1" fmla="*/ 193148 h 228600"/>
                <a:gd name="connsiteX2" fmla="*/ 86115 w 200025"/>
                <a:gd name="connsiteY2" fmla="*/ 230105 h 228600"/>
                <a:gd name="connsiteX3" fmla="*/ 47930 w 200025"/>
                <a:gd name="connsiteY3" fmla="*/ 222714 h 228600"/>
                <a:gd name="connsiteX4" fmla="*/ 21612 w 200025"/>
                <a:gd name="connsiteY4" fmla="*/ 204140 h 228600"/>
                <a:gd name="connsiteX5" fmla="*/ 9534 w 200025"/>
                <a:gd name="connsiteY5" fmla="*/ 176736 h 228600"/>
                <a:gd name="connsiteX6" fmla="*/ 7144 w 200025"/>
                <a:gd name="connsiteY6" fmla="*/ 142246 h 228600"/>
                <a:gd name="connsiteX7" fmla="*/ 7144 w 200025"/>
                <a:gd name="connsiteY7" fmla="*/ 7163 h 228600"/>
                <a:gd name="connsiteX8" fmla="*/ 46291 w 200025"/>
                <a:gd name="connsiteY8" fmla="*/ 7163 h 228600"/>
                <a:gd name="connsiteX9" fmla="*/ 46291 w 200025"/>
                <a:gd name="connsiteY9" fmla="*/ 128073 h 228600"/>
                <a:gd name="connsiteX10" fmla="*/ 48682 w 200025"/>
                <a:gd name="connsiteY10" fmla="*/ 167078 h 228600"/>
                <a:gd name="connsiteX11" fmla="*/ 64351 w 200025"/>
                <a:gd name="connsiteY11" fmla="*/ 189967 h 228600"/>
                <a:gd name="connsiteX12" fmla="*/ 93926 w 200025"/>
                <a:gd name="connsiteY12" fmla="*/ 198282 h 228600"/>
                <a:gd name="connsiteX13" fmla="*/ 126997 w 200025"/>
                <a:gd name="connsiteY13" fmla="*/ 189757 h 228600"/>
                <a:gd name="connsiteX14" fmla="*/ 148857 w 200025"/>
                <a:gd name="connsiteY14" fmla="*/ 166554 h 228600"/>
                <a:gd name="connsiteX15" fmla="*/ 155277 w 200025"/>
                <a:gd name="connsiteY15" fmla="*/ 123958 h 228600"/>
                <a:gd name="connsiteX16" fmla="*/ 155277 w 200025"/>
                <a:gd name="connsiteY16" fmla="*/ 7144 h 228600"/>
                <a:gd name="connsiteX17" fmla="*/ 194434 w 200025"/>
                <a:gd name="connsiteY17" fmla="*/ 7144 h 228600"/>
                <a:gd name="connsiteX18" fmla="*/ 194434 w 200025"/>
                <a:gd name="connsiteY18" fmla="*/ 225162 h 228600"/>
                <a:gd name="connsiteX19" fmla="*/ 159420 w 200025"/>
                <a:gd name="connsiteY19" fmla="*/ 225162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025" h="228600">
                  <a:moveTo>
                    <a:pt x="159420" y="225171"/>
                  </a:moveTo>
                  <a:lnTo>
                    <a:pt x="159420" y="193148"/>
                  </a:lnTo>
                  <a:cubicBezTo>
                    <a:pt x="141427" y="217789"/>
                    <a:pt x="116995" y="230105"/>
                    <a:pt x="86115" y="230105"/>
                  </a:cubicBezTo>
                  <a:cubicBezTo>
                    <a:pt x="72476" y="230105"/>
                    <a:pt x="59750" y="227638"/>
                    <a:pt x="47930" y="222714"/>
                  </a:cubicBezTo>
                  <a:cubicBezTo>
                    <a:pt x="36109" y="217789"/>
                    <a:pt x="27337" y="211598"/>
                    <a:pt x="21612" y="204140"/>
                  </a:cubicBezTo>
                  <a:cubicBezTo>
                    <a:pt x="15878" y="196682"/>
                    <a:pt x="11859" y="187547"/>
                    <a:pt x="9534" y="176736"/>
                  </a:cubicBezTo>
                  <a:cubicBezTo>
                    <a:pt x="7934" y="169478"/>
                    <a:pt x="7144" y="157982"/>
                    <a:pt x="7144" y="142246"/>
                  </a:cubicBezTo>
                  <a:lnTo>
                    <a:pt x="7144" y="7163"/>
                  </a:lnTo>
                  <a:lnTo>
                    <a:pt x="46291" y="7163"/>
                  </a:lnTo>
                  <a:lnTo>
                    <a:pt x="46291" y="128073"/>
                  </a:lnTo>
                  <a:cubicBezTo>
                    <a:pt x="46291" y="147371"/>
                    <a:pt x="47082" y="160382"/>
                    <a:pt x="48682" y="167078"/>
                  </a:cubicBezTo>
                  <a:cubicBezTo>
                    <a:pt x="51149" y="176803"/>
                    <a:pt x="56369" y="184423"/>
                    <a:pt x="64351" y="189967"/>
                  </a:cubicBezTo>
                  <a:cubicBezTo>
                    <a:pt x="72323" y="195510"/>
                    <a:pt x="82191" y="198282"/>
                    <a:pt x="93926" y="198282"/>
                  </a:cubicBezTo>
                  <a:cubicBezTo>
                    <a:pt x="105670" y="198282"/>
                    <a:pt x="116700" y="195443"/>
                    <a:pt x="126997" y="189757"/>
                  </a:cubicBezTo>
                  <a:cubicBezTo>
                    <a:pt x="137293" y="184080"/>
                    <a:pt x="144580" y="176346"/>
                    <a:pt x="148857" y="166554"/>
                  </a:cubicBezTo>
                  <a:cubicBezTo>
                    <a:pt x="153133" y="156763"/>
                    <a:pt x="155277" y="142570"/>
                    <a:pt x="155277" y="123958"/>
                  </a:cubicBezTo>
                  <a:lnTo>
                    <a:pt x="155277" y="7144"/>
                  </a:lnTo>
                  <a:lnTo>
                    <a:pt x="194434" y="7144"/>
                  </a:lnTo>
                  <a:lnTo>
                    <a:pt x="194434" y="225162"/>
                  </a:lnTo>
                  <a:lnTo>
                    <a:pt x="159420" y="225162"/>
                  </a:lnTo>
                  <a:close/>
                </a:path>
              </a:pathLst>
            </a:custGeom>
            <a:solidFill>
              <a:srgbClr val="009740"/>
            </a:solidFill>
            <a:ln w="9525" cap="flat">
              <a:noFill/>
              <a:prstDash val="solid"/>
              <a:miter/>
            </a:ln>
          </p:spPr>
          <p:txBody>
            <a:bodyPr rtlCol="0" anchor="ctr"/>
            <a:lstStyle/>
            <a:p>
              <a:endParaRPr lang="fr-FR"/>
            </a:p>
          </p:txBody>
        </p:sp>
        <p:sp>
          <p:nvSpPr>
            <p:cNvPr id="125" name="Forme libre : forme 124">
              <a:extLst>
                <a:ext uri="{FF2B5EF4-FFF2-40B4-BE49-F238E27FC236}">
                  <a16:creationId xmlns:a16="http://schemas.microsoft.com/office/drawing/2014/main" id="{43E7EEFA-1A48-49DD-885E-F6D29D1291F1}"/>
                </a:ext>
              </a:extLst>
            </p:cNvPr>
            <p:cNvSpPr/>
            <p:nvPr/>
          </p:nvSpPr>
          <p:spPr>
            <a:xfrm>
              <a:off x="5429977" y="3097842"/>
              <a:ext cx="47625" cy="314325"/>
            </a:xfrm>
            <a:custGeom>
              <a:avLst/>
              <a:gdLst>
                <a:gd name="connsiteX0" fmla="*/ 7144 w 47625"/>
                <a:gd name="connsiteY0" fmla="*/ 308096 h 314325"/>
                <a:gd name="connsiteX1" fmla="*/ 7144 w 47625"/>
                <a:gd name="connsiteY1" fmla="*/ 7144 h 314325"/>
                <a:gd name="connsiteX2" fmla="*/ 46291 w 47625"/>
                <a:gd name="connsiteY2" fmla="*/ 7144 h 314325"/>
                <a:gd name="connsiteX3" fmla="*/ 46291 w 47625"/>
                <a:gd name="connsiteY3" fmla="*/ 308096 h 314325"/>
                <a:gd name="connsiteX4" fmla="*/ 7144 w 47625"/>
                <a:gd name="connsiteY4" fmla="*/ 308096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14325">
                  <a:moveTo>
                    <a:pt x="7144" y="308096"/>
                  </a:moveTo>
                  <a:lnTo>
                    <a:pt x="7144" y="7144"/>
                  </a:lnTo>
                  <a:lnTo>
                    <a:pt x="46291" y="7144"/>
                  </a:lnTo>
                  <a:lnTo>
                    <a:pt x="46291" y="308096"/>
                  </a:lnTo>
                  <a:lnTo>
                    <a:pt x="7144" y="308096"/>
                  </a:lnTo>
                  <a:close/>
                </a:path>
              </a:pathLst>
            </a:custGeom>
            <a:solidFill>
              <a:srgbClr val="009740"/>
            </a:solidFill>
            <a:ln w="9525" cap="flat">
              <a:noFill/>
              <a:prstDash val="solid"/>
              <a:miter/>
            </a:ln>
          </p:spPr>
          <p:txBody>
            <a:bodyPr rtlCol="0" anchor="ctr"/>
            <a:lstStyle/>
            <a:p>
              <a:endParaRPr lang="fr-FR"/>
            </a:p>
          </p:txBody>
        </p:sp>
        <p:sp>
          <p:nvSpPr>
            <p:cNvPr id="126" name="Forme libre : forme 125">
              <a:extLst>
                <a:ext uri="{FF2B5EF4-FFF2-40B4-BE49-F238E27FC236}">
                  <a16:creationId xmlns:a16="http://schemas.microsoft.com/office/drawing/2014/main" id="{1D28DCDF-0595-487A-A35C-48CF77618FF6}"/>
                </a:ext>
              </a:extLst>
            </p:cNvPr>
            <p:cNvSpPr/>
            <p:nvPr/>
          </p:nvSpPr>
          <p:spPr>
            <a:xfrm>
              <a:off x="5510958" y="3104623"/>
              <a:ext cx="123825" cy="304800"/>
            </a:xfrm>
            <a:custGeom>
              <a:avLst/>
              <a:gdLst>
                <a:gd name="connsiteX0" fmla="*/ 114167 w 123825"/>
                <a:gd name="connsiteY0" fmla="*/ 268262 h 304800"/>
                <a:gd name="connsiteX1" fmla="*/ 119825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2 w 123825"/>
                <a:gd name="connsiteY5" fmla="*/ 237468 h 304800"/>
                <a:gd name="connsiteX6" fmla="*/ 35862 w 123825"/>
                <a:gd name="connsiteY6" fmla="*/ 112043 h 304800"/>
                <a:gd name="connsiteX7" fmla="*/ 7144 w 123825"/>
                <a:gd name="connsiteY7" fmla="*/ 112043 h 304800"/>
                <a:gd name="connsiteX8" fmla="*/ 7144 w 123825"/>
                <a:gd name="connsiteY8" fmla="*/ 83296 h 304800"/>
                <a:gd name="connsiteX9" fmla="*/ 35862 w 123825"/>
                <a:gd name="connsiteY9" fmla="*/ 83296 h 304800"/>
                <a:gd name="connsiteX10" fmla="*/ 35862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1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5"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2" y="259642"/>
                    <a:pt x="35862" y="237468"/>
                  </a:cubicBezTo>
                  <a:lnTo>
                    <a:pt x="35862" y="112043"/>
                  </a:lnTo>
                  <a:lnTo>
                    <a:pt x="7144" y="112043"/>
                  </a:lnTo>
                  <a:lnTo>
                    <a:pt x="7144" y="83296"/>
                  </a:lnTo>
                  <a:lnTo>
                    <a:pt x="35862" y="83296"/>
                  </a:lnTo>
                  <a:lnTo>
                    <a:pt x="35862"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1"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fr-FR"/>
            </a:p>
          </p:txBody>
        </p:sp>
        <p:sp>
          <p:nvSpPr>
            <p:cNvPr id="127" name="Forme libre : forme 126">
              <a:extLst>
                <a:ext uri="{FF2B5EF4-FFF2-40B4-BE49-F238E27FC236}">
                  <a16:creationId xmlns:a16="http://schemas.microsoft.com/office/drawing/2014/main" id="{AF734EED-C36F-49C2-BE94-C215BF5082D8}"/>
                </a:ext>
              </a:extLst>
            </p:cNvPr>
            <p:cNvSpPr/>
            <p:nvPr/>
          </p:nvSpPr>
          <p:spPr>
            <a:xfrm>
              <a:off x="5645670" y="3175861"/>
              <a:ext cx="219075" cy="238125"/>
            </a:xfrm>
            <a:custGeom>
              <a:avLst/>
              <a:gdLst>
                <a:gd name="connsiteX0" fmla="*/ 171155 w 219075"/>
                <a:gd name="connsiteY0" fmla="*/ 203187 h 238125"/>
                <a:gd name="connsiteX1" fmla="*/ 129283 w 219075"/>
                <a:gd name="connsiteY1" fmla="*/ 227819 h 238125"/>
                <a:gd name="connsiteX2" fmla="*/ 86106 w 219075"/>
                <a:gd name="connsiteY2" fmla="*/ 235010 h 238125"/>
                <a:gd name="connsiteX3" fmla="*/ 27584 w 219075"/>
                <a:gd name="connsiteY3" fmla="*/ 217456 h 238125"/>
                <a:gd name="connsiteX4" fmla="*/ 7144 w 219075"/>
                <a:gd name="connsiteY4" fmla="*/ 172603 h 238125"/>
                <a:gd name="connsiteX5" fmla="*/ 14869 w 219075"/>
                <a:gd name="connsiteY5" fmla="*/ 143351 h 238125"/>
                <a:gd name="connsiteX6" fmla="*/ 35100 w 219075"/>
                <a:gd name="connsiteY6" fmla="*/ 122111 h 238125"/>
                <a:gd name="connsiteX7" fmla="*/ 63265 w 219075"/>
                <a:gd name="connsiteY7" fmla="*/ 109995 h 238125"/>
                <a:gd name="connsiteX8" fmla="*/ 98069 w 219075"/>
                <a:gd name="connsiteY8" fmla="*/ 104461 h 238125"/>
                <a:gd name="connsiteX9" fmla="*/ 167897 w 219075"/>
                <a:gd name="connsiteY9" fmla="*/ 91726 h 238125"/>
                <a:gd name="connsiteX10" fmla="*/ 168107 w 219075"/>
                <a:gd name="connsiteY10" fmla="*/ 82077 h 238125"/>
                <a:gd name="connsiteX11" fmla="*/ 157010 w 219075"/>
                <a:gd name="connsiteY11" fmla="*/ 50254 h 238125"/>
                <a:gd name="connsiteX12" fmla="*/ 112414 w 219075"/>
                <a:gd name="connsiteY12" fmla="*/ 37738 h 238125"/>
                <a:gd name="connsiteX13" fmla="*/ 71628 w 219075"/>
                <a:gd name="connsiteY13" fmla="*/ 46873 h 238125"/>
                <a:gd name="connsiteX14" fmla="*/ 52159 w 219075"/>
                <a:gd name="connsiteY14" fmla="*/ 79210 h 238125"/>
                <a:gd name="connsiteX15" fmla="*/ 13868 w 219075"/>
                <a:gd name="connsiteY15" fmla="*/ 74276 h 238125"/>
                <a:gd name="connsiteX16" fmla="*/ 31061 w 219075"/>
                <a:gd name="connsiteY16" fmla="*/ 36814 h 238125"/>
                <a:gd name="connsiteX17" fmla="*/ 65646 w 219075"/>
                <a:gd name="connsiteY17" fmla="*/ 14840 h 238125"/>
                <a:gd name="connsiteX18" fmla="*/ 118072 w 219075"/>
                <a:gd name="connsiteY18" fmla="*/ 7144 h 238125"/>
                <a:gd name="connsiteX19" fmla="*/ 166145 w 219075"/>
                <a:gd name="connsiteY19" fmla="*/ 13706 h 238125"/>
                <a:gd name="connsiteX20" fmla="*/ 193338 w 219075"/>
                <a:gd name="connsiteY20" fmla="*/ 30232 h 238125"/>
                <a:gd name="connsiteX21" fmla="*/ 205511 w 219075"/>
                <a:gd name="connsiteY21" fmla="*/ 55378 h 238125"/>
                <a:gd name="connsiteX22" fmla="*/ 207474 w 219075"/>
                <a:gd name="connsiteY22" fmla="*/ 89459 h 238125"/>
                <a:gd name="connsiteX23" fmla="*/ 207474 w 219075"/>
                <a:gd name="connsiteY23" fmla="*/ 138722 h 238125"/>
                <a:gd name="connsiteX24" fmla="*/ 209979 w 219075"/>
                <a:gd name="connsiteY24" fmla="*/ 203902 h 238125"/>
                <a:gd name="connsiteX25" fmla="*/ 219875 w 219075"/>
                <a:gd name="connsiteY25" fmla="*/ 230076 h 238125"/>
                <a:gd name="connsiteX26" fmla="*/ 178975 w 219075"/>
                <a:gd name="connsiteY26" fmla="*/ 230076 h 238125"/>
                <a:gd name="connsiteX27" fmla="*/ 171155 w 219075"/>
                <a:gd name="connsiteY27" fmla="*/ 203187 h 238125"/>
                <a:gd name="connsiteX28" fmla="*/ 167897 w 219075"/>
                <a:gd name="connsiteY28" fmla="*/ 120663 h 238125"/>
                <a:gd name="connsiteX29" fmla="*/ 103937 w 219075"/>
                <a:gd name="connsiteY29" fmla="*/ 134626 h 238125"/>
                <a:gd name="connsiteX30" fmla="*/ 69790 w 219075"/>
                <a:gd name="connsiteY30" fmla="*/ 142008 h 238125"/>
                <a:gd name="connsiteX31" fmla="*/ 54340 w 219075"/>
                <a:gd name="connsiteY31" fmla="*/ 154019 h 238125"/>
                <a:gd name="connsiteX32" fmla="*/ 48911 w 219075"/>
                <a:gd name="connsiteY32" fmla="*/ 171574 h 238125"/>
                <a:gd name="connsiteX33" fmla="*/ 60760 w 219075"/>
                <a:gd name="connsiteY33" fmla="*/ 196215 h 238125"/>
                <a:gd name="connsiteX34" fmla="*/ 95460 w 219075"/>
                <a:gd name="connsiteY34" fmla="*/ 206064 h 238125"/>
                <a:gd name="connsiteX35" fmla="*/ 135703 w 219075"/>
                <a:gd name="connsiteY35" fmla="*/ 196729 h 238125"/>
                <a:gd name="connsiteX36" fmla="*/ 161592 w 219075"/>
                <a:gd name="connsiteY36" fmla="*/ 171164 h 238125"/>
                <a:gd name="connsiteX37" fmla="*/ 167907 w 219075"/>
                <a:gd name="connsiteY37" fmla="*/ 134217 h 238125"/>
                <a:gd name="connsiteX38" fmla="*/ 167907 w 219075"/>
                <a:gd name="connsiteY38" fmla="*/ 12066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19075" h="238125">
                  <a:moveTo>
                    <a:pt x="171155" y="203187"/>
                  </a:moveTo>
                  <a:cubicBezTo>
                    <a:pt x="156658" y="214827"/>
                    <a:pt x="142694" y="223028"/>
                    <a:pt x="129283" y="227819"/>
                  </a:cubicBezTo>
                  <a:cubicBezTo>
                    <a:pt x="115862" y="232610"/>
                    <a:pt x="101470" y="235010"/>
                    <a:pt x="86106" y="235010"/>
                  </a:cubicBezTo>
                  <a:cubicBezTo>
                    <a:pt x="60722" y="235010"/>
                    <a:pt x="41215" y="229162"/>
                    <a:pt x="27584" y="217456"/>
                  </a:cubicBezTo>
                  <a:cubicBezTo>
                    <a:pt x="13944" y="205750"/>
                    <a:pt x="7144" y="190805"/>
                    <a:pt x="7144" y="172603"/>
                  </a:cubicBezTo>
                  <a:cubicBezTo>
                    <a:pt x="7144" y="161925"/>
                    <a:pt x="9715" y="152171"/>
                    <a:pt x="14869" y="143351"/>
                  </a:cubicBezTo>
                  <a:cubicBezTo>
                    <a:pt x="20012" y="134522"/>
                    <a:pt x="26756" y="127435"/>
                    <a:pt x="35100" y="122111"/>
                  </a:cubicBezTo>
                  <a:cubicBezTo>
                    <a:pt x="43434" y="116767"/>
                    <a:pt x="52826" y="112738"/>
                    <a:pt x="63265" y="109995"/>
                  </a:cubicBezTo>
                  <a:cubicBezTo>
                    <a:pt x="70952" y="108090"/>
                    <a:pt x="82544" y="106232"/>
                    <a:pt x="98069" y="104461"/>
                  </a:cubicBezTo>
                  <a:cubicBezTo>
                    <a:pt x="129673" y="100898"/>
                    <a:pt x="152962" y="96660"/>
                    <a:pt x="167897" y="91726"/>
                  </a:cubicBezTo>
                  <a:cubicBezTo>
                    <a:pt x="168040" y="86668"/>
                    <a:pt x="168107" y="83449"/>
                    <a:pt x="168107" y="82077"/>
                  </a:cubicBezTo>
                  <a:cubicBezTo>
                    <a:pt x="168107" y="67027"/>
                    <a:pt x="164402" y="56417"/>
                    <a:pt x="157010" y="50254"/>
                  </a:cubicBezTo>
                  <a:cubicBezTo>
                    <a:pt x="147009" y="41910"/>
                    <a:pt x="132140" y="37738"/>
                    <a:pt x="112414" y="37738"/>
                  </a:cubicBezTo>
                  <a:cubicBezTo>
                    <a:pt x="93993" y="37738"/>
                    <a:pt x="80410" y="40786"/>
                    <a:pt x="71628" y="46873"/>
                  </a:cubicBezTo>
                  <a:cubicBezTo>
                    <a:pt x="62855" y="52969"/>
                    <a:pt x="56359" y="63741"/>
                    <a:pt x="52159" y="79210"/>
                  </a:cubicBezTo>
                  <a:lnTo>
                    <a:pt x="13868" y="74276"/>
                  </a:lnTo>
                  <a:cubicBezTo>
                    <a:pt x="17354" y="58817"/>
                    <a:pt x="23079" y="46330"/>
                    <a:pt x="31061" y="36814"/>
                  </a:cubicBezTo>
                  <a:cubicBezTo>
                    <a:pt x="39033" y="27299"/>
                    <a:pt x="50568" y="19974"/>
                    <a:pt x="65646" y="14840"/>
                  </a:cubicBezTo>
                  <a:cubicBezTo>
                    <a:pt x="80734" y="9716"/>
                    <a:pt x="98203" y="7144"/>
                    <a:pt x="118072" y="7144"/>
                  </a:cubicBezTo>
                  <a:cubicBezTo>
                    <a:pt x="137789" y="7144"/>
                    <a:pt x="153819" y="9325"/>
                    <a:pt x="166145" y="13706"/>
                  </a:cubicBezTo>
                  <a:cubicBezTo>
                    <a:pt x="178470" y="18088"/>
                    <a:pt x="187538" y="23593"/>
                    <a:pt x="193338" y="30232"/>
                  </a:cubicBezTo>
                  <a:cubicBezTo>
                    <a:pt x="199130" y="36862"/>
                    <a:pt x="203197" y="45244"/>
                    <a:pt x="205511" y="55378"/>
                  </a:cubicBezTo>
                  <a:cubicBezTo>
                    <a:pt x="206826" y="61674"/>
                    <a:pt x="207474" y="73038"/>
                    <a:pt x="207474" y="89459"/>
                  </a:cubicBezTo>
                  <a:lnTo>
                    <a:pt x="207474" y="138722"/>
                  </a:lnTo>
                  <a:cubicBezTo>
                    <a:pt x="207474" y="173069"/>
                    <a:pt x="208302" y="194805"/>
                    <a:pt x="209979" y="203902"/>
                  </a:cubicBezTo>
                  <a:cubicBezTo>
                    <a:pt x="211646" y="213008"/>
                    <a:pt x="214941" y="221733"/>
                    <a:pt x="219875" y="230076"/>
                  </a:cubicBezTo>
                  <a:lnTo>
                    <a:pt x="178975" y="230076"/>
                  </a:lnTo>
                  <a:cubicBezTo>
                    <a:pt x="174927" y="222409"/>
                    <a:pt x="172317" y="213446"/>
                    <a:pt x="171155" y="203187"/>
                  </a:cubicBezTo>
                  <a:close/>
                  <a:moveTo>
                    <a:pt x="167897" y="120663"/>
                  </a:moveTo>
                  <a:cubicBezTo>
                    <a:pt x="153676" y="126140"/>
                    <a:pt x="132369" y="130788"/>
                    <a:pt x="103937" y="134626"/>
                  </a:cubicBezTo>
                  <a:cubicBezTo>
                    <a:pt x="87849" y="136808"/>
                    <a:pt x="76457" y="139275"/>
                    <a:pt x="69790" y="142008"/>
                  </a:cubicBezTo>
                  <a:cubicBezTo>
                    <a:pt x="63113" y="144751"/>
                    <a:pt x="57969" y="148752"/>
                    <a:pt x="54340" y="154019"/>
                  </a:cubicBezTo>
                  <a:cubicBezTo>
                    <a:pt x="50711" y="159296"/>
                    <a:pt x="48911" y="165144"/>
                    <a:pt x="48911" y="171574"/>
                  </a:cubicBezTo>
                  <a:cubicBezTo>
                    <a:pt x="48911" y="181432"/>
                    <a:pt x="52854" y="189633"/>
                    <a:pt x="60760" y="196215"/>
                  </a:cubicBezTo>
                  <a:cubicBezTo>
                    <a:pt x="68666" y="202778"/>
                    <a:pt x="80229" y="206064"/>
                    <a:pt x="95460" y="206064"/>
                  </a:cubicBezTo>
                  <a:cubicBezTo>
                    <a:pt x="110538" y="206064"/>
                    <a:pt x="123958" y="202949"/>
                    <a:pt x="135703" y="196729"/>
                  </a:cubicBezTo>
                  <a:cubicBezTo>
                    <a:pt x="147447" y="190500"/>
                    <a:pt x="156086" y="181985"/>
                    <a:pt x="161592" y="171164"/>
                  </a:cubicBezTo>
                  <a:cubicBezTo>
                    <a:pt x="165792" y="162820"/>
                    <a:pt x="167907" y="150504"/>
                    <a:pt x="167907" y="134217"/>
                  </a:cubicBezTo>
                  <a:lnTo>
                    <a:pt x="167907" y="120663"/>
                  </a:lnTo>
                  <a:close/>
                </a:path>
              </a:pathLst>
            </a:custGeom>
            <a:solidFill>
              <a:srgbClr val="009740"/>
            </a:solidFill>
            <a:ln w="9525" cap="flat">
              <a:noFill/>
              <a:prstDash val="solid"/>
              <a:miter/>
            </a:ln>
          </p:spPr>
          <p:txBody>
            <a:bodyPr rtlCol="0" anchor="ctr"/>
            <a:lstStyle/>
            <a:p>
              <a:endParaRPr lang="fr-FR"/>
            </a:p>
          </p:txBody>
        </p:sp>
        <p:sp>
          <p:nvSpPr>
            <p:cNvPr id="128" name="Forme libre : forme 127">
              <a:extLst>
                <a:ext uri="{FF2B5EF4-FFF2-40B4-BE49-F238E27FC236}">
                  <a16:creationId xmlns:a16="http://schemas.microsoft.com/office/drawing/2014/main" id="{E151ED61-25C2-47B8-8880-0C23485713E2}"/>
                </a:ext>
              </a:extLst>
            </p:cNvPr>
            <p:cNvSpPr/>
            <p:nvPr/>
          </p:nvSpPr>
          <p:spPr>
            <a:xfrm>
              <a:off x="5909360"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9"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9"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fr-FR"/>
            </a:p>
          </p:txBody>
        </p:sp>
        <p:sp>
          <p:nvSpPr>
            <p:cNvPr id="129" name="Forme libre : forme 128">
              <a:extLst>
                <a:ext uri="{FF2B5EF4-FFF2-40B4-BE49-F238E27FC236}">
                  <a16:creationId xmlns:a16="http://schemas.microsoft.com/office/drawing/2014/main" id="{07955827-545D-4013-ACE8-1253A9729DFB}"/>
                </a:ext>
              </a:extLst>
            </p:cNvPr>
            <p:cNvSpPr/>
            <p:nvPr/>
          </p:nvSpPr>
          <p:spPr>
            <a:xfrm>
              <a:off x="6138265" y="3104623"/>
              <a:ext cx="123825" cy="304800"/>
            </a:xfrm>
            <a:custGeom>
              <a:avLst/>
              <a:gdLst>
                <a:gd name="connsiteX0" fmla="*/ 114167 w 123825"/>
                <a:gd name="connsiteY0" fmla="*/ 268262 h 304800"/>
                <a:gd name="connsiteX1" fmla="*/ 119824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1 w 123825"/>
                <a:gd name="connsiteY5" fmla="*/ 237468 h 304800"/>
                <a:gd name="connsiteX6" fmla="*/ 35861 w 123825"/>
                <a:gd name="connsiteY6" fmla="*/ 112043 h 304800"/>
                <a:gd name="connsiteX7" fmla="*/ 7144 w 123825"/>
                <a:gd name="connsiteY7" fmla="*/ 112043 h 304800"/>
                <a:gd name="connsiteX8" fmla="*/ 7144 w 123825"/>
                <a:gd name="connsiteY8" fmla="*/ 83296 h 304800"/>
                <a:gd name="connsiteX9" fmla="*/ 35861 w 123825"/>
                <a:gd name="connsiteY9" fmla="*/ 83296 h 304800"/>
                <a:gd name="connsiteX10" fmla="*/ 35861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0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4"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1" y="259642"/>
                    <a:pt x="35861" y="237468"/>
                  </a:cubicBezTo>
                  <a:lnTo>
                    <a:pt x="35861" y="112043"/>
                  </a:lnTo>
                  <a:lnTo>
                    <a:pt x="7144" y="112043"/>
                  </a:lnTo>
                  <a:lnTo>
                    <a:pt x="7144" y="83296"/>
                  </a:lnTo>
                  <a:lnTo>
                    <a:pt x="35861" y="83296"/>
                  </a:lnTo>
                  <a:lnTo>
                    <a:pt x="35861"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0"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fr-FR"/>
            </a:p>
          </p:txBody>
        </p:sp>
        <p:sp>
          <p:nvSpPr>
            <p:cNvPr id="130" name="Forme libre : forme 129">
              <a:extLst>
                <a:ext uri="{FF2B5EF4-FFF2-40B4-BE49-F238E27FC236}">
                  <a16:creationId xmlns:a16="http://schemas.microsoft.com/office/drawing/2014/main" id="{8A63F5CA-6FCA-4171-97D8-977E51744830}"/>
                </a:ext>
              </a:extLst>
            </p:cNvPr>
            <p:cNvSpPr/>
            <p:nvPr/>
          </p:nvSpPr>
          <p:spPr>
            <a:xfrm>
              <a:off x="6270577"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8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8" y="80639"/>
                    <a:pt x="13668" y="69961"/>
                  </a:cubicBezTo>
                  <a:cubicBezTo>
                    <a:pt x="13668"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2"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fr-FR"/>
            </a:p>
          </p:txBody>
        </p:sp>
      </p:grpSp>
      <p:pic>
        <p:nvPicPr>
          <p:cNvPr id="54" name="Image 53">
            <a:extLst>
              <a:ext uri="{FF2B5EF4-FFF2-40B4-BE49-F238E27FC236}">
                <a16:creationId xmlns:a16="http://schemas.microsoft.com/office/drawing/2014/main" id="{FCFB04C9-7D55-4085-9FF1-1C3962FC345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31206" t="11495" r="-115" b="5532"/>
          <a:stretch/>
        </p:blipFill>
        <p:spPr>
          <a:xfrm>
            <a:off x="6758124" y="0"/>
            <a:ext cx="3156198" cy="6858000"/>
          </a:xfrm>
          <a:prstGeom prst="rect">
            <a:avLst/>
          </a:prstGeom>
        </p:spPr>
      </p:pic>
    </p:spTree>
    <p:extLst>
      <p:ext uri="{BB962C8B-B14F-4D97-AF65-F5344CB8AC3E}">
        <p14:creationId xmlns:p14="http://schemas.microsoft.com/office/powerpoint/2010/main" val="3596032879"/>
      </p:ext>
    </p:extLst>
  </p:cSld>
  <p:clrMapOvr>
    <a:masterClrMapping/>
  </p:clrMapOvr>
  <p:transition/>
  <p:extLst>
    <p:ext uri="{DCECCB84-F9BA-43D5-87BE-67443E8EF086}">
      <p15:sldGuideLst xmlns:p15="http://schemas.microsoft.com/office/powerpoint/2012/main">
        <p15:guide id="1" orient="horz" pos="2840">
          <p15:clr>
            <a:srgbClr val="FBAE40"/>
          </p15:clr>
        </p15:guide>
        <p15:guide id="2" pos="425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V Double">
    <p:spTree>
      <p:nvGrpSpPr>
        <p:cNvPr id="1" name=""/>
        <p:cNvGrpSpPr/>
        <p:nvPr/>
      </p:nvGrpSpPr>
      <p:grpSpPr>
        <a:xfrm>
          <a:off x="0" y="0"/>
          <a:ext cx="0" cy="0"/>
          <a:chOff x="0" y="0"/>
          <a:chExt cx="0" cy="0"/>
        </a:xfrm>
      </p:grpSpPr>
      <p:cxnSp>
        <p:nvCxnSpPr>
          <p:cNvPr id="3" name="Connecteur droit 2">
            <a:extLst>
              <a:ext uri="{FF2B5EF4-FFF2-40B4-BE49-F238E27FC236}">
                <a16:creationId xmlns:a16="http://schemas.microsoft.com/office/drawing/2014/main" id="{D3AD9280-C50A-4389-916C-C99300C85A77}"/>
              </a:ext>
            </a:extLst>
          </p:cNvPr>
          <p:cNvCxnSpPr>
            <a:cxnSpLocks/>
          </p:cNvCxnSpPr>
          <p:nvPr/>
        </p:nvCxnSpPr>
        <p:spPr bwMode="auto">
          <a:xfrm>
            <a:off x="4945534" y="1800990"/>
            <a:ext cx="0" cy="4435910"/>
          </a:xfrm>
          <a:prstGeom prst="line">
            <a:avLst/>
          </a:prstGeom>
          <a:solidFill>
            <a:schemeClr val="accent1"/>
          </a:solidFill>
          <a:ln w="9525" cap="flat" cmpd="sng" algn="ctr">
            <a:solidFill>
              <a:schemeClr val="tx1">
                <a:lumMod val="20000"/>
                <a:lumOff val="80000"/>
              </a:schemeClr>
            </a:solidFill>
            <a:prstDash val="solid"/>
            <a:round/>
            <a:headEnd type="none" w="med" len="med"/>
            <a:tailEnd type="none" w="med" len="med"/>
          </a:ln>
          <a:effectLst/>
        </p:spPr>
      </p:cxnSp>
      <p:cxnSp>
        <p:nvCxnSpPr>
          <p:cNvPr id="5" name="Connecteur droit 4">
            <a:extLst>
              <a:ext uri="{FF2B5EF4-FFF2-40B4-BE49-F238E27FC236}">
                <a16:creationId xmlns:a16="http://schemas.microsoft.com/office/drawing/2014/main" id="{342221C4-A018-4C88-B0A9-86A25349D25E}"/>
              </a:ext>
            </a:extLst>
          </p:cNvPr>
          <p:cNvCxnSpPr>
            <a:cxnSpLocks/>
          </p:cNvCxnSpPr>
          <p:nvPr/>
        </p:nvCxnSpPr>
        <p:spPr bwMode="auto">
          <a:xfrm>
            <a:off x="330337" y="1781997"/>
            <a:ext cx="4346489" cy="0"/>
          </a:xfrm>
          <a:prstGeom prst="line">
            <a:avLst/>
          </a:prstGeom>
          <a:solidFill>
            <a:schemeClr val="accent1"/>
          </a:solidFill>
          <a:ln w="9525" cap="flat" cmpd="sng" algn="ctr">
            <a:solidFill>
              <a:schemeClr val="bg2"/>
            </a:solidFill>
            <a:prstDash val="solid"/>
            <a:round/>
            <a:headEnd type="none" w="med" len="med"/>
            <a:tailEnd type="none" w="med" len="med"/>
          </a:ln>
          <a:effectLst/>
        </p:spPr>
      </p:cxnSp>
      <p:cxnSp>
        <p:nvCxnSpPr>
          <p:cNvPr id="8" name="Connecteur droit 7">
            <a:extLst>
              <a:ext uri="{FF2B5EF4-FFF2-40B4-BE49-F238E27FC236}">
                <a16:creationId xmlns:a16="http://schemas.microsoft.com/office/drawing/2014/main" id="{C9BFB7F2-3F3F-4FB1-84A4-EDD49768EF51}"/>
              </a:ext>
            </a:extLst>
          </p:cNvPr>
          <p:cNvCxnSpPr/>
          <p:nvPr/>
        </p:nvCxnSpPr>
        <p:spPr bwMode="auto">
          <a:xfrm>
            <a:off x="2503581" y="4707510"/>
            <a:ext cx="0" cy="1526875"/>
          </a:xfrm>
          <a:prstGeom prst="line">
            <a:avLst/>
          </a:prstGeom>
          <a:solidFill>
            <a:schemeClr val="accent1"/>
          </a:solidFill>
          <a:ln w="9525" cap="flat" cmpd="sng" algn="ctr">
            <a:solidFill>
              <a:schemeClr val="bg2">
                <a:lumMod val="60000"/>
                <a:lumOff val="40000"/>
              </a:schemeClr>
            </a:solidFill>
            <a:prstDash val="solid"/>
            <a:round/>
            <a:headEnd type="none" w="med" len="med"/>
            <a:tailEnd type="none" w="med" len="med"/>
          </a:ln>
          <a:effectLst/>
        </p:spPr>
      </p:cxnSp>
      <p:sp>
        <p:nvSpPr>
          <p:cNvPr id="14" name="Rectangle: Rounded Corners 2">
            <a:extLst>
              <a:ext uri="{FF2B5EF4-FFF2-40B4-BE49-F238E27FC236}">
                <a16:creationId xmlns:a16="http://schemas.microsoft.com/office/drawing/2014/main" id="{3D72C06E-2873-460E-A6D7-8E222F992DCC}"/>
              </a:ext>
            </a:extLst>
          </p:cNvPr>
          <p:cNvSpPr/>
          <p:nvPr/>
        </p:nvSpPr>
        <p:spPr bwMode="auto">
          <a:xfrm>
            <a:off x="330337" y="2879539"/>
            <a:ext cx="4346489"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361950"/>
            <a:r>
              <a:rPr lang="en-US" b="1" cap="small">
                <a:solidFill>
                  <a:schemeClr val="tx2"/>
                </a:solidFill>
                <a:latin typeface="Trebuchet MS" pitchFamily="34" charset="0"/>
              </a:rPr>
              <a:t>Education</a:t>
            </a:r>
          </a:p>
        </p:txBody>
      </p:sp>
      <p:sp>
        <p:nvSpPr>
          <p:cNvPr id="15" name="Rectangle: Rounded Corners 2">
            <a:extLst>
              <a:ext uri="{FF2B5EF4-FFF2-40B4-BE49-F238E27FC236}">
                <a16:creationId xmlns:a16="http://schemas.microsoft.com/office/drawing/2014/main" id="{03A72C7B-7E59-47C0-8DD7-7EBD1913A768}"/>
              </a:ext>
            </a:extLst>
          </p:cNvPr>
          <p:cNvSpPr/>
          <p:nvPr/>
        </p:nvSpPr>
        <p:spPr bwMode="auto">
          <a:xfrm>
            <a:off x="330337" y="4373895"/>
            <a:ext cx="2081280"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88900"/>
            <a:r>
              <a:rPr lang="en-US" b="1" cap="small">
                <a:solidFill>
                  <a:schemeClr val="tx2"/>
                </a:solidFill>
                <a:latin typeface="Trebuchet MS" pitchFamily="34" charset="0"/>
              </a:rPr>
              <a:t>     Expertise</a:t>
            </a:r>
          </a:p>
        </p:txBody>
      </p:sp>
      <p:sp>
        <p:nvSpPr>
          <p:cNvPr id="16" name="Rectangle: Rounded Corners 2">
            <a:extLst>
              <a:ext uri="{FF2B5EF4-FFF2-40B4-BE49-F238E27FC236}">
                <a16:creationId xmlns:a16="http://schemas.microsoft.com/office/drawing/2014/main" id="{4B378ADC-C43C-4DE6-B565-DED0F9201B1C}"/>
              </a:ext>
            </a:extLst>
          </p:cNvPr>
          <p:cNvSpPr/>
          <p:nvPr/>
        </p:nvSpPr>
        <p:spPr bwMode="auto">
          <a:xfrm>
            <a:off x="2595545" y="4373895"/>
            <a:ext cx="2081280"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88900"/>
            <a:r>
              <a:rPr lang="en-US" b="1" cap="small">
                <a:solidFill>
                  <a:schemeClr val="tx2"/>
                </a:solidFill>
                <a:latin typeface="Trebuchet MS" pitchFamily="34" charset="0"/>
              </a:rPr>
              <a:t>     Practices</a:t>
            </a:r>
          </a:p>
        </p:txBody>
      </p:sp>
      <p:sp>
        <p:nvSpPr>
          <p:cNvPr id="17" name="Freeform 5">
            <a:extLst>
              <a:ext uri="{FF2B5EF4-FFF2-40B4-BE49-F238E27FC236}">
                <a16:creationId xmlns:a16="http://schemas.microsoft.com/office/drawing/2014/main" id="{CDDA3292-DBD2-4974-BF06-81D07E1A929A}"/>
              </a:ext>
            </a:extLst>
          </p:cNvPr>
          <p:cNvSpPr>
            <a:spLocks noChangeAspect="1" noEditPoints="1"/>
          </p:cNvSpPr>
          <p:nvPr/>
        </p:nvSpPr>
        <p:spPr bwMode="auto">
          <a:xfrm>
            <a:off x="695938" y="4417814"/>
            <a:ext cx="168798" cy="160031"/>
          </a:xfrm>
          <a:custGeom>
            <a:avLst/>
            <a:gdLst>
              <a:gd name="T0" fmla="*/ 52 w 64"/>
              <a:gd name="T1" fmla="*/ 8 h 60"/>
              <a:gd name="T2" fmla="*/ 56 w 64"/>
              <a:gd name="T3" fmla="*/ 0 h 60"/>
              <a:gd name="T4" fmla="*/ 52 w 64"/>
              <a:gd name="T5" fmla="*/ 0 h 60"/>
              <a:gd name="T6" fmla="*/ 12 w 64"/>
              <a:gd name="T7" fmla="*/ 0 h 60"/>
              <a:gd name="T8" fmla="*/ 8 w 64"/>
              <a:gd name="T9" fmla="*/ 0 h 60"/>
              <a:gd name="T10" fmla="*/ 12 w 64"/>
              <a:gd name="T11" fmla="*/ 8 h 60"/>
              <a:gd name="T12" fmla="*/ 0 w 64"/>
              <a:gd name="T13" fmla="*/ 8 h 60"/>
              <a:gd name="T14" fmla="*/ 0 w 64"/>
              <a:gd name="T15" fmla="*/ 18 h 60"/>
              <a:gd name="T16" fmla="*/ 14 w 64"/>
              <a:gd name="T17" fmla="*/ 32 h 60"/>
              <a:gd name="T18" fmla="*/ 28 w 64"/>
              <a:gd name="T19" fmla="*/ 44 h 60"/>
              <a:gd name="T20" fmla="*/ 28 w 64"/>
              <a:gd name="T21" fmla="*/ 48 h 60"/>
              <a:gd name="T22" fmla="*/ 8 w 64"/>
              <a:gd name="T23" fmla="*/ 56 h 60"/>
              <a:gd name="T24" fmla="*/ 8 w 64"/>
              <a:gd name="T25" fmla="*/ 60 h 60"/>
              <a:gd name="T26" fmla="*/ 32 w 64"/>
              <a:gd name="T27" fmla="*/ 60 h 60"/>
              <a:gd name="T28" fmla="*/ 56 w 64"/>
              <a:gd name="T29" fmla="*/ 60 h 60"/>
              <a:gd name="T30" fmla="*/ 56 w 64"/>
              <a:gd name="T31" fmla="*/ 56 h 60"/>
              <a:gd name="T32" fmla="*/ 36 w 64"/>
              <a:gd name="T33" fmla="*/ 48 h 60"/>
              <a:gd name="T34" fmla="*/ 36 w 64"/>
              <a:gd name="T35" fmla="*/ 44 h 60"/>
              <a:gd name="T36" fmla="*/ 51 w 64"/>
              <a:gd name="T37" fmla="*/ 32 h 60"/>
              <a:gd name="T38" fmla="*/ 64 w 64"/>
              <a:gd name="T39" fmla="*/ 18 h 60"/>
              <a:gd name="T40" fmla="*/ 64 w 64"/>
              <a:gd name="T41" fmla="*/ 8 h 60"/>
              <a:gd name="T42" fmla="*/ 52 w 64"/>
              <a:gd name="T43" fmla="*/ 8 h 60"/>
              <a:gd name="T44" fmla="*/ 12 w 64"/>
              <a:gd name="T45" fmla="*/ 28 h 60"/>
              <a:gd name="T46" fmla="*/ 4 w 64"/>
              <a:gd name="T47" fmla="*/ 18 h 60"/>
              <a:gd name="T48" fmla="*/ 4 w 64"/>
              <a:gd name="T49" fmla="*/ 12 h 60"/>
              <a:gd name="T50" fmla="*/ 12 w 64"/>
              <a:gd name="T51" fmla="*/ 12 h 60"/>
              <a:gd name="T52" fmla="*/ 12 w 64"/>
              <a:gd name="T53" fmla="*/ 28 h 60"/>
              <a:gd name="T54" fmla="*/ 38 w 64"/>
              <a:gd name="T55" fmla="*/ 23 h 60"/>
              <a:gd name="T56" fmla="*/ 41 w 64"/>
              <a:gd name="T57" fmla="*/ 34 h 60"/>
              <a:gd name="T58" fmla="*/ 32 w 64"/>
              <a:gd name="T59" fmla="*/ 28 h 60"/>
              <a:gd name="T60" fmla="*/ 23 w 64"/>
              <a:gd name="T61" fmla="*/ 34 h 60"/>
              <a:gd name="T62" fmla="*/ 26 w 64"/>
              <a:gd name="T63" fmla="*/ 23 h 60"/>
              <a:gd name="T64" fmla="*/ 18 w 64"/>
              <a:gd name="T65" fmla="*/ 17 h 60"/>
              <a:gd name="T66" fmla="*/ 29 w 64"/>
              <a:gd name="T67" fmla="*/ 17 h 60"/>
              <a:gd name="T68" fmla="*/ 32 w 64"/>
              <a:gd name="T69" fmla="*/ 6 h 60"/>
              <a:gd name="T70" fmla="*/ 36 w 64"/>
              <a:gd name="T71" fmla="*/ 17 h 60"/>
              <a:gd name="T72" fmla="*/ 47 w 64"/>
              <a:gd name="T73" fmla="*/ 17 h 60"/>
              <a:gd name="T74" fmla="*/ 38 w 64"/>
              <a:gd name="T75" fmla="*/ 23 h 60"/>
              <a:gd name="T76" fmla="*/ 60 w 64"/>
              <a:gd name="T77" fmla="*/ 18 h 60"/>
              <a:gd name="T78" fmla="*/ 52 w 64"/>
              <a:gd name="T79" fmla="*/ 28 h 60"/>
              <a:gd name="T80" fmla="*/ 52 w 64"/>
              <a:gd name="T81" fmla="*/ 12 h 60"/>
              <a:gd name="T82" fmla="*/ 60 w 64"/>
              <a:gd name="T83" fmla="*/ 12 h 60"/>
              <a:gd name="T84" fmla="*/ 60 w 64"/>
              <a:gd name="T85" fmla="*/ 1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 h="60">
                <a:moveTo>
                  <a:pt x="52" y="8"/>
                </a:moveTo>
                <a:cubicBezTo>
                  <a:pt x="56" y="0"/>
                  <a:pt x="56" y="0"/>
                  <a:pt x="56" y="0"/>
                </a:cubicBezTo>
                <a:cubicBezTo>
                  <a:pt x="52" y="0"/>
                  <a:pt x="52" y="0"/>
                  <a:pt x="52" y="0"/>
                </a:cubicBezTo>
                <a:cubicBezTo>
                  <a:pt x="12" y="0"/>
                  <a:pt x="12" y="0"/>
                  <a:pt x="12" y="0"/>
                </a:cubicBezTo>
                <a:cubicBezTo>
                  <a:pt x="8" y="0"/>
                  <a:pt x="8" y="0"/>
                  <a:pt x="8" y="0"/>
                </a:cubicBezTo>
                <a:cubicBezTo>
                  <a:pt x="12" y="8"/>
                  <a:pt x="12" y="8"/>
                  <a:pt x="12" y="8"/>
                </a:cubicBezTo>
                <a:cubicBezTo>
                  <a:pt x="0" y="8"/>
                  <a:pt x="0" y="8"/>
                  <a:pt x="0" y="8"/>
                </a:cubicBezTo>
                <a:cubicBezTo>
                  <a:pt x="0" y="18"/>
                  <a:pt x="0" y="18"/>
                  <a:pt x="0" y="18"/>
                </a:cubicBezTo>
                <a:cubicBezTo>
                  <a:pt x="0" y="22"/>
                  <a:pt x="0" y="30"/>
                  <a:pt x="14" y="32"/>
                </a:cubicBezTo>
                <a:cubicBezTo>
                  <a:pt x="17" y="38"/>
                  <a:pt x="22" y="42"/>
                  <a:pt x="28" y="44"/>
                </a:cubicBezTo>
                <a:cubicBezTo>
                  <a:pt x="28" y="45"/>
                  <a:pt x="28" y="47"/>
                  <a:pt x="28" y="48"/>
                </a:cubicBezTo>
                <a:cubicBezTo>
                  <a:pt x="28" y="56"/>
                  <a:pt x="12" y="56"/>
                  <a:pt x="8" y="56"/>
                </a:cubicBezTo>
                <a:cubicBezTo>
                  <a:pt x="8" y="60"/>
                  <a:pt x="8" y="60"/>
                  <a:pt x="8" y="60"/>
                </a:cubicBezTo>
                <a:cubicBezTo>
                  <a:pt x="32" y="60"/>
                  <a:pt x="32" y="60"/>
                  <a:pt x="32" y="60"/>
                </a:cubicBezTo>
                <a:cubicBezTo>
                  <a:pt x="56" y="60"/>
                  <a:pt x="56" y="60"/>
                  <a:pt x="56" y="60"/>
                </a:cubicBezTo>
                <a:cubicBezTo>
                  <a:pt x="56" y="60"/>
                  <a:pt x="56" y="60"/>
                  <a:pt x="56" y="56"/>
                </a:cubicBezTo>
                <a:cubicBezTo>
                  <a:pt x="52" y="56"/>
                  <a:pt x="36" y="56"/>
                  <a:pt x="36" y="48"/>
                </a:cubicBezTo>
                <a:cubicBezTo>
                  <a:pt x="36" y="47"/>
                  <a:pt x="36" y="45"/>
                  <a:pt x="36" y="44"/>
                </a:cubicBezTo>
                <a:cubicBezTo>
                  <a:pt x="43" y="42"/>
                  <a:pt x="48" y="38"/>
                  <a:pt x="51" y="32"/>
                </a:cubicBezTo>
                <a:cubicBezTo>
                  <a:pt x="64" y="30"/>
                  <a:pt x="64" y="22"/>
                  <a:pt x="64" y="18"/>
                </a:cubicBezTo>
                <a:cubicBezTo>
                  <a:pt x="64" y="8"/>
                  <a:pt x="64" y="8"/>
                  <a:pt x="64" y="8"/>
                </a:cubicBezTo>
                <a:lnTo>
                  <a:pt x="52" y="8"/>
                </a:lnTo>
                <a:close/>
                <a:moveTo>
                  <a:pt x="12" y="28"/>
                </a:moveTo>
                <a:cubicBezTo>
                  <a:pt x="4" y="26"/>
                  <a:pt x="4" y="21"/>
                  <a:pt x="4" y="18"/>
                </a:cubicBezTo>
                <a:cubicBezTo>
                  <a:pt x="4" y="12"/>
                  <a:pt x="4" y="12"/>
                  <a:pt x="4" y="12"/>
                </a:cubicBezTo>
                <a:cubicBezTo>
                  <a:pt x="12" y="12"/>
                  <a:pt x="12" y="12"/>
                  <a:pt x="12" y="12"/>
                </a:cubicBezTo>
                <a:lnTo>
                  <a:pt x="12" y="28"/>
                </a:lnTo>
                <a:close/>
                <a:moveTo>
                  <a:pt x="38" y="23"/>
                </a:moveTo>
                <a:cubicBezTo>
                  <a:pt x="41" y="34"/>
                  <a:pt x="41" y="34"/>
                  <a:pt x="41" y="34"/>
                </a:cubicBezTo>
                <a:cubicBezTo>
                  <a:pt x="32" y="28"/>
                  <a:pt x="32" y="28"/>
                  <a:pt x="32" y="28"/>
                </a:cubicBezTo>
                <a:cubicBezTo>
                  <a:pt x="23" y="34"/>
                  <a:pt x="23" y="34"/>
                  <a:pt x="23" y="34"/>
                </a:cubicBezTo>
                <a:cubicBezTo>
                  <a:pt x="26" y="23"/>
                  <a:pt x="26" y="23"/>
                  <a:pt x="26" y="23"/>
                </a:cubicBezTo>
                <a:cubicBezTo>
                  <a:pt x="18" y="17"/>
                  <a:pt x="18" y="17"/>
                  <a:pt x="18" y="17"/>
                </a:cubicBezTo>
                <a:cubicBezTo>
                  <a:pt x="29" y="17"/>
                  <a:pt x="29" y="17"/>
                  <a:pt x="29" y="17"/>
                </a:cubicBezTo>
                <a:cubicBezTo>
                  <a:pt x="32" y="6"/>
                  <a:pt x="32" y="6"/>
                  <a:pt x="32" y="6"/>
                </a:cubicBezTo>
                <a:cubicBezTo>
                  <a:pt x="36" y="17"/>
                  <a:pt x="36" y="17"/>
                  <a:pt x="36" y="17"/>
                </a:cubicBezTo>
                <a:cubicBezTo>
                  <a:pt x="47" y="17"/>
                  <a:pt x="47" y="17"/>
                  <a:pt x="47" y="17"/>
                </a:cubicBezTo>
                <a:lnTo>
                  <a:pt x="38" y="23"/>
                </a:lnTo>
                <a:close/>
                <a:moveTo>
                  <a:pt x="60" y="18"/>
                </a:moveTo>
                <a:cubicBezTo>
                  <a:pt x="60" y="21"/>
                  <a:pt x="60" y="26"/>
                  <a:pt x="52" y="28"/>
                </a:cubicBezTo>
                <a:cubicBezTo>
                  <a:pt x="52" y="12"/>
                  <a:pt x="52" y="12"/>
                  <a:pt x="52" y="12"/>
                </a:cubicBezTo>
                <a:cubicBezTo>
                  <a:pt x="60" y="12"/>
                  <a:pt x="60" y="12"/>
                  <a:pt x="60" y="12"/>
                </a:cubicBezTo>
                <a:lnTo>
                  <a:pt x="60" y="1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r-FR"/>
          </a:p>
        </p:txBody>
      </p:sp>
      <p:grpSp>
        <p:nvGrpSpPr>
          <p:cNvPr id="18" name="Group 9">
            <a:extLst>
              <a:ext uri="{FF2B5EF4-FFF2-40B4-BE49-F238E27FC236}">
                <a16:creationId xmlns:a16="http://schemas.microsoft.com/office/drawing/2014/main" id="{750C3B9C-3566-4671-AF85-5E5A985523E8}"/>
              </a:ext>
            </a:extLst>
          </p:cNvPr>
          <p:cNvGrpSpPr>
            <a:grpSpLocks noChangeAspect="1"/>
          </p:cNvGrpSpPr>
          <p:nvPr/>
        </p:nvGrpSpPr>
        <p:grpSpPr bwMode="auto">
          <a:xfrm>
            <a:off x="2965528" y="4414484"/>
            <a:ext cx="160033" cy="160033"/>
            <a:chOff x="-1" y="0"/>
            <a:chExt cx="77" cy="77"/>
          </a:xfrm>
          <a:solidFill>
            <a:schemeClr val="tx2"/>
          </a:solidFill>
        </p:grpSpPr>
        <p:sp>
          <p:nvSpPr>
            <p:cNvPr id="19" name="Freeform 10">
              <a:extLst>
                <a:ext uri="{FF2B5EF4-FFF2-40B4-BE49-F238E27FC236}">
                  <a16:creationId xmlns:a16="http://schemas.microsoft.com/office/drawing/2014/main" id="{C7F39E5E-E730-4E96-AE1E-2288CF225E5F}"/>
                </a:ext>
              </a:extLst>
            </p:cNvPr>
            <p:cNvSpPr>
              <a:spLocks noEditPoints="1"/>
            </p:cNvSpPr>
            <p:nvPr/>
          </p:nvSpPr>
          <p:spPr bwMode="auto">
            <a:xfrm>
              <a:off x="-1" y="29"/>
              <a:ext cx="77" cy="48"/>
            </a:xfrm>
            <a:custGeom>
              <a:avLst/>
              <a:gdLst>
                <a:gd name="T0" fmla="*/ 56 w 64"/>
                <a:gd name="T1" fmla="*/ 4 h 40"/>
                <a:gd name="T2" fmla="*/ 58 w 64"/>
                <a:gd name="T3" fmla="*/ 4 h 40"/>
                <a:gd name="T4" fmla="*/ 60 w 64"/>
                <a:gd name="T5" fmla="*/ 2 h 40"/>
                <a:gd name="T6" fmla="*/ 60 w 64"/>
                <a:gd name="T7" fmla="*/ 0 h 40"/>
                <a:gd name="T8" fmla="*/ 4 w 64"/>
                <a:gd name="T9" fmla="*/ 0 h 40"/>
                <a:gd name="T10" fmla="*/ 4 w 64"/>
                <a:gd name="T11" fmla="*/ 2 h 40"/>
                <a:gd name="T12" fmla="*/ 6 w 64"/>
                <a:gd name="T13" fmla="*/ 4 h 40"/>
                <a:gd name="T14" fmla="*/ 8 w 64"/>
                <a:gd name="T15" fmla="*/ 4 h 40"/>
                <a:gd name="T16" fmla="*/ 8 w 64"/>
                <a:gd name="T17" fmla="*/ 32 h 40"/>
                <a:gd name="T18" fmla="*/ 0 w 64"/>
                <a:gd name="T19" fmla="*/ 40 h 40"/>
                <a:gd name="T20" fmla="*/ 64 w 64"/>
                <a:gd name="T21" fmla="*/ 40 h 40"/>
                <a:gd name="T22" fmla="*/ 56 w 64"/>
                <a:gd name="T23" fmla="*/ 32 h 40"/>
                <a:gd name="T24" fmla="*/ 56 w 64"/>
                <a:gd name="T25" fmla="*/ 4 h 40"/>
                <a:gd name="T26" fmla="*/ 12 w 64"/>
                <a:gd name="T27" fmla="*/ 32 h 40"/>
                <a:gd name="T28" fmla="*/ 12 w 64"/>
                <a:gd name="T29" fmla="*/ 4 h 40"/>
                <a:gd name="T30" fmla="*/ 20 w 64"/>
                <a:gd name="T31" fmla="*/ 4 h 40"/>
                <a:gd name="T32" fmla="*/ 20 w 64"/>
                <a:gd name="T33" fmla="*/ 32 h 40"/>
                <a:gd name="T34" fmla="*/ 12 w 64"/>
                <a:gd name="T35" fmla="*/ 32 h 40"/>
                <a:gd name="T36" fmla="*/ 28 w 64"/>
                <a:gd name="T37" fmla="*/ 32 h 40"/>
                <a:gd name="T38" fmla="*/ 28 w 64"/>
                <a:gd name="T39" fmla="*/ 4 h 40"/>
                <a:gd name="T40" fmla="*/ 36 w 64"/>
                <a:gd name="T41" fmla="*/ 4 h 40"/>
                <a:gd name="T42" fmla="*/ 36 w 64"/>
                <a:gd name="T43" fmla="*/ 32 h 40"/>
                <a:gd name="T44" fmla="*/ 28 w 64"/>
                <a:gd name="T45" fmla="*/ 32 h 40"/>
                <a:gd name="T46" fmla="*/ 44 w 64"/>
                <a:gd name="T47" fmla="*/ 32 h 40"/>
                <a:gd name="T48" fmla="*/ 44 w 64"/>
                <a:gd name="T49" fmla="*/ 4 h 40"/>
                <a:gd name="T50" fmla="*/ 52 w 64"/>
                <a:gd name="T51" fmla="*/ 4 h 40"/>
                <a:gd name="T52" fmla="*/ 52 w 64"/>
                <a:gd name="T53" fmla="*/ 32 h 40"/>
                <a:gd name="T54" fmla="*/ 44 w 64"/>
                <a:gd name="T55"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 h="40">
                  <a:moveTo>
                    <a:pt x="56" y="4"/>
                  </a:moveTo>
                  <a:cubicBezTo>
                    <a:pt x="58" y="4"/>
                    <a:pt x="58" y="4"/>
                    <a:pt x="58" y="4"/>
                  </a:cubicBezTo>
                  <a:cubicBezTo>
                    <a:pt x="60" y="4"/>
                    <a:pt x="60" y="3"/>
                    <a:pt x="60" y="2"/>
                  </a:cubicBezTo>
                  <a:cubicBezTo>
                    <a:pt x="60" y="0"/>
                    <a:pt x="60" y="0"/>
                    <a:pt x="60" y="0"/>
                  </a:cubicBezTo>
                  <a:cubicBezTo>
                    <a:pt x="4" y="0"/>
                    <a:pt x="4" y="0"/>
                    <a:pt x="4" y="0"/>
                  </a:cubicBezTo>
                  <a:cubicBezTo>
                    <a:pt x="4" y="2"/>
                    <a:pt x="4" y="2"/>
                    <a:pt x="4" y="2"/>
                  </a:cubicBezTo>
                  <a:cubicBezTo>
                    <a:pt x="4" y="3"/>
                    <a:pt x="5" y="4"/>
                    <a:pt x="6" y="4"/>
                  </a:cubicBezTo>
                  <a:cubicBezTo>
                    <a:pt x="8" y="4"/>
                    <a:pt x="8" y="4"/>
                    <a:pt x="8" y="4"/>
                  </a:cubicBezTo>
                  <a:cubicBezTo>
                    <a:pt x="8" y="32"/>
                    <a:pt x="8" y="32"/>
                    <a:pt x="8" y="32"/>
                  </a:cubicBezTo>
                  <a:cubicBezTo>
                    <a:pt x="0" y="40"/>
                    <a:pt x="0" y="40"/>
                    <a:pt x="0" y="40"/>
                  </a:cubicBezTo>
                  <a:cubicBezTo>
                    <a:pt x="64" y="40"/>
                    <a:pt x="64" y="40"/>
                    <a:pt x="64" y="40"/>
                  </a:cubicBezTo>
                  <a:cubicBezTo>
                    <a:pt x="56" y="32"/>
                    <a:pt x="56" y="32"/>
                    <a:pt x="56" y="32"/>
                  </a:cubicBezTo>
                  <a:lnTo>
                    <a:pt x="56" y="4"/>
                  </a:lnTo>
                  <a:close/>
                  <a:moveTo>
                    <a:pt x="12" y="32"/>
                  </a:moveTo>
                  <a:cubicBezTo>
                    <a:pt x="12" y="4"/>
                    <a:pt x="12" y="4"/>
                    <a:pt x="12" y="4"/>
                  </a:cubicBezTo>
                  <a:cubicBezTo>
                    <a:pt x="20" y="4"/>
                    <a:pt x="20" y="4"/>
                    <a:pt x="20" y="4"/>
                  </a:cubicBezTo>
                  <a:cubicBezTo>
                    <a:pt x="20" y="32"/>
                    <a:pt x="20" y="32"/>
                    <a:pt x="20" y="32"/>
                  </a:cubicBezTo>
                  <a:lnTo>
                    <a:pt x="12" y="32"/>
                  </a:lnTo>
                  <a:close/>
                  <a:moveTo>
                    <a:pt x="28" y="32"/>
                  </a:moveTo>
                  <a:cubicBezTo>
                    <a:pt x="28" y="4"/>
                    <a:pt x="28" y="4"/>
                    <a:pt x="28" y="4"/>
                  </a:cubicBezTo>
                  <a:cubicBezTo>
                    <a:pt x="36" y="4"/>
                    <a:pt x="36" y="4"/>
                    <a:pt x="36" y="4"/>
                  </a:cubicBezTo>
                  <a:cubicBezTo>
                    <a:pt x="36" y="32"/>
                    <a:pt x="36" y="32"/>
                    <a:pt x="36" y="32"/>
                  </a:cubicBezTo>
                  <a:lnTo>
                    <a:pt x="28" y="32"/>
                  </a:lnTo>
                  <a:close/>
                  <a:moveTo>
                    <a:pt x="44" y="32"/>
                  </a:moveTo>
                  <a:cubicBezTo>
                    <a:pt x="44" y="4"/>
                    <a:pt x="44" y="4"/>
                    <a:pt x="44" y="4"/>
                  </a:cubicBezTo>
                  <a:cubicBezTo>
                    <a:pt x="52" y="4"/>
                    <a:pt x="52" y="4"/>
                    <a:pt x="52" y="4"/>
                  </a:cubicBezTo>
                  <a:cubicBezTo>
                    <a:pt x="52" y="32"/>
                    <a:pt x="52" y="32"/>
                    <a:pt x="52" y="32"/>
                  </a:cubicBezTo>
                  <a:lnTo>
                    <a:pt x="4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11">
              <a:extLst>
                <a:ext uri="{FF2B5EF4-FFF2-40B4-BE49-F238E27FC236}">
                  <a16:creationId xmlns:a16="http://schemas.microsoft.com/office/drawing/2014/main" id="{73839C7E-332B-41DB-835A-C815C9F56012}"/>
                </a:ext>
              </a:extLst>
            </p:cNvPr>
            <p:cNvSpPr>
              <a:spLocks/>
            </p:cNvSpPr>
            <p:nvPr/>
          </p:nvSpPr>
          <p:spPr bwMode="auto">
            <a:xfrm>
              <a:off x="-1" y="0"/>
              <a:ext cx="77" cy="24"/>
            </a:xfrm>
            <a:custGeom>
              <a:avLst/>
              <a:gdLst>
                <a:gd name="T0" fmla="*/ 77 w 77"/>
                <a:gd name="T1" fmla="*/ 24 h 24"/>
                <a:gd name="T2" fmla="*/ 38 w 77"/>
                <a:gd name="T3" fmla="*/ 0 h 24"/>
                <a:gd name="T4" fmla="*/ 0 w 77"/>
                <a:gd name="T5" fmla="*/ 24 h 24"/>
                <a:gd name="T6" fmla="*/ 77 w 77"/>
                <a:gd name="T7" fmla="*/ 24 h 24"/>
              </a:gdLst>
              <a:ahLst/>
              <a:cxnLst>
                <a:cxn ang="0">
                  <a:pos x="T0" y="T1"/>
                </a:cxn>
                <a:cxn ang="0">
                  <a:pos x="T2" y="T3"/>
                </a:cxn>
                <a:cxn ang="0">
                  <a:pos x="T4" y="T5"/>
                </a:cxn>
                <a:cxn ang="0">
                  <a:pos x="T6" y="T7"/>
                </a:cxn>
              </a:cxnLst>
              <a:rect l="0" t="0" r="r" b="b"/>
              <a:pathLst>
                <a:path w="77" h="24">
                  <a:moveTo>
                    <a:pt x="77" y="24"/>
                  </a:moveTo>
                  <a:lnTo>
                    <a:pt x="38" y="0"/>
                  </a:lnTo>
                  <a:lnTo>
                    <a:pt x="0" y="24"/>
                  </a:lnTo>
                  <a:lnTo>
                    <a:pt x="77"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3" name="Rectangle: Rounded Corners 2">
            <a:extLst>
              <a:ext uri="{FF2B5EF4-FFF2-40B4-BE49-F238E27FC236}">
                <a16:creationId xmlns:a16="http://schemas.microsoft.com/office/drawing/2014/main" id="{C4183B58-D5CE-45E1-A845-EF7D3AF12B88}"/>
              </a:ext>
            </a:extLst>
          </p:cNvPr>
          <p:cNvSpPr/>
          <p:nvPr/>
        </p:nvSpPr>
        <p:spPr bwMode="auto">
          <a:xfrm>
            <a:off x="5214242" y="2884087"/>
            <a:ext cx="4346489"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361950"/>
            <a:r>
              <a:rPr lang="en-US" b="1" cap="small">
                <a:solidFill>
                  <a:schemeClr val="tx2"/>
                </a:solidFill>
                <a:latin typeface="Trebuchet MS" pitchFamily="34" charset="0"/>
              </a:rPr>
              <a:t>Education</a:t>
            </a:r>
          </a:p>
        </p:txBody>
      </p:sp>
      <p:cxnSp>
        <p:nvCxnSpPr>
          <p:cNvPr id="25" name="Connecteur droit 24">
            <a:extLst>
              <a:ext uri="{FF2B5EF4-FFF2-40B4-BE49-F238E27FC236}">
                <a16:creationId xmlns:a16="http://schemas.microsoft.com/office/drawing/2014/main" id="{C95BC99D-2D28-4463-9948-407C171BD2CA}"/>
              </a:ext>
            </a:extLst>
          </p:cNvPr>
          <p:cNvCxnSpPr>
            <a:cxnSpLocks/>
          </p:cNvCxnSpPr>
          <p:nvPr/>
        </p:nvCxnSpPr>
        <p:spPr bwMode="auto">
          <a:xfrm>
            <a:off x="5214242" y="1781997"/>
            <a:ext cx="4346489" cy="0"/>
          </a:xfrm>
          <a:prstGeom prst="line">
            <a:avLst/>
          </a:prstGeom>
          <a:solidFill>
            <a:schemeClr val="accent1"/>
          </a:solidFill>
          <a:ln w="9525" cap="flat" cmpd="sng" algn="ctr">
            <a:solidFill>
              <a:schemeClr val="bg2"/>
            </a:solidFill>
            <a:prstDash val="solid"/>
            <a:round/>
            <a:headEnd type="none" w="med" len="med"/>
            <a:tailEnd type="none" w="med" len="med"/>
          </a:ln>
          <a:effectLst/>
        </p:spPr>
      </p:cxnSp>
      <p:sp>
        <p:nvSpPr>
          <p:cNvPr id="26" name="Rectangle: Rounded Corners 2">
            <a:extLst>
              <a:ext uri="{FF2B5EF4-FFF2-40B4-BE49-F238E27FC236}">
                <a16:creationId xmlns:a16="http://schemas.microsoft.com/office/drawing/2014/main" id="{A659BCE0-AECB-4A93-8931-C1E66492BC25}"/>
              </a:ext>
            </a:extLst>
          </p:cNvPr>
          <p:cNvSpPr/>
          <p:nvPr/>
        </p:nvSpPr>
        <p:spPr bwMode="auto">
          <a:xfrm>
            <a:off x="5214243" y="4373895"/>
            <a:ext cx="2081280"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88900"/>
            <a:r>
              <a:rPr lang="en-US" b="1" cap="small">
                <a:solidFill>
                  <a:schemeClr val="tx2"/>
                </a:solidFill>
                <a:latin typeface="Trebuchet MS" pitchFamily="34" charset="0"/>
              </a:rPr>
              <a:t>     Expertise</a:t>
            </a:r>
          </a:p>
        </p:txBody>
      </p:sp>
      <p:sp>
        <p:nvSpPr>
          <p:cNvPr id="27" name="Rectangle: Rounded Corners 2">
            <a:extLst>
              <a:ext uri="{FF2B5EF4-FFF2-40B4-BE49-F238E27FC236}">
                <a16:creationId xmlns:a16="http://schemas.microsoft.com/office/drawing/2014/main" id="{12855A7B-6042-4B0E-9C23-9D5F2FF3FB67}"/>
              </a:ext>
            </a:extLst>
          </p:cNvPr>
          <p:cNvSpPr/>
          <p:nvPr/>
        </p:nvSpPr>
        <p:spPr bwMode="auto">
          <a:xfrm>
            <a:off x="7479451" y="4373895"/>
            <a:ext cx="2081280"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88900"/>
            <a:r>
              <a:rPr lang="en-US" b="1" cap="small">
                <a:solidFill>
                  <a:schemeClr val="tx2"/>
                </a:solidFill>
                <a:latin typeface="Trebuchet MS" pitchFamily="34" charset="0"/>
              </a:rPr>
              <a:t>     Practices</a:t>
            </a:r>
          </a:p>
        </p:txBody>
      </p:sp>
      <p:sp>
        <p:nvSpPr>
          <p:cNvPr id="30" name="Freeform 5">
            <a:extLst>
              <a:ext uri="{FF2B5EF4-FFF2-40B4-BE49-F238E27FC236}">
                <a16:creationId xmlns:a16="http://schemas.microsoft.com/office/drawing/2014/main" id="{2D4B1C54-9083-4DC7-BAEF-6F7CE20BBE14}"/>
              </a:ext>
            </a:extLst>
          </p:cNvPr>
          <p:cNvSpPr>
            <a:spLocks noChangeAspect="1" noEditPoints="1"/>
          </p:cNvSpPr>
          <p:nvPr/>
        </p:nvSpPr>
        <p:spPr bwMode="auto">
          <a:xfrm>
            <a:off x="5579844" y="4417814"/>
            <a:ext cx="168798" cy="160031"/>
          </a:xfrm>
          <a:custGeom>
            <a:avLst/>
            <a:gdLst>
              <a:gd name="T0" fmla="*/ 52 w 64"/>
              <a:gd name="T1" fmla="*/ 8 h 60"/>
              <a:gd name="T2" fmla="*/ 56 w 64"/>
              <a:gd name="T3" fmla="*/ 0 h 60"/>
              <a:gd name="T4" fmla="*/ 52 w 64"/>
              <a:gd name="T5" fmla="*/ 0 h 60"/>
              <a:gd name="T6" fmla="*/ 12 w 64"/>
              <a:gd name="T7" fmla="*/ 0 h 60"/>
              <a:gd name="T8" fmla="*/ 8 w 64"/>
              <a:gd name="T9" fmla="*/ 0 h 60"/>
              <a:gd name="T10" fmla="*/ 12 w 64"/>
              <a:gd name="T11" fmla="*/ 8 h 60"/>
              <a:gd name="T12" fmla="*/ 0 w 64"/>
              <a:gd name="T13" fmla="*/ 8 h 60"/>
              <a:gd name="T14" fmla="*/ 0 w 64"/>
              <a:gd name="T15" fmla="*/ 18 h 60"/>
              <a:gd name="T16" fmla="*/ 14 w 64"/>
              <a:gd name="T17" fmla="*/ 32 h 60"/>
              <a:gd name="T18" fmla="*/ 28 w 64"/>
              <a:gd name="T19" fmla="*/ 44 h 60"/>
              <a:gd name="T20" fmla="*/ 28 w 64"/>
              <a:gd name="T21" fmla="*/ 48 h 60"/>
              <a:gd name="T22" fmla="*/ 8 w 64"/>
              <a:gd name="T23" fmla="*/ 56 h 60"/>
              <a:gd name="T24" fmla="*/ 8 w 64"/>
              <a:gd name="T25" fmla="*/ 60 h 60"/>
              <a:gd name="T26" fmla="*/ 32 w 64"/>
              <a:gd name="T27" fmla="*/ 60 h 60"/>
              <a:gd name="T28" fmla="*/ 56 w 64"/>
              <a:gd name="T29" fmla="*/ 60 h 60"/>
              <a:gd name="T30" fmla="*/ 56 w 64"/>
              <a:gd name="T31" fmla="*/ 56 h 60"/>
              <a:gd name="T32" fmla="*/ 36 w 64"/>
              <a:gd name="T33" fmla="*/ 48 h 60"/>
              <a:gd name="T34" fmla="*/ 36 w 64"/>
              <a:gd name="T35" fmla="*/ 44 h 60"/>
              <a:gd name="T36" fmla="*/ 51 w 64"/>
              <a:gd name="T37" fmla="*/ 32 h 60"/>
              <a:gd name="T38" fmla="*/ 64 w 64"/>
              <a:gd name="T39" fmla="*/ 18 h 60"/>
              <a:gd name="T40" fmla="*/ 64 w 64"/>
              <a:gd name="T41" fmla="*/ 8 h 60"/>
              <a:gd name="T42" fmla="*/ 52 w 64"/>
              <a:gd name="T43" fmla="*/ 8 h 60"/>
              <a:gd name="T44" fmla="*/ 12 w 64"/>
              <a:gd name="T45" fmla="*/ 28 h 60"/>
              <a:gd name="T46" fmla="*/ 4 w 64"/>
              <a:gd name="T47" fmla="*/ 18 h 60"/>
              <a:gd name="T48" fmla="*/ 4 w 64"/>
              <a:gd name="T49" fmla="*/ 12 h 60"/>
              <a:gd name="T50" fmla="*/ 12 w 64"/>
              <a:gd name="T51" fmla="*/ 12 h 60"/>
              <a:gd name="T52" fmla="*/ 12 w 64"/>
              <a:gd name="T53" fmla="*/ 28 h 60"/>
              <a:gd name="T54" fmla="*/ 38 w 64"/>
              <a:gd name="T55" fmla="*/ 23 h 60"/>
              <a:gd name="T56" fmla="*/ 41 w 64"/>
              <a:gd name="T57" fmla="*/ 34 h 60"/>
              <a:gd name="T58" fmla="*/ 32 w 64"/>
              <a:gd name="T59" fmla="*/ 28 h 60"/>
              <a:gd name="T60" fmla="*/ 23 w 64"/>
              <a:gd name="T61" fmla="*/ 34 h 60"/>
              <a:gd name="T62" fmla="*/ 26 w 64"/>
              <a:gd name="T63" fmla="*/ 23 h 60"/>
              <a:gd name="T64" fmla="*/ 18 w 64"/>
              <a:gd name="T65" fmla="*/ 17 h 60"/>
              <a:gd name="T66" fmla="*/ 29 w 64"/>
              <a:gd name="T67" fmla="*/ 17 h 60"/>
              <a:gd name="T68" fmla="*/ 32 w 64"/>
              <a:gd name="T69" fmla="*/ 6 h 60"/>
              <a:gd name="T70" fmla="*/ 36 w 64"/>
              <a:gd name="T71" fmla="*/ 17 h 60"/>
              <a:gd name="T72" fmla="*/ 47 w 64"/>
              <a:gd name="T73" fmla="*/ 17 h 60"/>
              <a:gd name="T74" fmla="*/ 38 w 64"/>
              <a:gd name="T75" fmla="*/ 23 h 60"/>
              <a:gd name="T76" fmla="*/ 60 w 64"/>
              <a:gd name="T77" fmla="*/ 18 h 60"/>
              <a:gd name="T78" fmla="*/ 52 w 64"/>
              <a:gd name="T79" fmla="*/ 28 h 60"/>
              <a:gd name="T80" fmla="*/ 52 w 64"/>
              <a:gd name="T81" fmla="*/ 12 h 60"/>
              <a:gd name="T82" fmla="*/ 60 w 64"/>
              <a:gd name="T83" fmla="*/ 12 h 60"/>
              <a:gd name="T84" fmla="*/ 60 w 64"/>
              <a:gd name="T85" fmla="*/ 1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 h="60">
                <a:moveTo>
                  <a:pt x="52" y="8"/>
                </a:moveTo>
                <a:cubicBezTo>
                  <a:pt x="56" y="0"/>
                  <a:pt x="56" y="0"/>
                  <a:pt x="56" y="0"/>
                </a:cubicBezTo>
                <a:cubicBezTo>
                  <a:pt x="52" y="0"/>
                  <a:pt x="52" y="0"/>
                  <a:pt x="52" y="0"/>
                </a:cubicBezTo>
                <a:cubicBezTo>
                  <a:pt x="12" y="0"/>
                  <a:pt x="12" y="0"/>
                  <a:pt x="12" y="0"/>
                </a:cubicBezTo>
                <a:cubicBezTo>
                  <a:pt x="8" y="0"/>
                  <a:pt x="8" y="0"/>
                  <a:pt x="8" y="0"/>
                </a:cubicBezTo>
                <a:cubicBezTo>
                  <a:pt x="12" y="8"/>
                  <a:pt x="12" y="8"/>
                  <a:pt x="12" y="8"/>
                </a:cubicBezTo>
                <a:cubicBezTo>
                  <a:pt x="0" y="8"/>
                  <a:pt x="0" y="8"/>
                  <a:pt x="0" y="8"/>
                </a:cubicBezTo>
                <a:cubicBezTo>
                  <a:pt x="0" y="18"/>
                  <a:pt x="0" y="18"/>
                  <a:pt x="0" y="18"/>
                </a:cubicBezTo>
                <a:cubicBezTo>
                  <a:pt x="0" y="22"/>
                  <a:pt x="0" y="30"/>
                  <a:pt x="14" y="32"/>
                </a:cubicBezTo>
                <a:cubicBezTo>
                  <a:pt x="17" y="38"/>
                  <a:pt x="22" y="42"/>
                  <a:pt x="28" y="44"/>
                </a:cubicBezTo>
                <a:cubicBezTo>
                  <a:pt x="28" y="45"/>
                  <a:pt x="28" y="47"/>
                  <a:pt x="28" y="48"/>
                </a:cubicBezTo>
                <a:cubicBezTo>
                  <a:pt x="28" y="56"/>
                  <a:pt x="12" y="56"/>
                  <a:pt x="8" y="56"/>
                </a:cubicBezTo>
                <a:cubicBezTo>
                  <a:pt x="8" y="60"/>
                  <a:pt x="8" y="60"/>
                  <a:pt x="8" y="60"/>
                </a:cubicBezTo>
                <a:cubicBezTo>
                  <a:pt x="32" y="60"/>
                  <a:pt x="32" y="60"/>
                  <a:pt x="32" y="60"/>
                </a:cubicBezTo>
                <a:cubicBezTo>
                  <a:pt x="56" y="60"/>
                  <a:pt x="56" y="60"/>
                  <a:pt x="56" y="60"/>
                </a:cubicBezTo>
                <a:cubicBezTo>
                  <a:pt x="56" y="60"/>
                  <a:pt x="56" y="60"/>
                  <a:pt x="56" y="56"/>
                </a:cubicBezTo>
                <a:cubicBezTo>
                  <a:pt x="52" y="56"/>
                  <a:pt x="36" y="56"/>
                  <a:pt x="36" y="48"/>
                </a:cubicBezTo>
                <a:cubicBezTo>
                  <a:pt x="36" y="47"/>
                  <a:pt x="36" y="45"/>
                  <a:pt x="36" y="44"/>
                </a:cubicBezTo>
                <a:cubicBezTo>
                  <a:pt x="43" y="42"/>
                  <a:pt x="48" y="38"/>
                  <a:pt x="51" y="32"/>
                </a:cubicBezTo>
                <a:cubicBezTo>
                  <a:pt x="64" y="30"/>
                  <a:pt x="64" y="22"/>
                  <a:pt x="64" y="18"/>
                </a:cubicBezTo>
                <a:cubicBezTo>
                  <a:pt x="64" y="8"/>
                  <a:pt x="64" y="8"/>
                  <a:pt x="64" y="8"/>
                </a:cubicBezTo>
                <a:lnTo>
                  <a:pt x="52" y="8"/>
                </a:lnTo>
                <a:close/>
                <a:moveTo>
                  <a:pt x="12" y="28"/>
                </a:moveTo>
                <a:cubicBezTo>
                  <a:pt x="4" y="26"/>
                  <a:pt x="4" y="21"/>
                  <a:pt x="4" y="18"/>
                </a:cubicBezTo>
                <a:cubicBezTo>
                  <a:pt x="4" y="12"/>
                  <a:pt x="4" y="12"/>
                  <a:pt x="4" y="12"/>
                </a:cubicBezTo>
                <a:cubicBezTo>
                  <a:pt x="12" y="12"/>
                  <a:pt x="12" y="12"/>
                  <a:pt x="12" y="12"/>
                </a:cubicBezTo>
                <a:lnTo>
                  <a:pt x="12" y="28"/>
                </a:lnTo>
                <a:close/>
                <a:moveTo>
                  <a:pt x="38" y="23"/>
                </a:moveTo>
                <a:cubicBezTo>
                  <a:pt x="41" y="34"/>
                  <a:pt x="41" y="34"/>
                  <a:pt x="41" y="34"/>
                </a:cubicBezTo>
                <a:cubicBezTo>
                  <a:pt x="32" y="28"/>
                  <a:pt x="32" y="28"/>
                  <a:pt x="32" y="28"/>
                </a:cubicBezTo>
                <a:cubicBezTo>
                  <a:pt x="23" y="34"/>
                  <a:pt x="23" y="34"/>
                  <a:pt x="23" y="34"/>
                </a:cubicBezTo>
                <a:cubicBezTo>
                  <a:pt x="26" y="23"/>
                  <a:pt x="26" y="23"/>
                  <a:pt x="26" y="23"/>
                </a:cubicBezTo>
                <a:cubicBezTo>
                  <a:pt x="18" y="17"/>
                  <a:pt x="18" y="17"/>
                  <a:pt x="18" y="17"/>
                </a:cubicBezTo>
                <a:cubicBezTo>
                  <a:pt x="29" y="17"/>
                  <a:pt x="29" y="17"/>
                  <a:pt x="29" y="17"/>
                </a:cubicBezTo>
                <a:cubicBezTo>
                  <a:pt x="32" y="6"/>
                  <a:pt x="32" y="6"/>
                  <a:pt x="32" y="6"/>
                </a:cubicBezTo>
                <a:cubicBezTo>
                  <a:pt x="36" y="17"/>
                  <a:pt x="36" y="17"/>
                  <a:pt x="36" y="17"/>
                </a:cubicBezTo>
                <a:cubicBezTo>
                  <a:pt x="47" y="17"/>
                  <a:pt x="47" y="17"/>
                  <a:pt x="47" y="17"/>
                </a:cubicBezTo>
                <a:lnTo>
                  <a:pt x="38" y="23"/>
                </a:lnTo>
                <a:close/>
                <a:moveTo>
                  <a:pt x="60" y="18"/>
                </a:moveTo>
                <a:cubicBezTo>
                  <a:pt x="60" y="21"/>
                  <a:pt x="60" y="26"/>
                  <a:pt x="52" y="28"/>
                </a:cubicBezTo>
                <a:cubicBezTo>
                  <a:pt x="52" y="12"/>
                  <a:pt x="52" y="12"/>
                  <a:pt x="52" y="12"/>
                </a:cubicBezTo>
                <a:cubicBezTo>
                  <a:pt x="60" y="12"/>
                  <a:pt x="60" y="12"/>
                  <a:pt x="60" y="12"/>
                </a:cubicBezTo>
                <a:lnTo>
                  <a:pt x="60" y="1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r-FR"/>
          </a:p>
        </p:txBody>
      </p:sp>
      <p:grpSp>
        <p:nvGrpSpPr>
          <p:cNvPr id="31" name="Group 9">
            <a:extLst>
              <a:ext uri="{FF2B5EF4-FFF2-40B4-BE49-F238E27FC236}">
                <a16:creationId xmlns:a16="http://schemas.microsoft.com/office/drawing/2014/main" id="{B556EE8A-7D27-44BC-92BF-492AB1DD4E13}"/>
              </a:ext>
            </a:extLst>
          </p:cNvPr>
          <p:cNvGrpSpPr>
            <a:grpSpLocks noChangeAspect="1"/>
          </p:cNvGrpSpPr>
          <p:nvPr/>
        </p:nvGrpSpPr>
        <p:grpSpPr bwMode="auto">
          <a:xfrm>
            <a:off x="7849434" y="4414484"/>
            <a:ext cx="160033" cy="160033"/>
            <a:chOff x="-1" y="0"/>
            <a:chExt cx="77" cy="77"/>
          </a:xfrm>
          <a:solidFill>
            <a:schemeClr val="tx2"/>
          </a:solidFill>
        </p:grpSpPr>
        <p:sp>
          <p:nvSpPr>
            <p:cNvPr id="32" name="Freeform 10">
              <a:extLst>
                <a:ext uri="{FF2B5EF4-FFF2-40B4-BE49-F238E27FC236}">
                  <a16:creationId xmlns:a16="http://schemas.microsoft.com/office/drawing/2014/main" id="{3AFE975E-536B-4ACF-BAC5-EC7B04053C60}"/>
                </a:ext>
              </a:extLst>
            </p:cNvPr>
            <p:cNvSpPr>
              <a:spLocks noEditPoints="1"/>
            </p:cNvSpPr>
            <p:nvPr/>
          </p:nvSpPr>
          <p:spPr bwMode="auto">
            <a:xfrm>
              <a:off x="-1" y="29"/>
              <a:ext cx="77" cy="48"/>
            </a:xfrm>
            <a:custGeom>
              <a:avLst/>
              <a:gdLst>
                <a:gd name="T0" fmla="*/ 56 w 64"/>
                <a:gd name="T1" fmla="*/ 4 h 40"/>
                <a:gd name="T2" fmla="*/ 58 w 64"/>
                <a:gd name="T3" fmla="*/ 4 h 40"/>
                <a:gd name="T4" fmla="*/ 60 w 64"/>
                <a:gd name="T5" fmla="*/ 2 h 40"/>
                <a:gd name="T6" fmla="*/ 60 w 64"/>
                <a:gd name="T7" fmla="*/ 0 h 40"/>
                <a:gd name="T8" fmla="*/ 4 w 64"/>
                <a:gd name="T9" fmla="*/ 0 h 40"/>
                <a:gd name="T10" fmla="*/ 4 w 64"/>
                <a:gd name="T11" fmla="*/ 2 h 40"/>
                <a:gd name="T12" fmla="*/ 6 w 64"/>
                <a:gd name="T13" fmla="*/ 4 h 40"/>
                <a:gd name="T14" fmla="*/ 8 w 64"/>
                <a:gd name="T15" fmla="*/ 4 h 40"/>
                <a:gd name="T16" fmla="*/ 8 w 64"/>
                <a:gd name="T17" fmla="*/ 32 h 40"/>
                <a:gd name="T18" fmla="*/ 0 w 64"/>
                <a:gd name="T19" fmla="*/ 40 h 40"/>
                <a:gd name="T20" fmla="*/ 64 w 64"/>
                <a:gd name="T21" fmla="*/ 40 h 40"/>
                <a:gd name="T22" fmla="*/ 56 w 64"/>
                <a:gd name="T23" fmla="*/ 32 h 40"/>
                <a:gd name="T24" fmla="*/ 56 w 64"/>
                <a:gd name="T25" fmla="*/ 4 h 40"/>
                <a:gd name="T26" fmla="*/ 12 w 64"/>
                <a:gd name="T27" fmla="*/ 32 h 40"/>
                <a:gd name="T28" fmla="*/ 12 w 64"/>
                <a:gd name="T29" fmla="*/ 4 h 40"/>
                <a:gd name="T30" fmla="*/ 20 w 64"/>
                <a:gd name="T31" fmla="*/ 4 h 40"/>
                <a:gd name="T32" fmla="*/ 20 w 64"/>
                <a:gd name="T33" fmla="*/ 32 h 40"/>
                <a:gd name="T34" fmla="*/ 12 w 64"/>
                <a:gd name="T35" fmla="*/ 32 h 40"/>
                <a:gd name="T36" fmla="*/ 28 w 64"/>
                <a:gd name="T37" fmla="*/ 32 h 40"/>
                <a:gd name="T38" fmla="*/ 28 w 64"/>
                <a:gd name="T39" fmla="*/ 4 h 40"/>
                <a:gd name="T40" fmla="*/ 36 w 64"/>
                <a:gd name="T41" fmla="*/ 4 h 40"/>
                <a:gd name="T42" fmla="*/ 36 w 64"/>
                <a:gd name="T43" fmla="*/ 32 h 40"/>
                <a:gd name="T44" fmla="*/ 28 w 64"/>
                <a:gd name="T45" fmla="*/ 32 h 40"/>
                <a:gd name="T46" fmla="*/ 44 w 64"/>
                <a:gd name="T47" fmla="*/ 32 h 40"/>
                <a:gd name="T48" fmla="*/ 44 w 64"/>
                <a:gd name="T49" fmla="*/ 4 h 40"/>
                <a:gd name="T50" fmla="*/ 52 w 64"/>
                <a:gd name="T51" fmla="*/ 4 h 40"/>
                <a:gd name="T52" fmla="*/ 52 w 64"/>
                <a:gd name="T53" fmla="*/ 32 h 40"/>
                <a:gd name="T54" fmla="*/ 44 w 64"/>
                <a:gd name="T55"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 h="40">
                  <a:moveTo>
                    <a:pt x="56" y="4"/>
                  </a:moveTo>
                  <a:cubicBezTo>
                    <a:pt x="58" y="4"/>
                    <a:pt x="58" y="4"/>
                    <a:pt x="58" y="4"/>
                  </a:cubicBezTo>
                  <a:cubicBezTo>
                    <a:pt x="60" y="4"/>
                    <a:pt x="60" y="3"/>
                    <a:pt x="60" y="2"/>
                  </a:cubicBezTo>
                  <a:cubicBezTo>
                    <a:pt x="60" y="0"/>
                    <a:pt x="60" y="0"/>
                    <a:pt x="60" y="0"/>
                  </a:cubicBezTo>
                  <a:cubicBezTo>
                    <a:pt x="4" y="0"/>
                    <a:pt x="4" y="0"/>
                    <a:pt x="4" y="0"/>
                  </a:cubicBezTo>
                  <a:cubicBezTo>
                    <a:pt x="4" y="2"/>
                    <a:pt x="4" y="2"/>
                    <a:pt x="4" y="2"/>
                  </a:cubicBezTo>
                  <a:cubicBezTo>
                    <a:pt x="4" y="3"/>
                    <a:pt x="5" y="4"/>
                    <a:pt x="6" y="4"/>
                  </a:cubicBezTo>
                  <a:cubicBezTo>
                    <a:pt x="8" y="4"/>
                    <a:pt x="8" y="4"/>
                    <a:pt x="8" y="4"/>
                  </a:cubicBezTo>
                  <a:cubicBezTo>
                    <a:pt x="8" y="32"/>
                    <a:pt x="8" y="32"/>
                    <a:pt x="8" y="32"/>
                  </a:cubicBezTo>
                  <a:cubicBezTo>
                    <a:pt x="0" y="40"/>
                    <a:pt x="0" y="40"/>
                    <a:pt x="0" y="40"/>
                  </a:cubicBezTo>
                  <a:cubicBezTo>
                    <a:pt x="64" y="40"/>
                    <a:pt x="64" y="40"/>
                    <a:pt x="64" y="40"/>
                  </a:cubicBezTo>
                  <a:cubicBezTo>
                    <a:pt x="56" y="32"/>
                    <a:pt x="56" y="32"/>
                    <a:pt x="56" y="32"/>
                  </a:cubicBezTo>
                  <a:lnTo>
                    <a:pt x="56" y="4"/>
                  </a:lnTo>
                  <a:close/>
                  <a:moveTo>
                    <a:pt x="12" y="32"/>
                  </a:moveTo>
                  <a:cubicBezTo>
                    <a:pt x="12" y="4"/>
                    <a:pt x="12" y="4"/>
                    <a:pt x="12" y="4"/>
                  </a:cubicBezTo>
                  <a:cubicBezTo>
                    <a:pt x="20" y="4"/>
                    <a:pt x="20" y="4"/>
                    <a:pt x="20" y="4"/>
                  </a:cubicBezTo>
                  <a:cubicBezTo>
                    <a:pt x="20" y="32"/>
                    <a:pt x="20" y="32"/>
                    <a:pt x="20" y="32"/>
                  </a:cubicBezTo>
                  <a:lnTo>
                    <a:pt x="12" y="32"/>
                  </a:lnTo>
                  <a:close/>
                  <a:moveTo>
                    <a:pt x="28" y="32"/>
                  </a:moveTo>
                  <a:cubicBezTo>
                    <a:pt x="28" y="4"/>
                    <a:pt x="28" y="4"/>
                    <a:pt x="28" y="4"/>
                  </a:cubicBezTo>
                  <a:cubicBezTo>
                    <a:pt x="36" y="4"/>
                    <a:pt x="36" y="4"/>
                    <a:pt x="36" y="4"/>
                  </a:cubicBezTo>
                  <a:cubicBezTo>
                    <a:pt x="36" y="32"/>
                    <a:pt x="36" y="32"/>
                    <a:pt x="36" y="32"/>
                  </a:cubicBezTo>
                  <a:lnTo>
                    <a:pt x="28" y="32"/>
                  </a:lnTo>
                  <a:close/>
                  <a:moveTo>
                    <a:pt x="44" y="32"/>
                  </a:moveTo>
                  <a:cubicBezTo>
                    <a:pt x="44" y="4"/>
                    <a:pt x="44" y="4"/>
                    <a:pt x="44" y="4"/>
                  </a:cubicBezTo>
                  <a:cubicBezTo>
                    <a:pt x="52" y="4"/>
                    <a:pt x="52" y="4"/>
                    <a:pt x="52" y="4"/>
                  </a:cubicBezTo>
                  <a:cubicBezTo>
                    <a:pt x="52" y="32"/>
                    <a:pt x="52" y="32"/>
                    <a:pt x="52" y="32"/>
                  </a:cubicBezTo>
                  <a:lnTo>
                    <a:pt x="4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11">
              <a:extLst>
                <a:ext uri="{FF2B5EF4-FFF2-40B4-BE49-F238E27FC236}">
                  <a16:creationId xmlns:a16="http://schemas.microsoft.com/office/drawing/2014/main" id="{331C8FD1-B375-47B7-9935-57A38B974C3A}"/>
                </a:ext>
              </a:extLst>
            </p:cNvPr>
            <p:cNvSpPr>
              <a:spLocks/>
            </p:cNvSpPr>
            <p:nvPr/>
          </p:nvSpPr>
          <p:spPr bwMode="auto">
            <a:xfrm>
              <a:off x="-1" y="0"/>
              <a:ext cx="77" cy="24"/>
            </a:xfrm>
            <a:custGeom>
              <a:avLst/>
              <a:gdLst>
                <a:gd name="T0" fmla="*/ 77 w 77"/>
                <a:gd name="T1" fmla="*/ 24 h 24"/>
                <a:gd name="T2" fmla="*/ 38 w 77"/>
                <a:gd name="T3" fmla="*/ 0 h 24"/>
                <a:gd name="T4" fmla="*/ 0 w 77"/>
                <a:gd name="T5" fmla="*/ 24 h 24"/>
                <a:gd name="T6" fmla="*/ 77 w 77"/>
                <a:gd name="T7" fmla="*/ 24 h 24"/>
              </a:gdLst>
              <a:ahLst/>
              <a:cxnLst>
                <a:cxn ang="0">
                  <a:pos x="T0" y="T1"/>
                </a:cxn>
                <a:cxn ang="0">
                  <a:pos x="T2" y="T3"/>
                </a:cxn>
                <a:cxn ang="0">
                  <a:pos x="T4" y="T5"/>
                </a:cxn>
                <a:cxn ang="0">
                  <a:pos x="T6" y="T7"/>
                </a:cxn>
              </a:cxnLst>
              <a:rect l="0" t="0" r="r" b="b"/>
              <a:pathLst>
                <a:path w="77" h="24">
                  <a:moveTo>
                    <a:pt x="77" y="24"/>
                  </a:moveTo>
                  <a:lnTo>
                    <a:pt x="38" y="0"/>
                  </a:lnTo>
                  <a:lnTo>
                    <a:pt x="0" y="24"/>
                  </a:lnTo>
                  <a:lnTo>
                    <a:pt x="77"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cxnSp>
        <p:nvCxnSpPr>
          <p:cNvPr id="35" name="Connecteur droit 34">
            <a:extLst>
              <a:ext uri="{FF2B5EF4-FFF2-40B4-BE49-F238E27FC236}">
                <a16:creationId xmlns:a16="http://schemas.microsoft.com/office/drawing/2014/main" id="{F809FE76-16E7-4FCD-B055-07DDD19A9F64}"/>
              </a:ext>
            </a:extLst>
          </p:cNvPr>
          <p:cNvCxnSpPr/>
          <p:nvPr/>
        </p:nvCxnSpPr>
        <p:spPr bwMode="auto">
          <a:xfrm>
            <a:off x="7387487" y="4707510"/>
            <a:ext cx="0" cy="1526875"/>
          </a:xfrm>
          <a:prstGeom prst="line">
            <a:avLst/>
          </a:prstGeom>
          <a:solidFill>
            <a:schemeClr val="accent1"/>
          </a:solidFill>
          <a:ln w="9525" cap="flat" cmpd="sng" algn="ctr">
            <a:solidFill>
              <a:schemeClr val="bg2">
                <a:lumMod val="60000"/>
                <a:lumOff val="40000"/>
              </a:schemeClr>
            </a:solidFill>
            <a:prstDash val="solid"/>
            <a:round/>
            <a:headEnd type="none" w="med" len="med"/>
            <a:tailEnd type="none" w="med" len="med"/>
          </a:ln>
          <a:effectLst/>
        </p:spPr>
      </p:cxnSp>
    </p:spTree>
    <p:extLst>
      <p:ext uri="{BB962C8B-B14F-4D97-AF65-F5344CB8AC3E}">
        <p14:creationId xmlns:p14="http://schemas.microsoft.com/office/powerpoint/2010/main" val="3474409925"/>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mplate CV">
    <p:spTree>
      <p:nvGrpSpPr>
        <p:cNvPr id="1" name=""/>
        <p:cNvGrpSpPr/>
        <p:nvPr/>
      </p:nvGrpSpPr>
      <p:grpSpPr>
        <a:xfrm>
          <a:off x="0" y="0"/>
          <a:ext cx="0" cy="0"/>
          <a:chOff x="0" y="0"/>
          <a:chExt cx="0" cy="0"/>
        </a:xfrm>
      </p:grpSpPr>
      <p:sp>
        <p:nvSpPr>
          <p:cNvPr id="8" name="ZoneTexte 12"/>
          <p:cNvSpPr txBox="1"/>
          <p:nvPr/>
        </p:nvSpPr>
        <p:spPr>
          <a:xfrm>
            <a:off x="695277" y="3022168"/>
            <a:ext cx="865083"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fr-FR" sz="1200" b="0" i="0" u="none" strike="noStrike" kern="1200" cap="none" spc="0" normalizeH="0" baseline="0" noProof="0">
                <a:ln>
                  <a:noFill/>
                </a:ln>
                <a:solidFill>
                  <a:schemeClr val="tx1"/>
                </a:solidFill>
                <a:effectLst/>
                <a:uLnTx/>
                <a:uFillTx/>
                <a:latin typeface="Trebuchet MS"/>
                <a:ea typeface="+mn-ea"/>
                <a:cs typeface="Arial" pitchFamily="34" charset="0"/>
              </a:rPr>
              <a:t>Expertises</a:t>
            </a:r>
            <a:endParaRPr kumimoji="0" lang="fr-FR"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9" name="ZoneTexte 12"/>
          <p:cNvSpPr txBox="1"/>
          <p:nvPr/>
        </p:nvSpPr>
        <p:spPr>
          <a:xfrm>
            <a:off x="695277" y="4260283"/>
            <a:ext cx="1861126"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fr-FR" sz="1200" b="0" i="0" u="none" strike="noStrike" kern="1200" cap="none" spc="0" normalizeH="0" baseline="0" noProof="0">
                <a:ln>
                  <a:noFill/>
                </a:ln>
                <a:solidFill>
                  <a:schemeClr val="tx1"/>
                </a:solidFill>
                <a:effectLst/>
                <a:uLnTx/>
                <a:uFillTx/>
                <a:latin typeface="Trebuchet MS"/>
                <a:ea typeface="+mn-ea"/>
                <a:cs typeface="Arial" pitchFamily="34" charset="0"/>
              </a:rPr>
              <a:t>Compétences sectorielles</a:t>
            </a:r>
            <a:endParaRPr kumimoji="0" lang="fr-FR"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0" name="ZoneTexte 12"/>
          <p:cNvSpPr txBox="1"/>
          <p:nvPr/>
        </p:nvSpPr>
        <p:spPr>
          <a:xfrm>
            <a:off x="695277" y="5316504"/>
            <a:ext cx="773279"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fr-FR" sz="1200" b="0" i="0" u="none" strike="noStrike" kern="1200" cap="none" spc="0" normalizeH="0" baseline="0" noProof="0">
                <a:ln>
                  <a:noFill/>
                </a:ln>
                <a:solidFill>
                  <a:schemeClr val="tx1"/>
                </a:solidFill>
                <a:effectLst/>
                <a:uLnTx/>
                <a:uFillTx/>
                <a:latin typeface="Trebuchet MS"/>
                <a:ea typeface="+mn-ea"/>
                <a:cs typeface="Arial" pitchFamily="34" charset="0"/>
              </a:rPr>
              <a:t>Parcours</a:t>
            </a:r>
            <a:endParaRPr kumimoji="0" lang="fr-FR"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1" name="ZoneTexte 12"/>
          <p:cNvSpPr txBox="1"/>
          <p:nvPr/>
        </p:nvSpPr>
        <p:spPr>
          <a:xfrm>
            <a:off x="695277" y="2259698"/>
            <a:ext cx="864000"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fr-FR" sz="1200" b="0" i="0" u="none" strike="noStrike" kern="1200" cap="none" spc="0" normalizeH="0" baseline="0" noProof="0">
                <a:ln>
                  <a:noFill/>
                </a:ln>
                <a:solidFill>
                  <a:schemeClr val="tx1"/>
                </a:solidFill>
                <a:effectLst/>
                <a:uLnTx/>
                <a:uFillTx/>
                <a:latin typeface="Trebuchet MS"/>
                <a:ea typeface="+mn-ea"/>
                <a:cs typeface="Arial" pitchFamily="34" charset="0"/>
              </a:rPr>
              <a:t>Formation</a:t>
            </a:r>
            <a:endParaRPr kumimoji="0" lang="fr-FR"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2" name="ZoneTexte 12"/>
          <p:cNvSpPr txBox="1"/>
          <p:nvPr/>
        </p:nvSpPr>
        <p:spPr>
          <a:xfrm>
            <a:off x="4239991" y="2259698"/>
            <a:ext cx="1714427"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fr-FR" sz="1200" b="0" i="0" u="none" strike="noStrike" kern="1200" cap="none" spc="0" normalizeH="0" baseline="0" noProof="0">
                <a:ln>
                  <a:noFill/>
                </a:ln>
                <a:solidFill>
                  <a:schemeClr val="tx1"/>
                </a:solidFill>
                <a:effectLst/>
                <a:uLnTx/>
                <a:uFillTx/>
                <a:latin typeface="Trebuchet MS"/>
                <a:ea typeface="+mn-ea"/>
                <a:cs typeface="Arial" pitchFamily="34" charset="0"/>
              </a:rPr>
              <a:t>Principales références</a:t>
            </a:r>
            <a:endParaRPr kumimoji="0" lang="fr-FR"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cxnSp>
        <p:nvCxnSpPr>
          <p:cNvPr id="13" name="Connecteur droit 12"/>
          <p:cNvCxnSpPr>
            <a:cxnSpLocks/>
          </p:cNvCxnSpPr>
          <p:nvPr/>
        </p:nvCxnSpPr>
        <p:spPr>
          <a:xfrm>
            <a:off x="4508740" y="770626"/>
            <a:ext cx="4634423"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 name="Connecteur droit 13"/>
          <p:cNvCxnSpPr/>
          <p:nvPr/>
        </p:nvCxnSpPr>
        <p:spPr>
          <a:xfrm>
            <a:off x="5964677" y="2349698"/>
            <a:ext cx="3178486"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5" name="Connecteur droit 14"/>
          <p:cNvCxnSpPr>
            <a:cxnSpLocks/>
          </p:cNvCxnSpPr>
          <p:nvPr/>
        </p:nvCxnSpPr>
        <p:spPr>
          <a:xfrm>
            <a:off x="1575702" y="2349698"/>
            <a:ext cx="2297799"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Connecteur droit 15"/>
          <p:cNvCxnSpPr>
            <a:cxnSpLocks/>
          </p:cNvCxnSpPr>
          <p:nvPr/>
        </p:nvCxnSpPr>
        <p:spPr>
          <a:xfrm>
            <a:off x="1575702" y="3112168"/>
            <a:ext cx="2297798"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7" name="Connecteur droit 16"/>
          <p:cNvCxnSpPr>
            <a:cxnSpLocks/>
          </p:cNvCxnSpPr>
          <p:nvPr/>
        </p:nvCxnSpPr>
        <p:spPr>
          <a:xfrm>
            <a:off x="2632051" y="4350283"/>
            <a:ext cx="1241449"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Connecteur droit 17"/>
          <p:cNvCxnSpPr>
            <a:cxnSpLocks/>
          </p:cNvCxnSpPr>
          <p:nvPr/>
        </p:nvCxnSpPr>
        <p:spPr>
          <a:xfrm>
            <a:off x="1429644" y="5406504"/>
            <a:ext cx="2443856"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23" name="Espace réservé pour une image  22"/>
          <p:cNvSpPr>
            <a:spLocks noGrp="1"/>
          </p:cNvSpPr>
          <p:nvPr>
            <p:ph type="pic" sz="quarter" idx="10"/>
          </p:nvPr>
        </p:nvSpPr>
        <p:spPr>
          <a:xfrm>
            <a:off x="695277" y="585014"/>
            <a:ext cx="1414800" cy="1413684"/>
          </a:xfrm>
        </p:spPr>
        <p:txBody>
          <a:bodyPr>
            <a:normAutofit/>
          </a:bodyPr>
          <a:lstStyle>
            <a:lvl1pPr marL="0" indent="0" algn="ctr">
              <a:buNone/>
              <a:defRPr sz="1100">
                <a:solidFill>
                  <a:schemeClr val="tx1"/>
                </a:solidFill>
              </a:defRPr>
            </a:lvl1pPr>
          </a:lstStyle>
          <a:p>
            <a:r>
              <a:rPr lang="fr-FR"/>
              <a:t>Cliquez sur l’icône pour ajouter une image</a:t>
            </a:r>
            <a:endParaRPr lang="en-US"/>
          </a:p>
        </p:txBody>
      </p:sp>
      <p:sp>
        <p:nvSpPr>
          <p:cNvPr id="25" name="Espace réservé du texte 24"/>
          <p:cNvSpPr>
            <a:spLocks noGrp="1"/>
          </p:cNvSpPr>
          <p:nvPr>
            <p:ph type="body" sz="quarter" idx="11" hasCustomPrompt="1"/>
          </p:nvPr>
        </p:nvSpPr>
        <p:spPr>
          <a:xfrm>
            <a:off x="2447925" y="585016"/>
            <a:ext cx="1963208" cy="232112"/>
          </a:xfrm>
        </p:spPr>
        <p:txBody>
          <a:bodyPr>
            <a:noAutofit/>
          </a:bodyPr>
          <a:lstStyle>
            <a:lvl1pPr marL="0" indent="0">
              <a:buFont typeface="Arial" panose="020B0604020202020204" pitchFamily="34" charset="0"/>
              <a:buNone/>
              <a:defRPr kumimoji="0" lang="fr-FR" sz="1200" b="0" i="0" u="none" strike="noStrike" kern="1200" cap="none" spc="0" normalizeH="0" baseline="0" dirty="0" smtClean="0">
                <a:ln>
                  <a:noFill/>
                </a:ln>
                <a:solidFill>
                  <a:schemeClr val="tx1"/>
                </a:solidFill>
                <a:effectLst/>
                <a:uLnTx/>
                <a:uFillTx/>
                <a:latin typeface="Trebuchet MS"/>
                <a:ea typeface="+mj-ea"/>
                <a:cs typeface="Trebuchet M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fr-FR"/>
              <a:t>Prénom</a:t>
            </a:r>
          </a:p>
        </p:txBody>
      </p:sp>
      <p:sp>
        <p:nvSpPr>
          <p:cNvPr id="27" name="Espace réservé du texte 24"/>
          <p:cNvSpPr>
            <a:spLocks noGrp="1"/>
          </p:cNvSpPr>
          <p:nvPr>
            <p:ph type="body" sz="quarter" idx="12" hasCustomPrompt="1"/>
          </p:nvPr>
        </p:nvSpPr>
        <p:spPr>
          <a:xfrm>
            <a:off x="2447926" y="827952"/>
            <a:ext cx="6695237" cy="223279"/>
          </a:xfrm>
        </p:spPr>
        <p:txBody>
          <a:bodyPr>
            <a:noAutofit/>
          </a:bodyPr>
          <a:lstStyle>
            <a:lvl1pPr marL="0" indent="0" algn="l" defTabSz="457200" rtl="0" eaLnBrk="1" fontAlgn="base" latinLnBrk="0" hangingPunct="1">
              <a:spcBef>
                <a:spcPct val="0"/>
              </a:spcBef>
              <a:spcAft>
                <a:spcPct val="0"/>
              </a:spcAft>
              <a:buFont typeface="Arial" panose="020B0604020202020204" pitchFamily="34" charset="0"/>
              <a:buNone/>
              <a:defRPr lang="fr-FR" sz="1200" b="1" kern="1200" dirty="0" smtClean="0">
                <a:solidFill>
                  <a:schemeClr val="tx1"/>
                </a:solidFill>
                <a:latin typeface="Trebuchet MS" panose="020B0603020202020204" pitchFamily="34" charset="0"/>
                <a:ea typeface="+mj-ea"/>
                <a:cs typeface="+mj-c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fr-FR" noProof="0"/>
              <a:t>Position</a:t>
            </a:r>
          </a:p>
        </p:txBody>
      </p:sp>
      <p:sp>
        <p:nvSpPr>
          <p:cNvPr id="28" name="Espace réservé du texte 24"/>
          <p:cNvSpPr>
            <a:spLocks noGrp="1"/>
          </p:cNvSpPr>
          <p:nvPr>
            <p:ph type="body" sz="quarter" idx="13" hasCustomPrompt="1"/>
          </p:nvPr>
        </p:nvSpPr>
        <p:spPr>
          <a:xfrm>
            <a:off x="2447925" y="1172877"/>
            <a:ext cx="6695238" cy="825821"/>
          </a:xfrm>
        </p:spPr>
        <p:txBody>
          <a:bodyPr>
            <a:noAutofit/>
          </a:bodyPr>
          <a:lstStyle>
            <a:lvl1pPr marL="0" indent="0" algn="l" defTabSz="457200" rtl="0" eaLnBrk="1" fontAlgn="base" latinLnBrk="0" hangingPunct="1">
              <a:spcBef>
                <a:spcPct val="0"/>
              </a:spcBef>
              <a:spcAft>
                <a:spcPct val="0"/>
              </a:spcAft>
              <a:buFont typeface="Arial" panose="020B0604020202020204" pitchFamily="34" charset="0"/>
              <a:buNone/>
              <a:defRPr lang="fr-FR" sz="1000" kern="1200" dirty="0" smtClean="0">
                <a:solidFill>
                  <a:schemeClr val="tx1"/>
                </a:solidFill>
                <a:latin typeface="Trebuchet MS" panose="020B0603020202020204" pitchFamily="34" charset="0"/>
                <a:ea typeface="+mj-ea"/>
                <a:cs typeface="+mj-c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fr-FR" noProof="0"/>
              <a:t>Description rapide du parcours </a:t>
            </a:r>
          </a:p>
        </p:txBody>
      </p:sp>
      <p:sp>
        <p:nvSpPr>
          <p:cNvPr id="32" name="Espace réservé du texte 31"/>
          <p:cNvSpPr>
            <a:spLocks noGrp="1"/>
          </p:cNvSpPr>
          <p:nvPr>
            <p:ph type="body" sz="quarter" idx="14"/>
          </p:nvPr>
        </p:nvSpPr>
        <p:spPr>
          <a:xfrm>
            <a:off x="614363" y="2397124"/>
            <a:ext cx="3259137" cy="563205"/>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26" name="Espace réservé du texte 31">
            <a:extLst>
              <a:ext uri="{FF2B5EF4-FFF2-40B4-BE49-F238E27FC236}">
                <a16:creationId xmlns:a16="http://schemas.microsoft.com/office/drawing/2014/main" id="{39AB12F0-E75E-4B66-B105-CBFE112150AF}"/>
              </a:ext>
            </a:extLst>
          </p:cNvPr>
          <p:cNvSpPr>
            <a:spLocks noGrp="1"/>
          </p:cNvSpPr>
          <p:nvPr>
            <p:ph type="body" sz="quarter" idx="19"/>
          </p:nvPr>
        </p:nvSpPr>
        <p:spPr>
          <a:xfrm>
            <a:off x="614363" y="3168713"/>
            <a:ext cx="3259138" cy="1028279"/>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30" name="Espace réservé du texte 31">
            <a:extLst>
              <a:ext uri="{FF2B5EF4-FFF2-40B4-BE49-F238E27FC236}">
                <a16:creationId xmlns:a16="http://schemas.microsoft.com/office/drawing/2014/main" id="{33F08225-28E1-4550-A21A-37E74618102A}"/>
              </a:ext>
            </a:extLst>
          </p:cNvPr>
          <p:cNvSpPr>
            <a:spLocks noGrp="1"/>
          </p:cNvSpPr>
          <p:nvPr>
            <p:ph type="body" sz="quarter" idx="20"/>
          </p:nvPr>
        </p:nvSpPr>
        <p:spPr>
          <a:xfrm>
            <a:off x="614363" y="4419943"/>
            <a:ext cx="3259138" cy="833269"/>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33" name="Espace réservé du texte 31">
            <a:extLst>
              <a:ext uri="{FF2B5EF4-FFF2-40B4-BE49-F238E27FC236}">
                <a16:creationId xmlns:a16="http://schemas.microsoft.com/office/drawing/2014/main" id="{FEC446AB-7C31-415B-8C1A-177A5182EF00}"/>
              </a:ext>
            </a:extLst>
          </p:cNvPr>
          <p:cNvSpPr>
            <a:spLocks noGrp="1"/>
          </p:cNvSpPr>
          <p:nvPr>
            <p:ph type="body" sz="quarter" idx="21"/>
          </p:nvPr>
        </p:nvSpPr>
        <p:spPr>
          <a:xfrm>
            <a:off x="614363" y="5476163"/>
            <a:ext cx="3259138" cy="721413"/>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24" name="Espace réservé du texte 5">
            <a:extLst>
              <a:ext uri="{FF2B5EF4-FFF2-40B4-BE49-F238E27FC236}">
                <a16:creationId xmlns:a16="http://schemas.microsoft.com/office/drawing/2014/main" id="{7A6AF1FA-987D-436B-A715-21322E8792F4}"/>
              </a:ext>
            </a:extLst>
          </p:cNvPr>
          <p:cNvSpPr>
            <a:spLocks noGrp="1"/>
          </p:cNvSpPr>
          <p:nvPr>
            <p:ph type="body" sz="quarter" idx="18"/>
          </p:nvPr>
        </p:nvSpPr>
        <p:spPr>
          <a:xfrm>
            <a:off x="4240963" y="2397125"/>
            <a:ext cx="4902200" cy="3802063"/>
          </a:xfrm>
        </p:spPr>
        <p:txBody>
          <a:bodyPr/>
          <a:lstStyle>
            <a:lvl1pPr marL="182563" indent="-182563">
              <a:spcBef>
                <a:spcPts val="0"/>
              </a:spcBef>
              <a:defRPr sz="1000">
                <a:latin typeface="+mn-lt"/>
              </a:defRPr>
            </a:lvl1pPr>
            <a:lvl2pPr marL="449263" indent="-177800">
              <a:spcBef>
                <a:spcPts val="0"/>
              </a:spcBef>
              <a:defRPr sz="900">
                <a:latin typeface="+mn-lt"/>
              </a:defRPr>
            </a:lvl2pPr>
            <a:lvl3pPr marL="719138" indent="-177800">
              <a:spcBef>
                <a:spcPts val="0"/>
              </a:spcBef>
              <a:defRPr sz="900">
                <a:latin typeface="+mn-lt"/>
              </a:defRPr>
            </a:lvl3pPr>
            <a:lvl4pPr>
              <a:defRPr sz="1000">
                <a:latin typeface="+mn-lt"/>
              </a:defRPr>
            </a:lvl4pPr>
            <a:lvl5pPr>
              <a:defRPr sz="1000">
                <a:latin typeface="+mn-lt"/>
              </a:defRPr>
            </a:lvl5pPr>
          </a:lstStyle>
          <a:p>
            <a:pPr lvl="0"/>
            <a:r>
              <a:rPr lang="fr-FR" noProof="0"/>
              <a:t>Cliquez pour modifier les styles du texte du masque</a:t>
            </a:r>
          </a:p>
          <a:p>
            <a:pPr lvl="1"/>
            <a:r>
              <a:rPr lang="fr-FR" noProof="0"/>
              <a:t>Deuxième niveau</a:t>
            </a:r>
          </a:p>
          <a:p>
            <a:pPr lvl="2"/>
            <a:r>
              <a:rPr lang="fr-FR" noProof="0"/>
              <a:t>Troisième niveau</a:t>
            </a:r>
          </a:p>
        </p:txBody>
      </p:sp>
    </p:spTree>
    <p:extLst>
      <p:ext uri="{BB962C8B-B14F-4D97-AF65-F5344CB8AC3E}">
        <p14:creationId xmlns:p14="http://schemas.microsoft.com/office/powerpoint/2010/main" val="1387790117"/>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24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mplate CV_Eng">
    <p:spTree>
      <p:nvGrpSpPr>
        <p:cNvPr id="1" name=""/>
        <p:cNvGrpSpPr/>
        <p:nvPr/>
      </p:nvGrpSpPr>
      <p:grpSpPr>
        <a:xfrm>
          <a:off x="0" y="0"/>
          <a:ext cx="0" cy="0"/>
          <a:chOff x="0" y="0"/>
          <a:chExt cx="0" cy="0"/>
        </a:xfrm>
      </p:grpSpPr>
      <p:sp>
        <p:nvSpPr>
          <p:cNvPr id="8" name="ZoneTexte 12"/>
          <p:cNvSpPr txBox="1"/>
          <p:nvPr/>
        </p:nvSpPr>
        <p:spPr>
          <a:xfrm>
            <a:off x="695277" y="3022168"/>
            <a:ext cx="865083"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en-US" sz="1200" b="0" i="0" u="none" strike="noStrike" kern="1200" cap="none" spc="0" normalizeH="0" baseline="0" noProof="0">
                <a:ln>
                  <a:noFill/>
                </a:ln>
                <a:solidFill>
                  <a:schemeClr val="tx1"/>
                </a:solidFill>
                <a:effectLst/>
                <a:uLnTx/>
                <a:uFillTx/>
                <a:latin typeface="Trebuchet MS"/>
                <a:ea typeface="+mn-ea"/>
                <a:cs typeface="Arial" pitchFamily="34" charset="0"/>
              </a:rPr>
              <a:t>Expertise</a:t>
            </a:r>
            <a:endParaRPr kumimoji="0" lang="en-US"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9" name="ZoneTexte 12"/>
          <p:cNvSpPr txBox="1"/>
          <p:nvPr/>
        </p:nvSpPr>
        <p:spPr>
          <a:xfrm>
            <a:off x="695277" y="4260283"/>
            <a:ext cx="1861126"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en-US" sz="1200" b="0" i="0" u="none" strike="noStrike" kern="1200" cap="none" spc="0" normalizeH="0" baseline="0" noProof="0">
                <a:ln>
                  <a:noFill/>
                </a:ln>
                <a:solidFill>
                  <a:schemeClr val="tx1"/>
                </a:solidFill>
                <a:effectLst/>
                <a:uLnTx/>
                <a:uFillTx/>
                <a:latin typeface="Trebuchet MS"/>
                <a:ea typeface="+mn-ea"/>
                <a:cs typeface="Arial" pitchFamily="34" charset="0"/>
              </a:rPr>
              <a:t>Practices</a:t>
            </a:r>
            <a:endParaRPr kumimoji="0" lang="en-US"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0" name="ZoneTexte 12"/>
          <p:cNvSpPr txBox="1"/>
          <p:nvPr/>
        </p:nvSpPr>
        <p:spPr>
          <a:xfrm>
            <a:off x="695277" y="5315049"/>
            <a:ext cx="1414800" cy="181455"/>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en-US" sz="1200" b="0" i="0" u="none" strike="noStrike" kern="1200" cap="none" spc="0" normalizeH="0" baseline="0" noProof="0">
                <a:ln>
                  <a:noFill/>
                </a:ln>
                <a:solidFill>
                  <a:schemeClr val="tx1"/>
                </a:solidFill>
                <a:effectLst/>
                <a:uLnTx/>
                <a:uFillTx/>
                <a:latin typeface="Trebuchet MS"/>
                <a:ea typeface="+mn-ea"/>
                <a:cs typeface="Arial" pitchFamily="34" charset="0"/>
              </a:rPr>
              <a:t>Main experiences</a:t>
            </a:r>
            <a:endParaRPr kumimoji="0" lang="en-US"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1" name="ZoneTexte 12"/>
          <p:cNvSpPr txBox="1"/>
          <p:nvPr/>
        </p:nvSpPr>
        <p:spPr>
          <a:xfrm>
            <a:off x="695277" y="2259698"/>
            <a:ext cx="864000"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en-US" sz="1200" b="0" i="0" u="none" strike="noStrike" kern="1200" cap="none" spc="0" normalizeH="0" baseline="0" noProof="0">
                <a:ln>
                  <a:noFill/>
                </a:ln>
                <a:solidFill>
                  <a:schemeClr val="tx1"/>
                </a:solidFill>
                <a:effectLst/>
                <a:uLnTx/>
                <a:uFillTx/>
                <a:latin typeface="Trebuchet MS"/>
                <a:ea typeface="+mn-ea"/>
                <a:cs typeface="Arial" pitchFamily="34" charset="0"/>
              </a:rPr>
              <a:t>Education</a:t>
            </a:r>
            <a:endParaRPr kumimoji="0" lang="en-US"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2" name="ZoneTexte 12"/>
          <p:cNvSpPr txBox="1"/>
          <p:nvPr/>
        </p:nvSpPr>
        <p:spPr>
          <a:xfrm>
            <a:off x="4239991" y="2259698"/>
            <a:ext cx="1714427"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en-US" sz="1200" b="0" i="0" u="none" strike="noStrike" kern="1200" cap="none" spc="0" normalizeH="0" baseline="0" noProof="0">
                <a:ln>
                  <a:noFill/>
                </a:ln>
                <a:solidFill>
                  <a:schemeClr val="tx1"/>
                </a:solidFill>
                <a:effectLst/>
                <a:uLnTx/>
                <a:uFillTx/>
                <a:latin typeface="Trebuchet MS"/>
                <a:ea typeface="+mn-ea"/>
                <a:cs typeface="Arial" pitchFamily="34" charset="0"/>
              </a:rPr>
              <a:t>Main references</a:t>
            </a:r>
            <a:endParaRPr kumimoji="0" lang="en-US"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cxnSp>
        <p:nvCxnSpPr>
          <p:cNvPr id="13" name="Connecteur droit 12"/>
          <p:cNvCxnSpPr>
            <a:cxnSpLocks/>
          </p:cNvCxnSpPr>
          <p:nvPr/>
        </p:nvCxnSpPr>
        <p:spPr>
          <a:xfrm>
            <a:off x="4508740" y="770626"/>
            <a:ext cx="4634423"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 name="Connecteur droit 13"/>
          <p:cNvCxnSpPr>
            <a:cxnSpLocks/>
          </p:cNvCxnSpPr>
          <p:nvPr/>
        </p:nvCxnSpPr>
        <p:spPr>
          <a:xfrm>
            <a:off x="5495026" y="2349698"/>
            <a:ext cx="3648137"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5" name="Connecteur droit 14"/>
          <p:cNvCxnSpPr>
            <a:cxnSpLocks/>
          </p:cNvCxnSpPr>
          <p:nvPr/>
        </p:nvCxnSpPr>
        <p:spPr>
          <a:xfrm>
            <a:off x="1575702" y="2349698"/>
            <a:ext cx="2332723"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Connecteur droit 15"/>
          <p:cNvCxnSpPr>
            <a:cxnSpLocks/>
          </p:cNvCxnSpPr>
          <p:nvPr/>
        </p:nvCxnSpPr>
        <p:spPr>
          <a:xfrm>
            <a:off x="1575702" y="3112168"/>
            <a:ext cx="2332723"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7" name="Connecteur droit 16"/>
          <p:cNvCxnSpPr>
            <a:cxnSpLocks/>
          </p:cNvCxnSpPr>
          <p:nvPr/>
        </p:nvCxnSpPr>
        <p:spPr>
          <a:xfrm>
            <a:off x="1429644" y="4350283"/>
            <a:ext cx="2478781"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Connecteur droit 17"/>
          <p:cNvCxnSpPr>
            <a:cxnSpLocks/>
          </p:cNvCxnSpPr>
          <p:nvPr/>
        </p:nvCxnSpPr>
        <p:spPr>
          <a:xfrm>
            <a:off x="1984075" y="5406504"/>
            <a:ext cx="1924350"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23" name="Espace réservé pour une image  22"/>
          <p:cNvSpPr>
            <a:spLocks noGrp="1"/>
          </p:cNvSpPr>
          <p:nvPr>
            <p:ph type="pic" sz="quarter" idx="10"/>
          </p:nvPr>
        </p:nvSpPr>
        <p:spPr>
          <a:xfrm>
            <a:off x="695277" y="585014"/>
            <a:ext cx="1414800" cy="1413684"/>
          </a:xfrm>
        </p:spPr>
        <p:txBody>
          <a:bodyPr>
            <a:normAutofit/>
          </a:bodyPr>
          <a:lstStyle>
            <a:lvl1pPr marL="0" indent="0" algn="ctr">
              <a:buNone/>
              <a:defRPr sz="1100">
                <a:solidFill>
                  <a:schemeClr val="tx1"/>
                </a:solidFill>
              </a:defRPr>
            </a:lvl1pPr>
          </a:lstStyle>
          <a:p>
            <a:r>
              <a:rPr lang="fr-FR"/>
              <a:t>Cliquez sur l’icône pour ajouter une image</a:t>
            </a:r>
            <a:endParaRPr lang="en-US"/>
          </a:p>
        </p:txBody>
      </p:sp>
      <p:sp>
        <p:nvSpPr>
          <p:cNvPr id="25" name="Espace réservé du texte 24"/>
          <p:cNvSpPr>
            <a:spLocks noGrp="1"/>
          </p:cNvSpPr>
          <p:nvPr>
            <p:ph type="body" sz="quarter" idx="11" hasCustomPrompt="1"/>
          </p:nvPr>
        </p:nvSpPr>
        <p:spPr>
          <a:xfrm>
            <a:off x="2447925" y="585016"/>
            <a:ext cx="1856656" cy="232112"/>
          </a:xfrm>
        </p:spPr>
        <p:txBody>
          <a:bodyPr>
            <a:noAutofit/>
          </a:bodyPr>
          <a:lstStyle>
            <a:lvl1pPr marL="0" indent="0">
              <a:buFont typeface="Arial" panose="020B0604020202020204" pitchFamily="34" charset="0"/>
              <a:buNone/>
              <a:defRPr kumimoji="0" lang="fr-FR" sz="1200" b="0" i="0" u="none" strike="noStrike" kern="1200" cap="none" spc="0" normalizeH="0" baseline="0" dirty="0" smtClean="0">
                <a:ln>
                  <a:noFill/>
                </a:ln>
                <a:solidFill>
                  <a:schemeClr val="tx1"/>
                </a:solidFill>
                <a:effectLst/>
                <a:uLnTx/>
                <a:uFillTx/>
                <a:latin typeface="Trebuchet MS"/>
                <a:ea typeface="+mj-ea"/>
                <a:cs typeface="Trebuchet M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en-US" noProof="0"/>
              <a:t>First name</a:t>
            </a:r>
          </a:p>
        </p:txBody>
      </p:sp>
      <p:sp>
        <p:nvSpPr>
          <p:cNvPr id="27" name="Espace réservé du texte 24"/>
          <p:cNvSpPr>
            <a:spLocks noGrp="1"/>
          </p:cNvSpPr>
          <p:nvPr>
            <p:ph type="body" sz="quarter" idx="12" hasCustomPrompt="1"/>
          </p:nvPr>
        </p:nvSpPr>
        <p:spPr>
          <a:xfrm>
            <a:off x="2447925" y="827952"/>
            <a:ext cx="6695237" cy="223279"/>
          </a:xfrm>
        </p:spPr>
        <p:txBody>
          <a:bodyPr>
            <a:noAutofit/>
          </a:bodyPr>
          <a:lstStyle>
            <a:lvl1pPr marL="0" indent="0" algn="l" defTabSz="457200" rtl="0" eaLnBrk="1" fontAlgn="base" latinLnBrk="0" hangingPunct="1">
              <a:spcBef>
                <a:spcPct val="0"/>
              </a:spcBef>
              <a:spcAft>
                <a:spcPct val="0"/>
              </a:spcAft>
              <a:buFont typeface="Arial" panose="020B0604020202020204" pitchFamily="34" charset="0"/>
              <a:buNone/>
              <a:defRPr lang="fr-FR" sz="1200" b="1" kern="1200" dirty="0" smtClean="0">
                <a:solidFill>
                  <a:schemeClr val="tx1"/>
                </a:solidFill>
                <a:latin typeface="Trebuchet MS" panose="020B0603020202020204" pitchFamily="34" charset="0"/>
                <a:ea typeface="+mj-ea"/>
                <a:cs typeface="+mj-c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en-US" noProof="0"/>
              <a:t>Position</a:t>
            </a:r>
          </a:p>
        </p:txBody>
      </p:sp>
      <p:sp>
        <p:nvSpPr>
          <p:cNvPr id="28" name="Espace réservé du texte 24"/>
          <p:cNvSpPr>
            <a:spLocks noGrp="1"/>
          </p:cNvSpPr>
          <p:nvPr>
            <p:ph type="body" sz="quarter" idx="13" hasCustomPrompt="1"/>
          </p:nvPr>
        </p:nvSpPr>
        <p:spPr>
          <a:xfrm>
            <a:off x="2447925" y="1172877"/>
            <a:ext cx="6695238" cy="825821"/>
          </a:xfrm>
        </p:spPr>
        <p:txBody>
          <a:bodyPr>
            <a:noAutofit/>
          </a:bodyPr>
          <a:lstStyle>
            <a:lvl1pPr marL="0" indent="0" algn="l" defTabSz="457200" rtl="0" eaLnBrk="1" fontAlgn="base" latinLnBrk="0" hangingPunct="1">
              <a:spcBef>
                <a:spcPct val="0"/>
              </a:spcBef>
              <a:spcAft>
                <a:spcPct val="0"/>
              </a:spcAft>
              <a:buFont typeface="Arial" panose="020B0604020202020204" pitchFamily="34" charset="0"/>
              <a:buNone/>
              <a:defRPr lang="fr-FR" sz="1000" kern="1200" dirty="0" smtClean="0">
                <a:solidFill>
                  <a:schemeClr val="tx1"/>
                </a:solidFill>
                <a:latin typeface="Trebuchet MS" panose="020B0603020202020204" pitchFamily="34" charset="0"/>
                <a:ea typeface="+mj-ea"/>
                <a:cs typeface="+mj-c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en-US" noProof="0"/>
              <a:t>Description of your background</a:t>
            </a:r>
          </a:p>
        </p:txBody>
      </p:sp>
      <p:sp>
        <p:nvSpPr>
          <p:cNvPr id="32" name="Espace réservé du texte 31"/>
          <p:cNvSpPr>
            <a:spLocks noGrp="1"/>
          </p:cNvSpPr>
          <p:nvPr>
            <p:ph type="body" sz="quarter" idx="14"/>
          </p:nvPr>
        </p:nvSpPr>
        <p:spPr>
          <a:xfrm>
            <a:off x="614362" y="2397124"/>
            <a:ext cx="3294063" cy="563205"/>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22" name="Espace réservé du texte 31">
            <a:extLst>
              <a:ext uri="{FF2B5EF4-FFF2-40B4-BE49-F238E27FC236}">
                <a16:creationId xmlns:a16="http://schemas.microsoft.com/office/drawing/2014/main" id="{342CD983-0F8D-40FF-82D1-B11C2C94199F}"/>
              </a:ext>
            </a:extLst>
          </p:cNvPr>
          <p:cNvSpPr>
            <a:spLocks noGrp="1"/>
          </p:cNvSpPr>
          <p:nvPr>
            <p:ph type="body" sz="quarter" idx="19"/>
          </p:nvPr>
        </p:nvSpPr>
        <p:spPr>
          <a:xfrm>
            <a:off x="614362" y="3168713"/>
            <a:ext cx="3294063" cy="1028279"/>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24" name="Espace réservé du texte 31">
            <a:extLst>
              <a:ext uri="{FF2B5EF4-FFF2-40B4-BE49-F238E27FC236}">
                <a16:creationId xmlns:a16="http://schemas.microsoft.com/office/drawing/2014/main" id="{A295C34A-668C-4A46-BD08-0C6FAA382DF3}"/>
              </a:ext>
            </a:extLst>
          </p:cNvPr>
          <p:cNvSpPr>
            <a:spLocks noGrp="1"/>
          </p:cNvSpPr>
          <p:nvPr>
            <p:ph type="body" sz="quarter" idx="20"/>
          </p:nvPr>
        </p:nvSpPr>
        <p:spPr>
          <a:xfrm>
            <a:off x="614362" y="4419943"/>
            <a:ext cx="3294063" cy="833269"/>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29" name="Espace réservé du texte 31">
            <a:extLst>
              <a:ext uri="{FF2B5EF4-FFF2-40B4-BE49-F238E27FC236}">
                <a16:creationId xmlns:a16="http://schemas.microsoft.com/office/drawing/2014/main" id="{C2DB6C3B-8215-4E18-9248-5A2200503871}"/>
              </a:ext>
            </a:extLst>
          </p:cNvPr>
          <p:cNvSpPr>
            <a:spLocks noGrp="1"/>
          </p:cNvSpPr>
          <p:nvPr>
            <p:ph type="body" sz="quarter" idx="21"/>
          </p:nvPr>
        </p:nvSpPr>
        <p:spPr>
          <a:xfrm>
            <a:off x="614362" y="5476163"/>
            <a:ext cx="3294063" cy="721413"/>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30" name="Espace réservé du texte 5">
            <a:extLst>
              <a:ext uri="{FF2B5EF4-FFF2-40B4-BE49-F238E27FC236}">
                <a16:creationId xmlns:a16="http://schemas.microsoft.com/office/drawing/2014/main" id="{A4FB1480-BDA6-4E98-8947-9CE1D8CF260E}"/>
              </a:ext>
            </a:extLst>
          </p:cNvPr>
          <p:cNvSpPr>
            <a:spLocks noGrp="1"/>
          </p:cNvSpPr>
          <p:nvPr>
            <p:ph type="body" sz="quarter" idx="18"/>
          </p:nvPr>
        </p:nvSpPr>
        <p:spPr>
          <a:xfrm>
            <a:off x="4240963" y="2397125"/>
            <a:ext cx="4902200" cy="3802063"/>
          </a:xfrm>
        </p:spPr>
        <p:txBody>
          <a:bodyPr/>
          <a:lstStyle>
            <a:lvl1pPr marL="182563" indent="-182563">
              <a:spcBef>
                <a:spcPts val="0"/>
              </a:spcBef>
              <a:defRPr sz="1000">
                <a:latin typeface="+mn-lt"/>
              </a:defRPr>
            </a:lvl1pPr>
            <a:lvl2pPr marL="449263" indent="-177800">
              <a:spcBef>
                <a:spcPts val="0"/>
              </a:spcBef>
              <a:defRPr sz="900">
                <a:latin typeface="+mn-lt"/>
              </a:defRPr>
            </a:lvl2pPr>
            <a:lvl3pPr marL="719138" indent="-177800">
              <a:spcBef>
                <a:spcPts val="0"/>
              </a:spcBef>
              <a:defRPr sz="900">
                <a:latin typeface="+mn-lt"/>
              </a:defRPr>
            </a:lvl3pPr>
            <a:lvl4pPr>
              <a:defRPr sz="1000">
                <a:latin typeface="+mn-lt"/>
              </a:defRPr>
            </a:lvl4pPr>
            <a:lvl5pPr>
              <a:defRPr sz="1000">
                <a:latin typeface="+mn-lt"/>
              </a:defRPr>
            </a:lvl5pPr>
          </a:lstStyle>
          <a:p>
            <a:pPr lvl="0"/>
            <a:r>
              <a:rPr lang="fr-FR" noProof="0"/>
              <a:t>Cliquez pour modifier les styles du texte du masque</a:t>
            </a:r>
          </a:p>
          <a:p>
            <a:pPr lvl="1"/>
            <a:r>
              <a:rPr lang="fr-FR" noProof="0"/>
              <a:t>Deuxième niveau</a:t>
            </a:r>
          </a:p>
          <a:p>
            <a:pPr lvl="2"/>
            <a:r>
              <a:rPr lang="fr-FR" noProof="0"/>
              <a:t>Troisième niveau</a:t>
            </a:r>
          </a:p>
        </p:txBody>
      </p:sp>
    </p:spTree>
    <p:extLst>
      <p:ext uri="{BB962C8B-B14F-4D97-AF65-F5344CB8AC3E}">
        <p14:creationId xmlns:p14="http://schemas.microsoft.com/office/powerpoint/2010/main" val="1337472644"/>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246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Business case template">
    <p:spTree>
      <p:nvGrpSpPr>
        <p:cNvPr id="1" name=""/>
        <p:cNvGrpSpPr/>
        <p:nvPr/>
      </p:nvGrpSpPr>
      <p:grpSpPr>
        <a:xfrm>
          <a:off x="0" y="0"/>
          <a:ext cx="0" cy="0"/>
          <a:chOff x="0" y="0"/>
          <a:chExt cx="0" cy="0"/>
        </a:xfrm>
      </p:grpSpPr>
      <p:sp>
        <p:nvSpPr>
          <p:cNvPr id="12" name="Espace réservé du contenu 11">
            <a:extLst>
              <a:ext uri="{FF2B5EF4-FFF2-40B4-BE49-F238E27FC236}">
                <a16:creationId xmlns:a16="http://schemas.microsoft.com/office/drawing/2014/main" id="{E763F58E-54A5-4D52-95D3-D92F1F058AAF}"/>
              </a:ext>
            </a:extLst>
          </p:cNvPr>
          <p:cNvSpPr>
            <a:spLocks noGrp="1"/>
          </p:cNvSpPr>
          <p:nvPr>
            <p:ph sz="quarter" idx="17"/>
          </p:nvPr>
        </p:nvSpPr>
        <p:spPr>
          <a:xfrm>
            <a:off x="1366838" y="1333721"/>
            <a:ext cx="8231187" cy="690563"/>
          </a:xfrm>
        </p:spPr>
        <p:txBody>
          <a:bodyPr anchor="ctr"/>
          <a:lstStyle>
            <a:lvl1pPr marL="0" indent="0">
              <a:buNone/>
              <a:defRPr>
                <a:solidFill>
                  <a:schemeClr val="tx2"/>
                </a:solidFill>
              </a:defRPr>
            </a:lvl1pPr>
          </a:lstStyle>
          <a:p>
            <a:pPr lvl="0"/>
            <a:r>
              <a:rPr lang="fr-FR" sz="1400">
                <a:solidFill>
                  <a:schemeClr val="tx2"/>
                </a:solidFill>
                <a:latin typeface="+mj-lt"/>
              </a:rPr>
              <a:t>Cliquez pour modifier les styles du texte du masque</a:t>
            </a:r>
          </a:p>
        </p:txBody>
      </p:sp>
      <p:sp>
        <p:nvSpPr>
          <p:cNvPr id="3" name="Titre 1"/>
          <p:cNvSpPr txBox="1">
            <a:spLocks/>
          </p:cNvSpPr>
          <p:nvPr/>
        </p:nvSpPr>
        <p:spPr bwMode="auto">
          <a:xfrm>
            <a:off x="350860" y="130211"/>
            <a:ext cx="8873301" cy="286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600" b="0" i="0" u="none" strike="noStrike" kern="0" cap="none" spc="0" normalizeH="0" baseline="0" noProof="0">
              <a:ln>
                <a:noFill/>
              </a:ln>
              <a:solidFill>
                <a:srgbClr val="289B38"/>
              </a:solidFill>
              <a:effectLst/>
              <a:uLnTx/>
              <a:uFillTx/>
              <a:latin typeface="Trebuchet MS" panose="020B0603020202020204" pitchFamily="34" charset="0"/>
              <a:ea typeface="+mj-ea"/>
              <a:cs typeface="Trebuchet MS"/>
            </a:endParaRPr>
          </a:p>
        </p:txBody>
      </p:sp>
      <p:sp>
        <p:nvSpPr>
          <p:cNvPr id="4" name="Rectangle 3"/>
          <p:cNvSpPr/>
          <p:nvPr/>
        </p:nvSpPr>
        <p:spPr bwMode="auto">
          <a:xfrm>
            <a:off x="373029" y="2111021"/>
            <a:ext cx="3751296" cy="44719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fr-FR">
                <a:solidFill>
                  <a:schemeClr val="tx1"/>
                </a:solidFill>
                <a:latin typeface="Trebuchet MS" panose="020B0603020202020204" pitchFamily="34" charset="0"/>
              </a:rPr>
              <a:t>Contexte</a:t>
            </a:r>
          </a:p>
        </p:txBody>
      </p:sp>
      <p:sp>
        <p:nvSpPr>
          <p:cNvPr id="5" name="Rectangle 4"/>
          <p:cNvSpPr/>
          <p:nvPr/>
        </p:nvSpPr>
        <p:spPr bwMode="auto">
          <a:xfrm>
            <a:off x="4232275" y="2111021"/>
            <a:ext cx="3534882" cy="44719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fr-FR">
                <a:solidFill>
                  <a:schemeClr val="tx1"/>
                </a:solidFill>
                <a:latin typeface="Trebuchet MS" panose="020B0603020202020204" pitchFamily="34" charset="0"/>
              </a:rPr>
              <a:t>Apports et Méthodologie eleven</a:t>
            </a:r>
          </a:p>
        </p:txBody>
      </p:sp>
      <p:sp>
        <p:nvSpPr>
          <p:cNvPr id="6" name="Rectangle 5"/>
          <p:cNvSpPr/>
          <p:nvPr/>
        </p:nvSpPr>
        <p:spPr bwMode="auto">
          <a:xfrm>
            <a:off x="344381" y="2704131"/>
            <a:ext cx="3600000" cy="358818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88900" indent="-88900">
              <a:buFont typeface="Arial" pitchFamily="34" charset="0"/>
              <a:buChar char="•"/>
            </a:pPr>
            <a:endParaRPr lang="fr-FR" sz="800">
              <a:solidFill>
                <a:srgbClr val="FFFFFF">
                  <a:lumMod val="65000"/>
                </a:srgbClr>
              </a:solidFill>
              <a:latin typeface="Trebuchet MS" panose="020B0603020202020204" pitchFamily="34" charset="0"/>
            </a:endParaRPr>
          </a:p>
        </p:txBody>
      </p:sp>
      <p:cxnSp>
        <p:nvCxnSpPr>
          <p:cNvPr id="8" name="Connecteur droit 7"/>
          <p:cNvCxnSpPr>
            <a:cxnSpLocks/>
          </p:cNvCxnSpPr>
          <p:nvPr/>
        </p:nvCxnSpPr>
        <p:spPr>
          <a:xfrm>
            <a:off x="344381" y="2556212"/>
            <a:ext cx="3779944" cy="0"/>
          </a:xfrm>
          <a:prstGeom prst="line">
            <a:avLst/>
          </a:prstGeom>
          <a:noFill/>
          <a:ln w="6350" cap="flat" cmpd="sng" algn="ctr">
            <a:solidFill>
              <a:schemeClr val="bg1">
                <a:lumMod val="50000"/>
              </a:schemeClr>
            </a:solidFill>
            <a:prstDash val="solid"/>
          </a:ln>
          <a:effectLst/>
        </p:spPr>
      </p:cxnSp>
      <p:cxnSp>
        <p:nvCxnSpPr>
          <p:cNvPr id="9" name="Connecteur droit 8"/>
          <p:cNvCxnSpPr>
            <a:cxnSpLocks/>
          </p:cNvCxnSpPr>
          <p:nvPr/>
        </p:nvCxnSpPr>
        <p:spPr>
          <a:xfrm>
            <a:off x="344381" y="2111021"/>
            <a:ext cx="3779944" cy="0"/>
          </a:xfrm>
          <a:prstGeom prst="line">
            <a:avLst/>
          </a:prstGeom>
          <a:noFill/>
          <a:ln w="6350" cap="flat" cmpd="sng" algn="ctr">
            <a:solidFill>
              <a:schemeClr val="bg1">
                <a:lumMod val="50000"/>
              </a:schemeClr>
            </a:solidFill>
            <a:prstDash val="solid"/>
          </a:ln>
          <a:effectLst/>
        </p:spPr>
      </p:cxnSp>
      <p:cxnSp>
        <p:nvCxnSpPr>
          <p:cNvPr id="10" name="Connecteur droit 9"/>
          <p:cNvCxnSpPr>
            <a:cxnSpLocks/>
          </p:cNvCxnSpPr>
          <p:nvPr/>
        </p:nvCxnSpPr>
        <p:spPr>
          <a:xfrm>
            <a:off x="4232275" y="2556212"/>
            <a:ext cx="5365750" cy="0"/>
          </a:xfrm>
          <a:prstGeom prst="line">
            <a:avLst/>
          </a:prstGeom>
          <a:noFill/>
          <a:ln w="6350" cap="flat" cmpd="sng" algn="ctr">
            <a:solidFill>
              <a:schemeClr val="bg1">
                <a:lumMod val="50000"/>
              </a:schemeClr>
            </a:solidFill>
            <a:prstDash val="solid"/>
          </a:ln>
          <a:effectLst/>
        </p:spPr>
      </p:cxnSp>
      <p:cxnSp>
        <p:nvCxnSpPr>
          <p:cNvPr id="11" name="Connecteur droit 10"/>
          <p:cNvCxnSpPr>
            <a:cxnSpLocks/>
          </p:cNvCxnSpPr>
          <p:nvPr/>
        </p:nvCxnSpPr>
        <p:spPr>
          <a:xfrm>
            <a:off x="4232275" y="2111021"/>
            <a:ext cx="5365750" cy="0"/>
          </a:xfrm>
          <a:prstGeom prst="line">
            <a:avLst/>
          </a:prstGeom>
          <a:noFill/>
          <a:ln w="6350" cap="flat" cmpd="sng" algn="ctr">
            <a:solidFill>
              <a:schemeClr val="bg1">
                <a:lumMod val="50000"/>
              </a:schemeClr>
            </a:solidFill>
            <a:prstDash val="solid"/>
          </a:ln>
          <a:effectLst/>
        </p:spPr>
      </p:cxnSp>
      <p:cxnSp>
        <p:nvCxnSpPr>
          <p:cNvPr id="18" name="Connecteur droit 17"/>
          <p:cNvCxnSpPr>
            <a:cxnSpLocks/>
          </p:cNvCxnSpPr>
          <p:nvPr/>
        </p:nvCxnSpPr>
        <p:spPr>
          <a:xfrm>
            <a:off x="344381" y="1264044"/>
            <a:ext cx="9253644" cy="0"/>
          </a:xfrm>
          <a:prstGeom prst="line">
            <a:avLst/>
          </a:prstGeom>
          <a:noFill/>
          <a:ln w="6350" cap="flat" cmpd="sng" algn="ctr">
            <a:solidFill>
              <a:schemeClr val="bg1">
                <a:lumMod val="50000"/>
              </a:schemeClr>
            </a:solidFill>
            <a:prstDash val="solid"/>
          </a:ln>
          <a:effectLst/>
        </p:spPr>
      </p:cxnSp>
      <p:sp>
        <p:nvSpPr>
          <p:cNvPr id="29" name="Espace réservé pour une image  28"/>
          <p:cNvSpPr>
            <a:spLocks noGrp="1"/>
          </p:cNvSpPr>
          <p:nvPr>
            <p:ph type="pic" sz="quarter" idx="10"/>
          </p:nvPr>
        </p:nvSpPr>
        <p:spPr>
          <a:xfrm>
            <a:off x="8213739" y="2768935"/>
            <a:ext cx="1384286" cy="1371600"/>
          </a:xfrm>
        </p:spPr>
        <p:txBody>
          <a:bodyPr/>
          <a:lstStyle>
            <a:lvl1pPr marL="0" indent="0">
              <a:buNone/>
              <a:defRPr/>
            </a:lvl1pPr>
          </a:lstStyle>
          <a:p>
            <a:r>
              <a:rPr lang="fr-FR"/>
              <a:t>Cliquez sur l’icône pour ajouter une image</a:t>
            </a:r>
            <a:endParaRPr lang="en-US"/>
          </a:p>
        </p:txBody>
      </p:sp>
      <p:sp>
        <p:nvSpPr>
          <p:cNvPr id="30" name="Espace réservé pour une image  28"/>
          <p:cNvSpPr>
            <a:spLocks noGrp="1"/>
          </p:cNvSpPr>
          <p:nvPr>
            <p:ph type="pic" sz="quarter" idx="11"/>
          </p:nvPr>
        </p:nvSpPr>
        <p:spPr>
          <a:xfrm>
            <a:off x="8213739" y="4243614"/>
            <a:ext cx="1384286" cy="1371600"/>
          </a:xfrm>
        </p:spPr>
        <p:txBody>
          <a:bodyPr/>
          <a:lstStyle>
            <a:lvl1pPr marL="0" indent="0">
              <a:buNone/>
              <a:defRPr/>
            </a:lvl1pPr>
          </a:lstStyle>
          <a:p>
            <a:r>
              <a:rPr lang="fr-FR"/>
              <a:t>Cliquez sur l’icône pour ajouter une image</a:t>
            </a:r>
            <a:endParaRPr lang="en-US"/>
          </a:p>
        </p:txBody>
      </p:sp>
      <p:sp>
        <p:nvSpPr>
          <p:cNvPr id="32" name="Espace réservé du texte 31"/>
          <p:cNvSpPr>
            <a:spLocks noGrp="1"/>
          </p:cNvSpPr>
          <p:nvPr>
            <p:ph type="body" sz="quarter" idx="12"/>
          </p:nvPr>
        </p:nvSpPr>
        <p:spPr>
          <a:xfrm>
            <a:off x="4232275" y="2635615"/>
            <a:ext cx="3874558" cy="3748251"/>
          </a:xfrm>
        </p:spPr>
        <p:txBody>
          <a:bodyPr/>
          <a:lstStyle>
            <a:lvl1pPr marL="0" indent="0">
              <a:buNone/>
              <a:defRPr lang="fr-FR" sz="1050" kern="1200" dirty="0" smtClean="0">
                <a:solidFill>
                  <a:schemeClr val="tx1"/>
                </a:solidFill>
                <a:latin typeface="Trebuchet MS" panose="020B0603020202020204" pitchFamily="34" charset="0"/>
                <a:ea typeface="+mn-ea"/>
                <a:cs typeface="Arial" pitchFamily="34" charset="0"/>
              </a:defRPr>
            </a:lvl1pPr>
            <a:lvl2pPr marL="533400" indent="0">
              <a:buNone/>
              <a:defRPr lang="fr-FR" sz="1000" kern="1200" dirty="0" smtClean="0">
                <a:solidFill>
                  <a:schemeClr val="tx1"/>
                </a:solidFill>
                <a:latin typeface="Trebuchet MS" panose="020B0603020202020204" pitchFamily="34" charset="0"/>
                <a:ea typeface="+mn-ea"/>
                <a:cs typeface="Arial" pitchFamily="34" charset="0"/>
              </a:defRPr>
            </a:lvl2pPr>
            <a:lvl3pPr marL="847725" indent="0" defTabSz="982663">
              <a:buNone/>
              <a:defRPr lang="fr-FR" sz="1000" kern="1200" dirty="0" smtClean="0">
                <a:solidFill>
                  <a:schemeClr val="tx1"/>
                </a:solidFill>
                <a:latin typeface="Trebuchet MS" panose="020B0603020202020204" pitchFamily="34" charset="0"/>
                <a:ea typeface="+mn-ea"/>
                <a:cs typeface="Arial" pitchFamily="34" charset="0"/>
              </a:defRPr>
            </a:lvl3pPr>
            <a:lvl4pPr marL="1431925" indent="-63500">
              <a:defRPr lang="fr-FR" sz="1000" kern="1200" dirty="0" smtClean="0">
                <a:solidFill>
                  <a:srgbClr val="FFFFFF">
                    <a:lumMod val="65000"/>
                  </a:srgbClr>
                </a:solidFill>
                <a:latin typeface="Trebuchet MS" panose="020B0603020202020204" pitchFamily="34" charset="0"/>
                <a:ea typeface="+mn-ea"/>
                <a:cs typeface="Arial" pitchFamily="34" charset="0"/>
              </a:defRPr>
            </a:lvl4pPr>
            <a:lvl5pPr marL="2062163" indent="-80963">
              <a:defRPr lang="en-US" sz="1000" kern="1200" dirty="0">
                <a:solidFill>
                  <a:srgbClr val="FFFFFF">
                    <a:lumMod val="65000"/>
                  </a:srgbClr>
                </a:solidFill>
                <a:latin typeface="Trebuchet MS" panose="020B0603020202020204" pitchFamily="34" charset="0"/>
                <a:ea typeface="+mn-ea"/>
                <a:cs typeface="Arial" pitchFamily="34" charset="0"/>
              </a:defRPr>
            </a:lvl5pPr>
          </a:lstStyle>
          <a:p>
            <a:pPr lvl="0"/>
            <a:r>
              <a:rPr lang="fr-FR"/>
              <a:t>Cliquez pour modifier les styles du texte du masque</a:t>
            </a:r>
          </a:p>
        </p:txBody>
      </p:sp>
      <p:sp>
        <p:nvSpPr>
          <p:cNvPr id="34" name="Espace réservé du texte 33"/>
          <p:cNvSpPr>
            <a:spLocks noGrp="1"/>
          </p:cNvSpPr>
          <p:nvPr>
            <p:ph type="body" sz="quarter" idx="13" hasCustomPrompt="1"/>
          </p:nvPr>
        </p:nvSpPr>
        <p:spPr>
          <a:xfrm>
            <a:off x="344488" y="103188"/>
            <a:ext cx="9253537" cy="310008"/>
          </a:xfrm>
        </p:spPr>
        <p:txBody>
          <a:bodyPr/>
          <a:lstStyle>
            <a:lvl1pPr marL="0" indent="0">
              <a:buNone/>
              <a:defRPr>
                <a:solidFill>
                  <a:schemeClr val="tx2"/>
                </a:solidFill>
              </a:defRPr>
            </a:lvl1pPr>
            <a:lvl2pPr marL="533400" indent="0">
              <a:buNone/>
              <a:defRPr/>
            </a:lvl2pPr>
            <a:lvl3pPr marL="847725" indent="0">
              <a:buNone/>
              <a:defRPr/>
            </a:lvl3pPr>
            <a:lvl4pPr marL="1368425" indent="0">
              <a:buNone/>
              <a:defRPr/>
            </a:lvl4pPr>
            <a:lvl5pPr marL="1981200" indent="0">
              <a:buNone/>
              <a:defRPr/>
            </a:lvl5pPr>
          </a:lstStyle>
          <a:p>
            <a:pPr lvl="0"/>
            <a:r>
              <a:rPr lang="fr-FR"/>
              <a:t>Business Case</a:t>
            </a:r>
          </a:p>
        </p:txBody>
      </p:sp>
      <p:sp>
        <p:nvSpPr>
          <p:cNvPr id="37" name="Espace réservé du texte 33"/>
          <p:cNvSpPr>
            <a:spLocks noGrp="1"/>
          </p:cNvSpPr>
          <p:nvPr>
            <p:ph type="body" sz="quarter" idx="14" hasCustomPrompt="1"/>
          </p:nvPr>
        </p:nvSpPr>
        <p:spPr>
          <a:xfrm>
            <a:off x="344381" y="440219"/>
            <a:ext cx="9253644" cy="675906"/>
          </a:xfrm>
        </p:spPr>
        <p:txBody>
          <a:bodyPr>
            <a:normAutofit/>
          </a:bodyPr>
          <a:lstStyle>
            <a:lvl1pPr marL="0" indent="0">
              <a:buNone/>
              <a:defRPr lang="fr-FR" sz="1400" b="0" kern="0" dirty="0" smtClean="0">
                <a:solidFill>
                  <a:schemeClr val="tx1"/>
                </a:solidFill>
                <a:latin typeface="+mj-lt"/>
                <a:ea typeface="+mj-ea"/>
                <a:cs typeface="Trebuchet MS"/>
              </a:defRPr>
            </a:lvl1pPr>
            <a:lvl2pPr marL="533400" indent="0">
              <a:buNone/>
              <a:defRPr/>
            </a:lvl2pPr>
            <a:lvl3pPr marL="847725" indent="0">
              <a:buNone/>
              <a:defRPr/>
            </a:lvl3pPr>
            <a:lvl4pPr marL="1368425" indent="0">
              <a:buNone/>
              <a:defRPr/>
            </a:lvl4pPr>
            <a:lvl5pPr marL="1981200" indent="0">
              <a:buNone/>
              <a:defRPr/>
            </a:lvl5pPr>
          </a:lstStyle>
          <a:p>
            <a:pPr lvl="0"/>
            <a:r>
              <a:rPr lang="fr-FR"/>
              <a:t>Explication résumée de la mission</a:t>
            </a:r>
          </a:p>
        </p:txBody>
      </p:sp>
      <p:sp>
        <p:nvSpPr>
          <p:cNvPr id="38" name="Espace réservé du texte 31"/>
          <p:cNvSpPr>
            <a:spLocks noGrp="1"/>
          </p:cNvSpPr>
          <p:nvPr>
            <p:ph type="body" sz="quarter" idx="15"/>
          </p:nvPr>
        </p:nvSpPr>
        <p:spPr>
          <a:xfrm>
            <a:off x="344381" y="2635615"/>
            <a:ext cx="3779944" cy="3748252"/>
          </a:xfrm>
        </p:spPr>
        <p:txBody>
          <a:bodyPr/>
          <a:lstStyle>
            <a:lvl1pPr marL="0" indent="0">
              <a:buNone/>
              <a:defRPr lang="fr-FR" sz="1050" kern="1200" dirty="0" smtClean="0">
                <a:solidFill>
                  <a:schemeClr val="tx1"/>
                </a:solidFill>
                <a:latin typeface="Trebuchet MS" panose="020B0603020202020204" pitchFamily="34" charset="0"/>
                <a:ea typeface="+mn-ea"/>
                <a:cs typeface="Arial" pitchFamily="34" charset="0"/>
              </a:defRPr>
            </a:lvl1pPr>
            <a:lvl2pPr marL="533400" indent="0">
              <a:buNone/>
              <a:defRPr lang="fr-FR" sz="1000" kern="1200" dirty="0" smtClean="0">
                <a:solidFill>
                  <a:schemeClr val="tx1"/>
                </a:solidFill>
                <a:latin typeface="Trebuchet MS" panose="020B0603020202020204" pitchFamily="34" charset="0"/>
                <a:ea typeface="+mn-ea"/>
                <a:cs typeface="Arial" pitchFamily="34" charset="0"/>
              </a:defRPr>
            </a:lvl2pPr>
            <a:lvl3pPr marL="847725" indent="0" defTabSz="982663">
              <a:buNone/>
              <a:defRPr lang="fr-FR" sz="1000" kern="1200" dirty="0" smtClean="0">
                <a:solidFill>
                  <a:schemeClr val="tx1"/>
                </a:solidFill>
                <a:latin typeface="Trebuchet MS" panose="020B0603020202020204" pitchFamily="34" charset="0"/>
                <a:ea typeface="+mn-ea"/>
                <a:cs typeface="Arial" pitchFamily="34" charset="0"/>
              </a:defRPr>
            </a:lvl3pPr>
            <a:lvl4pPr marL="1431925" indent="-63500">
              <a:defRPr lang="fr-FR" sz="1000" kern="1200" dirty="0" smtClean="0">
                <a:solidFill>
                  <a:srgbClr val="FFFFFF">
                    <a:lumMod val="65000"/>
                  </a:srgbClr>
                </a:solidFill>
                <a:latin typeface="Trebuchet MS" panose="020B0603020202020204" pitchFamily="34" charset="0"/>
                <a:ea typeface="+mn-ea"/>
                <a:cs typeface="Arial" pitchFamily="34" charset="0"/>
              </a:defRPr>
            </a:lvl4pPr>
            <a:lvl5pPr marL="2062163" indent="-80963">
              <a:defRPr lang="en-US" sz="1000" kern="1200" dirty="0">
                <a:solidFill>
                  <a:srgbClr val="FFFFFF">
                    <a:lumMod val="65000"/>
                  </a:srgbClr>
                </a:solidFill>
                <a:latin typeface="Trebuchet MS" panose="020B0603020202020204" pitchFamily="34" charset="0"/>
                <a:ea typeface="+mn-ea"/>
                <a:cs typeface="Arial" pitchFamily="34" charset="0"/>
              </a:defRPr>
            </a:lvl5pPr>
          </a:lstStyle>
          <a:p>
            <a:pPr lvl="0"/>
            <a:r>
              <a:rPr lang="fr-FR"/>
              <a:t>Cliquez pour modifier les styles du texte du masque</a:t>
            </a:r>
          </a:p>
        </p:txBody>
      </p:sp>
      <p:sp>
        <p:nvSpPr>
          <p:cNvPr id="27" name="Espace réservé pour une image  28">
            <a:extLst>
              <a:ext uri="{FF2B5EF4-FFF2-40B4-BE49-F238E27FC236}">
                <a16:creationId xmlns:a16="http://schemas.microsoft.com/office/drawing/2014/main" id="{92CFB27C-379C-45BB-8380-E8B99691AFE5}"/>
              </a:ext>
            </a:extLst>
          </p:cNvPr>
          <p:cNvSpPr>
            <a:spLocks noGrp="1"/>
          </p:cNvSpPr>
          <p:nvPr>
            <p:ph type="pic" sz="quarter" idx="16" hasCustomPrompt="1"/>
          </p:nvPr>
        </p:nvSpPr>
        <p:spPr>
          <a:xfrm>
            <a:off x="344488" y="1333755"/>
            <a:ext cx="906796" cy="690494"/>
          </a:xfrm>
        </p:spPr>
        <p:txBody>
          <a:bodyPr anchor="ctr"/>
          <a:lstStyle>
            <a:lvl1pPr marL="0" indent="0" algn="ctr">
              <a:buNone/>
              <a:defRPr/>
            </a:lvl1pPr>
          </a:lstStyle>
          <a:p>
            <a:r>
              <a:rPr lang="fr-FR"/>
              <a:t>Picto</a:t>
            </a:r>
            <a:endParaRPr lang="en-US"/>
          </a:p>
        </p:txBody>
      </p:sp>
    </p:spTree>
    <p:extLst>
      <p:ext uri="{BB962C8B-B14F-4D97-AF65-F5344CB8AC3E}">
        <p14:creationId xmlns:p14="http://schemas.microsoft.com/office/powerpoint/2010/main" val="45360712"/>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604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AB403F8-D429-4671-96A0-526D34177E30}"/>
              </a:ext>
            </a:extLst>
          </p:cNvPr>
          <p:cNvGraphicFramePr>
            <a:graphicFrameLocks noChangeAspect="1"/>
          </p:cNvGraphicFramePr>
          <p:nvPr userDrawn="1">
            <p:custDataLst>
              <p:tags r:id="rId15"/>
            </p:custDataLst>
            <p:extLst>
              <p:ext uri="{D42A27DB-BD31-4B8C-83A1-F6EECF244321}">
                <p14:modId xmlns:p14="http://schemas.microsoft.com/office/powerpoint/2010/main" val="3201921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16" imgH="416" progId="TCLayout.ActiveDocument.1">
                  <p:embed/>
                </p:oleObj>
              </mc:Choice>
              <mc:Fallback>
                <p:oleObj name="think-cell Slide" r:id="rId20" imgW="416" imgH="416" progId="TCLayout.ActiveDocument.1">
                  <p:embed/>
                  <p:pic>
                    <p:nvPicPr>
                      <p:cNvPr id="6" name="Object 5" hidden="1">
                        <a:extLst>
                          <a:ext uri="{FF2B5EF4-FFF2-40B4-BE49-F238E27FC236}">
                            <a16:creationId xmlns:a16="http://schemas.microsoft.com/office/drawing/2014/main" id="{6AB403F8-D429-4671-96A0-526D34177E30}"/>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2FDAE63-1790-4B21-AD04-34568D27D538}"/>
              </a:ext>
            </a:extLst>
          </p:cNvPr>
          <p:cNvSpPr/>
          <p:nvPr userDrawn="1">
            <p:custDataLst>
              <p:tags r:id="rId16"/>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600" b="0" i="0" u="none" strike="noStrike" cap="none" normalizeH="0" baseline="0" err="1">
              <a:ln>
                <a:noFill/>
              </a:ln>
              <a:solidFill>
                <a:schemeClr val="tx1"/>
              </a:solidFill>
              <a:effectLst/>
              <a:latin typeface="Trebuchet MS" pitchFamily="34" charset="0"/>
              <a:ea typeface="+mj-ea"/>
              <a:cs typeface="+mj-cs"/>
              <a:sym typeface="Trebuchet MS" panose="020B0603020202020204" pitchFamily="34" charset="0"/>
            </a:endParaRPr>
          </a:p>
        </p:txBody>
      </p:sp>
      <p:sp>
        <p:nvSpPr>
          <p:cNvPr id="64" name="Rectangle 63"/>
          <p:cNvSpPr/>
          <p:nvPr/>
        </p:nvSpPr>
        <p:spPr bwMode="auto">
          <a:xfrm>
            <a:off x="2" y="6536995"/>
            <a:ext cx="9905999" cy="321013"/>
          </a:xfrm>
          <a:prstGeom prst="rect">
            <a:avLst/>
          </a:prstGeom>
          <a:solidFill>
            <a:srgbClr val="D8FA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400" b="0" i="0" u="none" strike="noStrike" cap="none" normalizeH="0" baseline="0">
              <a:ln>
                <a:noFill/>
              </a:ln>
              <a:solidFill>
                <a:schemeClr val="tx1"/>
              </a:solidFill>
              <a:effectLst/>
              <a:latin typeface="Trebuchet MS" pitchFamily="34" charset="0"/>
            </a:endParaRPr>
          </a:p>
        </p:txBody>
      </p:sp>
      <p:sp>
        <p:nvSpPr>
          <p:cNvPr id="3075" name="Rectangle 2"/>
          <p:cNvSpPr>
            <a:spLocks noGrp="1" noChangeArrowheads="1"/>
          </p:cNvSpPr>
          <p:nvPr>
            <p:ph type="title"/>
            <p:custDataLst>
              <p:tags r:id="rId17"/>
            </p:custDataLst>
          </p:nvPr>
        </p:nvSpPr>
        <p:spPr bwMode="auto">
          <a:xfrm>
            <a:off x="165600" y="146048"/>
            <a:ext cx="9540000" cy="68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en-GB"/>
              <a:t>Cliquez pour modifier le style du titre</a:t>
            </a:r>
            <a:endParaRPr lang="en-US" altLang="en-GB"/>
          </a:p>
        </p:txBody>
      </p:sp>
      <p:sp>
        <p:nvSpPr>
          <p:cNvPr id="39" name="Espace réservé du numéro de diapositive 5"/>
          <p:cNvSpPr txBox="1">
            <a:spLocks/>
          </p:cNvSpPr>
          <p:nvPr>
            <p:custDataLst>
              <p:tags r:id="rId18"/>
            </p:custDataLst>
          </p:nvPr>
        </p:nvSpPr>
        <p:spPr>
          <a:xfrm>
            <a:off x="9290315" y="6616042"/>
            <a:ext cx="462625" cy="200025"/>
          </a:xfrm>
          <a:prstGeom prst="rect">
            <a:avLst/>
          </a:prstGeom>
        </p:spPr>
        <p:txBody>
          <a:bodyPr anchor="ctr"/>
          <a:lstStyle>
            <a:lvl1pPr>
              <a:defRPr sz="900">
                <a:solidFill>
                  <a:schemeClr val="bg1">
                    <a:lumMod val="50000"/>
                  </a:schemeClr>
                </a:solidFill>
                <a:latin typeface="Calibri" pitchFamily="34" charset="0"/>
              </a:defRPr>
            </a:lvl1pPr>
          </a:lstStyle>
          <a:p>
            <a:pPr algn="r">
              <a:defRPr/>
            </a:pPr>
            <a:fld id="{C7F976E0-27C5-4706-9C1B-6414AB633648}" type="slidenum">
              <a:rPr lang="en-GB" sz="900" smtClean="0">
                <a:solidFill>
                  <a:srgbClr val="4D4D4D"/>
                </a:solidFill>
                <a:latin typeface="+mj-lt"/>
                <a:cs typeface="Arial" charset="0"/>
              </a:rPr>
              <a:pPr algn="r">
                <a:defRPr/>
              </a:pPr>
              <a:t>‹#›</a:t>
            </a:fld>
            <a:endParaRPr lang="en-GB" sz="1050">
              <a:solidFill>
                <a:srgbClr val="4D4D4D"/>
              </a:solidFill>
              <a:latin typeface="+mj-lt"/>
              <a:cs typeface="Arial" charset="0"/>
            </a:endParaRPr>
          </a:p>
        </p:txBody>
      </p:sp>
      <p:sp>
        <p:nvSpPr>
          <p:cNvPr id="3" name="Espace réservé du texte 2"/>
          <p:cNvSpPr>
            <a:spLocks noGrp="1"/>
          </p:cNvSpPr>
          <p:nvPr>
            <p:ph type="body" idx="1"/>
            <p:custDataLst>
              <p:tags r:id="rId19"/>
            </p:custDataLst>
          </p:nvPr>
        </p:nvSpPr>
        <p:spPr>
          <a:xfrm>
            <a:off x="165600" y="942560"/>
            <a:ext cx="9540000" cy="5435600"/>
          </a:xfrm>
          <a:prstGeom prst="rect">
            <a:avLst/>
          </a:prstGeom>
        </p:spPr>
        <p:txBody>
          <a:bodyPr vert="horz" lIns="91440" tIns="45720" rIns="91440" bIns="45720" rtlCol="0" anchor="t">
            <a:no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grpSp>
        <p:nvGrpSpPr>
          <p:cNvPr id="107" name="Graphique 7">
            <a:extLst>
              <a:ext uri="{FF2B5EF4-FFF2-40B4-BE49-F238E27FC236}">
                <a16:creationId xmlns:a16="http://schemas.microsoft.com/office/drawing/2014/main" id="{DA489534-4203-4CA4-BD15-D78B14AEDF8D}"/>
              </a:ext>
            </a:extLst>
          </p:cNvPr>
          <p:cNvGrpSpPr/>
          <p:nvPr/>
        </p:nvGrpSpPr>
        <p:grpSpPr>
          <a:xfrm>
            <a:off x="8572252" y="6584579"/>
            <a:ext cx="565002" cy="216312"/>
            <a:chOff x="2428087" y="1950365"/>
            <a:chExt cx="4042782" cy="1547784"/>
          </a:xfrm>
        </p:grpSpPr>
        <p:sp>
          <p:nvSpPr>
            <p:cNvPr id="108" name="Forme libre : forme 107">
              <a:extLst>
                <a:ext uri="{FF2B5EF4-FFF2-40B4-BE49-F238E27FC236}">
                  <a16:creationId xmlns:a16="http://schemas.microsoft.com/office/drawing/2014/main" id="{6CBA3F0F-0479-4194-8F8C-51F4FCD24997}"/>
                </a:ext>
              </a:extLst>
            </p:cNvPr>
            <p:cNvSpPr/>
            <p:nvPr/>
          </p:nvSpPr>
          <p:spPr>
            <a:xfrm>
              <a:off x="2436869" y="2236734"/>
              <a:ext cx="685800" cy="771525"/>
            </a:xfrm>
            <a:custGeom>
              <a:avLst/>
              <a:gdLst>
                <a:gd name="connsiteX0" fmla="*/ 673275 w 685800"/>
                <a:gd name="connsiteY0" fmla="*/ 400641 h 771525"/>
                <a:gd name="connsiteX1" fmla="*/ 144180 w 685800"/>
                <a:gd name="connsiteY1" fmla="*/ 400641 h 771525"/>
                <a:gd name="connsiteX2" fmla="*/ 214836 w 685800"/>
                <a:gd name="connsiteY2" fmla="*/ 598637 h 771525"/>
                <a:gd name="connsiteX3" fmla="*/ 375333 w 685800"/>
                <a:gd name="connsiteY3" fmla="*/ 658911 h 771525"/>
                <a:gd name="connsiteX4" fmla="*/ 561927 w 685800"/>
                <a:gd name="connsiteY4" fmla="*/ 593931 h 771525"/>
                <a:gd name="connsiteX5" fmla="*/ 616791 w 685800"/>
                <a:gd name="connsiteY5" fmla="*/ 687896 h 771525"/>
                <a:gd name="connsiteX6" fmla="*/ 524218 w 685800"/>
                <a:gd name="connsiteY6" fmla="*/ 739950 h 771525"/>
                <a:gd name="connsiteX7" fmla="*/ 350006 w 685800"/>
                <a:gd name="connsiteY7" fmla="*/ 768725 h 771525"/>
                <a:gd name="connsiteX8" fmla="*/ 114814 w 685800"/>
                <a:gd name="connsiteY8" fmla="*/ 674780 h 771525"/>
                <a:gd name="connsiteX9" fmla="*/ 7144 w 685800"/>
                <a:gd name="connsiteY9" fmla="*/ 396469 h 771525"/>
                <a:gd name="connsiteX10" fmla="*/ 117510 w 685800"/>
                <a:gd name="connsiteY10" fmla="*/ 105118 h 771525"/>
                <a:gd name="connsiteX11" fmla="*/ 351177 w 685800"/>
                <a:gd name="connsiteY11" fmla="*/ 7144 h 771525"/>
                <a:gd name="connsiteX12" fmla="*/ 597179 w 685800"/>
                <a:gd name="connsiteY12" fmla="*/ 95574 h 771525"/>
                <a:gd name="connsiteX13" fmla="*/ 683533 w 685800"/>
                <a:gd name="connsiteY13" fmla="*/ 321107 h 771525"/>
                <a:gd name="connsiteX14" fmla="*/ 673275 w 685800"/>
                <a:gd name="connsiteY14" fmla="*/ 400641 h 771525"/>
                <a:gd name="connsiteX15" fmla="*/ 357597 w 685800"/>
                <a:gd name="connsiteY15" fmla="*/ 116938 h 771525"/>
                <a:gd name="connsiteX16" fmla="*/ 211512 w 685800"/>
                <a:gd name="connsiteY16" fmla="*/ 173050 h 771525"/>
                <a:gd name="connsiteX17" fmla="*/ 147704 w 685800"/>
                <a:gd name="connsiteY17" fmla="*/ 305810 h 771525"/>
                <a:gd name="connsiteX18" fmla="*/ 554422 w 685800"/>
                <a:gd name="connsiteY18" fmla="*/ 305810 h 771525"/>
                <a:gd name="connsiteX19" fmla="*/ 505054 w 685800"/>
                <a:gd name="connsiteY19" fmla="*/ 174450 h 771525"/>
                <a:gd name="connsiteX20" fmla="*/ 357597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75" y="400641"/>
                  </a:moveTo>
                  <a:lnTo>
                    <a:pt x="144180" y="400641"/>
                  </a:lnTo>
                  <a:cubicBezTo>
                    <a:pt x="144180" y="486518"/>
                    <a:pt x="167735" y="552488"/>
                    <a:pt x="214836" y="598637"/>
                  </a:cubicBezTo>
                  <a:cubicBezTo>
                    <a:pt x="256470" y="638842"/>
                    <a:pt x="309934" y="658911"/>
                    <a:pt x="375333" y="658911"/>
                  </a:cubicBezTo>
                  <a:cubicBezTo>
                    <a:pt x="449885" y="658911"/>
                    <a:pt x="512083" y="637223"/>
                    <a:pt x="561927" y="593931"/>
                  </a:cubicBezTo>
                  <a:lnTo>
                    <a:pt x="616791" y="687896"/>
                  </a:lnTo>
                  <a:cubicBezTo>
                    <a:pt x="596627" y="707993"/>
                    <a:pt x="565775" y="725367"/>
                    <a:pt x="524218" y="739950"/>
                  </a:cubicBezTo>
                  <a:cubicBezTo>
                    <a:pt x="472116" y="759114"/>
                    <a:pt x="414033" y="768725"/>
                    <a:pt x="350006" y="768725"/>
                  </a:cubicBezTo>
                  <a:cubicBezTo>
                    <a:pt x="257670" y="768725"/>
                    <a:pt x="179261" y="737416"/>
                    <a:pt x="114814" y="674780"/>
                  </a:cubicBezTo>
                  <a:cubicBezTo>
                    <a:pt x="43005" y="605828"/>
                    <a:pt x="7144" y="513055"/>
                    <a:pt x="7144" y="396469"/>
                  </a:cubicBezTo>
                  <a:cubicBezTo>
                    <a:pt x="7144" y="275368"/>
                    <a:pt x="43929" y="178241"/>
                    <a:pt x="117510" y="105118"/>
                  </a:cubicBezTo>
                  <a:cubicBezTo>
                    <a:pt x="183290" y="39786"/>
                    <a:pt x="261176" y="7144"/>
                    <a:pt x="351177" y="7144"/>
                  </a:cubicBezTo>
                  <a:cubicBezTo>
                    <a:pt x="455762" y="7144"/>
                    <a:pt x="537772" y="36614"/>
                    <a:pt x="597179" y="95574"/>
                  </a:cubicBezTo>
                  <a:cubicBezTo>
                    <a:pt x="654758" y="152238"/>
                    <a:pt x="683533" y="227457"/>
                    <a:pt x="683533" y="321107"/>
                  </a:cubicBezTo>
                  <a:cubicBezTo>
                    <a:pt x="683543" y="349910"/>
                    <a:pt x="680085" y="376438"/>
                    <a:pt x="673275" y="400641"/>
                  </a:cubicBezTo>
                  <a:close/>
                  <a:moveTo>
                    <a:pt x="357597" y="116938"/>
                  </a:moveTo>
                  <a:cubicBezTo>
                    <a:pt x="299514" y="116938"/>
                    <a:pt x="250822" y="135674"/>
                    <a:pt x="211512" y="173050"/>
                  </a:cubicBezTo>
                  <a:cubicBezTo>
                    <a:pt x="174003" y="208636"/>
                    <a:pt x="152695" y="252879"/>
                    <a:pt x="147704" y="305810"/>
                  </a:cubicBezTo>
                  <a:lnTo>
                    <a:pt x="554422" y="305810"/>
                  </a:lnTo>
                  <a:cubicBezTo>
                    <a:pt x="554422" y="253375"/>
                    <a:pt x="537953" y="209588"/>
                    <a:pt x="505054" y="174450"/>
                  </a:cubicBezTo>
                  <a:cubicBezTo>
                    <a:pt x="468935" y="136103"/>
                    <a:pt x="419738" y="116938"/>
                    <a:pt x="357597" y="116938"/>
                  </a:cubicBezTo>
                  <a:close/>
                </a:path>
              </a:pathLst>
            </a:custGeom>
            <a:solidFill>
              <a:srgbClr val="289B38"/>
            </a:solidFill>
            <a:ln w="9525" cap="flat">
              <a:noFill/>
              <a:prstDash val="solid"/>
              <a:miter/>
            </a:ln>
          </p:spPr>
          <p:txBody>
            <a:bodyPr rtlCol="0" anchor="ctr"/>
            <a:lstStyle/>
            <a:p>
              <a:endParaRPr lang="fr-FR"/>
            </a:p>
          </p:txBody>
        </p:sp>
        <p:sp>
          <p:nvSpPr>
            <p:cNvPr id="109" name="Forme libre : forme 108">
              <a:extLst>
                <a:ext uri="{FF2B5EF4-FFF2-40B4-BE49-F238E27FC236}">
                  <a16:creationId xmlns:a16="http://schemas.microsoft.com/office/drawing/2014/main" id="{4D249624-9FD0-4145-B22A-AC25D93E72A2}"/>
                </a:ext>
              </a:extLst>
            </p:cNvPr>
            <p:cNvSpPr/>
            <p:nvPr/>
          </p:nvSpPr>
          <p:spPr>
            <a:xfrm>
              <a:off x="3259963" y="1950365"/>
              <a:ext cx="266700" cy="1057275"/>
            </a:xfrm>
            <a:custGeom>
              <a:avLst/>
              <a:gdLst>
                <a:gd name="connsiteX0" fmla="*/ 7144 w 266700"/>
                <a:gd name="connsiteY0" fmla="*/ 833847 h 1057275"/>
                <a:gd name="connsiteX1" fmla="*/ 7144 w 266700"/>
                <a:gd name="connsiteY1" fmla="*/ 7144 h 1057275"/>
                <a:gd name="connsiteX2" fmla="*/ 137160 w 266700"/>
                <a:gd name="connsiteY2" fmla="*/ 7144 h 1057275"/>
                <a:gd name="connsiteX3" fmla="*/ 137160 w 266700"/>
                <a:gd name="connsiteY3" fmla="*/ 811578 h 1057275"/>
                <a:gd name="connsiteX4" fmla="*/ 171136 w 266700"/>
                <a:gd name="connsiteY4" fmla="*/ 904389 h 1057275"/>
                <a:gd name="connsiteX5" fmla="*/ 260137 w 266700"/>
                <a:gd name="connsiteY5" fmla="*/ 938251 h 1057275"/>
                <a:gd name="connsiteX6" fmla="*/ 260137 w 266700"/>
                <a:gd name="connsiteY6" fmla="*/ 1055103 h 1057275"/>
                <a:gd name="connsiteX7" fmla="*/ 7144 w 266700"/>
                <a:gd name="connsiteY7" fmla="*/ 833847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1057275">
                  <a:moveTo>
                    <a:pt x="7144" y="833847"/>
                  </a:moveTo>
                  <a:lnTo>
                    <a:pt x="7144" y="7144"/>
                  </a:lnTo>
                  <a:lnTo>
                    <a:pt x="137160" y="7144"/>
                  </a:lnTo>
                  <a:lnTo>
                    <a:pt x="137160" y="811578"/>
                  </a:lnTo>
                  <a:cubicBezTo>
                    <a:pt x="137160" y="850868"/>
                    <a:pt x="148523" y="881767"/>
                    <a:pt x="171136" y="904389"/>
                  </a:cubicBezTo>
                  <a:cubicBezTo>
                    <a:pt x="193872" y="926954"/>
                    <a:pt x="223514" y="938251"/>
                    <a:pt x="260137" y="938251"/>
                  </a:cubicBezTo>
                  <a:lnTo>
                    <a:pt x="260137" y="1055103"/>
                  </a:lnTo>
                  <a:cubicBezTo>
                    <a:pt x="91469" y="1055103"/>
                    <a:pt x="7144" y="981370"/>
                    <a:pt x="7144" y="833847"/>
                  </a:cubicBezTo>
                  <a:close/>
                </a:path>
              </a:pathLst>
            </a:custGeom>
            <a:solidFill>
              <a:srgbClr val="00A3E5"/>
            </a:solidFill>
            <a:ln w="9525" cap="flat">
              <a:noFill/>
              <a:prstDash val="solid"/>
              <a:miter/>
            </a:ln>
          </p:spPr>
          <p:txBody>
            <a:bodyPr rtlCol="0" anchor="ctr"/>
            <a:lstStyle/>
            <a:p>
              <a:endParaRPr lang="fr-FR"/>
            </a:p>
          </p:txBody>
        </p:sp>
        <p:sp>
          <p:nvSpPr>
            <p:cNvPr id="110" name="Forme libre : forme 109">
              <a:extLst>
                <a:ext uri="{FF2B5EF4-FFF2-40B4-BE49-F238E27FC236}">
                  <a16:creationId xmlns:a16="http://schemas.microsoft.com/office/drawing/2014/main" id="{CE31266C-F592-4296-949B-8A9A91B0F6F7}"/>
                </a:ext>
              </a:extLst>
            </p:cNvPr>
            <p:cNvSpPr/>
            <p:nvPr/>
          </p:nvSpPr>
          <p:spPr>
            <a:xfrm>
              <a:off x="3615674" y="2236734"/>
              <a:ext cx="685800" cy="771525"/>
            </a:xfrm>
            <a:custGeom>
              <a:avLst/>
              <a:gdLst>
                <a:gd name="connsiteX0" fmla="*/ 673246 w 685800"/>
                <a:gd name="connsiteY0" fmla="*/ 400641 h 771525"/>
                <a:gd name="connsiteX1" fmla="*/ 144161 w 685800"/>
                <a:gd name="connsiteY1" fmla="*/ 400641 h 771525"/>
                <a:gd name="connsiteX2" fmla="*/ 214827 w 685800"/>
                <a:gd name="connsiteY2" fmla="*/ 598637 h 771525"/>
                <a:gd name="connsiteX3" fmla="*/ 375361 w 685800"/>
                <a:gd name="connsiteY3" fmla="*/ 658911 h 771525"/>
                <a:gd name="connsiteX4" fmla="*/ 561899 w 685800"/>
                <a:gd name="connsiteY4" fmla="*/ 593931 h 771525"/>
                <a:gd name="connsiteX5" fmla="*/ 616744 w 685800"/>
                <a:gd name="connsiteY5" fmla="*/ 687896 h 771525"/>
                <a:gd name="connsiteX6" fmla="*/ 524199 w 685800"/>
                <a:gd name="connsiteY6" fmla="*/ 739950 h 771525"/>
                <a:gd name="connsiteX7" fmla="*/ 350044 w 685800"/>
                <a:gd name="connsiteY7" fmla="*/ 768725 h 771525"/>
                <a:gd name="connsiteX8" fmla="*/ 114862 w 685800"/>
                <a:gd name="connsiteY8" fmla="*/ 674780 h 771525"/>
                <a:gd name="connsiteX9" fmla="*/ 7144 w 685800"/>
                <a:gd name="connsiteY9" fmla="*/ 396469 h 771525"/>
                <a:gd name="connsiteX10" fmla="*/ 117481 w 685800"/>
                <a:gd name="connsiteY10" fmla="*/ 105118 h 771525"/>
                <a:gd name="connsiteX11" fmla="*/ 351120 w 685800"/>
                <a:gd name="connsiteY11" fmla="*/ 7144 h 771525"/>
                <a:gd name="connsiteX12" fmla="*/ 597218 w 685800"/>
                <a:gd name="connsiteY12" fmla="*/ 95574 h 771525"/>
                <a:gd name="connsiteX13" fmla="*/ 683514 w 685800"/>
                <a:gd name="connsiteY13" fmla="*/ 321107 h 771525"/>
                <a:gd name="connsiteX14" fmla="*/ 673246 w 685800"/>
                <a:gd name="connsiteY14" fmla="*/ 400641 h 771525"/>
                <a:gd name="connsiteX15" fmla="*/ 357569 w 685800"/>
                <a:gd name="connsiteY15" fmla="*/ 116938 h 771525"/>
                <a:gd name="connsiteX16" fmla="*/ 211484 w 685800"/>
                <a:gd name="connsiteY16" fmla="*/ 173050 h 771525"/>
                <a:gd name="connsiteX17" fmla="*/ 147695 w 685800"/>
                <a:gd name="connsiteY17" fmla="*/ 305810 h 771525"/>
                <a:gd name="connsiteX18" fmla="*/ 554393 w 685800"/>
                <a:gd name="connsiteY18" fmla="*/ 305810 h 771525"/>
                <a:gd name="connsiteX19" fmla="*/ 505044 w 685800"/>
                <a:gd name="connsiteY19" fmla="*/ 174450 h 771525"/>
                <a:gd name="connsiteX20" fmla="*/ 35756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46" y="400641"/>
                  </a:moveTo>
                  <a:lnTo>
                    <a:pt x="144161" y="400641"/>
                  </a:lnTo>
                  <a:cubicBezTo>
                    <a:pt x="144161" y="486518"/>
                    <a:pt x="167716" y="552488"/>
                    <a:pt x="214827" y="598637"/>
                  </a:cubicBezTo>
                  <a:cubicBezTo>
                    <a:pt x="256442" y="638842"/>
                    <a:pt x="309982" y="658911"/>
                    <a:pt x="375361" y="658911"/>
                  </a:cubicBezTo>
                  <a:cubicBezTo>
                    <a:pt x="449847" y="658911"/>
                    <a:pt x="512055" y="637223"/>
                    <a:pt x="561899" y="593931"/>
                  </a:cubicBezTo>
                  <a:lnTo>
                    <a:pt x="616744" y="687896"/>
                  </a:lnTo>
                  <a:cubicBezTo>
                    <a:pt x="596656" y="707993"/>
                    <a:pt x="565804" y="725367"/>
                    <a:pt x="524199" y="739950"/>
                  </a:cubicBezTo>
                  <a:cubicBezTo>
                    <a:pt x="472078" y="759114"/>
                    <a:pt x="414071" y="768725"/>
                    <a:pt x="350044" y="768725"/>
                  </a:cubicBezTo>
                  <a:cubicBezTo>
                    <a:pt x="257718" y="768725"/>
                    <a:pt x="179299" y="737416"/>
                    <a:pt x="114862" y="674780"/>
                  </a:cubicBezTo>
                  <a:cubicBezTo>
                    <a:pt x="43043" y="605828"/>
                    <a:pt x="7144" y="513055"/>
                    <a:pt x="7144" y="396469"/>
                  </a:cubicBezTo>
                  <a:cubicBezTo>
                    <a:pt x="7144" y="275368"/>
                    <a:pt x="43910" y="178241"/>
                    <a:pt x="117481" y="105118"/>
                  </a:cubicBezTo>
                  <a:cubicBezTo>
                    <a:pt x="183261" y="39786"/>
                    <a:pt x="261147" y="7144"/>
                    <a:pt x="351120" y="7144"/>
                  </a:cubicBezTo>
                  <a:cubicBezTo>
                    <a:pt x="455790" y="7144"/>
                    <a:pt x="537791" y="36614"/>
                    <a:pt x="597218" y="95574"/>
                  </a:cubicBezTo>
                  <a:cubicBezTo>
                    <a:pt x="654739" y="152238"/>
                    <a:pt x="683514" y="227457"/>
                    <a:pt x="683514" y="321107"/>
                  </a:cubicBezTo>
                  <a:cubicBezTo>
                    <a:pt x="683524" y="349910"/>
                    <a:pt x="680104" y="376438"/>
                    <a:pt x="673246" y="400641"/>
                  </a:cubicBezTo>
                  <a:close/>
                  <a:moveTo>
                    <a:pt x="357569" y="116938"/>
                  </a:moveTo>
                  <a:cubicBezTo>
                    <a:pt x="299533" y="116938"/>
                    <a:pt x="250784" y="135674"/>
                    <a:pt x="211484" y="173050"/>
                  </a:cubicBezTo>
                  <a:cubicBezTo>
                    <a:pt x="173993" y="208636"/>
                    <a:pt x="152733" y="252879"/>
                    <a:pt x="147695" y="305810"/>
                  </a:cubicBezTo>
                  <a:lnTo>
                    <a:pt x="554393" y="305810"/>
                  </a:lnTo>
                  <a:cubicBezTo>
                    <a:pt x="554393" y="253375"/>
                    <a:pt x="537924" y="209588"/>
                    <a:pt x="505044" y="174450"/>
                  </a:cubicBezTo>
                  <a:cubicBezTo>
                    <a:pt x="468906" y="136103"/>
                    <a:pt x="419786" y="116938"/>
                    <a:pt x="357569" y="116938"/>
                  </a:cubicBezTo>
                  <a:close/>
                </a:path>
              </a:pathLst>
            </a:custGeom>
            <a:solidFill>
              <a:srgbClr val="289B38"/>
            </a:solidFill>
            <a:ln w="9525" cap="flat">
              <a:noFill/>
              <a:prstDash val="solid"/>
              <a:miter/>
            </a:ln>
          </p:spPr>
          <p:txBody>
            <a:bodyPr rtlCol="0" anchor="ctr"/>
            <a:lstStyle/>
            <a:p>
              <a:endParaRPr lang="fr-FR"/>
            </a:p>
          </p:txBody>
        </p:sp>
        <p:sp>
          <p:nvSpPr>
            <p:cNvPr id="111" name="Forme libre : forme 110">
              <a:extLst>
                <a:ext uri="{FF2B5EF4-FFF2-40B4-BE49-F238E27FC236}">
                  <a16:creationId xmlns:a16="http://schemas.microsoft.com/office/drawing/2014/main" id="{52DD5489-5FA5-4159-A400-D983F29F9C5F}"/>
                </a:ext>
              </a:extLst>
            </p:cNvPr>
            <p:cNvSpPr/>
            <p:nvPr/>
          </p:nvSpPr>
          <p:spPr>
            <a:xfrm>
              <a:off x="4343860" y="2249040"/>
              <a:ext cx="676275" cy="762000"/>
            </a:xfrm>
            <a:custGeom>
              <a:avLst/>
              <a:gdLst>
                <a:gd name="connsiteX0" fmla="*/ 355873 w 676275"/>
                <a:gd name="connsiteY0" fmla="*/ 756428 h 762000"/>
                <a:gd name="connsiteX1" fmla="*/ 321631 w 676275"/>
                <a:gd name="connsiteY1" fmla="*/ 756428 h 762000"/>
                <a:gd name="connsiteX2" fmla="*/ 7144 w 676275"/>
                <a:gd name="connsiteY2" fmla="*/ 7144 h 762000"/>
                <a:gd name="connsiteX3" fmla="*/ 149447 w 676275"/>
                <a:gd name="connsiteY3" fmla="*/ 7144 h 762000"/>
                <a:gd name="connsiteX4" fmla="*/ 343586 w 676275"/>
                <a:gd name="connsiteY4" fmla="*/ 521017 h 762000"/>
                <a:gd name="connsiteX5" fmla="*/ 542115 w 676275"/>
                <a:gd name="connsiteY5" fmla="*/ 7144 h 762000"/>
                <a:gd name="connsiteX6" fmla="*/ 678266 w 676275"/>
                <a:gd name="connsiteY6" fmla="*/ 7144 h 762000"/>
                <a:gd name="connsiteX7" fmla="*/ 355873 w 676275"/>
                <a:gd name="connsiteY7" fmla="*/ 756428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6275" h="762000">
                  <a:moveTo>
                    <a:pt x="355873" y="756428"/>
                  </a:moveTo>
                  <a:lnTo>
                    <a:pt x="321631" y="756428"/>
                  </a:lnTo>
                  <a:lnTo>
                    <a:pt x="7144" y="7144"/>
                  </a:lnTo>
                  <a:lnTo>
                    <a:pt x="149447" y="7144"/>
                  </a:lnTo>
                  <a:lnTo>
                    <a:pt x="343586" y="521017"/>
                  </a:lnTo>
                  <a:lnTo>
                    <a:pt x="542115" y="7144"/>
                  </a:lnTo>
                  <a:lnTo>
                    <a:pt x="678266" y="7144"/>
                  </a:lnTo>
                  <a:lnTo>
                    <a:pt x="355873" y="756428"/>
                  </a:lnTo>
                  <a:close/>
                </a:path>
              </a:pathLst>
            </a:custGeom>
            <a:solidFill>
              <a:srgbClr val="289B38"/>
            </a:solidFill>
            <a:ln w="9525" cap="flat">
              <a:noFill/>
              <a:prstDash val="solid"/>
              <a:miter/>
            </a:ln>
          </p:spPr>
          <p:txBody>
            <a:bodyPr rtlCol="0" anchor="ctr"/>
            <a:lstStyle/>
            <a:p>
              <a:endParaRPr lang="fr-FR"/>
            </a:p>
          </p:txBody>
        </p:sp>
        <p:sp>
          <p:nvSpPr>
            <p:cNvPr id="112" name="Forme libre : forme 111">
              <a:extLst>
                <a:ext uri="{FF2B5EF4-FFF2-40B4-BE49-F238E27FC236}">
                  <a16:creationId xmlns:a16="http://schemas.microsoft.com/office/drawing/2014/main" id="{A75AAFCD-35FF-4DEE-A912-0E394C43D96A}"/>
                </a:ext>
              </a:extLst>
            </p:cNvPr>
            <p:cNvSpPr/>
            <p:nvPr/>
          </p:nvSpPr>
          <p:spPr>
            <a:xfrm>
              <a:off x="5067808" y="2236734"/>
              <a:ext cx="685800" cy="771525"/>
            </a:xfrm>
            <a:custGeom>
              <a:avLst/>
              <a:gdLst>
                <a:gd name="connsiteX0" fmla="*/ 673227 w 685800"/>
                <a:gd name="connsiteY0" fmla="*/ 400641 h 771525"/>
                <a:gd name="connsiteX1" fmla="*/ 144151 w 685800"/>
                <a:gd name="connsiteY1" fmla="*/ 400641 h 771525"/>
                <a:gd name="connsiteX2" fmla="*/ 214827 w 685800"/>
                <a:gd name="connsiteY2" fmla="*/ 598637 h 771525"/>
                <a:gd name="connsiteX3" fmla="*/ 375295 w 685800"/>
                <a:gd name="connsiteY3" fmla="*/ 658911 h 771525"/>
                <a:gd name="connsiteX4" fmla="*/ 561832 w 685800"/>
                <a:gd name="connsiteY4" fmla="*/ 593931 h 771525"/>
                <a:gd name="connsiteX5" fmla="*/ 616791 w 685800"/>
                <a:gd name="connsiteY5" fmla="*/ 687896 h 771525"/>
                <a:gd name="connsiteX6" fmla="*/ 524208 w 685800"/>
                <a:gd name="connsiteY6" fmla="*/ 739950 h 771525"/>
                <a:gd name="connsiteX7" fmla="*/ 349996 w 685800"/>
                <a:gd name="connsiteY7" fmla="*/ 768725 h 771525"/>
                <a:gd name="connsiteX8" fmla="*/ 114805 w 685800"/>
                <a:gd name="connsiteY8" fmla="*/ 674780 h 771525"/>
                <a:gd name="connsiteX9" fmla="*/ 7144 w 685800"/>
                <a:gd name="connsiteY9" fmla="*/ 396469 h 771525"/>
                <a:gd name="connsiteX10" fmla="*/ 117491 w 685800"/>
                <a:gd name="connsiteY10" fmla="*/ 105118 h 771525"/>
                <a:gd name="connsiteX11" fmla="*/ 351158 w 685800"/>
                <a:gd name="connsiteY11" fmla="*/ 7144 h 771525"/>
                <a:gd name="connsiteX12" fmla="*/ 597180 w 685800"/>
                <a:gd name="connsiteY12" fmla="*/ 95574 h 771525"/>
                <a:gd name="connsiteX13" fmla="*/ 683514 w 685800"/>
                <a:gd name="connsiteY13" fmla="*/ 321107 h 771525"/>
                <a:gd name="connsiteX14" fmla="*/ 673227 w 685800"/>
                <a:gd name="connsiteY14" fmla="*/ 400641 h 771525"/>
                <a:gd name="connsiteX15" fmla="*/ 357559 w 685800"/>
                <a:gd name="connsiteY15" fmla="*/ 116938 h 771525"/>
                <a:gd name="connsiteX16" fmla="*/ 211474 w 685800"/>
                <a:gd name="connsiteY16" fmla="*/ 173050 h 771525"/>
                <a:gd name="connsiteX17" fmla="*/ 147695 w 685800"/>
                <a:gd name="connsiteY17" fmla="*/ 305810 h 771525"/>
                <a:gd name="connsiteX18" fmla="*/ 554364 w 685800"/>
                <a:gd name="connsiteY18" fmla="*/ 305810 h 771525"/>
                <a:gd name="connsiteX19" fmla="*/ 504968 w 685800"/>
                <a:gd name="connsiteY19" fmla="*/ 174450 h 771525"/>
                <a:gd name="connsiteX20" fmla="*/ 35755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27" y="400641"/>
                  </a:moveTo>
                  <a:lnTo>
                    <a:pt x="144151" y="400641"/>
                  </a:lnTo>
                  <a:cubicBezTo>
                    <a:pt x="144151" y="486518"/>
                    <a:pt x="167726" y="552488"/>
                    <a:pt x="214827" y="598637"/>
                  </a:cubicBezTo>
                  <a:cubicBezTo>
                    <a:pt x="256422" y="638842"/>
                    <a:pt x="309915" y="658911"/>
                    <a:pt x="375295" y="658911"/>
                  </a:cubicBezTo>
                  <a:cubicBezTo>
                    <a:pt x="449875" y="658911"/>
                    <a:pt x="512026" y="637223"/>
                    <a:pt x="561832" y="593931"/>
                  </a:cubicBezTo>
                  <a:lnTo>
                    <a:pt x="616791" y="687896"/>
                  </a:lnTo>
                  <a:cubicBezTo>
                    <a:pt x="596665" y="707993"/>
                    <a:pt x="565795" y="725367"/>
                    <a:pt x="524208" y="739950"/>
                  </a:cubicBezTo>
                  <a:cubicBezTo>
                    <a:pt x="472031" y="759114"/>
                    <a:pt x="414023" y="768725"/>
                    <a:pt x="349996" y="768725"/>
                  </a:cubicBezTo>
                  <a:cubicBezTo>
                    <a:pt x="257642" y="768725"/>
                    <a:pt x="179241" y="737416"/>
                    <a:pt x="114805" y="674780"/>
                  </a:cubicBezTo>
                  <a:cubicBezTo>
                    <a:pt x="43053" y="605828"/>
                    <a:pt x="7144" y="513055"/>
                    <a:pt x="7144" y="396469"/>
                  </a:cubicBezTo>
                  <a:cubicBezTo>
                    <a:pt x="7144" y="275368"/>
                    <a:pt x="43920" y="178241"/>
                    <a:pt x="117491" y="105118"/>
                  </a:cubicBezTo>
                  <a:cubicBezTo>
                    <a:pt x="183261" y="39786"/>
                    <a:pt x="261118" y="7144"/>
                    <a:pt x="351158" y="7144"/>
                  </a:cubicBezTo>
                  <a:cubicBezTo>
                    <a:pt x="455790" y="7144"/>
                    <a:pt x="537763" y="36614"/>
                    <a:pt x="597180" y="95574"/>
                  </a:cubicBezTo>
                  <a:cubicBezTo>
                    <a:pt x="654739" y="152238"/>
                    <a:pt x="683514" y="227457"/>
                    <a:pt x="683514" y="321107"/>
                  </a:cubicBezTo>
                  <a:cubicBezTo>
                    <a:pt x="683514" y="349910"/>
                    <a:pt x="680113" y="376438"/>
                    <a:pt x="673227" y="400641"/>
                  </a:cubicBezTo>
                  <a:close/>
                  <a:moveTo>
                    <a:pt x="357559" y="116938"/>
                  </a:moveTo>
                  <a:cubicBezTo>
                    <a:pt x="299495" y="116938"/>
                    <a:pt x="250774" y="135674"/>
                    <a:pt x="211474" y="173050"/>
                  </a:cubicBezTo>
                  <a:cubicBezTo>
                    <a:pt x="173984" y="208636"/>
                    <a:pt x="152733" y="252879"/>
                    <a:pt x="147695" y="305810"/>
                  </a:cubicBezTo>
                  <a:lnTo>
                    <a:pt x="554364" y="305810"/>
                  </a:lnTo>
                  <a:cubicBezTo>
                    <a:pt x="554364" y="253375"/>
                    <a:pt x="537915" y="209588"/>
                    <a:pt x="504968" y="174450"/>
                  </a:cubicBezTo>
                  <a:cubicBezTo>
                    <a:pt x="468849" y="136103"/>
                    <a:pt x="419710" y="116938"/>
                    <a:pt x="357559" y="116938"/>
                  </a:cubicBezTo>
                  <a:close/>
                </a:path>
              </a:pathLst>
            </a:custGeom>
            <a:solidFill>
              <a:srgbClr val="289B38"/>
            </a:solidFill>
            <a:ln w="9525" cap="flat">
              <a:noFill/>
              <a:prstDash val="solid"/>
              <a:miter/>
            </a:ln>
          </p:spPr>
          <p:txBody>
            <a:bodyPr rtlCol="0" anchor="ctr"/>
            <a:lstStyle/>
            <a:p>
              <a:endParaRPr lang="fr-FR"/>
            </a:p>
          </p:txBody>
        </p:sp>
        <p:sp>
          <p:nvSpPr>
            <p:cNvPr id="113" name="Forme libre : forme 112">
              <a:extLst>
                <a:ext uri="{FF2B5EF4-FFF2-40B4-BE49-F238E27FC236}">
                  <a16:creationId xmlns:a16="http://schemas.microsoft.com/office/drawing/2014/main" id="{088EE795-D007-467B-8DFB-6D1D135687B5}"/>
                </a:ext>
              </a:extLst>
            </p:cNvPr>
            <p:cNvSpPr/>
            <p:nvPr/>
          </p:nvSpPr>
          <p:spPr>
            <a:xfrm>
              <a:off x="5880319" y="2236743"/>
              <a:ext cx="590550" cy="752475"/>
            </a:xfrm>
            <a:custGeom>
              <a:avLst/>
              <a:gdLst>
                <a:gd name="connsiteX0" fmla="*/ 458667 w 590550"/>
                <a:gd name="connsiteY0" fmla="*/ 754666 h 752475"/>
                <a:gd name="connsiteX1" fmla="*/ 458667 w 590550"/>
                <a:gd name="connsiteY1" fmla="*/ 327908 h 752475"/>
                <a:gd name="connsiteX2" fmla="*/ 423386 w 590550"/>
                <a:gd name="connsiteY2" fmla="*/ 163859 h 752475"/>
                <a:gd name="connsiteX3" fmla="*/ 305105 w 590550"/>
                <a:gd name="connsiteY3" fmla="*/ 116919 h 752475"/>
                <a:gd name="connsiteX4" fmla="*/ 211874 w 590550"/>
                <a:gd name="connsiteY4" fmla="*/ 143675 h 752475"/>
                <a:gd name="connsiteX5" fmla="*/ 137170 w 590550"/>
                <a:gd name="connsiteY5" fmla="*/ 209417 h 752475"/>
                <a:gd name="connsiteX6" fmla="*/ 137170 w 590550"/>
                <a:gd name="connsiteY6" fmla="*/ 754656 h 752475"/>
                <a:gd name="connsiteX7" fmla="*/ 7144 w 590550"/>
                <a:gd name="connsiteY7" fmla="*/ 754656 h 752475"/>
                <a:gd name="connsiteX8" fmla="*/ 7144 w 590550"/>
                <a:gd name="connsiteY8" fmla="*/ 21193 h 752475"/>
                <a:gd name="connsiteX9" fmla="*/ 96231 w 590550"/>
                <a:gd name="connsiteY9" fmla="*/ 21193 h 752475"/>
                <a:gd name="connsiteX10" fmla="*/ 137284 w 590550"/>
                <a:gd name="connsiteY10" fmla="*/ 115719 h 752475"/>
                <a:gd name="connsiteX11" fmla="*/ 347529 w 590550"/>
                <a:gd name="connsiteY11" fmla="*/ 7144 h 752475"/>
                <a:gd name="connsiteX12" fmla="*/ 588673 w 590550"/>
                <a:gd name="connsiteY12" fmla="*/ 300352 h 752475"/>
                <a:gd name="connsiteX13" fmla="*/ 588673 w 590550"/>
                <a:gd name="connsiteY13" fmla="*/ 754666 h 752475"/>
                <a:gd name="connsiteX14" fmla="*/ 458667 w 590550"/>
                <a:gd name="connsiteY14" fmla="*/ 754666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0550" h="752475">
                  <a:moveTo>
                    <a:pt x="458667" y="754666"/>
                  </a:moveTo>
                  <a:lnTo>
                    <a:pt x="458667" y="327908"/>
                  </a:lnTo>
                  <a:cubicBezTo>
                    <a:pt x="458667" y="249831"/>
                    <a:pt x="446922" y="195148"/>
                    <a:pt x="423386" y="163859"/>
                  </a:cubicBezTo>
                  <a:cubicBezTo>
                    <a:pt x="399812" y="132559"/>
                    <a:pt x="360378" y="116919"/>
                    <a:pt x="305105" y="116919"/>
                  </a:cubicBezTo>
                  <a:cubicBezTo>
                    <a:pt x="275415" y="116919"/>
                    <a:pt x="244335" y="125835"/>
                    <a:pt x="211874" y="143675"/>
                  </a:cubicBezTo>
                  <a:cubicBezTo>
                    <a:pt x="179432" y="161439"/>
                    <a:pt x="154496" y="183413"/>
                    <a:pt x="137170" y="209417"/>
                  </a:cubicBezTo>
                  <a:lnTo>
                    <a:pt x="137170" y="754656"/>
                  </a:lnTo>
                  <a:lnTo>
                    <a:pt x="7144" y="754656"/>
                  </a:lnTo>
                  <a:lnTo>
                    <a:pt x="7144" y="21193"/>
                  </a:lnTo>
                  <a:lnTo>
                    <a:pt x="96231" y="21193"/>
                  </a:lnTo>
                  <a:lnTo>
                    <a:pt x="137284" y="115719"/>
                  </a:lnTo>
                  <a:cubicBezTo>
                    <a:pt x="180222" y="43282"/>
                    <a:pt x="250317" y="7144"/>
                    <a:pt x="347529" y="7144"/>
                  </a:cubicBezTo>
                  <a:cubicBezTo>
                    <a:pt x="508302" y="7144"/>
                    <a:pt x="588673" y="104918"/>
                    <a:pt x="588673" y="300352"/>
                  </a:cubicBezTo>
                  <a:lnTo>
                    <a:pt x="588673" y="754666"/>
                  </a:lnTo>
                  <a:lnTo>
                    <a:pt x="458667" y="754666"/>
                  </a:lnTo>
                  <a:close/>
                </a:path>
              </a:pathLst>
            </a:custGeom>
            <a:solidFill>
              <a:srgbClr val="289B38"/>
            </a:solidFill>
            <a:ln w="9525" cap="flat">
              <a:noFill/>
              <a:prstDash val="solid"/>
              <a:miter/>
            </a:ln>
          </p:spPr>
          <p:txBody>
            <a:bodyPr rtlCol="0" anchor="ctr"/>
            <a:lstStyle/>
            <a:p>
              <a:endParaRPr lang="fr-FR"/>
            </a:p>
          </p:txBody>
        </p:sp>
        <p:sp>
          <p:nvSpPr>
            <p:cNvPr id="114" name="Forme libre : forme 113">
              <a:extLst>
                <a:ext uri="{FF2B5EF4-FFF2-40B4-BE49-F238E27FC236}">
                  <a16:creationId xmlns:a16="http://schemas.microsoft.com/office/drawing/2014/main" id="{FAEC69A0-0687-4831-ABB6-7ED1B1B1A5E7}"/>
                </a:ext>
              </a:extLst>
            </p:cNvPr>
            <p:cNvSpPr/>
            <p:nvPr/>
          </p:nvSpPr>
          <p:spPr>
            <a:xfrm>
              <a:off x="2428087" y="3174813"/>
              <a:ext cx="161925" cy="238125"/>
            </a:xfrm>
            <a:custGeom>
              <a:avLst/>
              <a:gdLst>
                <a:gd name="connsiteX0" fmla="*/ 7144 w 161925"/>
                <a:gd name="connsiteY0" fmla="*/ 217989 h 238125"/>
                <a:gd name="connsiteX1" fmla="*/ 21717 w 161925"/>
                <a:gd name="connsiteY1" fmla="*/ 181032 h 238125"/>
                <a:gd name="connsiteX2" fmla="*/ 77400 w 161925"/>
                <a:gd name="connsiteY2" fmla="*/ 202378 h 238125"/>
                <a:gd name="connsiteX3" fmla="*/ 115691 w 161925"/>
                <a:gd name="connsiteY3" fmla="*/ 172002 h 238125"/>
                <a:gd name="connsiteX4" fmla="*/ 78715 w 161925"/>
                <a:gd name="connsiteY4" fmla="*/ 134636 h 238125"/>
                <a:gd name="connsiteX5" fmla="*/ 40319 w 161925"/>
                <a:gd name="connsiteY5" fmla="*/ 115957 h 238125"/>
                <a:gd name="connsiteX6" fmla="*/ 23136 w 161925"/>
                <a:gd name="connsiteY6" fmla="*/ 101479 h 238125"/>
                <a:gd name="connsiteX7" fmla="*/ 12259 w 161925"/>
                <a:gd name="connsiteY7" fmla="*/ 84230 h 238125"/>
                <a:gd name="connsiteX8" fmla="*/ 8677 w 161925"/>
                <a:gd name="connsiteY8" fmla="*/ 64627 h 238125"/>
                <a:gd name="connsiteX9" fmla="*/ 29556 w 161925"/>
                <a:gd name="connsiteY9" fmla="*/ 22346 h 238125"/>
                <a:gd name="connsiteX10" fmla="*/ 84153 w 161925"/>
                <a:gd name="connsiteY10" fmla="*/ 7144 h 238125"/>
                <a:gd name="connsiteX11" fmla="*/ 148323 w 161925"/>
                <a:gd name="connsiteY11" fmla="*/ 22346 h 238125"/>
                <a:gd name="connsiteX12" fmla="*/ 136579 w 161925"/>
                <a:gd name="connsiteY12" fmla="*/ 58474 h 238125"/>
                <a:gd name="connsiteX13" fmla="*/ 87201 w 161925"/>
                <a:gd name="connsiteY13" fmla="*/ 40005 h 238125"/>
                <a:gd name="connsiteX14" fmla="*/ 62293 w 161925"/>
                <a:gd name="connsiteY14" fmla="*/ 46568 h 238125"/>
                <a:gd name="connsiteX15" fmla="*/ 52178 w 161925"/>
                <a:gd name="connsiteY15" fmla="*/ 63189 h 238125"/>
                <a:gd name="connsiteX16" fmla="*/ 77629 w 161925"/>
                <a:gd name="connsiteY16" fmla="*/ 95212 h 238125"/>
                <a:gd name="connsiteX17" fmla="*/ 107213 w 161925"/>
                <a:gd name="connsiteY17" fmla="*/ 107937 h 238125"/>
                <a:gd name="connsiteX18" fmla="*/ 146799 w 161925"/>
                <a:gd name="connsiteY18" fmla="*/ 134626 h 238125"/>
                <a:gd name="connsiteX19" fmla="*/ 159201 w 161925"/>
                <a:gd name="connsiteY19" fmla="*/ 172193 h 238125"/>
                <a:gd name="connsiteX20" fmla="*/ 137227 w 161925"/>
                <a:gd name="connsiteY20" fmla="*/ 218484 h 238125"/>
                <a:gd name="connsiteX21" fmla="*/ 76314 w 161925"/>
                <a:gd name="connsiteY21" fmla="*/ 235210 h 238125"/>
                <a:gd name="connsiteX22" fmla="*/ 7144 w 161925"/>
                <a:gd name="connsiteY22" fmla="*/ 21798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1925" h="238125">
                  <a:moveTo>
                    <a:pt x="7144" y="217989"/>
                  </a:moveTo>
                  <a:lnTo>
                    <a:pt x="21717" y="181032"/>
                  </a:lnTo>
                  <a:cubicBezTo>
                    <a:pt x="44777" y="195263"/>
                    <a:pt x="63341" y="202378"/>
                    <a:pt x="77400" y="202378"/>
                  </a:cubicBezTo>
                  <a:cubicBezTo>
                    <a:pt x="102927" y="202378"/>
                    <a:pt x="115691" y="192253"/>
                    <a:pt x="115691" y="172002"/>
                  </a:cubicBezTo>
                  <a:cubicBezTo>
                    <a:pt x="115691" y="157505"/>
                    <a:pt x="103365" y="145047"/>
                    <a:pt x="78715" y="134636"/>
                  </a:cubicBezTo>
                  <a:cubicBezTo>
                    <a:pt x="59712" y="126435"/>
                    <a:pt x="46920" y="120196"/>
                    <a:pt x="40319" y="115957"/>
                  </a:cubicBezTo>
                  <a:cubicBezTo>
                    <a:pt x="33718" y="111719"/>
                    <a:pt x="27994" y="106899"/>
                    <a:pt x="23136" y="101479"/>
                  </a:cubicBezTo>
                  <a:cubicBezTo>
                    <a:pt x="18278" y="96079"/>
                    <a:pt x="14649" y="90326"/>
                    <a:pt x="12259" y="84230"/>
                  </a:cubicBezTo>
                  <a:cubicBezTo>
                    <a:pt x="9868" y="78143"/>
                    <a:pt x="8677" y="71609"/>
                    <a:pt x="8677" y="64627"/>
                  </a:cubicBezTo>
                  <a:cubicBezTo>
                    <a:pt x="8677" y="46568"/>
                    <a:pt x="15631" y="32471"/>
                    <a:pt x="29556" y="22346"/>
                  </a:cubicBezTo>
                  <a:cubicBezTo>
                    <a:pt x="43472" y="12221"/>
                    <a:pt x="61674" y="7144"/>
                    <a:pt x="84153" y="7144"/>
                  </a:cubicBezTo>
                  <a:cubicBezTo>
                    <a:pt x="101117" y="7144"/>
                    <a:pt x="122511" y="12211"/>
                    <a:pt x="148323" y="22346"/>
                  </a:cubicBezTo>
                  <a:lnTo>
                    <a:pt x="136579" y="58474"/>
                  </a:lnTo>
                  <a:cubicBezTo>
                    <a:pt x="120186" y="46158"/>
                    <a:pt x="103737" y="40005"/>
                    <a:pt x="87201" y="40005"/>
                  </a:cubicBezTo>
                  <a:cubicBezTo>
                    <a:pt x="77333" y="40005"/>
                    <a:pt x="69037" y="42186"/>
                    <a:pt x="62293" y="46568"/>
                  </a:cubicBezTo>
                  <a:cubicBezTo>
                    <a:pt x="55550" y="50949"/>
                    <a:pt x="52178" y="56493"/>
                    <a:pt x="52178" y="63189"/>
                  </a:cubicBezTo>
                  <a:cubicBezTo>
                    <a:pt x="52178" y="77286"/>
                    <a:pt x="60665" y="87963"/>
                    <a:pt x="77629" y="95212"/>
                  </a:cubicBezTo>
                  <a:lnTo>
                    <a:pt x="107213" y="107937"/>
                  </a:lnTo>
                  <a:cubicBezTo>
                    <a:pt x="125339" y="115738"/>
                    <a:pt x="138541" y="124644"/>
                    <a:pt x="146799" y="134626"/>
                  </a:cubicBezTo>
                  <a:cubicBezTo>
                    <a:pt x="155067" y="144628"/>
                    <a:pt x="159201" y="157143"/>
                    <a:pt x="159201" y="172193"/>
                  </a:cubicBezTo>
                  <a:cubicBezTo>
                    <a:pt x="159201" y="191900"/>
                    <a:pt x="151876" y="207331"/>
                    <a:pt x="137227" y="218484"/>
                  </a:cubicBezTo>
                  <a:cubicBezTo>
                    <a:pt x="122577" y="229638"/>
                    <a:pt x="102279" y="235210"/>
                    <a:pt x="76314" y="235210"/>
                  </a:cubicBezTo>
                  <a:cubicBezTo>
                    <a:pt x="51816" y="235229"/>
                    <a:pt x="28756" y="229476"/>
                    <a:pt x="7144" y="217989"/>
                  </a:cubicBezTo>
                  <a:close/>
                </a:path>
              </a:pathLst>
            </a:custGeom>
            <a:solidFill>
              <a:srgbClr val="009740"/>
            </a:solidFill>
            <a:ln w="9525" cap="flat">
              <a:noFill/>
              <a:prstDash val="solid"/>
              <a:miter/>
            </a:ln>
          </p:spPr>
          <p:txBody>
            <a:bodyPr rtlCol="0" anchor="ctr"/>
            <a:lstStyle/>
            <a:p>
              <a:endParaRPr lang="fr-FR"/>
            </a:p>
          </p:txBody>
        </p:sp>
        <p:sp>
          <p:nvSpPr>
            <p:cNvPr id="115" name="Forme libre : forme 114">
              <a:extLst>
                <a:ext uri="{FF2B5EF4-FFF2-40B4-BE49-F238E27FC236}">
                  <a16:creationId xmlns:a16="http://schemas.microsoft.com/office/drawing/2014/main" id="{C70ABF13-A3BB-40AE-82B8-C76685C17BB0}"/>
                </a:ext>
              </a:extLst>
            </p:cNvPr>
            <p:cNvSpPr/>
            <p:nvPr/>
          </p:nvSpPr>
          <p:spPr>
            <a:xfrm>
              <a:off x="2614139"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2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2"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fr-FR"/>
            </a:p>
          </p:txBody>
        </p:sp>
        <p:sp>
          <p:nvSpPr>
            <p:cNvPr id="116" name="Forme libre : forme 115">
              <a:extLst>
                <a:ext uri="{FF2B5EF4-FFF2-40B4-BE49-F238E27FC236}">
                  <a16:creationId xmlns:a16="http://schemas.microsoft.com/office/drawing/2014/main" id="{CCD33DA9-D13B-4B91-9B5F-A81EE56A9444}"/>
                </a:ext>
              </a:extLst>
            </p:cNvPr>
            <p:cNvSpPr/>
            <p:nvPr/>
          </p:nvSpPr>
          <p:spPr>
            <a:xfrm>
              <a:off x="2808878" y="3174823"/>
              <a:ext cx="152400" cy="238125"/>
            </a:xfrm>
            <a:custGeom>
              <a:avLst/>
              <a:gdLst>
                <a:gd name="connsiteX0" fmla="*/ 130483 w 152400"/>
                <a:gd name="connsiteY0" fmla="*/ 48816 h 238125"/>
                <a:gd name="connsiteX1" fmla="*/ 103299 w 152400"/>
                <a:gd name="connsiteY1" fmla="*/ 39995 h 238125"/>
                <a:gd name="connsiteX2" fmla="*/ 64903 w 152400"/>
                <a:gd name="connsiteY2" fmla="*/ 59083 h 238125"/>
                <a:gd name="connsiteX3" fmla="*/ 48473 w 152400"/>
                <a:gd name="connsiteY3" fmla="*/ 105061 h 238125"/>
                <a:gd name="connsiteX4" fmla="*/ 48473 w 152400"/>
                <a:gd name="connsiteY4" fmla="*/ 231105 h 238125"/>
                <a:gd name="connsiteX5" fmla="*/ 7144 w 152400"/>
                <a:gd name="connsiteY5" fmla="*/ 231105 h 238125"/>
                <a:gd name="connsiteX6" fmla="*/ 7144 w 152400"/>
                <a:gd name="connsiteY6" fmla="*/ 11249 h 238125"/>
                <a:gd name="connsiteX7" fmla="*/ 48473 w 152400"/>
                <a:gd name="connsiteY7" fmla="*/ 11249 h 238125"/>
                <a:gd name="connsiteX8" fmla="*/ 48473 w 152400"/>
                <a:gd name="connsiteY8" fmla="*/ 46358 h 238125"/>
                <a:gd name="connsiteX9" fmla="*/ 115691 w 152400"/>
                <a:gd name="connsiteY9" fmla="*/ 7144 h 238125"/>
                <a:gd name="connsiteX10" fmla="*/ 147666 w 152400"/>
                <a:gd name="connsiteY10" fmla="*/ 10849 h 238125"/>
                <a:gd name="connsiteX11" fmla="*/ 130483 w 152400"/>
                <a:gd name="connsiteY11" fmla="*/ 48816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400" h="238125">
                  <a:moveTo>
                    <a:pt x="130483" y="48816"/>
                  </a:moveTo>
                  <a:cubicBezTo>
                    <a:pt x="121491" y="42939"/>
                    <a:pt x="112424" y="39995"/>
                    <a:pt x="103299" y="39995"/>
                  </a:cubicBezTo>
                  <a:cubicBezTo>
                    <a:pt x="88649" y="39995"/>
                    <a:pt x="75848" y="46358"/>
                    <a:pt x="64903" y="59083"/>
                  </a:cubicBezTo>
                  <a:cubicBezTo>
                    <a:pt x="53950" y="71809"/>
                    <a:pt x="48473" y="87135"/>
                    <a:pt x="48473" y="105061"/>
                  </a:cubicBezTo>
                  <a:lnTo>
                    <a:pt x="48473" y="231105"/>
                  </a:lnTo>
                  <a:lnTo>
                    <a:pt x="7144" y="231105"/>
                  </a:lnTo>
                  <a:lnTo>
                    <a:pt x="7144" y="11249"/>
                  </a:lnTo>
                  <a:lnTo>
                    <a:pt x="48473" y="11249"/>
                  </a:lnTo>
                  <a:lnTo>
                    <a:pt x="48473" y="46358"/>
                  </a:lnTo>
                  <a:cubicBezTo>
                    <a:pt x="63551" y="20221"/>
                    <a:pt x="85963" y="7144"/>
                    <a:pt x="115691" y="7144"/>
                  </a:cubicBezTo>
                  <a:cubicBezTo>
                    <a:pt x="123082" y="7144"/>
                    <a:pt x="133750" y="8382"/>
                    <a:pt x="147666" y="10849"/>
                  </a:cubicBezTo>
                  <a:lnTo>
                    <a:pt x="130483" y="48816"/>
                  </a:lnTo>
                  <a:close/>
                </a:path>
              </a:pathLst>
            </a:custGeom>
            <a:solidFill>
              <a:srgbClr val="009740"/>
            </a:solidFill>
            <a:ln w="9525" cap="flat">
              <a:noFill/>
              <a:prstDash val="solid"/>
              <a:miter/>
            </a:ln>
          </p:spPr>
          <p:txBody>
            <a:bodyPr rtlCol="0" anchor="ctr"/>
            <a:lstStyle/>
            <a:p>
              <a:endParaRPr lang="fr-FR"/>
            </a:p>
          </p:txBody>
        </p:sp>
        <p:sp>
          <p:nvSpPr>
            <p:cNvPr id="117" name="Forme libre : forme 116">
              <a:extLst>
                <a:ext uri="{FF2B5EF4-FFF2-40B4-BE49-F238E27FC236}">
                  <a16:creationId xmlns:a16="http://schemas.microsoft.com/office/drawing/2014/main" id="{695622D9-9E9E-414E-A056-7CD9D3F0C583}"/>
                </a:ext>
              </a:extLst>
            </p:cNvPr>
            <p:cNvSpPr/>
            <p:nvPr/>
          </p:nvSpPr>
          <p:spPr>
            <a:xfrm>
              <a:off x="2969488" y="3174813"/>
              <a:ext cx="209550" cy="238125"/>
            </a:xfrm>
            <a:custGeom>
              <a:avLst/>
              <a:gdLst>
                <a:gd name="connsiteX0" fmla="*/ 150705 w 209550"/>
                <a:gd name="connsiteY0" fmla="*/ 205873 h 238125"/>
                <a:gd name="connsiteX1" fmla="*/ 74790 w 209550"/>
                <a:gd name="connsiteY1" fmla="*/ 235229 h 238125"/>
                <a:gd name="connsiteX2" fmla="*/ 27261 w 209550"/>
                <a:gd name="connsiteY2" fmla="*/ 216446 h 238125"/>
                <a:gd name="connsiteX3" fmla="*/ 7144 w 209550"/>
                <a:gd name="connsiteY3" fmla="*/ 169745 h 238125"/>
                <a:gd name="connsiteX4" fmla="*/ 38138 w 209550"/>
                <a:gd name="connsiteY4" fmla="*/ 113186 h 238125"/>
                <a:gd name="connsiteX5" fmla="*/ 117205 w 209550"/>
                <a:gd name="connsiteY5" fmla="*/ 90088 h 238125"/>
                <a:gd name="connsiteX6" fmla="*/ 146790 w 209550"/>
                <a:gd name="connsiteY6" fmla="*/ 95431 h 238125"/>
                <a:gd name="connsiteX7" fmla="*/ 96326 w 209550"/>
                <a:gd name="connsiteY7" fmla="*/ 42053 h 238125"/>
                <a:gd name="connsiteX8" fmla="*/ 36728 w 209550"/>
                <a:gd name="connsiteY8" fmla="*/ 61760 h 238125"/>
                <a:gd name="connsiteX9" fmla="*/ 19326 w 209550"/>
                <a:gd name="connsiteY9" fmla="*/ 29118 h 238125"/>
                <a:gd name="connsiteX10" fmla="*/ 51845 w 209550"/>
                <a:gd name="connsiteY10" fmla="*/ 13621 h 238125"/>
                <a:gd name="connsiteX11" fmla="*/ 91545 w 209550"/>
                <a:gd name="connsiteY11" fmla="*/ 7144 h 238125"/>
                <a:gd name="connsiteX12" fmla="*/ 165173 w 209550"/>
                <a:gd name="connsiteY12" fmla="*/ 28908 h 238125"/>
                <a:gd name="connsiteX13" fmla="*/ 188128 w 209550"/>
                <a:gd name="connsiteY13" fmla="*/ 98088 h 238125"/>
                <a:gd name="connsiteX14" fmla="*/ 188128 w 209550"/>
                <a:gd name="connsiteY14" fmla="*/ 176917 h 238125"/>
                <a:gd name="connsiteX15" fmla="*/ 206397 w 209550"/>
                <a:gd name="connsiteY15" fmla="*/ 215513 h 238125"/>
                <a:gd name="connsiteX16" fmla="*/ 206397 w 209550"/>
                <a:gd name="connsiteY16" fmla="*/ 235010 h 238125"/>
                <a:gd name="connsiteX17" fmla="*/ 168659 w 209550"/>
                <a:gd name="connsiteY17" fmla="*/ 228238 h 238125"/>
                <a:gd name="connsiteX18" fmla="*/ 150705 w 209550"/>
                <a:gd name="connsiteY18" fmla="*/ 205873 h 238125"/>
                <a:gd name="connsiteX19" fmla="*/ 146790 w 209550"/>
                <a:gd name="connsiteY19" fmla="*/ 123149 h 238125"/>
                <a:gd name="connsiteX20" fmla="*/ 119386 w 209550"/>
                <a:gd name="connsiteY20" fmla="*/ 119034 h 238125"/>
                <a:gd name="connsiteX21" fmla="*/ 68266 w 209550"/>
                <a:gd name="connsiteY21" fmla="*/ 134226 h 238125"/>
                <a:gd name="connsiteX22" fmla="*/ 48473 w 209550"/>
                <a:gd name="connsiteY22" fmla="*/ 170145 h 238125"/>
                <a:gd name="connsiteX23" fmla="*/ 91326 w 209550"/>
                <a:gd name="connsiteY23" fmla="*/ 204435 h 238125"/>
                <a:gd name="connsiteX24" fmla="*/ 146799 w 209550"/>
                <a:gd name="connsiteY24" fmla="*/ 176317 h 238125"/>
                <a:gd name="connsiteX25" fmla="*/ 146799 w 209550"/>
                <a:gd name="connsiteY25" fmla="*/ 12314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550" h="238125">
                  <a:moveTo>
                    <a:pt x="150705" y="205873"/>
                  </a:moveTo>
                  <a:cubicBezTo>
                    <a:pt x="134169" y="225457"/>
                    <a:pt x="108861" y="235229"/>
                    <a:pt x="74790" y="235229"/>
                  </a:cubicBezTo>
                  <a:cubicBezTo>
                    <a:pt x="56521" y="235229"/>
                    <a:pt x="40672" y="228971"/>
                    <a:pt x="27261" y="216446"/>
                  </a:cubicBezTo>
                  <a:cubicBezTo>
                    <a:pt x="13849" y="203921"/>
                    <a:pt x="7144" y="188357"/>
                    <a:pt x="7144" y="169745"/>
                  </a:cubicBezTo>
                  <a:cubicBezTo>
                    <a:pt x="7144" y="147438"/>
                    <a:pt x="17469" y="128588"/>
                    <a:pt x="38138" y="113186"/>
                  </a:cubicBezTo>
                  <a:cubicBezTo>
                    <a:pt x="58798" y="97793"/>
                    <a:pt x="85163" y="90088"/>
                    <a:pt x="117205" y="90088"/>
                  </a:cubicBezTo>
                  <a:cubicBezTo>
                    <a:pt x="125911" y="90088"/>
                    <a:pt x="135769" y="91878"/>
                    <a:pt x="146790" y="95431"/>
                  </a:cubicBezTo>
                  <a:cubicBezTo>
                    <a:pt x="146790" y="59855"/>
                    <a:pt x="129959" y="42053"/>
                    <a:pt x="96326" y="42053"/>
                  </a:cubicBezTo>
                  <a:cubicBezTo>
                    <a:pt x="70514" y="42053"/>
                    <a:pt x="50644" y="48616"/>
                    <a:pt x="36728" y="61760"/>
                  </a:cubicBezTo>
                  <a:lnTo>
                    <a:pt x="19326" y="29118"/>
                  </a:lnTo>
                  <a:cubicBezTo>
                    <a:pt x="27156" y="23098"/>
                    <a:pt x="37995" y="17926"/>
                    <a:pt x="51845" y="13621"/>
                  </a:cubicBezTo>
                  <a:cubicBezTo>
                    <a:pt x="65694" y="9306"/>
                    <a:pt x="78924" y="7144"/>
                    <a:pt x="91545" y="7144"/>
                  </a:cubicBezTo>
                  <a:cubicBezTo>
                    <a:pt x="125330" y="7144"/>
                    <a:pt x="149876" y="14402"/>
                    <a:pt x="165173" y="28908"/>
                  </a:cubicBezTo>
                  <a:cubicBezTo>
                    <a:pt x="180470" y="43405"/>
                    <a:pt x="188128" y="66465"/>
                    <a:pt x="188128" y="98088"/>
                  </a:cubicBezTo>
                  <a:lnTo>
                    <a:pt x="188128" y="176917"/>
                  </a:lnTo>
                  <a:cubicBezTo>
                    <a:pt x="188128" y="196205"/>
                    <a:pt x="194215" y="209074"/>
                    <a:pt x="206397" y="215513"/>
                  </a:cubicBezTo>
                  <a:lnTo>
                    <a:pt x="206397" y="235010"/>
                  </a:lnTo>
                  <a:cubicBezTo>
                    <a:pt x="189576" y="235010"/>
                    <a:pt x="176994" y="232762"/>
                    <a:pt x="168659" y="228238"/>
                  </a:cubicBezTo>
                  <a:cubicBezTo>
                    <a:pt x="160315" y="223742"/>
                    <a:pt x="154334" y="216275"/>
                    <a:pt x="150705" y="205873"/>
                  </a:cubicBezTo>
                  <a:close/>
                  <a:moveTo>
                    <a:pt x="146790" y="123149"/>
                  </a:moveTo>
                  <a:cubicBezTo>
                    <a:pt x="133741" y="120406"/>
                    <a:pt x="124596" y="119034"/>
                    <a:pt x="119386" y="119034"/>
                  </a:cubicBezTo>
                  <a:cubicBezTo>
                    <a:pt x="98508" y="119034"/>
                    <a:pt x="81458" y="124101"/>
                    <a:pt x="68266" y="134226"/>
                  </a:cubicBezTo>
                  <a:cubicBezTo>
                    <a:pt x="55074" y="144351"/>
                    <a:pt x="48473" y="156334"/>
                    <a:pt x="48473" y="170145"/>
                  </a:cubicBezTo>
                  <a:cubicBezTo>
                    <a:pt x="48473" y="193005"/>
                    <a:pt x="62760" y="204435"/>
                    <a:pt x="91326" y="204435"/>
                  </a:cubicBezTo>
                  <a:cubicBezTo>
                    <a:pt x="112204" y="204435"/>
                    <a:pt x="130702" y="195063"/>
                    <a:pt x="146799" y="176317"/>
                  </a:cubicBezTo>
                  <a:lnTo>
                    <a:pt x="146799" y="123149"/>
                  </a:lnTo>
                  <a:close/>
                </a:path>
              </a:pathLst>
            </a:custGeom>
            <a:solidFill>
              <a:srgbClr val="009740"/>
            </a:solidFill>
            <a:ln w="9525" cap="flat">
              <a:noFill/>
              <a:prstDash val="solid"/>
              <a:miter/>
            </a:ln>
          </p:spPr>
          <p:txBody>
            <a:bodyPr rtlCol="0" anchor="ctr"/>
            <a:lstStyle/>
            <a:p>
              <a:endParaRPr lang="fr-FR"/>
            </a:p>
          </p:txBody>
        </p:sp>
        <p:sp>
          <p:nvSpPr>
            <p:cNvPr id="118" name="Forme libre : forme 117">
              <a:extLst>
                <a:ext uri="{FF2B5EF4-FFF2-40B4-BE49-F238E27FC236}">
                  <a16:creationId xmlns:a16="http://schemas.microsoft.com/office/drawing/2014/main" id="{970D16EF-D9B4-4D88-A6E8-4CEBB659FF08}"/>
                </a:ext>
              </a:extLst>
            </p:cNvPr>
            <p:cNvSpPr/>
            <p:nvPr/>
          </p:nvSpPr>
          <p:spPr>
            <a:xfrm>
              <a:off x="3206003"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3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3"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fr-FR"/>
            </a:p>
          </p:txBody>
        </p:sp>
        <p:sp>
          <p:nvSpPr>
            <p:cNvPr id="119" name="Forme libre : forme 118">
              <a:extLst>
                <a:ext uri="{FF2B5EF4-FFF2-40B4-BE49-F238E27FC236}">
                  <a16:creationId xmlns:a16="http://schemas.microsoft.com/office/drawing/2014/main" id="{0088C9EB-9E6B-416E-ABFF-62BA6C295208}"/>
                </a:ext>
              </a:extLst>
            </p:cNvPr>
            <p:cNvSpPr/>
            <p:nvPr/>
          </p:nvSpPr>
          <p:spPr>
            <a:xfrm>
              <a:off x="3382273" y="3174823"/>
              <a:ext cx="228600" cy="238125"/>
            </a:xfrm>
            <a:custGeom>
              <a:avLst/>
              <a:gdLst>
                <a:gd name="connsiteX0" fmla="*/ 218570 w 228600"/>
                <a:gd name="connsiteY0" fmla="*/ 124977 h 238125"/>
                <a:gd name="connsiteX1" fmla="*/ 50635 w 228600"/>
                <a:gd name="connsiteY1" fmla="*/ 124977 h 238125"/>
                <a:gd name="connsiteX2" fmla="*/ 73047 w 228600"/>
                <a:gd name="connsiteY2" fmla="*/ 184309 h 238125"/>
                <a:gd name="connsiteX3" fmla="*/ 123949 w 228600"/>
                <a:gd name="connsiteY3" fmla="*/ 202368 h 238125"/>
                <a:gd name="connsiteX4" fmla="*/ 183118 w 228600"/>
                <a:gd name="connsiteY4" fmla="*/ 182870 h 238125"/>
                <a:gd name="connsiteX5" fmla="*/ 200520 w 228600"/>
                <a:gd name="connsiteY5" fmla="*/ 210988 h 238125"/>
                <a:gd name="connsiteX6" fmla="*/ 171155 w 228600"/>
                <a:gd name="connsiteY6" fmla="*/ 226590 h 238125"/>
                <a:gd name="connsiteX7" fmla="*/ 115900 w 228600"/>
                <a:gd name="connsiteY7" fmla="*/ 235210 h 238125"/>
                <a:gd name="connsiteX8" fmla="*/ 41291 w 228600"/>
                <a:gd name="connsiteY8" fmla="*/ 207092 h 238125"/>
                <a:gd name="connsiteX9" fmla="*/ 7144 w 228600"/>
                <a:gd name="connsiteY9" fmla="*/ 123749 h 238125"/>
                <a:gd name="connsiteX10" fmla="*/ 42167 w 228600"/>
                <a:gd name="connsiteY10" fmla="*/ 36500 h 238125"/>
                <a:gd name="connsiteX11" fmla="*/ 116348 w 228600"/>
                <a:gd name="connsiteY11" fmla="*/ 7144 h 238125"/>
                <a:gd name="connsiteX12" fmla="*/ 194443 w 228600"/>
                <a:gd name="connsiteY12" fmla="*/ 33623 h 238125"/>
                <a:gd name="connsiteX13" fmla="*/ 221856 w 228600"/>
                <a:gd name="connsiteY13" fmla="*/ 101165 h 238125"/>
                <a:gd name="connsiteX14" fmla="*/ 218570 w 228600"/>
                <a:gd name="connsiteY14" fmla="*/ 124977 h 238125"/>
                <a:gd name="connsiteX15" fmla="*/ 118281 w 228600"/>
                <a:gd name="connsiteY15" fmla="*/ 39995 h 238125"/>
                <a:gd name="connsiteX16" fmla="*/ 71952 w 228600"/>
                <a:gd name="connsiteY16" fmla="*/ 56826 h 238125"/>
                <a:gd name="connsiteX17" fmla="*/ 51721 w 228600"/>
                <a:gd name="connsiteY17" fmla="*/ 96660 h 238125"/>
                <a:gd name="connsiteX18" fmla="*/ 180718 w 228600"/>
                <a:gd name="connsiteY18" fmla="*/ 96660 h 238125"/>
                <a:gd name="connsiteX19" fmla="*/ 165049 w 228600"/>
                <a:gd name="connsiteY19" fmla="*/ 57236 h 238125"/>
                <a:gd name="connsiteX20" fmla="*/ 118281 w 228600"/>
                <a:gd name="connsiteY20" fmla="*/ 3999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8600" h="238125">
                  <a:moveTo>
                    <a:pt x="218570" y="124977"/>
                  </a:moveTo>
                  <a:lnTo>
                    <a:pt x="50635" y="124977"/>
                  </a:lnTo>
                  <a:cubicBezTo>
                    <a:pt x="50635" y="150704"/>
                    <a:pt x="58102" y="170478"/>
                    <a:pt x="73047" y="184309"/>
                  </a:cubicBezTo>
                  <a:cubicBezTo>
                    <a:pt x="86239" y="196358"/>
                    <a:pt x="103213" y="202368"/>
                    <a:pt x="123949" y="202368"/>
                  </a:cubicBezTo>
                  <a:cubicBezTo>
                    <a:pt x="147580" y="202368"/>
                    <a:pt x="167307" y="195872"/>
                    <a:pt x="183118" y="182870"/>
                  </a:cubicBezTo>
                  <a:lnTo>
                    <a:pt x="200520" y="210988"/>
                  </a:lnTo>
                  <a:cubicBezTo>
                    <a:pt x="194139" y="217018"/>
                    <a:pt x="184347" y="222218"/>
                    <a:pt x="171155" y="226590"/>
                  </a:cubicBezTo>
                  <a:cubicBezTo>
                    <a:pt x="154619" y="232343"/>
                    <a:pt x="136208" y="235210"/>
                    <a:pt x="115900" y="235210"/>
                  </a:cubicBezTo>
                  <a:cubicBezTo>
                    <a:pt x="86601" y="235210"/>
                    <a:pt x="61732" y="225847"/>
                    <a:pt x="41291" y="207092"/>
                  </a:cubicBezTo>
                  <a:cubicBezTo>
                    <a:pt x="18526" y="186423"/>
                    <a:pt x="7144" y="158648"/>
                    <a:pt x="7144" y="123749"/>
                  </a:cubicBezTo>
                  <a:cubicBezTo>
                    <a:pt x="7144" y="87478"/>
                    <a:pt x="18821" y="58398"/>
                    <a:pt x="42167" y="36500"/>
                  </a:cubicBezTo>
                  <a:cubicBezTo>
                    <a:pt x="63046" y="16935"/>
                    <a:pt x="87773" y="7144"/>
                    <a:pt x="116348" y="7144"/>
                  </a:cubicBezTo>
                  <a:cubicBezTo>
                    <a:pt x="149552" y="7144"/>
                    <a:pt x="175593" y="15973"/>
                    <a:pt x="194443" y="33623"/>
                  </a:cubicBezTo>
                  <a:cubicBezTo>
                    <a:pt x="212712" y="50597"/>
                    <a:pt x="221856" y="73114"/>
                    <a:pt x="221856" y="101165"/>
                  </a:cubicBezTo>
                  <a:cubicBezTo>
                    <a:pt x="221828" y="109795"/>
                    <a:pt x="220742" y="117738"/>
                    <a:pt x="218570" y="124977"/>
                  </a:cubicBezTo>
                  <a:close/>
                  <a:moveTo>
                    <a:pt x="118281" y="39995"/>
                  </a:moveTo>
                  <a:cubicBezTo>
                    <a:pt x="99860" y="39995"/>
                    <a:pt x="84420" y="45606"/>
                    <a:pt x="71952" y="56826"/>
                  </a:cubicBezTo>
                  <a:cubicBezTo>
                    <a:pt x="60055" y="67504"/>
                    <a:pt x="53311" y="80781"/>
                    <a:pt x="51721" y="96660"/>
                  </a:cubicBezTo>
                  <a:lnTo>
                    <a:pt x="180718" y="96660"/>
                  </a:lnTo>
                  <a:cubicBezTo>
                    <a:pt x="180718" y="80924"/>
                    <a:pt x="175498" y="67780"/>
                    <a:pt x="165049" y="57236"/>
                  </a:cubicBezTo>
                  <a:cubicBezTo>
                    <a:pt x="153600" y="45739"/>
                    <a:pt x="138008" y="39995"/>
                    <a:pt x="118281" y="39995"/>
                  </a:cubicBezTo>
                  <a:close/>
                </a:path>
              </a:pathLst>
            </a:custGeom>
            <a:solidFill>
              <a:srgbClr val="009740"/>
            </a:solidFill>
            <a:ln w="9525" cap="flat">
              <a:noFill/>
              <a:prstDash val="solid"/>
              <a:miter/>
            </a:ln>
          </p:spPr>
          <p:txBody>
            <a:bodyPr rtlCol="0" anchor="ctr"/>
            <a:lstStyle/>
            <a:p>
              <a:endParaRPr lang="fr-FR"/>
            </a:p>
          </p:txBody>
        </p:sp>
        <p:sp>
          <p:nvSpPr>
            <p:cNvPr id="120" name="Forme libre : forme 119">
              <a:extLst>
                <a:ext uri="{FF2B5EF4-FFF2-40B4-BE49-F238E27FC236}">
                  <a16:creationId xmlns:a16="http://schemas.microsoft.com/office/drawing/2014/main" id="{CE3C6A7F-D624-4C99-B527-CEE05BB1F729}"/>
                </a:ext>
              </a:extLst>
            </p:cNvPr>
            <p:cNvSpPr/>
            <p:nvPr/>
          </p:nvSpPr>
          <p:spPr>
            <a:xfrm>
              <a:off x="3631171" y="3164774"/>
              <a:ext cx="200025" cy="333375"/>
            </a:xfrm>
            <a:custGeom>
              <a:avLst/>
              <a:gdLst>
                <a:gd name="connsiteX0" fmla="*/ 10620 w 200025"/>
                <a:gd name="connsiteY0" fmla="*/ 301304 h 333375"/>
                <a:gd name="connsiteX1" fmla="*/ 33033 w 200025"/>
                <a:gd name="connsiteY1" fmla="*/ 270110 h 333375"/>
                <a:gd name="connsiteX2" fmla="*/ 99593 w 200025"/>
                <a:gd name="connsiteY2" fmla="*/ 292894 h 333375"/>
                <a:gd name="connsiteX3" fmla="*/ 143856 w 200025"/>
                <a:gd name="connsiteY3" fmla="*/ 283759 h 333375"/>
                <a:gd name="connsiteX4" fmla="*/ 160058 w 200025"/>
                <a:gd name="connsiteY4" fmla="*/ 261080 h 333375"/>
                <a:gd name="connsiteX5" fmla="*/ 119167 w 200025"/>
                <a:gd name="connsiteY5" fmla="*/ 234391 h 333375"/>
                <a:gd name="connsiteX6" fmla="*/ 93936 w 200025"/>
                <a:gd name="connsiteY6" fmla="*/ 237677 h 333375"/>
                <a:gd name="connsiteX7" fmla="*/ 65437 w 200025"/>
                <a:gd name="connsiteY7" fmla="*/ 240963 h 333375"/>
                <a:gd name="connsiteX8" fmla="*/ 15840 w 200025"/>
                <a:gd name="connsiteY8" fmla="*/ 205654 h 333375"/>
                <a:gd name="connsiteX9" fmla="*/ 27480 w 200025"/>
                <a:gd name="connsiteY9" fmla="*/ 185947 h 333375"/>
                <a:gd name="connsiteX10" fmla="*/ 56302 w 200025"/>
                <a:gd name="connsiteY10" fmla="*/ 173222 h 333375"/>
                <a:gd name="connsiteX11" fmla="*/ 7144 w 200025"/>
                <a:gd name="connsiteY11" fmla="*/ 97679 h 333375"/>
                <a:gd name="connsiteX12" fmla="*/ 32595 w 200025"/>
                <a:gd name="connsiteY12" fmla="*/ 40196 h 333375"/>
                <a:gd name="connsiteX13" fmla="*/ 95460 w 200025"/>
                <a:gd name="connsiteY13" fmla="*/ 17202 h 333375"/>
                <a:gd name="connsiteX14" fmla="*/ 149190 w 200025"/>
                <a:gd name="connsiteY14" fmla="*/ 30547 h 333375"/>
                <a:gd name="connsiteX15" fmla="*/ 169859 w 200025"/>
                <a:gd name="connsiteY15" fmla="*/ 7144 h 333375"/>
                <a:gd name="connsiteX16" fmla="*/ 196834 w 200025"/>
                <a:gd name="connsiteY16" fmla="*/ 31156 h 333375"/>
                <a:gd name="connsiteX17" fmla="*/ 172031 w 200025"/>
                <a:gd name="connsiteY17" fmla="*/ 48816 h 333375"/>
                <a:gd name="connsiteX18" fmla="*/ 187909 w 200025"/>
                <a:gd name="connsiteY18" fmla="*/ 99727 h 333375"/>
                <a:gd name="connsiteX19" fmla="*/ 165935 w 200025"/>
                <a:gd name="connsiteY19" fmla="*/ 155562 h 333375"/>
                <a:gd name="connsiteX20" fmla="*/ 108290 w 200025"/>
                <a:gd name="connsiteY20" fmla="*/ 181432 h 333375"/>
                <a:gd name="connsiteX21" fmla="*/ 74143 w 200025"/>
                <a:gd name="connsiteY21" fmla="*/ 184718 h 333375"/>
                <a:gd name="connsiteX22" fmla="*/ 57826 w 200025"/>
                <a:gd name="connsiteY22" fmla="*/ 189128 h 333375"/>
                <a:gd name="connsiteX23" fmla="*/ 47606 w 200025"/>
                <a:gd name="connsiteY23" fmla="*/ 199092 h 333375"/>
                <a:gd name="connsiteX24" fmla="*/ 68923 w 200025"/>
                <a:gd name="connsiteY24" fmla="*/ 207512 h 333375"/>
                <a:gd name="connsiteX25" fmla="*/ 98069 w 200025"/>
                <a:gd name="connsiteY25" fmla="*/ 204330 h 333375"/>
                <a:gd name="connsiteX26" fmla="*/ 127435 w 200025"/>
                <a:gd name="connsiteY26" fmla="*/ 201139 h 333375"/>
                <a:gd name="connsiteX27" fmla="*/ 181051 w 200025"/>
                <a:gd name="connsiteY27" fmla="*/ 216646 h 333375"/>
                <a:gd name="connsiteX28" fmla="*/ 200301 w 200025"/>
                <a:gd name="connsiteY28" fmla="*/ 259651 h 333375"/>
                <a:gd name="connsiteX29" fmla="*/ 171479 w 200025"/>
                <a:gd name="connsiteY29" fmla="*/ 308715 h 333375"/>
                <a:gd name="connsiteX30" fmla="*/ 98498 w 200025"/>
                <a:gd name="connsiteY30" fmla="*/ 327393 h 333375"/>
                <a:gd name="connsiteX31" fmla="*/ 50863 w 200025"/>
                <a:gd name="connsiteY31" fmla="*/ 319802 h 333375"/>
                <a:gd name="connsiteX32" fmla="*/ 10620 w 200025"/>
                <a:gd name="connsiteY32" fmla="*/ 301304 h 333375"/>
                <a:gd name="connsiteX33" fmla="*/ 98288 w 200025"/>
                <a:gd name="connsiteY33" fmla="*/ 48606 h 333375"/>
                <a:gd name="connsiteX34" fmla="*/ 63160 w 200025"/>
                <a:gd name="connsiteY34" fmla="*/ 62979 h 333375"/>
                <a:gd name="connsiteX35" fmla="*/ 49568 w 200025"/>
                <a:gd name="connsiteY35" fmla="*/ 97879 h 333375"/>
                <a:gd name="connsiteX36" fmla="*/ 62732 w 200025"/>
                <a:gd name="connsiteY36" fmla="*/ 135950 h 333375"/>
                <a:gd name="connsiteX37" fmla="*/ 98298 w 200025"/>
                <a:gd name="connsiteY37" fmla="*/ 151047 h 333375"/>
                <a:gd name="connsiteX38" fmla="*/ 132664 w 200025"/>
                <a:gd name="connsiteY38" fmla="*/ 136369 h 333375"/>
                <a:gd name="connsiteX39" fmla="*/ 145066 w 200025"/>
                <a:gd name="connsiteY39" fmla="*/ 97879 h 333375"/>
                <a:gd name="connsiteX40" fmla="*/ 131683 w 200025"/>
                <a:gd name="connsiteY40" fmla="*/ 62979 h 333375"/>
                <a:gd name="connsiteX41" fmla="*/ 98288 w 200025"/>
                <a:gd name="connsiteY41" fmla="*/ 4860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0025" h="333375">
                  <a:moveTo>
                    <a:pt x="10620" y="301304"/>
                  </a:moveTo>
                  <a:lnTo>
                    <a:pt x="33033" y="270110"/>
                  </a:lnTo>
                  <a:cubicBezTo>
                    <a:pt x="57102" y="285302"/>
                    <a:pt x="79286" y="292894"/>
                    <a:pt x="99593" y="292894"/>
                  </a:cubicBezTo>
                  <a:cubicBezTo>
                    <a:pt x="118300" y="292894"/>
                    <a:pt x="133055" y="289855"/>
                    <a:pt x="143856" y="283759"/>
                  </a:cubicBezTo>
                  <a:cubicBezTo>
                    <a:pt x="154657" y="277673"/>
                    <a:pt x="160058" y="270110"/>
                    <a:pt x="160058" y="261080"/>
                  </a:cubicBezTo>
                  <a:cubicBezTo>
                    <a:pt x="160058" y="243288"/>
                    <a:pt x="146428" y="234391"/>
                    <a:pt x="119167" y="234391"/>
                  </a:cubicBezTo>
                  <a:cubicBezTo>
                    <a:pt x="114529" y="234391"/>
                    <a:pt x="106118" y="235487"/>
                    <a:pt x="93936" y="237677"/>
                  </a:cubicBezTo>
                  <a:cubicBezTo>
                    <a:pt x="81753" y="239859"/>
                    <a:pt x="72257" y="240963"/>
                    <a:pt x="65437" y="240963"/>
                  </a:cubicBezTo>
                  <a:cubicBezTo>
                    <a:pt x="32375" y="240963"/>
                    <a:pt x="15840" y="229200"/>
                    <a:pt x="15840" y="205654"/>
                  </a:cubicBezTo>
                  <a:cubicBezTo>
                    <a:pt x="15840" y="198396"/>
                    <a:pt x="19717" y="191834"/>
                    <a:pt x="27480" y="185947"/>
                  </a:cubicBezTo>
                  <a:cubicBezTo>
                    <a:pt x="35233" y="180070"/>
                    <a:pt x="44844" y="175822"/>
                    <a:pt x="56302" y="173222"/>
                  </a:cubicBezTo>
                  <a:cubicBezTo>
                    <a:pt x="23527" y="158725"/>
                    <a:pt x="7144" y="133531"/>
                    <a:pt x="7144" y="97679"/>
                  </a:cubicBezTo>
                  <a:cubicBezTo>
                    <a:pt x="7144" y="74686"/>
                    <a:pt x="15631" y="55521"/>
                    <a:pt x="32595" y="40196"/>
                  </a:cubicBezTo>
                  <a:cubicBezTo>
                    <a:pt x="49559" y="24879"/>
                    <a:pt x="70514" y="17202"/>
                    <a:pt x="95460" y="17202"/>
                  </a:cubicBezTo>
                  <a:cubicBezTo>
                    <a:pt x="118367" y="17202"/>
                    <a:pt x="136284" y="21660"/>
                    <a:pt x="149190" y="30547"/>
                  </a:cubicBezTo>
                  <a:lnTo>
                    <a:pt x="169859" y="7144"/>
                  </a:lnTo>
                  <a:lnTo>
                    <a:pt x="196834" y="31156"/>
                  </a:lnTo>
                  <a:lnTo>
                    <a:pt x="172031" y="48816"/>
                  </a:lnTo>
                  <a:cubicBezTo>
                    <a:pt x="182613" y="61817"/>
                    <a:pt x="187909" y="78781"/>
                    <a:pt x="187909" y="99727"/>
                  </a:cubicBezTo>
                  <a:cubicBezTo>
                    <a:pt x="187909" y="121901"/>
                    <a:pt x="180584" y="140513"/>
                    <a:pt x="165935" y="155562"/>
                  </a:cubicBezTo>
                  <a:cubicBezTo>
                    <a:pt x="151286" y="170621"/>
                    <a:pt x="132074" y="179242"/>
                    <a:pt x="108290" y="181432"/>
                  </a:cubicBezTo>
                  <a:lnTo>
                    <a:pt x="74143" y="184718"/>
                  </a:lnTo>
                  <a:cubicBezTo>
                    <a:pt x="70085" y="185128"/>
                    <a:pt x="64646" y="186595"/>
                    <a:pt x="57826" y="189128"/>
                  </a:cubicBezTo>
                  <a:cubicBezTo>
                    <a:pt x="51006" y="191672"/>
                    <a:pt x="47606" y="194977"/>
                    <a:pt x="47606" y="199092"/>
                  </a:cubicBezTo>
                  <a:cubicBezTo>
                    <a:pt x="47606" y="204702"/>
                    <a:pt x="54712" y="207512"/>
                    <a:pt x="68923" y="207512"/>
                  </a:cubicBezTo>
                  <a:cubicBezTo>
                    <a:pt x="75152" y="207512"/>
                    <a:pt x="84868" y="206454"/>
                    <a:pt x="98069" y="204330"/>
                  </a:cubicBezTo>
                  <a:cubicBezTo>
                    <a:pt x="111262" y="202206"/>
                    <a:pt x="121053" y="201139"/>
                    <a:pt x="127435" y="201139"/>
                  </a:cubicBezTo>
                  <a:cubicBezTo>
                    <a:pt x="150352" y="201139"/>
                    <a:pt x="168221" y="206312"/>
                    <a:pt x="181051" y="216646"/>
                  </a:cubicBezTo>
                  <a:cubicBezTo>
                    <a:pt x="193891" y="226981"/>
                    <a:pt x="200301" y="241306"/>
                    <a:pt x="200301" y="259651"/>
                  </a:cubicBezTo>
                  <a:cubicBezTo>
                    <a:pt x="200301" y="279911"/>
                    <a:pt x="190691" y="296266"/>
                    <a:pt x="171479" y="308715"/>
                  </a:cubicBezTo>
                  <a:cubicBezTo>
                    <a:pt x="152257" y="321164"/>
                    <a:pt x="127930" y="327393"/>
                    <a:pt x="98498" y="327393"/>
                  </a:cubicBezTo>
                  <a:cubicBezTo>
                    <a:pt x="83410" y="327393"/>
                    <a:pt x="67532" y="324860"/>
                    <a:pt x="50863" y="319802"/>
                  </a:cubicBezTo>
                  <a:cubicBezTo>
                    <a:pt x="34195" y="314725"/>
                    <a:pt x="20774" y="308562"/>
                    <a:pt x="10620" y="301304"/>
                  </a:cubicBezTo>
                  <a:close/>
                  <a:moveTo>
                    <a:pt x="98288" y="48606"/>
                  </a:moveTo>
                  <a:cubicBezTo>
                    <a:pt x="83934" y="48606"/>
                    <a:pt x="72219" y="53397"/>
                    <a:pt x="63160" y="62979"/>
                  </a:cubicBezTo>
                  <a:cubicBezTo>
                    <a:pt x="54102" y="72561"/>
                    <a:pt x="49568" y="84201"/>
                    <a:pt x="49568" y="97879"/>
                  </a:cubicBezTo>
                  <a:cubicBezTo>
                    <a:pt x="49568" y="113205"/>
                    <a:pt x="53950" y="125892"/>
                    <a:pt x="62732" y="135950"/>
                  </a:cubicBezTo>
                  <a:cubicBezTo>
                    <a:pt x="71504" y="146018"/>
                    <a:pt x="83363" y="151047"/>
                    <a:pt x="98298" y="151047"/>
                  </a:cubicBezTo>
                  <a:cubicBezTo>
                    <a:pt x="112947" y="151047"/>
                    <a:pt x="124406" y="146152"/>
                    <a:pt x="132664" y="136369"/>
                  </a:cubicBezTo>
                  <a:cubicBezTo>
                    <a:pt x="140922" y="126587"/>
                    <a:pt x="145066" y="113757"/>
                    <a:pt x="145066" y="97879"/>
                  </a:cubicBezTo>
                  <a:cubicBezTo>
                    <a:pt x="145066" y="84192"/>
                    <a:pt x="140608" y="72561"/>
                    <a:pt x="131683" y="62979"/>
                  </a:cubicBezTo>
                  <a:cubicBezTo>
                    <a:pt x="122758" y="53397"/>
                    <a:pt x="111624" y="48606"/>
                    <a:pt x="98288" y="48606"/>
                  </a:cubicBezTo>
                  <a:close/>
                </a:path>
              </a:pathLst>
            </a:custGeom>
            <a:solidFill>
              <a:srgbClr val="009740"/>
            </a:solidFill>
            <a:ln w="9525" cap="flat">
              <a:noFill/>
              <a:prstDash val="solid"/>
              <a:miter/>
            </a:ln>
          </p:spPr>
          <p:txBody>
            <a:bodyPr rtlCol="0" anchor="ctr"/>
            <a:lstStyle/>
            <a:p>
              <a:endParaRPr lang="fr-FR"/>
            </a:p>
          </p:txBody>
        </p:sp>
        <p:sp>
          <p:nvSpPr>
            <p:cNvPr id="121" name="Forme libre : forme 120">
              <a:extLst>
                <a:ext uri="{FF2B5EF4-FFF2-40B4-BE49-F238E27FC236}">
                  <a16:creationId xmlns:a16="http://schemas.microsoft.com/office/drawing/2014/main" id="{1E14469A-0A42-473C-A845-2C5060E8893E}"/>
                </a:ext>
              </a:extLst>
            </p:cNvPr>
            <p:cNvSpPr/>
            <p:nvPr/>
          </p:nvSpPr>
          <p:spPr>
            <a:xfrm>
              <a:off x="3842673" y="3178937"/>
              <a:ext cx="228600" cy="314325"/>
            </a:xfrm>
            <a:custGeom>
              <a:avLst/>
              <a:gdLst>
                <a:gd name="connsiteX0" fmla="*/ 122872 w 228600"/>
                <a:gd name="connsiteY0" fmla="*/ 264366 h 314325"/>
                <a:gd name="connsiteX1" fmla="*/ 89049 w 228600"/>
                <a:gd name="connsiteY1" fmla="*/ 299256 h 314325"/>
                <a:gd name="connsiteX2" fmla="*/ 31509 w 228600"/>
                <a:gd name="connsiteY2" fmla="*/ 313220 h 314325"/>
                <a:gd name="connsiteX3" fmla="*/ 31509 w 228600"/>
                <a:gd name="connsiteY3" fmla="*/ 278321 h 314325"/>
                <a:gd name="connsiteX4" fmla="*/ 75886 w 228600"/>
                <a:gd name="connsiteY4" fmla="*/ 266929 h 314325"/>
                <a:gd name="connsiteX5" fmla="*/ 94374 w 228600"/>
                <a:gd name="connsiteY5" fmla="*/ 239116 h 314325"/>
                <a:gd name="connsiteX6" fmla="*/ 87630 w 228600"/>
                <a:gd name="connsiteY6" fmla="*/ 203502 h 314325"/>
                <a:gd name="connsiteX7" fmla="*/ 70228 w 228600"/>
                <a:gd name="connsiteY7" fmla="*/ 160077 h 314325"/>
                <a:gd name="connsiteX8" fmla="*/ 7144 w 228600"/>
                <a:gd name="connsiteY8" fmla="*/ 7144 h 314325"/>
                <a:gd name="connsiteX9" fmla="*/ 49349 w 228600"/>
                <a:gd name="connsiteY9" fmla="*/ 7144 h 314325"/>
                <a:gd name="connsiteX10" fmla="*/ 117872 w 228600"/>
                <a:gd name="connsiteY10" fmla="*/ 177117 h 314325"/>
                <a:gd name="connsiteX11" fmla="*/ 179432 w 228600"/>
                <a:gd name="connsiteY11" fmla="*/ 7144 h 314325"/>
                <a:gd name="connsiteX12" fmla="*/ 221637 w 228600"/>
                <a:gd name="connsiteY12" fmla="*/ 7144 h 314325"/>
                <a:gd name="connsiteX13" fmla="*/ 122872 w 228600"/>
                <a:gd name="connsiteY13" fmla="*/ 26436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8600" h="314325">
                  <a:moveTo>
                    <a:pt x="122872" y="264366"/>
                  </a:moveTo>
                  <a:cubicBezTo>
                    <a:pt x="117510" y="278321"/>
                    <a:pt x="106232" y="289960"/>
                    <a:pt x="89049" y="299256"/>
                  </a:cubicBezTo>
                  <a:cubicBezTo>
                    <a:pt x="71866" y="308572"/>
                    <a:pt x="52683" y="313220"/>
                    <a:pt x="31509" y="313220"/>
                  </a:cubicBezTo>
                  <a:lnTo>
                    <a:pt x="31509" y="278321"/>
                  </a:lnTo>
                  <a:cubicBezTo>
                    <a:pt x="48768" y="278321"/>
                    <a:pt x="63551" y="274530"/>
                    <a:pt x="75886" y="266929"/>
                  </a:cubicBezTo>
                  <a:cubicBezTo>
                    <a:pt x="88211" y="259337"/>
                    <a:pt x="94374" y="250060"/>
                    <a:pt x="94374" y="239116"/>
                  </a:cubicBezTo>
                  <a:cubicBezTo>
                    <a:pt x="94374" y="227067"/>
                    <a:pt x="92126" y="215198"/>
                    <a:pt x="87630" y="203502"/>
                  </a:cubicBezTo>
                  <a:cubicBezTo>
                    <a:pt x="83134" y="191795"/>
                    <a:pt x="77324" y="177327"/>
                    <a:pt x="70228" y="160077"/>
                  </a:cubicBezTo>
                  <a:lnTo>
                    <a:pt x="7144" y="7144"/>
                  </a:lnTo>
                  <a:lnTo>
                    <a:pt x="49349" y="7144"/>
                  </a:lnTo>
                  <a:lnTo>
                    <a:pt x="117872" y="177117"/>
                  </a:lnTo>
                  <a:lnTo>
                    <a:pt x="179432" y="7144"/>
                  </a:lnTo>
                  <a:lnTo>
                    <a:pt x="221637" y="7144"/>
                  </a:lnTo>
                  <a:lnTo>
                    <a:pt x="122872" y="264366"/>
                  </a:lnTo>
                  <a:close/>
                </a:path>
              </a:pathLst>
            </a:custGeom>
            <a:solidFill>
              <a:srgbClr val="009740"/>
            </a:solidFill>
            <a:ln w="9525" cap="flat">
              <a:noFill/>
              <a:prstDash val="solid"/>
              <a:miter/>
            </a:ln>
          </p:spPr>
          <p:txBody>
            <a:bodyPr rtlCol="0" anchor="ctr"/>
            <a:lstStyle/>
            <a:p>
              <a:endParaRPr lang="fr-FR"/>
            </a:p>
          </p:txBody>
        </p:sp>
        <p:sp>
          <p:nvSpPr>
            <p:cNvPr id="122" name="Forme libre : forme 121">
              <a:extLst>
                <a:ext uri="{FF2B5EF4-FFF2-40B4-BE49-F238E27FC236}">
                  <a16:creationId xmlns:a16="http://schemas.microsoft.com/office/drawing/2014/main" id="{C9B6E955-AEBE-40D3-BC7E-79665DFC7F41}"/>
                </a:ext>
              </a:extLst>
            </p:cNvPr>
            <p:cNvSpPr/>
            <p:nvPr/>
          </p:nvSpPr>
          <p:spPr>
            <a:xfrm>
              <a:off x="4216730" y="3175851"/>
              <a:ext cx="209550" cy="238125"/>
            </a:xfrm>
            <a:custGeom>
              <a:avLst/>
              <a:gdLst>
                <a:gd name="connsiteX0" fmla="*/ 169859 w 209550"/>
                <a:gd name="connsiteY0" fmla="*/ 150228 h 238125"/>
                <a:gd name="connsiteX1" fmla="*/ 208359 w 209550"/>
                <a:gd name="connsiteY1" fmla="*/ 154953 h 238125"/>
                <a:gd name="connsiteX2" fmla="*/ 176051 w 209550"/>
                <a:gd name="connsiteY2" fmla="*/ 213760 h 238125"/>
                <a:gd name="connsiteX3" fmla="*/ 112204 w 209550"/>
                <a:gd name="connsiteY3" fmla="*/ 235010 h 238125"/>
                <a:gd name="connsiteX4" fmla="*/ 35966 w 209550"/>
                <a:gd name="connsiteY4" fmla="*/ 205759 h 238125"/>
                <a:gd name="connsiteX5" fmla="*/ 7144 w 209550"/>
                <a:gd name="connsiteY5" fmla="*/ 121892 h 238125"/>
                <a:gd name="connsiteX6" fmla="*/ 19545 w 209550"/>
                <a:gd name="connsiteY6" fmla="*/ 60112 h 238125"/>
                <a:gd name="connsiteX7" fmla="*/ 57283 w 209550"/>
                <a:gd name="connsiteY7" fmla="*/ 20383 h 238125"/>
                <a:gd name="connsiteX8" fmla="*/ 112424 w 209550"/>
                <a:gd name="connsiteY8" fmla="*/ 7144 h 238125"/>
                <a:gd name="connsiteX9" fmla="*/ 173984 w 209550"/>
                <a:gd name="connsiteY9" fmla="*/ 25108 h 238125"/>
                <a:gd name="connsiteX10" fmla="*/ 204654 w 209550"/>
                <a:gd name="connsiteY10" fmla="*/ 76114 h 238125"/>
                <a:gd name="connsiteX11" fmla="*/ 166583 w 209550"/>
                <a:gd name="connsiteY11" fmla="*/ 81658 h 238125"/>
                <a:gd name="connsiteX12" fmla="*/ 147333 w 209550"/>
                <a:gd name="connsiteY12" fmla="*/ 48606 h 238125"/>
                <a:gd name="connsiteX13" fmla="*/ 113938 w 209550"/>
                <a:gd name="connsiteY13" fmla="*/ 37519 h 238125"/>
                <a:gd name="connsiteX14" fmla="*/ 65865 w 209550"/>
                <a:gd name="connsiteY14" fmla="*/ 57541 h 238125"/>
                <a:gd name="connsiteX15" fmla="*/ 47377 w 209550"/>
                <a:gd name="connsiteY15" fmla="*/ 120863 h 238125"/>
                <a:gd name="connsiteX16" fmla="*/ 65218 w 209550"/>
                <a:gd name="connsiteY16" fmla="*/ 184709 h 238125"/>
                <a:gd name="connsiteX17" fmla="*/ 111766 w 209550"/>
                <a:gd name="connsiteY17" fmla="*/ 204616 h 238125"/>
                <a:gd name="connsiteX18" fmla="*/ 150266 w 209550"/>
                <a:gd name="connsiteY18" fmla="*/ 191281 h 238125"/>
                <a:gd name="connsiteX19" fmla="*/ 169859 w 209550"/>
                <a:gd name="connsiteY19" fmla="*/ 15022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238125">
                  <a:moveTo>
                    <a:pt x="169859" y="150228"/>
                  </a:moveTo>
                  <a:lnTo>
                    <a:pt x="208359" y="154953"/>
                  </a:lnTo>
                  <a:cubicBezTo>
                    <a:pt x="204149" y="179994"/>
                    <a:pt x="193386" y="199606"/>
                    <a:pt x="176051" y="213760"/>
                  </a:cubicBezTo>
                  <a:cubicBezTo>
                    <a:pt x="158715" y="227924"/>
                    <a:pt x="137436" y="235010"/>
                    <a:pt x="112204" y="235010"/>
                  </a:cubicBezTo>
                  <a:cubicBezTo>
                    <a:pt x="80591" y="235010"/>
                    <a:pt x="55178" y="225257"/>
                    <a:pt x="35966" y="205759"/>
                  </a:cubicBezTo>
                  <a:cubicBezTo>
                    <a:pt x="16745" y="186252"/>
                    <a:pt x="7144" y="158306"/>
                    <a:pt x="7144" y="121892"/>
                  </a:cubicBezTo>
                  <a:cubicBezTo>
                    <a:pt x="7144" y="98355"/>
                    <a:pt x="11278" y="77762"/>
                    <a:pt x="19545" y="60112"/>
                  </a:cubicBezTo>
                  <a:cubicBezTo>
                    <a:pt x="27813" y="42453"/>
                    <a:pt x="40386" y="29213"/>
                    <a:pt x="57283" y="20383"/>
                  </a:cubicBezTo>
                  <a:cubicBezTo>
                    <a:pt x="74171" y="11554"/>
                    <a:pt x="92555" y="7144"/>
                    <a:pt x="112424" y="7144"/>
                  </a:cubicBezTo>
                  <a:cubicBezTo>
                    <a:pt x="137513" y="7144"/>
                    <a:pt x="158029" y="13135"/>
                    <a:pt x="173984" y="25108"/>
                  </a:cubicBezTo>
                  <a:cubicBezTo>
                    <a:pt x="189938" y="37081"/>
                    <a:pt x="200168" y="54083"/>
                    <a:pt x="204654" y="76114"/>
                  </a:cubicBezTo>
                  <a:lnTo>
                    <a:pt x="166583" y="81658"/>
                  </a:lnTo>
                  <a:cubicBezTo>
                    <a:pt x="162954" y="67018"/>
                    <a:pt x="156543" y="55998"/>
                    <a:pt x="147333" y="48606"/>
                  </a:cubicBezTo>
                  <a:cubicBezTo>
                    <a:pt x="138122" y="41215"/>
                    <a:pt x="126997" y="37519"/>
                    <a:pt x="113938" y="37519"/>
                  </a:cubicBezTo>
                  <a:cubicBezTo>
                    <a:pt x="94221" y="37519"/>
                    <a:pt x="78191" y="44187"/>
                    <a:pt x="65865" y="57541"/>
                  </a:cubicBezTo>
                  <a:cubicBezTo>
                    <a:pt x="53540" y="70876"/>
                    <a:pt x="47377" y="91992"/>
                    <a:pt x="47377" y="120863"/>
                  </a:cubicBezTo>
                  <a:cubicBezTo>
                    <a:pt x="47377" y="150152"/>
                    <a:pt x="53330" y="171441"/>
                    <a:pt x="65218" y="184709"/>
                  </a:cubicBezTo>
                  <a:cubicBezTo>
                    <a:pt x="77105" y="197987"/>
                    <a:pt x="92621" y="204616"/>
                    <a:pt x="111766" y="204616"/>
                  </a:cubicBezTo>
                  <a:cubicBezTo>
                    <a:pt x="127130" y="204616"/>
                    <a:pt x="139970" y="200168"/>
                    <a:pt x="150266" y="191281"/>
                  </a:cubicBezTo>
                  <a:cubicBezTo>
                    <a:pt x="160563" y="182394"/>
                    <a:pt x="167097" y="168707"/>
                    <a:pt x="169859" y="150228"/>
                  </a:cubicBezTo>
                  <a:close/>
                </a:path>
              </a:pathLst>
            </a:custGeom>
            <a:solidFill>
              <a:srgbClr val="009740"/>
            </a:solidFill>
            <a:ln w="9525" cap="flat">
              <a:noFill/>
              <a:prstDash val="solid"/>
              <a:miter/>
            </a:ln>
          </p:spPr>
          <p:txBody>
            <a:bodyPr rtlCol="0" anchor="ctr"/>
            <a:lstStyle/>
            <a:p>
              <a:endParaRPr lang="fr-FR"/>
            </a:p>
          </p:txBody>
        </p:sp>
        <p:sp>
          <p:nvSpPr>
            <p:cNvPr id="123" name="Forme libre : forme 122">
              <a:extLst>
                <a:ext uri="{FF2B5EF4-FFF2-40B4-BE49-F238E27FC236}">
                  <a16:creationId xmlns:a16="http://schemas.microsoft.com/office/drawing/2014/main" id="{BAB780A6-E153-405F-B146-EAAECEFA6ADD}"/>
                </a:ext>
              </a:extLst>
            </p:cNvPr>
            <p:cNvSpPr/>
            <p:nvPr/>
          </p:nvSpPr>
          <p:spPr>
            <a:xfrm>
              <a:off x="4439539" y="3175861"/>
              <a:ext cx="228600" cy="238125"/>
            </a:xfrm>
            <a:custGeom>
              <a:avLst/>
              <a:gdLst>
                <a:gd name="connsiteX0" fmla="*/ 7144 w 228600"/>
                <a:gd name="connsiteY0" fmla="*/ 121072 h 238125"/>
                <a:gd name="connsiteX1" fmla="*/ 42815 w 228600"/>
                <a:gd name="connsiteY1" fmla="*/ 31366 h 238125"/>
                <a:gd name="connsiteX2" fmla="*/ 115472 w 228600"/>
                <a:gd name="connsiteY2" fmla="*/ 7144 h 238125"/>
                <a:gd name="connsiteX3" fmla="*/ 193348 w 228600"/>
                <a:gd name="connsiteY3" fmla="*/ 36605 h 238125"/>
                <a:gd name="connsiteX4" fmla="*/ 223590 w 228600"/>
                <a:gd name="connsiteY4" fmla="*/ 117996 h 238125"/>
                <a:gd name="connsiteX5" fmla="*/ 210217 w 228600"/>
                <a:gd name="connsiteY5" fmla="*/ 184204 h 238125"/>
                <a:gd name="connsiteX6" fmla="*/ 171279 w 228600"/>
                <a:gd name="connsiteY6" fmla="*/ 221666 h 238125"/>
                <a:gd name="connsiteX7" fmla="*/ 115481 w 228600"/>
                <a:gd name="connsiteY7" fmla="*/ 235010 h 238125"/>
                <a:gd name="connsiteX8" fmla="*/ 37071 w 228600"/>
                <a:gd name="connsiteY8" fmla="*/ 205654 h 238125"/>
                <a:gd name="connsiteX9" fmla="*/ 7144 w 228600"/>
                <a:gd name="connsiteY9" fmla="*/ 121072 h 238125"/>
                <a:gd name="connsiteX10" fmla="*/ 47387 w 228600"/>
                <a:gd name="connsiteY10" fmla="*/ 121072 h 238125"/>
                <a:gd name="connsiteX11" fmla="*/ 66742 w 228600"/>
                <a:gd name="connsiteY11" fmla="*/ 183785 h 238125"/>
                <a:gd name="connsiteX12" fmla="*/ 115462 w 228600"/>
                <a:gd name="connsiteY12" fmla="*/ 204626 h 238125"/>
                <a:gd name="connsiteX13" fmla="*/ 163973 w 228600"/>
                <a:gd name="connsiteY13" fmla="*/ 183690 h 238125"/>
                <a:gd name="connsiteX14" fmla="*/ 183337 w 228600"/>
                <a:gd name="connsiteY14" fmla="*/ 119853 h 238125"/>
                <a:gd name="connsiteX15" fmla="*/ 163868 w 228600"/>
                <a:gd name="connsiteY15" fmla="*/ 58569 h 238125"/>
                <a:gd name="connsiteX16" fmla="*/ 115462 w 228600"/>
                <a:gd name="connsiteY16" fmla="*/ 37729 h 238125"/>
                <a:gd name="connsiteX17" fmla="*/ 66742 w 228600"/>
                <a:gd name="connsiteY17" fmla="*/ 58464 h 238125"/>
                <a:gd name="connsiteX18" fmla="*/ 47387 w 228600"/>
                <a:gd name="connsiteY18" fmla="*/ 12107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8600" h="238125">
                  <a:moveTo>
                    <a:pt x="7144" y="121072"/>
                  </a:moveTo>
                  <a:cubicBezTo>
                    <a:pt x="7144" y="80705"/>
                    <a:pt x="19031" y="50797"/>
                    <a:pt x="42815" y="31366"/>
                  </a:cubicBezTo>
                  <a:cubicBezTo>
                    <a:pt x="62684" y="15221"/>
                    <a:pt x="86906" y="7144"/>
                    <a:pt x="115472" y="7144"/>
                  </a:cubicBezTo>
                  <a:cubicBezTo>
                    <a:pt x="147238" y="7144"/>
                    <a:pt x="173193" y="16964"/>
                    <a:pt x="193348" y="36605"/>
                  </a:cubicBezTo>
                  <a:cubicBezTo>
                    <a:pt x="213503" y="56245"/>
                    <a:pt x="223590" y="83372"/>
                    <a:pt x="223590" y="117996"/>
                  </a:cubicBezTo>
                  <a:cubicBezTo>
                    <a:pt x="223590" y="146047"/>
                    <a:pt x="219132" y="168126"/>
                    <a:pt x="210217" y="184204"/>
                  </a:cubicBezTo>
                  <a:cubicBezTo>
                    <a:pt x="201301" y="200282"/>
                    <a:pt x="188319" y="212769"/>
                    <a:pt x="171279" y="221666"/>
                  </a:cubicBezTo>
                  <a:cubicBezTo>
                    <a:pt x="154238" y="230562"/>
                    <a:pt x="135636" y="235010"/>
                    <a:pt x="115481" y="235010"/>
                  </a:cubicBezTo>
                  <a:cubicBezTo>
                    <a:pt x="83144" y="235010"/>
                    <a:pt x="56998" y="225228"/>
                    <a:pt x="37071" y="205654"/>
                  </a:cubicBezTo>
                  <a:cubicBezTo>
                    <a:pt x="17117" y="186080"/>
                    <a:pt x="7144" y="157886"/>
                    <a:pt x="7144" y="121072"/>
                  </a:cubicBezTo>
                  <a:close/>
                  <a:moveTo>
                    <a:pt x="47387" y="121072"/>
                  </a:moveTo>
                  <a:cubicBezTo>
                    <a:pt x="47387" y="149000"/>
                    <a:pt x="53835" y="169897"/>
                    <a:pt x="66742" y="183785"/>
                  </a:cubicBezTo>
                  <a:cubicBezTo>
                    <a:pt x="79639" y="197682"/>
                    <a:pt x="95898" y="204626"/>
                    <a:pt x="115462" y="204626"/>
                  </a:cubicBezTo>
                  <a:cubicBezTo>
                    <a:pt x="134893" y="204626"/>
                    <a:pt x="151067" y="197653"/>
                    <a:pt x="163973" y="183690"/>
                  </a:cubicBezTo>
                  <a:cubicBezTo>
                    <a:pt x="176879" y="169736"/>
                    <a:pt x="183337" y="148457"/>
                    <a:pt x="183337" y="119853"/>
                  </a:cubicBezTo>
                  <a:cubicBezTo>
                    <a:pt x="183337" y="92888"/>
                    <a:pt x="176841" y="72466"/>
                    <a:pt x="163868" y="58569"/>
                  </a:cubicBezTo>
                  <a:cubicBezTo>
                    <a:pt x="150886" y="44682"/>
                    <a:pt x="134750" y="37729"/>
                    <a:pt x="115462" y="37729"/>
                  </a:cubicBezTo>
                  <a:cubicBezTo>
                    <a:pt x="95888" y="37729"/>
                    <a:pt x="79639" y="44644"/>
                    <a:pt x="66742" y="58464"/>
                  </a:cubicBezTo>
                  <a:cubicBezTo>
                    <a:pt x="53835" y="72285"/>
                    <a:pt x="47387" y="93154"/>
                    <a:pt x="47387" y="121072"/>
                  </a:cubicBezTo>
                  <a:close/>
                </a:path>
              </a:pathLst>
            </a:custGeom>
            <a:solidFill>
              <a:srgbClr val="009740"/>
            </a:solidFill>
            <a:ln w="9525" cap="flat">
              <a:noFill/>
              <a:prstDash val="solid"/>
              <a:miter/>
            </a:ln>
          </p:spPr>
          <p:txBody>
            <a:bodyPr rtlCol="0" anchor="ctr"/>
            <a:lstStyle/>
            <a:p>
              <a:endParaRPr lang="fr-FR"/>
            </a:p>
          </p:txBody>
        </p:sp>
        <p:sp>
          <p:nvSpPr>
            <p:cNvPr id="124" name="Forme libre : forme 123">
              <a:extLst>
                <a:ext uri="{FF2B5EF4-FFF2-40B4-BE49-F238E27FC236}">
                  <a16:creationId xmlns:a16="http://schemas.microsoft.com/office/drawing/2014/main" id="{E895FB20-8BC2-4C5C-B5A6-C7A07C810A25}"/>
                </a:ext>
              </a:extLst>
            </p:cNvPr>
            <p:cNvSpPr/>
            <p:nvPr/>
          </p:nvSpPr>
          <p:spPr>
            <a:xfrm>
              <a:off x="4704553"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8"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8"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fr-FR"/>
            </a:p>
          </p:txBody>
        </p:sp>
        <p:sp>
          <p:nvSpPr>
            <p:cNvPr id="125" name="Forme libre : forme 124">
              <a:extLst>
                <a:ext uri="{FF2B5EF4-FFF2-40B4-BE49-F238E27FC236}">
                  <a16:creationId xmlns:a16="http://schemas.microsoft.com/office/drawing/2014/main" id="{D6B50C9F-3324-45FF-A96B-80272E11D681}"/>
                </a:ext>
              </a:extLst>
            </p:cNvPr>
            <p:cNvSpPr/>
            <p:nvPr/>
          </p:nvSpPr>
          <p:spPr>
            <a:xfrm>
              <a:off x="4939325"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9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9" y="80639"/>
                    <a:pt x="13669" y="69961"/>
                  </a:cubicBezTo>
                  <a:cubicBezTo>
                    <a:pt x="13669"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3"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fr-FR"/>
            </a:p>
          </p:txBody>
        </p:sp>
        <p:sp>
          <p:nvSpPr>
            <p:cNvPr id="126" name="Forme libre : forme 125">
              <a:extLst>
                <a:ext uri="{FF2B5EF4-FFF2-40B4-BE49-F238E27FC236}">
                  <a16:creationId xmlns:a16="http://schemas.microsoft.com/office/drawing/2014/main" id="{A4F2AB2B-2213-4FE4-B9D3-19E56FACF765}"/>
                </a:ext>
              </a:extLst>
            </p:cNvPr>
            <p:cNvSpPr/>
            <p:nvPr/>
          </p:nvSpPr>
          <p:spPr>
            <a:xfrm>
              <a:off x="5179536" y="3180766"/>
              <a:ext cx="200025" cy="228600"/>
            </a:xfrm>
            <a:custGeom>
              <a:avLst/>
              <a:gdLst>
                <a:gd name="connsiteX0" fmla="*/ 159420 w 200025"/>
                <a:gd name="connsiteY0" fmla="*/ 225171 h 228600"/>
                <a:gd name="connsiteX1" fmla="*/ 159420 w 200025"/>
                <a:gd name="connsiteY1" fmla="*/ 193148 h 228600"/>
                <a:gd name="connsiteX2" fmla="*/ 86115 w 200025"/>
                <a:gd name="connsiteY2" fmla="*/ 230105 h 228600"/>
                <a:gd name="connsiteX3" fmla="*/ 47930 w 200025"/>
                <a:gd name="connsiteY3" fmla="*/ 222714 h 228600"/>
                <a:gd name="connsiteX4" fmla="*/ 21612 w 200025"/>
                <a:gd name="connsiteY4" fmla="*/ 204140 h 228600"/>
                <a:gd name="connsiteX5" fmla="*/ 9534 w 200025"/>
                <a:gd name="connsiteY5" fmla="*/ 176736 h 228600"/>
                <a:gd name="connsiteX6" fmla="*/ 7144 w 200025"/>
                <a:gd name="connsiteY6" fmla="*/ 142246 h 228600"/>
                <a:gd name="connsiteX7" fmla="*/ 7144 w 200025"/>
                <a:gd name="connsiteY7" fmla="*/ 7163 h 228600"/>
                <a:gd name="connsiteX8" fmla="*/ 46291 w 200025"/>
                <a:gd name="connsiteY8" fmla="*/ 7163 h 228600"/>
                <a:gd name="connsiteX9" fmla="*/ 46291 w 200025"/>
                <a:gd name="connsiteY9" fmla="*/ 128073 h 228600"/>
                <a:gd name="connsiteX10" fmla="*/ 48682 w 200025"/>
                <a:gd name="connsiteY10" fmla="*/ 167078 h 228600"/>
                <a:gd name="connsiteX11" fmla="*/ 64351 w 200025"/>
                <a:gd name="connsiteY11" fmla="*/ 189967 h 228600"/>
                <a:gd name="connsiteX12" fmla="*/ 93926 w 200025"/>
                <a:gd name="connsiteY12" fmla="*/ 198282 h 228600"/>
                <a:gd name="connsiteX13" fmla="*/ 126997 w 200025"/>
                <a:gd name="connsiteY13" fmla="*/ 189757 h 228600"/>
                <a:gd name="connsiteX14" fmla="*/ 148857 w 200025"/>
                <a:gd name="connsiteY14" fmla="*/ 166554 h 228600"/>
                <a:gd name="connsiteX15" fmla="*/ 155277 w 200025"/>
                <a:gd name="connsiteY15" fmla="*/ 123958 h 228600"/>
                <a:gd name="connsiteX16" fmla="*/ 155277 w 200025"/>
                <a:gd name="connsiteY16" fmla="*/ 7144 h 228600"/>
                <a:gd name="connsiteX17" fmla="*/ 194434 w 200025"/>
                <a:gd name="connsiteY17" fmla="*/ 7144 h 228600"/>
                <a:gd name="connsiteX18" fmla="*/ 194434 w 200025"/>
                <a:gd name="connsiteY18" fmla="*/ 225162 h 228600"/>
                <a:gd name="connsiteX19" fmla="*/ 159420 w 200025"/>
                <a:gd name="connsiteY19" fmla="*/ 225162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025" h="228600">
                  <a:moveTo>
                    <a:pt x="159420" y="225171"/>
                  </a:moveTo>
                  <a:lnTo>
                    <a:pt x="159420" y="193148"/>
                  </a:lnTo>
                  <a:cubicBezTo>
                    <a:pt x="141427" y="217789"/>
                    <a:pt x="116995" y="230105"/>
                    <a:pt x="86115" y="230105"/>
                  </a:cubicBezTo>
                  <a:cubicBezTo>
                    <a:pt x="72476" y="230105"/>
                    <a:pt x="59750" y="227638"/>
                    <a:pt x="47930" y="222714"/>
                  </a:cubicBezTo>
                  <a:cubicBezTo>
                    <a:pt x="36109" y="217789"/>
                    <a:pt x="27337" y="211598"/>
                    <a:pt x="21612" y="204140"/>
                  </a:cubicBezTo>
                  <a:cubicBezTo>
                    <a:pt x="15878" y="196682"/>
                    <a:pt x="11859" y="187547"/>
                    <a:pt x="9534" y="176736"/>
                  </a:cubicBezTo>
                  <a:cubicBezTo>
                    <a:pt x="7934" y="169478"/>
                    <a:pt x="7144" y="157982"/>
                    <a:pt x="7144" y="142246"/>
                  </a:cubicBezTo>
                  <a:lnTo>
                    <a:pt x="7144" y="7163"/>
                  </a:lnTo>
                  <a:lnTo>
                    <a:pt x="46291" y="7163"/>
                  </a:lnTo>
                  <a:lnTo>
                    <a:pt x="46291" y="128073"/>
                  </a:lnTo>
                  <a:cubicBezTo>
                    <a:pt x="46291" y="147371"/>
                    <a:pt x="47082" y="160382"/>
                    <a:pt x="48682" y="167078"/>
                  </a:cubicBezTo>
                  <a:cubicBezTo>
                    <a:pt x="51149" y="176803"/>
                    <a:pt x="56369" y="184423"/>
                    <a:pt x="64351" y="189967"/>
                  </a:cubicBezTo>
                  <a:cubicBezTo>
                    <a:pt x="72323" y="195510"/>
                    <a:pt x="82191" y="198282"/>
                    <a:pt x="93926" y="198282"/>
                  </a:cubicBezTo>
                  <a:cubicBezTo>
                    <a:pt x="105670" y="198282"/>
                    <a:pt x="116700" y="195443"/>
                    <a:pt x="126997" y="189757"/>
                  </a:cubicBezTo>
                  <a:cubicBezTo>
                    <a:pt x="137293" y="184080"/>
                    <a:pt x="144580" y="176346"/>
                    <a:pt x="148857" y="166554"/>
                  </a:cubicBezTo>
                  <a:cubicBezTo>
                    <a:pt x="153133" y="156763"/>
                    <a:pt x="155277" y="142570"/>
                    <a:pt x="155277" y="123958"/>
                  </a:cubicBezTo>
                  <a:lnTo>
                    <a:pt x="155277" y="7144"/>
                  </a:lnTo>
                  <a:lnTo>
                    <a:pt x="194434" y="7144"/>
                  </a:lnTo>
                  <a:lnTo>
                    <a:pt x="194434" y="225162"/>
                  </a:lnTo>
                  <a:lnTo>
                    <a:pt x="159420" y="225162"/>
                  </a:lnTo>
                  <a:close/>
                </a:path>
              </a:pathLst>
            </a:custGeom>
            <a:solidFill>
              <a:srgbClr val="009740"/>
            </a:solidFill>
            <a:ln w="9525" cap="flat">
              <a:noFill/>
              <a:prstDash val="solid"/>
              <a:miter/>
            </a:ln>
          </p:spPr>
          <p:txBody>
            <a:bodyPr rtlCol="0" anchor="ctr"/>
            <a:lstStyle/>
            <a:p>
              <a:endParaRPr lang="fr-FR"/>
            </a:p>
          </p:txBody>
        </p:sp>
        <p:sp>
          <p:nvSpPr>
            <p:cNvPr id="127" name="Forme libre : forme 126">
              <a:extLst>
                <a:ext uri="{FF2B5EF4-FFF2-40B4-BE49-F238E27FC236}">
                  <a16:creationId xmlns:a16="http://schemas.microsoft.com/office/drawing/2014/main" id="{BE5E0E70-CD8A-4E5C-89C0-BC55E0B739F9}"/>
                </a:ext>
              </a:extLst>
            </p:cNvPr>
            <p:cNvSpPr/>
            <p:nvPr/>
          </p:nvSpPr>
          <p:spPr>
            <a:xfrm>
              <a:off x="5429977" y="3097842"/>
              <a:ext cx="47625" cy="314325"/>
            </a:xfrm>
            <a:custGeom>
              <a:avLst/>
              <a:gdLst>
                <a:gd name="connsiteX0" fmla="*/ 7144 w 47625"/>
                <a:gd name="connsiteY0" fmla="*/ 308096 h 314325"/>
                <a:gd name="connsiteX1" fmla="*/ 7144 w 47625"/>
                <a:gd name="connsiteY1" fmla="*/ 7144 h 314325"/>
                <a:gd name="connsiteX2" fmla="*/ 46291 w 47625"/>
                <a:gd name="connsiteY2" fmla="*/ 7144 h 314325"/>
                <a:gd name="connsiteX3" fmla="*/ 46291 w 47625"/>
                <a:gd name="connsiteY3" fmla="*/ 308096 h 314325"/>
                <a:gd name="connsiteX4" fmla="*/ 7144 w 47625"/>
                <a:gd name="connsiteY4" fmla="*/ 308096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14325">
                  <a:moveTo>
                    <a:pt x="7144" y="308096"/>
                  </a:moveTo>
                  <a:lnTo>
                    <a:pt x="7144" y="7144"/>
                  </a:lnTo>
                  <a:lnTo>
                    <a:pt x="46291" y="7144"/>
                  </a:lnTo>
                  <a:lnTo>
                    <a:pt x="46291" y="308096"/>
                  </a:lnTo>
                  <a:lnTo>
                    <a:pt x="7144" y="308096"/>
                  </a:lnTo>
                  <a:close/>
                </a:path>
              </a:pathLst>
            </a:custGeom>
            <a:solidFill>
              <a:srgbClr val="009740"/>
            </a:solidFill>
            <a:ln w="9525" cap="flat">
              <a:noFill/>
              <a:prstDash val="solid"/>
              <a:miter/>
            </a:ln>
          </p:spPr>
          <p:txBody>
            <a:bodyPr rtlCol="0" anchor="ctr"/>
            <a:lstStyle/>
            <a:p>
              <a:endParaRPr lang="fr-FR"/>
            </a:p>
          </p:txBody>
        </p:sp>
        <p:sp>
          <p:nvSpPr>
            <p:cNvPr id="128" name="Forme libre : forme 127">
              <a:extLst>
                <a:ext uri="{FF2B5EF4-FFF2-40B4-BE49-F238E27FC236}">
                  <a16:creationId xmlns:a16="http://schemas.microsoft.com/office/drawing/2014/main" id="{6A1B0552-7334-4F87-A815-458686BFF990}"/>
                </a:ext>
              </a:extLst>
            </p:cNvPr>
            <p:cNvSpPr/>
            <p:nvPr/>
          </p:nvSpPr>
          <p:spPr>
            <a:xfrm>
              <a:off x="5510958" y="3104623"/>
              <a:ext cx="123825" cy="304800"/>
            </a:xfrm>
            <a:custGeom>
              <a:avLst/>
              <a:gdLst>
                <a:gd name="connsiteX0" fmla="*/ 114167 w 123825"/>
                <a:gd name="connsiteY0" fmla="*/ 268262 h 304800"/>
                <a:gd name="connsiteX1" fmla="*/ 119825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2 w 123825"/>
                <a:gd name="connsiteY5" fmla="*/ 237468 h 304800"/>
                <a:gd name="connsiteX6" fmla="*/ 35862 w 123825"/>
                <a:gd name="connsiteY6" fmla="*/ 112043 h 304800"/>
                <a:gd name="connsiteX7" fmla="*/ 7144 w 123825"/>
                <a:gd name="connsiteY7" fmla="*/ 112043 h 304800"/>
                <a:gd name="connsiteX8" fmla="*/ 7144 w 123825"/>
                <a:gd name="connsiteY8" fmla="*/ 83296 h 304800"/>
                <a:gd name="connsiteX9" fmla="*/ 35862 w 123825"/>
                <a:gd name="connsiteY9" fmla="*/ 83296 h 304800"/>
                <a:gd name="connsiteX10" fmla="*/ 35862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1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5"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2" y="259642"/>
                    <a:pt x="35862" y="237468"/>
                  </a:cubicBezTo>
                  <a:lnTo>
                    <a:pt x="35862" y="112043"/>
                  </a:lnTo>
                  <a:lnTo>
                    <a:pt x="7144" y="112043"/>
                  </a:lnTo>
                  <a:lnTo>
                    <a:pt x="7144" y="83296"/>
                  </a:lnTo>
                  <a:lnTo>
                    <a:pt x="35862" y="83296"/>
                  </a:lnTo>
                  <a:lnTo>
                    <a:pt x="35862"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1"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fr-FR"/>
            </a:p>
          </p:txBody>
        </p:sp>
        <p:sp>
          <p:nvSpPr>
            <p:cNvPr id="129" name="Forme libre : forme 128">
              <a:extLst>
                <a:ext uri="{FF2B5EF4-FFF2-40B4-BE49-F238E27FC236}">
                  <a16:creationId xmlns:a16="http://schemas.microsoft.com/office/drawing/2014/main" id="{31ED9D06-919C-487A-A0A9-8C7A842308A6}"/>
                </a:ext>
              </a:extLst>
            </p:cNvPr>
            <p:cNvSpPr/>
            <p:nvPr/>
          </p:nvSpPr>
          <p:spPr>
            <a:xfrm>
              <a:off x="5645670" y="3175861"/>
              <a:ext cx="219075" cy="238125"/>
            </a:xfrm>
            <a:custGeom>
              <a:avLst/>
              <a:gdLst>
                <a:gd name="connsiteX0" fmla="*/ 171155 w 219075"/>
                <a:gd name="connsiteY0" fmla="*/ 203187 h 238125"/>
                <a:gd name="connsiteX1" fmla="*/ 129283 w 219075"/>
                <a:gd name="connsiteY1" fmla="*/ 227819 h 238125"/>
                <a:gd name="connsiteX2" fmla="*/ 86106 w 219075"/>
                <a:gd name="connsiteY2" fmla="*/ 235010 h 238125"/>
                <a:gd name="connsiteX3" fmla="*/ 27584 w 219075"/>
                <a:gd name="connsiteY3" fmla="*/ 217456 h 238125"/>
                <a:gd name="connsiteX4" fmla="*/ 7144 w 219075"/>
                <a:gd name="connsiteY4" fmla="*/ 172603 h 238125"/>
                <a:gd name="connsiteX5" fmla="*/ 14869 w 219075"/>
                <a:gd name="connsiteY5" fmla="*/ 143351 h 238125"/>
                <a:gd name="connsiteX6" fmla="*/ 35100 w 219075"/>
                <a:gd name="connsiteY6" fmla="*/ 122111 h 238125"/>
                <a:gd name="connsiteX7" fmla="*/ 63265 w 219075"/>
                <a:gd name="connsiteY7" fmla="*/ 109995 h 238125"/>
                <a:gd name="connsiteX8" fmla="*/ 98069 w 219075"/>
                <a:gd name="connsiteY8" fmla="*/ 104461 h 238125"/>
                <a:gd name="connsiteX9" fmla="*/ 167897 w 219075"/>
                <a:gd name="connsiteY9" fmla="*/ 91726 h 238125"/>
                <a:gd name="connsiteX10" fmla="*/ 168107 w 219075"/>
                <a:gd name="connsiteY10" fmla="*/ 82077 h 238125"/>
                <a:gd name="connsiteX11" fmla="*/ 157010 w 219075"/>
                <a:gd name="connsiteY11" fmla="*/ 50254 h 238125"/>
                <a:gd name="connsiteX12" fmla="*/ 112414 w 219075"/>
                <a:gd name="connsiteY12" fmla="*/ 37738 h 238125"/>
                <a:gd name="connsiteX13" fmla="*/ 71628 w 219075"/>
                <a:gd name="connsiteY13" fmla="*/ 46873 h 238125"/>
                <a:gd name="connsiteX14" fmla="*/ 52159 w 219075"/>
                <a:gd name="connsiteY14" fmla="*/ 79210 h 238125"/>
                <a:gd name="connsiteX15" fmla="*/ 13868 w 219075"/>
                <a:gd name="connsiteY15" fmla="*/ 74276 h 238125"/>
                <a:gd name="connsiteX16" fmla="*/ 31061 w 219075"/>
                <a:gd name="connsiteY16" fmla="*/ 36814 h 238125"/>
                <a:gd name="connsiteX17" fmla="*/ 65646 w 219075"/>
                <a:gd name="connsiteY17" fmla="*/ 14840 h 238125"/>
                <a:gd name="connsiteX18" fmla="*/ 118072 w 219075"/>
                <a:gd name="connsiteY18" fmla="*/ 7144 h 238125"/>
                <a:gd name="connsiteX19" fmla="*/ 166145 w 219075"/>
                <a:gd name="connsiteY19" fmla="*/ 13706 h 238125"/>
                <a:gd name="connsiteX20" fmla="*/ 193338 w 219075"/>
                <a:gd name="connsiteY20" fmla="*/ 30232 h 238125"/>
                <a:gd name="connsiteX21" fmla="*/ 205511 w 219075"/>
                <a:gd name="connsiteY21" fmla="*/ 55378 h 238125"/>
                <a:gd name="connsiteX22" fmla="*/ 207474 w 219075"/>
                <a:gd name="connsiteY22" fmla="*/ 89459 h 238125"/>
                <a:gd name="connsiteX23" fmla="*/ 207474 w 219075"/>
                <a:gd name="connsiteY23" fmla="*/ 138722 h 238125"/>
                <a:gd name="connsiteX24" fmla="*/ 209979 w 219075"/>
                <a:gd name="connsiteY24" fmla="*/ 203902 h 238125"/>
                <a:gd name="connsiteX25" fmla="*/ 219875 w 219075"/>
                <a:gd name="connsiteY25" fmla="*/ 230076 h 238125"/>
                <a:gd name="connsiteX26" fmla="*/ 178975 w 219075"/>
                <a:gd name="connsiteY26" fmla="*/ 230076 h 238125"/>
                <a:gd name="connsiteX27" fmla="*/ 171155 w 219075"/>
                <a:gd name="connsiteY27" fmla="*/ 203187 h 238125"/>
                <a:gd name="connsiteX28" fmla="*/ 167897 w 219075"/>
                <a:gd name="connsiteY28" fmla="*/ 120663 h 238125"/>
                <a:gd name="connsiteX29" fmla="*/ 103937 w 219075"/>
                <a:gd name="connsiteY29" fmla="*/ 134626 h 238125"/>
                <a:gd name="connsiteX30" fmla="*/ 69790 w 219075"/>
                <a:gd name="connsiteY30" fmla="*/ 142008 h 238125"/>
                <a:gd name="connsiteX31" fmla="*/ 54340 w 219075"/>
                <a:gd name="connsiteY31" fmla="*/ 154019 h 238125"/>
                <a:gd name="connsiteX32" fmla="*/ 48911 w 219075"/>
                <a:gd name="connsiteY32" fmla="*/ 171574 h 238125"/>
                <a:gd name="connsiteX33" fmla="*/ 60760 w 219075"/>
                <a:gd name="connsiteY33" fmla="*/ 196215 h 238125"/>
                <a:gd name="connsiteX34" fmla="*/ 95460 w 219075"/>
                <a:gd name="connsiteY34" fmla="*/ 206064 h 238125"/>
                <a:gd name="connsiteX35" fmla="*/ 135703 w 219075"/>
                <a:gd name="connsiteY35" fmla="*/ 196729 h 238125"/>
                <a:gd name="connsiteX36" fmla="*/ 161592 w 219075"/>
                <a:gd name="connsiteY36" fmla="*/ 171164 h 238125"/>
                <a:gd name="connsiteX37" fmla="*/ 167907 w 219075"/>
                <a:gd name="connsiteY37" fmla="*/ 134217 h 238125"/>
                <a:gd name="connsiteX38" fmla="*/ 167907 w 219075"/>
                <a:gd name="connsiteY38" fmla="*/ 12066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19075" h="238125">
                  <a:moveTo>
                    <a:pt x="171155" y="203187"/>
                  </a:moveTo>
                  <a:cubicBezTo>
                    <a:pt x="156658" y="214827"/>
                    <a:pt x="142694" y="223028"/>
                    <a:pt x="129283" y="227819"/>
                  </a:cubicBezTo>
                  <a:cubicBezTo>
                    <a:pt x="115862" y="232610"/>
                    <a:pt x="101470" y="235010"/>
                    <a:pt x="86106" y="235010"/>
                  </a:cubicBezTo>
                  <a:cubicBezTo>
                    <a:pt x="60722" y="235010"/>
                    <a:pt x="41215" y="229162"/>
                    <a:pt x="27584" y="217456"/>
                  </a:cubicBezTo>
                  <a:cubicBezTo>
                    <a:pt x="13944" y="205750"/>
                    <a:pt x="7144" y="190805"/>
                    <a:pt x="7144" y="172603"/>
                  </a:cubicBezTo>
                  <a:cubicBezTo>
                    <a:pt x="7144" y="161925"/>
                    <a:pt x="9715" y="152171"/>
                    <a:pt x="14869" y="143351"/>
                  </a:cubicBezTo>
                  <a:cubicBezTo>
                    <a:pt x="20012" y="134522"/>
                    <a:pt x="26756" y="127435"/>
                    <a:pt x="35100" y="122111"/>
                  </a:cubicBezTo>
                  <a:cubicBezTo>
                    <a:pt x="43434" y="116767"/>
                    <a:pt x="52826" y="112738"/>
                    <a:pt x="63265" y="109995"/>
                  </a:cubicBezTo>
                  <a:cubicBezTo>
                    <a:pt x="70952" y="108090"/>
                    <a:pt x="82544" y="106232"/>
                    <a:pt x="98069" y="104461"/>
                  </a:cubicBezTo>
                  <a:cubicBezTo>
                    <a:pt x="129673" y="100898"/>
                    <a:pt x="152962" y="96660"/>
                    <a:pt x="167897" y="91726"/>
                  </a:cubicBezTo>
                  <a:cubicBezTo>
                    <a:pt x="168040" y="86668"/>
                    <a:pt x="168107" y="83449"/>
                    <a:pt x="168107" y="82077"/>
                  </a:cubicBezTo>
                  <a:cubicBezTo>
                    <a:pt x="168107" y="67027"/>
                    <a:pt x="164402" y="56417"/>
                    <a:pt x="157010" y="50254"/>
                  </a:cubicBezTo>
                  <a:cubicBezTo>
                    <a:pt x="147009" y="41910"/>
                    <a:pt x="132140" y="37738"/>
                    <a:pt x="112414" y="37738"/>
                  </a:cubicBezTo>
                  <a:cubicBezTo>
                    <a:pt x="93993" y="37738"/>
                    <a:pt x="80410" y="40786"/>
                    <a:pt x="71628" y="46873"/>
                  </a:cubicBezTo>
                  <a:cubicBezTo>
                    <a:pt x="62855" y="52969"/>
                    <a:pt x="56359" y="63741"/>
                    <a:pt x="52159" y="79210"/>
                  </a:cubicBezTo>
                  <a:lnTo>
                    <a:pt x="13868" y="74276"/>
                  </a:lnTo>
                  <a:cubicBezTo>
                    <a:pt x="17354" y="58817"/>
                    <a:pt x="23079" y="46330"/>
                    <a:pt x="31061" y="36814"/>
                  </a:cubicBezTo>
                  <a:cubicBezTo>
                    <a:pt x="39033" y="27299"/>
                    <a:pt x="50568" y="19974"/>
                    <a:pt x="65646" y="14840"/>
                  </a:cubicBezTo>
                  <a:cubicBezTo>
                    <a:pt x="80734" y="9716"/>
                    <a:pt x="98203" y="7144"/>
                    <a:pt x="118072" y="7144"/>
                  </a:cubicBezTo>
                  <a:cubicBezTo>
                    <a:pt x="137789" y="7144"/>
                    <a:pt x="153819" y="9325"/>
                    <a:pt x="166145" y="13706"/>
                  </a:cubicBezTo>
                  <a:cubicBezTo>
                    <a:pt x="178470" y="18088"/>
                    <a:pt x="187538" y="23593"/>
                    <a:pt x="193338" y="30232"/>
                  </a:cubicBezTo>
                  <a:cubicBezTo>
                    <a:pt x="199130" y="36862"/>
                    <a:pt x="203197" y="45244"/>
                    <a:pt x="205511" y="55378"/>
                  </a:cubicBezTo>
                  <a:cubicBezTo>
                    <a:pt x="206826" y="61674"/>
                    <a:pt x="207474" y="73038"/>
                    <a:pt x="207474" y="89459"/>
                  </a:cubicBezTo>
                  <a:lnTo>
                    <a:pt x="207474" y="138722"/>
                  </a:lnTo>
                  <a:cubicBezTo>
                    <a:pt x="207474" y="173069"/>
                    <a:pt x="208302" y="194805"/>
                    <a:pt x="209979" y="203902"/>
                  </a:cubicBezTo>
                  <a:cubicBezTo>
                    <a:pt x="211646" y="213008"/>
                    <a:pt x="214941" y="221733"/>
                    <a:pt x="219875" y="230076"/>
                  </a:cubicBezTo>
                  <a:lnTo>
                    <a:pt x="178975" y="230076"/>
                  </a:lnTo>
                  <a:cubicBezTo>
                    <a:pt x="174927" y="222409"/>
                    <a:pt x="172317" y="213446"/>
                    <a:pt x="171155" y="203187"/>
                  </a:cubicBezTo>
                  <a:close/>
                  <a:moveTo>
                    <a:pt x="167897" y="120663"/>
                  </a:moveTo>
                  <a:cubicBezTo>
                    <a:pt x="153676" y="126140"/>
                    <a:pt x="132369" y="130788"/>
                    <a:pt x="103937" y="134626"/>
                  </a:cubicBezTo>
                  <a:cubicBezTo>
                    <a:pt x="87849" y="136808"/>
                    <a:pt x="76457" y="139275"/>
                    <a:pt x="69790" y="142008"/>
                  </a:cubicBezTo>
                  <a:cubicBezTo>
                    <a:pt x="63113" y="144751"/>
                    <a:pt x="57969" y="148752"/>
                    <a:pt x="54340" y="154019"/>
                  </a:cubicBezTo>
                  <a:cubicBezTo>
                    <a:pt x="50711" y="159296"/>
                    <a:pt x="48911" y="165144"/>
                    <a:pt x="48911" y="171574"/>
                  </a:cubicBezTo>
                  <a:cubicBezTo>
                    <a:pt x="48911" y="181432"/>
                    <a:pt x="52854" y="189633"/>
                    <a:pt x="60760" y="196215"/>
                  </a:cubicBezTo>
                  <a:cubicBezTo>
                    <a:pt x="68666" y="202778"/>
                    <a:pt x="80229" y="206064"/>
                    <a:pt x="95460" y="206064"/>
                  </a:cubicBezTo>
                  <a:cubicBezTo>
                    <a:pt x="110538" y="206064"/>
                    <a:pt x="123958" y="202949"/>
                    <a:pt x="135703" y="196729"/>
                  </a:cubicBezTo>
                  <a:cubicBezTo>
                    <a:pt x="147447" y="190500"/>
                    <a:pt x="156086" y="181985"/>
                    <a:pt x="161592" y="171164"/>
                  </a:cubicBezTo>
                  <a:cubicBezTo>
                    <a:pt x="165792" y="162820"/>
                    <a:pt x="167907" y="150504"/>
                    <a:pt x="167907" y="134217"/>
                  </a:cubicBezTo>
                  <a:lnTo>
                    <a:pt x="167907" y="120663"/>
                  </a:lnTo>
                  <a:close/>
                </a:path>
              </a:pathLst>
            </a:custGeom>
            <a:solidFill>
              <a:srgbClr val="009740"/>
            </a:solidFill>
            <a:ln w="9525" cap="flat">
              <a:noFill/>
              <a:prstDash val="solid"/>
              <a:miter/>
            </a:ln>
          </p:spPr>
          <p:txBody>
            <a:bodyPr rtlCol="0" anchor="ctr"/>
            <a:lstStyle/>
            <a:p>
              <a:endParaRPr lang="fr-FR"/>
            </a:p>
          </p:txBody>
        </p:sp>
        <p:sp>
          <p:nvSpPr>
            <p:cNvPr id="130" name="Forme libre : forme 129">
              <a:extLst>
                <a:ext uri="{FF2B5EF4-FFF2-40B4-BE49-F238E27FC236}">
                  <a16:creationId xmlns:a16="http://schemas.microsoft.com/office/drawing/2014/main" id="{C683304A-AE8F-49B8-A3D9-084FF73D89A5}"/>
                </a:ext>
              </a:extLst>
            </p:cNvPr>
            <p:cNvSpPr/>
            <p:nvPr/>
          </p:nvSpPr>
          <p:spPr>
            <a:xfrm>
              <a:off x="5909360"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9"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9"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fr-FR"/>
            </a:p>
          </p:txBody>
        </p:sp>
        <p:sp>
          <p:nvSpPr>
            <p:cNvPr id="131" name="Forme libre : forme 130">
              <a:extLst>
                <a:ext uri="{FF2B5EF4-FFF2-40B4-BE49-F238E27FC236}">
                  <a16:creationId xmlns:a16="http://schemas.microsoft.com/office/drawing/2014/main" id="{27A1AAB6-D5E7-432A-8B38-4E3658BB18EB}"/>
                </a:ext>
              </a:extLst>
            </p:cNvPr>
            <p:cNvSpPr/>
            <p:nvPr/>
          </p:nvSpPr>
          <p:spPr>
            <a:xfrm>
              <a:off x="6138265" y="3104623"/>
              <a:ext cx="123825" cy="304800"/>
            </a:xfrm>
            <a:custGeom>
              <a:avLst/>
              <a:gdLst>
                <a:gd name="connsiteX0" fmla="*/ 114167 w 123825"/>
                <a:gd name="connsiteY0" fmla="*/ 268262 h 304800"/>
                <a:gd name="connsiteX1" fmla="*/ 119824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1 w 123825"/>
                <a:gd name="connsiteY5" fmla="*/ 237468 h 304800"/>
                <a:gd name="connsiteX6" fmla="*/ 35861 w 123825"/>
                <a:gd name="connsiteY6" fmla="*/ 112043 h 304800"/>
                <a:gd name="connsiteX7" fmla="*/ 7144 w 123825"/>
                <a:gd name="connsiteY7" fmla="*/ 112043 h 304800"/>
                <a:gd name="connsiteX8" fmla="*/ 7144 w 123825"/>
                <a:gd name="connsiteY8" fmla="*/ 83296 h 304800"/>
                <a:gd name="connsiteX9" fmla="*/ 35861 w 123825"/>
                <a:gd name="connsiteY9" fmla="*/ 83296 h 304800"/>
                <a:gd name="connsiteX10" fmla="*/ 35861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0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4"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1" y="259642"/>
                    <a:pt x="35861" y="237468"/>
                  </a:cubicBezTo>
                  <a:lnTo>
                    <a:pt x="35861" y="112043"/>
                  </a:lnTo>
                  <a:lnTo>
                    <a:pt x="7144" y="112043"/>
                  </a:lnTo>
                  <a:lnTo>
                    <a:pt x="7144" y="83296"/>
                  </a:lnTo>
                  <a:lnTo>
                    <a:pt x="35861" y="83296"/>
                  </a:lnTo>
                  <a:lnTo>
                    <a:pt x="35861"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0"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fr-FR"/>
            </a:p>
          </p:txBody>
        </p:sp>
        <p:sp>
          <p:nvSpPr>
            <p:cNvPr id="132" name="Forme libre : forme 131">
              <a:extLst>
                <a:ext uri="{FF2B5EF4-FFF2-40B4-BE49-F238E27FC236}">
                  <a16:creationId xmlns:a16="http://schemas.microsoft.com/office/drawing/2014/main" id="{081F4768-AA88-4390-BEDB-4DB6452E4DBC}"/>
                </a:ext>
              </a:extLst>
            </p:cNvPr>
            <p:cNvSpPr/>
            <p:nvPr/>
          </p:nvSpPr>
          <p:spPr>
            <a:xfrm>
              <a:off x="6270577"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8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8" y="80639"/>
                    <a:pt x="13668" y="69961"/>
                  </a:cubicBezTo>
                  <a:cubicBezTo>
                    <a:pt x="13668"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2"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fr-FR"/>
            </a:p>
          </p:txBody>
        </p:sp>
      </p:grpSp>
      <p:pic>
        <p:nvPicPr>
          <p:cNvPr id="4" name="Picture 2" descr="ALTARES-D&amp;B - L'ASSOCIATION FRANCAISE DES CREDIT MANAGERS ET CONSEILS">
            <a:extLst>
              <a:ext uri="{FF2B5EF4-FFF2-40B4-BE49-F238E27FC236}">
                <a16:creationId xmlns:a16="http://schemas.microsoft.com/office/drawing/2014/main" id="{A0620342-F05C-48B5-97F0-1509497DE39E}"/>
              </a:ext>
            </a:extLst>
          </p:cNvPr>
          <p:cNvPicPr>
            <a:picLocks noChangeAspect="1" noChangeArrowheads="1"/>
          </p:cNvPicPr>
          <p:nvPr userDrawn="1"/>
        </p:nvPicPr>
        <p:blipFill>
          <a:blip r:embed="rId22">
            <a:extLst>
              <a:ext uri="{28A0092B-C50C-407E-A947-70E740481C1C}">
                <a14:useLocalDpi xmlns:a14="http://schemas.microsoft.com/office/drawing/2010/main" val="0"/>
              </a:ext>
            </a:extLst>
          </a:blip>
          <a:srcRect/>
          <a:stretch>
            <a:fillRect/>
          </a:stretch>
        </p:blipFill>
        <p:spPr bwMode="auto">
          <a:xfrm>
            <a:off x="64113" y="6581283"/>
            <a:ext cx="384102" cy="2151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096945"/>
      </p:ext>
    </p:extLst>
  </p:cSld>
  <p:clrMap bg1="lt1" tx1="dk1" bg2="lt2" tx2="dk2" accent1="accent1" accent2="accent2" accent3="accent3" accent4="accent4" accent5="accent5" accent6="accent6" hlink="hlink" folHlink="folHlink"/>
  <p:sldLayoutIdLst>
    <p:sldLayoutId id="2147483696" r:id="rId1"/>
    <p:sldLayoutId id="2147483699" r:id="rId2"/>
    <p:sldLayoutId id="2147483692" r:id="rId3"/>
    <p:sldLayoutId id="2147483694" r:id="rId4"/>
    <p:sldLayoutId id="2147483705" r:id="rId5"/>
    <p:sldLayoutId id="2147483707" r:id="rId6"/>
    <p:sldLayoutId id="2147483697" r:id="rId7"/>
    <p:sldLayoutId id="2147483702" r:id="rId8"/>
    <p:sldLayoutId id="2147483703" r:id="rId9"/>
    <p:sldLayoutId id="2147483708" r:id="rId10"/>
    <p:sldLayoutId id="2147483709" r:id="rId11"/>
    <p:sldLayoutId id="2147483711" r:id="rId12"/>
    <p:sldLayoutId id="2147483712" r:id="rId13"/>
  </p:sldLayoutIdLst>
  <p:transition/>
  <p:txStyles>
    <p:title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p:titleStyle>
    <p:body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9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3.xml"/><Relationship Id="rId1" Type="http://schemas.openxmlformats.org/officeDocument/2006/relationships/tags" Target="../tags/tag24.xml"/><Relationship Id="rId6" Type="http://schemas.openxmlformats.org/officeDocument/2006/relationships/image" Target="../media/image2.png"/><Relationship Id="rId5" Type="http://schemas.openxmlformats.org/officeDocument/2006/relationships/image" Target="../media/image7.png"/><Relationship Id="rId4" Type="http://schemas.openxmlformats.org/officeDocument/2006/relationships/image" Target="../media/image5.emf"/></Relationships>
</file>

<file path=ppt/slides/_rels/slide10.xml.rels><?xml version="1.0" encoding="UTF-8" standalone="yes"?>
<Relationships xmlns="http://schemas.openxmlformats.org/package/2006/relationships"><Relationship Id="rId13" Type="http://schemas.openxmlformats.org/officeDocument/2006/relationships/oleObject" Target="../embeddings/oleObject10.bin"/><Relationship Id="rId18" Type="http://schemas.openxmlformats.org/officeDocument/2006/relationships/image" Target="../media/image23.svg"/><Relationship Id="rId26" Type="http://schemas.openxmlformats.org/officeDocument/2006/relationships/image" Target="../media/image14.png"/><Relationship Id="rId39" Type="http://schemas.openxmlformats.org/officeDocument/2006/relationships/image" Target="../media/image79.png"/><Relationship Id="rId21" Type="http://schemas.openxmlformats.org/officeDocument/2006/relationships/image" Target="../media/image26.png"/><Relationship Id="rId34" Type="http://schemas.openxmlformats.org/officeDocument/2006/relationships/image" Target="../media/image74.png"/><Relationship Id="rId42" Type="http://schemas.openxmlformats.org/officeDocument/2006/relationships/image" Target="../media/image82.svg"/><Relationship Id="rId7" Type="http://schemas.openxmlformats.org/officeDocument/2006/relationships/tags" Target="../tags/tag49.xml"/><Relationship Id="rId2" Type="http://schemas.openxmlformats.org/officeDocument/2006/relationships/tags" Target="../tags/tag44.xml"/><Relationship Id="rId16" Type="http://schemas.openxmlformats.org/officeDocument/2006/relationships/image" Target="../media/image67.svg"/><Relationship Id="rId29" Type="http://schemas.openxmlformats.org/officeDocument/2006/relationships/image" Target="../media/image69.jpeg"/><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slideLayout" Target="../slideLayouts/slideLayout1.xml"/><Relationship Id="rId24" Type="http://schemas.openxmlformats.org/officeDocument/2006/relationships/image" Target="../media/image12.jpeg"/><Relationship Id="rId32" Type="http://schemas.openxmlformats.org/officeDocument/2006/relationships/image" Target="../media/image72.jpeg"/><Relationship Id="rId37" Type="http://schemas.openxmlformats.org/officeDocument/2006/relationships/image" Target="../media/image77.png"/><Relationship Id="rId40" Type="http://schemas.openxmlformats.org/officeDocument/2006/relationships/image" Target="../media/image80.svg"/><Relationship Id="rId45" Type="http://schemas.openxmlformats.org/officeDocument/2006/relationships/chart" Target="../charts/chart8.xml"/><Relationship Id="rId5" Type="http://schemas.openxmlformats.org/officeDocument/2006/relationships/tags" Target="../tags/tag47.xml"/><Relationship Id="rId15" Type="http://schemas.openxmlformats.org/officeDocument/2006/relationships/image" Target="../media/image66.png"/><Relationship Id="rId23" Type="http://schemas.openxmlformats.org/officeDocument/2006/relationships/image" Target="../media/image11.jpeg"/><Relationship Id="rId28" Type="http://schemas.openxmlformats.org/officeDocument/2006/relationships/image" Target="../media/image68.jpeg"/><Relationship Id="rId36" Type="http://schemas.openxmlformats.org/officeDocument/2006/relationships/image" Target="../media/image76.png"/><Relationship Id="rId10" Type="http://schemas.openxmlformats.org/officeDocument/2006/relationships/tags" Target="../tags/tag52.xml"/><Relationship Id="rId19" Type="http://schemas.openxmlformats.org/officeDocument/2006/relationships/image" Target="../media/image24.png"/><Relationship Id="rId31" Type="http://schemas.openxmlformats.org/officeDocument/2006/relationships/image" Target="../media/image71.png"/><Relationship Id="rId44" Type="http://schemas.openxmlformats.org/officeDocument/2006/relationships/image" Target="../media/image84.png"/><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image" Target="../media/image8.emf"/><Relationship Id="rId22" Type="http://schemas.openxmlformats.org/officeDocument/2006/relationships/image" Target="../media/image27.svg"/><Relationship Id="rId27" Type="http://schemas.openxmlformats.org/officeDocument/2006/relationships/image" Target="../media/image59.png"/><Relationship Id="rId30" Type="http://schemas.openxmlformats.org/officeDocument/2006/relationships/image" Target="../media/image70.png"/><Relationship Id="rId35" Type="http://schemas.openxmlformats.org/officeDocument/2006/relationships/image" Target="../media/image75.png"/><Relationship Id="rId43" Type="http://schemas.openxmlformats.org/officeDocument/2006/relationships/image" Target="../media/image83.png"/><Relationship Id="rId8" Type="http://schemas.openxmlformats.org/officeDocument/2006/relationships/tags" Target="../tags/tag50.xml"/><Relationship Id="rId3" Type="http://schemas.openxmlformats.org/officeDocument/2006/relationships/tags" Target="../tags/tag45.xml"/><Relationship Id="rId12" Type="http://schemas.openxmlformats.org/officeDocument/2006/relationships/notesSlide" Target="../notesSlides/notesSlide5.xml"/><Relationship Id="rId17" Type="http://schemas.openxmlformats.org/officeDocument/2006/relationships/image" Target="../media/image22.png"/><Relationship Id="rId25" Type="http://schemas.openxmlformats.org/officeDocument/2006/relationships/image" Target="../media/image13.png"/><Relationship Id="rId33" Type="http://schemas.openxmlformats.org/officeDocument/2006/relationships/image" Target="../media/image73.png"/><Relationship Id="rId38" Type="http://schemas.openxmlformats.org/officeDocument/2006/relationships/image" Target="../media/image78.svg"/><Relationship Id="rId20" Type="http://schemas.openxmlformats.org/officeDocument/2006/relationships/image" Target="../media/image25.svg"/><Relationship Id="rId41" Type="http://schemas.openxmlformats.org/officeDocument/2006/relationships/image" Target="../media/image81.png"/></Relationships>
</file>

<file path=ppt/slides/_rels/slide100.xml.rels><?xml version="1.0" encoding="UTF-8" standalone="yes"?>
<Relationships xmlns="http://schemas.openxmlformats.org/package/2006/relationships"><Relationship Id="rId8" Type="http://schemas.openxmlformats.org/officeDocument/2006/relationships/image" Target="../media/image511.png"/><Relationship Id="rId13" Type="http://schemas.openxmlformats.org/officeDocument/2006/relationships/image" Target="../media/image26.png"/><Relationship Id="rId3" Type="http://schemas.openxmlformats.org/officeDocument/2006/relationships/slideLayout" Target="../slideLayouts/slideLayout1.xml"/><Relationship Id="rId12" Type="http://schemas.openxmlformats.org/officeDocument/2006/relationships/image" Target="../media/image25.svg"/><Relationship Id="rId2" Type="http://schemas.openxmlformats.org/officeDocument/2006/relationships/tags" Target="../tags/tag248.xml"/><Relationship Id="rId16" Type="http://schemas.openxmlformats.org/officeDocument/2006/relationships/image" Target="../media/image395.png"/><Relationship Id="rId1" Type="http://schemas.openxmlformats.org/officeDocument/2006/relationships/tags" Target="../tags/tag247.xml"/><Relationship Id="rId6" Type="http://schemas.microsoft.com/office/2014/relationships/chartEx" Target="../charts/chartEx9.xml"/><Relationship Id="rId11" Type="http://schemas.openxmlformats.org/officeDocument/2006/relationships/image" Target="../media/image24.png"/><Relationship Id="rId5" Type="http://schemas.openxmlformats.org/officeDocument/2006/relationships/image" Target="../media/image5.emf"/><Relationship Id="rId15" Type="http://schemas.openxmlformats.org/officeDocument/2006/relationships/image" Target="../media/image11.jpeg"/><Relationship Id="rId10" Type="http://schemas.openxmlformats.org/officeDocument/2006/relationships/image" Target="../media/image23.svg"/><Relationship Id="rId4" Type="http://schemas.openxmlformats.org/officeDocument/2006/relationships/oleObject" Target="../embeddings/oleObject87.bin"/><Relationship Id="rId9" Type="http://schemas.openxmlformats.org/officeDocument/2006/relationships/image" Target="../media/image22.png"/><Relationship Id="rId14" Type="http://schemas.openxmlformats.org/officeDocument/2006/relationships/image" Target="../media/image27.svg"/></Relationships>
</file>

<file path=ppt/slides/_rels/slide101.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3" Type="http://schemas.openxmlformats.org/officeDocument/2006/relationships/slideLayout" Target="../slideLayouts/slideLayout1.xml"/><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chart" Target="../charts/chart58.xml"/><Relationship Id="rId11" Type="http://schemas.openxmlformats.org/officeDocument/2006/relationships/image" Target="../media/image26.png"/><Relationship Id="rId5" Type="http://schemas.openxmlformats.org/officeDocument/2006/relationships/image" Target="../media/image105.emf"/><Relationship Id="rId15" Type="http://schemas.openxmlformats.org/officeDocument/2006/relationships/chart" Target="../charts/chart59.xml"/><Relationship Id="rId10" Type="http://schemas.openxmlformats.org/officeDocument/2006/relationships/image" Target="../media/image25.svg"/><Relationship Id="rId4" Type="http://schemas.openxmlformats.org/officeDocument/2006/relationships/oleObject" Target="../embeddings/oleObject88.bin"/><Relationship Id="rId9" Type="http://schemas.openxmlformats.org/officeDocument/2006/relationships/image" Target="../media/image24.png"/><Relationship Id="rId14" Type="http://schemas.openxmlformats.org/officeDocument/2006/relationships/image" Target="../media/image395.png"/></Relationships>
</file>

<file path=ppt/slides/_rels/slide102.xml.rels><?xml version="1.0" encoding="UTF-8" standalone="yes"?>
<Relationships xmlns="http://schemas.openxmlformats.org/package/2006/relationships"><Relationship Id="rId8" Type="http://schemas.openxmlformats.org/officeDocument/2006/relationships/chart" Target="../charts/chart61.xml"/><Relationship Id="rId13" Type="http://schemas.openxmlformats.org/officeDocument/2006/relationships/image" Target="../media/image24.png"/><Relationship Id="rId18" Type="http://schemas.openxmlformats.org/officeDocument/2006/relationships/image" Target="../media/image395.png"/><Relationship Id="rId3" Type="http://schemas.openxmlformats.org/officeDocument/2006/relationships/slideLayout" Target="../slideLayouts/slideLayout1.xml"/><Relationship Id="rId7" Type="http://schemas.openxmlformats.org/officeDocument/2006/relationships/chart" Target="../charts/chart60.xml"/><Relationship Id="rId12" Type="http://schemas.openxmlformats.org/officeDocument/2006/relationships/image" Target="../media/image23.svg"/><Relationship Id="rId17" Type="http://schemas.openxmlformats.org/officeDocument/2006/relationships/image" Target="../media/image11.jpeg"/><Relationship Id="rId2" Type="http://schemas.openxmlformats.org/officeDocument/2006/relationships/tags" Target="../tags/tag252.xml"/><Relationship Id="rId16" Type="http://schemas.openxmlformats.org/officeDocument/2006/relationships/image" Target="../media/image27.svg"/><Relationship Id="rId1" Type="http://schemas.openxmlformats.org/officeDocument/2006/relationships/tags" Target="../tags/tag251.xml"/><Relationship Id="rId6" Type="http://schemas.openxmlformats.org/officeDocument/2006/relationships/image" Target="../media/image481.emf"/><Relationship Id="rId11" Type="http://schemas.openxmlformats.org/officeDocument/2006/relationships/image" Target="../media/image22.png"/><Relationship Id="rId5" Type="http://schemas.openxmlformats.org/officeDocument/2006/relationships/oleObject" Target="../embeddings/oleObject89.bin"/><Relationship Id="rId15" Type="http://schemas.openxmlformats.org/officeDocument/2006/relationships/image" Target="../media/image26.png"/><Relationship Id="rId10" Type="http://schemas.openxmlformats.org/officeDocument/2006/relationships/image" Target="../media/image128.svg"/><Relationship Id="rId4" Type="http://schemas.openxmlformats.org/officeDocument/2006/relationships/notesSlide" Target="../notesSlides/notesSlide48.xml"/><Relationship Id="rId9" Type="http://schemas.openxmlformats.org/officeDocument/2006/relationships/image" Target="../media/image127.png"/><Relationship Id="rId14" Type="http://schemas.openxmlformats.org/officeDocument/2006/relationships/image" Target="../media/image25.svg"/></Relationships>
</file>

<file path=ppt/slides/_rels/slide103.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95.png"/><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1.jpeg"/><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5.emf"/><Relationship Id="rId10" Type="http://schemas.openxmlformats.org/officeDocument/2006/relationships/image" Target="../media/image26.png"/><Relationship Id="rId4" Type="http://schemas.openxmlformats.org/officeDocument/2006/relationships/oleObject" Target="../embeddings/oleObject90.bin"/><Relationship Id="rId9" Type="http://schemas.openxmlformats.org/officeDocument/2006/relationships/image" Target="../media/image25.svg"/><Relationship Id="rId14" Type="http://schemas.openxmlformats.org/officeDocument/2006/relationships/image" Target="../media/image509.png"/></Relationships>
</file>

<file path=ppt/slides/_rels/slide104.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3" Type="http://schemas.openxmlformats.org/officeDocument/2006/relationships/slideLayout" Target="../slideLayouts/slideLayout1.xml"/><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chart" Target="../charts/chart62.xml"/><Relationship Id="rId11" Type="http://schemas.openxmlformats.org/officeDocument/2006/relationships/image" Target="../media/image26.png"/><Relationship Id="rId5" Type="http://schemas.openxmlformats.org/officeDocument/2006/relationships/image" Target="../media/image105.emf"/><Relationship Id="rId15" Type="http://schemas.openxmlformats.org/officeDocument/2006/relationships/chart" Target="../charts/chart63.xml"/><Relationship Id="rId10" Type="http://schemas.openxmlformats.org/officeDocument/2006/relationships/image" Target="../media/image25.svg"/><Relationship Id="rId4" Type="http://schemas.openxmlformats.org/officeDocument/2006/relationships/oleObject" Target="../embeddings/oleObject91.bin"/><Relationship Id="rId9" Type="http://schemas.openxmlformats.org/officeDocument/2006/relationships/image" Target="../media/image24.png"/><Relationship Id="rId14" Type="http://schemas.openxmlformats.org/officeDocument/2006/relationships/image" Target="../media/image395.png"/></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8" Type="http://schemas.openxmlformats.org/officeDocument/2006/relationships/image" Target="../media/image123.png"/><Relationship Id="rId13" Type="http://schemas.openxmlformats.org/officeDocument/2006/relationships/image" Target="../media/image23.svg"/><Relationship Id="rId18" Type="http://schemas.openxmlformats.org/officeDocument/2006/relationships/image" Target="../media/image11.jpeg"/><Relationship Id="rId26" Type="http://schemas.openxmlformats.org/officeDocument/2006/relationships/image" Target="../media/image368.png"/><Relationship Id="rId3" Type="http://schemas.openxmlformats.org/officeDocument/2006/relationships/tags" Target="../tags/tag259.xml"/><Relationship Id="rId21" Type="http://schemas.openxmlformats.org/officeDocument/2006/relationships/image" Target="../media/image14.png"/><Relationship Id="rId7" Type="http://schemas.openxmlformats.org/officeDocument/2006/relationships/image" Target="../media/image5.emf"/><Relationship Id="rId12" Type="http://schemas.openxmlformats.org/officeDocument/2006/relationships/image" Target="../media/image22.png"/><Relationship Id="rId17" Type="http://schemas.openxmlformats.org/officeDocument/2006/relationships/image" Target="../media/image27.svg"/><Relationship Id="rId25" Type="http://schemas.openxmlformats.org/officeDocument/2006/relationships/image" Target="../media/image367.png"/><Relationship Id="rId2" Type="http://schemas.openxmlformats.org/officeDocument/2006/relationships/tags" Target="../tags/tag258.xml"/><Relationship Id="rId16" Type="http://schemas.openxmlformats.org/officeDocument/2006/relationships/image" Target="../media/image26.png"/><Relationship Id="rId20" Type="http://schemas.openxmlformats.org/officeDocument/2006/relationships/image" Target="../media/image13.png"/><Relationship Id="rId1" Type="http://schemas.openxmlformats.org/officeDocument/2006/relationships/tags" Target="../tags/tag257.xml"/><Relationship Id="rId6" Type="http://schemas.openxmlformats.org/officeDocument/2006/relationships/oleObject" Target="../embeddings/oleObject92.bin"/><Relationship Id="rId11" Type="http://schemas.openxmlformats.org/officeDocument/2006/relationships/image" Target="../media/image514.png"/><Relationship Id="rId24" Type="http://schemas.openxmlformats.org/officeDocument/2006/relationships/image" Target="../media/image515.png"/><Relationship Id="rId5" Type="http://schemas.openxmlformats.org/officeDocument/2006/relationships/notesSlide" Target="../notesSlides/notesSlide49.xml"/><Relationship Id="rId15" Type="http://schemas.openxmlformats.org/officeDocument/2006/relationships/image" Target="../media/image25.svg"/><Relationship Id="rId23" Type="http://schemas.openxmlformats.org/officeDocument/2006/relationships/image" Target="../media/image396.png"/><Relationship Id="rId10" Type="http://schemas.openxmlformats.org/officeDocument/2006/relationships/image" Target="../media/image513.png"/><Relationship Id="rId19" Type="http://schemas.openxmlformats.org/officeDocument/2006/relationships/image" Target="../media/image12.jpeg"/><Relationship Id="rId4" Type="http://schemas.openxmlformats.org/officeDocument/2006/relationships/slideLayout" Target="../slideLayouts/slideLayout1.xml"/><Relationship Id="rId9" Type="http://schemas.openxmlformats.org/officeDocument/2006/relationships/image" Target="../media/image512.png"/><Relationship Id="rId14" Type="http://schemas.openxmlformats.org/officeDocument/2006/relationships/image" Target="../media/image24.png"/><Relationship Id="rId22" Type="http://schemas.openxmlformats.org/officeDocument/2006/relationships/image" Target="../media/image150.png"/><Relationship Id="rId27" Type="http://schemas.openxmlformats.org/officeDocument/2006/relationships/image" Target="../media/image369.png"/></Relationships>
</file>

<file path=ppt/slides/_rels/slide107.xml.rels><?xml version="1.0" encoding="UTF-8" standalone="yes"?>
<Relationships xmlns="http://schemas.openxmlformats.org/package/2006/relationships"><Relationship Id="rId8" Type="http://schemas.openxmlformats.org/officeDocument/2006/relationships/image" Target="../media/image12.jpeg"/><Relationship Id="rId13" Type="http://schemas.openxmlformats.org/officeDocument/2006/relationships/image" Target="../media/image24.png"/><Relationship Id="rId3" Type="http://schemas.openxmlformats.org/officeDocument/2006/relationships/slideLayout" Target="../slideLayouts/slideLayout1.xml"/><Relationship Id="rId7" Type="http://schemas.openxmlformats.org/officeDocument/2006/relationships/image" Target="../media/image13.png"/><Relationship Id="rId12" Type="http://schemas.openxmlformats.org/officeDocument/2006/relationships/image" Target="../media/image23.svg"/><Relationship Id="rId17" Type="http://schemas.openxmlformats.org/officeDocument/2006/relationships/image" Target="../media/image14.png"/><Relationship Id="rId2" Type="http://schemas.openxmlformats.org/officeDocument/2006/relationships/tags" Target="../tags/tag261.xml"/><Relationship Id="rId16" Type="http://schemas.openxmlformats.org/officeDocument/2006/relationships/image" Target="../media/image27.svg"/><Relationship Id="rId1" Type="http://schemas.openxmlformats.org/officeDocument/2006/relationships/tags" Target="../tags/tag260.xml"/><Relationship Id="rId6" Type="http://schemas.openxmlformats.org/officeDocument/2006/relationships/image" Target="../media/image105.emf"/><Relationship Id="rId11" Type="http://schemas.openxmlformats.org/officeDocument/2006/relationships/image" Target="../media/image22.png"/><Relationship Id="rId5" Type="http://schemas.openxmlformats.org/officeDocument/2006/relationships/oleObject" Target="../embeddings/oleObject93.bin"/><Relationship Id="rId15" Type="http://schemas.openxmlformats.org/officeDocument/2006/relationships/image" Target="../media/image26.png"/><Relationship Id="rId10" Type="http://schemas.openxmlformats.org/officeDocument/2006/relationships/image" Target="../media/image11.jpeg"/><Relationship Id="rId4" Type="http://schemas.openxmlformats.org/officeDocument/2006/relationships/notesSlide" Target="../notesSlides/notesSlide50.xml"/><Relationship Id="rId9" Type="http://schemas.openxmlformats.org/officeDocument/2006/relationships/image" Target="../media/image130.png"/><Relationship Id="rId14" Type="http://schemas.openxmlformats.org/officeDocument/2006/relationships/image" Target="../media/image25.svg"/></Relationships>
</file>

<file path=ppt/slides/_rels/slide108.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3" Type="http://schemas.openxmlformats.org/officeDocument/2006/relationships/oleObject" Target="../embeddings/oleObject94.bin"/><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slideLayout" Target="../slideLayouts/slideLayout1.xml"/><Relationship Id="rId1" Type="http://schemas.openxmlformats.org/officeDocument/2006/relationships/tags" Target="../tags/tag262.xml"/><Relationship Id="rId6" Type="http://schemas.openxmlformats.org/officeDocument/2006/relationships/chart" Target="../charts/chart65.xml"/><Relationship Id="rId11" Type="http://schemas.openxmlformats.org/officeDocument/2006/relationships/image" Target="../media/image26.png"/><Relationship Id="rId5" Type="http://schemas.openxmlformats.org/officeDocument/2006/relationships/chart" Target="../charts/chart64.xml"/><Relationship Id="rId10" Type="http://schemas.openxmlformats.org/officeDocument/2006/relationships/image" Target="../media/image25.svg"/><Relationship Id="rId4" Type="http://schemas.openxmlformats.org/officeDocument/2006/relationships/image" Target="../media/image105.emf"/><Relationship Id="rId9" Type="http://schemas.openxmlformats.org/officeDocument/2006/relationships/image" Target="../media/image24.png"/></Relationships>
</file>

<file path=ppt/slides/_rels/slide109.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2.jpeg"/><Relationship Id="rId3" Type="http://schemas.openxmlformats.org/officeDocument/2006/relationships/oleObject" Target="../embeddings/oleObject95.bin"/><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slideLayout" Target="../slideLayouts/slideLayout1.xml"/><Relationship Id="rId1" Type="http://schemas.openxmlformats.org/officeDocument/2006/relationships/tags" Target="../tags/tag263.xml"/><Relationship Id="rId6" Type="http://schemas.openxmlformats.org/officeDocument/2006/relationships/chart" Target="../charts/chart67.xml"/><Relationship Id="rId11" Type="http://schemas.openxmlformats.org/officeDocument/2006/relationships/image" Target="../media/image26.png"/><Relationship Id="rId5" Type="http://schemas.openxmlformats.org/officeDocument/2006/relationships/chart" Target="../charts/chart66.xml"/><Relationship Id="rId15" Type="http://schemas.openxmlformats.org/officeDocument/2006/relationships/image" Target="../media/image14.png"/><Relationship Id="rId10" Type="http://schemas.openxmlformats.org/officeDocument/2006/relationships/image" Target="../media/image25.svg"/><Relationship Id="rId4" Type="http://schemas.openxmlformats.org/officeDocument/2006/relationships/image" Target="../media/image105.emf"/><Relationship Id="rId9" Type="http://schemas.openxmlformats.org/officeDocument/2006/relationships/image" Target="../media/image24.png"/><Relationship Id="rId14" Type="http://schemas.openxmlformats.org/officeDocument/2006/relationships/image" Target="../media/image13.png"/></Relationships>
</file>

<file path=ppt/slides/_rels/slide11.xml.rels><?xml version="1.0" encoding="UTF-8" standalone="yes"?>
<Relationships xmlns="http://schemas.openxmlformats.org/package/2006/relationships"><Relationship Id="rId13" Type="http://schemas.openxmlformats.org/officeDocument/2006/relationships/image" Target="../media/image85.png"/><Relationship Id="rId18" Type="http://schemas.openxmlformats.org/officeDocument/2006/relationships/image" Target="../media/image88.png"/><Relationship Id="rId26" Type="http://schemas.openxmlformats.org/officeDocument/2006/relationships/image" Target="../media/image94.png"/><Relationship Id="rId39" Type="http://schemas.openxmlformats.org/officeDocument/2006/relationships/image" Target="../media/image58.svg"/><Relationship Id="rId21" Type="http://schemas.openxmlformats.org/officeDocument/2006/relationships/image" Target="../media/image90.png"/><Relationship Id="rId34" Type="http://schemas.openxmlformats.org/officeDocument/2006/relationships/image" Target="../media/image101.png"/><Relationship Id="rId42" Type="http://schemas.openxmlformats.org/officeDocument/2006/relationships/image" Target="../media/image24.png"/><Relationship Id="rId47" Type="http://schemas.openxmlformats.org/officeDocument/2006/relationships/image" Target="../media/image12.jpeg"/><Relationship Id="rId7" Type="http://schemas.openxmlformats.org/officeDocument/2006/relationships/slideLayout" Target="../slideLayouts/slideLayout1.xml"/><Relationship Id="rId2" Type="http://schemas.openxmlformats.org/officeDocument/2006/relationships/tags" Target="../tags/tag54.xml"/><Relationship Id="rId16" Type="http://schemas.openxmlformats.org/officeDocument/2006/relationships/image" Target="../media/image49.png"/><Relationship Id="rId29" Type="http://schemas.openxmlformats.org/officeDocument/2006/relationships/image" Target="../media/image96.png"/><Relationship Id="rId11" Type="http://schemas.openxmlformats.org/officeDocument/2006/relationships/image" Target="../media/image59.png"/><Relationship Id="rId24" Type="http://schemas.openxmlformats.org/officeDocument/2006/relationships/image" Target="../media/image92.png"/><Relationship Id="rId32" Type="http://schemas.openxmlformats.org/officeDocument/2006/relationships/image" Target="../media/image99.jpeg"/><Relationship Id="rId37" Type="http://schemas.openxmlformats.org/officeDocument/2006/relationships/image" Target="../media/image104.png"/><Relationship Id="rId40" Type="http://schemas.openxmlformats.org/officeDocument/2006/relationships/image" Target="../media/image22.png"/><Relationship Id="rId45" Type="http://schemas.openxmlformats.org/officeDocument/2006/relationships/image" Target="../media/image27.svg"/><Relationship Id="rId5" Type="http://schemas.openxmlformats.org/officeDocument/2006/relationships/tags" Target="../tags/tag57.xml"/><Relationship Id="rId15" Type="http://schemas.openxmlformats.org/officeDocument/2006/relationships/image" Target="../media/image86.png"/><Relationship Id="rId23" Type="http://schemas.openxmlformats.org/officeDocument/2006/relationships/image" Target="../media/image91.png"/><Relationship Id="rId28" Type="http://schemas.openxmlformats.org/officeDocument/2006/relationships/image" Target="../media/image56.png"/><Relationship Id="rId36" Type="http://schemas.openxmlformats.org/officeDocument/2006/relationships/image" Target="../media/image103.svg"/><Relationship Id="rId49" Type="http://schemas.openxmlformats.org/officeDocument/2006/relationships/image" Target="../media/image14.png"/><Relationship Id="rId10" Type="http://schemas.openxmlformats.org/officeDocument/2006/relationships/chart" Target="../charts/chart9.xml"/><Relationship Id="rId19" Type="http://schemas.openxmlformats.org/officeDocument/2006/relationships/image" Target="../media/image42.png"/><Relationship Id="rId31" Type="http://schemas.openxmlformats.org/officeDocument/2006/relationships/image" Target="../media/image98.jpeg"/><Relationship Id="rId44" Type="http://schemas.openxmlformats.org/officeDocument/2006/relationships/image" Target="../media/image26.png"/><Relationship Id="rId4" Type="http://schemas.openxmlformats.org/officeDocument/2006/relationships/tags" Target="../tags/tag56.xml"/><Relationship Id="rId9" Type="http://schemas.openxmlformats.org/officeDocument/2006/relationships/image" Target="../media/image1.emf"/><Relationship Id="rId14" Type="http://schemas.openxmlformats.org/officeDocument/2006/relationships/image" Target="../media/image47.png"/><Relationship Id="rId22" Type="http://schemas.openxmlformats.org/officeDocument/2006/relationships/image" Target="../media/image46.png"/><Relationship Id="rId27" Type="http://schemas.openxmlformats.org/officeDocument/2006/relationships/image" Target="../media/image95.png"/><Relationship Id="rId30" Type="http://schemas.openxmlformats.org/officeDocument/2006/relationships/image" Target="../media/image97.png"/><Relationship Id="rId35" Type="http://schemas.openxmlformats.org/officeDocument/2006/relationships/image" Target="../media/image102.png"/><Relationship Id="rId43" Type="http://schemas.openxmlformats.org/officeDocument/2006/relationships/image" Target="../media/image25.svg"/><Relationship Id="rId48" Type="http://schemas.openxmlformats.org/officeDocument/2006/relationships/image" Target="../media/image13.png"/><Relationship Id="rId8" Type="http://schemas.openxmlformats.org/officeDocument/2006/relationships/oleObject" Target="../embeddings/oleObject11.bin"/><Relationship Id="rId3" Type="http://schemas.openxmlformats.org/officeDocument/2006/relationships/tags" Target="../tags/tag55.xml"/><Relationship Id="rId12" Type="http://schemas.openxmlformats.org/officeDocument/2006/relationships/image" Target="../media/image50.png"/><Relationship Id="rId17" Type="http://schemas.openxmlformats.org/officeDocument/2006/relationships/image" Target="../media/image87.jpeg"/><Relationship Id="rId25" Type="http://schemas.openxmlformats.org/officeDocument/2006/relationships/image" Target="../media/image93.png"/><Relationship Id="rId33" Type="http://schemas.openxmlformats.org/officeDocument/2006/relationships/image" Target="../media/image100.png"/><Relationship Id="rId38" Type="http://schemas.openxmlformats.org/officeDocument/2006/relationships/image" Target="../media/image57.png"/><Relationship Id="rId46" Type="http://schemas.openxmlformats.org/officeDocument/2006/relationships/image" Target="../media/image11.jpeg"/><Relationship Id="rId20" Type="http://schemas.openxmlformats.org/officeDocument/2006/relationships/image" Target="../media/image89.png"/><Relationship Id="rId41" Type="http://schemas.openxmlformats.org/officeDocument/2006/relationships/image" Target="../media/image23.svg"/><Relationship Id="rId1" Type="http://schemas.openxmlformats.org/officeDocument/2006/relationships/tags" Target="../tags/tag53.xml"/><Relationship Id="rId6" Type="http://schemas.openxmlformats.org/officeDocument/2006/relationships/tags" Target="../tags/tag58.xml"/></Relationships>
</file>

<file path=ppt/slides/_rels/slide110.xml.rels><?xml version="1.0" encoding="UTF-8" standalone="yes"?>
<Relationships xmlns="http://schemas.openxmlformats.org/package/2006/relationships"><Relationship Id="rId8" Type="http://schemas.openxmlformats.org/officeDocument/2006/relationships/chart" Target="../charts/chart69.xml"/><Relationship Id="rId13" Type="http://schemas.openxmlformats.org/officeDocument/2006/relationships/image" Target="../media/image26.png"/><Relationship Id="rId18" Type="http://schemas.openxmlformats.org/officeDocument/2006/relationships/image" Target="../media/image14.png"/><Relationship Id="rId3" Type="http://schemas.openxmlformats.org/officeDocument/2006/relationships/slideLayout" Target="../slideLayouts/slideLayout1.xml"/><Relationship Id="rId7" Type="http://schemas.openxmlformats.org/officeDocument/2006/relationships/chart" Target="../charts/chart68.xml"/><Relationship Id="rId12" Type="http://schemas.openxmlformats.org/officeDocument/2006/relationships/image" Target="../media/image25.svg"/><Relationship Id="rId17" Type="http://schemas.openxmlformats.org/officeDocument/2006/relationships/image" Target="../media/image13.png"/><Relationship Id="rId2" Type="http://schemas.openxmlformats.org/officeDocument/2006/relationships/tags" Target="../tags/tag265.xml"/><Relationship Id="rId16" Type="http://schemas.openxmlformats.org/officeDocument/2006/relationships/image" Target="../media/image12.jpeg"/><Relationship Id="rId1" Type="http://schemas.openxmlformats.org/officeDocument/2006/relationships/tags" Target="../tags/tag264.xml"/><Relationship Id="rId6" Type="http://schemas.openxmlformats.org/officeDocument/2006/relationships/image" Target="../media/image105.emf"/><Relationship Id="rId11" Type="http://schemas.openxmlformats.org/officeDocument/2006/relationships/image" Target="../media/image24.png"/><Relationship Id="rId5" Type="http://schemas.openxmlformats.org/officeDocument/2006/relationships/oleObject" Target="../embeddings/oleObject96.bin"/><Relationship Id="rId15" Type="http://schemas.openxmlformats.org/officeDocument/2006/relationships/image" Target="../media/image11.jpeg"/><Relationship Id="rId10" Type="http://schemas.openxmlformats.org/officeDocument/2006/relationships/image" Target="../media/image23.svg"/><Relationship Id="rId4" Type="http://schemas.openxmlformats.org/officeDocument/2006/relationships/notesSlide" Target="../notesSlides/notesSlide51.xml"/><Relationship Id="rId9" Type="http://schemas.openxmlformats.org/officeDocument/2006/relationships/image" Target="../media/image22.png"/><Relationship Id="rId14" Type="http://schemas.openxmlformats.org/officeDocument/2006/relationships/image" Target="../media/image27.svg"/></Relationships>
</file>

<file path=ppt/slides/_rels/slide111.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chart" Target="../charts/chart72.xml"/><Relationship Id="rId18" Type="http://schemas.openxmlformats.org/officeDocument/2006/relationships/image" Target="../media/image26.png"/><Relationship Id="rId3" Type="http://schemas.openxmlformats.org/officeDocument/2006/relationships/slideLayout" Target="../slideLayouts/slideLayout1.xml"/><Relationship Id="rId7" Type="http://schemas.openxmlformats.org/officeDocument/2006/relationships/image" Target="../media/image11.jpeg"/><Relationship Id="rId12" Type="http://schemas.openxmlformats.org/officeDocument/2006/relationships/chart" Target="../charts/chart71.xml"/><Relationship Id="rId17" Type="http://schemas.openxmlformats.org/officeDocument/2006/relationships/image" Target="../media/image25.svg"/><Relationship Id="rId2" Type="http://schemas.openxmlformats.org/officeDocument/2006/relationships/tags" Target="../tags/tag267.xml"/><Relationship Id="rId16" Type="http://schemas.openxmlformats.org/officeDocument/2006/relationships/image" Target="../media/image24.png"/><Relationship Id="rId20" Type="http://schemas.openxmlformats.org/officeDocument/2006/relationships/image" Target="../media/image14.png"/><Relationship Id="rId1" Type="http://schemas.openxmlformats.org/officeDocument/2006/relationships/tags" Target="../tags/tag266.xml"/><Relationship Id="rId6" Type="http://schemas.openxmlformats.org/officeDocument/2006/relationships/image" Target="../media/image105.emf"/><Relationship Id="rId11" Type="http://schemas.openxmlformats.org/officeDocument/2006/relationships/chart" Target="../charts/chart70.xml"/><Relationship Id="rId5" Type="http://schemas.openxmlformats.org/officeDocument/2006/relationships/oleObject" Target="../embeddings/oleObject97.bin"/><Relationship Id="rId15" Type="http://schemas.openxmlformats.org/officeDocument/2006/relationships/image" Target="../media/image23.svg"/><Relationship Id="rId10" Type="http://schemas.openxmlformats.org/officeDocument/2006/relationships/image" Target="../media/image130.png"/><Relationship Id="rId19" Type="http://schemas.openxmlformats.org/officeDocument/2006/relationships/image" Target="../media/image27.svg"/><Relationship Id="rId4" Type="http://schemas.openxmlformats.org/officeDocument/2006/relationships/notesSlide" Target="../notesSlides/notesSlide52.xml"/><Relationship Id="rId9" Type="http://schemas.openxmlformats.org/officeDocument/2006/relationships/image" Target="../media/image12.jpeg"/><Relationship Id="rId14" Type="http://schemas.openxmlformats.org/officeDocument/2006/relationships/image" Target="../media/image22.png"/></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8" Type="http://schemas.openxmlformats.org/officeDocument/2006/relationships/image" Target="../media/image335.png"/><Relationship Id="rId13" Type="http://schemas.openxmlformats.org/officeDocument/2006/relationships/image" Target="../media/image25.svg"/><Relationship Id="rId3" Type="http://schemas.openxmlformats.org/officeDocument/2006/relationships/image" Target="../media/image11.jpeg"/><Relationship Id="rId7" Type="http://schemas.openxmlformats.org/officeDocument/2006/relationships/image" Target="../media/image123.png"/><Relationship Id="rId12" Type="http://schemas.openxmlformats.org/officeDocument/2006/relationships/image" Target="../media/image24.png"/><Relationship Id="rId2" Type="http://schemas.openxmlformats.org/officeDocument/2006/relationships/notesSlide" Target="../notesSlides/notesSlide53.xml"/><Relationship Id="rId16" Type="http://schemas.openxmlformats.org/officeDocument/2006/relationships/image" Target="../media/image14.png"/><Relationship Id="rId1" Type="http://schemas.openxmlformats.org/officeDocument/2006/relationships/slideLayout" Target="../slideLayouts/slideLayout1.xml"/><Relationship Id="rId6" Type="http://schemas.openxmlformats.org/officeDocument/2006/relationships/image" Target="../media/image130.png"/><Relationship Id="rId11" Type="http://schemas.openxmlformats.org/officeDocument/2006/relationships/image" Target="../media/image23.svg"/><Relationship Id="rId5" Type="http://schemas.openxmlformats.org/officeDocument/2006/relationships/image" Target="../media/image12.jpeg"/><Relationship Id="rId15" Type="http://schemas.openxmlformats.org/officeDocument/2006/relationships/image" Target="../media/image27.svg"/><Relationship Id="rId10" Type="http://schemas.openxmlformats.org/officeDocument/2006/relationships/image" Target="../media/image22.png"/><Relationship Id="rId4" Type="http://schemas.openxmlformats.org/officeDocument/2006/relationships/image" Target="../media/image13.png"/><Relationship Id="rId9" Type="http://schemas.openxmlformats.org/officeDocument/2006/relationships/image" Target="../media/image516.svg"/><Relationship Id="rId14" Type="http://schemas.openxmlformats.org/officeDocument/2006/relationships/image" Target="../media/image26.png"/></Relationships>
</file>

<file path=ppt/slides/_rels/slide114.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2.jpeg"/><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1.jpeg"/><Relationship Id="rId2" Type="http://schemas.openxmlformats.org/officeDocument/2006/relationships/tags" Target="../tags/tag269.xml"/><Relationship Id="rId1" Type="http://schemas.openxmlformats.org/officeDocument/2006/relationships/tags" Target="../tags/tag268.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5.emf"/><Relationship Id="rId15" Type="http://schemas.openxmlformats.org/officeDocument/2006/relationships/image" Target="../media/image14.png"/><Relationship Id="rId10" Type="http://schemas.openxmlformats.org/officeDocument/2006/relationships/image" Target="../media/image26.png"/><Relationship Id="rId4" Type="http://schemas.openxmlformats.org/officeDocument/2006/relationships/oleObject" Target="../embeddings/oleObject98.bin"/><Relationship Id="rId9" Type="http://schemas.openxmlformats.org/officeDocument/2006/relationships/image" Target="../media/image25.svg"/><Relationship Id="rId14" Type="http://schemas.openxmlformats.org/officeDocument/2006/relationships/image" Target="../media/image13.png"/></Relationships>
</file>

<file path=ppt/slides/_rels/slide115.xml.rels><?xml version="1.0" encoding="UTF-8" standalone="yes"?>
<Relationships xmlns="http://schemas.openxmlformats.org/package/2006/relationships"><Relationship Id="rId8" Type="http://schemas.openxmlformats.org/officeDocument/2006/relationships/chart" Target="../charts/chart73.xml"/><Relationship Id="rId13" Type="http://schemas.openxmlformats.org/officeDocument/2006/relationships/image" Target="../media/image26.png"/><Relationship Id="rId18" Type="http://schemas.openxmlformats.org/officeDocument/2006/relationships/image" Target="../media/image14.png"/><Relationship Id="rId3" Type="http://schemas.openxmlformats.org/officeDocument/2006/relationships/slideLayout" Target="../slideLayouts/slideLayout1.xml"/><Relationship Id="rId7" Type="http://schemas.openxmlformats.org/officeDocument/2006/relationships/image" Target="../media/image517.jpeg"/><Relationship Id="rId12" Type="http://schemas.openxmlformats.org/officeDocument/2006/relationships/image" Target="../media/image25.svg"/><Relationship Id="rId17" Type="http://schemas.openxmlformats.org/officeDocument/2006/relationships/image" Target="../media/image13.png"/><Relationship Id="rId2" Type="http://schemas.openxmlformats.org/officeDocument/2006/relationships/tags" Target="../tags/tag271.xml"/><Relationship Id="rId16" Type="http://schemas.openxmlformats.org/officeDocument/2006/relationships/image" Target="../media/image12.jpeg"/><Relationship Id="rId1" Type="http://schemas.openxmlformats.org/officeDocument/2006/relationships/tags" Target="../tags/tag270.xml"/><Relationship Id="rId6" Type="http://schemas.openxmlformats.org/officeDocument/2006/relationships/image" Target="../media/image5.emf"/><Relationship Id="rId11" Type="http://schemas.openxmlformats.org/officeDocument/2006/relationships/image" Target="../media/image24.png"/><Relationship Id="rId5" Type="http://schemas.openxmlformats.org/officeDocument/2006/relationships/oleObject" Target="../embeddings/oleObject99.bin"/><Relationship Id="rId15" Type="http://schemas.openxmlformats.org/officeDocument/2006/relationships/image" Target="../media/image11.jpeg"/><Relationship Id="rId10" Type="http://schemas.openxmlformats.org/officeDocument/2006/relationships/image" Target="../media/image23.svg"/><Relationship Id="rId4" Type="http://schemas.openxmlformats.org/officeDocument/2006/relationships/notesSlide" Target="../notesSlides/notesSlide54.xml"/><Relationship Id="rId9" Type="http://schemas.openxmlformats.org/officeDocument/2006/relationships/image" Target="../media/image22.png"/><Relationship Id="rId14" Type="http://schemas.openxmlformats.org/officeDocument/2006/relationships/image" Target="../media/image27.svg"/></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18" Type="http://schemas.openxmlformats.org/officeDocument/2006/relationships/image" Target="../media/image520.png"/><Relationship Id="rId3" Type="http://schemas.openxmlformats.org/officeDocument/2006/relationships/notesSlide" Target="../notesSlides/notesSlide55.xml"/><Relationship Id="rId7" Type="http://schemas.openxmlformats.org/officeDocument/2006/relationships/image" Target="../media/image519.png"/><Relationship Id="rId12" Type="http://schemas.openxmlformats.org/officeDocument/2006/relationships/image" Target="../media/image26.png"/><Relationship Id="rId17" Type="http://schemas.openxmlformats.org/officeDocument/2006/relationships/image" Target="../media/image14.png"/><Relationship Id="rId2" Type="http://schemas.openxmlformats.org/officeDocument/2006/relationships/slideLayout" Target="../slideLayouts/slideLayout1.xml"/><Relationship Id="rId16" Type="http://schemas.openxmlformats.org/officeDocument/2006/relationships/image" Target="../media/image13.png"/><Relationship Id="rId1" Type="http://schemas.openxmlformats.org/officeDocument/2006/relationships/tags" Target="../tags/tag272.xml"/><Relationship Id="rId6" Type="http://schemas.openxmlformats.org/officeDocument/2006/relationships/image" Target="../media/image518.png"/><Relationship Id="rId11" Type="http://schemas.openxmlformats.org/officeDocument/2006/relationships/image" Target="../media/image25.svg"/><Relationship Id="rId5" Type="http://schemas.openxmlformats.org/officeDocument/2006/relationships/image" Target="../media/image131.emf"/><Relationship Id="rId15" Type="http://schemas.openxmlformats.org/officeDocument/2006/relationships/image" Target="../media/image12.jpeg"/><Relationship Id="rId10" Type="http://schemas.openxmlformats.org/officeDocument/2006/relationships/image" Target="../media/image24.png"/><Relationship Id="rId4" Type="http://schemas.openxmlformats.org/officeDocument/2006/relationships/oleObject" Target="../embeddings/oleObject100.bin"/><Relationship Id="rId9" Type="http://schemas.openxmlformats.org/officeDocument/2006/relationships/image" Target="../media/image23.svg"/><Relationship Id="rId14" Type="http://schemas.openxmlformats.org/officeDocument/2006/relationships/image" Target="../media/image11.jpeg"/></Relationships>
</file>

<file path=ppt/slides/_rels/slide118.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13.png"/><Relationship Id="rId3" Type="http://schemas.openxmlformats.org/officeDocument/2006/relationships/oleObject" Target="../embeddings/oleObject101.bin"/><Relationship Id="rId7" Type="http://schemas.openxmlformats.org/officeDocument/2006/relationships/image" Target="../media/image24.png"/><Relationship Id="rId12" Type="http://schemas.openxmlformats.org/officeDocument/2006/relationships/image" Target="../media/image12.jpeg"/><Relationship Id="rId17" Type="http://schemas.openxmlformats.org/officeDocument/2006/relationships/image" Target="../media/image523.png"/><Relationship Id="rId2" Type="http://schemas.openxmlformats.org/officeDocument/2006/relationships/slideLayout" Target="../slideLayouts/slideLayout1.xml"/><Relationship Id="rId16" Type="http://schemas.openxmlformats.org/officeDocument/2006/relationships/image" Target="../media/image522.jpeg"/><Relationship Id="rId1" Type="http://schemas.openxmlformats.org/officeDocument/2006/relationships/tags" Target="../tags/tag273.xml"/><Relationship Id="rId6" Type="http://schemas.openxmlformats.org/officeDocument/2006/relationships/image" Target="../media/image23.svg"/><Relationship Id="rId11" Type="http://schemas.openxmlformats.org/officeDocument/2006/relationships/image" Target="../media/image11.jpeg"/><Relationship Id="rId5" Type="http://schemas.openxmlformats.org/officeDocument/2006/relationships/image" Target="../media/image22.png"/><Relationship Id="rId15" Type="http://schemas.openxmlformats.org/officeDocument/2006/relationships/image" Target="../media/image521.png"/><Relationship Id="rId10" Type="http://schemas.openxmlformats.org/officeDocument/2006/relationships/image" Target="../media/image27.svg"/><Relationship Id="rId4" Type="http://schemas.openxmlformats.org/officeDocument/2006/relationships/image" Target="../media/image105.emf"/><Relationship Id="rId9" Type="http://schemas.openxmlformats.org/officeDocument/2006/relationships/image" Target="../media/image26.png"/><Relationship Id="rId14" Type="http://schemas.openxmlformats.org/officeDocument/2006/relationships/image" Target="../media/image14.png"/></Relationships>
</file>

<file path=ppt/slides/_rels/slide119.xml.rels><?xml version="1.0" encoding="UTF-8" standalone="yes"?>
<Relationships xmlns="http://schemas.openxmlformats.org/package/2006/relationships"><Relationship Id="rId8" Type="http://schemas.openxmlformats.org/officeDocument/2006/relationships/image" Target="../media/image195.png"/><Relationship Id="rId13" Type="http://schemas.openxmlformats.org/officeDocument/2006/relationships/image" Target="../media/image25.svg"/><Relationship Id="rId18" Type="http://schemas.openxmlformats.org/officeDocument/2006/relationships/image" Target="../media/image13.png"/><Relationship Id="rId3" Type="http://schemas.openxmlformats.org/officeDocument/2006/relationships/slideLayout" Target="../slideLayouts/slideLayout1.xml"/><Relationship Id="rId7" Type="http://schemas.openxmlformats.org/officeDocument/2006/relationships/image" Target="../media/image392.png"/><Relationship Id="rId12" Type="http://schemas.openxmlformats.org/officeDocument/2006/relationships/image" Target="../media/image24.png"/><Relationship Id="rId17" Type="http://schemas.openxmlformats.org/officeDocument/2006/relationships/image" Target="../media/image12.jpeg"/><Relationship Id="rId2" Type="http://schemas.openxmlformats.org/officeDocument/2006/relationships/tags" Target="../tags/tag275.xml"/><Relationship Id="rId16" Type="http://schemas.openxmlformats.org/officeDocument/2006/relationships/image" Target="../media/image11.jpeg"/><Relationship Id="rId1" Type="http://schemas.openxmlformats.org/officeDocument/2006/relationships/tags" Target="../tags/tag274.xml"/><Relationship Id="rId6" Type="http://schemas.openxmlformats.org/officeDocument/2006/relationships/image" Target="../media/image524.png"/><Relationship Id="rId11" Type="http://schemas.openxmlformats.org/officeDocument/2006/relationships/image" Target="../media/image23.svg"/><Relationship Id="rId5" Type="http://schemas.openxmlformats.org/officeDocument/2006/relationships/image" Target="../media/image105.emf"/><Relationship Id="rId15" Type="http://schemas.openxmlformats.org/officeDocument/2006/relationships/image" Target="../media/image27.svg"/><Relationship Id="rId10" Type="http://schemas.openxmlformats.org/officeDocument/2006/relationships/image" Target="../media/image22.png"/><Relationship Id="rId19" Type="http://schemas.openxmlformats.org/officeDocument/2006/relationships/image" Target="../media/image14.png"/><Relationship Id="rId4" Type="http://schemas.openxmlformats.org/officeDocument/2006/relationships/oleObject" Target="../embeddings/oleObject102.bin"/><Relationship Id="rId9" Type="http://schemas.openxmlformats.org/officeDocument/2006/relationships/image" Target="../media/image525.png"/><Relationship Id="rId14" Type="http://schemas.openxmlformats.org/officeDocument/2006/relationships/image" Target="../media/image26.png"/></Relationships>
</file>

<file path=ppt/slides/_rels/slide12.xml.rels><?xml version="1.0" encoding="UTF-8" standalone="yes"?>
<Relationships xmlns="http://schemas.openxmlformats.org/package/2006/relationships"><Relationship Id="rId13" Type="http://schemas.openxmlformats.org/officeDocument/2006/relationships/image" Target="../media/image112.png"/><Relationship Id="rId18" Type="http://schemas.openxmlformats.org/officeDocument/2006/relationships/image" Target="../media/image25.svg"/><Relationship Id="rId26" Type="http://schemas.openxmlformats.org/officeDocument/2006/relationships/image" Target="../media/image115.svg"/><Relationship Id="rId39" Type="http://schemas.openxmlformats.org/officeDocument/2006/relationships/image" Target="../media/image125.png"/><Relationship Id="rId21" Type="http://schemas.openxmlformats.org/officeDocument/2006/relationships/image" Target="../media/image11.jpeg"/><Relationship Id="rId34" Type="http://schemas.openxmlformats.org/officeDocument/2006/relationships/image" Target="../media/image123.png"/><Relationship Id="rId7" Type="http://schemas.openxmlformats.org/officeDocument/2006/relationships/image" Target="../media/image106.png"/><Relationship Id="rId12" Type="http://schemas.openxmlformats.org/officeDocument/2006/relationships/image" Target="../media/image111.png"/><Relationship Id="rId17" Type="http://schemas.openxmlformats.org/officeDocument/2006/relationships/image" Target="../media/image24.png"/><Relationship Id="rId25" Type="http://schemas.openxmlformats.org/officeDocument/2006/relationships/image" Target="../media/image114.png"/><Relationship Id="rId33" Type="http://schemas.openxmlformats.org/officeDocument/2006/relationships/image" Target="../media/image122.jpeg"/><Relationship Id="rId38" Type="http://schemas.openxmlformats.org/officeDocument/2006/relationships/image" Target="../media/image76.png"/><Relationship Id="rId2" Type="http://schemas.openxmlformats.org/officeDocument/2006/relationships/tags" Target="../tags/tag60.xml"/><Relationship Id="rId16" Type="http://schemas.openxmlformats.org/officeDocument/2006/relationships/image" Target="../media/image23.svg"/><Relationship Id="rId20" Type="http://schemas.openxmlformats.org/officeDocument/2006/relationships/image" Target="../media/image27.svg"/><Relationship Id="rId29" Type="http://schemas.openxmlformats.org/officeDocument/2006/relationships/image" Target="../media/image118.png"/><Relationship Id="rId1" Type="http://schemas.openxmlformats.org/officeDocument/2006/relationships/tags" Target="../tags/tag59.xml"/><Relationship Id="rId6" Type="http://schemas.openxmlformats.org/officeDocument/2006/relationships/image" Target="../media/image105.emf"/><Relationship Id="rId11" Type="http://schemas.openxmlformats.org/officeDocument/2006/relationships/image" Target="../media/image110.png"/><Relationship Id="rId24" Type="http://schemas.openxmlformats.org/officeDocument/2006/relationships/image" Target="../media/image14.png"/><Relationship Id="rId32" Type="http://schemas.openxmlformats.org/officeDocument/2006/relationships/image" Target="../media/image121.png"/><Relationship Id="rId37" Type="http://schemas.openxmlformats.org/officeDocument/2006/relationships/image" Target="../media/image75.png"/><Relationship Id="rId5" Type="http://schemas.openxmlformats.org/officeDocument/2006/relationships/oleObject" Target="../embeddings/oleObject12.bin"/><Relationship Id="rId15" Type="http://schemas.openxmlformats.org/officeDocument/2006/relationships/image" Target="../media/image22.png"/><Relationship Id="rId23" Type="http://schemas.openxmlformats.org/officeDocument/2006/relationships/image" Target="../media/image13.png"/><Relationship Id="rId28" Type="http://schemas.openxmlformats.org/officeDocument/2006/relationships/image" Target="../media/image117.svg"/><Relationship Id="rId36" Type="http://schemas.openxmlformats.org/officeDocument/2006/relationships/image" Target="../media/image74.png"/><Relationship Id="rId10" Type="http://schemas.openxmlformats.org/officeDocument/2006/relationships/image" Target="../media/image109.png"/><Relationship Id="rId19" Type="http://schemas.openxmlformats.org/officeDocument/2006/relationships/image" Target="../media/image26.png"/><Relationship Id="rId31" Type="http://schemas.openxmlformats.org/officeDocument/2006/relationships/image" Target="../media/image120.png"/><Relationship Id="rId4" Type="http://schemas.openxmlformats.org/officeDocument/2006/relationships/notesSlide" Target="../notesSlides/notesSlide6.xml"/><Relationship Id="rId9" Type="http://schemas.openxmlformats.org/officeDocument/2006/relationships/image" Target="../media/image108.png"/><Relationship Id="rId14" Type="http://schemas.openxmlformats.org/officeDocument/2006/relationships/image" Target="../media/image113.jpeg"/><Relationship Id="rId22" Type="http://schemas.openxmlformats.org/officeDocument/2006/relationships/image" Target="../media/image12.jpeg"/><Relationship Id="rId27" Type="http://schemas.openxmlformats.org/officeDocument/2006/relationships/image" Target="../media/image116.png"/><Relationship Id="rId30" Type="http://schemas.openxmlformats.org/officeDocument/2006/relationships/image" Target="../media/image119.svg"/><Relationship Id="rId35" Type="http://schemas.openxmlformats.org/officeDocument/2006/relationships/image" Target="../media/image124.jpeg"/><Relationship Id="rId8" Type="http://schemas.openxmlformats.org/officeDocument/2006/relationships/image" Target="../media/image107.jpeg"/><Relationship Id="rId3" Type="http://schemas.openxmlformats.org/officeDocument/2006/relationships/slideLayout" Target="../slideLayouts/slideLayout1.xml"/></Relationships>
</file>

<file path=ppt/slides/_rels/slide12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18" Type="http://schemas.openxmlformats.org/officeDocument/2006/relationships/image" Target="../media/image528.png"/><Relationship Id="rId3" Type="http://schemas.openxmlformats.org/officeDocument/2006/relationships/slideLayout" Target="../slideLayouts/slideLayout1.xml"/><Relationship Id="rId7" Type="http://schemas.openxmlformats.org/officeDocument/2006/relationships/image" Target="../media/image527.svg"/><Relationship Id="rId12" Type="http://schemas.openxmlformats.org/officeDocument/2006/relationships/image" Target="../media/image26.png"/><Relationship Id="rId17" Type="http://schemas.openxmlformats.org/officeDocument/2006/relationships/image" Target="../media/image14.png"/><Relationship Id="rId2" Type="http://schemas.openxmlformats.org/officeDocument/2006/relationships/tags" Target="../tags/tag277.xml"/><Relationship Id="rId16" Type="http://schemas.openxmlformats.org/officeDocument/2006/relationships/image" Target="../media/image13.png"/><Relationship Id="rId1" Type="http://schemas.openxmlformats.org/officeDocument/2006/relationships/tags" Target="../tags/tag276.xml"/><Relationship Id="rId6" Type="http://schemas.openxmlformats.org/officeDocument/2006/relationships/image" Target="../media/image526.png"/><Relationship Id="rId11" Type="http://schemas.openxmlformats.org/officeDocument/2006/relationships/image" Target="../media/image25.svg"/><Relationship Id="rId5" Type="http://schemas.openxmlformats.org/officeDocument/2006/relationships/image" Target="../media/image105.emf"/><Relationship Id="rId15" Type="http://schemas.openxmlformats.org/officeDocument/2006/relationships/image" Target="../media/image12.jpeg"/><Relationship Id="rId10" Type="http://schemas.openxmlformats.org/officeDocument/2006/relationships/image" Target="../media/image24.png"/><Relationship Id="rId19" Type="http://schemas.openxmlformats.org/officeDocument/2006/relationships/image" Target="../media/image529.svg"/><Relationship Id="rId4" Type="http://schemas.openxmlformats.org/officeDocument/2006/relationships/oleObject" Target="../embeddings/oleObject103.bin"/><Relationship Id="rId9" Type="http://schemas.openxmlformats.org/officeDocument/2006/relationships/image" Target="../media/image23.svg"/><Relationship Id="rId14" Type="http://schemas.openxmlformats.org/officeDocument/2006/relationships/image" Target="../media/image11.jpeg"/></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2.jpeg"/><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1.jpeg"/><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31.emf"/><Relationship Id="rId15" Type="http://schemas.openxmlformats.org/officeDocument/2006/relationships/image" Target="../media/image14.png"/><Relationship Id="rId10" Type="http://schemas.openxmlformats.org/officeDocument/2006/relationships/image" Target="../media/image26.png"/><Relationship Id="rId4" Type="http://schemas.openxmlformats.org/officeDocument/2006/relationships/oleObject" Target="../embeddings/oleObject104.bin"/><Relationship Id="rId9" Type="http://schemas.openxmlformats.org/officeDocument/2006/relationships/image" Target="../media/image25.svg"/><Relationship Id="rId14" Type="http://schemas.openxmlformats.org/officeDocument/2006/relationships/image" Target="../media/image13.png"/></Relationships>
</file>

<file path=ppt/slides/_rels/slide123.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2.jpeg"/><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1.jpeg"/><Relationship Id="rId2" Type="http://schemas.openxmlformats.org/officeDocument/2006/relationships/tags" Target="../tags/tag281.xml"/><Relationship Id="rId1" Type="http://schemas.openxmlformats.org/officeDocument/2006/relationships/tags" Target="../tags/tag280.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05.emf"/><Relationship Id="rId15" Type="http://schemas.openxmlformats.org/officeDocument/2006/relationships/image" Target="../media/image14.png"/><Relationship Id="rId10" Type="http://schemas.openxmlformats.org/officeDocument/2006/relationships/image" Target="../media/image26.png"/><Relationship Id="rId4" Type="http://schemas.openxmlformats.org/officeDocument/2006/relationships/oleObject" Target="../embeddings/oleObject105.bin"/><Relationship Id="rId9" Type="http://schemas.openxmlformats.org/officeDocument/2006/relationships/image" Target="../media/image25.svg"/><Relationship Id="rId14" Type="http://schemas.openxmlformats.org/officeDocument/2006/relationships/image" Target="../media/image13.png"/></Relationships>
</file>

<file path=ppt/slides/_rels/slide124.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2.jpeg"/><Relationship Id="rId18" Type="http://schemas.microsoft.com/office/2014/relationships/chartEx" Target="../charts/chartEx10.xml"/><Relationship Id="rId3" Type="http://schemas.openxmlformats.org/officeDocument/2006/relationships/slideLayout" Target="../slideLayouts/slideLayout1.xml"/><Relationship Id="rId21" Type="http://schemas.microsoft.com/office/2014/relationships/chartEx" Target="../charts/chartEx11.xml"/><Relationship Id="rId7" Type="http://schemas.openxmlformats.org/officeDocument/2006/relationships/image" Target="../media/image23.svg"/><Relationship Id="rId12" Type="http://schemas.openxmlformats.org/officeDocument/2006/relationships/image" Target="../media/image11.jpeg"/><Relationship Id="rId17" Type="http://schemas.openxmlformats.org/officeDocument/2006/relationships/image" Target="../media/image128.svg"/><Relationship Id="rId2" Type="http://schemas.openxmlformats.org/officeDocument/2006/relationships/tags" Target="../tags/tag283.xml"/><Relationship Id="rId16" Type="http://schemas.openxmlformats.org/officeDocument/2006/relationships/image" Target="../media/image127.png"/><Relationship Id="rId20" Type="http://schemas.openxmlformats.org/officeDocument/2006/relationships/image" Target="../media/image531.png"/><Relationship Id="rId1" Type="http://schemas.openxmlformats.org/officeDocument/2006/relationships/tags" Target="../tags/tag282.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31.emf"/><Relationship Id="rId15" Type="http://schemas.openxmlformats.org/officeDocument/2006/relationships/image" Target="../media/image14.png"/><Relationship Id="rId10" Type="http://schemas.openxmlformats.org/officeDocument/2006/relationships/image" Target="../media/image26.png"/><Relationship Id="rId4" Type="http://schemas.openxmlformats.org/officeDocument/2006/relationships/oleObject" Target="../embeddings/oleObject106.bin"/><Relationship Id="rId9" Type="http://schemas.openxmlformats.org/officeDocument/2006/relationships/image" Target="../media/image25.svg"/><Relationship Id="rId14" Type="http://schemas.openxmlformats.org/officeDocument/2006/relationships/image" Target="../media/image13.png"/><Relationship Id="rId22" Type="http://schemas.openxmlformats.org/officeDocument/2006/relationships/image" Target="../media/image532.png"/></Relationships>
</file>

<file path=ppt/slides/_rels/slide125.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18" Type="http://schemas.openxmlformats.org/officeDocument/2006/relationships/image" Target="../media/image392.png"/><Relationship Id="rId3" Type="http://schemas.openxmlformats.org/officeDocument/2006/relationships/slideLayout" Target="../slideLayouts/slideLayout1.xml"/><Relationship Id="rId21" Type="http://schemas.openxmlformats.org/officeDocument/2006/relationships/image" Target="../media/image195.png"/><Relationship Id="rId7" Type="http://schemas.openxmlformats.org/officeDocument/2006/relationships/image" Target="../media/image22.png"/><Relationship Id="rId12" Type="http://schemas.openxmlformats.org/officeDocument/2006/relationships/image" Target="../media/image27.svg"/><Relationship Id="rId17" Type="http://schemas.openxmlformats.org/officeDocument/2006/relationships/image" Target="../media/image363.png"/><Relationship Id="rId2" Type="http://schemas.openxmlformats.org/officeDocument/2006/relationships/tags" Target="../tags/tag285.xml"/><Relationship Id="rId16" Type="http://schemas.openxmlformats.org/officeDocument/2006/relationships/image" Target="../media/image14.png"/><Relationship Id="rId20" Type="http://schemas.microsoft.com/office/2007/relationships/hdphoto" Target="../media/hdphoto1.wdp"/><Relationship Id="rId1" Type="http://schemas.openxmlformats.org/officeDocument/2006/relationships/tags" Target="../tags/tag284.xml"/><Relationship Id="rId6" Type="http://schemas.openxmlformats.org/officeDocument/2006/relationships/image" Target="../media/image131.emf"/><Relationship Id="rId11" Type="http://schemas.openxmlformats.org/officeDocument/2006/relationships/image" Target="../media/image26.png"/><Relationship Id="rId5" Type="http://schemas.openxmlformats.org/officeDocument/2006/relationships/oleObject" Target="../embeddings/oleObject107.bin"/><Relationship Id="rId15" Type="http://schemas.openxmlformats.org/officeDocument/2006/relationships/image" Target="../media/image13.png"/><Relationship Id="rId23" Type="http://schemas.openxmlformats.org/officeDocument/2006/relationships/image" Target="../media/image387.png"/><Relationship Id="rId10" Type="http://schemas.openxmlformats.org/officeDocument/2006/relationships/image" Target="../media/image25.svg"/><Relationship Id="rId19" Type="http://schemas.openxmlformats.org/officeDocument/2006/relationships/image" Target="../media/image361.png"/><Relationship Id="rId4" Type="http://schemas.openxmlformats.org/officeDocument/2006/relationships/notesSlide" Target="../notesSlides/notesSlide56.xml"/><Relationship Id="rId9" Type="http://schemas.openxmlformats.org/officeDocument/2006/relationships/image" Target="../media/image24.png"/><Relationship Id="rId14" Type="http://schemas.openxmlformats.org/officeDocument/2006/relationships/image" Target="../media/image12.jpeg"/><Relationship Id="rId22" Type="http://schemas.openxmlformats.org/officeDocument/2006/relationships/image" Target="../media/image398.png"/></Relationships>
</file>

<file path=ppt/slides/_rels/slide126.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2.jpeg"/><Relationship Id="rId18" Type="http://schemas.openxmlformats.org/officeDocument/2006/relationships/image" Target="../media/image534.png"/><Relationship Id="rId26" Type="http://schemas.openxmlformats.org/officeDocument/2006/relationships/image" Target="../media/image542.svg"/><Relationship Id="rId3" Type="http://schemas.openxmlformats.org/officeDocument/2006/relationships/slideLayout" Target="../slideLayouts/slideLayout1.xml"/><Relationship Id="rId21" Type="http://schemas.openxmlformats.org/officeDocument/2006/relationships/image" Target="../media/image537.png"/><Relationship Id="rId7" Type="http://schemas.openxmlformats.org/officeDocument/2006/relationships/image" Target="../media/image23.svg"/><Relationship Id="rId12" Type="http://schemas.openxmlformats.org/officeDocument/2006/relationships/image" Target="../media/image11.jpeg"/><Relationship Id="rId17" Type="http://schemas.openxmlformats.org/officeDocument/2006/relationships/image" Target="../media/image533.png"/><Relationship Id="rId25" Type="http://schemas.openxmlformats.org/officeDocument/2006/relationships/image" Target="../media/image541.png"/><Relationship Id="rId2" Type="http://schemas.openxmlformats.org/officeDocument/2006/relationships/tags" Target="../tags/tag287.xml"/><Relationship Id="rId16" Type="http://schemas.openxmlformats.org/officeDocument/2006/relationships/image" Target="../media/image530.png"/><Relationship Id="rId20" Type="http://schemas.openxmlformats.org/officeDocument/2006/relationships/image" Target="../media/image536.png"/><Relationship Id="rId29" Type="http://schemas.openxmlformats.org/officeDocument/2006/relationships/image" Target="../media/image2.png"/><Relationship Id="rId1" Type="http://schemas.openxmlformats.org/officeDocument/2006/relationships/tags" Target="../tags/tag286.xml"/><Relationship Id="rId6" Type="http://schemas.openxmlformats.org/officeDocument/2006/relationships/image" Target="../media/image22.png"/><Relationship Id="rId11" Type="http://schemas.openxmlformats.org/officeDocument/2006/relationships/image" Target="../media/image27.svg"/><Relationship Id="rId24" Type="http://schemas.openxmlformats.org/officeDocument/2006/relationships/image" Target="../media/image540.png"/><Relationship Id="rId5" Type="http://schemas.openxmlformats.org/officeDocument/2006/relationships/image" Target="../media/image131.emf"/><Relationship Id="rId15" Type="http://schemas.openxmlformats.org/officeDocument/2006/relationships/image" Target="../media/image14.png"/><Relationship Id="rId23" Type="http://schemas.openxmlformats.org/officeDocument/2006/relationships/image" Target="../media/image539.jpeg"/><Relationship Id="rId28" Type="http://schemas.openxmlformats.org/officeDocument/2006/relationships/image" Target="../media/image544.svg"/><Relationship Id="rId10" Type="http://schemas.openxmlformats.org/officeDocument/2006/relationships/image" Target="../media/image26.png"/><Relationship Id="rId19" Type="http://schemas.openxmlformats.org/officeDocument/2006/relationships/image" Target="../media/image535.png"/><Relationship Id="rId4" Type="http://schemas.openxmlformats.org/officeDocument/2006/relationships/oleObject" Target="../embeddings/oleObject108.bin"/><Relationship Id="rId9" Type="http://schemas.openxmlformats.org/officeDocument/2006/relationships/image" Target="../media/image25.svg"/><Relationship Id="rId14" Type="http://schemas.openxmlformats.org/officeDocument/2006/relationships/image" Target="../media/image13.png"/><Relationship Id="rId22" Type="http://schemas.openxmlformats.org/officeDocument/2006/relationships/image" Target="../media/image538.png"/><Relationship Id="rId27" Type="http://schemas.openxmlformats.org/officeDocument/2006/relationships/image" Target="../media/image543.png"/></Relationships>
</file>

<file path=ppt/slides/_rels/slide127.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26.png"/><Relationship Id="rId18" Type="http://schemas.openxmlformats.org/officeDocument/2006/relationships/image" Target="../media/image14.png"/><Relationship Id="rId3" Type="http://schemas.openxmlformats.org/officeDocument/2006/relationships/slideLayout" Target="../slideLayouts/slideLayout1.xml"/><Relationship Id="rId21" Type="http://schemas.openxmlformats.org/officeDocument/2006/relationships/image" Target="../media/image400.png"/><Relationship Id="rId7" Type="http://schemas.openxmlformats.org/officeDocument/2006/relationships/image" Target="../media/image546.png"/><Relationship Id="rId12" Type="http://schemas.openxmlformats.org/officeDocument/2006/relationships/image" Target="../media/image25.svg"/><Relationship Id="rId17" Type="http://schemas.openxmlformats.org/officeDocument/2006/relationships/image" Target="../media/image13.png"/><Relationship Id="rId2" Type="http://schemas.openxmlformats.org/officeDocument/2006/relationships/tags" Target="../tags/tag289.xml"/><Relationship Id="rId16" Type="http://schemas.openxmlformats.org/officeDocument/2006/relationships/image" Target="../media/image12.jpeg"/><Relationship Id="rId20" Type="http://schemas.openxmlformats.org/officeDocument/2006/relationships/image" Target="../media/image401.png"/><Relationship Id="rId1" Type="http://schemas.openxmlformats.org/officeDocument/2006/relationships/tags" Target="../tags/tag288.xml"/><Relationship Id="rId6" Type="http://schemas.openxmlformats.org/officeDocument/2006/relationships/image" Target="../media/image545.png"/><Relationship Id="rId11" Type="http://schemas.openxmlformats.org/officeDocument/2006/relationships/image" Target="../media/image24.png"/><Relationship Id="rId5" Type="http://schemas.openxmlformats.org/officeDocument/2006/relationships/image" Target="../media/image131.emf"/><Relationship Id="rId15" Type="http://schemas.openxmlformats.org/officeDocument/2006/relationships/image" Target="../media/image11.jpeg"/><Relationship Id="rId10" Type="http://schemas.openxmlformats.org/officeDocument/2006/relationships/image" Target="../media/image23.svg"/><Relationship Id="rId19" Type="http://schemas.openxmlformats.org/officeDocument/2006/relationships/image" Target="../media/image399.png"/><Relationship Id="rId4" Type="http://schemas.openxmlformats.org/officeDocument/2006/relationships/oleObject" Target="../embeddings/oleObject109.bin"/><Relationship Id="rId9" Type="http://schemas.openxmlformats.org/officeDocument/2006/relationships/image" Target="../media/image22.png"/><Relationship Id="rId14" Type="http://schemas.openxmlformats.org/officeDocument/2006/relationships/image" Target="../media/image27.svg"/></Relationships>
</file>

<file path=ppt/slides/_rels/slide128.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3" Type="http://schemas.openxmlformats.org/officeDocument/2006/relationships/slideLayout" Target="../slideLayouts/slideLayout12.xml"/><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tags" Target="../tags/tag291.xml"/><Relationship Id="rId16" Type="http://schemas.openxmlformats.org/officeDocument/2006/relationships/image" Target="../media/image14.png"/><Relationship Id="rId1" Type="http://schemas.openxmlformats.org/officeDocument/2006/relationships/tags" Target="../tags/tag290.xml"/><Relationship Id="rId6" Type="http://schemas.openxmlformats.org/officeDocument/2006/relationships/image" Target="../media/image105.emf"/><Relationship Id="rId11" Type="http://schemas.openxmlformats.org/officeDocument/2006/relationships/image" Target="../media/image26.png"/><Relationship Id="rId5" Type="http://schemas.openxmlformats.org/officeDocument/2006/relationships/oleObject" Target="../embeddings/oleObject110.bin"/><Relationship Id="rId15" Type="http://schemas.openxmlformats.org/officeDocument/2006/relationships/image" Target="../media/image13.png"/><Relationship Id="rId10" Type="http://schemas.openxmlformats.org/officeDocument/2006/relationships/image" Target="../media/image25.svg"/><Relationship Id="rId4" Type="http://schemas.openxmlformats.org/officeDocument/2006/relationships/notesSlide" Target="../notesSlides/notesSlide57.xml"/><Relationship Id="rId9" Type="http://schemas.openxmlformats.org/officeDocument/2006/relationships/image" Target="../media/image24.png"/><Relationship Id="rId14" Type="http://schemas.openxmlformats.org/officeDocument/2006/relationships/image" Target="../media/image12.jpeg"/></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5.emf"/><Relationship Id="rId13" Type="http://schemas.openxmlformats.org/officeDocument/2006/relationships/image" Target="../media/image22.png"/><Relationship Id="rId18" Type="http://schemas.openxmlformats.org/officeDocument/2006/relationships/image" Target="../media/image27.svg"/><Relationship Id="rId3" Type="http://schemas.openxmlformats.org/officeDocument/2006/relationships/tags" Target="../tags/tag63.xml"/><Relationship Id="rId21" Type="http://schemas.openxmlformats.org/officeDocument/2006/relationships/image" Target="../media/image128.svg"/><Relationship Id="rId7" Type="http://schemas.openxmlformats.org/officeDocument/2006/relationships/oleObject" Target="../embeddings/oleObject13.bin"/><Relationship Id="rId12" Type="http://schemas.openxmlformats.org/officeDocument/2006/relationships/chart" Target="../charts/chart10.xml"/><Relationship Id="rId17" Type="http://schemas.openxmlformats.org/officeDocument/2006/relationships/image" Target="../media/image26.png"/><Relationship Id="rId2" Type="http://schemas.openxmlformats.org/officeDocument/2006/relationships/tags" Target="../tags/tag62.xml"/><Relationship Id="rId16" Type="http://schemas.openxmlformats.org/officeDocument/2006/relationships/image" Target="../media/image25.svg"/><Relationship Id="rId20" Type="http://schemas.openxmlformats.org/officeDocument/2006/relationships/image" Target="../media/image127.png"/><Relationship Id="rId1" Type="http://schemas.openxmlformats.org/officeDocument/2006/relationships/tags" Target="../tags/tag61.xml"/><Relationship Id="rId6" Type="http://schemas.openxmlformats.org/officeDocument/2006/relationships/notesSlide" Target="../notesSlides/notesSlide7.xml"/><Relationship Id="rId11" Type="http://schemas.openxmlformats.org/officeDocument/2006/relationships/image" Target="../media/image126.png"/><Relationship Id="rId5" Type="http://schemas.openxmlformats.org/officeDocument/2006/relationships/slideLayout" Target="../slideLayouts/slideLayout1.xml"/><Relationship Id="rId15" Type="http://schemas.openxmlformats.org/officeDocument/2006/relationships/image" Target="../media/image24.png"/><Relationship Id="rId19" Type="http://schemas.openxmlformats.org/officeDocument/2006/relationships/image" Target="../media/image11.jpeg"/><Relationship Id="rId4" Type="http://schemas.openxmlformats.org/officeDocument/2006/relationships/tags" Target="../tags/tag64.xml"/><Relationship Id="rId9" Type="http://schemas.microsoft.com/office/2014/relationships/chartEx" Target="../charts/chartEx1.xml"/><Relationship Id="rId14" Type="http://schemas.openxmlformats.org/officeDocument/2006/relationships/image" Target="../media/image23.svg"/><Relationship Id="rId22" Type="http://schemas.openxmlformats.org/officeDocument/2006/relationships/chart" Target="../charts/chart11.xml"/></Relationships>
</file>

<file path=ppt/slides/_rels/slide13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18" Type="http://schemas.openxmlformats.org/officeDocument/2006/relationships/image" Target="../media/image547.png"/><Relationship Id="rId3" Type="http://schemas.openxmlformats.org/officeDocument/2006/relationships/tags" Target="../tags/tag293.xml"/><Relationship Id="rId7" Type="http://schemas.openxmlformats.org/officeDocument/2006/relationships/chart" Target="../charts/chart74.xml"/><Relationship Id="rId12" Type="http://schemas.openxmlformats.org/officeDocument/2006/relationships/image" Target="../media/image26.png"/><Relationship Id="rId17" Type="http://schemas.openxmlformats.org/officeDocument/2006/relationships/image" Target="../media/image14.png"/><Relationship Id="rId2" Type="http://schemas.openxmlformats.org/officeDocument/2006/relationships/tags" Target="../tags/tag292.xml"/><Relationship Id="rId16" Type="http://schemas.openxmlformats.org/officeDocument/2006/relationships/image" Target="../media/image13.png"/><Relationship Id="rId1" Type="http://schemas.openxmlformats.org/officeDocument/2006/relationships/themeOverride" Target="../theme/themeOverride1.xml"/><Relationship Id="rId6" Type="http://schemas.openxmlformats.org/officeDocument/2006/relationships/image" Target="../media/image131.emf"/><Relationship Id="rId11" Type="http://schemas.openxmlformats.org/officeDocument/2006/relationships/image" Target="../media/image25.svg"/><Relationship Id="rId5" Type="http://schemas.openxmlformats.org/officeDocument/2006/relationships/oleObject" Target="../embeddings/oleObject111.bin"/><Relationship Id="rId15" Type="http://schemas.openxmlformats.org/officeDocument/2006/relationships/image" Target="../media/image12.jpeg"/><Relationship Id="rId10" Type="http://schemas.openxmlformats.org/officeDocument/2006/relationships/image" Target="../media/image24.png"/><Relationship Id="rId19" Type="http://schemas.openxmlformats.org/officeDocument/2006/relationships/image" Target="../media/image548.svg"/><Relationship Id="rId4" Type="http://schemas.openxmlformats.org/officeDocument/2006/relationships/slideLayout" Target="../slideLayouts/slideLayout1.xml"/><Relationship Id="rId9" Type="http://schemas.openxmlformats.org/officeDocument/2006/relationships/image" Target="../media/image23.svg"/><Relationship Id="rId14" Type="http://schemas.openxmlformats.org/officeDocument/2006/relationships/image" Target="../media/image11.jpeg"/></Relationships>
</file>

<file path=ppt/slides/_rels/slide131.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2.jpeg"/><Relationship Id="rId18" Type="http://schemas.openxmlformats.org/officeDocument/2006/relationships/image" Target="../media/image17.png"/><Relationship Id="rId3" Type="http://schemas.openxmlformats.org/officeDocument/2006/relationships/slideLayout" Target="../slideLayouts/slideLayout1.xml"/><Relationship Id="rId21" Type="http://schemas.openxmlformats.org/officeDocument/2006/relationships/image" Target="../media/image551.svg"/><Relationship Id="rId7" Type="http://schemas.openxmlformats.org/officeDocument/2006/relationships/image" Target="../media/image23.svg"/><Relationship Id="rId12" Type="http://schemas.openxmlformats.org/officeDocument/2006/relationships/image" Target="../media/image11.jpeg"/><Relationship Id="rId17" Type="http://schemas.openxmlformats.org/officeDocument/2006/relationships/image" Target="../media/image549.svg"/><Relationship Id="rId2" Type="http://schemas.openxmlformats.org/officeDocument/2006/relationships/tags" Target="../tags/tag295.xml"/><Relationship Id="rId16" Type="http://schemas.openxmlformats.org/officeDocument/2006/relationships/image" Target="../media/image15.png"/><Relationship Id="rId20" Type="http://schemas.openxmlformats.org/officeDocument/2006/relationships/image" Target="../media/image19.png"/><Relationship Id="rId1" Type="http://schemas.openxmlformats.org/officeDocument/2006/relationships/tags" Target="../tags/tag294.xml"/><Relationship Id="rId6" Type="http://schemas.openxmlformats.org/officeDocument/2006/relationships/image" Target="../media/image22.png"/><Relationship Id="rId11" Type="http://schemas.openxmlformats.org/officeDocument/2006/relationships/image" Target="../media/image27.svg"/><Relationship Id="rId24" Type="http://schemas.openxmlformats.org/officeDocument/2006/relationships/image" Target="../media/image132.png"/><Relationship Id="rId5" Type="http://schemas.openxmlformats.org/officeDocument/2006/relationships/image" Target="../media/image131.emf"/><Relationship Id="rId15" Type="http://schemas.openxmlformats.org/officeDocument/2006/relationships/image" Target="../media/image14.png"/><Relationship Id="rId10" Type="http://schemas.openxmlformats.org/officeDocument/2006/relationships/image" Target="../media/image26.png"/><Relationship Id="rId19" Type="http://schemas.openxmlformats.org/officeDocument/2006/relationships/image" Target="../media/image550.svg"/><Relationship Id="rId4" Type="http://schemas.openxmlformats.org/officeDocument/2006/relationships/oleObject" Target="../embeddings/oleObject112.bin"/><Relationship Id="rId9" Type="http://schemas.openxmlformats.org/officeDocument/2006/relationships/image" Target="../media/image25.svg"/><Relationship Id="rId14" Type="http://schemas.openxmlformats.org/officeDocument/2006/relationships/image" Target="../media/image13.png"/><Relationship Id="rId22" Type="http://schemas.microsoft.com/office/2014/relationships/chartEx" Target="../charts/chartEx12.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2.jpeg"/><Relationship Id="rId18" Type="http://schemas.openxmlformats.org/officeDocument/2006/relationships/chart" Target="../charts/chart75.xml"/><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1.jpeg"/><Relationship Id="rId17" Type="http://schemas.openxmlformats.org/officeDocument/2006/relationships/image" Target="../media/image58.svg"/><Relationship Id="rId2" Type="http://schemas.openxmlformats.org/officeDocument/2006/relationships/tags" Target="../tags/tag297.xml"/><Relationship Id="rId16" Type="http://schemas.openxmlformats.org/officeDocument/2006/relationships/image" Target="../media/image57.png"/><Relationship Id="rId1" Type="http://schemas.openxmlformats.org/officeDocument/2006/relationships/tags" Target="../tags/tag296.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05.emf"/><Relationship Id="rId15" Type="http://schemas.openxmlformats.org/officeDocument/2006/relationships/image" Target="../media/image14.png"/><Relationship Id="rId10" Type="http://schemas.openxmlformats.org/officeDocument/2006/relationships/image" Target="../media/image26.png"/><Relationship Id="rId19" Type="http://schemas.openxmlformats.org/officeDocument/2006/relationships/chart" Target="../charts/chart76.xml"/><Relationship Id="rId4" Type="http://schemas.openxmlformats.org/officeDocument/2006/relationships/oleObject" Target="../embeddings/oleObject113.bin"/><Relationship Id="rId9" Type="http://schemas.openxmlformats.org/officeDocument/2006/relationships/image" Target="../media/image25.svg"/><Relationship Id="rId14" Type="http://schemas.openxmlformats.org/officeDocument/2006/relationships/image" Target="../media/image13.png"/></Relationships>
</file>

<file path=ppt/slides/_rels/slide134.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18" Type="http://schemas.openxmlformats.org/officeDocument/2006/relationships/image" Target="../media/image12.jpeg"/><Relationship Id="rId3" Type="http://schemas.openxmlformats.org/officeDocument/2006/relationships/slideLayout" Target="../slideLayouts/slideLayout1.xml"/><Relationship Id="rId7" Type="http://schemas.openxmlformats.org/officeDocument/2006/relationships/image" Target="../media/image22.png"/><Relationship Id="rId12" Type="http://schemas.openxmlformats.org/officeDocument/2006/relationships/image" Target="../media/image27.svg"/><Relationship Id="rId17" Type="http://schemas.openxmlformats.org/officeDocument/2006/relationships/chart" Target="../charts/chart80.xml"/><Relationship Id="rId2" Type="http://schemas.openxmlformats.org/officeDocument/2006/relationships/tags" Target="../tags/tag299.xml"/><Relationship Id="rId16" Type="http://schemas.openxmlformats.org/officeDocument/2006/relationships/chart" Target="../charts/chart79.xml"/><Relationship Id="rId20" Type="http://schemas.openxmlformats.org/officeDocument/2006/relationships/image" Target="../media/image14.png"/><Relationship Id="rId1" Type="http://schemas.openxmlformats.org/officeDocument/2006/relationships/tags" Target="../tags/tag298.xml"/><Relationship Id="rId6" Type="http://schemas.openxmlformats.org/officeDocument/2006/relationships/image" Target="../media/image105.emf"/><Relationship Id="rId11" Type="http://schemas.openxmlformats.org/officeDocument/2006/relationships/image" Target="../media/image26.png"/><Relationship Id="rId5" Type="http://schemas.openxmlformats.org/officeDocument/2006/relationships/oleObject" Target="../embeddings/oleObject114.bin"/><Relationship Id="rId15" Type="http://schemas.openxmlformats.org/officeDocument/2006/relationships/chart" Target="../charts/chart78.xml"/><Relationship Id="rId10" Type="http://schemas.openxmlformats.org/officeDocument/2006/relationships/image" Target="../media/image25.svg"/><Relationship Id="rId19" Type="http://schemas.openxmlformats.org/officeDocument/2006/relationships/image" Target="../media/image13.png"/><Relationship Id="rId4" Type="http://schemas.openxmlformats.org/officeDocument/2006/relationships/notesSlide" Target="../notesSlides/notesSlide58.xml"/><Relationship Id="rId9" Type="http://schemas.openxmlformats.org/officeDocument/2006/relationships/image" Target="../media/image24.png"/><Relationship Id="rId14" Type="http://schemas.openxmlformats.org/officeDocument/2006/relationships/chart" Target="../charts/chart77.xml"/></Relationships>
</file>

<file path=ppt/slides/_rels/slide13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chart" Target="../charts/chart81.xml"/><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1.jpeg"/><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05.emf"/><Relationship Id="rId10" Type="http://schemas.openxmlformats.org/officeDocument/2006/relationships/image" Target="../media/image26.png"/><Relationship Id="rId4" Type="http://schemas.openxmlformats.org/officeDocument/2006/relationships/oleObject" Target="../embeddings/oleObject115.bin"/><Relationship Id="rId9" Type="http://schemas.openxmlformats.org/officeDocument/2006/relationships/image" Target="../media/image25.svg"/><Relationship Id="rId14" Type="http://schemas.openxmlformats.org/officeDocument/2006/relationships/chart" Target="../charts/chart82.xml"/></Relationships>
</file>

<file path=ppt/slides/_rels/slide136.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552.png"/><Relationship Id="rId18" Type="http://schemas.openxmlformats.org/officeDocument/2006/relationships/image" Target="../media/image555.png"/><Relationship Id="rId3" Type="http://schemas.openxmlformats.org/officeDocument/2006/relationships/slideLayout" Target="../slideLayouts/slideLayout1.xml"/><Relationship Id="rId21" Type="http://schemas.openxmlformats.org/officeDocument/2006/relationships/image" Target="../media/image558.svg"/><Relationship Id="rId7" Type="http://schemas.openxmlformats.org/officeDocument/2006/relationships/image" Target="../media/image23.svg"/><Relationship Id="rId12" Type="http://schemas.openxmlformats.org/officeDocument/2006/relationships/image" Target="../media/image11.jpeg"/><Relationship Id="rId17" Type="http://schemas.openxmlformats.org/officeDocument/2006/relationships/image" Target="../media/image434.svg"/><Relationship Id="rId2" Type="http://schemas.openxmlformats.org/officeDocument/2006/relationships/tags" Target="../tags/tag303.xml"/><Relationship Id="rId16" Type="http://schemas.openxmlformats.org/officeDocument/2006/relationships/image" Target="../media/image433.png"/><Relationship Id="rId20" Type="http://schemas.openxmlformats.org/officeDocument/2006/relationships/image" Target="../media/image557.png"/><Relationship Id="rId1" Type="http://schemas.openxmlformats.org/officeDocument/2006/relationships/tags" Target="../tags/tag302.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05.emf"/><Relationship Id="rId15" Type="http://schemas.openxmlformats.org/officeDocument/2006/relationships/image" Target="../media/image554.jpeg"/><Relationship Id="rId10" Type="http://schemas.openxmlformats.org/officeDocument/2006/relationships/image" Target="../media/image26.png"/><Relationship Id="rId19" Type="http://schemas.openxmlformats.org/officeDocument/2006/relationships/image" Target="../media/image556.svg"/><Relationship Id="rId4" Type="http://schemas.openxmlformats.org/officeDocument/2006/relationships/oleObject" Target="../embeddings/oleObject116.bin"/><Relationship Id="rId9" Type="http://schemas.openxmlformats.org/officeDocument/2006/relationships/image" Target="../media/image25.svg"/><Relationship Id="rId14" Type="http://schemas.openxmlformats.org/officeDocument/2006/relationships/image" Target="../media/image553.png"/></Relationships>
</file>

<file path=ppt/slides/_rels/slide137.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3.png"/><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2.jpeg"/><Relationship Id="rId2" Type="http://schemas.openxmlformats.org/officeDocument/2006/relationships/tags" Target="../tags/tag305.xml"/><Relationship Id="rId16" Type="http://schemas.openxmlformats.org/officeDocument/2006/relationships/chart" Target="../charts/chart83.xml"/><Relationship Id="rId1" Type="http://schemas.openxmlformats.org/officeDocument/2006/relationships/tags" Target="../tags/tag304.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05.emf"/><Relationship Id="rId15" Type="http://schemas.openxmlformats.org/officeDocument/2006/relationships/image" Target="../media/image508.png"/><Relationship Id="rId10" Type="http://schemas.openxmlformats.org/officeDocument/2006/relationships/image" Target="../media/image26.png"/><Relationship Id="rId4" Type="http://schemas.openxmlformats.org/officeDocument/2006/relationships/oleObject" Target="../embeddings/oleObject117.bin"/><Relationship Id="rId9" Type="http://schemas.openxmlformats.org/officeDocument/2006/relationships/image" Target="../media/image25.svg"/><Relationship Id="rId14" Type="http://schemas.openxmlformats.org/officeDocument/2006/relationships/image" Target="../media/image14.png"/></Relationships>
</file>

<file path=ppt/slides/_rels/slide138.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559.png"/><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1.jpeg"/><Relationship Id="rId2" Type="http://schemas.openxmlformats.org/officeDocument/2006/relationships/tags" Target="../tags/tag307.xml"/><Relationship Id="rId16" Type="http://schemas.openxmlformats.org/officeDocument/2006/relationships/image" Target="../media/image14.png"/><Relationship Id="rId1" Type="http://schemas.openxmlformats.org/officeDocument/2006/relationships/tags" Target="../tags/tag306.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05.emf"/><Relationship Id="rId15" Type="http://schemas.openxmlformats.org/officeDocument/2006/relationships/image" Target="../media/image13.png"/><Relationship Id="rId10" Type="http://schemas.openxmlformats.org/officeDocument/2006/relationships/image" Target="../media/image26.png"/><Relationship Id="rId4" Type="http://schemas.openxmlformats.org/officeDocument/2006/relationships/oleObject" Target="../embeddings/oleObject118.bin"/><Relationship Id="rId9" Type="http://schemas.openxmlformats.org/officeDocument/2006/relationships/image" Target="../media/image25.svg"/><Relationship Id="rId14" Type="http://schemas.openxmlformats.org/officeDocument/2006/relationships/image" Target="../media/image12.jpeg"/></Relationships>
</file>

<file path=ppt/slides/_rels/slide139.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2.jpeg"/><Relationship Id="rId3" Type="http://schemas.openxmlformats.org/officeDocument/2006/relationships/slideLayout" Target="../slideLayouts/slideLayout1.xml"/><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tags" Target="../tags/tag309.xml"/><Relationship Id="rId1" Type="http://schemas.openxmlformats.org/officeDocument/2006/relationships/tags" Target="../tags/tag308.xml"/><Relationship Id="rId6" Type="http://schemas.openxmlformats.org/officeDocument/2006/relationships/chart" Target="../charts/chart84.xml"/><Relationship Id="rId11" Type="http://schemas.openxmlformats.org/officeDocument/2006/relationships/image" Target="../media/image26.png"/><Relationship Id="rId5" Type="http://schemas.openxmlformats.org/officeDocument/2006/relationships/image" Target="../media/image105.emf"/><Relationship Id="rId15" Type="http://schemas.openxmlformats.org/officeDocument/2006/relationships/image" Target="../media/image14.png"/><Relationship Id="rId10" Type="http://schemas.openxmlformats.org/officeDocument/2006/relationships/image" Target="../media/image25.svg"/><Relationship Id="rId4" Type="http://schemas.openxmlformats.org/officeDocument/2006/relationships/oleObject" Target="../embeddings/oleObject119.bin"/><Relationship Id="rId9" Type="http://schemas.openxmlformats.org/officeDocument/2006/relationships/image" Target="../media/image24.png"/><Relationship Id="rId14" Type="http://schemas.openxmlformats.org/officeDocument/2006/relationships/image" Target="../media/image13.png"/></Relationships>
</file>

<file path=ppt/slides/_rels/slide14.xml.rels><?xml version="1.0" encoding="UTF-8" standalone="yes"?>
<Relationships xmlns="http://schemas.openxmlformats.org/package/2006/relationships"><Relationship Id="rId8" Type="http://schemas.openxmlformats.org/officeDocument/2006/relationships/image" Target="../media/image5.emf"/><Relationship Id="rId13" Type="http://schemas.openxmlformats.org/officeDocument/2006/relationships/chart" Target="../charts/chart13.xml"/><Relationship Id="rId18" Type="http://schemas.openxmlformats.org/officeDocument/2006/relationships/image" Target="../media/image24.png"/><Relationship Id="rId3" Type="http://schemas.openxmlformats.org/officeDocument/2006/relationships/tags" Target="../tags/tag67.xml"/><Relationship Id="rId21" Type="http://schemas.openxmlformats.org/officeDocument/2006/relationships/image" Target="../media/image27.svg"/><Relationship Id="rId7" Type="http://schemas.openxmlformats.org/officeDocument/2006/relationships/oleObject" Target="../embeddings/oleObject14.bin"/><Relationship Id="rId12" Type="http://schemas.openxmlformats.org/officeDocument/2006/relationships/chart" Target="../charts/chart12.xml"/><Relationship Id="rId17" Type="http://schemas.openxmlformats.org/officeDocument/2006/relationships/image" Target="../media/image23.svg"/><Relationship Id="rId2" Type="http://schemas.openxmlformats.org/officeDocument/2006/relationships/tags" Target="../tags/tag66.xml"/><Relationship Id="rId16" Type="http://schemas.openxmlformats.org/officeDocument/2006/relationships/image" Target="../media/image22.png"/><Relationship Id="rId20" Type="http://schemas.openxmlformats.org/officeDocument/2006/relationships/image" Target="../media/image26.png"/><Relationship Id="rId1" Type="http://schemas.openxmlformats.org/officeDocument/2006/relationships/tags" Target="../tags/tag65.xml"/><Relationship Id="rId6" Type="http://schemas.openxmlformats.org/officeDocument/2006/relationships/notesSlide" Target="../notesSlides/notesSlide8.xml"/><Relationship Id="rId11" Type="http://schemas.openxmlformats.org/officeDocument/2006/relationships/image" Target="../media/image129.png"/><Relationship Id="rId24" Type="http://schemas.openxmlformats.org/officeDocument/2006/relationships/image" Target="../media/image14.png"/><Relationship Id="rId5" Type="http://schemas.openxmlformats.org/officeDocument/2006/relationships/slideLayout" Target="../slideLayouts/slideLayout1.xml"/><Relationship Id="rId15" Type="http://schemas.openxmlformats.org/officeDocument/2006/relationships/image" Target="../media/image128.svg"/><Relationship Id="rId23" Type="http://schemas.openxmlformats.org/officeDocument/2006/relationships/image" Target="../media/image13.png"/><Relationship Id="rId19" Type="http://schemas.openxmlformats.org/officeDocument/2006/relationships/image" Target="../media/image25.svg"/><Relationship Id="rId4" Type="http://schemas.openxmlformats.org/officeDocument/2006/relationships/tags" Target="../tags/tag68.xml"/><Relationship Id="rId9" Type="http://schemas.microsoft.com/office/2014/relationships/chartEx" Target="../charts/chartEx2.xml"/><Relationship Id="rId14" Type="http://schemas.openxmlformats.org/officeDocument/2006/relationships/image" Target="../media/image127.png"/><Relationship Id="rId22" Type="http://schemas.openxmlformats.org/officeDocument/2006/relationships/image" Target="../media/image12.jpeg"/></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2.jpeg"/><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1.jpeg"/><Relationship Id="rId17" Type="http://schemas.openxmlformats.org/officeDocument/2006/relationships/chart" Target="../charts/chart86.xml"/><Relationship Id="rId2" Type="http://schemas.openxmlformats.org/officeDocument/2006/relationships/tags" Target="../tags/tag311.xml"/><Relationship Id="rId16" Type="http://schemas.openxmlformats.org/officeDocument/2006/relationships/chart" Target="../charts/chart85.xml"/><Relationship Id="rId1" Type="http://schemas.openxmlformats.org/officeDocument/2006/relationships/tags" Target="../tags/tag310.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05.emf"/><Relationship Id="rId15" Type="http://schemas.openxmlformats.org/officeDocument/2006/relationships/image" Target="../media/image14.png"/><Relationship Id="rId10" Type="http://schemas.openxmlformats.org/officeDocument/2006/relationships/image" Target="../media/image26.png"/><Relationship Id="rId4" Type="http://schemas.openxmlformats.org/officeDocument/2006/relationships/oleObject" Target="../embeddings/oleObject120.bin"/><Relationship Id="rId9" Type="http://schemas.openxmlformats.org/officeDocument/2006/relationships/image" Target="../media/image25.svg"/><Relationship Id="rId14" Type="http://schemas.openxmlformats.org/officeDocument/2006/relationships/image" Target="../media/image13.png"/></Relationships>
</file>

<file path=ppt/slides/_rels/slide142.xml.rels><?xml version="1.0" encoding="UTF-8" standalone="yes"?>
<Relationships xmlns="http://schemas.openxmlformats.org/package/2006/relationships"><Relationship Id="rId8" Type="http://schemas.openxmlformats.org/officeDocument/2006/relationships/tags" Target="../tags/tag319.xml"/><Relationship Id="rId13" Type="http://schemas.openxmlformats.org/officeDocument/2006/relationships/image" Target="../media/image105.emf"/><Relationship Id="rId18" Type="http://schemas.openxmlformats.org/officeDocument/2006/relationships/image" Target="../media/image26.png"/><Relationship Id="rId26" Type="http://schemas.openxmlformats.org/officeDocument/2006/relationships/image" Target="../media/image562.png"/><Relationship Id="rId3" Type="http://schemas.openxmlformats.org/officeDocument/2006/relationships/tags" Target="../tags/tag314.xml"/><Relationship Id="rId21" Type="http://schemas.openxmlformats.org/officeDocument/2006/relationships/image" Target="../media/image13.png"/><Relationship Id="rId7" Type="http://schemas.openxmlformats.org/officeDocument/2006/relationships/tags" Target="../tags/tag318.xml"/><Relationship Id="rId12" Type="http://schemas.openxmlformats.org/officeDocument/2006/relationships/oleObject" Target="../embeddings/oleObject121.bin"/><Relationship Id="rId17" Type="http://schemas.openxmlformats.org/officeDocument/2006/relationships/image" Target="../media/image25.svg"/><Relationship Id="rId25" Type="http://schemas.openxmlformats.org/officeDocument/2006/relationships/image" Target="../media/image561.png"/><Relationship Id="rId2" Type="http://schemas.openxmlformats.org/officeDocument/2006/relationships/tags" Target="../tags/tag313.xml"/><Relationship Id="rId16" Type="http://schemas.openxmlformats.org/officeDocument/2006/relationships/image" Target="../media/image24.png"/><Relationship Id="rId20" Type="http://schemas.openxmlformats.org/officeDocument/2006/relationships/image" Target="../media/image12.jpeg"/><Relationship Id="rId1" Type="http://schemas.openxmlformats.org/officeDocument/2006/relationships/tags" Target="../tags/tag312.xml"/><Relationship Id="rId6" Type="http://schemas.openxmlformats.org/officeDocument/2006/relationships/tags" Target="../tags/tag317.xml"/><Relationship Id="rId11" Type="http://schemas.openxmlformats.org/officeDocument/2006/relationships/slideLayout" Target="../slideLayouts/slideLayout1.xml"/><Relationship Id="rId24" Type="http://schemas.openxmlformats.org/officeDocument/2006/relationships/image" Target="../media/image560.png"/><Relationship Id="rId5" Type="http://schemas.openxmlformats.org/officeDocument/2006/relationships/tags" Target="../tags/tag316.xml"/><Relationship Id="rId15" Type="http://schemas.openxmlformats.org/officeDocument/2006/relationships/image" Target="../media/image23.svg"/><Relationship Id="rId23" Type="http://schemas.openxmlformats.org/officeDocument/2006/relationships/chart" Target="../charts/chart87.xml"/><Relationship Id="rId28" Type="http://schemas.openxmlformats.org/officeDocument/2006/relationships/image" Target="../media/image563.png"/><Relationship Id="rId10" Type="http://schemas.openxmlformats.org/officeDocument/2006/relationships/tags" Target="../tags/tag321.xml"/><Relationship Id="rId19" Type="http://schemas.openxmlformats.org/officeDocument/2006/relationships/image" Target="../media/image27.svg"/><Relationship Id="rId4" Type="http://schemas.openxmlformats.org/officeDocument/2006/relationships/tags" Target="../tags/tag315.xml"/><Relationship Id="rId9" Type="http://schemas.openxmlformats.org/officeDocument/2006/relationships/tags" Target="../tags/tag320.xml"/><Relationship Id="rId14" Type="http://schemas.openxmlformats.org/officeDocument/2006/relationships/image" Target="../media/image22.png"/><Relationship Id="rId22" Type="http://schemas.openxmlformats.org/officeDocument/2006/relationships/image" Target="../media/image14.png"/><Relationship Id="rId27" Type="http://schemas.openxmlformats.org/officeDocument/2006/relationships/image" Target="../media/image70.png"/></Relationships>
</file>

<file path=ppt/slides/_rels/slide143.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3.png"/><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2.jpeg"/><Relationship Id="rId2" Type="http://schemas.openxmlformats.org/officeDocument/2006/relationships/tags" Target="../tags/tag323.xml"/><Relationship Id="rId16" Type="http://schemas.openxmlformats.org/officeDocument/2006/relationships/chart" Target="../charts/chart89.xml"/><Relationship Id="rId1" Type="http://schemas.openxmlformats.org/officeDocument/2006/relationships/tags" Target="../tags/tag322.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05.emf"/><Relationship Id="rId15" Type="http://schemas.openxmlformats.org/officeDocument/2006/relationships/chart" Target="../charts/chart88.xml"/><Relationship Id="rId10" Type="http://schemas.openxmlformats.org/officeDocument/2006/relationships/image" Target="../media/image26.png"/><Relationship Id="rId4" Type="http://schemas.openxmlformats.org/officeDocument/2006/relationships/oleObject" Target="../embeddings/oleObject122.bin"/><Relationship Id="rId9" Type="http://schemas.openxmlformats.org/officeDocument/2006/relationships/image" Target="../media/image25.svg"/><Relationship Id="rId14" Type="http://schemas.openxmlformats.org/officeDocument/2006/relationships/image" Target="../media/image14.png"/></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2.jpeg"/><Relationship Id="rId18" Type="http://schemas.openxmlformats.org/officeDocument/2006/relationships/image" Target="../media/image57.png"/><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1.jpeg"/><Relationship Id="rId17" Type="http://schemas.openxmlformats.org/officeDocument/2006/relationships/chart" Target="../charts/chart91.xml"/><Relationship Id="rId2" Type="http://schemas.openxmlformats.org/officeDocument/2006/relationships/tags" Target="../tags/tag325.xml"/><Relationship Id="rId16" Type="http://schemas.openxmlformats.org/officeDocument/2006/relationships/chart" Target="../charts/chart90.xml"/><Relationship Id="rId1" Type="http://schemas.openxmlformats.org/officeDocument/2006/relationships/tags" Target="../tags/tag324.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05.emf"/><Relationship Id="rId15" Type="http://schemas.openxmlformats.org/officeDocument/2006/relationships/image" Target="../media/image14.png"/><Relationship Id="rId10" Type="http://schemas.openxmlformats.org/officeDocument/2006/relationships/image" Target="../media/image26.png"/><Relationship Id="rId19" Type="http://schemas.openxmlformats.org/officeDocument/2006/relationships/image" Target="../media/image58.svg"/><Relationship Id="rId4" Type="http://schemas.openxmlformats.org/officeDocument/2006/relationships/oleObject" Target="../embeddings/oleObject123.bin"/><Relationship Id="rId9" Type="http://schemas.openxmlformats.org/officeDocument/2006/relationships/image" Target="../media/image25.svg"/><Relationship Id="rId14" Type="http://schemas.openxmlformats.org/officeDocument/2006/relationships/image" Target="../media/image13.png"/></Relationships>
</file>

<file path=ppt/slides/_rels/slide146.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2.jpeg"/><Relationship Id="rId18" Type="http://schemas.openxmlformats.org/officeDocument/2006/relationships/image" Target="../media/image566.png"/><Relationship Id="rId3" Type="http://schemas.openxmlformats.org/officeDocument/2006/relationships/slideLayout" Target="../slideLayouts/slideLayout1.xml"/><Relationship Id="rId21" Type="http://schemas.openxmlformats.org/officeDocument/2006/relationships/image" Target="../media/image568.svg"/><Relationship Id="rId7" Type="http://schemas.openxmlformats.org/officeDocument/2006/relationships/image" Target="../media/image22.png"/><Relationship Id="rId12" Type="http://schemas.openxmlformats.org/officeDocument/2006/relationships/image" Target="../media/image27.svg"/><Relationship Id="rId17" Type="http://schemas.openxmlformats.org/officeDocument/2006/relationships/image" Target="../media/image565.svg"/><Relationship Id="rId2" Type="http://schemas.openxmlformats.org/officeDocument/2006/relationships/tags" Target="../tags/tag327.xml"/><Relationship Id="rId16" Type="http://schemas.openxmlformats.org/officeDocument/2006/relationships/image" Target="../media/image564.png"/><Relationship Id="rId20" Type="http://schemas.openxmlformats.org/officeDocument/2006/relationships/image" Target="../media/image335.png"/><Relationship Id="rId1" Type="http://schemas.openxmlformats.org/officeDocument/2006/relationships/tags" Target="../tags/tag326.xml"/><Relationship Id="rId6" Type="http://schemas.openxmlformats.org/officeDocument/2006/relationships/image" Target="../media/image105.emf"/><Relationship Id="rId11" Type="http://schemas.openxmlformats.org/officeDocument/2006/relationships/image" Target="../media/image26.png"/><Relationship Id="rId5" Type="http://schemas.openxmlformats.org/officeDocument/2006/relationships/oleObject" Target="../embeddings/oleObject124.bin"/><Relationship Id="rId15" Type="http://schemas.openxmlformats.org/officeDocument/2006/relationships/image" Target="../media/image14.png"/><Relationship Id="rId10" Type="http://schemas.openxmlformats.org/officeDocument/2006/relationships/image" Target="../media/image25.svg"/><Relationship Id="rId19" Type="http://schemas.openxmlformats.org/officeDocument/2006/relationships/image" Target="../media/image567.svg"/><Relationship Id="rId4" Type="http://schemas.openxmlformats.org/officeDocument/2006/relationships/notesSlide" Target="../notesSlides/notesSlide59.xml"/><Relationship Id="rId9" Type="http://schemas.openxmlformats.org/officeDocument/2006/relationships/image" Target="../media/image24.png"/><Relationship Id="rId14" Type="http://schemas.openxmlformats.org/officeDocument/2006/relationships/image" Target="../media/image13.png"/></Relationships>
</file>

<file path=ppt/slides/_rels/slide147.xml.rels><?xml version="1.0" encoding="UTF-8" standalone="yes"?>
<Relationships xmlns="http://schemas.openxmlformats.org/package/2006/relationships"><Relationship Id="rId13" Type="http://schemas.openxmlformats.org/officeDocument/2006/relationships/image" Target="../media/image12.jpeg"/><Relationship Id="rId18" Type="http://schemas.openxmlformats.org/officeDocument/2006/relationships/image" Target="../media/image571.png"/><Relationship Id="rId26" Type="http://schemas.openxmlformats.org/officeDocument/2006/relationships/image" Target="../media/image579.png"/><Relationship Id="rId3" Type="http://schemas.openxmlformats.org/officeDocument/2006/relationships/slideLayout" Target="../slideLayouts/slideLayout1.xml"/><Relationship Id="rId21" Type="http://schemas.openxmlformats.org/officeDocument/2006/relationships/image" Target="../media/image574.png"/><Relationship Id="rId34" Type="http://schemas.openxmlformats.org/officeDocument/2006/relationships/image" Target="../media/image586.png"/><Relationship Id="rId7" Type="http://schemas.openxmlformats.org/officeDocument/2006/relationships/image" Target="../media/image23.svg"/><Relationship Id="rId12" Type="http://schemas.openxmlformats.org/officeDocument/2006/relationships/image" Target="../media/image11.jpeg"/><Relationship Id="rId17" Type="http://schemas.openxmlformats.org/officeDocument/2006/relationships/image" Target="../media/image570.png"/><Relationship Id="rId25" Type="http://schemas.openxmlformats.org/officeDocument/2006/relationships/image" Target="../media/image578.png"/><Relationship Id="rId33" Type="http://schemas.openxmlformats.org/officeDocument/2006/relationships/image" Target="../media/image585.png"/><Relationship Id="rId2" Type="http://schemas.openxmlformats.org/officeDocument/2006/relationships/tags" Target="../tags/tag329.xml"/><Relationship Id="rId16" Type="http://schemas.openxmlformats.org/officeDocument/2006/relationships/image" Target="../media/image569.png"/><Relationship Id="rId20" Type="http://schemas.openxmlformats.org/officeDocument/2006/relationships/image" Target="../media/image573.png"/><Relationship Id="rId29" Type="http://schemas.openxmlformats.org/officeDocument/2006/relationships/image" Target="../media/image581.png"/><Relationship Id="rId1" Type="http://schemas.openxmlformats.org/officeDocument/2006/relationships/tags" Target="../tags/tag328.xml"/><Relationship Id="rId6" Type="http://schemas.openxmlformats.org/officeDocument/2006/relationships/image" Target="../media/image22.png"/><Relationship Id="rId11" Type="http://schemas.openxmlformats.org/officeDocument/2006/relationships/image" Target="../media/image27.svg"/><Relationship Id="rId24" Type="http://schemas.openxmlformats.org/officeDocument/2006/relationships/image" Target="../media/image577.png"/><Relationship Id="rId32" Type="http://schemas.openxmlformats.org/officeDocument/2006/relationships/image" Target="../media/image584.png"/><Relationship Id="rId5" Type="http://schemas.openxmlformats.org/officeDocument/2006/relationships/image" Target="../media/image131.emf"/><Relationship Id="rId15" Type="http://schemas.openxmlformats.org/officeDocument/2006/relationships/image" Target="../media/image14.png"/><Relationship Id="rId23" Type="http://schemas.openxmlformats.org/officeDocument/2006/relationships/image" Target="../media/image576.png"/><Relationship Id="rId28" Type="http://schemas.microsoft.com/office/2007/relationships/hdphoto" Target="../media/hdphoto4.wdp"/><Relationship Id="rId10" Type="http://schemas.openxmlformats.org/officeDocument/2006/relationships/image" Target="../media/image26.png"/><Relationship Id="rId19" Type="http://schemas.openxmlformats.org/officeDocument/2006/relationships/image" Target="../media/image572.png"/><Relationship Id="rId31" Type="http://schemas.openxmlformats.org/officeDocument/2006/relationships/image" Target="../media/image583.png"/><Relationship Id="rId4" Type="http://schemas.openxmlformats.org/officeDocument/2006/relationships/oleObject" Target="../embeddings/oleObject125.bin"/><Relationship Id="rId9" Type="http://schemas.openxmlformats.org/officeDocument/2006/relationships/image" Target="../media/image25.svg"/><Relationship Id="rId14" Type="http://schemas.openxmlformats.org/officeDocument/2006/relationships/image" Target="../media/image13.png"/><Relationship Id="rId22" Type="http://schemas.openxmlformats.org/officeDocument/2006/relationships/image" Target="../media/image575.png"/><Relationship Id="rId27" Type="http://schemas.openxmlformats.org/officeDocument/2006/relationships/image" Target="../media/image580.png"/><Relationship Id="rId30" Type="http://schemas.openxmlformats.org/officeDocument/2006/relationships/image" Target="../media/image582.png"/><Relationship Id="rId35" Type="http://schemas.openxmlformats.org/officeDocument/2006/relationships/image" Target="../media/image587.png"/><Relationship Id="rId8" Type="http://schemas.openxmlformats.org/officeDocument/2006/relationships/image" Target="../media/image24.png"/></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13.png"/><Relationship Id="rId3" Type="http://schemas.openxmlformats.org/officeDocument/2006/relationships/oleObject" Target="../embeddings/oleObject126.bin"/><Relationship Id="rId7" Type="http://schemas.openxmlformats.org/officeDocument/2006/relationships/image" Target="../media/image24.png"/><Relationship Id="rId12" Type="http://schemas.openxmlformats.org/officeDocument/2006/relationships/image" Target="../media/image12.jpeg"/><Relationship Id="rId2" Type="http://schemas.openxmlformats.org/officeDocument/2006/relationships/slideLayout" Target="../slideLayouts/slideLayout1.xml"/><Relationship Id="rId1" Type="http://schemas.openxmlformats.org/officeDocument/2006/relationships/tags" Target="../tags/tag330.xml"/><Relationship Id="rId6" Type="http://schemas.openxmlformats.org/officeDocument/2006/relationships/image" Target="../media/image23.svg"/><Relationship Id="rId11" Type="http://schemas.openxmlformats.org/officeDocument/2006/relationships/image" Target="../media/image11.jpeg"/><Relationship Id="rId5" Type="http://schemas.openxmlformats.org/officeDocument/2006/relationships/image" Target="../media/image22.png"/><Relationship Id="rId15" Type="http://schemas.openxmlformats.org/officeDocument/2006/relationships/chart" Target="../charts/chart92.xml"/><Relationship Id="rId10" Type="http://schemas.openxmlformats.org/officeDocument/2006/relationships/image" Target="../media/image27.svg"/><Relationship Id="rId4" Type="http://schemas.openxmlformats.org/officeDocument/2006/relationships/image" Target="../media/image105.emf"/><Relationship Id="rId9" Type="http://schemas.openxmlformats.org/officeDocument/2006/relationships/image" Target="../media/image26.png"/><Relationship Id="rId14" Type="http://schemas.openxmlformats.org/officeDocument/2006/relationships/image" Target="../media/image14.png"/></Relationships>
</file>

<file path=ppt/slides/_rels/slide15.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23.svg"/><Relationship Id="rId18" Type="http://schemas.openxmlformats.org/officeDocument/2006/relationships/image" Target="../media/image14.png"/><Relationship Id="rId3" Type="http://schemas.openxmlformats.org/officeDocument/2006/relationships/slideLayout" Target="../slideLayouts/slideLayout1.xml"/><Relationship Id="rId7" Type="http://schemas.openxmlformats.org/officeDocument/2006/relationships/chart" Target="../charts/chart15.xml"/><Relationship Id="rId12" Type="http://schemas.openxmlformats.org/officeDocument/2006/relationships/image" Target="../media/image22.png"/><Relationship Id="rId17" Type="http://schemas.openxmlformats.org/officeDocument/2006/relationships/image" Target="../media/image27.svg"/><Relationship Id="rId2" Type="http://schemas.openxmlformats.org/officeDocument/2006/relationships/tags" Target="../tags/tag70.xml"/><Relationship Id="rId16" Type="http://schemas.openxmlformats.org/officeDocument/2006/relationships/image" Target="../media/image26.png"/><Relationship Id="rId1" Type="http://schemas.openxmlformats.org/officeDocument/2006/relationships/tags" Target="../tags/tag69.xml"/><Relationship Id="rId6" Type="http://schemas.openxmlformats.org/officeDocument/2006/relationships/chart" Target="../charts/chart14.xml"/><Relationship Id="rId11" Type="http://schemas.openxmlformats.org/officeDocument/2006/relationships/image" Target="../media/image130.png"/><Relationship Id="rId5" Type="http://schemas.openxmlformats.org/officeDocument/2006/relationships/image" Target="../media/image105.emf"/><Relationship Id="rId15" Type="http://schemas.openxmlformats.org/officeDocument/2006/relationships/image" Target="../media/image25.svg"/><Relationship Id="rId10" Type="http://schemas.openxmlformats.org/officeDocument/2006/relationships/image" Target="../media/image12.jpeg"/><Relationship Id="rId4" Type="http://schemas.openxmlformats.org/officeDocument/2006/relationships/oleObject" Target="../embeddings/oleObject15.bin"/><Relationship Id="rId9" Type="http://schemas.openxmlformats.org/officeDocument/2006/relationships/image" Target="../media/image13.png"/><Relationship Id="rId14" Type="http://schemas.openxmlformats.org/officeDocument/2006/relationships/image" Target="../media/image24.png"/></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1.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2.jpeg"/><Relationship Id="rId18" Type="http://schemas.openxmlformats.org/officeDocument/2006/relationships/image" Target="../media/image132.png"/><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1.jpeg"/><Relationship Id="rId2" Type="http://schemas.openxmlformats.org/officeDocument/2006/relationships/tags" Target="../tags/tag332.xml"/><Relationship Id="rId16" Type="http://schemas.microsoft.com/office/2014/relationships/chartEx" Target="../charts/chartEx13.xml"/><Relationship Id="rId1" Type="http://schemas.openxmlformats.org/officeDocument/2006/relationships/tags" Target="../tags/tag331.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31.emf"/><Relationship Id="rId15" Type="http://schemas.openxmlformats.org/officeDocument/2006/relationships/image" Target="../media/image14.png"/><Relationship Id="rId10" Type="http://schemas.openxmlformats.org/officeDocument/2006/relationships/image" Target="../media/image26.png"/><Relationship Id="rId4" Type="http://schemas.openxmlformats.org/officeDocument/2006/relationships/oleObject" Target="../embeddings/oleObject127.bin"/><Relationship Id="rId9" Type="http://schemas.openxmlformats.org/officeDocument/2006/relationships/image" Target="../media/image25.svg"/><Relationship Id="rId14" Type="http://schemas.openxmlformats.org/officeDocument/2006/relationships/image" Target="../media/image13.png"/></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3.xml.rels><?xml version="1.0" encoding="UTF-8" standalone="yes"?>
<Relationships xmlns="http://schemas.openxmlformats.org/package/2006/relationships"><Relationship Id="rId8" Type="http://schemas.openxmlformats.org/officeDocument/2006/relationships/image" Target="../media/image590.png"/><Relationship Id="rId13" Type="http://schemas.openxmlformats.org/officeDocument/2006/relationships/image" Target="../media/image595.svg"/><Relationship Id="rId18" Type="http://schemas.openxmlformats.org/officeDocument/2006/relationships/image" Target="../media/image600.png"/><Relationship Id="rId26" Type="http://schemas.openxmlformats.org/officeDocument/2006/relationships/image" Target="../media/image26.png"/><Relationship Id="rId3" Type="http://schemas.openxmlformats.org/officeDocument/2006/relationships/slideLayout" Target="../slideLayouts/slideLayout1.xml"/><Relationship Id="rId21" Type="http://schemas.openxmlformats.org/officeDocument/2006/relationships/image" Target="../media/image603.svg"/><Relationship Id="rId7" Type="http://schemas.openxmlformats.org/officeDocument/2006/relationships/image" Target="../media/image589.svg"/><Relationship Id="rId12" Type="http://schemas.openxmlformats.org/officeDocument/2006/relationships/image" Target="../media/image594.png"/><Relationship Id="rId17" Type="http://schemas.openxmlformats.org/officeDocument/2006/relationships/image" Target="../media/image599.svg"/><Relationship Id="rId25" Type="http://schemas.openxmlformats.org/officeDocument/2006/relationships/image" Target="../media/image25.svg"/><Relationship Id="rId2" Type="http://schemas.openxmlformats.org/officeDocument/2006/relationships/tags" Target="../tags/tag334.xml"/><Relationship Id="rId16" Type="http://schemas.openxmlformats.org/officeDocument/2006/relationships/image" Target="../media/image598.png"/><Relationship Id="rId20" Type="http://schemas.openxmlformats.org/officeDocument/2006/relationships/image" Target="../media/image602.png"/><Relationship Id="rId29" Type="http://schemas.openxmlformats.org/officeDocument/2006/relationships/image" Target="../media/image12.jpeg"/><Relationship Id="rId1" Type="http://schemas.openxmlformats.org/officeDocument/2006/relationships/tags" Target="../tags/tag333.xml"/><Relationship Id="rId6" Type="http://schemas.openxmlformats.org/officeDocument/2006/relationships/image" Target="../media/image588.png"/><Relationship Id="rId11" Type="http://schemas.openxmlformats.org/officeDocument/2006/relationships/image" Target="../media/image593.svg"/><Relationship Id="rId24" Type="http://schemas.openxmlformats.org/officeDocument/2006/relationships/image" Target="../media/image24.png"/><Relationship Id="rId5" Type="http://schemas.openxmlformats.org/officeDocument/2006/relationships/image" Target="../media/image8.emf"/><Relationship Id="rId15" Type="http://schemas.openxmlformats.org/officeDocument/2006/relationships/image" Target="../media/image597.svg"/><Relationship Id="rId23" Type="http://schemas.openxmlformats.org/officeDocument/2006/relationships/image" Target="../media/image23.svg"/><Relationship Id="rId28" Type="http://schemas.openxmlformats.org/officeDocument/2006/relationships/image" Target="../media/image11.jpeg"/><Relationship Id="rId10" Type="http://schemas.openxmlformats.org/officeDocument/2006/relationships/image" Target="../media/image592.png"/><Relationship Id="rId19" Type="http://schemas.openxmlformats.org/officeDocument/2006/relationships/image" Target="../media/image601.svg"/><Relationship Id="rId31" Type="http://schemas.openxmlformats.org/officeDocument/2006/relationships/image" Target="../media/image14.png"/><Relationship Id="rId4" Type="http://schemas.openxmlformats.org/officeDocument/2006/relationships/oleObject" Target="../embeddings/oleObject128.bin"/><Relationship Id="rId9" Type="http://schemas.openxmlformats.org/officeDocument/2006/relationships/image" Target="../media/image591.svg"/><Relationship Id="rId14" Type="http://schemas.openxmlformats.org/officeDocument/2006/relationships/image" Target="../media/image596.png"/><Relationship Id="rId22" Type="http://schemas.openxmlformats.org/officeDocument/2006/relationships/image" Target="../media/image22.png"/><Relationship Id="rId27" Type="http://schemas.openxmlformats.org/officeDocument/2006/relationships/image" Target="../media/image27.svg"/><Relationship Id="rId30" Type="http://schemas.openxmlformats.org/officeDocument/2006/relationships/image" Target="../media/image13.png"/></Relationships>
</file>

<file path=ppt/slides/_rels/slide15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36.xml"/><Relationship Id="rId1" Type="http://schemas.openxmlformats.org/officeDocument/2006/relationships/tags" Target="../tags/tag335.xml"/><Relationship Id="rId5" Type="http://schemas.openxmlformats.org/officeDocument/2006/relationships/image" Target="../media/image4.emf"/><Relationship Id="rId4" Type="http://schemas.openxmlformats.org/officeDocument/2006/relationships/oleObject" Target="../embeddings/oleObject129.bin"/></Relationships>
</file>

<file path=ppt/slides/_rels/slide155.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image" Target="../media/image605.png"/><Relationship Id="rId5" Type="http://schemas.openxmlformats.org/officeDocument/2006/relationships/image" Target="../media/image604.png"/><Relationship Id="rId4"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8" Type="http://schemas.openxmlformats.org/officeDocument/2006/relationships/image" Target="../media/image132.png"/><Relationship Id="rId13" Type="http://schemas.openxmlformats.org/officeDocument/2006/relationships/image" Target="../media/image26.png"/><Relationship Id="rId18" Type="http://schemas.openxmlformats.org/officeDocument/2006/relationships/image" Target="../media/image14.png"/><Relationship Id="rId3" Type="http://schemas.openxmlformats.org/officeDocument/2006/relationships/slideLayout" Target="../slideLayouts/slideLayout1.xml"/><Relationship Id="rId12" Type="http://schemas.openxmlformats.org/officeDocument/2006/relationships/image" Target="../media/image25.svg"/><Relationship Id="rId17" Type="http://schemas.openxmlformats.org/officeDocument/2006/relationships/image" Target="../media/image13.png"/><Relationship Id="rId2" Type="http://schemas.openxmlformats.org/officeDocument/2006/relationships/tags" Target="../tags/tag72.xml"/><Relationship Id="rId16" Type="http://schemas.openxmlformats.org/officeDocument/2006/relationships/image" Target="../media/image12.jpeg"/><Relationship Id="rId1" Type="http://schemas.openxmlformats.org/officeDocument/2006/relationships/tags" Target="../tags/tag71.xml"/><Relationship Id="rId6" Type="http://schemas.microsoft.com/office/2014/relationships/chartEx" Target="../charts/chartEx3.xml"/><Relationship Id="rId11" Type="http://schemas.openxmlformats.org/officeDocument/2006/relationships/image" Target="../media/image24.png"/><Relationship Id="rId5" Type="http://schemas.openxmlformats.org/officeDocument/2006/relationships/image" Target="../media/image131.emf"/><Relationship Id="rId15" Type="http://schemas.openxmlformats.org/officeDocument/2006/relationships/image" Target="../media/image11.jpeg"/><Relationship Id="rId10" Type="http://schemas.openxmlformats.org/officeDocument/2006/relationships/image" Target="../media/image23.svg"/><Relationship Id="rId4" Type="http://schemas.openxmlformats.org/officeDocument/2006/relationships/oleObject" Target="../embeddings/oleObject16.bin"/><Relationship Id="rId9" Type="http://schemas.openxmlformats.org/officeDocument/2006/relationships/image" Target="../media/image22.png"/><Relationship Id="rId14" Type="http://schemas.openxmlformats.org/officeDocument/2006/relationships/image" Target="../media/image27.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134.svg"/><Relationship Id="rId13" Type="http://schemas.openxmlformats.org/officeDocument/2006/relationships/image" Target="../media/image15.png"/><Relationship Id="rId18" Type="http://schemas.openxmlformats.org/officeDocument/2006/relationships/image" Target="../media/image20.svg"/><Relationship Id="rId3" Type="http://schemas.openxmlformats.org/officeDocument/2006/relationships/slideLayout" Target="../slideLayouts/slideLayout1.xml"/><Relationship Id="rId21" Type="http://schemas.openxmlformats.org/officeDocument/2006/relationships/image" Target="../media/image24.png"/><Relationship Id="rId7" Type="http://schemas.openxmlformats.org/officeDocument/2006/relationships/image" Target="../media/image133.png"/><Relationship Id="rId12" Type="http://schemas.openxmlformats.org/officeDocument/2006/relationships/image" Target="../media/image14.png"/><Relationship Id="rId17" Type="http://schemas.openxmlformats.org/officeDocument/2006/relationships/image" Target="../media/image19.png"/><Relationship Id="rId2" Type="http://schemas.openxmlformats.org/officeDocument/2006/relationships/tags" Target="../tags/tag74.xml"/><Relationship Id="rId16" Type="http://schemas.openxmlformats.org/officeDocument/2006/relationships/image" Target="../media/image18.svg"/><Relationship Id="rId20" Type="http://schemas.openxmlformats.org/officeDocument/2006/relationships/image" Target="../media/image23.svg"/><Relationship Id="rId1" Type="http://schemas.openxmlformats.org/officeDocument/2006/relationships/tags" Target="../tags/tag73.xml"/><Relationship Id="rId6" Type="http://schemas.openxmlformats.org/officeDocument/2006/relationships/image" Target="../media/image8.emf"/><Relationship Id="rId11" Type="http://schemas.openxmlformats.org/officeDocument/2006/relationships/image" Target="../media/image13.png"/><Relationship Id="rId24" Type="http://schemas.openxmlformats.org/officeDocument/2006/relationships/image" Target="../media/image27.svg"/><Relationship Id="rId5" Type="http://schemas.openxmlformats.org/officeDocument/2006/relationships/oleObject" Target="../embeddings/oleObject17.bin"/><Relationship Id="rId15" Type="http://schemas.openxmlformats.org/officeDocument/2006/relationships/image" Target="../media/image17.png"/><Relationship Id="rId23" Type="http://schemas.openxmlformats.org/officeDocument/2006/relationships/image" Target="../media/image26.png"/><Relationship Id="rId10" Type="http://schemas.openxmlformats.org/officeDocument/2006/relationships/image" Target="../media/image12.jpeg"/><Relationship Id="rId19" Type="http://schemas.openxmlformats.org/officeDocument/2006/relationships/image" Target="../media/image22.png"/><Relationship Id="rId4" Type="http://schemas.openxmlformats.org/officeDocument/2006/relationships/notesSlide" Target="../notesSlides/notesSlide9.xml"/><Relationship Id="rId9" Type="http://schemas.openxmlformats.org/officeDocument/2006/relationships/image" Target="../media/image11.jpeg"/><Relationship Id="rId14" Type="http://schemas.openxmlformats.org/officeDocument/2006/relationships/image" Target="../media/image16.svg"/><Relationship Id="rId22" Type="http://schemas.openxmlformats.org/officeDocument/2006/relationships/image" Target="../media/image25.svg"/></Relationships>
</file>

<file path=ppt/slides/_rels/slide19.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20.svg"/><Relationship Id="rId18" Type="http://schemas.openxmlformats.org/officeDocument/2006/relationships/image" Target="../media/image22.png"/><Relationship Id="rId26" Type="http://schemas.openxmlformats.org/officeDocument/2006/relationships/image" Target="../media/image13.png"/><Relationship Id="rId3" Type="http://schemas.openxmlformats.org/officeDocument/2006/relationships/slideLayout" Target="../slideLayouts/slideLayout1.xml"/><Relationship Id="rId21" Type="http://schemas.openxmlformats.org/officeDocument/2006/relationships/image" Target="../media/image25.svg"/><Relationship Id="rId7" Type="http://schemas.openxmlformats.org/officeDocument/2006/relationships/image" Target="../media/image29.svg"/><Relationship Id="rId12" Type="http://schemas.openxmlformats.org/officeDocument/2006/relationships/image" Target="../media/image19.png"/><Relationship Id="rId17" Type="http://schemas.openxmlformats.org/officeDocument/2006/relationships/image" Target="../media/image18.svg"/><Relationship Id="rId25" Type="http://schemas.openxmlformats.org/officeDocument/2006/relationships/image" Target="../media/image12.jpeg"/><Relationship Id="rId2" Type="http://schemas.openxmlformats.org/officeDocument/2006/relationships/tags" Target="../tags/tag76.xml"/><Relationship Id="rId16" Type="http://schemas.openxmlformats.org/officeDocument/2006/relationships/image" Target="../media/image17.png"/><Relationship Id="rId20" Type="http://schemas.openxmlformats.org/officeDocument/2006/relationships/image" Target="../media/image24.png"/><Relationship Id="rId1" Type="http://schemas.openxmlformats.org/officeDocument/2006/relationships/tags" Target="../tags/tag75.xml"/><Relationship Id="rId6" Type="http://schemas.openxmlformats.org/officeDocument/2006/relationships/image" Target="../media/image28.png"/><Relationship Id="rId11" Type="http://schemas.openxmlformats.org/officeDocument/2006/relationships/image" Target="../media/image41.svg"/><Relationship Id="rId24" Type="http://schemas.openxmlformats.org/officeDocument/2006/relationships/image" Target="../media/image11.jpeg"/><Relationship Id="rId5" Type="http://schemas.openxmlformats.org/officeDocument/2006/relationships/image" Target="../media/image135.emf"/><Relationship Id="rId15" Type="http://schemas.openxmlformats.org/officeDocument/2006/relationships/image" Target="../media/image16.svg"/><Relationship Id="rId23" Type="http://schemas.openxmlformats.org/officeDocument/2006/relationships/image" Target="../media/image27.svg"/><Relationship Id="rId10" Type="http://schemas.openxmlformats.org/officeDocument/2006/relationships/image" Target="../media/image40.png"/><Relationship Id="rId19" Type="http://schemas.openxmlformats.org/officeDocument/2006/relationships/image" Target="../media/image23.svg"/><Relationship Id="rId4" Type="http://schemas.openxmlformats.org/officeDocument/2006/relationships/oleObject" Target="../embeddings/oleObject18.bin"/><Relationship Id="rId9" Type="http://schemas.openxmlformats.org/officeDocument/2006/relationships/image" Target="../media/image39.svg"/><Relationship Id="rId14" Type="http://schemas.openxmlformats.org/officeDocument/2006/relationships/image" Target="../media/image15.png"/><Relationship Id="rId22" Type="http://schemas.openxmlformats.org/officeDocument/2006/relationships/image" Target="../media/image26.png"/><Relationship Id="rId27" Type="http://schemas.openxmlformats.org/officeDocument/2006/relationships/image" Target="../media/image1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8" Type="http://schemas.openxmlformats.org/officeDocument/2006/relationships/image" Target="../media/image137.svg"/><Relationship Id="rId13" Type="http://schemas.openxmlformats.org/officeDocument/2006/relationships/image" Target="../media/image28.png"/><Relationship Id="rId18" Type="http://schemas.openxmlformats.org/officeDocument/2006/relationships/image" Target="../media/image41.svg"/><Relationship Id="rId26" Type="http://schemas.openxmlformats.org/officeDocument/2006/relationships/image" Target="../media/image12.jpeg"/><Relationship Id="rId3" Type="http://schemas.openxmlformats.org/officeDocument/2006/relationships/slideLayout" Target="../slideLayouts/slideLayout1.xml"/><Relationship Id="rId21" Type="http://schemas.openxmlformats.org/officeDocument/2006/relationships/image" Target="../media/image24.png"/><Relationship Id="rId7" Type="http://schemas.openxmlformats.org/officeDocument/2006/relationships/image" Target="../media/image136.png"/><Relationship Id="rId12" Type="http://schemas.openxmlformats.org/officeDocument/2006/relationships/image" Target="../media/image141.svg"/><Relationship Id="rId17" Type="http://schemas.openxmlformats.org/officeDocument/2006/relationships/image" Target="../media/image40.png"/><Relationship Id="rId25" Type="http://schemas.openxmlformats.org/officeDocument/2006/relationships/image" Target="../media/image11.jpeg"/><Relationship Id="rId2" Type="http://schemas.openxmlformats.org/officeDocument/2006/relationships/tags" Target="../tags/tag78.xml"/><Relationship Id="rId16" Type="http://schemas.openxmlformats.org/officeDocument/2006/relationships/image" Target="../media/image39.svg"/><Relationship Id="rId20" Type="http://schemas.openxmlformats.org/officeDocument/2006/relationships/image" Target="../media/image23.svg"/><Relationship Id="rId1" Type="http://schemas.openxmlformats.org/officeDocument/2006/relationships/tags" Target="../tags/tag77.xml"/><Relationship Id="rId6" Type="http://schemas.openxmlformats.org/officeDocument/2006/relationships/image" Target="../media/image4.emf"/><Relationship Id="rId11" Type="http://schemas.openxmlformats.org/officeDocument/2006/relationships/image" Target="../media/image140.png"/><Relationship Id="rId24" Type="http://schemas.openxmlformats.org/officeDocument/2006/relationships/image" Target="../media/image27.svg"/><Relationship Id="rId5" Type="http://schemas.openxmlformats.org/officeDocument/2006/relationships/oleObject" Target="../embeddings/oleObject19.bin"/><Relationship Id="rId15" Type="http://schemas.openxmlformats.org/officeDocument/2006/relationships/image" Target="../media/image38.png"/><Relationship Id="rId23" Type="http://schemas.openxmlformats.org/officeDocument/2006/relationships/image" Target="../media/image26.png"/><Relationship Id="rId28" Type="http://schemas.openxmlformats.org/officeDocument/2006/relationships/image" Target="../media/image14.png"/><Relationship Id="rId10" Type="http://schemas.openxmlformats.org/officeDocument/2006/relationships/image" Target="../media/image139.svg"/><Relationship Id="rId19" Type="http://schemas.openxmlformats.org/officeDocument/2006/relationships/image" Target="../media/image22.png"/><Relationship Id="rId4" Type="http://schemas.openxmlformats.org/officeDocument/2006/relationships/notesSlide" Target="../notesSlides/notesSlide10.xml"/><Relationship Id="rId9" Type="http://schemas.openxmlformats.org/officeDocument/2006/relationships/image" Target="../media/image138.png"/><Relationship Id="rId14" Type="http://schemas.openxmlformats.org/officeDocument/2006/relationships/image" Target="../media/image29.svg"/><Relationship Id="rId22" Type="http://schemas.openxmlformats.org/officeDocument/2006/relationships/image" Target="../media/image25.svg"/><Relationship Id="rId27" Type="http://schemas.openxmlformats.org/officeDocument/2006/relationships/image" Target="../media/image13.png"/></Relationships>
</file>

<file path=ppt/slides/_rels/slide21.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144.png"/><Relationship Id="rId18" Type="http://schemas.openxmlformats.org/officeDocument/2006/relationships/image" Target="../media/image23.svg"/><Relationship Id="rId26" Type="http://schemas.openxmlformats.org/officeDocument/2006/relationships/image" Target="../media/image14.png"/><Relationship Id="rId3" Type="http://schemas.openxmlformats.org/officeDocument/2006/relationships/slideLayout" Target="../slideLayouts/slideLayout1.xml"/><Relationship Id="rId21" Type="http://schemas.openxmlformats.org/officeDocument/2006/relationships/image" Target="../media/image26.png"/><Relationship Id="rId7" Type="http://schemas.openxmlformats.org/officeDocument/2006/relationships/image" Target="../media/image28.png"/><Relationship Id="rId12" Type="http://schemas.openxmlformats.org/officeDocument/2006/relationships/image" Target="../media/image143.svg"/><Relationship Id="rId17" Type="http://schemas.openxmlformats.org/officeDocument/2006/relationships/image" Target="../media/image22.png"/><Relationship Id="rId25" Type="http://schemas.openxmlformats.org/officeDocument/2006/relationships/image" Target="../media/image13.png"/><Relationship Id="rId2" Type="http://schemas.openxmlformats.org/officeDocument/2006/relationships/tags" Target="../tags/tag80.xml"/><Relationship Id="rId16" Type="http://schemas.openxmlformats.org/officeDocument/2006/relationships/image" Target="../media/image41.svg"/><Relationship Id="rId20" Type="http://schemas.openxmlformats.org/officeDocument/2006/relationships/image" Target="../media/image25.svg"/><Relationship Id="rId1" Type="http://schemas.openxmlformats.org/officeDocument/2006/relationships/tags" Target="../tags/tag79.xml"/><Relationship Id="rId6" Type="http://schemas.openxmlformats.org/officeDocument/2006/relationships/image" Target="../media/image4.emf"/><Relationship Id="rId11" Type="http://schemas.openxmlformats.org/officeDocument/2006/relationships/image" Target="../media/image142.png"/><Relationship Id="rId24" Type="http://schemas.openxmlformats.org/officeDocument/2006/relationships/image" Target="../media/image12.jpeg"/><Relationship Id="rId5" Type="http://schemas.openxmlformats.org/officeDocument/2006/relationships/oleObject" Target="../embeddings/oleObject20.bin"/><Relationship Id="rId15" Type="http://schemas.openxmlformats.org/officeDocument/2006/relationships/image" Target="../media/image40.png"/><Relationship Id="rId23" Type="http://schemas.openxmlformats.org/officeDocument/2006/relationships/image" Target="../media/image11.jpeg"/><Relationship Id="rId10" Type="http://schemas.openxmlformats.org/officeDocument/2006/relationships/image" Target="../media/image39.svg"/><Relationship Id="rId19" Type="http://schemas.openxmlformats.org/officeDocument/2006/relationships/image" Target="../media/image24.png"/><Relationship Id="rId4" Type="http://schemas.openxmlformats.org/officeDocument/2006/relationships/notesSlide" Target="../notesSlides/notesSlide11.xml"/><Relationship Id="rId9" Type="http://schemas.openxmlformats.org/officeDocument/2006/relationships/image" Target="../media/image38.png"/><Relationship Id="rId14" Type="http://schemas.openxmlformats.org/officeDocument/2006/relationships/image" Target="../media/image145.svg"/><Relationship Id="rId22" Type="http://schemas.openxmlformats.org/officeDocument/2006/relationships/image" Target="../media/image27.svg"/></Relationships>
</file>

<file path=ppt/slides/_rels/slide22.xml.rels><?xml version="1.0" encoding="UTF-8" standalone="yes"?>
<Relationships xmlns="http://schemas.openxmlformats.org/package/2006/relationships"><Relationship Id="rId8" Type="http://schemas.openxmlformats.org/officeDocument/2006/relationships/image" Target="../media/image138.png"/><Relationship Id="rId13" Type="http://schemas.openxmlformats.org/officeDocument/2006/relationships/image" Target="../media/image41.svg"/><Relationship Id="rId18" Type="http://schemas.openxmlformats.org/officeDocument/2006/relationships/image" Target="../media/image22.png"/><Relationship Id="rId26" Type="http://schemas.openxmlformats.org/officeDocument/2006/relationships/image" Target="../media/image13.png"/><Relationship Id="rId3" Type="http://schemas.openxmlformats.org/officeDocument/2006/relationships/slideLayout" Target="../slideLayouts/slideLayout1.xml"/><Relationship Id="rId21" Type="http://schemas.openxmlformats.org/officeDocument/2006/relationships/image" Target="../media/image25.svg"/><Relationship Id="rId7" Type="http://schemas.openxmlformats.org/officeDocument/2006/relationships/image" Target="../media/image146.svg"/><Relationship Id="rId12" Type="http://schemas.openxmlformats.org/officeDocument/2006/relationships/image" Target="../media/image40.png"/><Relationship Id="rId17" Type="http://schemas.openxmlformats.org/officeDocument/2006/relationships/image" Target="../media/image39.svg"/><Relationship Id="rId25" Type="http://schemas.openxmlformats.org/officeDocument/2006/relationships/image" Target="../media/image12.jpeg"/><Relationship Id="rId2" Type="http://schemas.openxmlformats.org/officeDocument/2006/relationships/tags" Target="../tags/tag82.xml"/><Relationship Id="rId16" Type="http://schemas.openxmlformats.org/officeDocument/2006/relationships/image" Target="../media/image38.png"/><Relationship Id="rId20" Type="http://schemas.openxmlformats.org/officeDocument/2006/relationships/image" Target="../media/image24.png"/><Relationship Id="rId1" Type="http://schemas.openxmlformats.org/officeDocument/2006/relationships/tags" Target="../tags/tag81.xml"/><Relationship Id="rId6" Type="http://schemas.openxmlformats.org/officeDocument/2006/relationships/image" Target="../media/image136.png"/><Relationship Id="rId11" Type="http://schemas.openxmlformats.org/officeDocument/2006/relationships/image" Target="../media/image148.svg"/><Relationship Id="rId24" Type="http://schemas.openxmlformats.org/officeDocument/2006/relationships/image" Target="../media/image11.jpeg"/><Relationship Id="rId5" Type="http://schemas.openxmlformats.org/officeDocument/2006/relationships/image" Target="../media/image105.emf"/><Relationship Id="rId15" Type="http://schemas.openxmlformats.org/officeDocument/2006/relationships/image" Target="../media/image29.svg"/><Relationship Id="rId23" Type="http://schemas.openxmlformats.org/officeDocument/2006/relationships/image" Target="../media/image27.svg"/><Relationship Id="rId10" Type="http://schemas.openxmlformats.org/officeDocument/2006/relationships/image" Target="../media/image140.png"/><Relationship Id="rId19" Type="http://schemas.openxmlformats.org/officeDocument/2006/relationships/image" Target="../media/image23.svg"/><Relationship Id="rId4" Type="http://schemas.openxmlformats.org/officeDocument/2006/relationships/oleObject" Target="../embeddings/oleObject21.bin"/><Relationship Id="rId9" Type="http://schemas.openxmlformats.org/officeDocument/2006/relationships/image" Target="../media/image147.svg"/><Relationship Id="rId14" Type="http://schemas.openxmlformats.org/officeDocument/2006/relationships/image" Target="../media/image28.png"/><Relationship Id="rId22" Type="http://schemas.openxmlformats.org/officeDocument/2006/relationships/image" Target="../media/image26.png"/><Relationship Id="rId27" Type="http://schemas.openxmlformats.org/officeDocument/2006/relationships/image" Target="../media/image14.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notesSlide" Target="../notesSlides/notesSlide12.xml"/><Relationship Id="rId13" Type="http://schemas.openxmlformats.org/officeDocument/2006/relationships/image" Target="../media/image14.png"/><Relationship Id="rId18" Type="http://schemas.openxmlformats.org/officeDocument/2006/relationships/image" Target="../media/image32.png"/><Relationship Id="rId26" Type="http://schemas.openxmlformats.org/officeDocument/2006/relationships/image" Target="../media/image25.svg"/><Relationship Id="rId3" Type="http://schemas.openxmlformats.org/officeDocument/2006/relationships/tags" Target="../tags/tag85.xml"/><Relationship Id="rId21" Type="http://schemas.openxmlformats.org/officeDocument/2006/relationships/image" Target="../media/image12.jpeg"/><Relationship Id="rId7" Type="http://schemas.openxmlformats.org/officeDocument/2006/relationships/slideLayout" Target="../slideLayouts/slideLayout1.xml"/><Relationship Id="rId12" Type="http://schemas.openxmlformats.org/officeDocument/2006/relationships/chart" Target="../charts/chart17.xml"/><Relationship Id="rId17" Type="http://schemas.openxmlformats.org/officeDocument/2006/relationships/image" Target="../media/image31.svg"/><Relationship Id="rId25" Type="http://schemas.openxmlformats.org/officeDocument/2006/relationships/image" Target="../media/image24.png"/><Relationship Id="rId2" Type="http://schemas.openxmlformats.org/officeDocument/2006/relationships/tags" Target="../tags/tag84.xml"/><Relationship Id="rId16" Type="http://schemas.openxmlformats.org/officeDocument/2006/relationships/image" Target="../media/image30.png"/><Relationship Id="rId20" Type="http://schemas.openxmlformats.org/officeDocument/2006/relationships/image" Target="../media/image11.jpeg"/><Relationship Id="rId29" Type="http://schemas.openxmlformats.org/officeDocument/2006/relationships/image" Target="../media/image34.png"/><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chart" Target="../charts/chart16.xml"/><Relationship Id="rId24" Type="http://schemas.openxmlformats.org/officeDocument/2006/relationships/image" Target="../media/image23.svg"/><Relationship Id="rId32" Type="http://schemas.openxmlformats.org/officeDocument/2006/relationships/image" Target="../media/image36.png"/><Relationship Id="rId5" Type="http://schemas.openxmlformats.org/officeDocument/2006/relationships/tags" Target="../tags/tag87.xml"/><Relationship Id="rId15" Type="http://schemas.openxmlformats.org/officeDocument/2006/relationships/image" Target="../media/image29.svg"/><Relationship Id="rId23" Type="http://schemas.openxmlformats.org/officeDocument/2006/relationships/image" Target="../media/image22.png"/><Relationship Id="rId28" Type="http://schemas.openxmlformats.org/officeDocument/2006/relationships/image" Target="../media/image27.svg"/><Relationship Id="rId10" Type="http://schemas.openxmlformats.org/officeDocument/2006/relationships/image" Target="../media/image1.emf"/><Relationship Id="rId19" Type="http://schemas.openxmlformats.org/officeDocument/2006/relationships/image" Target="../media/image33.svg"/><Relationship Id="rId31" Type="http://schemas.openxmlformats.org/officeDocument/2006/relationships/image" Target="../media/image2.png"/><Relationship Id="rId4" Type="http://schemas.openxmlformats.org/officeDocument/2006/relationships/tags" Target="../tags/tag86.xml"/><Relationship Id="rId9" Type="http://schemas.openxmlformats.org/officeDocument/2006/relationships/oleObject" Target="../embeddings/oleObject22.bin"/><Relationship Id="rId14" Type="http://schemas.openxmlformats.org/officeDocument/2006/relationships/image" Target="../media/image28.png"/><Relationship Id="rId22" Type="http://schemas.openxmlformats.org/officeDocument/2006/relationships/image" Target="../media/image13.png"/><Relationship Id="rId27" Type="http://schemas.openxmlformats.org/officeDocument/2006/relationships/image" Target="../media/image26.png"/><Relationship Id="rId30" Type="http://schemas.openxmlformats.org/officeDocument/2006/relationships/image" Target="../media/image35.svg"/></Relationships>
</file>

<file path=ppt/slides/_rels/slide25.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11.jpeg"/><Relationship Id="rId18" Type="http://schemas.openxmlformats.org/officeDocument/2006/relationships/image" Target="../media/image24.png"/><Relationship Id="rId3" Type="http://schemas.openxmlformats.org/officeDocument/2006/relationships/slideLayout" Target="../slideLayouts/slideLayout1.xml"/><Relationship Id="rId21" Type="http://schemas.openxmlformats.org/officeDocument/2006/relationships/image" Target="../media/image27.svg"/><Relationship Id="rId7" Type="http://schemas.openxmlformats.org/officeDocument/2006/relationships/image" Target="../media/image16.svg"/><Relationship Id="rId12" Type="http://schemas.openxmlformats.org/officeDocument/2006/relationships/image" Target="../media/image13.png"/><Relationship Id="rId17" Type="http://schemas.openxmlformats.org/officeDocument/2006/relationships/image" Target="../media/image23.svg"/><Relationship Id="rId2" Type="http://schemas.openxmlformats.org/officeDocument/2006/relationships/tags" Target="../tags/tag90.xml"/><Relationship Id="rId16" Type="http://schemas.openxmlformats.org/officeDocument/2006/relationships/image" Target="../media/image22.png"/><Relationship Id="rId20" Type="http://schemas.openxmlformats.org/officeDocument/2006/relationships/image" Target="../media/image26.png"/><Relationship Id="rId1" Type="http://schemas.openxmlformats.org/officeDocument/2006/relationships/tags" Target="../tags/tag89.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8.emf"/><Relationship Id="rId15" Type="http://schemas.openxmlformats.org/officeDocument/2006/relationships/image" Target="../media/image14.png"/><Relationship Id="rId10" Type="http://schemas.openxmlformats.org/officeDocument/2006/relationships/image" Target="../media/image19.png"/><Relationship Id="rId19" Type="http://schemas.openxmlformats.org/officeDocument/2006/relationships/image" Target="../media/image25.svg"/><Relationship Id="rId4" Type="http://schemas.openxmlformats.org/officeDocument/2006/relationships/oleObject" Target="../embeddings/oleObject23.bin"/><Relationship Id="rId9" Type="http://schemas.openxmlformats.org/officeDocument/2006/relationships/image" Target="../media/image18.svg"/><Relationship Id="rId14" Type="http://schemas.openxmlformats.org/officeDocument/2006/relationships/image" Target="../media/image12.jpeg"/></Relationships>
</file>

<file path=ppt/slides/_rels/slide26.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49.png"/><Relationship Id="rId18" Type="http://schemas.openxmlformats.org/officeDocument/2006/relationships/image" Target="../media/image23.svg"/><Relationship Id="rId3" Type="http://schemas.openxmlformats.org/officeDocument/2006/relationships/slideLayout" Target="../slideLayouts/slideLayout1.xml"/><Relationship Id="rId21" Type="http://schemas.openxmlformats.org/officeDocument/2006/relationships/image" Target="../media/image26.png"/><Relationship Id="rId7" Type="http://schemas.openxmlformats.org/officeDocument/2006/relationships/image" Target="../media/image11.jpeg"/><Relationship Id="rId12" Type="http://schemas.openxmlformats.org/officeDocument/2006/relationships/image" Target="../media/image13.png"/><Relationship Id="rId17" Type="http://schemas.openxmlformats.org/officeDocument/2006/relationships/image" Target="../media/image22.png"/><Relationship Id="rId2" Type="http://schemas.openxmlformats.org/officeDocument/2006/relationships/tags" Target="../tags/tag92.xml"/><Relationship Id="rId16" Type="http://schemas.openxmlformats.org/officeDocument/2006/relationships/image" Target="../media/image14.png"/><Relationship Id="rId20" Type="http://schemas.openxmlformats.org/officeDocument/2006/relationships/image" Target="../media/image25.svg"/><Relationship Id="rId1" Type="http://schemas.openxmlformats.org/officeDocument/2006/relationships/tags" Target="../tags/tag91.xml"/><Relationship Id="rId6" Type="http://schemas.openxmlformats.org/officeDocument/2006/relationships/image" Target="../media/image149.png"/><Relationship Id="rId11" Type="http://schemas.openxmlformats.org/officeDocument/2006/relationships/image" Target="../media/image12.jpeg"/><Relationship Id="rId5" Type="http://schemas.openxmlformats.org/officeDocument/2006/relationships/image" Target="../media/image1.emf"/><Relationship Id="rId15" Type="http://schemas.openxmlformats.org/officeDocument/2006/relationships/image" Target="../media/image54.png"/><Relationship Id="rId23" Type="http://schemas.openxmlformats.org/officeDocument/2006/relationships/image" Target="../media/image47.png"/><Relationship Id="rId10" Type="http://schemas.openxmlformats.org/officeDocument/2006/relationships/image" Target="../media/image46.png"/><Relationship Id="rId19" Type="http://schemas.openxmlformats.org/officeDocument/2006/relationships/image" Target="../media/image24.png"/><Relationship Id="rId4" Type="http://schemas.openxmlformats.org/officeDocument/2006/relationships/oleObject" Target="../embeddings/oleObject24.bin"/><Relationship Id="rId9" Type="http://schemas.openxmlformats.org/officeDocument/2006/relationships/image" Target="../media/image2.png"/><Relationship Id="rId14" Type="http://schemas.openxmlformats.org/officeDocument/2006/relationships/image" Target="../media/image44.png"/><Relationship Id="rId22" Type="http://schemas.openxmlformats.org/officeDocument/2006/relationships/image" Target="../media/image27.svg"/></Relationships>
</file>

<file path=ppt/slides/_rels/slide27.xml.rels><?xml version="1.0" encoding="UTF-8" standalone="yes"?>
<Relationships xmlns="http://schemas.openxmlformats.org/package/2006/relationships"><Relationship Id="rId13" Type="http://schemas.openxmlformats.org/officeDocument/2006/relationships/image" Target="../media/image49.png"/><Relationship Id="rId18" Type="http://schemas.openxmlformats.org/officeDocument/2006/relationships/image" Target="../media/image150.png"/><Relationship Id="rId26" Type="http://schemas.openxmlformats.org/officeDocument/2006/relationships/image" Target="../media/image153.png"/><Relationship Id="rId21" Type="http://schemas.openxmlformats.org/officeDocument/2006/relationships/image" Target="../media/image12.jpeg"/><Relationship Id="rId34" Type="http://schemas.openxmlformats.org/officeDocument/2006/relationships/image" Target="../media/image24.png"/><Relationship Id="rId7" Type="http://schemas.openxmlformats.org/officeDocument/2006/relationships/image" Target="../media/image15.png"/><Relationship Id="rId12" Type="http://schemas.openxmlformats.org/officeDocument/2006/relationships/image" Target="../media/image20.svg"/><Relationship Id="rId17" Type="http://schemas.openxmlformats.org/officeDocument/2006/relationships/image" Target="../media/image43.png"/><Relationship Id="rId25" Type="http://schemas.openxmlformats.org/officeDocument/2006/relationships/image" Target="../media/image152.svg"/><Relationship Id="rId33" Type="http://schemas.openxmlformats.org/officeDocument/2006/relationships/image" Target="../media/image23.svg"/><Relationship Id="rId38" Type="http://schemas.openxmlformats.org/officeDocument/2006/relationships/image" Target="../media/image48.png"/><Relationship Id="rId2" Type="http://schemas.openxmlformats.org/officeDocument/2006/relationships/tags" Target="../tags/tag94.xml"/><Relationship Id="rId16" Type="http://schemas.openxmlformats.org/officeDocument/2006/relationships/image" Target="../media/image47.png"/><Relationship Id="rId20" Type="http://schemas.openxmlformats.org/officeDocument/2006/relationships/image" Target="../media/image11.jpeg"/><Relationship Id="rId29" Type="http://schemas.openxmlformats.org/officeDocument/2006/relationships/image" Target="../media/image14.png"/><Relationship Id="rId1" Type="http://schemas.openxmlformats.org/officeDocument/2006/relationships/tags" Target="../tags/tag93.xml"/><Relationship Id="rId6" Type="http://schemas.openxmlformats.org/officeDocument/2006/relationships/image" Target="../media/image8.emf"/><Relationship Id="rId11" Type="http://schemas.openxmlformats.org/officeDocument/2006/relationships/image" Target="../media/image19.png"/><Relationship Id="rId24" Type="http://schemas.openxmlformats.org/officeDocument/2006/relationships/image" Target="../media/image151.png"/><Relationship Id="rId32" Type="http://schemas.openxmlformats.org/officeDocument/2006/relationships/image" Target="../media/image22.png"/><Relationship Id="rId37" Type="http://schemas.openxmlformats.org/officeDocument/2006/relationships/image" Target="../media/image27.svg"/><Relationship Id="rId5" Type="http://schemas.openxmlformats.org/officeDocument/2006/relationships/oleObject" Target="../embeddings/oleObject25.bin"/><Relationship Id="rId15" Type="http://schemas.openxmlformats.org/officeDocument/2006/relationships/image" Target="../media/image46.png"/><Relationship Id="rId23" Type="http://schemas.openxmlformats.org/officeDocument/2006/relationships/image" Target="../media/image45.png"/><Relationship Id="rId28" Type="http://schemas.openxmlformats.org/officeDocument/2006/relationships/image" Target="../media/image44.png"/><Relationship Id="rId36" Type="http://schemas.openxmlformats.org/officeDocument/2006/relationships/image" Target="../media/image26.png"/><Relationship Id="rId10" Type="http://schemas.openxmlformats.org/officeDocument/2006/relationships/image" Target="../media/image18.svg"/><Relationship Id="rId19" Type="http://schemas.openxmlformats.org/officeDocument/2006/relationships/image" Target="../media/image13.png"/><Relationship Id="rId31" Type="http://schemas.openxmlformats.org/officeDocument/2006/relationships/image" Target="../media/image2.png"/><Relationship Id="rId4" Type="http://schemas.openxmlformats.org/officeDocument/2006/relationships/notesSlide" Target="../notesSlides/notesSlide13.xml"/><Relationship Id="rId9" Type="http://schemas.openxmlformats.org/officeDocument/2006/relationships/image" Target="../media/image17.png"/><Relationship Id="rId14" Type="http://schemas.openxmlformats.org/officeDocument/2006/relationships/image" Target="../media/image50.png"/><Relationship Id="rId22" Type="http://schemas.openxmlformats.org/officeDocument/2006/relationships/image" Target="../media/image42.png"/><Relationship Id="rId27" Type="http://schemas.openxmlformats.org/officeDocument/2006/relationships/image" Target="../media/image154.svg"/><Relationship Id="rId30" Type="http://schemas.openxmlformats.org/officeDocument/2006/relationships/image" Target="../media/image54.png"/><Relationship Id="rId35" Type="http://schemas.openxmlformats.org/officeDocument/2006/relationships/image" Target="../media/image25.svg"/><Relationship Id="rId8" Type="http://schemas.openxmlformats.org/officeDocument/2006/relationships/image" Target="../media/image16.svg"/><Relationship Id="rId3"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3" Type="http://schemas.openxmlformats.org/officeDocument/2006/relationships/image" Target="../media/image12.jpeg"/><Relationship Id="rId18" Type="http://schemas.openxmlformats.org/officeDocument/2006/relationships/image" Target="../media/image38.png"/><Relationship Id="rId26" Type="http://schemas.openxmlformats.org/officeDocument/2006/relationships/image" Target="../media/image46.png"/><Relationship Id="rId21" Type="http://schemas.openxmlformats.org/officeDocument/2006/relationships/image" Target="../media/image41.svg"/><Relationship Id="rId34" Type="http://schemas.openxmlformats.org/officeDocument/2006/relationships/image" Target="../media/image53.png"/><Relationship Id="rId7" Type="http://schemas.openxmlformats.org/officeDocument/2006/relationships/image" Target="../media/image23.svg"/><Relationship Id="rId12" Type="http://schemas.openxmlformats.org/officeDocument/2006/relationships/image" Target="../media/image11.jpeg"/><Relationship Id="rId17" Type="http://schemas.openxmlformats.org/officeDocument/2006/relationships/image" Target="../media/image29.svg"/><Relationship Id="rId25" Type="http://schemas.openxmlformats.org/officeDocument/2006/relationships/image" Target="../media/image45.png"/><Relationship Id="rId33" Type="http://schemas.openxmlformats.org/officeDocument/2006/relationships/image" Target="../media/image2.png"/><Relationship Id="rId2" Type="http://schemas.openxmlformats.org/officeDocument/2006/relationships/tags" Target="../tags/tag96.xml"/><Relationship Id="rId16" Type="http://schemas.openxmlformats.org/officeDocument/2006/relationships/image" Target="../media/image28.png"/><Relationship Id="rId20" Type="http://schemas.openxmlformats.org/officeDocument/2006/relationships/image" Target="../media/image40.png"/><Relationship Id="rId29" Type="http://schemas.openxmlformats.org/officeDocument/2006/relationships/image" Target="../media/image49.png"/><Relationship Id="rId1" Type="http://schemas.openxmlformats.org/officeDocument/2006/relationships/tags" Target="../tags/tag95.xml"/><Relationship Id="rId6" Type="http://schemas.openxmlformats.org/officeDocument/2006/relationships/image" Target="../media/image22.png"/><Relationship Id="rId11" Type="http://schemas.openxmlformats.org/officeDocument/2006/relationships/image" Target="../media/image27.svg"/><Relationship Id="rId24" Type="http://schemas.openxmlformats.org/officeDocument/2006/relationships/image" Target="../media/image44.png"/><Relationship Id="rId32" Type="http://schemas.openxmlformats.org/officeDocument/2006/relationships/image" Target="../media/image52.svg"/><Relationship Id="rId37" Type="http://schemas.openxmlformats.org/officeDocument/2006/relationships/image" Target="../media/image56.png"/><Relationship Id="rId5" Type="http://schemas.openxmlformats.org/officeDocument/2006/relationships/image" Target="../media/image37.emf"/><Relationship Id="rId15" Type="http://schemas.openxmlformats.org/officeDocument/2006/relationships/image" Target="../media/image14.png"/><Relationship Id="rId23" Type="http://schemas.openxmlformats.org/officeDocument/2006/relationships/image" Target="../media/image43.png"/><Relationship Id="rId28" Type="http://schemas.openxmlformats.org/officeDocument/2006/relationships/image" Target="../media/image48.png"/><Relationship Id="rId36" Type="http://schemas.openxmlformats.org/officeDocument/2006/relationships/image" Target="../media/image55.png"/><Relationship Id="rId10" Type="http://schemas.openxmlformats.org/officeDocument/2006/relationships/image" Target="../media/image26.png"/><Relationship Id="rId19" Type="http://schemas.openxmlformats.org/officeDocument/2006/relationships/image" Target="../media/image39.svg"/><Relationship Id="rId31" Type="http://schemas.openxmlformats.org/officeDocument/2006/relationships/image" Target="../media/image51.png"/><Relationship Id="rId4" Type="http://schemas.openxmlformats.org/officeDocument/2006/relationships/oleObject" Target="../embeddings/oleObject26.bin"/><Relationship Id="rId9" Type="http://schemas.openxmlformats.org/officeDocument/2006/relationships/image" Target="../media/image25.svg"/><Relationship Id="rId14" Type="http://schemas.openxmlformats.org/officeDocument/2006/relationships/image" Target="../media/image13.png"/><Relationship Id="rId22" Type="http://schemas.openxmlformats.org/officeDocument/2006/relationships/image" Target="../media/image42.png"/><Relationship Id="rId27" Type="http://schemas.openxmlformats.org/officeDocument/2006/relationships/image" Target="../media/image47.png"/><Relationship Id="rId30" Type="http://schemas.openxmlformats.org/officeDocument/2006/relationships/image" Target="../media/image50.png"/><Relationship Id="rId35" Type="http://schemas.openxmlformats.org/officeDocument/2006/relationships/image" Target="../media/image54.png"/><Relationship Id="rId8" Type="http://schemas.openxmlformats.org/officeDocument/2006/relationships/image" Target="../media/image24.png"/><Relationship Id="rId3"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slide" Target="slide4.xml"/><Relationship Id="rId1" Type="http://schemas.openxmlformats.org/officeDocument/2006/relationships/slideLayout" Target="../slideLayouts/slideLayout2.xml"/><Relationship Id="rId6" Type="http://schemas.openxmlformats.org/officeDocument/2006/relationships/slide" Target="slide152.xml"/><Relationship Id="rId5" Type="http://schemas.openxmlformats.org/officeDocument/2006/relationships/slide" Target="slide121.xml"/><Relationship Id="rId4" Type="http://schemas.openxmlformats.org/officeDocument/2006/relationships/slide" Target="slide66.xml"/></Relationships>
</file>

<file path=ppt/slides/_rels/slide30.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3" Type="http://schemas.openxmlformats.org/officeDocument/2006/relationships/slideLayout" Target="../slideLayouts/slideLayout1.xml"/><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tags" Target="../tags/tag98.xml"/><Relationship Id="rId16" Type="http://schemas.openxmlformats.org/officeDocument/2006/relationships/image" Target="../media/image14.png"/><Relationship Id="rId1" Type="http://schemas.openxmlformats.org/officeDocument/2006/relationships/tags" Target="../tags/tag97.xml"/><Relationship Id="rId6" Type="http://schemas.openxmlformats.org/officeDocument/2006/relationships/image" Target="../media/image149.png"/><Relationship Id="rId11" Type="http://schemas.openxmlformats.org/officeDocument/2006/relationships/image" Target="../media/image26.png"/><Relationship Id="rId5" Type="http://schemas.openxmlformats.org/officeDocument/2006/relationships/image" Target="../media/image1.emf"/><Relationship Id="rId15" Type="http://schemas.openxmlformats.org/officeDocument/2006/relationships/image" Target="../media/image13.png"/><Relationship Id="rId10" Type="http://schemas.openxmlformats.org/officeDocument/2006/relationships/image" Target="../media/image25.svg"/><Relationship Id="rId4" Type="http://schemas.openxmlformats.org/officeDocument/2006/relationships/oleObject" Target="../embeddings/oleObject27.bin"/><Relationship Id="rId9" Type="http://schemas.openxmlformats.org/officeDocument/2006/relationships/image" Target="../media/image24.png"/><Relationship Id="rId14" Type="http://schemas.openxmlformats.org/officeDocument/2006/relationships/image" Target="../media/image12.jpeg"/></Relationships>
</file>

<file path=ppt/slides/_rels/slide31.xml.rels><?xml version="1.0" encoding="UTF-8" standalone="yes"?>
<Relationships xmlns="http://schemas.openxmlformats.org/package/2006/relationships"><Relationship Id="rId8" Type="http://schemas.openxmlformats.org/officeDocument/2006/relationships/image" Target="../media/image156.svg"/><Relationship Id="rId13" Type="http://schemas.openxmlformats.org/officeDocument/2006/relationships/image" Target="../media/image161.png"/><Relationship Id="rId18" Type="http://schemas.openxmlformats.org/officeDocument/2006/relationships/image" Target="../media/image39.svg"/><Relationship Id="rId26" Type="http://schemas.openxmlformats.org/officeDocument/2006/relationships/image" Target="../media/image25.svg"/><Relationship Id="rId3" Type="http://schemas.openxmlformats.org/officeDocument/2006/relationships/tags" Target="../tags/tag101.xml"/><Relationship Id="rId21" Type="http://schemas.openxmlformats.org/officeDocument/2006/relationships/image" Target="../media/image163.png"/><Relationship Id="rId7" Type="http://schemas.openxmlformats.org/officeDocument/2006/relationships/image" Target="../media/image155.png"/><Relationship Id="rId12" Type="http://schemas.openxmlformats.org/officeDocument/2006/relationships/image" Target="../media/image160.svg"/><Relationship Id="rId17" Type="http://schemas.openxmlformats.org/officeDocument/2006/relationships/image" Target="../media/image38.png"/><Relationship Id="rId25" Type="http://schemas.openxmlformats.org/officeDocument/2006/relationships/image" Target="../media/image24.png"/><Relationship Id="rId2" Type="http://schemas.openxmlformats.org/officeDocument/2006/relationships/tags" Target="../tags/tag100.xml"/><Relationship Id="rId16" Type="http://schemas.openxmlformats.org/officeDocument/2006/relationships/image" Target="../media/image29.svg"/><Relationship Id="rId20" Type="http://schemas.openxmlformats.org/officeDocument/2006/relationships/image" Target="../media/image41.svg"/><Relationship Id="rId29" Type="http://schemas.openxmlformats.org/officeDocument/2006/relationships/image" Target="../media/image11.jpeg"/><Relationship Id="rId1" Type="http://schemas.openxmlformats.org/officeDocument/2006/relationships/tags" Target="../tags/tag99.xml"/><Relationship Id="rId6" Type="http://schemas.openxmlformats.org/officeDocument/2006/relationships/image" Target="../media/image8.emf"/><Relationship Id="rId11" Type="http://schemas.openxmlformats.org/officeDocument/2006/relationships/image" Target="../media/image159.png"/><Relationship Id="rId24" Type="http://schemas.openxmlformats.org/officeDocument/2006/relationships/image" Target="../media/image23.svg"/><Relationship Id="rId32" Type="http://schemas.openxmlformats.org/officeDocument/2006/relationships/image" Target="../media/image14.png"/><Relationship Id="rId5" Type="http://schemas.openxmlformats.org/officeDocument/2006/relationships/oleObject" Target="../embeddings/oleObject28.bin"/><Relationship Id="rId15" Type="http://schemas.openxmlformats.org/officeDocument/2006/relationships/image" Target="../media/image28.png"/><Relationship Id="rId23" Type="http://schemas.openxmlformats.org/officeDocument/2006/relationships/image" Target="../media/image22.png"/><Relationship Id="rId28" Type="http://schemas.openxmlformats.org/officeDocument/2006/relationships/image" Target="../media/image27.svg"/><Relationship Id="rId10" Type="http://schemas.openxmlformats.org/officeDocument/2006/relationships/image" Target="../media/image158.svg"/><Relationship Id="rId19" Type="http://schemas.openxmlformats.org/officeDocument/2006/relationships/image" Target="../media/image40.png"/><Relationship Id="rId31" Type="http://schemas.openxmlformats.org/officeDocument/2006/relationships/image" Target="../media/image13.png"/><Relationship Id="rId4" Type="http://schemas.openxmlformats.org/officeDocument/2006/relationships/slideLayout" Target="../slideLayouts/slideLayout1.xml"/><Relationship Id="rId9" Type="http://schemas.openxmlformats.org/officeDocument/2006/relationships/image" Target="../media/image157.png"/><Relationship Id="rId14" Type="http://schemas.openxmlformats.org/officeDocument/2006/relationships/image" Target="../media/image162.svg"/><Relationship Id="rId22" Type="http://schemas.openxmlformats.org/officeDocument/2006/relationships/image" Target="../media/image164.svg"/><Relationship Id="rId27" Type="http://schemas.openxmlformats.org/officeDocument/2006/relationships/image" Target="../media/image26.png"/><Relationship Id="rId30" Type="http://schemas.openxmlformats.org/officeDocument/2006/relationships/image" Target="../media/image12.jpeg"/></Relationships>
</file>

<file path=ppt/slides/_rels/slide32.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oleObject" Target="../embeddings/oleObject29.bin"/><Relationship Id="rId18" Type="http://schemas.openxmlformats.org/officeDocument/2006/relationships/image" Target="../media/image11.jpeg"/><Relationship Id="rId26" Type="http://schemas.openxmlformats.org/officeDocument/2006/relationships/image" Target="../media/image27.svg"/><Relationship Id="rId3" Type="http://schemas.openxmlformats.org/officeDocument/2006/relationships/tags" Target="../tags/tag104.xml"/><Relationship Id="rId21" Type="http://schemas.openxmlformats.org/officeDocument/2006/relationships/image" Target="../media/image22.png"/><Relationship Id="rId7" Type="http://schemas.openxmlformats.org/officeDocument/2006/relationships/tags" Target="../tags/tag108.xml"/><Relationship Id="rId12" Type="http://schemas.openxmlformats.org/officeDocument/2006/relationships/slideLayout" Target="../slideLayouts/slideLayout1.xml"/><Relationship Id="rId17" Type="http://schemas.openxmlformats.org/officeDocument/2006/relationships/image" Target="../media/image166.svg"/><Relationship Id="rId25" Type="http://schemas.openxmlformats.org/officeDocument/2006/relationships/image" Target="../media/image26.png"/><Relationship Id="rId2" Type="http://schemas.openxmlformats.org/officeDocument/2006/relationships/tags" Target="../tags/tag103.xml"/><Relationship Id="rId16" Type="http://schemas.openxmlformats.org/officeDocument/2006/relationships/image" Target="../media/image165.png"/><Relationship Id="rId20" Type="http://schemas.openxmlformats.org/officeDocument/2006/relationships/image" Target="../media/image13.png"/><Relationship Id="rId1" Type="http://schemas.openxmlformats.org/officeDocument/2006/relationships/tags" Target="../tags/tag102.xml"/><Relationship Id="rId6" Type="http://schemas.openxmlformats.org/officeDocument/2006/relationships/tags" Target="../tags/tag107.xml"/><Relationship Id="rId11" Type="http://schemas.openxmlformats.org/officeDocument/2006/relationships/tags" Target="../tags/tag112.xml"/><Relationship Id="rId24" Type="http://schemas.openxmlformats.org/officeDocument/2006/relationships/image" Target="../media/image25.svg"/><Relationship Id="rId5" Type="http://schemas.openxmlformats.org/officeDocument/2006/relationships/tags" Target="../tags/tag106.xml"/><Relationship Id="rId15" Type="http://schemas.openxmlformats.org/officeDocument/2006/relationships/chart" Target="../charts/chart18.xml"/><Relationship Id="rId23" Type="http://schemas.openxmlformats.org/officeDocument/2006/relationships/image" Target="../media/image24.png"/><Relationship Id="rId10" Type="http://schemas.openxmlformats.org/officeDocument/2006/relationships/tags" Target="../tags/tag111.xml"/><Relationship Id="rId19" Type="http://schemas.openxmlformats.org/officeDocument/2006/relationships/image" Target="../media/image12.jpeg"/><Relationship Id="rId4" Type="http://schemas.openxmlformats.org/officeDocument/2006/relationships/tags" Target="../tags/tag105.xml"/><Relationship Id="rId9" Type="http://schemas.openxmlformats.org/officeDocument/2006/relationships/tags" Target="../tags/tag110.xml"/><Relationship Id="rId14" Type="http://schemas.openxmlformats.org/officeDocument/2006/relationships/image" Target="../media/image4.emf"/><Relationship Id="rId22" Type="http://schemas.openxmlformats.org/officeDocument/2006/relationships/image" Target="../media/image23.svg"/><Relationship Id="rId27" Type="http://schemas.openxmlformats.org/officeDocument/2006/relationships/image" Target="../media/image14.png"/></Relationships>
</file>

<file path=ppt/slides/_rels/slide33.xml.rels><?xml version="1.0" encoding="UTF-8" standalone="yes"?>
<Relationships xmlns="http://schemas.openxmlformats.org/package/2006/relationships"><Relationship Id="rId8" Type="http://schemas.openxmlformats.org/officeDocument/2006/relationships/image" Target="../media/image167.png"/><Relationship Id="rId13" Type="http://schemas.openxmlformats.org/officeDocument/2006/relationships/chart" Target="../charts/chart19.xml"/><Relationship Id="rId18" Type="http://schemas.openxmlformats.org/officeDocument/2006/relationships/image" Target="../media/image26.png"/><Relationship Id="rId3" Type="http://schemas.openxmlformats.org/officeDocument/2006/relationships/tags" Target="../tags/tag115.xml"/><Relationship Id="rId7" Type="http://schemas.openxmlformats.org/officeDocument/2006/relationships/image" Target="../media/image4.emf"/><Relationship Id="rId12" Type="http://schemas.openxmlformats.org/officeDocument/2006/relationships/image" Target="../media/image12.jpeg"/><Relationship Id="rId17" Type="http://schemas.openxmlformats.org/officeDocument/2006/relationships/image" Target="../media/image25.svg"/><Relationship Id="rId2" Type="http://schemas.openxmlformats.org/officeDocument/2006/relationships/tags" Target="../tags/tag114.xml"/><Relationship Id="rId16" Type="http://schemas.openxmlformats.org/officeDocument/2006/relationships/image" Target="../media/image24.png"/><Relationship Id="rId1" Type="http://schemas.openxmlformats.org/officeDocument/2006/relationships/tags" Target="../tags/tag113.xml"/><Relationship Id="rId6" Type="http://schemas.openxmlformats.org/officeDocument/2006/relationships/oleObject" Target="../embeddings/oleObject30.bin"/><Relationship Id="rId11" Type="http://schemas.openxmlformats.org/officeDocument/2006/relationships/image" Target="../media/image13.png"/><Relationship Id="rId5" Type="http://schemas.openxmlformats.org/officeDocument/2006/relationships/notesSlide" Target="../notesSlides/notesSlide14.xml"/><Relationship Id="rId15" Type="http://schemas.openxmlformats.org/officeDocument/2006/relationships/image" Target="../media/image23.svg"/><Relationship Id="rId10" Type="http://schemas.openxmlformats.org/officeDocument/2006/relationships/image" Target="../media/image14.png"/><Relationship Id="rId19" Type="http://schemas.openxmlformats.org/officeDocument/2006/relationships/image" Target="../media/image27.svg"/><Relationship Id="rId4" Type="http://schemas.openxmlformats.org/officeDocument/2006/relationships/slideLayout" Target="../slideLayouts/slideLayout1.xml"/><Relationship Id="rId9" Type="http://schemas.openxmlformats.org/officeDocument/2006/relationships/image" Target="../media/image11.jpeg"/><Relationship Id="rId14" Type="http://schemas.openxmlformats.org/officeDocument/2006/relationships/image" Target="../media/image22.png"/></Relationships>
</file>

<file path=ppt/slides/_rels/slide34.xml.rels><?xml version="1.0" encoding="UTF-8" standalone="yes"?>
<Relationships xmlns="http://schemas.openxmlformats.org/package/2006/relationships"><Relationship Id="rId8" Type="http://schemas.openxmlformats.org/officeDocument/2006/relationships/image" Target="../media/image4.emf"/><Relationship Id="rId13" Type="http://schemas.openxmlformats.org/officeDocument/2006/relationships/image" Target="../media/image169.svg"/><Relationship Id="rId18" Type="http://schemas.openxmlformats.org/officeDocument/2006/relationships/image" Target="../media/image23.svg"/><Relationship Id="rId3" Type="http://schemas.openxmlformats.org/officeDocument/2006/relationships/tags" Target="../tags/tag118.xml"/><Relationship Id="rId21" Type="http://schemas.openxmlformats.org/officeDocument/2006/relationships/image" Target="../media/image26.png"/><Relationship Id="rId7" Type="http://schemas.openxmlformats.org/officeDocument/2006/relationships/oleObject" Target="../embeddings/oleObject31.bin"/><Relationship Id="rId12" Type="http://schemas.openxmlformats.org/officeDocument/2006/relationships/image" Target="../media/image168.png"/><Relationship Id="rId17" Type="http://schemas.openxmlformats.org/officeDocument/2006/relationships/image" Target="../media/image22.png"/><Relationship Id="rId2" Type="http://schemas.openxmlformats.org/officeDocument/2006/relationships/tags" Target="../tags/tag117.xml"/><Relationship Id="rId16" Type="http://schemas.openxmlformats.org/officeDocument/2006/relationships/chart" Target="../charts/chart20.xml"/><Relationship Id="rId20" Type="http://schemas.openxmlformats.org/officeDocument/2006/relationships/image" Target="../media/image25.svg"/><Relationship Id="rId1" Type="http://schemas.openxmlformats.org/officeDocument/2006/relationships/tags" Target="../tags/tag116.xml"/><Relationship Id="rId6" Type="http://schemas.openxmlformats.org/officeDocument/2006/relationships/notesSlide" Target="../notesSlides/notesSlide15.xml"/><Relationship Id="rId11" Type="http://schemas.openxmlformats.org/officeDocument/2006/relationships/image" Target="../media/image12.jpeg"/><Relationship Id="rId5" Type="http://schemas.openxmlformats.org/officeDocument/2006/relationships/slideLayout" Target="../slideLayouts/slideLayout1.xml"/><Relationship Id="rId15" Type="http://schemas.openxmlformats.org/officeDocument/2006/relationships/image" Target="../media/image171.svg"/><Relationship Id="rId23" Type="http://schemas.openxmlformats.org/officeDocument/2006/relationships/image" Target="../media/image14.png"/><Relationship Id="rId10" Type="http://schemas.openxmlformats.org/officeDocument/2006/relationships/image" Target="../media/image13.png"/><Relationship Id="rId19" Type="http://schemas.openxmlformats.org/officeDocument/2006/relationships/image" Target="../media/image24.png"/><Relationship Id="rId4" Type="http://schemas.openxmlformats.org/officeDocument/2006/relationships/tags" Target="../tags/tag119.xml"/><Relationship Id="rId9" Type="http://schemas.openxmlformats.org/officeDocument/2006/relationships/image" Target="../media/image11.jpeg"/><Relationship Id="rId14" Type="http://schemas.openxmlformats.org/officeDocument/2006/relationships/image" Target="../media/image170.png"/><Relationship Id="rId22" Type="http://schemas.openxmlformats.org/officeDocument/2006/relationships/image" Target="../media/image27.svg"/></Relationships>
</file>

<file path=ppt/slides/_rels/slide35.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notesSlide" Target="../notesSlides/notesSlide16.xml"/><Relationship Id="rId18" Type="http://schemas.openxmlformats.org/officeDocument/2006/relationships/chart" Target="../charts/chart21.xml"/><Relationship Id="rId26" Type="http://schemas.openxmlformats.org/officeDocument/2006/relationships/image" Target="../media/image23.svg"/><Relationship Id="rId3" Type="http://schemas.openxmlformats.org/officeDocument/2006/relationships/tags" Target="../tags/tag122.xml"/><Relationship Id="rId21" Type="http://schemas.openxmlformats.org/officeDocument/2006/relationships/chart" Target="../charts/chart22.xml"/><Relationship Id="rId7" Type="http://schemas.openxmlformats.org/officeDocument/2006/relationships/tags" Target="../tags/tag126.xml"/><Relationship Id="rId12" Type="http://schemas.openxmlformats.org/officeDocument/2006/relationships/slideLayout" Target="../slideLayouts/slideLayout1.xml"/><Relationship Id="rId17" Type="http://schemas.openxmlformats.org/officeDocument/2006/relationships/image" Target="../media/image173.svg"/><Relationship Id="rId25" Type="http://schemas.openxmlformats.org/officeDocument/2006/relationships/image" Target="../media/image22.png"/><Relationship Id="rId2" Type="http://schemas.openxmlformats.org/officeDocument/2006/relationships/tags" Target="../tags/tag121.xml"/><Relationship Id="rId16" Type="http://schemas.openxmlformats.org/officeDocument/2006/relationships/image" Target="../media/image172.png"/><Relationship Id="rId20" Type="http://schemas.openxmlformats.org/officeDocument/2006/relationships/image" Target="../media/image175.svg"/><Relationship Id="rId29" Type="http://schemas.openxmlformats.org/officeDocument/2006/relationships/image" Target="../media/image26.png"/><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tags" Target="../tags/tag130.xml"/><Relationship Id="rId24" Type="http://schemas.openxmlformats.org/officeDocument/2006/relationships/image" Target="../media/image11.jpeg"/><Relationship Id="rId32" Type="http://schemas.openxmlformats.org/officeDocument/2006/relationships/image" Target="../media/image14.png"/><Relationship Id="rId5" Type="http://schemas.openxmlformats.org/officeDocument/2006/relationships/tags" Target="../tags/tag124.xml"/><Relationship Id="rId15" Type="http://schemas.openxmlformats.org/officeDocument/2006/relationships/image" Target="../media/image4.emf"/><Relationship Id="rId23" Type="http://schemas.openxmlformats.org/officeDocument/2006/relationships/chart" Target="../charts/chart23.xml"/><Relationship Id="rId28" Type="http://schemas.openxmlformats.org/officeDocument/2006/relationships/image" Target="../media/image25.svg"/><Relationship Id="rId10" Type="http://schemas.openxmlformats.org/officeDocument/2006/relationships/tags" Target="../tags/tag129.xml"/><Relationship Id="rId19" Type="http://schemas.openxmlformats.org/officeDocument/2006/relationships/image" Target="../media/image174.png"/><Relationship Id="rId31" Type="http://schemas.openxmlformats.org/officeDocument/2006/relationships/image" Target="../media/image12.jpeg"/><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oleObject" Target="../embeddings/oleObject32.bin"/><Relationship Id="rId22" Type="http://schemas.openxmlformats.org/officeDocument/2006/relationships/image" Target="../media/image13.png"/><Relationship Id="rId27" Type="http://schemas.openxmlformats.org/officeDocument/2006/relationships/image" Target="../media/image24.png"/><Relationship Id="rId30" Type="http://schemas.openxmlformats.org/officeDocument/2006/relationships/image" Target="../media/image27.svg"/></Relationships>
</file>

<file path=ppt/slides/_rels/slide36.xml.rels><?xml version="1.0" encoding="UTF-8" standalone="yes"?>
<Relationships xmlns="http://schemas.openxmlformats.org/package/2006/relationships"><Relationship Id="rId8" Type="http://schemas.openxmlformats.org/officeDocument/2006/relationships/image" Target="../media/image177.svg"/><Relationship Id="rId13" Type="http://schemas.openxmlformats.org/officeDocument/2006/relationships/image" Target="../media/image22.png"/><Relationship Id="rId18" Type="http://schemas.openxmlformats.org/officeDocument/2006/relationships/image" Target="../media/image27.svg"/><Relationship Id="rId3" Type="http://schemas.openxmlformats.org/officeDocument/2006/relationships/slideLayout" Target="../slideLayouts/slideLayout1.xml"/><Relationship Id="rId21" Type="http://schemas.openxmlformats.org/officeDocument/2006/relationships/image" Target="../media/image13.png"/><Relationship Id="rId7" Type="http://schemas.openxmlformats.org/officeDocument/2006/relationships/image" Target="../media/image176.png"/><Relationship Id="rId12" Type="http://schemas.openxmlformats.org/officeDocument/2006/relationships/image" Target="../media/image181.svg"/><Relationship Id="rId17" Type="http://schemas.openxmlformats.org/officeDocument/2006/relationships/image" Target="../media/image26.png"/><Relationship Id="rId2" Type="http://schemas.openxmlformats.org/officeDocument/2006/relationships/tags" Target="../tags/tag132.xml"/><Relationship Id="rId16" Type="http://schemas.openxmlformats.org/officeDocument/2006/relationships/image" Target="../media/image25.svg"/><Relationship Id="rId20" Type="http://schemas.openxmlformats.org/officeDocument/2006/relationships/image" Target="../media/image12.jpeg"/><Relationship Id="rId1" Type="http://schemas.openxmlformats.org/officeDocument/2006/relationships/tags" Target="../tags/tag131.xml"/><Relationship Id="rId6" Type="http://schemas.openxmlformats.org/officeDocument/2006/relationships/image" Target="../media/image4.emf"/><Relationship Id="rId11" Type="http://schemas.openxmlformats.org/officeDocument/2006/relationships/image" Target="../media/image180.png"/><Relationship Id="rId24" Type="http://schemas.openxmlformats.org/officeDocument/2006/relationships/image" Target="../media/image183.svg"/><Relationship Id="rId5" Type="http://schemas.openxmlformats.org/officeDocument/2006/relationships/oleObject" Target="../embeddings/oleObject33.bin"/><Relationship Id="rId15" Type="http://schemas.openxmlformats.org/officeDocument/2006/relationships/image" Target="../media/image24.png"/><Relationship Id="rId23" Type="http://schemas.openxmlformats.org/officeDocument/2006/relationships/image" Target="../media/image182.png"/><Relationship Id="rId10" Type="http://schemas.openxmlformats.org/officeDocument/2006/relationships/image" Target="../media/image179.svg"/><Relationship Id="rId19" Type="http://schemas.openxmlformats.org/officeDocument/2006/relationships/image" Target="../media/image11.jpeg"/><Relationship Id="rId4" Type="http://schemas.openxmlformats.org/officeDocument/2006/relationships/notesSlide" Target="../notesSlides/notesSlide17.xml"/><Relationship Id="rId9" Type="http://schemas.openxmlformats.org/officeDocument/2006/relationships/image" Target="../media/image178.png"/><Relationship Id="rId14" Type="http://schemas.openxmlformats.org/officeDocument/2006/relationships/image" Target="../media/image23.svg"/><Relationship Id="rId22" Type="http://schemas.openxmlformats.org/officeDocument/2006/relationships/image" Target="../media/image14.png"/></Relationships>
</file>

<file path=ppt/slides/_rels/slide37.xml.rels><?xml version="1.0" encoding="UTF-8" standalone="yes"?>
<Relationships xmlns="http://schemas.openxmlformats.org/package/2006/relationships"><Relationship Id="rId8" Type="http://schemas.openxmlformats.org/officeDocument/2006/relationships/tags" Target="../tags/tag140.xml"/><Relationship Id="rId13" Type="http://schemas.openxmlformats.org/officeDocument/2006/relationships/notesSlide" Target="../notesSlides/notesSlide18.xml"/><Relationship Id="rId18" Type="http://schemas.openxmlformats.org/officeDocument/2006/relationships/image" Target="../media/image24.png"/><Relationship Id="rId26" Type="http://schemas.openxmlformats.org/officeDocument/2006/relationships/image" Target="../media/image184.png"/><Relationship Id="rId3" Type="http://schemas.openxmlformats.org/officeDocument/2006/relationships/tags" Target="../tags/tag135.xml"/><Relationship Id="rId21" Type="http://schemas.openxmlformats.org/officeDocument/2006/relationships/image" Target="../media/image27.svg"/><Relationship Id="rId7" Type="http://schemas.openxmlformats.org/officeDocument/2006/relationships/tags" Target="../tags/tag139.xml"/><Relationship Id="rId12" Type="http://schemas.openxmlformats.org/officeDocument/2006/relationships/slideLayout" Target="../slideLayouts/slideLayout1.xml"/><Relationship Id="rId17" Type="http://schemas.openxmlformats.org/officeDocument/2006/relationships/image" Target="../media/image23.svg"/><Relationship Id="rId25" Type="http://schemas.openxmlformats.org/officeDocument/2006/relationships/image" Target="../media/image14.png"/><Relationship Id="rId2" Type="http://schemas.openxmlformats.org/officeDocument/2006/relationships/tags" Target="../tags/tag134.xml"/><Relationship Id="rId16" Type="http://schemas.openxmlformats.org/officeDocument/2006/relationships/image" Target="../media/image22.png"/><Relationship Id="rId20" Type="http://schemas.openxmlformats.org/officeDocument/2006/relationships/image" Target="../media/image26.png"/><Relationship Id="rId29" Type="http://schemas.openxmlformats.org/officeDocument/2006/relationships/image" Target="../media/image187.svg"/><Relationship Id="rId1" Type="http://schemas.openxmlformats.org/officeDocument/2006/relationships/tags" Target="../tags/tag133.xml"/><Relationship Id="rId6" Type="http://schemas.openxmlformats.org/officeDocument/2006/relationships/tags" Target="../tags/tag138.xml"/><Relationship Id="rId11" Type="http://schemas.openxmlformats.org/officeDocument/2006/relationships/tags" Target="../tags/tag143.xml"/><Relationship Id="rId24" Type="http://schemas.openxmlformats.org/officeDocument/2006/relationships/image" Target="../media/image13.png"/><Relationship Id="rId5" Type="http://schemas.openxmlformats.org/officeDocument/2006/relationships/tags" Target="../tags/tag137.xml"/><Relationship Id="rId15" Type="http://schemas.openxmlformats.org/officeDocument/2006/relationships/image" Target="../media/image4.emf"/><Relationship Id="rId23" Type="http://schemas.openxmlformats.org/officeDocument/2006/relationships/image" Target="../media/image12.jpeg"/><Relationship Id="rId28" Type="http://schemas.openxmlformats.org/officeDocument/2006/relationships/image" Target="../media/image186.png"/><Relationship Id="rId10" Type="http://schemas.openxmlformats.org/officeDocument/2006/relationships/tags" Target="../tags/tag142.xml"/><Relationship Id="rId19" Type="http://schemas.openxmlformats.org/officeDocument/2006/relationships/image" Target="../media/image25.svg"/><Relationship Id="rId31" Type="http://schemas.openxmlformats.org/officeDocument/2006/relationships/image" Target="../media/image189.svg"/><Relationship Id="rId4" Type="http://schemas.openxmlformats.org/officeDocument/2006/relationships/tags" Target="../tags/tag136.xml"/><Relationship Id="rId9" Type="http://schemas.openxmlformats.org/officeDocument/2006/relationships/tags" Target="../tags/tag141.xml"/><Relationship Id="rId14" Type="http://schemas.openxmlformats.org/officeDocument/2006/relationships/oleObject" Target="../embeddings/oleObject34.bin"/><Relationship Id="rId22" Type="http://schemas.openxmlformats.org/officeDocument/2006/relationships/image" Target="../media/image11.jpeg"/><Relationship Id="rId27" Type="http://schemas.openxmlformats.org/officeDocument/2006/relationships/image" Target="../media/image185.svg"/><Relationship Id="rId30" Type="http://schemas.openxmlformats.org/officeDocument/2006/relationships/image" Target="../media/image188.png"/></Relationships>
</file>

<file path=ppt/slides/_rels/slide38.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5.png"/><Relationship Id="rId18" Type="http://schemas.openxmlformats.org/officeDocument/2006/relationships/image" Target="../media/image44.png"/><Relationship Id="rId26" Type="http://schemas.openxmlformats.org/officeDocument/2006/relationships/image" Target="../media/image25.svg"/><Relationship Id="rId3" Type="http://schemas.openxmlformats.org/officeDocument/2006/relationships/slideLayout" Target="../slideLayouts/slideLayout1.xml"/><Relationship Id="rId21" Type="http://schemas.openxmlformats.org/officeDocument/2006/relationships/image" Target="../media/image47.png"/><Relationship Id="rId7" Type="http://schemas.openxmlformats.org/officeDocument/2006/relationships/image" Target="../media/image190.jpeg"/><Relationship Id="rId12" Type="http://schemas.openxmlformats.org/officeDocument/2006/relationships/image" Target="../media/image53.png"/><Relationship Id="rId17" Type="http://schemas.openxmlformats.org/officeDocument/2006/relationships/image" Target="../media/image43.png"/><Relationship Id="rId25" Type="http://schemas.openxmlformats.org/officeDocument/2006/relationships/image" Target="../media/image24.png"/><Relationship Id="rId2" Type="http://schemas.openxmlformats.org/officeDocument/2006/relationships/tags" Target="../tags/tag145.xml"/><Relationship Id="rId16" Type="http://schemas.openxmlformats.org/officeDocument/2006/relationships/image" Target="../media/image60.png"/><Relationship Id="rId20" Type="http://schemas.openxmlformats.org/officeDocument/2006/relationships/image" Target="../media/image62.png"/><Relationship Id="rId29" Type="http://schemas.openxmlformats.org/officeDocument/2006/relationships/image" Target="../media/image11.jpeg"/><Relationship Id="rId1" Type="http://schemas.openxmlformats.org/officeDocument/2006/relationships/tags" Target="../tags/tag144.xml"/><Relationship Id="rId6" Type="http://schemas.openxmlformats.org/officeDocument/2006/relationships/image" Target="../media/image4.emf"/><Relationship Id="rId11" Type="http://schemas.openxmlformats.org/officeDocument/2006/relationships/image" Target="../media/image64.png"/><Relationship Id="rId24" Type="http://schemas.openxmlformats.org/officeDocument/2006/relationships/image" Target="../media/image23.svg"/><Relationship Id="rId32" Type="http://schemas.openxmlformats.org/officeDocument/2006/relationships/image" Target="../media/image14.png"/><Relationship Id="rId5" Type="http://schemas.openxmlformats.org/officeDocument/2006/relationships/oleObject" Target="../embeddings/oleObject35.bin"/><Relationship Id="rId15" Type="http://schemas.openxmlformats.org/officeDocument/2006/relationships/image" Target="../media/image46.png"/><Relationship Id="rId23" Type="http://schemas.openxmlformats.org/officeDocument/2006/relationships/image" Target="../media/image22.png"/><Relationship Id="rId28" Type="http://schemas.openxmlformats.org/officeDocument/2006/relationships/image" Target="../media/image27.svg"/><Relationship Id="rId10" Type="http://schemas.openxmlformats.org/officeDocument/2006/relationships/image" Target="../media/image63.jpeg"/><Relationship Id="rId19" Type="http://schemas.openxmlformats.org/officeDocument/2006/relationships/image" Target="../media/image54.png"/><Relationship Id="rId31" Type="http://schemas.openxmlformats.org/officeDocument/2006/relationships/image" Target="../media/image13.png"/><Relationship Id="rId4" Type="http://schemas.openxmlformats.org/officeDocument/2006/relationships/notesSlide" Target="../notesSlides/notesSlide19.xml"/><Relationship Id="rId9" Type="http://schemas.openxmlformats.org/officeDocument/2006/relationships/image" Target="../media/image48.png"/><Relationship Id="rId14" Type="http://schemas.openxmlformats.org/officeDocument/2006/relationships/image" Target="../media/image191.png"/><Relationship Id="rId22" Type="http://schemas.openxmlformats.org/officeDocument/2006/relationships/image" Target="../media/image2.png"/><Relationship Id="rId27" Type="http://schemas.openxmlformats.org/officeDocument/2006/relationships/image" Target="../media/image26.png"/><Relationship Id="rId30" Type="http://schemas.openxmlformats.org/officeDocument/2006/relationships/image" Target="../media/image12.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3" Type="http://schemas.openxmlformats.org/officeDocument/2006/relationships/slideLayout" Target="../slideLayouts/slideLayout1.xml"/><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tags" Target="../tags/tag147.xml"/><Relationship Id="rId16" Type="http://schemas.openxmlformats.org/officeDocument/2006/relationships/image" Target="../media/image14.png"/><Relationship Id="rId1" Type="http://schemas.openxmlformats.org/officeDocument/2006/relationships/tags" Target="../tags/tag146.xml"/><Relationship Id="rId6" Type="http://schemas.openxmlformats.org/officeDocument/2006/relationships/image" Target="../media/image149.png"/><Relationship Id="rId11" Type="http://schemas.openxmlformats.org/officeDocument/2006/relationships/image" Target="../media/image26.png"/><Relationship Id="rId5" Type="http://schemas.openxmlformats.org/officeDocument/2006/relationships/image" Target="../media/image1.emf"/><Relationship Id="rId15" Type="http://schemas.openxmlformats.org/officeDocument/2006/relationships/image" Target="../media/image13.png"/><Relationship Id="rId10" Type="http://schemas.openxmlformats.org/officeDocument/2006/relationships/image" Target="../media/image25.svg"/><Relationship Id="rId4" Type="http://schemas.openxmlformats.org/officeDocument/2006/relationships/oleObject" Target="../embeddings/oleObject36.bin"/><Relationship Id="rId9" Type="http://schemas.openxmlformats.org/officeDocument/2006/relationships/image" Target="../media/image24.png"/><Relationship Id="rId14" Type="http://schemas.openxmlformats.org/officeDocument/2006/relationships/image" Target="../media/image12.jpeg"/></Relationships>
</file>

<file path=ppt/slides/_rels/slide41.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18" Type="http://schemas.openxmlformats.org/officeDocument/2006/relationships/image" Target="../media/image78.svg"/><Relationship Id="rId26" Type="http://schemas.openxmlformats.org/officeDocument/2006/relationships/image" Target="../media/image2.png"/><Relationship Id="rId3" Type="http://schemas.openxmlformats.org/officeDocument/2006/relationships/slideLayout" Target="../slideLayouts/slideLayout1.xml"/><Relationship Id="rId21" Type="http://schemas.openxmlformats.org/officeDocument/2006/relationships/image" Target="../media/image81.png"/><Relationship Id="rId7" Type="http://schemas.openxmlformats.org/officeDocument/2006/relationships/image" Target="../media/image22.png"/><Relationship Id="rId12" Type="http://schemas.openxmlformats.org/officeDocument/2006/relationships/image" Target="../media/image27.svg"/><Relationship Id="rId17" Type="http://schemas.openxmlformats.org/officeDocument/2006/relationships/image" Target="../media/image77.png"/><Relationship Id="rId25" Type="http://schemas.openxmlformats.org/officeDocument/2006/relationships/image" Target="../media/image194.png"/><Relationship Id="rId2" Type="http://schemas.openxmlformats.org/officeDocument/2006/relationships/tags" Target="../tags/tag149.xml"/><Relationship Id="rId16" Type="http://schemas.openxmlformats.org/officeDocument/2006/relationships/image" Target="../media/image14.png"/><Relationship Id="rId20" Type="http://schemas.openxmlformats.org/officeDocument/2006/relationships/image" Target="../media/image80.svg"/><Relationship Id="rId1" Type="http://schemas.openxmlformats.org/officeDocument/2006/relationships/tags" Target="../tags/tag148.xml"/><Relationship Id="rId6" Type="http://schemas.openxmlformats.org/officeDocument/2006/relationships/image" Target="../media/image8.emf"/><Relationship Id="rId11" Type="http://schemas.openxmlformats.org/officeDocument/2006/relationships/image" Target="../media/image26.png"/><Relationship Id="rId24" Type="http://schemas.openxmlformats.org/officeDocument/2006/relationships/image" Target="../media/image193.svg"/><Relationship Id="rId5" Type="http://schemas.openxmlformats.org/officeDocument/2006/relationships/oleObject" Target="../embeddings/oleObject37.bin"/><Relationship Id="rId15" Type="http://schemas.openxmlformats.org/officeDocument/2006/relationships/image" Target="../media/image13.png"/><Relationship Id="rId23" Type="http://schemas.openxmlformats.org/officeDocument/2006/relationships/image" Target="../media/image192.png"/><Relationship Id="rId10" Type="http://schemas.openxmlformats.org/officeDocument/2006/relationships/image" Target="../media/image25.svg"/><Relationship Id="rId19" Type="http://schemas.openxmlformats.org/officeDocument/2006/relationships/image" Target="../media/image79.png"/><Relationship Id="rId4" Type="http://schemas.openxmlformats.org/officeDocument/2006/relationships/notesSlide" Target="../notesSlides/notesSlide20.xml"/><Relationship Id="rId9" Type="http://schemas.openxmlformats.org/officeDocument/2006/relationships/image" Target="../media/image24.png"/><Relationship Id="rId14" Type="http://schemas.openxmlformats.org/officeDocument/2006/relationships/image" Target="../media/image12.jpeg"/><Relationship Id="rId22" Type="http://schemas.openxmlformats.org/officeDocument/2006/relationships/image" Target="../media/image82.svg"/><Relationship Id="rId27" Type="http://schemas.openxmlformats.org/officeDocument/2006/relationships/image" Target="../media/image195.png"/></Relationships>
</file>

<file path=ppt/slides/_rels/slide42.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24.png"/><Relationship Id="rId18" Type="http://schemas.openxmlformats.org/officeDocument/2006/relationships/chart" Target="../charts/chart25.xml"/><Relationship Id="rId3" Type="http://schemas.openxmlformats.org/officeDocument/2006/relationships/slideLayout" Target="../slideLayouts/slideLayout1.xml"/><Relationship Id="rId7" Type="http://schemas.openxmlformats.org/officeDocument/2006/relationships/image" Target="../media/image11.jpeg"/><Relationship Id="rId12" Type="http://schemas.openxmlformats.org/officeDocument/2006/relationships/image" Target="../media/image23.svg"/><Relationship Id="rId17" Type="http://schemas.openxmlformats.org/officeDocument/2006/relationships/chart" Target="../charts/chart24.xml"/><Relationship Id="rId2" Type="http://schemas.openxmlformats.org/officeDocument/2006/relationships/tags" Target="../tags/tag151.xml"/><Relationship Id="rId16" Type="http://schemas.openxmlformats.org/officeDocument/2006/relationships/image" Target="../media/image27.svg"/><Relationship Id="rId1" Type="http://schemas.openxmlformats.org/officeDocument/2006/relationships/tags" Target="../tags/tag150.xml"/><Relationship Id="rId6" Type="http://schemas.openxmlformats.org/officeDocument/2006/relationships/image" Target="../media/image4.emf"/><Relationship Id="rId11" Type="http://schemas.openxmlformats.org/officeDocument/2006/relationships/image" Target="../media/image22.png"/><Relationship Id="rId5" Type="http://schemas.openxmlformats.org/officeDocument/2006/relationships/oleObject" Target="../embeddings/oleObject38.bin"/><Relationship Id="rId15" Type="http://schemas.openxmlformats.org/officeDocument/2006/relationships/image" Target="../media/image26.png"/><Relationship Id="rId10" Type="http://schemas.openxmlformats.org/officeDocument/2006/relationships/image" Target="../media/image14.png"/><Relationship Id="rId4" Type="http://schemas.openxmlformats.org/officeDocument/2006/relationships/notesSlide" Target="../notesSlides/notesSlide21.xml"/><Relationship Id="rId9" Type="http://schemas.openxmlformats.org/officeDocument/2006/relationships/image" Target="../media/image12.jpeg"/><Relationship Id="rId14" Type="http://schemas.openxmlformats.org/officeDocument/2006/relationships/image" Target="../media/image25.sv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23.svg"/><Relationship Id="rId18" Type="http://schemas.openxmlformats.org/officeDocument/2006/relationships/image" Target="../media/image196.png"/><Relationship Id="rId26" Type="http://schemas.openxmlformats.org/officeDocument/2006/relationships/image" Target="../media/image204.svg"/><Relationship Id="rId3" Type="http://schemas.openxmlformats.org/officeDocument/2006/relationships/slideLayout" Target="../slideLayouts/slideLayout1.xml"/><Relationship Id="rId21" Type="http://schemas.openxmlformats.org/officeDocument/2006/relationships/image" Target="../media/image199.png"/><Relationship Id="rId7" Type="http://schemas.openxmlformats.org/officeDocument/2006/relationships/image" Target="../media/image194.png"/><Relationship Id="rId12" Type="http://schemas.openxmlformats.org/officeDocument/2006/relationships/image" Target="../media/image22.png"/><Relationship Id="rId17" Type="http://schemas.openxmlformats.org/officeDocument/2006/relationships/image" Target="../media/image27.svg"/><Relationship Id="rId25" Type="http://schemas.openxmlformats.org/officeDocument/2006/relationships/image" Target="../media/image203.png"/><Relationship Id="rId2" Type="http://schemas.openxmlformats.org/officeDocument/2006/relationships/tags" Target="../tags/tag153.xml"/><Relationship Id="rId16" Type="http://schemas.openxmlformats.org/officeDocument/2006/relationships/image" Target="../media/image26.png"/><Relationship Id="rId20" Type="http://schemas.openxmlformats.org/officeDocument/2006/relationships/image" Target="../media/image198.svg"/><Relationship Id="rId1" Type="http://schemas.openxmlformats.org/officeDocument/2006/relationships/tags" Target="../tags/tag152.xml"/><Relationship Id="rId6" Type="http://schemas.openxmlformats.org/officeDocument/2006/relationships/image" Target="../media/image4.emf"/><Relationship Id="rId11" Type="http://schemas.openxmlformats.org/officeDocument/2006/relationships/image" Target="../media/image12.jpeg"/><Relationship Id="rId24" Type="http://schemas.openxmlformats.org/officeDocument/2006/relationships/image" Target="../media/image202.svg"/><Relationship Id="rId5" Type="http://schemas.openxmlformats.org/officeDocument/2006/relationships/oleObject" Target="../embeddings/oleObject39.bin"/><Relationship Id="rId15" Type="http://schemas.openxmlformats.org/officeDocument/2006/relationships/image" Target="../media/image25.svg"/><Relationship Id="rId23" Type="http://schemas.openxmlformats.org/officeDocument/2006/relationships/image" Target="../media/image201.png"/><Relationship Id="rId10" Type="http://schemas.openxmlformats.org/officeDocument/2006/relationships/image" Target="../media/image13.png"/><Relationship Id="rId19" Type="http://schemas.openxmlformats.org/officeDocument/2006/relationships/image" Target="../media/image197.png"/><Relationship Id="rId4" Type="http://schemas.openxmlformats.org/officeDocument/2006/relationships/notesSlide" Target="../notesSlides/notesSlide22.xml"/><Relationship Id="rId9" Type="http://schemas.openxmlformats.org/officeDocument/2006/relationships/image" Target="../media/image14.png"/><Relationship Id="rId14" Type="http://schemas.openxmlformats.org/officeDocument/2006/relationships/image" Target="../media/image24.png"/><Relationship Id="rId22" Type="http://schemas.openxmlformats.org/officeDocument/2006/relationships/image" Target="../media/image200.svg"/></Relationships>
</file>

<file path=ppt/slides/_rels/slide45.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18" Type="http://schemas.openxmlformats.org/officeDocument/2006/relationships/image" Target="../media/image79.png"/><Relationship Id="rId3" Type="http://schemas.openxmlformats.org/officeDocument/2006/relationships/slideLayout" Target="../slideLayouts/slideLayout1.xml"/><Relationship Id="rId21" Type="http://schemas.openxmlformats.org/officeDocument/2006/relationships/image" Target="../media/image82.svg"/><Relationship Id="rId7" Type="http://schemas.openxmlformats.org/officeDocument/2006/relationships/image" Target="../media/image22.png"/><Relationship Id="rId12" Type="http://schemas.openxmlformats.org/officeDocument/2006/relationships/image" Target="../media/image27.svg"/><Relationship Id="rId17" Type="http://schemas.openxmlformats.org/officeDocument/2006/relationships/image" Target="../media/image208.svg"/><Relationship Id="rId2" Type="http://schemas.openxmlformats.org/officeDocument/2006/relationships/tags" Target="../tags/tag155.xml"/><Relationship Id="rId16" Type="http://schemas.openxmlformats.org/officeDocument/2006/relationships/image" Target="../media/image207.png"/><Relationship Id="rId20" Type="http://schemas.openxmlformats.org/officeDocument/2006/relationships/image" Target="../media/image81.png"/><Relationship Id="rId1" Type="http://schemas.openxmlformats.org/officeDocument/2006/relationships/tags" Target="../tags/tag154.xml"/><Relationship Id="rId6" Type="http://schemas.openxmlformats.org/officeDocument/2006/relationships/image" Target="../media/image4.emf"/><Relationship Id="rId11" Type="http://schemas.openxmlformats.org/officeDocument/2006/relationships/image" Target="../media/image26.png"/><Relationship Id="rId24" Type="http://schemas.openxmlformats.org/officeDocument/2006/relationships/image" Target="../media/image198.svg"/><Relationship Id="rId5" Type="http://schemas.openxmlformats.org/officeDocument/2006/relationships/oleObject" Target="../embeddings/oleObject40.bin"/><Relationship Id="rId15" Type="http://schemas.openxmlformats.org/officeDocument/2006/relationships/image" Target="../media/image206.svg"/><Relationship Id="rId23" Type="http://schemas.openxmlformats.org/officeDocument/2006/relationships/image" Target="../media/image197.png"/><Relationship Id="rId10" Type="http://schemas.openxmlformats.org/officeDocument/2006/relationships/image" Target="../media/image25.svg"/><Relationship Id="rId19" Type="http://schemas.openxmlformats.org/officeDocument/2006/relationships/image" Target="../media/image80.svg"/><Relationship Id="rId4" Type="http://schemas.openxmlformats.org/officeDocument/2006/relationships/notesSlide" Target="../notesSlides/notesSlide23.xml"/><Relationship Id="rId9" Type="http://schemas.openxmlformats.org/officeDocument/2006/relationships/image" Target="../media/image24.png"/><Relationship Id="rId14" Type="http://schemas.openxmlformats.org/officeDocument/2006/relationships/image" Target="../media/image205.png"/><Relationship Id="rId22" Type="http://schemas.openxmlformats.org/officeDocument/2006/relationships/image" Target="../media/image209.png"/></Relationships>
</file>

<file path=ppt/slides/_rels/slide46.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18" Type="http://schemas.openxmlformats.org/officeDocument/2006/relationships/image" Target="../media/image214.png"/><Relationship Id="rId3" Type="http://schemas.openxmlformats.org/officeDocument/2006/relationships/slideLayout" Target="../slideLayouts/slideLayout1.xml"/><Relationship Id="rId21" Type="http://schemas.openxmlformats.org/officeDocument/2006/relationships/image" Target="../media/image80.svg"/><Relationship Id="rId7" Type="http://schemas.openxmlformats.org/officeDocument/2006/relationships/image" Target="../media/image22.png"/><Relationship Id="rId12" Type="http://schemas.openxmlformats.org/officeDocument/2006/relationships/image" Target="../media/image27.svg"/><Relationship Id="rId17" Type="http://schemas.openxmlformats.org/officeDocument/2006/relationships/image" Target="../media/image213.svg"/><Relationship Id="rId2" Type="http://schemas.openxmlformats.org/officeDocument/2006/relationships/tags" Target="../tags/tag157.xml"/><Relationship Id="rId16" Type="http://schemas.openxmlformats.org/officeDocument/2006/relationships/image" Target="../media/image212.png"/><Relationship Id="rId20" Type="http://schemas.openxmlformats.org/officeDocument/2006/relationships/image" Target="../media/image79.png"/><Relationship Id="rId1" Type="http://schemas.openxmlformats.org/officeDocument/2006/relationships/tags" Target="../tags/tag156.xml"/><Relationship Id="rId6" Type="http://schemas.openxmlformats.org/officeDocument/2006/relationships/image" Target="../media/image4.emf"/><Relationship Id="rId11" Type="http://schemas.openxmlformats.org/officeDocument/2006/relationships/image" Target="../media/image26.png"/><Relationship Id="rId5" Type="http://schemas.openxmlformats.org/officeDocument/2006/relationships/oleObject" Target="../embeddings/oleObject41.bin"/><Relationship Id="rId15" Type="http://schemas.openxmlformats.org/officeDocument/2006/relationships/image" Target="../media/image211.svg"/><Relationship Id="rId23" Type="http://schemas.openxmlformats.org/officeDocument/2006/relationships/image" Target="../media/image82.svg"/><Relationship Id="rId10" Type="http://schemas.openxmlformats.org/officeDocument/2006/relationships/image" Target="../media/image25.svg"/><Relationship Id="rId19" Type="http://schemas.openxmlformats.org/officeDocument/2006/relationships/image" Target="../media/image215.svg"/><Relationship Id="rId4" Type="http://schemas.openxmlformats.org/officeDocument/2006/relationships/notesSlide" Target="../notesSlides/notesSlide24.xml"/><Relationship Id="rId9" Type="http://schemas.openxmlformats.org/officeDocument/2006/relationships/image" Target="../media/image24.png"/><Relationship Id="rId14" Type="http://schemas.openxmlformats.org/officeDocument/2006/relationships/image" Target="../media/image210.png"/><Relationship Id="rId22" Type="http://schemas.openxmlformats.org/officeDocument/2006/relationships/image" Target="../media/image81.png"/></Relationships>
</file>

<file path=ppt/slides/_rels/slide47.xml.rels><?xml version="1.0" encoding="UTF-8" standalone="yes"?>
<Relationships xmlns="http://schemas.openxmlformats.org/package/2006/relationships"><Relationship Id="rId8" Type="http://schemas.openxmlformats.org/officeDocument/2006/relationships/image" Target="../media/image218.png"/><Relationship Id="rId13" Type="http://schemas.openxmlformats.org/officeDocument/2006/relationships/image" Target="../media/image23.svg"/><Relationship Id="rId18" Type="http://schemas.openxmlformats.org/officeDocument/2006/relationships/image" Target="../media/image11.jpeg"/><Relationship Id="rId3" Type="http://schemas.openxmlformats.org/officeDocument/2006/relationships/notesSlide" Target="../notesSlides/notesSlide25.xml"/><Relationship Id="rId21" Type="http://schemas.openxmlformats.org/officeDocument/2006/relationships/image" Target="../media/image14.png"/><Relationship Id="rId7" Type="http://schemas.openxmlformats.org/officeDocument/2006/relationships/image" Target="../media/image217.svg"/><Relationship Id="rId12" Type="http://schemas.openxmlformats.org/officeDocument/2006/relationships/image" Target="../media/image22.png"/><Relationship Id="rId17" Type="http://schemas.openxmlformats.org/officeDocument/2006/relationships/image" Target="../media/image27.svg"/><Relationship Id="rId2" Type="http://schemas.openxmlformats.org/officeDocument/2006/relationships/slideLayout" Target="../slideLayouts/slideLayout2.xml"/><Relationship Id="rId16" Type="http://schemas.openxmlformats.org/officeDocument/2006/relationships/image" Target="../media/image26.png"/><Relationship Id="rId20" Type="http://schemas.openxmlformats.org/officeDocument/2006/relationships/image" Target="../media/image13.png"/><Relationship Id="rId1" Type="http://schemas.openxmlformats.org/officeDocument/2006/relationships/tags" Target="../tags/tag158.xml"/><Relationship Id="rId6" Type="http://schemas.openxmlformats.org/officeDocument/2006/relationships/image" Target="../media/image216.png"/><Relationship Id="rId11" Type="http://schemas.openxmlformats.org/officeDocument/2006/relationships/image" Target="../media/image221.svg"/><Relationship Id="rId5" Type="http://schemas.openxmlformats.org/officeDocument/2006/relationships/image" Target="../media/image8.emf"/><Relationship Id="rId15" Type="http://schemas.openxmlformats.org/officeDocument/2006/relationships/image" Target="../media/image25.svg"/><Relationship Id="rId23" Type="http://schemas.openxmlformats.org/officeDocument/2006/relationships/image" Target="../media/image78.svg"/><Relationship Id="rId10" Type="http://schemas.openxmlformats.org/officeDocument/2006/relationships/image" Target="../media/image220.png"/><Relationship Id="rId19" Type="http://schemas.openxmlformats.org/officeDocument/2006/relationships/image" Target="../media/image12.jpeg"/><Relationship Id="rId4" Type="http://schemas.openxmlformats.org/officeDocument/2006/relationships/oleObject" Target="../embeddings/oleObject42.bin"/><Relationship Id="rId9" Type="http://schemas.openxmlformats.org/officeDocument/2006/relationships/image" Target="../media/image219.svg"/><Relationship Id="rId14" Type="http://schemas.openxmlformats.org/officeDocument/2006/relationships/image" Target="../media/image24.png"/><Relationship Id="rId22" Type="http://schemas.openxmlformats.org/officeDocument/2006/relationships/image" Target="../media/image77.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8" Type="http://schemas.openxmlformats.org/officeDocument/2006/relationships/image" Target="../media/image223.svg"/><Relationship Id="rId13" Type="http://schemas.openxmlformats.org/officeDocument/2006/relationships/image" Target="../media/image228.png"/><Relationship Id="rId18" Type="http://schemas.openxmlformats.org/officeDocument/2006/relationships/image" Target="../media/image22.png"/><Relationship Id="rId26" Type="http://schemas.openxmlformats.org/officeDocument/2006/relationships/image" Target="../media/image13.png"/><Relationship Id="rId3" Type="http://schemas.openxmlformats.org/officeDocument/2006/relationships/slideLayout" Target="../slideLayouts/slideLayout1.xml"/><Relationship Id="rId21" Type="http://schemas.openxmlformats.org/officeDocument/2006/relationships/image" Target="../media/image25.svg"/><Relationship Id="rId7" Type="http://schemas.openxmlformats.org/officeDocument/2006/relationships/image" Target="../media/image222.png"/><Relationship Id="rId12" Type="http://schemas.openxmlformats.org/officeDocument/2006/relationships/image" Target="../media/image227.svg"/><Relationship Id="rId17" Type="http://schemas.openxmlformats.org/officeDocument/2006/relationships/chart" Target="../charts/chart26.xml"/><Relationship Id="rId25" Type="http://schemas.openxmlformats.org/officeDocument/2006/relationships/image" Target="../media/image12.jpeg"/><Relationship Id="rId2" Type="http://schemas.openxmlformats.org/officeDocument/2006/relationships/tags" Target="../tags/tag160.xml"/><Relationship Id="rId16" Type="http://schemas.openxmlformats.org/officeDocument/2006/relationships/image" Target="../media/image231.svg"/><Relationship Id="rId20" Type="http://schemas.openxmlformats.org/officeDocument/2006/relationships/image" Target="../media/image24.png"/><Relationship Id="rId1" Type="http://schemas.openxmlformats.org/officeDocument/2006/relationships/tags" Target="../tags/tag159.xml"/><Relationship Id="rId6" Type="http://schemas.openxmlformats.org/officeDocument/2006/relationships/image" Target="../media/image4.emf"/><Relationship Id="rId11" Type="http://schemas.openxmlformats.org/officeDocument/2006/relationships/image" Target="../media/image226.png"/><Relationship Id="rId24" Type="http://schemas.openxmlformats.org/officeDocument/2006/relationships/image" Target="../media/image11.jpeg"/><Relationship Id="rId5" Type="http://schemas.openxmlformats.org/officeDocument/2006/relationships/oleObject" Target="../embeddings/oleObject43.bin"/><Relationship Id="rId15" Type="http://schemas.openxmlformats.org/officeDocument/2006/relationships/image" Target="../media/image230.png"/><Relationship Id="rId23" Type="http://schemas.openxmlformats.org/officeDocument/2006/relationships/image" Target="../media/image27.svg"/><Relationship Id="rId10" Type="http://schemas.openxmlformats.org/officeDocument/2006/relationships/image" Target="../media/image225.svg"/><Relationship Id="rId19" Type="http://schemas.openxmlformats.org/officeDocument/2006/relationships/image" Target="../media/image23.svg"/><Relationship Id="rId4" Type="http://schemas.openxmlformats.org/officeDocument/2006/relationships/notesSlide" Target="../notesSlides/notesSlide26.xml"/><Relationship Id="rId9" Type="http://schemas.openxmlformats.org/officeDocument/2006/relationships/image" Target="../media/image224.png"/><Relationship Id="rId14" Type="http://schemas.openxmlformats.org/officeDocument/2006/relationships/image" Target="../media/image229.svg"/><Relationship Id="rId22" Type="http://schemas.openxmlformats.org/officeDocument/2006/relationships/image" Target="../media/image26.png"/><Relationship Id="rId27" Type="http://schemas.openxmlformats.org/officeDocument/2006/relationships/image" Target="../media/image14.png"/></Relationships>
</file>

<file path=ppt/slides/_rels/slide5.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16.svg"/><Relationship Id="rId18" Type="http://schemas.openxmlformats.org/officeDocument/2006/relationships/image" Target="../media/image21.emf"/><Relationship Id="rId3" Type="http://schemas.openxmlformats.org/officeDocument/2006/relationships/slideLayout" Target="../slideLayouts/slideLayout1.xml"/><Relationship Id="rId21" Type="http://schemas.openxmlformats.org/officeDocument/2006/relationships/image" Target="../media/image24.png"/><Relationship Id="rId7" Type="http://schemas.openxmlformats.org/officeDocument/2006/relationships/image" Target="../media/image10.svg"/><Relationship Id="rId12" Type="http://schemas.openxmlformats.org/officeDocument/2006/relationships/image" Target="../media/image15.png"/><Relationship Id="rId17" Type="http://schemas.openxmlformats.org/officeDocument/2006/relationships/image" Target="../media/image20.svg"/><Relationship Id="rId25" Type="http://schemas.openxmlformats.org/officeDocument/2006/relationships/chart" Target="../charts/chart1.xml"/><Relationship Id="rId2" Type="http://schemas.openxmlformats.org/officeDocument/2006/relationships/tags" Target="../tags/tag26.xml"/><Relationship Id="rId16" Type="http://schemas.openxmlformats.org/officeDocument/2006/relationships/image" Target="../media/image19.png"/><Relationship Id="rId20" Type="http://schemas.openxmlformats.org/officeDocument/2006/relationships/image" Target="../media/image23.svg"/><Relationship Id="rId1" Type="http://schemas.openxmlformats.org/officeDocument/2006/relationships/tags" Target="../tags/tag25.xml"/><Relationship Id="rId6" Type="http://schemas.openxmlformats.org/officeDocument/2006/relationships/image" Target="../media/image9.png"/><Relationship Id="rId11" Type="http://schemas.openxmlformats.org/officeDocument/2006/relationships/image" Target="../media/image14.png"/><Relationship Id="rId24" Type="http://schemas.openxmlformats.org/officeDocument/2006/relationships/image" Target="../media/image27.svg"/><Relationship Id="rId5" Type="http://schemas.openxmlformats.org/officeDocument/2006/relationships/image" Target="../media/image8.emf"/><Relationship Id="rId15" Type="http://schemas.openxmlformats.org/officeDocument/2006/relationships/image" Target="../media/image18.svg"/><Relationship Id="rId23" Type="http://schemas.openxmlformats.org/officeDocument/2006/relationships/image" Target="../media/image26.png"/><Relationship Id="rId10" Type="http://schemas.openxmlformats.org/officeDocument/2006/relationships/image" Target="../media/image13.png"/><Relationship Id="rId19" Type="http://schemas.openxmlformats.org/officeDocument/2006/relationships/image" Target="../media/image22.png"/><Relationship Id="rId4" Type="http://schemas.openxmlformats.org/officeDocument/2006/relationships/oleObject" Target="../embeddings/oleObject5.bin"/><Relationship Id="rId9" Type="http://schemas.openxmlformats.org/officeDocument/2006/relationships/image" Target="../media/image12.jpeg"/><Relationship Id="rId14" Type="http://schemas.openxmlformats.org/officeDocument/2006/relationships/image" Target="../media/image17.png"/><Relationship Id="rId22" Type="http://schemas.openxmlformats.org/officeDocument/2006/relationships/image" Target="../media/image25.svg"/></Relationships>
</file>

<file path=ppt/slides/_rels/slide50.xml.rels><?xml version="1.0" encoding="UTF-8" standalone="yes"?>
<Relationships xmlns="http://schemas.openxmlformats.org/package/2006/relationships"><Relationship Id="rId8" Type="http://schemas.openxmlformats.org/officeDocument/2006/relationships/image" Target="../media/image233.png"/><Relationship Id="rId13" Type="http://schemas.openxmlformats.org/officeDocument/2006/relationships/image" Target="../media/image68.jpeg"/><Relationship Id="rId18" Type="http://schemas.openxmlformats.org/officeDocument/2006/relationships/image" Target="../media/image22.png"/><Relationship Id="rId26" Type="http://schemas.openxmlformats.org/officeDocument/2006/relationships/image" Target="../media/image13.png"/><Relationship Id="rId3" Type="http://schemas.openxmlformats.org/officeDocument/2006/relationships/slideLayout" Target="../slideLayouts/slideLayout1.xml"/><Relationship Id="rId21" Type="http://schemas.openxmlformats.org/officeDocument/2006/relationships/image" Target="../media/image25.svg"/><Relationship Id="rId7" Type="http://schemas.openxmlformats.org/officeDocument/2006/relationships/image" Target="../media/image4.emf"/><Relationship Id="rId12" Type="http://schemas.openxmlformats.org/officeDocument/2006/relationships/image" Target="../media/image76.png"/><Relationship Id="rId17" Type="http://schemas.openxmlformats.org/officeDocument/2006/relationships/image" Target="../media/image2.png"/><Relationship Id="rId25" Type="http://schemas.openxmlformats.org/officeDocument/2006/relationships/image" Target="../media/image12.jpeg"/><Relationship Id="rId2" Type="http://schemas.openxmlformats.org/officeDocument/2006/relationships/tags" Target="../tags/tag162.xml"/><Relationship Id="rId16" Type="http://schemas.openxmlformats.org/officeDocument/2006/relationships/image" Target="../media/image74.png"/><Relationship Id="rId20" Type="http://schemas.openxmlformats.org/officeDocument/2006/relationships/image" Target="../media/image24.png"/><Relationship Id="rId1" Type="http://schemas.openxmlformats.org/officeDocument/2006/relationships/tags" Target="../tags/tag161.xml"/><Relationship Id="rId6" Type="http://schemas.openxmlformats.org/officeDocument/2006/relationships/oleObject" Target="../embeddings/oleObject44.bin"/><Relationship Id="rId11" Type="http://schemas.openxmlformats.org/officeDocument/2006/relationships/image" Target="../media/image236.svg"/><Relationship Id="rId24" Type="http://schemas.openxmlformats.org/officeDocument/2006/relationships/image" Target="../media/image11.jpeg"/><Relationship Id="rId5" Type="http://schemas.openxmlformats.org/officeDocument/2006/relationships/image" Target="../media/image232.png"/><Relationship Id="rId15" Type="http://schemas.openxmlformats.org/officeDocument/2006/relationships/image" Target="../media/image46.png"/><Relationship Id="rId23" Type="http://schemas.openxmlformats.org/officeDocument/2006/relationships/image" Target="../media/image27.svg"/><Relationship Id="rId10" Type="http://schemas.openxmlformats.org/officeDocument/2006/relationships/image" Target="../media/image235.png"/><Relationship Id="rId19" Type="http://schemas.openxmlformats.org/officeDocument/2006/relationships/image" Target="../media/image23.svg"/><Relationship Id="rId4" Type="http://schemas.openxmlformats.org/officeDocument/2006/relationships/notesSlide" Target="../notesSlides/notesSlide27.xml"/><Relationship Id="rId9" Type="http://schemas.openxmlformats.org/officeDocument/2006/relationships/image" Target="../media/image234.svg"/><Relationship Id="rId14" Type="http://schemas.openxmlformats.org/officeDocument/2006/relationships/image" Target="../media/image237.png"/><Relationship Id="rId22" Type="http://schemas.openxmlformats.org/officeDocument/2006/relationships/image" Target="../media/image26.png"/><Relationship Id="rId27" Type="http://schemas.openxmlformats.org/officeDocument/2006/relationships/image" Target="../media/image14.png"/></Relationships>
</file>

<file path=ppt/slides/_rels/slide51.xml.rels><?xml version="1.0" encoding="UTF-8" standalone="yes"?>
<Relationships xmlns="http://schemas.openxmlformats.org/package/2006/relationships"><Relationship Id="rId13" Type="http://schemas.openxmlformats.org/officeDocument/2006/relationships/image" Target="../media/image245.svg"/><Relationship Id="rId18" Type="http://schemas.openxmlformats.org/officeDocument/2006/relationships/image" Target="../media/image250.png"/><Relationship Id="rId26" Type="http://schemas.openxmlformats.org/officeDocument/2006/relationships/image" Target="../media/image81.png"/><Relationship Id="rId21" Type="http://schemas.openxmlformats.org/officeDocument/2006/relationships/image" Target="../media/image253.svg"/><Relationship Id="rId34" Type="http://schemas.openxmlformats.org/officeDocument/2006/relationships/image" Target="../media/image11.jpeg"/><Relationship Id="rId7" Type="http://schemas.openxmlformats.org/officeDocument/2006/relationships/image" Target="../media/image239.svg"/><Relationship Id="rId12" Type="http://schemas.openxmlformats.org/officeDocument/2006/relationships/image" Target="../media/image244.png"/><Relationship Id="rId17" Type="http://schemas.openxmlformats.org/officeDocument/2006/relationships/image" Target="../media/image249.svg"/><Relationship Id="rId25" Type="http://schemas.openxmlformats.org/officeDocument/2006/relationships/image" Target="../media/image80.svg"/><Relationship Id="rId33" Type="http://schemas.openxmlformats.org/officeDocument/2006/relationships/image" Target="../media/image27.svg"/><Relationship Id="rId2" Type="http://schemas.openxmlformats.org/officeDocument/2006/relationships/tags" Target="../tags/tag164.xml"/><Relationship Id="rId16" Type="http://schemas.openxmlformats.org/officeDocument/2006/relationships/image" Target="../media/image248.png"/><Relationship Id="rId20" Type="http://schemas.openxmlformats.org/officeDocument/2006/relationships/image" Target="../media/image252.png"/><Relationship Id="rId29" Type="http://schemas.openxmlformats.org/officeDocument/2006/relationships/image" Target="../media/image23.svg"/><Relationship Id="rId1" Type="http://schemas.openxmlformats.org/officeDocument/2006/relationships/tags" Target="../tags/tag163.xml"/><Relationship Id="rId6" Type="http://schemas.openxmlformats.org/officeDocument/2006/relationships/image" Target="../media/image238.png"/><Relationship Id="rId11" Type="http://schemas.openxmlformats.org/officeDocument/2006/relationships/image" Target="../media/image243.svg"/><Relationship Id="rId24" Type="http://schemas.openxmlformats.org/officeDocument/2006/relationships/image" Target="../media/image79.png"/><Relationship Id="rId32" Type="http://schemas.openxmlformats.org/officeDocument/2006/relationships/image" Target="../media/image26.png"/><Relationship Id="rId37" Type="http://schemas.openxmlformats.org/officeDocument/2006/relationships/image" Target="../media/image14.png"/><Relationship Id="rId5" Type="http://schemas.openxmlformats.org/officeDocument/2006/relationships/image" Target="../media/image8.emf"/><Relationship Id="rId15" Type="http://schemas.openxmlformats.org/officeDocument/2006/relationships/image" Target="../media/image247.svg"/><Relationship Id="rId23" Type="http://schemas.openxmlformats.org/officeDocument/2006/relationships/image" Target="../media/image78.svg"/><Relationship Id="rId28" Type="http://schemas.openxmlformats.org/officeDocument/2006/relationships/image" Target="../media/image22.png"/><Relationship Id="rId36" Type="http://schemas.openxmlformats.org/officeDocument/2006/relationships/image" Target="../media/image13.png"/><Relationship Id="rId10" Type="http://schemas.openxmlformats.org/officeDocument/2006/relationships/image" Target="../media/image242.png"/><Relationship Id="rId19" Type="http://schemas.openxmlformats.org/officeDocument/2006/relationships/image" Target="../media/image251.svg"/><Relationship Id="rId31" Type="http://schemas.openxmlformats.org/officeDocument/2006/relationships/image" Target="../media/image25.svg"/><Relationship Id="rId4" Type="http://schemas.openxmlformats.org/officeDocument/2006/relationships/oleObject" Target="../embeddings/oleObject45.bin"/><Relationship Id="rId9" Type="http://schemas.openxmlformats.org/officeDocument/2006/relationships/image" Target="../media/image241.svg"/><Relationship Id="rId14" Type="http://schemas.openxmlformats.org/officeDocument/2006/relationships/image" Target="../media/image246.png"/><Relationship Id="rId22" Type="http://schemas.openxmlformats.org/officeDocument/2006/relationships/image" Target="../media/image77.png"/><Relationship Id="rId27" Type="http://schemas.openxmlformats.org/officeDocument/2006/relationships/image" Target="../media/image82.svg"/><Relationship Id="rId30" Type="http://schemas.openxmlformats.org/officeDocument/2006/relationships/image" Target="../media/image24.png"/><Relationship Id="rId35" Type="http://schemas.openxmlformats.org/officeDocument/2006/relationships/image" Target="../media/image12.jpeg"/><Relationship Id="rId8" Type="http://schemas.openxmlformats.org/officeDocument/2006/relationships/image" Target="../media/image240.png"/><Relationship Id="rId3"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18" Type="http://schemas.openxmlformats.org/officeDocument/2006/relationships/image" Target="../media/image68.jpeg"/><Relationship Id="rId26" Type="http://schemas.openxmlformats.org/officeDocument/2006/relationships/image" Target="../media/image258.svg"/><Relationship Id="rId3" Type="http://schemas.openxmlformats.org/officeDocument/2006/relationships/tags" Target="../tags/tag167.xml"/><Relationship Id="rId21" Type="http://schemas.openxmlformats.org/officeDocument/2006/relationships/image" Target="../media/image75.png"/><Relationship Id="rId7" Type="http://schemas.openxmlformats.org/officeDocument/2006/relationships/image" Target="../media/image22.png"/><Relationship Id="rId12" Type="http://schemas.openxmlformats.org/officeDocument/2006/relationships/image" Target="../media/image27.svg"/><Relationship Id="rId17" Type="http://schemas.openxmlformats.org/officeDocument/2006/relationships/image" Target="../media/image59.png"/><Relationship Id="rId25" Type="http://schemas.openxmlformats.org/officeDocument/2006/relationships/image" Target="../media/image257.png"/><Relationship Id="rId2" Type="http://schemas.openxmlformats.org/officeDocument/2006/relationships/tags" Target="../tags/tag166.xml"/><Relationship Id="rId16" Type="http://schemas.openxmlformats.org/officeDocument/2006/relationships/image" Target="../media/image14.png"/><Relationship Id="rId20" Type="http://schemas.openxmlformats.org/officeDocument/2006/relationships/image" Target="../media/image254.png"/><Relationship Id="rId29" Type="http://schemas.openxmlformats.org/officeDocument/2006/relationships/image" Target="../media/image261.png"/><Relationship Id="rId1" Type="http://schemas.openxmlformats.org/officeDocument/2006/relationships/tags" Target="../tags/tag165.xml"/><Relationship Id="rId6" Type="http://schemas.openxmlformats.org/officeDocument/2006/relationships/image" Target="../media/image131.emf"/><Relationship Id="rId11" Type="http://schemas.openxmlformats.org/officeDocument/2006/relationships/image" Target="../media/image26.png"/><Relationship Id="rId24" Type="http://schemas.openxmlformats.org/officeDocument/2006/relationships/image" Target="../media/image256.svg"/><Relationship Id="rId32" Type="http://schemas.openxmlformats.org/officeDocument/2006/relationships/image" Target="../media/image262.png"/><Relationship Id="rId5" Type="http://schemas.openxmlformats.org/officeDocument/2006/relationships/oleObject" Target="../embeddings/oleObject46.bin"/><Relationship Id="rId15" Type="http://schemas.openxmlformats.org/officeDocument/2006/relationships/image" Target="../media/image13.png"/><Relationship Id="rId23" Type="http://schemas.openxmlformats.org/officeDocument/2006/relationships/image" Target="../media/image255.png"/><Relationship Id="rId28" Type="http://schemas.openxmlformats.org/officeDocument/2006/relationships/image" Target="../media/image260.svg"/><Relationship Id="rId10" Type="http://schemas.openxmlformats.org/officeDocument/2006/relationships/image" Target="../media/image25.svg"/><Relationship Id="rId19" Type="http://schemas.openxmlformats.org/officeDocument/2006/relationships/image" Target="../media/image76.png"/><Relationship Id="rId31" Type="http://schemas.openxmlformats.org/officeDocument/2006/relationships/image" Target="../media/image47.png"/><Relationship Id="rId4" Type="http://schemas.openxmlformats.org/officeDocument/2006/relationships/slideLayout" Target="../slideLayouts/slideLayout1.xml"/><Relationship Id="rId9" Type="http://schemas.openxmlformats.org/officeDocument/2006/relationships/image" Target="../media/image24.png"/><Relationship Id="rId14" Type="http://schemas.openxmlformats.org/officeDocument/2006/relationships/image" Target="../media/image12.jpeg"/><Relationship Id="rId22" Type="http://schemas.openxmlformats.org/officeDocument/2006/relationships/image" Target="../media/image74.png"/><Relationship Id="rId27" Type="http://schemas.openxmlformats.org/officeDocument/2006/relationships/image" Target="../media/image259.png"/><Relationship Id="rId30" Type="http://schemas.openxmlformats.org/officeDocument/2006/relationships/image" Target="../media/image46.png"/></Relationships>
</file>

<file path=ppt/slides/_rels/slide53.xml.rels><?xml version="1.0" encoding="UTF-8" standalone="yes"?>
<Relationships xmlns="http://schemas.openxmlformats.org/package/2006/relationships"><Relationship Id="rId13" Type="http://schemas.openxmlformats.org/officeDocument/2006/relationships/image" Target="../media/image269.png"/><Relationship Id="rId18" Type="http://schemas.openxmlformats.org/officeDocument/2006/relationships/image" Target="../media/image272.svg"/><Relationship Id="rId26" Type="http://schemas.openxmlformats.org/officeDocument/2006/relationships/image" Target="../media/image66.png"/><Relationship Id="rId39" Type="http://schemas.openxmlformats.org/officeDocument/2006/relationships/image" Target="../media/image27.svg"/><Relationship Id="rId21" Type="http://schemas.openxmlformats.org/officeDocument/2006/relationships/image" Target="../media/image70.png"/><Relationship Id="rId34" Type="http://schemas.openxmlformats.org/officeDocument/2006/relationships/image" Target="../media/image22.png"/><Relationship Id="rId42" Type="http://schemas.openxmlformats.org/officeDocument/2006/relationships/image" Target="../media/image13.png"/><Relationship Id="rId47" Type="http://schemas.openxmlformats.org/officeDocument/2006/relationships/image" Target="../media/image74.png"/><Relationship Id="rId50" Type="http://schemas.openxmlformats.org/officeDocument/2006/relationships/image" Target="../media/image278.png"/><Relationship Id="rId7" Type="http://schemas.openxmlformats.org/officeDocument/2006/relationships/image" Target="../media/image263.jpeg"/><Relationship Id="rId2" Type="http://schemas.openxmlformats.org/officeDocument/2006/relationships/tags" Target="../tags/tag169.xml"/><Relationship Id="rId16" Type="http://schemas.openxmlformats.org/officeDocument/2006/relationships/image" Target="../media/image258.svg"/><Relationship Id="rId29" Type="http://schemas.openxmlformats.org/officeDocument/2006/relationships/image" Target="../media/image275.png"/><Relationship Id="rId11" Type="http://schemas.openxmlformats.org/officeDocument/2006/relationships/image" Target="../media/image267.svg"/><Relationship Id="rId24" Type="http://schemas.openxmlformats.org/officeDocument/2006/relationships/image" Target="../media/image59.png"/><Relationship Id="rId32" Type="http://schemas.openxmlformats.org/officeDocument/2006/relationships/image" Target="../media/image72.jpeg"/><Relationship Id="rId37" Type="http://schemas.openxmlformats.org/officeDocument/2006/relationships/image" Target="../media/image25.svg"/><Relationship Id="rId40" Type="http://schemas.openxmlformats.org/officeDocument/2006/relationships/image" Target="../media/image11.jpeg"/><Relationship Id="rId45" Type="http://schemas.openxmlformats.org/officeDocument/2006/relationships/image" Target="../media/image254.png"/><Relationship Id="rId53" Type="http://schemas.openxmlformats.org/officeDocument/2006/relationships/image" Target="../media/image47.png"/><Relationship Id="rId5" Type="http://schemas.openxmlformats.org/officeDocument/2006/relationships/oleObject" Target="../embeddings/oleObject47.bin"/><Relationship Id="rId10" Type="http://schemas.openxmlformats.org/officeDocument/2006/relationships/image" Target="../media/image266.png"/><Relationship Id="rId19" Type="http://schemas.openxmlformats.org/officeDocument/2006/relationships/image" Target="../media/image273.jpeg"/><Relationship Id="rId31" Type="http://schemas.openxmlformats.org/officeDocument/2006/relationships/image" Target="../media/image277.png"/><Relationship Id="rId44" Type="http://schemas.openxmlformats.org/officeDocument/2006/relationships/image" Target="../media/image76.png"/><Relationship Id="rId52" Type="http://schemas.openxmlformats.org/officeDocument/2006/relationships/image" Target="../media/image279.svg"/><Relationship Id="rId4" Type="http://schemas.openxmlformats.org/officeDocument/2006/relationships/slideLayout" Target="../slideLayouts/slideLayout1.xml"/><Relationship Id="rId9" Type="http://schemas.openxmlformats.org/officeDocument/2006/relationships/image" Target="../media/image265.gif"/><Relationship Id="rId14" Type="http://schemas.openxmlformats.org/officeDocument/2006/relationships/image" Target="../media/image270.svg"/><Relationship Id="rId22" Type="http://schemas.openxmlformats.org/officeDocument/2006/relationships/image" Target="../media/image274.png"/><Relationship Id="rId27" Type="http://schemas.openxmlformats.org/officeDocument/2006/relationships/image" Target="../media/image67.svg"/><Relationship Id="rId30" Type="http://schemas.openxmlformats.org/officeDocument/2006/relationships/image" Target="../media/image276.png"/><Relationship Id="rId35" Type="http://schemas.openxmlformats.org/officeDocument/2006/relationships/image" Target="../media/image23.svg"/><Relationship Id="rId43" Type="http://schemas.openxmlformats.org/officeDocument/2006/relationships/image" Target="../media/image14.png"/><Relationship Id="rId48" Type="http://schemas.openxmlformats.org/officeDocument/2006/relationships/image" Target="../media/image83.png"/><Relationship Id="rId8" Type="http://schemas.openxmlformats.org/officeDocument/2006/relationships/image" Target="../media/image264.png"/><Relationship Id="rId51" Type="http://schemas.openxmlformats.org/officeDocument/2006/relationships/image" Target="../media/image102.png"/><Relationship Id="rId3" Type="http://schemas.openxmlformats.org/officeDocument/2006/relationships/tags" Target="../tags/tag170.xml"/><Relationship Id="rId12" Type="http://schemas.openxmlformats.org/officeDocument/2006/relationships/image" Target="../media/image268.png"/><Relationship Id="rId17" Type="http://schemas.openxmlformats.org/officeDocument/2006/relationships/image" Target="../media/image271.png"/><Relationship Id="rId25" Type="http://schemas.openxmlformats.org/officeDocument/2006/relationships/image" Target="../media/image68.jpeg"/><Relationship Id="rId33" Type="http://schemas.openxmlformats.org/officeDocument/2006/relationships/image" Target="../media/image73.png"/><Relationship Id="rId38" Type="http://schemas.openxmlformats.org/officeDocument/2006/relationships/image" Target="../media/image26.png"/><Relationship Id="rId46" Type="http://schemas.openxmlformats.org/officeDocument/2006/relationships/image" Target="../media/image75.png"/><Relationship Id="rId20" Type="http://schemas.openxmlformats.org/officeDocument/2006/relationships/image" Target="../media/image69.jpeg"/><Relationship Id="rId41" Type="http://schemas.openxmlformats.org/officeDocument/2006/relationships/image" Target="../media/image12.jpeg"/><Relationship Id="rId54" Type="http://schemas.openxmlformats.org/officeDocument/2006/relationships/image" Target="../media/image261.png"/><Relationship Id="rId1" Type="http://schemas.openxmlformats.org/officeDocument/2006/relationships/tags" Target="../tags/tag168.xml"/><Relationship Id="rId6" Type="http://schemas.openxmlformats.org/officeDocument/2006/relationships/image" Target="../media/image131.emf"/><Relationship Id="rId15" Type="http://schemas.openxmlformats.org/officeDocument/2006/relationships/image" Target="../media/image257.png"/><Relationship Id="rId23" Type="http://schemas.openxmlformats.org/officeDocument/2006/relationships/image" Target="../media/image46.png"/><Relationship Id="rId28" Type="http://schemas.openxmlformats.org/officeDocument/2006/relationships/image" Target="../media/image71.png"/><Relationship Id="rId36" Type="http://schemas.openxmlformats.org/officeDocument/2006/relationships/image" Target="../media/image24.png"/><Relationship Id="rId49" Type="http://schemas.openxmlformats.org/officeDocument/2006/relationships/image" Target="../media/image84.png"/></Relationships>
</file>

<file path=ppt/slides/_rels/slide54.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72.jpeg"/><Relationship Id="rId18" Type="http://schemas.openxmlformats.org/officeDocument/2006/relationships/image" Target="../media/image284.png"/><Relationship Id="rId26" Type="http://schemas.openxmlformats.org/officeDocument/2006/relationships/image" Target="../media/image12.jpeg"/><Relationship Id="rId3" Type="http://schemas.openxmlformats.org/officeDocument/2006/relationships/slideLayout" Target="../slideLayouts/slideLayout1.xml"/><Relationship Id="rId21" Type="http://schemas.openxmlformats.org/officeDocument/2006/relationships/image" Target="../media/image24.png"/><Relationship Id="rId7" Type="http://schemas.openxmlformats.org/officeDocument/2006/relationships/image" Target="../media/image280.jpeg"/><Relationship Id="rId12" Type="http://schemas.openxmlformats.org/officeDocument/2006/relationships/image" Target="../media/image277.png"/><Relationship Id="rId17" Type="http://schemas.openxmlformats.org/officeDocument/2006/relationships/image" Target="../media/image112.png"/><Relationship Id="rId25" Type="http://schemas.openxmlformats.org/officeDocument/2006/relationships/image" Target="../media/image11.jpeg"/><Relationship Id="rId2" Type="http://schemas.openxmlformats.org/officeDocument/2006/relationships/tags" Target="../tags/tag172.xml"/><Relationship Id="rId16" Type="http://schemas.openxmlformats.org/officeDocument/2006/relationships/image" Target="../media/image73.png"/><Relationship Id="rId20" Type="http://schemas.openxmlformats.org/officeDocument/2006/relationships/image" Target="../media/image23.svg"/><Relationship Id="rId1" Type="http://schemas.openxmlformats.org/officeDocument/2006/relationships/tags" Target="../tags/tag171.xml"/><Relationship Id="rId6" Type="http://schemas.openxmlformats.org/officeDocument/2006/relationships/image" Target="../media/image4.emf"/><Relationship Id="rId11" Type="http://schemas.openxmlformats.org/officeDocument/2006/relationships/image" Target="../media/image281.png"/><Relationship Id="rId24" Type="http://schemas.openxmlformats.org/officeDocument/2006/relationships/image" Target="../media/image27.svg"/><Relationship Id="rId5" Type="http://schemas.openxmlformats.org/officeDocument/2006/relationships/oleObject" Target="../embeddings/oleObject48.bin"/><Relationship Id="rId15" Type="http://schemas.openxmlformats.org/officeDocument/2006/relationships/image" Target="../media/image283.png"/><Relationship Id="rId23" Type="http://schemas.openxmlformats.org/officeDocument/2006/relationships/image" Target="../media/image26.png"/><Relationship Id="rId28" Type="http://schemas.openxmlformats.org/officeDocument/2006/relationships/image" Target="../media/image14.png"/><Relationship Id="rId10" Type="http://schemas.openxmlformats.org/officeDocument/2006/relationships/image" Target="../media/image276.png"/><Relationship Id="rId19" Type="http://schemas.openxmlformats.org/officeDocument/2006/relationships/image" Target="../media/image22.png"/><Relationship Id="rId4" Type="http://schemas.openxmlformats.org/officeDocument/2006/relationships/notesSlide" Target="../notesSlides/notesSlide28.xml"/><Relationship Id="rId9" Type="http://schemas.openxmlformats.org/officeDocument/2006/relationships/image" Target="../media/image275.png"/><Relationship Id="rId14" Type="http://schemas.openxmlformats.org/officeDocument/2006/relationships/image" Target="../media/image282.jpeg"/><Relationship Id="rId22" Type="http://schemas.openxmlformats.org/officeDocument/2006/relationships/image" Target="../media/image25.svg"/><Relationship Id="rId27" Type="http://schemas.openxmlformats.org/officeDocument/2006/relationships/image" Target="../media/image13.png"/></Relationships>
</file>

<file path=ppt/slides/_rels/slide55.xml.rels><?xml version="1.0" encoding="UTF-8" standalone="yes"?>
<Relationships xmlns="http://schemas.openxmlformats.org/package/2006/relationships"><Relationship Id="rId8" Type="http://schemas.openxmlformats.org/officeDocument/2006/relationships/image" Target="../media/image286.svg"/><Relationship Id="rId13" Type="http://schemas.openxmlformats.org/officeDocument/2006/relationships/image" Target="../media/image291.png"/><Relationship Id="rId18" Type="http://schemas.openxmlformats.org/officeDocument/2006/relationships/image" Target="../media/image23.svg"/><Relationship Id="rId26" Type="http://schemas.openxmlformats.org/officeDocument/2006/relationships/image" Target="../media/image14.png"/><Relationship Id="rId3" Type="http://schemas.openxmlformats.org/officeDocument/2006/relationships/slideLayout" Target="../slideLayouts/slideLayout1.xml"/><Relationship Id="rId21" Type="http://schemas.openxmlformats.org/officeDocument/2006/relationships/image" Target="../media/image26.png"/><Relationship Id="rId7" Type="http://schemas.openxmlformats.org/officeDocument/2006/relationships/image" Target="../media/image285.png"/><Relationship Id="rId12" Type="http://schemas.openxmlformats.org/officeDocument/2006/relationships/image" Target="../media/image290.svg"/><Relationship Id="rId17" Type="http://schemas.openxmlformats.org/officeDocument/2006/relationships/image" Target="../media/image22.png"/><Relationship Id="rId25" Type="http://schemas.openxmlformats.org/officeDocument/2006/relationships/image" Target="../media/image13.png"/><Relationship Id="rId2" Type="http://schemas.openxmlformats.org/officeDocument/2006/relationships/tags" Target="../tags/tag174.xml"/><Relationship Id="rId16" Type="http://schemas.openxmlformats.org/officeDocument/2006/relationships/image" Target="../media/image294.svg"/><Relationship Id="rId20" Type="http://schemas.openxmlformats.org/officeDocument/2006/relationships/image" Target="../media/image25.svg"/><Relationship Id="rId1" Type="http://schemas.openxmlformats.org/officeDocument/2006/relationships/tags" Target="../tags/tag173.xml"/><Relationship Id="rId6" Type="http://schemas.openxmlformats.org/officeDocument/2006/relationships/image" Target="../media/image4.emf"/><Relationship Id="rId11" Type="http://schemas.openxmlformats.org/officeDocument/2006/relationships/image" Target="../media/image289.png"/><Relationship Id="rId24" Type="http://schemas.openxmlformats.org/officeDocument/2006/relationships/image" Target="../media/image12.jpeg"/><Relationship Id="rId5" Type="http://schemas.openxmlformats.org/officeDocument/2006/relationships/oleObject" Target="../embeddings/oleObject49.bin"/><Relationship Id="rId15" Type="http://schemas.openxmlformats.org/officeDocument/2006/relationships/image" Target="../media/image293.png"/><Relationship Id="rId23" Type="http://schemas.openxmlformats.org/officeDocument/2006/relationships/image" Target="../media/image11.jpeg"/><Relationship Id="rId10" Type="http://schemas.openxmlformats.org/officeDocument/2006/relationships/image" Target="../media/image288.svg"/><Relationship Id="rId19" Type="http://schemas.openxmlformats.org/officeDocument/2006/relationships/image" Target="../media/image24.png"/><Relationship Id="rId4" Type="http://schemas.openxmlformats.org/officeDocument/2006/relationships/notesSlide" Target="../notesSlides/notesSlide29.xml"/><Relationship Id="rId9" Type="http://schemas.openxmlformats.org/officeDocument/2006/relationships/image" Target="../media/image287.png"/><Relationship Id="rId14" Type="http://schemas.openxmlformats.org/officeDocument/2006/relationships/image" Target="../media/image292.svg"/><Relationship Id="rId22" Type="http://schemas.openxmlformats.org/officeDocument/2006/relationships/image" Target="../media/image27.svg"/><Relationship Id="rId27" Type="http://schemas.openxmlformats.org/officeDocument/2006/relationships/image" Target="../media/image295.sv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3" Type="http://schemas.openxmlformats.org/officeDocument/2006/relationships/slideLayout" Target="../slideLayouts/slideLayout1.xml"/><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tags" Target="../tags/tag176.xml"/><Relationship Id="rId16" Type="http://schemas.openxmlformats.org/officeDocument/2006/relationships/image" Target="../media/image14.png"/><Relationship Id="rId1" Type="http://schemas.openxmlformats.org/officeDocument/2006/relationships/tags" Target="../tags/tag175.xml"/><Relationship Id="rId6" Type="http://schemas.openxmlformats.org/officeDocument/2006/relationships/image" Target="../media/image149.png"/><Relationship Id="rId11" Type="http://schemas.openxmlformats.org/officeDocument/2006/relationships/image" Target="../media/image26.png"/><Relationship Id="rId5" Type="http://schemas.openxmlformats.org/officeDocument/2006/relationships/image" Target="../media/image1.emf"/><Relationship Id="rId15" Type="http://schemas.openxmlformats.org/officeDocument/2006/relationships/image" Target="../media/image13.png"/><Relationship Id="rId10" Type="http://schemas.openxmlformats.org/officeDocument/2006/relationships/image" Target="../media/image25.svg"/><Relationship Id="rId4" Type="http://schemas.openxmlformats.org/officeDocument/2006/relationships/oleObject" Target="../embeddings/oleObject50.bin"/><Relationship Id="rId9" Type="http://schemas.openxmlformats.org/officeDocument/2006/relationships/image" Target="../media/image24.png"/><Relationship Id="rId14" Type="http://schemas.openxmlformats.org/officeDocument/2006/relationships/image" Target="../media/image12.jpeg"/></Relationships>
</file>

<file path=ppt/slides/_rels/slide58.xml.rels><?xml version="1.0" encoding="UTF-8" standalone="yes"?>
<Relationships xmlns="http://schemas.openxmlformats.org/package/2006/relationships"><Relationship Id="rId13" Type="http://schemas.openxmlformats.org/officeDocument/2006/relationships/image" Target="../media/image307.png"/><Relationship Id="rId18" Type="http://schemas.openxmlformats.org/officeDocument/2006/relationships/image" Target="../media/image312.png"/><Relationship Id="rId26" Type="http://schemas.openxmlformats.org/officeDocument/2006/relationships/image" Target="../media/image320.png"/><Relationship Id="rId39" Type="http://schemas.openxmlformats.org/officeDocument/2006/relationships/image" Target="../media/image330.png"/><Relationship Id="rId21" Type="http://schemas.openxmlformats.org/officeDocument/2006/relationships/image" Target="../media/image315.png"/><Relationship Id="rId34" Type="http://schemas.openxmlformats.org/officeDocument/2006/relationships/image" Target="../media/image328.png"/><Relationship Id="rId42" Type="http://schemas.openxmlformats.org/officeDocument/2006/relationships/image" Target="../media/image279.svg"/><Relationship Id="rId47" Type="http://schemas.openxmlformats.org/officeDocument/2006/relationships/image" Target="../media/image26.png"/><Relationship Id="rId50" Type="http://schemas.openxmlformats.org/officeDocument/2006/relationships/image" Target="../media/image12.jpeg"/><Relationship Id="rId7" Type="http://schemas.openxmlformats.org/officeDocument/2006/relationships/image" Target="../media/image301.svg"/><Relationship Id="rId2" Type="http://schemas.openxmlformats.org/officeDocument/2006/relationships/image" Target="../media/image296.png"/><Relationship Id="rId16" Type="http://schemas.openxmlformats.org/officeDocument/2006/relationships/image" Target="../media/image310.png"/><Relationship Id="rId29" Type="http://schemas.openxmlformats.org/officeDocument/2006/relationships/image" Target="../media/image323.png"/><Relationship Id="rId11" Type="http://schemas.openxmlformats.org/officeDocument/2006/relationships/image" Target="../media/image305.png"/><Relationship Id="rId24" Type="http://schemas.openxmlformats.org/officeDocument/2006/relationships/image" Target="../media/image318.png"/><Relationship Id="rId32" Type="http://schemas.openxmlformats.org/officeDocument/2006/relationships/image" Target="../media/image326.png"/><Relationship Id="rId37" Type="http://schemas.openxmlformats.org/officeDocument/2006/relationships/image" Target="../media/image97.png"/><Relationship Id="rId40" Type="http://schemas.openxmlformats.org/officeDocument/2006/relationships/image" Target="../media/image90.png"/><Relationship Id="rId45" Type="http://schemas.openxmlformats.org/officeDocument/2006/relationships/image" Target="../media/image24.png"/><Relationship Id="rId5" Type="http://schemas.openxmlformats.org/officeDocument/2006/relationships/image" Target="../media/image299.svg"/><Relationship Id="rId15" Type="http://schemas.openxmlformats.org/officeDocument/2006/relationships/image" Target="../media/image309.png"/><Relationship Id="rId23" Type="http://schemas.openxmlformats.org/officeDocument/2006/relationships/image" Target="../media/image317.png"/><Relationship Id="rId28" Type="http://schemas.openxmlformats.org/officeDocument/2006/relationships/image" Target="../media/image322.png"/><Relationship Id="rId36" Type="http://schemas.openxmlformats.org/officeDocument/2006/relationships/image" Target="../media/image85.png"/><Relationship Id="rId49" Type="http://schemas.openxmlformats.org/officeDocument/2006/relationships/image" Target="../media/image11.jpeg"/><Relationship Id="rId10" Type="http://schemas.openxmlformats.org/officeDocument/2006/relationships/image" Target="../media/image304.png"/><Relationship Id="rId19" Type="http://schemas.openxmlformats.org/officeDocument/2006/relationships/image" Target="../media/image313.png"/><Relationship Id="rId31" Type="http://schemas.openxmlformats.org/officeDocument/2006/relationships/image" Target="../media/image325.png"/><Relationship Id="rId44" Type="http://schemas.openxmlformats.org/officeDocument/2006/relationships/image" Target="../media/image23.svg"/><Relationship Id="rId52" Type="http://schemas.openxmlformats.org/officeDocument/2006/relationships/image" Target="../media/image14.png"/><Relationship Id="rId4" Type="http://schemas.openxmlformats.org/officeDocument/2006/relationships/image" Target="../media/image298.png"/><Relationship Id="rId9" Type="http://schemas.openxmlformats.org/officeDocument/2006/relationships/image" Target="../media/image303.svg"/><Relationship Id="rId14" Type="http://schemas.openxmlformats.org/officeDocument/2006/relationships/image" Target="../media/image308.png"/><Relationship Id="rId22" Type="http://schemas.openxmlformats.org/officeDocument/2006/relationships/image" Target="../media/image316.jpeg"/><Relationship Id="rId27" Type="http://schemas.openxmlformats.org/officeDocument/2006/relationships/image" Target="../media/image321.png"/><Relationship Id="rId30" Type="http://schemas.openxmlformats.org/officeDocument/2006/relationships/image" Target="../media/image324.png"/><Relationship Id="rId35" Type="http://schemas.openxmlformats.org/officeDocument/2006/relationships/image" Target="../media/image329.png"/><Relationship Id="rId43" Type="http://schemas.openxmlformats.org/officeDocument/2006/relationships/image" Target="../media/image22.png"/><Relationship Id="rId48" Type="http://schemas.openxmlformats.org/officeDocument/2006/relationships/image" Target="../media/image27.svg"/><Relationship Id="rId8" Type="http://schemas.openxmlformats.org/officeDocument/2006/relationships/image" Target="../media/image302.png"/><Relationship Id="rId51" Type="http://schemas.openxmlformats.org/officeDocument/2006/relationships/image" Target="../media/image13.png"/><Relationship Id="rId3" Type="http://schemas.openxmlformats.org/officeDocument/2006/relationships/image" Target="../media/image297.svg"/><Relationship Id="rId12" Type="http://schemas.openxmlformats.org/officeDocument/2006/relationships/image" Target="../media/image306.png"/><Relationship Id="rId17" Type="http://schemas.openxmlformats.org/officeDocument/2006/relationships/image" Target="../media/image311.png"/><Relationship Id="rId25" Type="http://schemas.openxmlformats.org/officeDocument/2006/relationships/image" Target="../media/image319.png"/><Relationship Id="rId33" Type="http://schemas.openxmlformats.org/officeDocument/2006/relationships/image" Target="../media/image327.png"/><Relationship Id="rId38" Type="http://schemas.openxmlformats.org/officeDocument/2006/relationships/image" Target="../media/image47.png"/><Relationship Id="rId46" Type="http://schemas.openxmlformats.org/officeDocument/2006/relationships/image" Target="../media/image25.svg"/><Relationship Id="rId20" Type="http://schemas.openxmlformats.org/officeDocument/2006/relationships/image" Target="../media/image314.png"/><Relationship Id="rId41" Type="http://schemas.openxmlformats.org/officeDocument/2006/relationships/image" Target="../media/image102.png"/><Relationship Id="rId1" Type="http://schemas.openxmlformats.org/officeDocument/2006/relationships/slideLayout" Target="../slideLayouts/slideLayout1.xml"/><Relationship Id="rId6" Type="http://schemas.openxmlformats.org/officeDocument/2006/relationships/image" Target="../media/image300.png"/></Relationships>
</file>

<file path=ppt/slides/_rels/slide59.xml.rels><?xml version="1.0" encoding="UTF-8" standalone="yes"?>
<Relationships xmlns="http://schemas.openxmlformats.org/package/2006/relationships"><Relationship Id="rId13" Type="http://schemas.openxmlformats.org/officeDocument/2006/relationships/image" Target="../media/image336.svg"/><Relationship Id="rId18" Type="http://schemas.openxmlformats.org/officeDocument/2006/relationships/image" Target="../media/image341.png"/><Relationship Id="rId26" Type="http://schemas.openxmlformats.org/officeDocument/2006/relationships/image" Target="../media/image22.png"/><Relationship Id="rId3" Type="http://schemas.openxmlformats.org/officeDocument/2006/relationships/slideLayout" Target="../slideLayouts/slideLayout1.xml"/><Relationship Id="rId21" Type="http://schemas.openxmlformats.org/officeDocument/2006/relationships/image" Target="../media/image299.svg"/><Relationship Id="rId34" Type="http://schemas.openxmlformats.org/officeDocument/2006/relationships/image" Target="../media/image13.png"/><Relationship Id="rId7" Type="http://schemas.openxmlformats.org/officeDocument/2006/relationships/image" Target="../media/image297.svg"/><Relationship Id="rId12" Type="http://schemas.openxmlformats.org/officeDocument/2006/relationships/image" Target="../media/image335.png"/><Relationship Id="rId17" Type="http://schemas.openxmlformats.org/officeDocument/2006/relationships/image" Target="../media/image340.svg"/><Relationship Id="rId25" Type="http://schemas.openxmlformats.org/officeDocument/2006/relationships/image" Target="../media/image303.svg"/><Relationship Id="rId33" Type="http://schemas.openxmlformats.org/officeDocument/2006/relationships/image" Target="../media/image12.jpeg"/><Relationship Id="rId2" Type="http://schemas.openxmlformats.org/officeDocument/2006/relationships/tags" Target="../tags/tag178.xml"/><Relationship Id="rId16" Type="http://schemas.openxmlformats.org/officeDocument/2006/relationships/image" Target="../media/image339.png"/><Relationship Id="rId20" Type="http://schemas.openxmlformats.org/officeDocument/2006/relationships/image" Target="../media/image298.png"/><Relationship Id="rId29" Type="http://schemas.openxmlformats.org/officeDocument/2006/relationships/image" Target="../media/image25.svg"/><Relationship Id="rId1" Type="http://schemas.openxmlformats.org/officeDocument/2006/relationships/tags" Target="../tags/tag177.xml"/><Relationship Id="rId6" Type="http://schemas.openxmlformats.org/officeDocument/2006/relationships/image" Target="../media/image296.png"/><Relationship Id="rId11" Type="http://schemas.openxmlformats.org/officeDocument/2006/relationships/image" Target="../media/image334.svg"/><Relationship Id="rId24" Type="http://schemas.openxmlformats.org/officeDocument/2006/relationships/image" Target="../media/image302.png"/><Relationship Id="rId32" Type="http://schemas.openxmlformats.org/officeDocument/2006/relationships/image" Target="../media/image11.jpeg"/><Relationship Id="rId5" Type="http://schemas.openxmlformats.org/officeDocument/2006/relationships/image" Target="../media/image8.emf"/><Relationship Id="rId15" Type="http://schemas.openxmlformats.org/officeDocument/2006/relationships/image" Target="../media/image338.svg"/><Relationship Id="rId23" Type="http://schemas.openxmlformats.org/officeDocument/2006/relationships/image" Target="../media/image301.svg"/><Relationship Id="rId28" Type="http://schemas.openxmlformats.org/officeDocument/2006/relationships/image" Target="../media/image24.png"/><Relationship Id="rId10" Type="http://schemas.openxmlformats.org/officeDocument/2006/relationships/image" Target="../media/image333.png"/><Relationship Id="rId19" Type="http://schemas.openxmlformats.org/officeDocument/2006/relationships/image" Target="../media/image342.svg"/><Relationship Id="rId31" Type="http://schemas.openxmlformats.org/officeDocument/2006/relationships/image" Target="../media/image27.svg"/><Relationship Id="rId4" Type="http://schemas.openxmlformats.org/officeDocument/2006/relationships/oleObject" Target="../embeddings/oleObject51.bin"/><Relationship Id="rId9" Type="http://schemas.openxmlformats.org/officeDocument/2006/relationships/image" Target="../media/image332.svg"/><Relationship Id="rId14" Type="http://schemas.openxmlformats.org/officeDocument/2006/relationships/image" Target="../media/image337.png"/><Relationship Id="rId22" Type="http://schemas.openxmlformats.org/officeDocument/2006/relationships/image" Target="../media/image300.png"/><Relationship Id="rId27" Type="http://schemas.openxmlformats.org/officeDocument/2006/relationships/image" Target="../media/image23.svg"/><Relationship Id="rId30" Type="http://schemas.openxmlformats.org/officeDocument/2006/relationships/image" Target="../media/image26.png"/><Relationship Id="rId35" Type="http://schemas.openxmlformats.org/officeDocument/2006/relationships/image" Target="../media/image14.png"/><Relationship Id="rId8" Type="http://schemas.openxmlformats.org/officeDocument/2006/relationships/image" Target="../media/image331.png"/></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2.xml"/><Relationship Id="rId13" Type="http://schemas.openxmlformats.org/officeDocument/2006/relationships/image" Target="../media/image14.png"/><Relationship Id="rId18" Type="http://schemas.openxmlformats.org/officeDocument/2006/relationships/image" Target="../media/image32.png"/><Relationship Id="rId26" Type="http://schemas.openxmlformats.org/officeDocument/2006/relationships/image" Target="../media/image25.svg"/><Relationship Id="rId3" Type="http://schemas.openxmlformats.org/officeDocument/2006/relationships/tags" Target="../tags/tag29.xml"/><Relationship Id="rId21" Type="http://schemas.openxmlformats.org/officeDocument/2006/relationships/image" Target="../media/image12.jpeg"/><Relationship Id="rId7" Type="http://schemas.openxmlformats.org/officeDocument/2006/relationships/slideLayout" Target="../slideLayouts/slideLayout1.xml"/><Relationship Id="rId12" Type="http://schemas.openxmlformats.org/officeDocument/2006/relationships/chart" Target="../charts/chart3.xml"/><Relationship Id="rId17" Type="http://schemas.openxmlformats.org/officeDocument/2006/relationships/image" Target="../media/image31.svg"/><Relationship Id="rId25" Type="http://schemas.openxmlformats.org/officeDocument/2006/relationships/image" Target="../media/image24.png"/><Relationship Id="rId2" Type="http://schemas.openxmlformats.org/officeDocument/2006/relationships/tags" Target="../tags/tag28.xml"/><Relationship Id="rId16" Type="http://schemas.openxmlformats.org/officeDocument/2006/relationships/image" Target="../media/image30.png"/><Relationship Id="rId20" Type="http://schemas.openxmlformats.org/officeDocument/2006/relationships/image" Target="../media/image11.jpeg"/><Relationship Id="rId29" Type="http://schemas.openxmlformats.org/officeDocument/2006/relationships/image" Target="../media/image34.png"/><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chart" Target="../charts/chart2.xml"/><Relationship Id="rId24" Type="http://schemas.openxmlformats.org/officeDocument/2006/relationships/image" Target="../media/image23.svg"/><Relationship Id="rId32" Type="http://schemas.openxmlformats.org/officeDocument/2006/relationships/image" Target="../media/image36.png"/><Relationship Id="rId5" Type="http://schemas.openxmlformats.org/officeDocument/2006/relationships/tags" Target="../tags/tag31.xml"/><Relationship Id="rId15" Type="http://schemas.openxmlformats.org/officeDocument/2006/relationships/image" Target="../media/image29.svg"/><Relationship Id="rId23" Type="http://schemas.openxmlformats.org/officeDocument/2006/relationships/image" Target="../media/image22.png"/><Relationship Id="rId28" Type="http://schemas.openxmlformats.org/officeDocument/2006/relationships/image" Target="../media/image27.svg"/><Relationship Id="rId10" Type="http://schemas.openxmlformats.org/officeDocument/2006/relationships/image" Target="../media/image1.emf"/><Relationship Id="rId19" Type="http://schemas.openxmlformats.org/officeDocument/2006/relationships/image" Target="../media/image33.svg"/><Relationship Id="rId31" Type="http://schemas.openxmlformats.org/officeDocument/2006/relationships/image" Target="../media/image2.png"/><Relationship Id="rId4" Type="http://schemas.openxmlformats.org/officeDocument/2006/relationships/tags" Target="../tags/tag30.xml"/><Relationship Id="rId9" Type="http://schemas.openxmlformats.org/officeDocument/2006/relationships/oleObject" Target="../embeddings/oleObject6.bin"/><Relationship Id="rId14" Type="http://schemas.openxmlformats.org/officeDocument/2006/relationships/image" Target="../media/image28.png"/><Relationship Id="rId22" Type="http://schemas.openxmlformats.org/officeDocument/2006/relationships/image" Target="../media/image13.png"/><Relationship Id="rId27" Type="http://schemas.openxmlformats.org/officeDocument/2006/relationships/image" Target="../media/image26.png"/><Relationship Id="rId30" Type="http://schemas.openxmlformats.org/officeDocument/2006/relationships/image" Target="../media/image35.svg"/></Relationships>
</file>

<file path=ppt/slides/_rels/slide60.xml.rels><?xml version="1.0" encoding="UTF-8" standalone="yes"?>
<Relationships xmlns="http://schemas.openxmlformats.org/package/2006/relationships"><Relationship Id="rId8" Type="http://schemas.openxmlformats.org/officeDocument/2006/relationships/image" Target="../media/image343.png"/><Relationship Id="rId13" Type="http://schemas.openxmlformats.org/officeDocument/2006/relationships/image" Target="../media/image348.svg"/><Relationship Id="rId18" Type="http://schemas.openxmlformats.org/officeDocument/2006/relationships/image" Target="../media/image22.png"/><Relationship Id="rId26" Type="http://schemas.openxmlformats.org/officeDocument/2006/relationships/image" Target="../media/image13.png"/><Relationship Id="rId3" Type="http://schemas.openxmlformats.org/officeDocument/2006/relationships/slideLayout" Target="../slideLayouts/slideLayout1.xml"/><Relationship Id="rId21" Type="http://schemas.openxmlformats.org/officeDocument/2006/relationships/image" Target="../media/image25.svg"/><Relationship Id="rId7" Type="http://schemas.openxmlformats.org/officeDocument/2006/relationships/image" Target="../media/image103.svg"/><Relationship Id="rId12" Type="http://schemas.openxmlformats.org/officeDocument/2006/relationships/image" Target="../media/image347.png"/><Relationship Id="rId17" Type="http://schemas.openxmlformats.org/officeDocument/2006/relationships/image" Target="../media/image352.svg"/><Relationship Id="rId25" Type="http://schemas.openxmlformats.org/officeDocument/2006/relationships/image" Target="../media/image12.jpeg"/><Relationship Id="rId2" Type="http://schemas.openxmlformats.org/officeDocument/2006/relationships/tags" Target="../tags/tag180.xml"/><Relationship Id="rId16" Type="http://schemas.openxmlformats.org/officeDocument/2006/relationships/image" Target="../media/image351.png"/><Relationship Id="rId20" Type="http://schemas.openxmlformats.org/officeDocument/2006/relationships/image" Target="../media/image24.png"/><Relationship Id="rId1" Type="http://schemas.openxmlformats.org/officeDocument/2006/relationships/tags" Target="../tags/tag179.xml"/><Relationship Id="rId6" Type="http://schemas.openxmlformats.org/officeDocument/2006/relationships/image" Target="../media/image102.png"/><Relationship Id="rId11" Type="http://schemas.openxmlformats.org/officeDocument/2006/relationships/image" Target="../media/image346.svg"/><Relationship Id="rId24" Type="http://schemas.openxmlformats.org/officeDocument/2006/relationships/image" Target="../media/image11.jpeg"/><Relationship Id="rId5" Type="http://schemas.openxmlformats.org/officeDocument/2006/relationships/image" Target="../media/image8.emf"/><Relationship Id="rId15" Type="http://schemas.openxmlformats.org/officeDocument/2006/relationships/image" Target="../media/image350.svg"/><Relationship Id="rId23" Type="http://schemas.openxmlformats.org/officeDocument/2006/relationships/image" Target="../media/image27.svg"/><Relationship Id="rId10" Type="http://schemas.openxmlformats.org/officeDocument/2006/relationships/image" Target="../media/image345.png"/><Relationship Id="rId19" Type="http://schemas.openxmlformats.org/officeDocument/2006/relationships/image" Target="../media/image23.svg"/><Relationship Id="rId4" Type="http://schemas.openxmlformats.org/officeDocument/2006/relationships/oleObject" Target="../embeddings/oleObject52.bin"/><Relationship Id="rId9" Type="http://schemas.openxmlformats.org/officeDocument/2006/relationships/image" Target="../media/image344.svg"/><Relationship Id="rId14" Type="http://schemas.openxmlformats.org/officeDocument/2006/relationships/image" Target="../media/image349.png"/><Relationship Id="rId22" Type="http://schemas.openxmlformats.org/officeDocument/2006/relationships/image" Target="../media/image26.png"/><Relationship Id="rId27" Type="http://schemas.openxmlformats.org/officeDocument/2006/relationships/image" Target="../media/image14.png"/></Relationships>
</file>

<file path=ppt/slides/_rels/slide61.xml.rels><?xml version="1.0" encoding="UTF-8" standalone="yes"?>
<Relationships xmlns="http://schemas.openxmlformats.org/package/2006/relationships"><Relationship Id="rId13" Type="http://schemas.openxmlformats.org/officeDocument/2006/relationships/image" Target="../media/image359.png"/><Relationship Id="rId18" Type="http://schemas.openxmlformats.org/officeDocument/2006/relationships/image" Target="../media/image97.png"/><Relationship Id="rId26" Type="http://schemas.openxmlformats.org/officeDocument/2006/relationships/image" Target="../media/image49.png"/><Relationship Id="rId39" Type="http://schemas.openxmlformats.org/officeDocument/2006/relationships/image" Target="../media/image48.png"/><Relationship Id="rId21" Type="http://schemas.openxmlformats.org/officeDocument/2006/relationships/image" Target="../media/image47.png"/><Relationship Id="rId34" Type="http://schemas.openxmlformats.org/officeDocument/2006/relationships/image" Target="../media/image362.png"/><Relationship Id="rId42" Type="http://schemas.openxmlformats.org/officeDocument/2006/relationships/image" Target="../media/image22.png"/><Relationship Id="rId47" Type="http://schemas.openxmlformats.org/officeDocument/2006/relationships/image" Target="../media/image27.svg"/><Relationship Id="rId50" Type="http://schemas.openxmlformats.org/officeDocument/2006/relationships/image" Target="../media/image13.png"/><Relationship Id="rId7" Type="http://schemas.openxmlformats.org/officeDocument/2006/relationships/image" Target="../media/image353.png"/><Relationship Id="rId2" Type="http://schemas.openxmlformats.org/officeDocument/2006/relationships/tags" Target="../tags/tag182.xml"/><Relationship Id="rId16" Type="http://schemas.openxmlformats.org/officeDocument/2006/relationships/image" Target="../media/image361.png"/><Relationship Id="rId29" Type="http://schemas.openxmlformats.org/officeDocument/2006/relationships/image" Target="../media/image42.png"/><Relationship Id="rId11" Type="http://schemas.openxmlformats.org/officeDocument/2006/relationships/image" Target="../media/image357.png"/><Relationship Id="rId24" Type="http://schemas.openxmlformats.org/officeDocument/2006/relationships/image" Target="../media/image56.png"/><Relationship Id="rId32" Type="http://schemas.openxmlformats.org/officeDocument/2006/relationships/image" Target="../media/image91.png"/><Relationship Id="rId37" Type="http://schemas.openxmlformats.org/officeDocument/2006/relationships/image" Target="../media/image95.png"/><Relationship Id="rId40" Type="http://schemas.openxmlformats.org/officeDocument/2006/relationships/image" Target="../media/image98.jpeg"/><Relationship Id="rId45" Type="http://schemas.openxmlformats.org/officeDocument/2006/relationships/image" Target="../media/image25.svg"/><Relationship Id="rId5" Type="http://schemas.openxmlformats.org/officeDocument/2006/relationships/oleObject" Target="../embeddings/oleObject53.bin"/><Relationship Id="rId15" Type="http://schemas.openxmlformats.org/officeDocument/2006/relationships/image" Target="../media/image2.png"/><Relationship Id="rId23" Type="http://schemas.openxmlformats.org/officeDocument/2006/relationships/image" Target="../media/image104.png"/><Relationship Id="rId28" Type="http://schemas.openxmlformats.org/officeDocument/2006/relationships/image" Target="../media/image88.png"/><Relationship Id="rId36" Type="http://schemas.openxmlformats.org/officeDocument/2006/relationships/image" Target="../media/image46.png"/><Relationship Id="rId49" Type="http://schemas.openxmlformats.org/officeDocument/2006/relationships/image" Target="../media/image12.jpeg"/><Relationship Id="rId10" Type="http://schemas.openxmlformats.org/officeDocument/2006/relationships/image" Target="../media/image356.svg"/><Relationship Id="rId19" Type="http://schemas.openxmlformats.org/officeDocument/2006/relationships/image" Target="../media/image50.png"/><Relationship Id="rId31" Type="http://schemas.openxmlformats.org/officeDocument/2006/relationships/image" Target="../media/image89.png"/><Relationship Id="rId44" Type="http://schemas.openxmlformats.org/officeDocument/2006/relationships/image" Target="../media/image24.png"/><Relationship Id="rId52" Type="http://schemas.openxmlformats.org/officeDocument/2006/relationships/image" Target="../media/image363.png"/><Relationship Id="rId4" Type="http://schemas.openxmlformats.org/officeDocument/2006/relationships/notesSlide" Target="../notesSlides/notesSlide30.xml"/><Relationship Id="rId9" Type="http://schemas.openxmlformats.org/officeDocument/2006/relationships/image" Target="../media/image355.png"/><Relationship Id="rId14" Type="http://schemas.openxmlformats.org/officeDocument/2006/relationships/image" Target="../media/image360.svg"/><Relationship Id="rId22" Type="http://schemas.openxmlformats.org/officeDocument/2006/relationships/image" Target="../media/image86.png"/><Relationship Id="rId27" Type="http://schemas.openxmlformats.org/officeDocument/2006/relationships/image" Target="../media/image87.jpeg"/><Relationship Id="rId30" Type="http://schemas.openxmlformats.org/officeDocument/2006/relationships/image" Target="../media/image92.png"/><Relationship Id="rId35" Type="http://schemas.openxmlformats.org/officeDocument/2006/relationships/image" Target="../media/image90.png"/><Relationship Id="rId43" Type="http://schemas.openxmlformats.org/officeDocument/2006/relationships/image" Target="../media/image23.svg"/><Relationship Id="rId48" Type="http://schemas.openxmlformats.org/officeDocument/2006/relationships/image" Target="../media/image11.jpeg"/><Relationship Id="rId8" Type="http://schemas.openxmlformats.org/officeDocument/2006/relationships/image" Target="../media/image354.svg"/><Relationship Id="rId51" Type="http://schemas.openxmlformats.org/officeDocument/2006/relationships/image" Target="../media/image14.png"/><Relationship Id="rId3" Type="http://schemas.openxmlformats.org/officeDocument/2006/relationships/slideLayout" Target="../slideLayouts/slideLayout1.xml"/><Relationship Id="rId12" Type="http://schemas.openxmlformats.org/officeDocument/2006/relationships/image" Target="../media/image358.svg"/><Relationship Id="rId17" Type="http://schemas.microsoft.com/office/2007/relationships/hdphoto" Target="../media/hdphoto1.wdp"/><Relationship Id="rId25" Type="http://schemas.openxmlformats.org/officeDocument/2006/relationships/image" Target="../media/image96.png"/><Relationship Id="rId33" Type="http://schemas.openxmlformats.org/officeDocument/2006/relationships/image" Target="../media/image94.png"/><Relationship Id="rId38" Type="http://schemas.openxmlformats.org/officeDocument/2006/relationships/image" Target="../media/image93.png"/><Relationship Id="rId46" Type="http://schemas.openxmlformats.org/officeDocument/2006/relationships/image" Target="../media/image26.png"/><Relationship Id="rId20" Type="http://schemas.openxmlformats.org/officeDocument/2006/relationships/image" Target="../media/image85.png"/><Relationship Id="rId41" Type="http://schemas.openxmlformats.org/officeDocument/2006/relationships/image" Target="../media/image99.jpeg"/><Relationship Id="rId1" Type="http://schemas.openxmlformats.org/officeDocument/2006/relationships/tags" Target="../tags/tag181.xml"/><Relationship Id="rId6" Type="http://schemas.openxmlformats.org/officeDocument/2006/relationships/image" Target="../media/image8.emf"/></Relationships>
</file>

<file path=ppt/slides/_rels/slide6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18" Type="http://schemas.openxmlformats.org/officeDocument/2006/relationships/image" Target="../media/image364.png"/><Relationship Id="rId3" Type="http://schemas.openxmlformats.org/officeDocument/2006/relationships/slideLayout" Target="../slideLayouts/slideLayout1.xml"/><Relationship Id="rId7" Type="http://schemas.openxmlformats.org/officeDocument/2006/relationships/chart" Target="../charts/chart27.xml"/><Relationship Id="rId12" Type="http://schemas.openxmlformats.org/officeDocument/2006/relationships/image" Target="../media/image26.png"/><Relationship Id="rId17" Type="http://schemas.openxmlformats.org/officeDocument/2006/relationships/image" Target="../media/image14.png"/><Relationship Id="rId2" Type="http://schemas.openxmlformats.org/officeDocument/2006/relationships/tags" Target="../tags/tag184.xml"/><Relationship Id="rId16" Type="http://schemas.openxmlformats.org/officeDocument/2006/relationships/image" Target="../media/image13.png"/><Relationship Id="rId1" Type="http://schemas.openxmlformats.org/officeDocument/2006/relationships/tags" Target="../tags/tag183.xml"/><Relationship Id="rId6" Type="http://schemas.openxmlformats.org/officeDocument/2006/relationships/image" Target="../media/image131.emf"/><Relationship Id="rId11" Type="http://schemas.openxmlformats.org/officeDocument/2006/relationships/image" Target="../media/image25.svg"/><Relationship Id="rId5" Type="http://schemas.openxmlformats.org/officeDocument/2006/relationships/oleObject" Target="../embeddings/oleObject54.bin"/><Relationship Id="rId15" Type="http://schemas.openxmlformats.org/officeDocument/2006/relationships/image" Target="../media/image12.jpeg"/><Relationship Id="rId10" Type="http://schemas.openxmlformats.org/officeDocument/2006/relationships/image" Target="../media/image24.png"/><Relationship Id="rId19" Type="http://schemas.openxmlformats.org/officeDocument/2006/relationships/image" Target="../media/image365.svg"/><Relationship Id="rId4" Type="http://schemas.openxmlformats.org/officeDocument/2006/relationships/notesSlide" Target="../notesSlides/notesSlide31.xml"/><Relationship Id="rId9" Type="http://schemas.openxmlformats.org/officeDocument/2006/relationships/image" Target="../media/image23.svg"/><Relationship Id="rId14" Type="http://schemas.openxmlformats.org/officeDocument/2006/relationships/image" Target="../media/image11.jpeg"/></Relationships>
</file>

<file path=ppt/slides/_rels/slide63.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22.png"/><Relationship Id="rId18" Type="http://schemas.openxmlformats.org/officeDocument/2006/relationships/image" Target="../media/image27.svg"/><Relationship Id="rId3" Type="http://schemas.openxmlformats.org/officeDocument/2006/relationships/slideLayout" Target="../slideLayouts/slideLayout1.xml"/><Relationship Id="rId7" Type="http://schemas.openxmlformats.org/officeDocument/2006/relationships/image" Target="../media/image13.png"/><Relationship Id="rId12" Type="http://schemas.openxmlformats.org/officeDocument/2006/relationships/chart" Target="../charts/chart29.xml"/><Relationship Id="rId17" Type="http://schemas.openxmlformats.org/officeDocument/2006/relationships/image" Target="../media/image26.png"/><Relationship Id="rId2" Type="http://schemas.openxmlformats.org/officeDocument/2006/relationships/tags" Target="../tags/tag186.xml"/><Relationship Id="rId16" Type="http://schemas.openxmlformats.org/officeDocument/2006/relationships/image" Target="../media/image25.svg"/><Relationship Id="rId20" Type="http://schemas.openxmlformats.org/officeDocument/2006/relationships/image" Target="../media/image58.svg"/><Relationship Id="rId1" Type="http://schemas.openxmlformats.org/officeDocument/2006/relationships/tags" Target="../tags/tag185.xml"/><Relationship Id="rId6" Type="http://schemas.openxmlformats.org/officeDocument/2006/relationships/image" Target="../media/image4.emf"/><Relationship Id="rId11" Type="http://schemas.openxmlformats.org/officeDocument/2006/relationships/chart" Target="../charts/chart28.xml"/><Relationship Id="rId5" Type="http://schemas.openxmlformats.org/officeDocument/2006/relationships/oleObject" Target="../embeddings/oleObject55.bin"/><Relationship Id="rId15" Type="http://schemas.openxmlformats.org/officeDocument/2006/relationships/image" Target="../media/image24.png"/><Relationship Id="rId10" Type="http://schemas.openxmlformats.org/officeDocument/2006/relationships/image" Target="../media/image14.png"/><Relationship Id="rId19" Type="http://schemas.openxmlformats.org/officeDocument/2006/relationships/image" Target="../media/image57.png"/><Relationship Id="rId4" Type="http://schemas.openxmlformats.org/officeDocument/2006/relationships/notesSlide" Target="../notesSlides/notesSlide32.xml"/><Relationship Id="rId9" Type="http://schemas.openxmlformats.org/officeDocument/2006/relationships/image" Target="../media/image12.jpeg"/><Relationship Id="rId14" Type="http://schemas.openxmlformats.org/officeDocument/2006/relationships/image" Target="../media/image23.sv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3" Type="http://schemas.openxmlformats.org/officeDocument/2006/relationships/image" Target="../media/image372.png"/><Relationship Id="rId18" Type="http://schemas.openxmlformats.org/officeDocument/2006/relationships/image" Target="../media/image377.svg"/><Relationship Id="rId26" Type="http://schemas.openxmlformats.org/officeDocument/2006/relationships/image" Target="../media/image381.png"/><Relationship Id="rId3" Type="http://schemas.openxmlformats.org/officeDocument/2006/relationships/tags" Target="../tags/tag189.xml"/><Relationship Id="rId21" Type="http://schemas.openxmlformats.org/officeDocument/2006/relationships/image" Target="../media/image378.png"/><Relationship Id="rId34" Type="http://schemas.openxmlformats.org/officeDocument/2006/relationships/image" Target="../media/image25.svg"/><Relationship Id="rId7" Type="http://schemas.openxmlformats.org/officeDocument/2006/relationships/image" Target="../media/image366.png"/><Relationship Id="rId12" Type="http://schemas.openxmlformats.org/officeDocument/2006/relationships/image" Target="../media/image371.svg"/><Relationship Id="rId17" Type="http://schemas.openxmlformats.org/officeDocument/2006/relationships/image" Target="../media/image376.png"/><Relationship Id="rId25" Type="http://schemas.openxmlformats.org/officeDocument/2006/relationships/image" Target="../media/image154.svg"/><Relationship Id="rId33" Type="http://schemas.openxmlformats.org/officeDocument/2006/relationships/image" Target="../media/image24.png"/><Relationship Id="rId2" Type="http://schemas.openxmlformats.org/officeDocument/2006/relationships/tags" Target="../tags/tag188.xml"/><Relationship Id="rId16" Type="http://schemas.openxmlformats.org/officeDocument/2006/relationships/image" Target="../media/image375.svg"/><Relationship Id="rId20" Type="http://schemas.openxmlformats.org/officeDocument/2006/relationships/image" Target="../media/image60.png"/><Relationship Id="rId29" Type="http://schemas.openxmlformats.org/officeDocument/2006/relationships/chart" Target="../charts/chart31.xml"/><Relationship Id="rId1" Type="http://schemas.openxmlformats.org/officeDocument/2006/relationships/tags" Target="../tags/tag187.xml"/><Relationship Id="rId6" Type="http://schemas.openxmlformats.org/officeDocument/2006/relationships/image" Target="../media/image131.emf"/><Relationship Id="rId11" Type="http://schemas.openxmlformats.org/officeDocument/2006/relationships/image" Target="../media/image370.png"/><Relationship Id="rId24" Type="http://schemas.openxmlformats.org/officeDocument/2006/relationships/image" Target="../media/image153.png"/><Relationship Id="rId32" Type="http://schemas.openxmlformats.org/officeDocument/2006/relationships/image" Target="../media/image23.svg"/><Relationship Id="rId5" Type="http://schemas.openxmlformats.org/officeDocument/2006/relationships/oleObject" Target="../embeddings/oleObject56.bin"/><Relationship Id="rId15" Type="http://schemas.openxmlformats.org/officeDocument/2006/relationships/image" Target="../media/image374.png"/><Relationship Id="rId23" Type="http://schemas.openxmlformats.org/officeDocument/2006/relationships/image" Target="../media/image380.png"/><Relationship Id="rId28" Type="http://schemas.openxmlformats.org/officeDocument/2006/relationships/chart" Target="../charts/chart30.xml"/><Relationship Id="rId36" Type="http://schemas.openxmlformats.org/officeDocument/2006/relationships/image" Target="../media/image27.svg"/><Relationship Id="rId10" Type="http://schemas.openxmlformats.org/officeDocument/2006/relationships/image" Target="../media/image369.png"/><Relationship Id="rId19" Type="http://schemas.openxmlformats.org/officeDocument/2006/relationships/image" Target="../media/image65.png"/><Relationship Id="rId31" Type="http://schemas.openxmlformats.org/officeDocument/2006/relationships/image" Target="../media/image22.png"/><Relationship Id="rId4" Type="http://schemas.openxmlformats.org/officeDocument/2006/relationships/slideLayout" Target="../slideLayouts/slideLayout1.xml"/><Relationship Id="rId9" Type="http://schemas.openxmlformats.org/officeDocument/2006/relationships/image" Target="../media/image368.png"/><Relationship Id="rId14" Type="http://schemas.openxmlformats.org/officeDocument/2006/relationships/image" Target="../media/image373.svg"/><Relationship Id="rId22" Type="http://schemas.openxmlformats.org/officeDocument/2006/relationships/image" Target="../media/image379.png"/><Relationship Id="rId27" Type="http://schemas.openxmlformats.org/officeDocument/2006/relationships/image" Target="../media/image382.svg"/><Relationship Id="rId30" Type="http://schemas.openxmlformats.org/officeDocument/2006/relationships/image" Target="../media/image2.png"/><Relationship Id="rId35" Type="http://schemas.openxmlformats.org/officeDocument/2006/relationships/image" Target="../media/image26.png"/><Relationship Id="rId8" Type="http://schemas.openxmlformats.org/officeDocument/2006/relationships/image" Target="../media/image367.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3" Type="http://schemas.openxmlformats.org/officeDocument/2006/relationships/image" Target="../media/image11.jpeg"/><Relationship Id="rId18" Type="http://schemas.openxmlformats.org/officeDocument/2006/relationships/image" Target="../media/image107.jpeg"/><Relationship Id="rId26" Type="http://schemas.openxmlformats.org/officeDocument/2006/relationships/image" Target="../media/image115.svg"/><Relationship Id="rId21" Type="http://schemas.openxmlformats.org/officeDocument/2006/relationships/image" Target="../media/image110.png"/><Relationship Id="rId34" Type="http://schemas.openxmlformats.org/officeDocument/2006/relationships/image" Target="../media/image123.png"/><Relationship Id="rId7" Type="http://schemas.openxmlformats.org/officeDocument/2006/relationships/image" Target="../media/image22.png"/><Relationship Id="rId12" Type="http://schemas.openxmlformats.org/officeDocument/2006/relationships/image" Target="../media/image27.svg"/><Relationship Id="rId17" Type="http://schemas.openxmlformats.org/officeDocument/2006/relationships/image" Target="../media/image106.png"/><Relationship Id="rId25" Type="http://schemas.openxmlformats.org/officeDocument/2006/relationships/image" Target="../media/image114.png"/><Relationship Id="rId33" Type="http://schemas.openxmlformats.org/officeDocument/2006/relationships/image" Target="../media/image122.jpeg"/><Relationship Id="rId38" Type="http://schemas.openxmlformats.org/officeDocument/2006/relationships/image" Target="../media/image76.png"/><Relationship Id="rId2" Type="http://schemas.openxmlformats.org/officeDocument/2006/relationships/tags" Target="../tags/tag191.xml"/><Relationship Id="rId16" Type="http://schemas.openxmlformats.org/officeDocument/2006/relationships/image" Target="../media/image14.png"/><Relationship Id="rId20" Type="http://schemas.openxmlformats.org/officeDocument/2006/relationships/image" Target="../media/image109.png"/><Relationship Id="rId29" Type="http://schemas.openxmlformats.org/officeDocument/2006/relationships/image" Target="../media/image118.png"/><Relationship Id="rId1" Type="http://schemas.openxmlformats.org/officeDocument/2006/relationships/tags" Target="../tags/tag190.xml"/><Relationship Id="rId6" Type="http://schemas.openxmlformats.org/officeDocument/2006/relationships/image" Target="../media/image105.emf"/><Relationship Id="rId11" Type="http://schemas.openxmlformats.org/officeDocument/2006/relationships/image" Target="../media/image26.png"/><Relationship Id="rId24" Type="http://schemas.openxmlformats.org/officeDocument/2006/relationships/image" Target="../media/image113.jpeg"/><Relationship Id="rId32" Type="http://schemas.openxmlformats.org/officeDocument/2006/relationships/image" Target="../media/image121.png"/><Relationship Id="rId37" Type="http://schemas.openxmlformats.org/officeDocument/2006/relationships/image" Target="../media/image75.png"/><Relationship Id="rId5" Type="http://schemas.openxmlformats.org/officeDocument/2006/relationships/oleObject" Target="../embeddings/oleObject57.bin"/><Relationship Id="rId15" Type="http://schemas.openxmlformats.org/officeDocument/2006/relationships/image" Target="../media/image13.png"/><Relationship Id="rId23" Type="http://schemas.openxmlformats.org/officeDocument/2006/relationships/image" Target="../media/image112.png"/><Relationship Id="rId28" Type="http://schemas.openxmlformats.org/officeDocument/2006/relationships/image" Target="../media/image117.svg"/><Relationship Id="rId36" Type="http://schemas.openxmlformats.org/officeDocument/2006/relationships/image" Target="../media/image74.png"/><Relationship Id="rId10" Type="http://schemas.openxmlformats.org/officeDocument/2006/relationships/image" Target="../media/image25.svg"/><Relationship Id="rId19" Type="http://schemas.openxmlformats.org/officeDocument/2006/relationships/image" Target="../media/image108.png"/><Relationship Id="rId31" Type="http://schemas.openxmlformats.org/officeDocument/2006/relationships/image" Target="../media/image120.png"/><Relationship Id="rId4" Type="http://schemas.openxmlformats.org/officeDocument/2006/relationships/notesSlide" Target="../notesSlides/notesSlide33.xml"/><Relationship Id="rId9" Type="http://schemas.openxmlformats.org/officeDocument/2006/relationships/image" Target="../media/image24.png"/><Relationship Id="rId14" Type="http://schemas.openxmlformats.org/officeDocument/2006/relationships/image" Target="../media/image12.jpeg"/><Relationship Id="rId22" Type="http://schemas.openxmlformats.org/officeDocument/2006/relationships/image" Target="../media/image111.png"/><Relationship Id="rId27" Type="http://schemas.openxmlformats.org/officeDocument/2006/relationships/image" Target="../media/image116.png"/><Relationship Id="rId30" Type="http://schemas.openxmlformats.org/officeDocument/2006/relationships/image" Target="../media/image119.svg"/><Relationship Id="rId35" Type="http://schemas.openxmlformats.org/officeDocument/2006/relationships/image" Target="../media/image124.jpeg"/><Relationship Id="rId8" Type="http://schemas.openxmlformats.org/officeDocument/2006/relationships/image" Target="../media/image23.svg"/><Relationship Id="rId3"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8" Type="http://schemas.openxmlformats.org/officeDocument/2006/relationships/image" Target="../media/image384.svg"/><Relationship Id="rId13" Type="http://schemas.openxmlformats.org/officeDocument/2006/relationships/image" Target="../media/image388.png"/><Relationship Id="rId18" Type="http://schemas.microsoft.com/office/2007/relationships/hdphoto" Target="../media/hdphoto1.wdp"/><Relationship Id="rId26" Type="http://schemas.openxmlformats.org/officeDocument/2006/relationships/image" Target="../media/image11.jpeg"/><Relationship Id="rId3" Type="http://schemas.openxmlformats.org/officeDocument/2006/relationships/slideLayout" Target="../slideLayouts/slideLayout1.xml"/><Relationship Id="rId21" Type="http://schemas.openxmlformats.org/officeDocument/2006/relationships/image" Target="../media/image23.svg"/><Relationship Id="rId7" Type="http://schemas.openxmlformats.org/officeDocument/2006/relationships/image" Target="../media/image383.png"/><Relationship Id="rId12" Type="http://schemas.openxmlformats.org/officeDocument/2006/relationships/image" Target="../media/image195.png"/><Relationship Id="rId17" Type="http://schemas.openxmlformats.org/officeDocument/2006/relationships/image" Target="../media/image361.png"/><Relationship Id="rId25" Type="http://schemas.openxmlformats.org/officeDocument/2006/relationships/image" Target="../media/image27.svg"/><Relationship Id="rId2" Type="http://schemas.openxmlformats.org/officeDocument/2006/relationships/tags" Target="../tags/tag193.xml"/><Relationship Id="rId16" Type="http://schemas.openxmlformats.org/officeDocument/2006/relationships/image" Target="../media/image391.png"/><Relationship Id="rId20" Type="http://schemas.openxmlformats.org/officeDocument/2006/relationships/image" Target="../media/image22.png"/><Relationship Id="rId29" Type="http://schemas.openxmlformats.org/officeDocument/2006/relationships/image" Target="../media/image14.png"/><Relationship Id="rId1" Type="http://schemas.openxmlformats.org/officeDocument/2006/relationships/tags" Target="../tags/tag192.xml"/><Relationship Id="rId6" Type="http://schemas.openxmlformats.org/officeDocument/2006/relationships/image" Target="../media/image4.emf"/><Relationship Id="rId11" Type="http://schemas.openxmlformats.org/officeDocument/2006/relationships/image" Target="../media/image387.png"/><Relationship Id="rId24" Type="http://schemas.openxmlformats.org/officeDocument/2006/relationships/image" Target="../media/image26.png"/><Relationship Id="rId5" Type="http://schemas.openxmlformats.org/officeDocument/2006/relationships/oleObject" Target="../embeddings/oleObject58.bin"/><Relationship Id="rId15" Type="http://schemas.openxmlformats.org/officeDocument/2006/relationships/image" Target="../media/image390.svg"/><Relationship Id="rId23" Type="http://schemas.openxmlformats.org/officeDocument/2006/relationships/image" Target="../media/image25.svg"/><Relationship Id="rId28" Type="http://schemas.openxmlformats.org/officeDocument/2006/relationships/image" Target="../media/image13.png"/><Relationship Id="rId10" Type="http://schemas.openxmlformats.org/officeDocument/2006/relationships/image" Target="../media/image386.svg"/><Relationship Id="rId19" Type="http://schemas.openxmlformats.org/officeDocument/2006/relationships/image" Target="../media/image392.png"/><Relationship Id="rId4" Type="http://schemas.openxmlformats.org/officeDocument/2006/relationships/notesSlide" Target="../notesSlides/notesSlide34.xml"/><Relationship Id="rId9" Type="http://schemas.openxmlformats.org/officeDocument/2006/relationships/image" Target="../media/image385.png"/><Relationship Id="rId14" Type="http://schemas.openxmlformats.org/officeDocument/2006/relationships/image" Target="../media/image389.png"/><Relationship Id="rId22" Type="http://schemas.openxmlformats.org/officeDocument/2006/relationships/image" Target="../media/image24.png"/><Relationship Id="rId27" Type="http://schemas.openxmlformats.org/officeDocument/2006/relationships/image" Target="../media/image12.jpeg"/></Relationships>
</file>

<file path=ppt/slides/_rels/slide7.xml.rels><?xml version="1.0" encoding="UTF-8" standalone="yes"?>
<Relationships xmlns="http://schemas.openxmlformats.org/package/2006/relationships"><Relationship Id="rId13" Type="http://schemas.openxmlformats.org/officeDocument/2006/relationships/image" Target="../media/image12.jpeg"/><Relationship Id="rId18" Type="http://schemas.openxmlformats.org/officeDocument/2006/relationships/image" Target="../media/image38.png"/><Relationship Id="rId26" Type="http://schemas.openxmlformats.org/officeDocument/2006/relationships/image" Target="../media/image46.png"/><Relationship Id="rId21" Type="http://schemas.openxmlformats.org/officeDocument/2006/relationships/image" Target="../media/image41.svg"/><Relationship Id="rId34" Type="http://schemas.openxmlformats.org/officeDocument/2006/relationships/image" Target="../media/image53.png"/><Relationship Id="rId7" Type="http://schemas.openxmlformats.org/officeDocument/2006/relationships/image" Target="../media/image23.svg"/><Relationship Id="rId12" Type="http://schemas.openxmlformats.org/officeDocument/2006/relationships/image" Target="../media/image11.jpeg"/><Relationship Id="rId17" Type="http://schemas.openxmlformats.org/officeDocument/2006/relationships/image" Target="../media/image29.svg"/><Relationship Id="rId25" Type="http://schemas.openxmlformats.org/officeDocument/2006/relationships/image" Target="../media/image45.png"/><Relationship Id="rId33" Type="http://schemas.openxmlformats.org/officeDocument/2006/relationships/image" Target="../media/image2.png"/><Relationship Id="rId2" Type="http://schemas.openxmlformats.org/officeDocument/2006/relationships/tags" Target="../tags/tag34.xml"/><Relationship Id="rId16" Type="http://schemas.openxmlformats.org/officeDocument/2006/relationships/image" Target="../media/image28.png"/><Relationship Id="rId20" Type="http://schemas.openxmlformats.org/officeDocument/2006/relationships/image" Target="../media/image40.png"/><Relationship Id="rId29" Type="http://schemas.openxmlformats.org/officeDocument/2006/relationships/image" Target="../media/image49.png"/><Relationship Id="rId1" Type="http://schemas.openxmlformats.org/officeDocument/2006/relationships/tags" Target="../tags/tag33.xml"/><Relationship Id="rId6" Type="http://schemas.openxmlformats.org/officeDocument/2006/relationships/image" Target="../media/image22.png"/><Relationship Id="rId11" Type="http://schemas.openxmlformats.org/officeDocument/2006/relationships/image" Target="../media/image27.svg"/><Relationship Id="rId24" Type="http://schemas.openxmlformats.org/officeDocument/2006/relationships/image" Target="../media/image44.png"/><Relationship Id="rId32" Type="http://schemas.openxmlformats.org/officeDocument/2006/relationships/image" Target="../media/image52.svg"/><Relationship Id="rId37" Type="http://schemas.openxmlformats.org/officeDocument/2006/relationships/image" Target="../media/image56.png"/><Relationship Id="rId5" Type="http://schemas.openxmlformats.org/officeDocument/2006/relationships/image" Target="../media/image37.emf"/><Relationship Id="rId15" Type="http://schemas.openxmlformats.org/officeDocument/2006/relationships/image" Target="../media/image14.png"/><Relationship Id="rId23" Type="http://schemas.openxmlformats.org/officeDocument/2006/relationships/image" Target="../media/image43.png"/><Relationship Id="rId28" Type="http://schemas.openxmlformats.org/officeDocument/2006/relationships/image" Target="../media/image48.png"/><Relationship Id="rId36" Type="http://schemas.openxmlformats.org/officeDocument/2006/relationships/image" Target="../media/image55.png"/><Relationship Id="rId10" Type="http://schemas.openxmlformats.org/officeDocument/2006/relationships/image" Target="../media/image26.png"/><Relationship Id="rId19" Type="http://schemas.openxmlformats.org/officeDocument/2006/relationships/image" Target="../media/image39.svg"/><Relationship Id="rId31" Type="http://schemas.openxmlformats.org/officeDocument/2006/relationships/image" Target="../media/image51.png"/><Relationship Id="rId4" Type="http://schemas.openxmlformats.org/officeDocument/2006/relationships/oleObject" Target="../embeddings/oleObject7.bin"/><Relationship Id="rId9" Type="http://schemas.openxmlformats.org/officeDocument/2006/relationships/image" Target="../media/image25.svg"/><Relationship Id="rId14" Type="http://schemas.openxmlformats.org/officeDocument/2006/relationships/image" Target="../media/image13.png"/><Relationship Id="rId22" Type="http://schemas.openxmlformats.org/officeDocument/2006/relationships/image" Target="../media/image42.png"/><Relationship Id="rId27" Type="http://schemas.openxmlformats.org/officeDocument/2006/relationships/image" Target="../media/image47.png"/><Relationship Id="rId30" Type="http://schemas.openxmlformats.org/officeDocument/2006/relationships/image" Target="../media/image50.png"/><Relationship Id="rId35" Type="http://schemas.openxmlformats.org/officeDocument/2006/relationships/image" Target="../media/image54.png"/><Relationship Id="rId8" Type="http://schemas.openxmlformats.org/officeDocument/2006/relationships/image" Target="../media/image24.png"/><Relationship Id="rId3"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13" Type="http://schemas.openxmlformats.org/officeDocument/2006/relationships/image" Target="../media/image392.png"/><Relationship Id="rId18" Type="http://schemas.microsoft.com/office/2007/relationships/hdphoto" Target="../media/hdphoto1.wdp"/><Relationship Id="rId26" Type="http://schemas.openxmlformats.org/officeDocument/2006/relationships/image" Target="../media/image117.svg"/><Relationship Id="rId39" Type="http://schemas.openxmlformats.org/officeDocument/2006/relationships/image" Target="../media/image12.jpeg"/><Relationship Id="rId21" Type="http://schemas.openxmlformats.org/officeDocument/2006/relationships/image" Target="../media/image123.png"/><Relationship Id="rId34" Type="http://schemas.openxmlformats.org/officeDocument/2006/relationships/image" Target="../media/image24.png"/><Relationship Id="rId7" Type="http://schemas.openxmlformats.org/officeDocument/2006/relationships/image" Target="../media/image22.png"/><Relationship Id="rId2" Type="http://schemas.openxmlformats.org/officeDocument/2006/relationships/tags" Target="../tags/tag195.xml"/><Relationship Id="rId16" Type="http://schemas.microsoft.com/office/2007/relationships/hdphoto" Target="../media/hdphoto2.wdp"/><Relationship Id="rId20" Type="http://schemas.openxmlformats.org/officeDocument/2006/relationships/image" Target="../media/image396.png"/><Relationship Id="rId29" Type="http://schemas.openxmlformats.org/officeDocument/2006/relationships/image" Target="../media/image400.png"/><Relationship Id="rId41" Type="http://schemas.openxmlformats.org/officeDocument/2006/relationships/image" Target="../media/image14.png"/><Relationship Id="rId1" Type="http://schemas.openxmlformats.org/officeDocument/2006/relationships/tags" Target="../tags/tag194.xml"/><Relationship Id="rId6" Type="http://schemas.openxmlformats.org/officeDocument/2006/relationships/image" Target="../media/image5.emf"/><Relationship Id="rId11" Type="http://schemas.openxmlformats.org/officeDocument/2006/relationships/image" Target="../media/image391.png"/><Relationship Id="rId24" Type="http://schemas.openxmlformats.org/officeDocument/2006/relationships/image" Target="../media/image397.png"/><Relationship Id="rId32" Type="http://schemas.openxmlformats.org/officeDocument/2006/relationships/image" Target="../media/image403.png"/><Relationship Id="rId37" Type="http://schemas.openxmlformats.org/officeDocument/2006/relationships/image" Target="../media/image27.svg"/><Relationship Id="rId40" Type="http://schemas.openxmlformats.org/officeDocument/2006/relationships/image" Target="../media/image13.png"/><Relationship Id="rId5" Type="http://schemas.openxmlformats.org/officeDocument/2006/relationships/oleObject" Target="../embeddings/oleObject59.bin"/><Relationship Id="rId15" Type="http://schemas.openxmlformats.org/officeDocument/2006/relationships/image" Target="../media/image394.png"/><Relationship Id="rId23" Type="http://schemas.openxmlformats.org/officeDocument/2006/relationships/image" Target="../media/image195.png"/><Relationship Id="rId28" Type="http://schemas.openxmlformats.org/officeDocument/2006/relationships/image" Target="../media/image399.png"/><Relationship Id="rId36" Type="http://schemas.openxmlformats.org/officeDocument/2006/relationships/image" Target="../media/image26.png"/><Relationship Id="rId10" Type="http://schemas.openxmlformats.org/officeDocument/2006/relationships/image" Target="../media/image115.svg"/><Relationship Id="rId19" Type="http://schemas.openxmlformats.org/officeDocument/2006/relationships/image" Target="../media/image395.png"/><Relationship Id="rId31" Type="http://schemas.openxmlformats.org/officeDocument/2006/relationships/image" Target="../media/image402.png"/><Relationship Id="rId4" Type="http://schemas.openxmlformats.org/officeDocument/2006/relationships/notesSlide" Target="../notesSlides/notesSlide35.xml"/><Relationship Id="rId9" Type="http://schemas.openxmlformats.org/officeDocument/2006/relationships/image" Target="../media/image114.png"/><Relationship Id="rId14" Type="http://schemas.openxmlformats.org/officeDocument/2006/relationships/image" Target="../media/image388.png"/><Relationship Id="rId22" Type="http://schemas.openxmlformats.org/officeDocument/2006/relationships/image" Target="../media/image387.png"/><Relationship Id="rId27" Type="http://schemas.openxmlformats.org/officeDocument/2006/relationships/image" Target="../media/image398.png"/><Relationship Id="rId30" Type="http://schemas.openxmlformats.org/officeDocument/2006/relationships/image" Target="../media/image401.png"/><Relationship Id="rId35" Type="http://schemas.openxmlformats.org/officeDocument/2006/relationships/image" Target="../media/image25.svg"/><Relationship Id="rId8" Type="http://schemas.openxmlformats.org/officeDocument/2006/relationships/image" Target="../media/image393.svg"/><Relationship Id="rId3" Type="http://schemas.openxmlformats.org/officeDocument/2006/relationships/slideLayout" Target="../slideLayouts/slideLayout1.xml"/><Relationship Id="rId12" Type="http://schemas.openxmlformats.org/officeDocument/2006/relationships/image" Target="../media/image363.png"/><Relationship Id="rId17" Type="http://schemas.openxmlformats.org/officeDocument/2006/relationships/image" Target="../media/image361.png"/><Relationship Id="rId25" Type="http://schemas.openxmlformats.org/officeDocument/2006/relationships/image" Target="../media/image116.png"/><Relationship Id="rId33" Type="http://schemas.openxmlformats.org/officeDocument/2006/relationships/image" Target="../media/image23.svg"/><Relationship Id="rId38" Type="http://schemas.openxmlformats.org/officeDocument/2006/relationships/image" Target="../media/image11.jpeg"/></Relationships>
</file>

<file path=ppt/slides/_rels/slide71.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23.svg"/><Relationship Id="rId18" Type="http://schemas.openxmlformats.org/officeDocument/2006/relationships/image" Target="../media/image11.jpeg"/><Relationship Id="rId3" Type="http://schemas.openxmlformats.org/officeDocument/2006/relationships/slideLayout" Target="../slideLayouts/slideLayout1.xml"/><Relationship Id="rId7" Type="http://schemas.openxmlformats.org/officeDocument/2006/relationships/image" Target="../media/image405.png"/><Relationship Id="rId12" Type="http://schemas.openxmlformats.org/officeDocument/2006/relationships/image" Target="../media/image22.png"/><Relationship Id="rId17" Type="http://schemas.openxmlformats.org/officeDocument/2006/relationships/image" Target="../media/image27.svg"/><Relationship Id="rId2" Type="http://schemas.openxmlformats.org/officeDocument/2006/relationships/tags" Target="../tags/tag197.xml"/><Relationship Id="rId16" Type="http://schemas.openxmlformats.org/officeDocument/2006/relationships/image" Target="../media/image26.png"/><Relationship Id="rId1" Type="http://schemas.openxmlformats.org/officeDocument/2006/relationships/tags" Target="../tags/tag196.xml"/><Relationship Id="rId6" Type="http://schemas.openxmlformats.org/officeDocument/2006/relationships/image" Target="../media/image404.png"/><Relationship Id="rId11" Type="http://schemas.openxmlformats.org/officeDocument/2006/relationships/image" Target="../media/image407.svg"/><Relationship Id="rId5" Type="http://schemas.openxmlformats.org/officeDocument/2006/relationships/image" Target="../media/image105.emf"/><Relationship Id="rId15" Type="http://schemas.openxmlformats.org/officeDocument/2006/relationships/image" Target="../media/image25.svg"/><Relationship Id="rId10" Type="http://schemas.openxmlformats.org/officeDocument/2006/relationships/image" Target="../media/image406.png"/><Relationship Id="rId4" Type="http://schemas.openxmlformats.org/officeDocument/2006/relationships/oleObject" Target="../embeddings/oleObject60.bin"/><Relationship Id="rId9" Type="http://schemas.openxmlformats.org/officeDocument/2006/relationships/chart" Target="../charts/chart32.xml"/><Relationship Id="rId14" Type="http://schemas.openxmlformats.org/officeDocument/2006/relationships/image" Target="../media/image24.png"/></Relationships>
</file>

<file path=ppt/slides/_rels/slide72.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22.png"/><Relationship Id="rId18" Type="http://schemas.openxmlformats.org/officeDocument/2006/relationships/image" Target="../media/image27.svg"/><Relationship Id="rId3" Type="http://schemas.openxmlformats.org/officeDocument/2006/relationships/slideLayout" Target="../slideLayouts/slideLayout1.xml"/><Relationship Id="rId21" Type="http://schemas.openxmlformats.org/officeDocument/2006/relationships/image" Target="../media/image14.png"/><Relationship Id="rId7" Type="http://schemas.openxmlformats.org/officeDocument/2006/relationships/chart" Target="../charts/chart33.xml"/><Relationship Id="rId12" Type="http://schemas.openxmlformats.org/officeDocument/2006/relationships/image" Target="../media/image402.png"/><Relationship Id="rId17" Type="http://schemas.openxmlformats.org/officeDocument/2006/relationships/image" Target="../media/image26.png"/><Relationship Id="rId2" Type="http://schemas.openxmlformats.org/officeDocument/2006/relationships/tags" Target="../tags/tag199.xml"/><Relationship Id="rId16" Type="http://schemas.openxmlformats.org/officeDocument/2006/relationships/image" Target="../media/image25.svg"/><Relationship Id="rId20" Type="http://schemas.openxmlformats.org/officeDocument/2006/relationships/image" Target="../media/image13.png"/><Relationship Id="rId1" Type="http://schemas.openxmlformats.org/officeDocument/2006/relationships/tags" Target="../tags/tag198.xml"/><Relationship Id="rId6" Type="http://schemas.openxmlformats.org/officeDocument/2006/relationships/image" Target="../media/image5.emf"/><Relationship Id="rId11" Type="http://schemas.openxmlformats.org/officeDocument/2006/relationships/image" Target="../media/image400.png"/><Relationship Id="rId5" Type="http://schemas.openxmlformats.org/officeDocument/2006/relationships/oleObject" Target="../embeddings/oleObject61.bin"/><Relationship Id="rId15" Type="http://schemas.openxmlformats.org/officeDocument/2006/relationships/image" Target="../media/image24.png"/><Relationship Id="rId10" Type="http://schemas.openxmlformats.org/officeDocument/2006/relationships/image" Target="../media/image401.png"/><Relationship Id="rId19" Type="http://schemas.openxmlformats.org/officeDocument/2006/relationships/image" Target="../media/image12.jpeg"/><Relationship Id="rId4" Type="http://schemas.openxmlformats.org/officeDocument/2006/relationships/notesSlide" Target="../notesSlides/notesSlide36.xml"/><Relationship Id="rId9" Type="http://schemas.openxmlformats.org/officeDocument/2006/relationships/image" Target="../media/image399.png"/><Relationship Id="rId14" Type="http://schemas.openxmlformats.org/officeDocument/2006/relationships/image" Target="../media/image23.svg"/></Relationships>
</file>

<file path=ppt/slides/_rels/slide73.xml.rels><?xml version="1.0" encoding="UTF-8" standalone="yes"?>
<Relationships xmlns="http://schemas.openxmlformats.org/package/2006/relationships"><Relationship Id="rId13" Type="http://schemas.openxmlformats.org/officeDocument/2006/relationships/image" Target="../media/image114.png"/><Relationship Id="rId18" Type="http://schemas.openxmlformats.org/officeDocument/2006/relationships/image" Target="../media/image401.png"/><Relationship Id="rId26" Type="http://schemas.openxmlformats.org/officeDocument/2006/relationships/image" Target="../media/image27.svg"/><Relationship Id="rId3" Type="http://schemas.openxmlformats.org/officeDocument/2006/relationships/slideLayout" Target="../slideLayouts/slideLayout11.xml"/><Relationship Id="rId21" Type="http://schemas.openxmlformats.org/officeDocument/2006/relationships/image" Target="../media/image412.png"/><Relationship Id="rId34" Type="http://schemas.microsoft.com/office/2007/relationships/hdphoto" Target="../media/hdphoto1.wdp"/><Relationship Id="rId7" Type="http://schemas.openxmlformats.org/officeDocument/2006/relationships/image" Target="../media/image408.png"/><Relationship Id="rId12" Type="http://schemas.openxmlformats.org/officeDocument/2006/relationships/image" Target="../media/image393.svg"/><Relationship Id="rId17" Type="http://schemas.openxmlformats.org/officeDocument/2006/relationships/image" Target="../media/image399.png"/><Relationship Id="rId25" Type="http://schemas.openxmlformats.org/officeDocument/2006/relationships/image" Target="../media/image26.png"/><Relationship Id="rId33" Type="http://schemas.openxmlformats.org/officeDocument/2006/relationships/image" Target="../media/image361.png"/><Relationship Id="rId2" Type="http://schemas.openxmlformats.org/officeDocument/2006/relationships/tags" Target="../tags/tag201.xml"/><Relationship Id="rId16" Type="http://schemas.openxmlformats.org/officeDocument/2006/relationships/image" Target="../media/image117.svg"/><Relationship Id="rId20" Type="http://schemas.openxmlformats.org/officeDocument/2006/relationships/image" Target="../media/image402.png"/><Relationship Id="rId29" Type="http://schemas.openxmlformats.org/officeDocument/2006/relationships/image" Target="../media/image13.png"/><Relationship Id="rId1" Type="http://schemas.openxmlformats.org/officeDocument/2006/relationships/tags" Target="../tags/tag200.xml"/><Relationship Id="rId6" Type="http://schemas.openxmlformats.org/officeDocument/2006/relationships/image" Target="../media/image131.emf"/><Relationship Id="rId11" Type="http://schemas.openxmlformats.org/officeDocument/2006/relationships/image" Target="../media/image22.png"/><Relationship Id="rId24" Type="http://schemas.openxmlformats.org/officeDocument/2006/relationships/image" Target="../media/image25.svg"/><Relationship Id="rId32" Type="http://schemas.openxmlformats.org/officeDocument/2006/relationships/image" Target="../media/image195.png"/><Relationship Id="rId5" Type="http://schemas.openxmlformats.org/officeDocument/2006/relationships/oleObject" Target="../embeddings/oleObject62.bin"/><Relationship Id="rId15" Type="http://schemas.openxmlformats.org/officeDocument/2006/relationships/image" Target="../media/image116.png"/><Relationship Id="rId23" Type="http://schemas.openxmlformats.org/officeDocument/2006/relationships/image" Target="../media/image24.png"/><Relationship Id="rId28" Type="http://schemas.openxmlformats.org/officeDocument/2006/relationships/image" Target="../media/image12.jpeg"/><Relationship Id="rId10" Type="http://schemas.openxmlformats.org/officeDocument/2006/relationships/image" Target="../media/image411.png"/><Relationship Id="rId19" Type="http://schemas.openxmlformats.org/officeDocument/2006/relationships/image" Target="../media/image400.png"/><Relationship Id="rId31" Type="http://schemas.openxmlformats.org/officeDocument/2006/relationships/image" Target="../media/image392.png"/><Relationship Id="rId4" Type="http://schemas.openxmlformats.org/officeDocument/2006/relationships/notesSlide" Target="../notesSlides/notesSlide37.xml"/><Relationship Id="rId9" Type="http://schemas.openxmlformats.org/officeDocument/2006/relationships/image" Target="../media/image410.png"/><Relationship Id="rId14" Type="http://schemas.openxmlformats.org/officeDocument/2006/relationships/image" Target="../media/image115.svg"/><Relationship Id="rId22" Type="http://schemas.openxmlformats.org/officeDocument/2006/relationships/image" Target="../media/image23.svg"/><Relationship Id="rId27" Type="http://schemas.openxmlformats.org/officeDocument/2006/relationships/image" Target="../media/image11.jpeg"/><Relationship Id="rId30" Type="http://schemas.openxmlformats.org/officeDocument/2006/relationships/image" Target="../media/image14.png"/><Relationship Id="rId8" Type="http://schemas.openxmlformats.org/officeDocument/2006/relationships/image" Target="../media/image409.png"/></Relationships>
</file>

<file path=ppt/slides/_rels/slide74.xml.rels><?xml version="1.0" encoding="UTF-8" standalone="yes"?>
<Relationships xmlns="http://schemas.openxmlformats.org/package/2006/relationships"><Relationship Id="rId8" Type="http://schemas.openxmlformats.org/officeDocument/2006/relationships/chart" Target="../charts/chart35.xml"/><Relationship Id="rId13" Type="http://schemas.openxmlformats.org/officeDocument/2006/relationships/image" Target="../media/image26.png"/><Relationship Id="rId18" Type="http://schemas.openxmlformats.org/officeDocument/2006/relationships/image" Target="../media/image14.png"/><Relationship Id="rId3" Type="http://schemas.openxmlformats.org/officeDocument/2006/relationships/slideLayout" Target="../slideLayouts/slideLayout1.xml"/><Relationship Id="rId7" Type="http://schemas.openxmlformats.org/officeDocument/2006/relationships/chart" Target="../charts/chart34.xml"/><Relationship Id="rId12" Type="http://schemas.openxmlformats.org/officeDocument/2006/relationships/image" Target="../media/image25.svg"/><Relationship Id="rId17" Type="http://schemas.openxmlformats.org/officeDocument/2006/relationships/image" Target="../media/image13.png"/><Relationship Id="rId2" Type="http://schemas.openxmlformats.org/officeDocument/2006/relationships/tags" Target="../tags/tag203.xml"/><Relationship Id="rId16" Type="http://schemas.openxmlformats.org/officeDocument/2006/relationships/image" Target="../media/image12.jpeg"/><Relationship Id="rId1" Type="http://schemas.openxmlformats.org/officeDocument/2006/relationships/tags" Target="../tags/tag202.xml"/><Relationship Id="rId6" Type="http://schemas.openxmlformats.org/officeDocument/2006/relationships/image" Target="../media/image5.emf"/><Relationship Id="rId11" Type="http://schemas.openxmlformats.org/officeDocument/2006/relationships/image" Target="../media/image24.png"/><Relationship Id="rId5" Type="http://schemas.openxmlformats.org/officeDocument/2006/relationships/oleObject" Target="../embeddings/oleObject63.bin"/><Relationship Id="rId15" Type="http://schemas.openxmlformats.org/officeDocument/2006/relationships/image" Target="../media/image11.jpeg"/><Relationship Id="rId10" Type="http://schemas.openxmlformats.org/officeDocument/2006/relationships/image" Target="../media/image23.svg"/><Relationship Id="rId4" Type="http://schemas.openxmlformats.org/officeDocument/2006/relationships/notesSlide" Target="../notesSlides/notesSlide38.xml"/><Relationship Id="rId9" Type="http://schemas.openxmlformats.org/officeDocument/2006/relationships/image" Target="../media/image22.png"/><Relationship Id="rId14" Type="http://schemas.openxmlformats.org/officeDocument/2006/relationships/image" Target="../media/image27.svg"/></Relationships>
</file>

<file path=ppt/slides/_rels/slide75.xml.rels><?xml version="1.0" encoding="UTF-8" standalone="yes"?>
<Relationships xmlns="http://schemas.openxmlformats.org/package/2006/relationships"><Relationship Id="rId8" Type="http://schemas.openxmlformats.org/officeDocument/2006/relationships/image" Target="../media/image127.png"/><Relationship Id="rId13" Type="http://schemas.openxmlformats.org/officeDocument/2006/relationships/image" Target="../media/image25.svg"/><Relationship Id="rId18" Type="http://schemas.openxmlformats.org/officeDocument/2006/relationships/image" Target="../media/image13.png"/><Relationship Id="rId3" Type="http://schemas.openxmlformats.org/officeDocument/2006/relationships/slideLayout" Target="../slideLayouts/slideLayout1.xml"/><Relationship Id="rId7" Type="http://schemas.openxmlformats.org/officeDocument/2006/relationships/chart" Target="../charts/chart37.xml"/><Relationship Id="rId12" Type="http://schemas.openxmlformats.org/officeDocument/2006/relationships/image" Target="../media/image24.png"/><Relationship Id="rId17" Type="http://schemas.openxmlformats.org/officeDocument/2006/relationships/image" Target="../media/image12.jpeg"/><Relationship Id="rId2" Type="http://schemas.openxmlformats.org/officeDocument/2006/relationships/tags" Target="../tags/tag205.xml"/><Relationship Id="rId16" Type="http://schemas.openxmlformats.org/officeDocument/2006/relationships/image" Target="../media/image11.jpeg"/><Relationship Id="rId1" Type="http://schemas.openxmlformats.org/officeDocument/2006/relationships/tags" Target="../tags/tag204.xml"/><Relationship Id="rId6" Type="http://schemas.openxmlformats.org/officeDocument/2006/relationships/chart" Target="../charts/chart36.xml"/><Relationship Id="rId11" Type="http://schemas.openxmlformats.org/officeDocument/2006/relationships/image" Target="../media/image23.svg"/><Relationship Id="rId5" Type="http://schemas.openxmlformats.org/officeDocument/2006/relationships/image" Target="../media/image105.emf"/><Relationship Id="rId15" Type="http://schemas.openxmlformats.org/officeDocument/2006/relationships/image" Target="../media/image27.svg"/><Relationship Id="rId10" Type="http://schemas.openxmlformats.org/officeDocument/2006/relationships/image" Target="../media/image22.png"/><Relationship Id="rId19" Type="http://schemas.openxmlformats.org/officeDocument/2006/relationships/image" Target="../media/image14.png"/><Relationship Id="rId4" Type="http://schemas.openxmlformats.org/officeDocument/2006/relationships/oleObject" Target="../embeddings/oleObject64.bin"/><Relationship Id="rId9" Type="http://schemas.openxmlformats.org/officeDocument/2006/relationships/image" Target="../media/image128.svg"/><Relationship Id="rId14" Type="http://schemas.openxmlformats.org/officeDocument/2006/relationships/image" Target="../media/image26.png"/></Relationships>
</file>

<file path=ppt/slides/_rels/slide76.xml.rels><?xml version="1.0" encoding="UTF-8" standalone="yes"?>
<Relationships xmlns="http://schemas.openxmlformats.org/package/2006/relationships"><Relationship Id="rId8" Type="http://schemas.openxmlformats.org/officeDocument/2006/relationships/image" Target="../media/image127.png"/><Relationship Id="rId13" Type="http://schemas.openxmlformats.org/officeDocument/2006/relationships/image" Target="../media/image25.svg"/><Relationship Id="rId18" Type="http://schemas.openxmlformats.org/officeDocument/2006/relationships/image" Target="../media/image13.png"/><Relationship Id="rId3" Type="http://schemas.openxmlformats.org/officeDocument/2006/relationships/slideLayout" Target="../slideLayouts/slideLayout1.xml"/><Relationship Id="rId7" Type="http://schemas.openxmlformats.org/officeDocument/2006/relationships/chart" Target="../charts/chart39.xml"/><Relationship Id="rId12" Type="http://schemas.openxmlformats.org/officeDocument/2006/relationships/image" Target="../media/image24.png"/><Relationship Id="rId17" Type="http://schemas.openxmlformats.org/officeDocument/2006/relationships/image" Target="../media/image12.jpeg"/><Relationship Id="rId2" Type="http://schemas.openxmlformats.org/officeDocument/2006/relationships/tags" Target="../tags/tag207.xml"/><Relationship Id="rId16" Type="http://schemas.openxmlformats.org/officeDocument/2006/relationships/image" Target="../media/image11.jpeg"/><Relationship Id="rId1" Type="http://schemas.openxmlformats.org/officeDocument/2006/relationships/tags" Target="../tags/tag206.xml"/><Relationship Id="rId6" Type="http://schemas.openxmlformats.org/officeDocument/2006/relationships/chart" Target="../charts/chart38.xml"/><Relationship Id="rId11" Type="http://schemas.openxmlformats.org/officeDocument/2006/relationships/image" Target="../media/image23.svg"/><Relationship Id="rId5" Type="http://schemas.openxmlformats.org/officeDocument/2006/relationships/image" Target="../media/image105.emf"/><Relationship Id="rId15" Type="http://schemas.openxmlformats.org/officeDocument/2006/relationships/image" Target="../media/image27.svg"/><Relationship Id="rId10" Type="http://schemas.openxmlformats.org/officeDocument/2006/relationships/image" Target="../media/image22.png"/><Relationship Id="rId19" Type="http://schemas.openxmlformats.org/officeDocument/2006/relationships/image" Target="../media/image14.png"/><Relationship Id="rId4" Type="http://schemas.openxmlformats.org/officeDocument/2006/relationships/oleObject" Target="../embeddings/oleObject65.bin"/><Relationship Id="rId9" Type="http://schemas.openxmlformats.org/officeDocument/2006/relationships/image" Target="../media/image128.svg"/><Relationship Id="rId14" Type="http://schemas.openxmlformats.org/officeDocument/2006/relationships/image" Target="../media/image26.png"/></Relationships>
</file>

<file path=ppt/slides/_rels/slide77.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2.jpeg"/><Relationship Id="rId18" Type="http://schemas.openxmlformats.org/officeDocument/2006/relationships/chart" Target="../charts/chart40.xml"/><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1.jpeg"/><Relationship Id="rId17" Type="http://schemas.openxmlformats.org/officeDocument/2006/relationships/image" Target="../media/image128.svg"/><Relationship Id="rId2" Type="http://schemas.openxmlformats.org/officeDocument/2006/relationships/tags" Target="../tags/tag209.xml"/><Relationship Id="rId16" Type="http://schemas.openxmlformats.org/officeDocument/2006/relationships/image" Target="../media/image127.png"/><Relationship Id="rId1" Type="http://schemas.openxmlformats.org/officeDocument/2006/relationships/tags" Target="../tags/tag208.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05.emf"/><Relationship Id="rId15" Type="http://schemas.openxmlformats.org/officeDocument/2006/relationships/image" Target="../media/image14.png"/><Relationship Id="rId10" Type="http://schemas.openxmlformats.org/officeDocument/2006/relationships/image" Target="../media/image26.png"/><Relationship Id="rId19" Type="http://schemas.openxmlformats.org/officeDocument/2006/relationships/chart" Target="../charts/chart41.xml"/><Relationship Id="rId4" Type="http://schemas.openxmlformats.org/officeDocument/2006/relationships/oleObject" Target="../embeddings/oleObject66.bin"/><Relationship Id="rId9" Type="http://schemas.openxmlformats.org/officeDocument/2006/relationships/image" Target="../media/image25.svg"/><Relationship Id="rId14" Type="http://schemas.openxmlformats.org/officeDocument/2006/relationships/image" Target="../media/image13.png"/></Relationships>
</file>

<file path=ppt/slides/_rels/slide78.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2.jpeg"/><Relationship Id="rId18" Type="http://schemas.openxmlformats.org/officeDocument/2006/relationships/chart" Target="../charts/chart42.xml"/><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1.jpeg"/><Relationship Id="rId17" Type="http://schemas.openxmlformats.org/officeDocument/2006/relationships/image" Target="../media/image128.svg"/><Relationship Id="rId2" Type="http://schemas.openxmlformats.org/officeDocument/2006/relationships/tags" Target="../tags/tag211.xml"/><Relationship Id="rId16" Type="http://schemas.openxmlformats.org/officeDocument/2006/relationships/image" Target="../media/image127.png"/><Relationship Id="rId1" Type="http://schemas.openxmlformats.org/officeDocument/2006/relationships/tags" Target="../tags/tag210.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05.emf"/><Relationship Id="rId15" Type="http://schemas.openxmlformats.org/officeDocument/2006/relationships/image" Target="../media/image14.png"/><Relationship Id="rId10" Type="http://schemas.openxmlformats.org/officeDocument/2006/relationships/image" Target="../media/image26.png"/><Relationship Id="rId19" Type="http://schemas.openxmlformats.org/officeDocument/2006/relationships/chart" Target="../charts/chart43.xml"/><Relationship Id="rId4" Type="http://schemas.openxmlformats.org/officeDocument/2006/relationships/oleObject" Target="../embeddings/oleObject67.bin"/><Relationship Id="rId9" Type="http://schemas.openxmlformats.org/officeDocument/2006/relationships/image" Target="../media/image25.svg"/><Relationship Id="rId14" Type="http://schemas.openxmlformats.org/officeDocument/2006/relationships/image" Target="../media/image13.pn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13" Type="http://schemas.openxmlformats.org/officeDocument/2006/relationships/image" Target="../media/image25.svg"/><Relationship Id="rId18" Type="http://schemas.openxmlformats.org/officeDocument/2006/relationships/image" Target="../media/image13.png"/><Relationship Id="rId3" Type="http://schemas.openxmlformats.org/officeDocument/2006/relationships/slideLayout" Target="../slideLayouts/slideLayout1.xml"/><Relationship Id="rId21" Type="http://schemas.openxmlformats.org/officeDocument/2006/relationships/image" Target="../media/image58.svg"/><Relationship Id="rId7" Type="http://schemas.openxmlformats.org/officeDocument/2006/relationships/chart" Target="../charts/chart4.xml"/><Relationship Id="rId12" Type="http://schemas.openxmlformats.org/officeDocument/2006/relationships/image" Target="../media/image24.png"/><Relationship Id="rId17" Type="http://schemas.openxmlformats.org/officeDocument/2006/relationships/image" Target="../media/image12.jpeg"/><Relationship Id="rId2" Type="http://schemas.openxmlformats.org/officeDocument/2006/relationships/tags" Target="../tags/tag36.xml"/><Relationship Id="rId16" Type="http://schemas.openxmlformats.org/officeDocument/2006/relationships/image" Target="../media/image11.jpeg"/><Relationship Id="rId20" Type="http://schemas.openxmlformats.org/officeDocument/2006/relationships/image" Target="../media/image57.png"/><Relationship Id="rId1" Type="http://schemas.openxmlformats.org/officeDocument/2006/relationships/tags" Target="../tags/tag35.xml"/><Relationship Id="rId6" Type="http://schemas.openxmlformats.org/officeDocument/2006/relationships/image" Target="../media/image1.emf"/><Relationship Id="rId11" Type="http://schemas.openxmlformats.org/officeDocument/2006/relationships/image" Target="../media/image23.svg"/><Relationship Id="rId5" Type="http://schemas.openxmlformats.org/officeDocument/2006/relationships/oleObject" Target="../embeddings/oleObject8.bin"/><Relationship Id="rId15" Type="http://schemas.openxmlformats.org/officeDocument/2006/relationships/image" Target="../media/image27.svg"/><Relationship Id="rId10" Type="http://schemas.openxmlformats.org/officeDocument/2006/relationships/image" Target="../media/image22.png"/><Relationship Id="rId19" Type="http://schemas.openxmlformats.org/officeDocument/2006/relationships/image" Target="../media/image14.png"/><Relationship Id="rId4" Type="http://schemas.openxmlformats.org/officeDocument/2006/relationships/notesSlide" Target="../notesSlides/notesSlide3.xml"/><Relationship Id="rId9" Type="http://schemas.openxmlformats.org/officeDocument/2006/relationships/chart" Target="../charts/chart6.xml"/><Relationship Id="rId14" Type="http://schemas.openxmlformats.org/officeDocument/2006/relationships/image" Target="../media/image26.png"/></Relationships>
</file>

<file path=ppt/slides/_rels/slide80.xml.rels><?xml version="1.0" encoding="UTF-8" standalone="yes"?>
<Relationships xmlns="http://schemas.openxmlformats.org/package/2006/relationships"><Relationship Id="rId8" Type="http://schemas.openxmlformats.org/officeDocument/2006/relationships/image" Target="../media/image414.png"/><Relationship Id="rId13" Type="http://schemas.openxmlformats.org/officeDocument/2006/relationships/image" Target="../media/image46.png"/><Relationship Id="rId18" Type="http://schemas.openxmlformats.org/officeDocument/2006/relationships/image" Target="../media/image22.png"/><Relationship Id="rId26" Type="http://schemas.openxmlformats.org/officeDocument/2006/relationships/image" Target="../media/image13.png"/><Relationship Id="rId3" Type="http://schemas.openxmlformats.org/officeDocument/2006/relationships/slideLayout" Target="../slideLayouts/slideLayout1.xml"/><Relationship Id="rId21" Type="http://schemas.openxmlformats.org/officeDocument/2006/relationships/image" Target="../media/image25.svg"/><Relationship Id="rId7" Type="http://schemas.openxmlformats.org/officeDocument/2006/relationships/image" Target="../media/image413.png"/><Relationship Id="rId12" Type="http://schemas.openxmlformats.org/officeDocument/2006/relationships/image" Target="../media/image191.png"/><Relationship Id="rId17" Type="http://schemas.openxmlformats.org/officeDocument/2006/relationships/image" Target="../media/image47.png"/><Relationship Id="rId25" Type="http://schemas.openxmlformats.org/officeDocument/2006/relationships/image" Target="../media/image12.jpeg"/><Relationship Id="rId2" Type="http://schemas.openxmlformats.org/officeDocument/2006/relationships/tags" Target="../tags/tag213.xml"/><Relationship Id="rId16" Type="http://schemas.openxmlformats.org/officeDocument/2006/relationships/image" Target="../media/image62.png"/><Relationship Id="rId20" Type="http://schemas.openxmlformats.org/officeDocument/2006/relationships/image" Target="../media/image24.png"/><Relationship Id="rId1" Type="http://schemas.openxmlformats.org/officeDocument/2006/relationships/tags" Target="../tags/tag212.xml"/><Relationship Id="rId6" Type="http://schemas.openxmlformats.org/officeDocument/2006/relationships/chart" Target="../charts/chart44.xml"/><Relationship Id="rId11" Type="http://schemas.openxmlformats.org/officeDocument/2006/relationships/image" Target="../media/image64.png"/><Relationship Id="rId24" Type="http://schemas.openxmlformats.org/officeDocument/2006/relationships/image" Target="../media/image11.jpeg"/><Relationship Id="rId5" Type="http://schemas.openxmlformats.org/officeDocument/2006/relationships/image" Target="../media/image1.emf"/><Relationship Id="rId15" Type="http://schemas.openxmlformats.org/officeDocument/2006/relationships/image" Target="../media/image54.png"/><Relationship Id="rId23" Type="http://schemas.openxmlformats.org/officeDocument/2006/relationships/image" Target="../media/image27.svg"/><Relationship Id="rId10" Type="http://schemas.openxmlformats.org/officeDocument/2006/relationships/image" Target="../media/image63.jpeg"/><Relationship Id="rId19" Type="http://schemas.openxmlformats.org/officeDocument/2006/relationships/image" Target="../media/image23.svg"/><Relationship Id="rId4" Type="http://schemas.openxmlformats.org/officeDocument/2006/relationships/oleObject" Target="../embeddings/oleObject68.bin"/><Relationship Id="rId9" Type="http://schemas.openxmlformats.org/officeDocument/2006/relationships/image" Target="../media/image415.png"/><Relationship Id="rId14" Type="http://schemas.openxmlformats.org/officeDocument/2006/relationships/image" Target="../media/image44.png"/><Relationship Id="rId22" Type="http://schemas.openxmlformats.org/officeDocument/2006/relationships/image" Target="../media/image26.png"/><Relationship Id="rId27" Type="http://schemas.openxmlformats.org/officeDocument/2006/relationships/image" Target="../media/image14.png"/></Relationships>
</file>

<file path=ppt/slides/_rels/slide81.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18" Type="http://schemas.openxmlformats.org/officeDocument/2006/relationships/image" Target="../media/image416.png"/><Relationship Id="rId3" Type="http://schemas.openxmlformats.org/officeDocument/2006/relationships/slideLayout" Target="../slideLayouts/slideLayout1.xml"/><Relationship Id="rId7" Type="http://schemas.openxmlformats.org/officeDocument/2006/relationships/image" Target="../media/image414.png"/><Relationship Id="rId12" Type="http://schemas.openxmlformats.org/officeDocument/2006/relationships/image" Target="../media/image26.png"/><Relationship Id="rId17" Type="http://schemas.openxmlformats.org/officeDocument/2006/relationships/image" Target="../media/image14.png"/><Relationship Id="rId2" Type="http://schemas.openxmlformats.org/officeDocument/2006/relationships/tags" Target="../tags/tag215.xml"/><Relationship Id="rId16" Type="http://schemas.openxmlformats.org/officeDocument/2006/relationships/image" Target="../media/image13.png"/><Relationship Id="rId20" Type="http://schemas.openxmlformats.org/officeDocument/2006/relationships/image" Target="../media/image418.svg"/><Relationship Id="rId1" Type="http://schemas.openxmlformats.org/officeDocument/2006/relationships/tags" Target="../tags/tag214.xml"/><Relationship Id="rId6" Type="http://schemas.openxmlformats.org/officeDocument/2006/relationships/image" Target="../media/image415.png"/><Relationship Id="rId11" Type="http://schemas.openxmlformats.org/officeDocument/2006/relationships/image" Target="../media/image25.svg"/><Relationship Id="rId5" Type="http://schemas.openxmlformats.org/officeDocument/2006/relationships/image" Target="../media/image4.emf"/><Relationship Id="rId15" Type="http://schemas.openxmlformats.org/officeDocument/2006/relationships/image" Target="../media/image12.jpeg"/><Relationship Id="rId10" Type="http://schemas.openxmlformats.org/officeDocument/2006/relationships/image" Target="../media/image24.png"/><Relationship Id="rId19" Type="http://schemas.openxmlformats.org/officeDocument/2006/relationships/image" Target="../media/image417.png"/><Relationship Id="rId4" Type="http://schemas.openxmlformats.org/officeDocument/2006/relationships/oleObject" Target="../embeddings/oleObject69.bin"/><Relationship Id="rId9" Type="http://schemas.openxmlformats.org/officeDocument/2006/relationships/image" Target="../media/image23.svg"/><Relationship Id="rId14" Type="http://schemas.openxmlformats.org/officeDocument/2006/relationships/image" Target="../media/image11.jpeg"/></Relationships>
</file>

<file path=ppt/slides/_rels/slide82.xml.rels><?xml version="1.0" encoding="UTF-8" standalone="yes"?>
<Relationships xmlns="http://schemas.openxmlformats.org/package/2006/relationships"><Relationship Id="rId8" Type="http://schemas.openxmlformats.org/officeDocument/2006/relationships/image" Target="../media/image414.png"/><Relationship Id="rId13" Type="http://schemas.openxmlformats.org/officeDocument/2006/relationships/image" Target="../media/image26.png"/><Relationship Id="rId18" Type="http://schemas.openxmlformats.org/officeDocument/2006/relationships/image" Target="../media/image14.png"/><Relationship Id="rId3" Type="http://schemas.openxmlformats.org/officeDocument/2006/relationships/slideLayout" Target="../slideLayouts/slideLayout1.xml"/><Relationship Id="rId21" Type="http://schemas.openxmlformats.org/officeDocument/2006/relationships/image" Target="../media/image418.svg"/><Relationship Id="rId7" Type="http://schemas.openxmlformats.org/officeDocument/2006/relationships/image" Target="../media/image415.png"/><Relationship Id="rId12" Type="http://schemas.openxmlformats.org/officeDocument/2006/relationships/image" Target="../media/image25.svg"/><Relationship Id="rId17" Type="http://schemas.openxmlformats.org/officeDocument/2006/relationships/image" Target="../media/image13.png"/><Relationship Id="rId2" Type="http://schemas.openxmlformats.org/officeDocument/2006/relationships/tags" Target="../tags/tag217.xml"/><Relationship Id="rId16" Type="http://schemas.openxmlformats.org/officeDocument/2006/relationships/image" Target="../media/image12.jpeg"/><Relationship Id="rId20" Type="http://schemas.openxmlformats.org/officeDocument/2006/relationships/image" Target="../media/image417.png"/><Relationship Id="rId1" Type="http://schemas.openxmlformats.org/officeDocument/2006/relationships/tags" Target="../tags/tag216.xml"/><Relationship Id="rId6" Type="http://schemas.openxmlformats.org/officeDocument/2006/relationships/image" Target="../media/image5.emf"/><Relationship Id="rId11" Type="http://schemas.openxmlformats.org/officeDocument/2006/relationships/image" Target="../media/image24.png"/><Relationship Id="rId5" Type="http://schemas.openxmlformats.org/officeDocument/2006/relationships/oleObject" Target="../embeddings/oleObject70.bin"/><Relationship Id="rId15" Type="http://schemas.openxmlformats.org/officeDocument/2006/relationships/image" Target="../media/image11.jpeg"/><Relationship Id="rId10" Type="http://schemas.openxmlformats.org/officeDocument/2006/relationships/image" Target="../media/image23.svg"/><Relationship Id="rId19" Type="http://schemas.openxmlformats.org/officeDocument/2006/relationships/image" Target="../media/image416.png"/><Relationship Id="rId4" Type="http://schemas.openxmlformats.org/officeDocument/2006/relationships/notesSlide" Target="../notesSlides/notesSlide39.xml"/><Relationship Id="rId9" Type="http://schemas.openxmlformats.org/officeDocument/2006/relationships/image" Target="../media/image22.png"/><Relationship Id="rId14" Type="http://schemas.openxmlformats.org/officeDocument/2006/relationships/image" Target="../media/image27.svg"/></Relationships>
</file>

<file path=ppt/slides/_rels/slide83.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18" Type="http://schemas.openxmlformats.org/officeDocument/2006/relationships/image" Target="../media/image416.png"/><Relationship Id="rId3" Type="http://schemas.openxmlformats.org/officeDocument/2006/relationships/slideLayout" Target="../slideLayouts/slideLayout1.xml"/><Relationship Id="rId21" Type="http://schemas.openxmlformats.org/officeDocument/2006/relationships/image" Target="../media/image417.png"/><Relationship Id="rId7" Type="http://schemas.openxmlformats.org/officeDocument/2006/relationships/image" Target="../media/image414.png"/><Relationship Id="rId12" Type="http://schemas.openxmlformats.org/officeDocument/2006/relationships/image" Target="../media/image26.png"/><Relationship Id="rId17" Type="http://schemas.openxmlformats.org/officeDocument/2006/relationships/image" Target="../media/image14.png"/><Relationship Id="rId2" Type="http://schemas.openxmlformats.org/officeDocument/2006/relationships/tags" Target="../tags/tag219.xml"/><Relationship Id="rId16" Type="http://schemas.openxmlformats.org/officeDocument/2006/relationships/image" Target="../media/image13.png"/><Relationship Id="rId20" Type="http://schemas.openxmlformats.org/officeDocument/2006/relationships/image" Target="../media/image420.png"/><Relationship Id="rId1" Type="http://schemas.openxmlformats.org/officeDocument/2006/relationships/tags" Target="../tags/tag218.xml"/><Relationship Id="rId6" Type="http://schemas.openxmlformats.org/officeDocument/2006/relationships/image" Target="../media/image415.png"/><Relationship Id="rId11" Type="http://schemas.openxmlformats.org/officeDocument/2006/relationships/image" Target="../media/image25.svg"/><Relationship Id="rId5" Type="http://schemas.openxmlformats.org/officeDocument/2006/relationships/image" Target="../media/image4.emf"/><Relationship Id="rId15" Type="http://schemas.openxmlformats.org/officeDocument/2006/relationships/image" Target="../media/image12.jpeg"/><Relationship Id="rId10" Type="http://schemas.openxmlformats.org/officeDocument/2006/relationships/image" Target="../media/image24.png"/><Relationship Id="rId19" Type="http://schemas.openxmlformats.org/officeDocument/2006/relationships/image" Target="../media/image419.png"/><Relationship Id="rId4" Type="http://schemas.openxmlformats.org/officeDocument/2006/relationships/oleObject" Target="../embeddings/oleObject71.bin"/><Relationship Id="rId9" Type="http://schemas.openxmlformats.org/officeDocument/2006/relationships/image" Target="../media/image23.svg"/><Relationship Id="rId14" Type="http://schemas.openxmlformats.org/officeDocument/2006/relationships/image" Target="../media/image11.jpeg"/><Relationship Id="rId22" Type="http://schemas.openxmlformats.org/officeDocument/2006/relationships/image" Target="../media/image418.svg"/></Relationships>
</file>

<file path=ppt/slides/_rels/slide84.xml.rels><?xml version="1.0" encoding="UTF-8" standalone="yes"?>
<Relationships xmlns="http://schemas.openxmlformats.org/package/2006/relationships"><Relationship Id="rId8" Type="http://schemas.openxmlformats.org/officeDocument/2006/relationships/image" Target="../media/image423.png"/><Relationship Id="rId13" Type="http://schemas.openxmlformats.org/officeDocument/2006/relationships/image" Target="../media/image428.png"/><Relationship Id="rId18" Type="http://schemas.openxmlformats.org/officeDocument/2006/relationships/image" Target="../media/image24.png"/><Relationship Id="rId3" Type="http://schemas.openxmlformats.org/officeDocument/2006/relationships/slideLayout" Target="../slideLayouts/slideLayout1.xml"/><Relationship Id="rId21" Type="http://schemas.openxmlformats.org/officeDocument/2006/relationships/image" Target="../media/image27.svg"/><Relationship Id="rId7" Type="http://schemas.openxmlformats.org/officeDocument/2006/relationships/image" Target="../media/image422.png"/><Relationship Id="rId12" Type="http://schemas.openxmlformats.org/officeDocument/2006/relationships/image" Target="../media/image427.png"/><Relationship Id="rId17" Type="http://schemas.openxmlformats.org/officeDocument/2006/relationships/image" Target="../media/image23.svg"/><Relationship Id="rId25" Type="http://schemas.openxmlformats.org/officeDocument/2006/relationships/image" Target="../media/image14.png"/><Relationship Id="rId2" Type="http://schemas.openxmlformats.org/officeDocument/2006/relationships/tags" Target="../tags/tag221.xml"/><Relationship Id="rId16" Type="http://schemas.openxmlformats.org/officeDocument/2006/relationships/image" Target="../media/image22.png"/><Relationship Id="rId20" Type="http://schemas.openxmlformats.org/officeDocument/2006/relationships/image" Target="../media/image26.png"/><Relationship Id="rId1" Type="http://schemas.openxmlformats.org/officeDocument/2006/relationships/tags" Target="../tags/tag220.xml"/><Relationship Id="rId6" Type="http://schemas.openxmlformats.org/officeDocument/2006/relationships/image" Target="../media/image421.png"/><Relationship Id="rId11" Type="http://schemas.openxmlformats.org/officeDocument/2006/relationships/image" Target="../media/image426.png"/><Relationship Id="rId24" Type="http://schemas.openxmlformats.org/officeDocument/2006/relationships/image" Target="../media/image13.png"/><Relationship Id="rId5" Type="http://schemas.openxmlformats.org/officeDocument/2006/relationships/image" Target="../media/image105.emf"/><Relationship Id="rId15" Type="http://schemas.openxmlformats.org/officeDocument/2006/relationships/image" Target="../media/image430.png"/><Relationship Id="rId23" Type="http://schemas.openxmlformats.org/officeDocument/2006/relationships/image" Target="../media/image12.jpeg"/><Relationship Id="rId10" Type="http://schemas.openxmlformats.org/officeDocument/2006/relationships/image" Target="../media/image425.png"/><Relationship Id="rId19" Type="http://schemas.openxmlformats.org/officeDocument/2006/relationships/image" Target="../media/image25.svg"/><Relationship Id="rId4" Type="http://schemas.openxmlformats.org/officeDocument/2006/relationships/oleObject" Target="../embeddings/oleObject72.bin"/><Relationship Id="rId9" Type="http://schemas.openxmlformats.org/officeDocument/2006/relationships/image" Target="../media/image424.png"/><Relationship Id="rId14" Type="http://schemas.openxmlformats.org/officeDocument/2006/relationships/image" Target="../media/image429.png"/><Relationship Id="rId22" Type="http://schemas.openxmlformats.org/officeDocument/2006/relationships/image" Target="../media/image11.jpeg"/></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image" Target="../media/image433.png"/><Relationship Id="rId18" Type="http://schemas.openxmlformats.org/officeDocument/2006/relationships/image" Target="../media/image23.svg"/><Relationship Id="rId3" Type="http://schemas.openxmlformats.org/officeDocument/2006/relationships/slideLayout" Target="../slideLayouts/slideLayout1.xml"/><Relationship Id="rId21" Type="http://schemas.openxmlformats.org/officeDocument/2006/relationships/image" Target="../media/image26.png"/><Relationship Id="rId7" Type="http://schemas.openxmlformats.org/officeDocument/2006/relationships/image" Target="../media/image12.jpeg"/><Relationship Id="rId12" Type="http://schemas.openxmlformats.org/officeDocument/2006/relationships/image" Target="../media/image432.svg"/><Relationship Id="rId17" Type="http://schemas.openxmlformats.org/officeDocument/2006/relationships/image" Target="../media/image22.png"/><Relationship Id="rId2" Type="http://schemas.openxmlformats.org/officeDocument/2006/relationships/tags" Target="../tags/tag223.xml"/><Relationship Id="rId16" Type="http://schemas.openxmlformats.org/officeDocument/2006/relationships/image" Target="../media/image436.svg"/><Relationship Id="rId20" Type="http://schemas.openxmlformats.org/officeDocument/2006/relationships/image" Target="../media/image25.svg"/><Relationship Id="rId1" Type="http://schemas.openxmlformats.org/officeDocument/2006/relationships/tags" Target="../tags/tag222.xml"/><Relationship Id="rId6" Type="http://schemas.openxmlformats.org/officeDocument/2006/relationships/image" Target="../media/image13.png"/><Relationship Id="rId11" Type="http://schemas.openxmlformats.org/officeDocument/2006/relationships/image" Target="../media/image431.png"/><Relationship Id="rId5" Type="http://schemas.openxmlformats.org/officeDocument/2006/relationships/image" Target="../media/image5.emf"/><Relationship Id="rId15" Type="http://schemas.openxmlformats.org/officeDocument/2006/relationships/image" Target="../media/image435.png"/><Relationship Id="rId23" Type="http://schemas.openxmlformats.org/officeDocument/2006/relationships/image" Target="../media/image14.png"/><Relationship Id="rId10" Type="http://schemas.openxmlformats.org/officeDocument/2006/relationships/image" Target="../media/image11.jpeg"/><Relationship Id="rId19" Type="http://schemas.openxmlformats.org/officeDocument/2006/relationships/image" Target="../media/image24.png"/><Relationship Id="rId4" Type="http://schemas.openxmlformats.org/officeDocument/2006/relationships/oleObject" Target="../embeddings/oleObject73.bin"/><Relationship Id="rId9" Type="http://schemas.openxmlformats.org/officeDocument/2006/relationships/image" Target="../media/image395.png"/><Relationship Id="rId14" Type="http://schemas.openxmlformats.org/officeDocument/2006/relationships/image" Target="../media/image434.svg"/><Relationship Id="rId22" Type="http://schemas.openxmlformats.org/officeDocument/2006/relationships/image" Target="../media/image27.svg"/></Relationships>
</file>

<file path=ppt/slides/_rels/slide87.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24.png"/><Relationship Id="rId3" Type="http://schemas.openxmlformats.org/officeDocument/2006/relationships/slideLayout" Target="../slideLayouts/slideLayout1.xml"/><Relationship Id="rId7" Type="http://schemas.openxmlformats.org/officeDocument/2006/relationships/image" Target="../media/image11.jpeg"/><Relationship Id="rId12" Type="http://schemas.openxmlformats.org/officeDocument/2006/relationships/image" Target="../media/image23.svg"/><Relationship Id="rId17" Type="http://schemas.openxmlformats.org/officeDocument/2006/relationships/image" Target="../media/image14.png"/><Relationship Id="rId2" Type="http://schemas.openxmlformats.org/officeDocument/2006/relationships/tags" Target="../tags/tag225.xml"/><Relationship Id="rId16" Type="http://schemas.openxmlformats.org/officeDocument/2006/relationships/image" Target="../media/image27.svg"/><Relationship Id="rId1" Type="http://schemas.openxmlformats.org/officeDocument/2006/relationships/tags" Target="../tags/tag224.xml"/><Relationship Id="rId6" Type="http://schemas.openxmlformats.org/officeDocument/2006/relationships/image" Target="../media/image395.png"/><Relationship Id="rId11" Type="http://schemas.openxmlformats.org/officeDocument/2006/relationships/image" Target="../media/image22.png"/><Relationship Id="rId5" Type="http://schemas.openxmlformats.org/officeDocument/2006/relationships/image" Target="../media/image105.emf"/><Relationship Id="rId15" Type="http://schemas.openxmlformats.org/officeDocument/2006/relationships/image" Target="../media/image26.png"/><Relationship Id="rId10" Type="http://schemas.openxmlformats.org/officeDocument/2006/relationships/image" Target="../media/image130.png"/><Relationship Id="rId4" Type="http://schemas.openxmlformats.org/officeDocument/2006/relationships/oleObject" Target="../embeddings/oleObject74.bin"/><Relationship Id="rId9" Type="http://schemas.openxmlformats.org/officeDocument/2006/relationships/image" Target="../media/image12.jpeg"/><Relationship Id="rId14" Type="http://schemas.openxmlformats.org/officeDocument/2006/relationships/image" Target="../media/image25.svg"/></Relationships>
</file>

<file path=ppt/slides/_rels/slide88.xml.rels><?xml version="1.0" encoding="UTF-8" standalone="yes"?>
<Relationships xmlns="http://schemas.openxmlformats.org/package/2006/relationships"><Relationship Id="rId13" Type="http://schemas.openxmlformats.org/officeDocument/2006/relationships/image" Target="../media/image439.png"/><Relationship Id="rId18" Type="http://schemas.openxmlformats.org/officeDocument/2006/relationships/image" Target="../media/image443.png"/><Relationship Id="rId26" Type="http://schemas.openxmlformats.org/officeDocument/2006/relationships/image" Target="../media/image451.png"/><Relationship Id="rId39" Type="http://schemas.openxmlformats.org/officeDocument/2006/relationships/image" Target="../media/image462.png"/><Relationship Id="rId21" Type="http://schemas.openxmlformats.org/officeDocument/2006/relationships/image" Target="../media/image446.png"/><Relationship Id="rId34" Type="http://schemas.openxmlformats.org/officeDocument/2006/relationships/image" Target="../media/image458.png"/><Relationship Id="rId42" Type="http://schemas.openxmlformats.org/officeDocument/2006/relationships/image" Target="../media/image465.png"/><Relationship Id="rId47" Type="http://schemas.openxmlformats.org/officeDocument/2006/relationships/image" Target="../media/image23.svg"/><Relationship Id="rId50" Type="http://schemas.openxmlformats.org/officeDocument/2006/relationships/image" Target="../media/image26.png"/><Relationship Id="rId7" Type="http://schemas.microsoft.com/office/2014/relationships/chartEx" Target="../charts/chartEx4.xml"/><Relationship Id="rId2" Type="http://schemas.openxmlformats.org/officeDocument/2006/relationships/tags" Target="../tags/tag227.xml"/><Relationship Id="rId16" Type="http://schemas.openxmlformats.org/officeDocument/2006/relationships/image" Target="../media/image107.jpeg"/><Relationship Id="rId29" Type="http://schemas.openxmlformats.org/officeDocument/2006/relationships/image" Target="../media/image454.png"/><Relationship Id="rId11" Type="http://schemas.openxmlformats.org/officeDocument/2006/relationships/image" Target="../media/image395.png"/><Relationship Id="rId24" Type="http://schemas.openxmlformats.org/officeDocument/2006/relationships/image" Target="../media/image449.jpeg"/><Relationship Id="rId32" Type="http://schemas.microsoft.com/office/2014/relationships/chartEx" Target="../charts/chartEx5.xml"/><Relationship Id="rId37" Type="http://schemas.openxmlformats.org/officeDocument/2006/relationships/image" Target="../media/image328.png"/><Relationship Id="rId40" Type="http://schemas.openxmlformats.org/officeDocument/2006/relationships/image" Target="../media/image463.jpeg"/><Relationship Id="rId45" Type="http://schemas.openxmlformats.org/officeDocument/2006/relationships/image" Target="../media/image130.png"/><Relationship Id="rId53" Type="http://schemas.microsoft.com/office/2014/relationships/chartEx" Target="../charts/chartEx6.xml"/><Relationship Id="rId5" Type="http://schemas.openxmlformats.org/officeDocument/2006/relationships/oleObject" Target="../embeddings/oleObject75.bin"/><Relationship Id="rId10" Type="http://schemas.openxmlformats.org/officeDocument/2006/relationships/image" Target="../media/image11.jpeg"/><Relationship Id="rId19" Type="http://schemas.openxmlformats.org/officeDocument/2006/relationships/image" Target="../media/image444.jpeg"/><Relationship Id="rId31" Type="http://schemas.openxmlformats.org/officeDocument/2006/relationships/image" Target="../media/image456.png"/><Relationship Id="rId44" Type="http://schemas.openxmlformats.org/officeDocument/2006/relationships/image" Target="../media/image12.jpeg"/><Relationship Id="rId52" Type="http://schemas.openxmlformats.org/officeDocument/2006/relationships/image" Target="../media/image14.png"/><Relationship Id="rId4" Type="http://schemas.openxmlformats.org/officeDocument/2006/relationships/notesSlide" Target="../notesSlides/notesSlide40.xml"/><Relationship Id="rId9" Type="http://schemas.openxmlformats.org/officeDocument/2006/relationships/image" Target="../media/image437.png"/><Relationship Id="rId14" Type="http://schemas.openxmlformats.org/officeDocument/2006/relationships/image" Target="../media/image440.jpeg"/><Relationship Id="rId22" Type="http://schemas.openxmlformats.org/officeDocument/2006/relationships/image" Target="../media/image447.png"/><Relationship Id="rId27" Type="http://schemas.openxmlformats.org/officeDocument/2006/relationships/image" Target="../media/image452.png"/><Relationship Id="rId30" Type="http://schemas.openxmlformats.org/officeDocument/2006/relationships/image" Target="../media/image455.png"/><Relationship Id="rId35" Type="http://schemas.openxmlformats.org/officeDocument/2006/relationships/image" Target="../media/image459.png"/><Relationship Id="rId43" Type="http://schemas.openxmlformats.org/officeDocument/2006/relationships/image" Target="../media/image13.png"/><Relationship Id="rId48" Type="http://schemas.openxmlformats.org/officeDocument/2006/relationships/image" Target="../media/image24.png"/><Relationship Id="rId51" Type="http://schemas.openxmlformats.org/officeDocument/2006/relationships/image" Target="../media/image27.svg"/><Relationship Id="rId3" Type="http://schemas.openxmlformats.org/officeDocument/2006/relationships/slideLayout" Target="../slideLayouts/slideLayout12.xml"/><Relationship Id="rId12" Type="http://schemas.openxmlformats.org/officeDocument/2006/relationships/image" Target="../media/image438.png"/><Relationship Id="rId17" Type="http://schemas.openxmlformats.org/officeDocument/2006/relationships/image" Target="../media/image442.jpeg"/><Relationship Id="rId25" Type="http://schemas.openxmlformats.org/officeDocument/2006/relationships/image" Target="../media/image450.png"/><Relationship Id="rId33" Type="http://schemas.openxmlformats.org/officeDocument/2006/relationships/image" Target="../media/image457.png"/><Relationship Id="rId38" Type="http://schemas.openxmlformats.org/officeDocument/2006/relationships/image" Target="../media/image461.png"/><Relationship Id="rId46" Type="http://schemas.openxmlformats.org/officeDocument/2006/relationships/image" Target="../media/image22.png"/><Relationship Id="rId20" Type="http://schemas.openxmlformats.org/officeDocument/2006/relationships/image" Target="../media/image445.png"/><Relationship Id="rId41" Type="http://schemas.openxmlformats.org/officeDocument/2006/relationships/image" Target="../media/image464.png"/><Relationship Id="rId54" Type="http://schemas.openxmlformats.org/officeDocument/2006/relationships/image" Target="../media/image466.png"/><Relationship Id="rId1" Type="http://schemas.openxmlformats.org/officeDocument/2006/relationships/tags" Target="../tags/tag226.xml"/><Relationship Id="rId6" Type="http://schemas.openxmlformats.org/officeDocument/2006/relationships/image" Target="../media/image105.emf"/><Relationship Id="rId15" Type="http://schemas.openxmlformats.org/officeDocument/2006/relationships/image" Target="../media/image441.jpeg"/><Relationship Id="rId23" Type="http://schemas.openxmlformats.org/officeDocument/2006/relationships/image" Target="../media/image448.png"/><Relationship Id="rId28" Type="http://schemas.openxmlformats.org/officeDocument/2006/relationships/image" Target="../media/image453.png"/><Relationship Id="rId36" Type="http://schemas.openxmlformats.org/officeDocument/2006/relationships/image" Target="../media/image460.jpeg"/><Relationship Id="rId49" Type="http://schemas.openxmlformats.org/officeDocument/2006/relationships/image" Target="../media/image25.svg"/></Relationships>
</file>

<file path=ppt/slides/_rels/slide89.xml.rels><?xml version="1.0" encoding="UTF-8" standalone="yes"?>
<Relationships xmlns="http://schemas.openxmlformats.org/package/2006/relationships"><Relationship Id="rId13" Type="http://schemas.openxmlformats.org/officeDocument/2006/relationships/image" Target="../media/image443.png"/><Relationship Id="rId18" Type="http://schemas.openxmlformats.org/officeDocument/2006/relationships/image" Target="../media/image444.jpeg"/><Relationship Id="rId26" Type="http://schemas.openxmlformats.org/officeDocument/2006/relationships/image" Target="../media/image474.png"/><Relationship Id="rId39" Type="http://schemas.openxmlformats.org/officeDocument/2006/relationships/image" Target="../media/image11.jpeg"/><Relationship Id="rId21" Type="http://schemas.openxmlformats.org/officeDocument/2006/relationships/image" Target="../media/image471.jpeg"/><Relationship Id="rId34" Type="http://schemas.openxmlformats.org/officeDocument/2006/relationships/image" Target="../media/image23.svg"/><Relationship Id="rId7" Type="http://schemas.openxmlformats.org/officeDocument/2006/relationships/image" Target="../media/image468.svg"/><Relationship Id="rId12" Type="http://schemas.openxmlformats.org/officeDocument/2006/relationships/image" Target="../media/image107.jpeg"/><Relationship Id="rId17" Type="http://schemas.openxmlformats.org/officeDocument/2006/relationships/image" Target="../media/image440.jpeg"/><Relationship Id="rId25" Type="http://schemas.openxmlformats.org/officeDocument/2006/relationships/image" Target="../media/image473.png"/><Relationship Id="rId33" Type="http://schemas.openxmlformats.org/officeDocument/2006/relationships/image" Target="../media/image22.png"/><Relationship Id="rId38" Type="http://schemas.openxmlformats.org/officeDocument/2006/relationships/image" Target="../media/image27.svg"/><Relationship Id="rId2" Type="http://schemas.openxmlformats.org/officeDocument/2006/relationships/slideLayout" Target="../slideLayouts/slideLayout1.xml"/><Relationship Id="rId16" Type="http://schemas.openxmlformats.org/officeDocument/2006/relationships/image" Target="../media/image442.jpeg"/><Relationship Id="rId20" Type="http://schemas.openxmlformats.org/officeDocument/2006/relationships/image" Target="../media/image446.png"/><Relationship Id="rId29" Type="http://schemas.openxmlformats.org/officeDocument/2006/relationships/image" Target="../media/image477.png"/><Relationship Id="rId1" Type="http://schemas.openxmlformats.org/officeDocument/2006/relationships/tags" Target="../tags/tag228.xml"/><Relationship Id="rId6" Type="http://schemas.openxmlformats.org/officeDocument/2006/relationships/image" Target="../media/image467.png"/><Relationship Id="rId11" Type="http://schemas.openxmlformats.org/officeDocument/2006/relationships/image" Target="../media/image469.png"/><Relationship Id="rId24" Type="http://schemas.openxmlformats.org/officeDocument/2006/relationships/image" Target="../media/image106.png"/><Relationship Id="rId32" Type="http://schemas.openxmlformats.org/officeDocument/2006/relationships/chart" Target="../charts/chart46.xml"/><Relationship Id="rId37" Type="http://schemas.openxmlformats.org/officeDocument/2006/relationships/image" Target="../media/image26.png"/><Relationship Id="rId5" Type="http://schemas.openxmlformats.org/officeDocument/2006/relationships/image" Target="../media/image105.emf"/><Relationship Id="rId15" Type="http://schemas.openxmlformats.org/officeDocument/2006/relationships/image" Target="../media/image441.jpeg"/><Relationship Id="rId23" Type="http://schemas.openxmlformats.org/officeDocument/2006/relationships/image" Target="../media/image108.png"/><Relationship Id="rId28" Type="http://schemas.openxmlformats.org/officeDocument/2006/relationships/image" Target="../media/image476.svg"/><Relationship Id="rId36" Type="http://schemas.openxmlformats.org/officeDocument/2006/relationships/image" Target="../media/image25.svg"/><Relationship Id="rId10" Type="http://schemas.openxmlformats.org/officeDocument/2006/relationships/image" Target="../media/image70.png"/><Relationship Id="rId19" Type="http://schemas.openxmlformats.org/officeDocument/2006/relationships/image" Target="../media/image470.jpeg"/><Relationship Id="rId31" Type="http://schemas.openxmlformats.org/officeDocument/2006/relationships/chart" Target="../charts/chart45.xml"/><Relationship Id="rId4" Type="http://schemas.openxmlformats.org/officeDocument/2006/relationships/oleObject" Target="../embeddings/oleObject76.bin"/><Relationship Id="rId9" Type="http://schemas.openxmlformats.org/officeDocument/2006/relationships/image" Target="../media/image439.png"/><Relationship Id="rId14" Type="http://schemas.openxmlformats.org/officeDocument/2006/relationships/image" Target="../media/image445.png"/><Relationship Id="rId22" Type="http://schemas.openxmlformats.org/officeDocument/2006/relationships/image" Target="../media/image472.jpeg"/><Relationship Id="rId27" Type="http://schemas.openxmlformats.org/officeDocument/2006/relationships/image" Target="../media/image475.png"/><Relationship Id="rId30" Type="http://schemas.openxmlformats.org/officeDocument/2006/relationships/image" Target="../media/image478.svg"/><Relationship Id="rId35" Type="http://schemas.openxmlformats.org/officeDocument/2006/relationships/image" Target="../media/image24.png"/><Relationship Id="rId8" Type="http://schemas.openxmlformats.org/officeDocument/2006/relationships/image" Target="../media/image438.png"/><Relationship Id="rId3" Type="http://schemas.openxmlformats.org/officeDocument/2006/relationships/notesSlide" Target="../notesSlides/notesSlide41.xml"/></Relationships>
</file>

<file path=ppt/slides/_rels/slide9.xml.rels><?xml version="1.0" encoding="UTF-8" standalone="yes"?>
<Relationships xmlns="http://schemas.openxmlformats.org/package/2006/relationships"><Relationship Id="rId13" Type="http://schemas.openxmlformats.org/officeDocument/2006/relationships/image" Target="../media/image58.svg"/><Relationship Id="rId18" Type="http://schemas.openxmlformats.org/officeDocument/2006/relationships/image" Target="../media/image23.svg"/><Relationship Id="rId26" Type="http://schemas.openxmlformats.org/officeDocument/2006/relationships/image" Target="../media/image61.png"/><Relationship Id="rId3" Type="http://schemas.openxmlformats.org/officeDocument/2006/relationships/tags" Target="../tags/tag39.xml"/><Relationship Id="rId21" Type="http://schemas.openxmlformats.org/officeDocument/2006/relationships/image" Target="../media/image26.png"/><Relationship Id="rId34" Type="http://schemas.openxmlformats.org/officeDocument/2006/relationships/image" Target="../media/image64.png"/><Relationship Id="rId7" Type="http://schemas.openxmlformats.org/officeDocument/2006/relationships/slideLayout" Target="../slideLayouts/slideLayout1.xml"/><Relationship Id="rId12" Type="http://schemas.openxmlformats.org/officeDocument/2006/relationships/image" Target="../media/image57.png"/><Relationship Id="rId17" Type="http://schemas.openxmlformats.org/officeDocument/2006/relationships/image" Target="../media/image22.png"/><Relationship Id="rId25" Type="http://schemas.openxmlformats.org/officeDocument/2006/relationships/image" Target="../media/image60.png"/><Relationship Id="rId33" Type="http://schemas.openxmlformats.org/officeDocument/2006/relationships/image" Target="../media/image63.jpeg"/><Relationship Id="rId2" Type="http://schemas.openxmlformats.org/officeDocument/2006/relationships/tags" Target="../tags/tag38.xml"/><Relationship Id="rId16" Type="http://schemas.openxmlformats.org/officeDocument/2006/relationships/image" Target="../media/image13.png"/><Relationship Id="rId20" Type="http://schemas.openxmlformats.org/officeDocument/2006/relationships/image" Target="../media/image25.svg"/><Relationship Id="rId29" Type="http://schemas.openxmlformats.org/officeDocument/2006/relationships/image" Target="../media/image47.png"/><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chart" Target="../charts/chart7.xml"/><Relationship Id="rId24" Type="http://schemas.openxmlformats.org/officeDocument/2006/relationships/image" Target="../media/image59.png"/><Relationship Id="rId32" Type="http://schemas.openxmlformats.org/officeDocument/2006/relationships/image" Target="../media/image62.png"/><Relationship Id="rId5" Type="http://schemas.openxmlformats.org/officeDocument/2006/relationships/tags" Target="../tags/tag41.xml"/><Relationship Id="rId15" Type="http://schemas.openxmlformats.org/officeDocument/2006/relationships/image" Target="../media/image12.jpeg"/><Relationship Id="rId23" Type="http://schemas.openxmlformats.org/officeDocument/2006/relationships/image" Target="../media/image14.png"/><Relationship Id="rId28" Type="http://schemas.openxmlformats.org/officeDocument/2006/relationships/image" Target="../media/image46.png"/><Relationship Id="rId10" Type="http://schemas.openxmlformats.org/officeDocument/2006/relationships/image" Target="../media/image1.emf"/><Relationship Id="rId19" Type="http://schemas.openxmlformats.org/officeDocument/2006/relationships/image" Target="../media/image24.png"/><Relationship Id="rId31" Type="http://schemas.openxmlformats.org/officeDocument/2006/relationships/image" Target="../media/image44.png"/><Relationship Id="rId4" Type="http://schemas.openxmlformats.org/officeDocument/2006/relationships/tags" Target="../tags/tag40.xml"/><Relationship Id="rId9" Type="http://schemas.openxmlformats.org/officeDocument/2006/relationships/oleObject" Target="../embeddings/oleObject9.bin"/><Relationship Id="rId14" Type="http://schemas.openxmlformats.org/officeDocument/2006/relationships/image" Target="../media/image11.jpeg"/><Relationship Id="rId22" Type="http://schemas.openxmlformats.org/officeDocument/2006/relationships/image" Target="../media/image27.svg"/><Relationship Id="rId27" Type="http://schemas.openxmlformats.org/officeDocument/2006/relationships/image" Target="../media/image48.png"/><Relationship Id="rId30" Type="http://schemas.openxmlformats.org/officeDocument/2006/relationships/image" Target="../media/image43.png"/><Relationship Id="rId35" Type="http://schemas.openxmlformats.org/officeDocument/2006/relationships/image" Target="../media/image65.png"/><Relationship Id="rId8" Type="http://schemas.openxmlformats.org/officeDocument/2006/relationships/notesSlide" Target="../notesSlides/notesSlide4.xml"/></Relationships>
</file>

<file path=ppt/slides/_rels/slide90.xml.rels><?xml version="1.0" encoding="UTF-8" standalone="yes"?>
<Relationships xmlns="http://schemas.openxmlformats.org/package/2006/relationships"><Relationship Id="rId8" Type="http://schemas.openxmlformats.org/officeDocument/2006/relationships/image" Target="../media/image480.svg"/><Relationship Id="rId13" Type="http://schemas.openxmlformats.org/officeDocument/2006/relationships/image" Target="../media/image25.svg"/><Relationship Id="rId3" Type="http://schemas.openxmlformats.org/officeDocument/2006/relationships/slideLayout" Target="../slideLayouts/slideLayout1.xml"/><Relationship Id="rId7" Type="http://schemas.openxmlformats.org/officeDocument/2006/relationships/image" Target="../media/image479.png"/><Relationship Id="rId12" Type="http://schemas.openxmlformats.org/officeDocument/2006/relationships/image" Target="../media/image24.png"/><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chart" Target="../charts/chart47.xml"/><Relationship Id="rId11" Type="http://schemas.openxmlformats.org/officeDocument/2006/relationships/image" Target="../media/image23.svg"/><Relationship Id="rId5" Type="http://schemas.openxmlformats.org/officeDocument/2006/relationships/image" Target="../media/image5.emf"/><Relationship Id="rId15" Type="http://schemas.openxmlformats.org/officeDocument/2006/relationships/image" Target="../media/image27.svg"/><Relationship Id="rId10" Type="http://schemas.openxmlformats.org/officeDocument/2006/relationships/image" Target="../media/image22.png"/><Relationship Id="rId4" Type="http://schemas.openxmlformats.org/officeDocument/2006/relationships/oleObject" Target="../embeddings/oleObject77.bin"/><Relationship Id="rId9" Type="http://schemas.openxmlformats.org/officeDocument/2006/relationships/image" Target="../media/image11.jpeg"/><Relationship Id="rId14" Type="http://schemas.openxmlformats.org/officeDocument/2006/relationships/image" Target="../media/image26.png"/></Relationships>
</file>

<file path=ppt/slides/_rels/slide91.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3" Type="http://schemas.openxmlformats.org/officeDocument/2006/relationships/slideLayout" Target="../slideLayouts/slideLayout1.xml"/><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tags" Target="../tags/tag232.xml"/><Relationship Id="rId16" Type="http://schemas.openxmlformats.org/officeDocument/2006/relationships/image" Target="../media/image481.png"/><Relationship Id="rId1" Type="http://schemas.openxmlformats.org/officeDocument/2006/relationships/tags" Target="../tags/tag231.xml"/><Relationship Id="rId6" Type="http://schemas.openxmlformats.org/officeDocument/2006/relationships/image" Target="../media/image5.emf"/><Relationship Id="rId11" Type="http://schemas.openxmlformats.org/officeDocument/2006/relationships/image" Target="../media/image26.png"/><Relationship Id="rId5" Type="http://schemas.openxmlformats.org/officeDocument/2006/relationships/oleObject" Target="../embeddings/oleObject78.bin"/><Relationship Id="rId10" Type="http://schemas.openxmlformats.org/officeDocument/2006/relationships/image" Target="../media/image25.svg"/><Relationship Id="rId4" Type="http://schemas.openxmlformats.org/officeDocument/2006/relationships/notesSlide" Target="../notesSlides/notesSlide42.xml"/><Relationship Id="rId9" Type="http://schemas.openxmlformats.org/officeDocument/2006/relationships/image" Target="../media/image24.png"/><Relationship Id="rId14" Type="http://schemas.microsoft.com/office/2014/relationships/chartEx" Target="../charts/chartEx7.xml"/></Relationships>
</file>

<file path=ppt/slides/_rels/slide9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3" Type="http://schemas.openxmlformats.org/officeDocument/2006/relationships/slideLayout" Target="../slideLayouts/slideLayout1.xml"/><Relationship Id="rId7" Type="http://schemas.openxmlformats.org/officeDocument/2006/relationships/chart" Target="../charts/chart49.xml"/><Relationship Id="rId12" Type="http://schemas.openxmlformats.org/officeDocument/2006/relationships/image" Target="../media/image26.png"/><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chart" Target="../charts/chart48.xml"/><Relationship Id="rId11" Type="http://schemas.openxmlformats.org/officeDocument/2006/relationships/image" Target="../media/image25.svg"/><Relationship Id="rId5" Type="http://schemas.openxmlformats.org/officeDocument/2006/relationships/image" Target="../media/image105.emf"/><Relationship Id="rId10" Type="http://schemas.openxmlformats.org/officeDocument/2006/relationships/image" Target="../media/image24.png"/><Relationship Id="rId4" Type="http://schemas.openxmlformats.org/officeDocument/2006/relationships/oleObject" Target="../embeddings/oleObject79.bin"/><Relationship Id="rId9" Type="http://schemas.openxmlformats.org/officeDocument/2006/relationships/image" Target="../media/image23.svg"/><Relationship Id="rId14" Type="http://schemas.openxmlformats.org/officeDocument/2006/relationships/image" Target="../media/image11.jpeg"/></Relationships>
</file>

<file path=ppt/slides/_rels/slide93.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image" Target="../media/image24.png"/><Relationship Id="rId3" Type="http://schemas.openxmlformats.org/officeDocument/2006/relationships/slideLayout" Target="../slideLayouts/slideLayout1.xml"/><Relationship Id="rId7" Type="http://schemas.openxmlformats.org/officeDocument/2006/relationships/chart" Target="../charts/chart50.xml"/><Relationship Id="rId12" Type="http://schemas.openxmlformats.org/officeDocument/2006/relationships/image" Target="../media/image23.svg"/><Relationship Id="rId17" Type="http://schemas.openxmlformats.org/officeDocument/2006/relationships/image" Target="../media/image11.jpeg"/><Relationship Id="rId2" Type="http://schemas.openxmlformats.org/officeDocument/2006/relationships/tags" Target="../tags/tag236.xml"/><Relationship Id="rId16" Type="http://schemas.openxmlformats.org/officeDocument/2006/relationships/image" Target="../media/image27.svg"/><Relationship Id="rId1" Type="http://schemas.openxmlformats.org/officeDocument/2006/relationships/tags" Target="../tags/tag235.xml"/><Relationship Id="rId6" Type="http://schemas.openxmlformats.org/officeDocument/2006/relationships/image" Target="../media/image481.emf"/><Relationship Id="rId11" Type="http://schemas.openxmlformats.org/officeDocument/2006/relationships/image" Target="../media/image22.png"/><Relationship Id="rId5" Type="http://schemas.openxmlformats.org/officeDocument/2006/relationships/oleObject" Target="../embeddings/oleObject80.bin"/><Relationship Id="rId15" Type="http://schemas.openxmlformats.org/officeDocument/2006/relationships/image" Target="../media/image26.png"/><Relationship Id="rId10" Type="http://schemas.openxmlformats.org/officeDocument/2006/relationships/image" Target="../media/image128.svg"/><Relationship Id="rId4" Type="http://schemas.openxmlformats.org/officeDocument/2006/relationships/notesSlide" Target="../notesSlides/notesSlide43.xml"/><Relationship Id="rId9" Type="http://schemas.openxmlformats.org/officeDocument/2006/relationships/image" Target="../media/image127.png"/><Relationship Id="rId14" Type="http://schemas.openxmlformats.org/officeDocument/2006/relationships/image" Target="../media/image25.svg"/></Relationships>
</file>

<file path=ppt/slides/_rels/slide94.xml.rels><?xml version="1.0" encoding="UTF-8" standalone="yes"?>
<Relationships xmlns="http://schemas.openxmlformats.org/package/2006/relationships"><Relationship Id="rId13" Type="http://schemas.openxmlformats.org/officeDocument/2006/relationships/image" Target="../media/image25.svg"/><Relationship Id="rId18" Type="http://schemas.openxmlformats.org/officeDocument/2006/relationships/image" Target="../media/image450.png"/><Relationship Id="rId26" Type="http://schemas.openxmlformats.org/officeDocument/2006/relationships/image" Target="../media/image485.jpeg"/><Relationship Id="rId39" Type="http://schemas.openxmlformats.org/officeDocument/2006/relationships/image" Target="../media/image476.svg"/><Relationship Id="rId21" Type="http://schemas.openxmlformats.org/officeDocument/2006/relationships/image" Target="../media/image454.png"/><Relationship Id="rId34" Type="http://schemas.openxmlformats.org/officeDocument/2006/relationships/image" Target="../media/image451.png"/><Relationship Id="rId42" Type="http://schemas.openxmlformats.org/officeDocument/2006/relationships/image" Target="../media/image496.png"/><Relationship Id="rId47" Type="http://schemas.openxmlformats.org/officeDocument/2006/relationships/image" Target="../media/image500.png"/><Relationship Id="rId50" Type="http://schemas.openxmlformats.org/officeDocument/2006/relationships/image" Target="../media/image502.svg"/><Relationship Id="rId7" Type="http://schemas.openxmlformats.org/officeDocument/2006/relationships/image" Target="../media/image12.jpeg"/><Relationship Id="rId2" Type="http://schemas.openxmlformats.org/officeDocument/2006/relationships/slideLayout" Target="../slideLayouts/slideLayout1.xml"/><Relationship Id="rId16" Type="http://schemas.openxmlformats.org/officeDocument/2006/relationships/image" Target="../media/image482.png"/><Relationship Id="rId29" Type="http://schemas.openxmlformats.org/officeDocument/2006/relationships/image" Target="../media/image456.png"/><Relationship Id="rId11" Type="http://schemas.openxmlformats.org/officeDocument/2006/relationships/image" Target="../media/image23.svg"/><Relationship Id="rId24" Type="http://schemas.openxmlformats.org/officeDocument/2006/relationships/image" Target="../media/image468.svg"/><Relationship Id="rId32" Type="http://schemas.openxmlformats.org/officeDocument/2006/relationships/image" Target="../media/image489.gif"/><Relationship Id="rId37" Type="http://schemas.openxmlformats.org/officeDocument/2006/relationships/image" Target="../media/image493.png"/><Relationship Id="rId40" Type="http://schemas.openxmlformats.org/officeDocument/2006/relationships/image" Target="../media/image494.png"/><Relationship Id="rId45" Type="http://schemas.openxmlformats.org/officeDocument/2006/relationships/image" Target="../media/image498.png"/><Relationship Id="rId53" Type="http://schemas.openxmlformats.org/officeDocument/2006/relationships/image" Target="../media/image477.png"/><Relationship Id="rId5" Type="http://schemas.openxmlformats.org/officeDocument/2006/relationships/image" Target="../media/image105.emf"/><Relationship Id="rId10" Type="http://schemas.openxmlformats.org/officeDocument/2006/relationships/image" Target="../media/image22.png"/><Relationship Id="rId19" Type="http://schemas.openxmlformats.org/officeDocument/2006/relationships/image" Target="../media/image452.png"/><Relationship Id="rId31" Type="http://schemas.openxmlformats.org/officeDocument/2006/relationships/image" Target="../media/image488.svg"/><Relationship Id="rId44" Type="http://schemas.openxmlformats.org/officeDocument/2006/relationships/image" Target="../media/image497.png"/><Relationship Id="rId52" Type="http://schemas.openxmlformats.org/officeDocument/2006/relationships/image" Target="../media/image504.png"/><Relationship Id="rId4" Type="http://schemas.openxmlformats.org/officeDocument/2006/relationships/oleObject" Target="../embeddings/oleObject81.bin"/><Relationship Id="rId9" Type="http://schemas.openxmlformats.org/officeDocument/2006/relationships/image" Target="../media/image14.png"/><Relationship Id="rId14" Type="http://schemas.openxmlformats.org/officeDocument/2006/relationships/image" Target="../media/image26.png"/><Relationship Id="rId22" Type="http://schemas.openxmlformats.org/officeDocument/2006/relationships/image" Target="../media/image483.png"/><Relationship Id="rId27" Type="http://schemas.openxmlformats.org/officeDocument/2006/relationships/image" Target="../media/image486.png"/><Relationship Id="rId30" Type="http://schemas.openxmlformats.org/officeDocument/2006/relationships/image" Target="../media/image487.png"/><Relationship Id="rId35" Type="http://schemas.openxmlformats.org/officeDocument/2006/relationships/image" Target="../media/image491.png"/><Relationship Id="rId43" Type="http://schemas.openxmlformats.org/officeDocument/2006/relationships/image" Target="../media/image449.jpeg"/><Relationship Id="rId48" Type="http://schemas.openxmlformats.org/officeDocument/2006/relationships/image" Target="../media/image455.png"/><Relationship Id="rId8" Type="http://schemas.openxmlformats.org/officeDocument/2006/relationships/image" Target="../media/image13.png"/><Relationship Id="rId51" Type="http://schemas.openxmlformats.org/officeDocument/2006/relationships/image" Target="../media/image503.png"/><Relationship Id="rId3" Type="http://schemas.openxmlformats.org/officeDocument/2006/relationships/notesSlide" Target="../notesSlides/notesSlide44.xml"/><Relationship Id="rId12" Type="http://schemas.openxmlformats.org/officeDocument/2006/relationships/image" Target="../media/image24.png"/><Relationship Id="rId17" Type="http://schemas.openxmlformats.org/officeDocument/2006/relationships/image" Target="../media/image447.png"/><Relationship Id="rId25" Type="http://schemas.openxmlformats.org/officeDocument/2006/relationships/image" Target="../media/image484.jpeg"/><Relationship Id="rId33" Type="http://schemas.openxmlformats.org/officeDocument/2006/relationships/image" Target="../media/image490.png"/><Relationship Id="rId38" Type="http://schemas.openxmlformats.org/officeDocument/2006/relationships/image" Target="../media/image475.png"/><Relationship Id="rId46" Type="http://schemas.openxmlformats.org/officeDocument/2006/relationships/image" Target="../media/image499.png"/><Relationship Id="rId20" Type="http://schemas.openxmlformats.org/officeDocument/2006/relationships/image" Target="../media/image453.png"/><Relationship Id="rId41" Type="http://schemas.openxmlformats.org/officeDocument/2006/relationships/image" Target="../media/image495.png"/><Relationship Id="rId54" Type="http://schemas.openxmlformats.org/officeDocument/2006/relationships/image" Target="../media/image478.svg"/><Relationship Id="rId1" Type="http://schemas.openxmlformats.org/officeDocument/2006/relationships/tags" Target="../tags/tag237.xml"/><Relationship Id="rId6" Type="http://schemas.openxmlformats.org/officeDocument/2006/relationships/chart" Target="../charts/chart52.xml"/><Relationship Id="rId15" Type="http://schemas.openxmlformats.org/officeDocument/2006/relationships/image" Target="../media/image27.svg"/><Relationship Id="rId23" Type="http://schemas.openxmlformats.org/officeDocument/2006/relationships/image" Target="../media/image467.png"/><Relationship Id="rId28" Type="http://schemas.openxmlformats.org/officeDocument/2006/relationships/image" Target="../media/image448.png"/><Relationship Id="rId36" Type="http://schemas.openxmlformats.org/officeDocument/2006/relationships/image" Target="../media/image492.png"/><Relationship Id="rId49" Type="http://schemas.openxmlformats.org/officeDocument/2006/relationships/image" Target="../media/image501.png"/></Relationships>
</file>

<file path=ppt/slides/_rels/slide95.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25.svg"/><Relationship Id="rId18" Type="http://schemas.openxmlformats.org/officeDocument/2006/relationships/hyperlink" Target="https://www.altares.nl/en/news/press-release/altares-dun-bradstreet-wins-european-commission-tender/" TargetMode="External"/><Relationship Id="rId3" Type="http://schemas.openxmlformats.org/officeDocument/2006/relationships/notesSlide" Target="../notesSlides/notesSlide45.xml"/><Relationship Id="rId7" Type="http://schemas.openxmlformats.org/officeDocument/2006/relationships/image" Target="../media/image12.jpeg"/><Relationship Id="rId12" Type="http://schemas.openxmlformats.org/officeDocument/2006/relationships/image" Target="../media/image24.png"/><Relationship Id="rId17" Type="http://schemas.openxmlformats.org/officeDocument/2006/relationships/image" Target="../media/image507.svg"/><Relationship Id="rId2" Type="http://schemas.openxmlformats.org/officeDocument/2006/relationships/slideLayout" Target="../slideLayouts/slideLayout1.xml"/><Relationship Id="rId16" Type="http://schemas.openxmlformats.org/officeDocument/2006/relationships/image" Target="../media/image506.png"/><Relationship Id="rId1" Type="http://schemas.openxmlformats.org/officeDocument/2006/relationships/tags" Target="../tags/tag238.xml"/><Relationship Id="rId6" Type="http://schemas.openxmlformats.org/officeDocument/2006/relationships/image" Target="../media/image505.png"/><Relationship Id="rId11" Type="http://schemas.openxmlformats.org/officeDocument/2006/relationships/image" Target="../media/image23.svg"/><Relationship Id="rId5" Type="http://schemas.openxmlformats.org/officeDocument/2006/relationships/image" Target="../media/image105.emf"/><Relationship Id="rId15" Type="http://schemas.openxmlformats.org/officeDocument/2006/relationships/image" Target="../media/image27.svg"/><Relationship Id="rId10" Type="http://schemas.openxmlformats.org/officeDocument/2006/relationships/image" Target="../media/image22.png"/><Relationship Id="rId19" Type="http://schemas.openxmlformats.org/officeDocument/2006/relationships/image" Target="../media/image508.png"/><Relationship Id="rId4" Type="http://schemas.openxmlformats.org/officeDocument/2006/relationships/oleObject" Target="../embeddings/oleObject82.bin"/><Relationship Id="rId9" Type="http://schemas.openxmlformats.org/officeDocument/2006/relationships/image" Target="../media/image14.png"/><Relationship Id="rId14" Type="http://schemas.openxmlformats.org/officeDocument/2006/relationships/image" Target="../media/image26.png"/></Relationships>
</file>

<file path=ppt/slides/_rels/slide96.xml.rels><?xml version="1.0" encoding="UTF-8" standalone="yes"?>
<Relationships xmlns="http://schemas.openxmlformats.org/package/2006/relationships"><Relationship Id="rId8" Type="http://schemas.openxmlformats.org/officeDocument/2006/relationships/image" Target="../media/image480.svg"/><Relationship Id="rId13" Type="http://schemas.openxmlformats.org/officeDocument/2006/relationships/image" Target="../media/image22.png"/><Relationship Id="rId18" Type="http://schemas.openxmlformats.org/officeDocument/2006/relationships/image" Target="../media/image27.svg"/><Relationship Id="rId3" Type="http://schemas.openxmlformats.org/officeDocument/2006/relationships/slideLayout" Target="../slideLayouts/slideLayout1.xml"/><Relationship Id="rId7" Type="http://schemas.openxmlformats.org/officeDocument/2006/relationships/image" Target="../media/image479.png"/><Relationship Id="rId12" Type="http://schemas.openxmlformats.org/officeDocument/2006/relationships/image" Target="../media/image14.png"/><Relationship Id="rId17" Type="http://schemas.openxmlformats.org/officeDocument/2006/relationships/image" Target="../media/image26.png"/><Relationship Id="rId2" Type="http://schemas.openxmlformats.org/officeDocument/2006/relationships/tags" Target="../tags/tag240.xml"/><Relationship Id="rId16" Type="http://schemas.openxmlformats.org/officeDocument/2006/relationships/image" Target="../media/image25.svg"/><Relationship Id="rId1" Type="http://schemas.openxmlformats.org/officeDocument/2006/relationships/tags" Target="../tags/tag239.xml"/><Relationship Id="rId6" Type="http://schemas.openxmlformats.org/officeDocument/2006/relationships/chart" Target="../charts/chart53.xml"/><Relationship Id="rId11" Type="http://schemas.openxmlformats.org/officeDocument/2006/relationships/image" Target="../media/image130.png"/><Relationship Id="rId5" Type="http://schemas.openxmlformats.org/officeDocument/2006/relationships/image" Target="../media/image5.emf"/><Relationship Id="rId15" Type="http://schemas.openxmlformats.org/officeDocument/2006/relationships/image" Target="../media/image24.png"/><Relationship Id="rId10" Type="http://schemas.openxmlformats.org/officeDocument/2006/relationships/image" Target="../media/image12.jpeg"/><Relationship Id="rId4" Type="http://schemas.openxmlformats.org/officeDocument/2006/relationships/oleObject" Target="../embeddings/oleObject83.bin"/><Relationship Id="rId9" Type="http://schemas.openxmlformats.org/officeDocument/2006/relationships/image" Target="../media/image13.png"/><Relationship Id="rId14" Type="http://schemas.openxmlformats.org/officeDocument/2006/relationships/image" Target="../media/image23.svg"/></Relationships>
</file>

<file path=ppt/slides/_rels/slide97.xml.rels><?xml version="1.0" encoding="UTF-8" standalone="yes"?>
<Relationships xmlns="http://schemas.openxmlformats.org/package/2006/relationships"><Relationship Id="rId8" Type="http://schemas.openxmlformats.org/officeDocument/2006/relationships/image" Target="../media/image510.png"/><Relationship Id="rId13" Type="http://schemas.openxmlformats.org/officeDocument/2006/relationships/image" Target="../media/image23.svg"/><Relationship Id="rId3" Type="http://schemas.openxmlformats.org/officeDocument/2006/relationships/slideLayout" Target="../slideLayouts/slideLayout1.xml"/><Relationship Id="rId12" Type="http://schemas.openxmlformats.org/officeDocument/2006/relationships/image" Target="../media/image22.png"/><Relationship Id="rId17" Type="http://schemas.openxmlformats.org/officeDocument/2006/relationships/image" Target="../media/image27.svg"/><Relationship Id="rId2" Type="http://schemas.openxmlformats.org/officeDocument/2006/relationships/tags" Target="../tags/tag242.xml"/><Relationship Id="rId16" Type="http://schemas.openxmlformats.org/officeDocument/2006/relationships/image" Target="../media/image26.png"/><Relationship Id="rId1" Type="http://schemas.openxmlformats.org/officeDocument/2006/relationships/tags" Target="../tags/tag241.xml"/><Relationship Id="rId6" Type="http://schemas.microsoft.com/office/2014/relationships/chartEx" Target="../charts/chartEx8.xml"/><Relationship Id="rId11" Type="http://schemas.openxmlformats.org/officeDocument/2006/relationships/image" Target="../media/image14.png"/><Relationship Id="rId5" Type="http://schemas.openxmlformats.org/officeDocument/2006/relationships/image" Target="../media/image5.emf"/><Relationship Id="rId15" Type="http://schemas.openxmlformats.org/officeDocument/2006/relationships/image" Target="../media/image25.svg"/><Relationship Id="rId10" Type="http://schemas.openxmlformats.org/officeDocument/2006/relationships/image" Target="../media/image13.png"/><Relationship Id="rId4" Type="http://schemas.openxmlformats.org/officeDocument/2006/relationships/oleObject" Target="../embeddings/oleObject84.bin"/><Relationship Id="rId9" Type="http://schemas.openxmlformats.org/officeDocument/2006/relationships/image" Target="../media/image12.jpeg"/><Relationship Id="rId14" Type="http://schemas.openxmlformats.org/officeDocument/2006/relationships/image" Target="../media/image24.png"/></Relationships>
</file>

<file path=ppt/slides/_rels/slide98.xml.rels><?xml version="1.0" encoding="UTF-8" standalone="yes"?>
<Relationships xmlns="http://schemas.openxmlformats.org/package/2006/relationships"><Relationship Id="rId8" Type="http://schemas.openxmlformats.org/officeDocument/2006/relationships/chart" Target="../charts/chart55.xml"/><Relationship Id="rId13" Type="http://schemas.openxmlformats.org/officeDocument/2006/relationships/image" Target="../media/image23.svg"/><Relationship Id="rId3" Type="http://schemas.openxmlformats.org/officeDocument/2006/relationships/slideLayout" Target="../slideLayouts/slideLayout1.xml"/><Relationship Id="rId7" Type="http://schemas.openxmlformats.org/officeDocument/2006/relationships/chart" Target="../charts/chart54.xml"/><Relationship Id="rId12" Type="http://schemas.openxmlformats.org/officeDocument/2006/relationships/image" Target="../media/image22.png"/><Relationship Id="rId17" Type="http://schemas.openxmlformats.org/officeDocument/2006/relationships/image" Target="../media/image27.svg"/><Relationship Id="rId2" Type="http://schemas.openxmlformats.org/officeDocument/2006/relationships/tags" Target="../tags/tag244.xml"/><Relationship Id="rId16" Type="http://schemas.openxmlformats.org/officeDocument/2006/relationships/image" Target="../media/image26.png"/><Relationship Id="rId1" Type="http://schemas.openxmlformats.org/officeDocument/2006/relationships/tags" Target="../tags/tag243.xml"/><Relationship Id="rId6" Type="http://schemas.openxmlformats.org/officeDocument/2006/relationships/image" Target="../media/image105.emf"/><Relationship Id="rId11" Type="http://schemas.openxmlformats.org/officeDocument/2006/relationships/image" Target="../media/image14.png"/><Relationship Id="rId5" Type="http://schemas.openxmlformats.org/officeDocument/2006/relationships/oleObject" Target="../embeddings/oleObject85.bin"/><Relationship Id="rId15" Type="http://schemas.openxmlformats.org/officeDocument/2006/relationships/image" Target="../media/image25.svg"/><Relationship Id="rId10" Type="http://schemas.openxmlformats.org/officeDocument/2006/relationships/image" Target="../media/image13.png"/><Relationship Id="rId4" Type="http://schemas.openxmlformats.org/officeDocument/2006/relationships/notesSlide" Target="../notesSlides/notesSlide46.xml"/><Relationship Id="rId9" Type="http://schemas.openxmlformats.org/officeDocument/2006/relationships/image" Target="../media/image12.jpeg"/><Relationship Id="rId14" Type="http://schemas.openxmlformats.org/officeDocument/2006/relationships/image" Target="../media/image24.png"/></Relationships>
</file>

<file path=ppt/slides/_rels/slide99.xml.rels><?xml version="1.0" encoding="UTF-8" standalone="yes"?>
<Relationships xmlns="http://schemas.openxmlformats.org/package/2006/relationships"><Relationship Id="rId8" Type="http://schemas.openxmlformats.org/officeDocument/2006/relationships/chart" Target="../charts/chart57.xml"/><Relationship Id="rId13" Type="http://schemas.openxmlformats.org/officeDocument/2006/relationships/image" Target="../media/image14.png"/><Relationship Id="rId18" Type="http://schemas.openxmlformats.org/officeDocument/2006/relationships/image" Target="../media/image26.png"/><Relationship Id="rId3" Type="http://schemas.openxmlformats.org/officeDocument/2006/relationships/slideLayout" Target="../slideLayouts/slideLayout1.xml"/><Relationship Id="rId7" Type="http://schemas.openxmlformats.org/officeDocument/2006/relationships/chart" Target="../charts/chart56.xml"/><Relationship Id="rId12" Type="http://schemas.openxmlformats.org/officeDocument/2006/relationships/image" Target="../media/image13.png"/><Relationship Id="rId17" Type="http://schemas.openxmlformats.org/officeDocument/2006/relationships/image" Target="../media/image25.svg"/><Relationship Id="rId2" Type="http://schemas.openxmlformats.org/officeDocument/2006/relationships/tags" Target="../tags/tag246.xml"/><Relationship Id="rId16" Type="http://schemas.openxmlformats.org/officeDocument/2006/relationships/image" Target="../media/image24.png"/><Relationship Id="rId1" Type="http://schemas.openxmlformats.org/officeDocument/2006/relationships/tags" Target="../tags/tag245.xml"/><Relationship Id="rId6" Type="http://schemas.openxmlformats.org/officeDocument/2006/relationships/image" Target="../media/image481.emf"/><Relationship Id="rId11" Type="http://schemas.openxmlformats.org/officeDocument/2006/relationships/image" Target="../media/image12.jpeg"/><Relationship Id="rId5" Type="http://schemas.openxmlformats.org/officeDocument/2006/relationships/oleObject" Target="../embeddings/oleObject86.bin"/><Relationship Id="rId15" Type="http://schemas.openxmlformats.org/officeDocument/2006/relationships/image" Target="../media/image23.svg"/><Relationship Id="rId10" Type="http://schemas.openxmlformats.org/officeDocument/2006/relationships/image" Target="../media/image128.svg"/><Relationship Id="rId19" Type="http://schemas.openxmlformats.org/officeDocument/2006/relationships/image" Target="../media/image27.svg"/><Relationship Id="rId4" Type="http://schemas.openxmlformats.org/officeDocument/2006/relationships/notesSlide" Target="../notesSlides/notesSlide47.xml"/><Relationship Id="rId9" Type="http://schemas.openxmlformats.org/officeDocument/2006/relationships/image" Target="../media/image127.png"/><Relationship Id="rId1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0F1F186-1D0B-478E-B7E2-1EDA6E8E10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35" progId="TCLayout.ActiveDocument.1">
                  <p:embed/>
                </p:oleObj>
              </mc:Choice>
              <mc:Fallback>
                <p:oleObj name="think-cell Slide" r:id="rId3" imgW="624" imgH="635" progId="TCLayout.ActiveDocument.1">
                  <p:embed/>
                  <p:pic>
                    <p:nvPicPr>
                      <p:cNvPr id="10" name="Object 9" hidden="1">
                        <a:extLst>
                          <a:ext uri="{FF2B5EF4-FFF2-40B4-BE49-F238E27FC236}">
                            <a16:creationId xmlns:a16="http://schemas.microsoft.com/office/drawing/2014/main" id="{E0F1F186-1D0B-478E-B7E2-1EDA6E8E10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ummarybox white">
            <a:extLst>
              <a:ext uri="{FF2B5EF4-FFF2-40B4-BE49-F238E27FC236}">
                <a16:creationId xmlns:a16="http://schemas.microsoft.com/office/drawing/2014/main" id="{6A37D74C-3E44-4559-ABDA-59A4FF5495ED}"/>
              </a:ext>
            </a:extLst>
          </p:cNvPr>
          <p:cNvSpPr/>
          <p:nvPr/>
        </p:nvSpPr>
        <p:spPr>
          <a:xfrm>
            <a:off x="6850851" y="19494"/>
            <a:ext cx="3068484" cy="6858001"/>
          </a:xfrm>
          <a:prstGeom prst="rect">
            <a:avLst/>
          </a:pr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sz="1800">
              <a:solidFill>
                <a:srgbClr val="FFFFFF"/>
              </a:solidFill>
            </a:endParaRPr>
          </a:p>
        </p:txBody>
      </p:sp>
      <p:sp>
        <p:nvSpPr>
          <p:cNvPr id="7" name="Rectangle 6">
            <a:extLst>
              <a:ext uri="{FF2B5EF4-FFF2-40B4-BE49-F238E27FC236}">
                <a16:creationId xmlns:a16="http://schemas.microsoft.com/office/drawing/2014/main" id="{C1F6D9E0-1BF3-414C-B043-078D59ED26B1}"/>
              </a:ext>
            </a:extLst>
          </p:cNvPr>
          <p:cNvSpPr/>
          <p:nvPr/>
        </p:nvSpPr>
        <p:spPr bwMode="auto">
          <a:xfrm>
            <a:off x="6850851" y="524843"/>
            <a:ext cx="3068484" cy="1440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3" name="Image 8">
            <a:extLst>
              <a:ext uri="{FF2B5EF4-FFF2-40B4-BE49-F238E27FC236}">
                <a16:creationId xmlns:a16="http://schemas.microsoft.com/office/drawing/2014/main" id="{19489B80-C9D3-4F30-A31E-6897C37D6BB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718643" y="590351"/>
            <a:ext cx="1332900" cy="604615"/>
          </a:xfrm>
          <a:prstGeom prst="rect">
            <a:avLst/>
          </a:prstGeom>
        </p:spPr>
      </p:pic>
      <p:cxnSp>
        <p:nvCxnSpPr>
          <p:cNvPr id="15" name="Straight Connector 62">
            <a:extLst>
              <a:ext uri="{FF2B5EF4-FFF2-40B4-BE49-F238E27FC236}">
                <a16:creationId xmlns:a16="http://schemas.microsoft.com/office/drawing/2014/main" id="{A26F927C-1909-412C-80FF-762695655E97}"/>
              </a:ext>
            </a:extLst>
          </p:cNvPr>
          <p:cNvCxnSpPr>
            <a:cxnSpLocks/>
          </p:cNvCxnSpPr>
          <p:nvPr/>
        </p:nvCxnSpPr>
        <p:spPr bwMode="auto">
          <a:xfrm>
            <a:off x="6850851" y="1255395"/>
            <a:ext cx="3060000" cy="0"/>
          </a:xfrm>
          <a:prstGeom prst="line">
            <a:avLst/>
          </a:prstGeom>
          <a:solidFill>
            <a:schemeClr val="accent1"/>
          </a:solidFill>
          <a:ln w="9525" cap="flat" cmpd="sng" algn="ctr">
            <a:solidFill>
              <a:schemeClr val="accent1"/>
            </a:solidFill>
            <a:prstDash val="solid"/>
            <a:round/>
            <a:headEnd type="none" w="med" len="med"/>
            <a:tailEnd type="none" w="med" len="med"/>
          </a:ln>
          <a:effectLst/>
        </p:spPr>
      </p:cxnSp>
      <p:sp>
        <p:nvSpPr>
          <p:cNvPr id="17" name="ZoneTexte 69">
            <a:extLst>
              <a:ext uri="{FF2B5EF4-FFF2-40B4-BE49-F238E27FC236}">
                <a16:creationId xmlns:a16="http://schemas.microsoft.com/office/drawing/2014/main" id="{B6E2BF46-448F-4046-BDE6-055311F7B6C9}"/>
              </a:ext>
            </a:extLst>
          </p:cNvPr>
          <p:cNvSpPr txBox="1"/>
          <p:nvPr/>
        </p:nvSpPr>
        <p:spPr>
          <a:xfrm>
            <a:off x="6965075" y="5065713"/>
            <a:ext cx="2840037" cy="1772793"/>
          </a:xfrm>
          <a:prstGeom prst="rect">
            <a:avLst/>
          </a:prstGeom>
          <a:noFill/>
        </p:spPr>
        <p:txBody>
          <a:bodyPr lIns="36000" rIns="36000" anchor="t">
            <a:spAutoFit/>
          </a:bodyPr>
          <a:lstStyle/>
          <a:p>
            <a:pPr marL="285750" indent="-285750">
              <a:spcBef>
                <a:spcPct val="35000"/>
              </a:spcBef>
              <a:buClr>
                <a:srgbClr val="00A3E2"/>
              </a:buClr>
              <a:buSzPct val="100000"/>
              <a:defRPr/>
            </a:pPr>
            <a:r>
              <a:rPr lang="en-GB" sz="1200" dirty="0">
                <a:solidFill>
                  <a:srgbClr val="6C6C6C"/>
                </a:solidFill>
                <a:latin typeface="Trebuchet MS" panose="020B0603020202020204" pitchFamily="34" charset="0"/>
                <a:cs typeface="Arial"/>
              </a:rPr>
              <a:t>October 1</a:t>
            </a:r>
            <a:r>
              <a:rPr lang="en-GB" sz="1200" baseline="30000" dirty="0">
                <a:solidFill>
                  <a:srgbClr val="6C6C6C"/>
                </a:solidFill>
                <a:latin typeface="Trebuchet MS" panose="020B0603020202020204" pitchFamily="34" charset="0"/>
                <a:cs typeface="Arial"/>
              </a:rPr>
              <a:t>st</a:t>
            </a:r>
            <a:r>
              <a:rPr lang="en-GB" sz="1200" dirty="0">
                <a:solidFill>
                  <a:srgbClr val="6C6C6C"/>
                </a:solidFill>
                <a:latin typeface="Trebuchet MS" panose="020B0603020202020204" pitchFamily="34" charset="0"/>
                <a:cs typeface="Arial"/>
              </a:rPr>
              <a:t>, 2020</a:t>
            </a:r>
          </a:p>
          <a:p>
            <a:pPr marL="285750" indent="-285750">
              <a:spcBef>
                <a:spcPct val="35000"/>
              </a:spcBef>
              <a:buClr>
                <a:srgbClr val="00A3E2"/>
              </a:buClr>
              <a:buSzPct val="100000"/>
              <a:defRPr/>
            </a:pPr>
            <a:endParaRPr lang="en-GB" sz="1200" dirty="0">
              <a:solidFill>
                <a:srgbClr val="6C6C6C"/>
              </a:solidFill>
              <a:latin typeface="Trebuchet MS" panose="020B0603020202020204" pitchFamily="34" charset="0"/>
            </a:endParaRPr>
          </a:p>
          <a:p>
            <a:pPr marL="285750" indent="-285750">
              <a:spcBef>
                <a:spcPct val="35000"/>
              </a:spcBef>
              <a:buClr>
                <a:srgbClr val="00A3E2"/>
              </a:buClr>
              <a:buSzPct val="100000"/>
              <a:defRPr/>
            </a:pPr>
            <a:r>
              <a:rPr lang="en-GB" sz="1200" dirty="0">
                <a:solidFill>
                  <a:srgbClr val="6C6C6C"/>
                </a:solidFill>
                <a:latin typeface="Trebuchet MS" panose="020B0603020202020204" pitchFamily="34" charset="0"/>
              </a:rPr>
              <a:t>Paris Office</a:t>
            </a:r>
          </a:p>
          <a:p>
            <a:pPr marL="285750" indent="-285750">
              <a:spcBef>
                <a:spcPct val="35000"/>
              </a:spcBef>
              <a:buClr>
                <a:srgbClr val="00A3E2"/>
              </a:buClr>
              <a:buSzPct val="100000"/>
              <a:defRPr/>
            </a:pPr>
            <a:r>
              <a:rPr lang="en-GB" sz="1200" dirty="0">
                <a:solidFill>
                  <a:srgbClr val="6C6C6C"/>
                </a:solidFill>
                <a:latin typeface="Trebuchet MS" panose="020B0603020202020204" pitchFamily="34" charset="0"/>
                <a:cs typeface="Arial"/>
              </a:rPr>
              <a:t>78 Avenue Raymond </a:t>
            </a:r>
            <a:r>
              <a:rPr lang="en-GB" sz="1200" dirty="0" err="1">
                <a:solidFill>
                  <a:srgbClr val="6C6C6C"/>
                </a:solidFill>
                <a:latin typeface="Trebuchet MS" panose="020B0603020202020204" pitchFamily="34" charset="0"/>
                <a:cs typeface="Arial"/>
              </a:rPr>
              <a:t>Poincaré</a:t>
            </a:r>
            <a:endParaRPr lang="en-GB" sz="1200" dirty="0">
              <a:solidFill>
                <a:srgbClr val="6C6C6C"/>
              </a:solidFill>
              <a:latin typeface="Trebuchet MS" panose="020B0603020202020204" pitchFamily="34" charset="0"/>
              <a:cs typeface="Arial"/>
            </a:endParaRPr>
          </a:p>
          <a:p>
            <a:pPr marL="285750" indent="-285750">
              <a:spcBef>
                <a:spcPct val="35000"/>
              </a:spcBef>
              <a:buClr>
                <a:srgbClr val="00A3E2"/>
              </a:buClr>
              <a:buSzPct val="100000"/>
              <a:defRPr/>
            </a:pPr>
            <a:r>
              <a:rPr lang="en-GB" sz="1200" dirty="0">
                <a:solidFill>
                  <a:srgbClr val="6C6C6C"/>
                </a:solidFill>
                <a:latin typeface="Trebuchet MS" panose="020B0603020202020204" pitchFamily="34" charset="0"/>
              </a:rPr>
              <a:t>75116 Paris, France</a:t>
            </a:r>
          </a:p>
          <a:p>
            <a:pPr marL="285750" indent="-285750">
              <a:spcBef>
                <a:spcPct val="35000"/>
              </a:spcBef>
              <a:buClr>
                <a:srgbClr val="00A3E2"/>
              </a:buClr>
              <a:buSzPct val="100000"/>
              <a:defRPr/>
            </a:pPr>
            <a:endParaRPr lang="en-GB" sz="1200" dirty="0">
              <a:solidFill>
                <a:srgbClr val="6C6C6C"/>
              </a:solidFill>
              <a:latin typeface="Trebuchet MS" panose="020B0603020202020204" pitchFamily="34" charset="0"/>
            </a:endParaRPr>
          </a:p>
          <a:p>
            <a:pPr marL="285750" indent="-285750">
              <a:spcBef>
                <a:spcPct val="35000"/>
              </a:spcBef>
              <a:buClr>
                <a:srgbClr val="00A3E2"/>
              </a:buClr>
              <a:buSzPct val="100000"/>
              <a:defRPr/>
            </a:pPr>
            <a:r>
              <a:rPr lang="en-GB" sz="1200" dirty="0">
                <a:solidFill>
                  <a:srgbClr val="6C6C6C"/>
                </a:solidFill>
                <a:latin typeface="Trebuchet MS" panose="020B0603020202020204" pitchFamily="34" charset="0"/>
              </a:rPr>
              <a:t>www.eleven-strategy.com</a:t>
            </a:r>
          </a:p>
        </p:txBody>
      </p:sp>
      <p:sp>
        <p:nvSpPr>
          <p:cNvPr id="23" name="Title">
            <a:extLst>
              <a:ext uri="{FF2B5EF4-FFF2-40B4-BE49-F238E27FC236}">
                <a16:creationId xmlns:a16="http://schemas.microsoft.com/office/drawing/2014/main" id="{7CB568E8-F292-49FC-96ED-BFCD4922C8B5}"/>
              </a:ext>
            </a:extLst>
          </p:cNvPr>
          <p:cNvSpPr txBox="1">
            <a:spLocks/>
          </p:cNvSpPr>
          <p:nvPr/>
        </p:nvSpPr>
        <p:spPr>
          <a:xfrm>
            <a:off x="-12701" y="524843"/>
            <a:ext cx="5854981" cy="720000"/>
          </a:xfrm>
          <a:prstGeom prst="rect">
            <a:avLst/>
          </a:prstGeom>
          <a:solidFill>
            <a:schemeClr val="bg1">
              <a:alpha val="82000"/>
            </a:schemeClr>
          </a:solidFill>
        </p:spPr>
        <p:txBody>
          <a:bodyPr vert="horz" wrap="square" lIns="144000" tIns="144000" rIns="36000" bIns="144000" rtlCol="0" anchor="ctr" anchorCtr="0">
            <a:noAutofit/>
          </a:bodyPr>
          <a:lstStyle>
            <a:lvl1pPr algn="l" rtl="0" eaLnBrk="1" fontAlgn="base" hangingPunct="1">
              <a:lnSpc>
                <a:spcPct val="100000"/>
              </a:lnSpc>
              <a:spcBef>
                <a:spcPct val="0"/>
              </a:spcBef>
              <a:spcAft>
                <a:spcPct val="0"/>
              </a:spcAft>
              <a:defRPr lang="en-IE" sz="2400" b="0" dirty="0">
                <a:solidFill>
                  <a:schemeClr val="tx1"/>
                </a:solidFill>
                <a:latin typeface="+mn-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b="1" kern="0">
                <a:solidFill>
                  <a:schemeClr val="tx2"/>
                </a:solidFill>
                <a:latin typeface="Trebuchet MS" panose="020B0603020202020204" pitchFamily="34" charset="0"/>
              </a:rPr>
              <a:t>Strategic Vendor Due Diligence</a:t>
            </a:r>
          </a:p>
        </p:txBody>
      </p:sp>
      <p:sp>
        <p:nvSpPr>
          <p:cNvPr id="25" name="Title">
            <a:extLst>
              <a:ext uri="{FF2B5EF4-FFF2-40B4-BE49-F238E27FC236}">
                <a16:creationId xmlns:a16="http://schemas.microsoft.com/office/drawing/2014/main" id="{FEEE95EB-703D-42E1-A1CF-8404BA161B37}"/>
              </a:ext>
            </a:extLst>
          </p:cNvPr>
          <p:cNvSpPr txBox="1">
            <a:spLocks/>
          </p:cNvSpPr>
          <p:nvPr/>
        </p:nvSpPr>
        <p:spPr bwMode="auto">
          <a:xfrm>
            <a:off x="-12701" y="1269625"/>
            <a:ext cx="5854981" cy="720000"/>
          </a:xfrm>
          <a:prstGeom prst="rect">
            <a:avLst/>
          </a:prstGeom>
          <a:solidFill>
            <a:schemeClr val="bg1">
              <a:alpha val="82000"/>
            </a:schemeClr>
          </a:solidFill>
          <a:ln w="9525">
            <a:noFill/>
            <a:miter lim="800000"/>
            <a:headEnd/>
            <a:tailEnd/>
          </a:ln>
        </p:spPr>
        <p:txBody>
          <a:bodyPr vert="horz" wrap="square" lIns="144000" tIns="144000" rIns="72000" bIns="144000" numCol="1" rtlCol="0" anchor="ctr" anchorCtr="0" compatLnSpc="1">
            <a:prstTxWarp prst="textNoShape">
              <a:avLst/>
            </a:prstTxWarp>
            <a:noAutofit/>
          </a:bodyPr>
          <a:lstStyle>
            <a:lvl1pPr algn="l" rtl="0" eaLnBrk="1" fontAlgn="base" hangingPunct="1">
              <a:lnSpc>
                <a:spcPct val="100000"/>
              </a:lnSpc>
              <a:spcBef>
                <a:spcPct val="0"/>
              </a:spcBef>
              <a:spcAft>
                <a:spcPct val="0"/>
              </a:spcAft>
              <a:defRPr lang="en-IE" sz="2400" b="0" dirty="0">
                <a:solidFill>
                  <a:schemeClr val="tx1"/>
                </a:solidFill>
                <a:latin typeface="+mn-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sz="1400">
                <a:latin typeface="Trebuchet MS" panose="020B0603020202020204" pitchFamily="34" charset="0"/>
              </a:rPr>
              <a:t>To the attention of </a:t>
            </a:r>
            <a:r>
              <a:rPr lang="en-GB" sz="1400" err="1">
                <a:latin typeface="Trebuchet MS" panose="020B0603020202020204" pitchFamily="34" charset="0"/>
              </a:rPr>
              <a:t>Altares</a:t>
            </a:r>
            <a:r>
              <a:rPr lang="en-GB" sz="1400">
                <a:latin typeface="Trebuchet MS" panose="020B0603020202020204" pitchFamily="34" charset="0"/>
              </a:rPr>
              <a:t> Group’s management</a:t>
            </a:r>
          </a:p>
        </p:txBody>
      </p:sp>
      <p:cxnSp>
        <p:nvCxnSpPr>
          <p:cNvPr id="27" name="Straight Connector 65">
            <a:extLst>
              <a:ext uri="{FF2B5EF4-FFF2-40B4-BE49-F238E27FC236}">
                <a16:creationId xmlns:a16="http://schemas.microsoft.com/office/drawing/2014/main" id="{2508F1AE-FABF-4EAB-925A-59C1D814E15B}"/>
              </a:ext>
            </a:extLst>
          </p:cNvPr>
          <p:cNvCxnSpPr>
            <a:cxnSpLocks/>
          </p:cNvCxnSpPr>
          <p:nvPr/>
        </p:nvCxnSpPr>
        <p:spPr bwMode="auto">
          <a:xfrm>
            <a:off x="5842280" y="1255395"/>
            <a:ext cx="1008000" cy="0"/>
          </a:xfrm>
          <a:prstGeom prst="line">
            <a:avLst/>
          </a:prstGeom>
          <a:solidFill>
            <a:schemeClr val="accent1"/>
          </a:solidFill>
          <a:ln w="9525" cap="flat" cmpd="sng" algn="ctr">
            <a:solidFill>
              <a:schemeClr val="bg1"/>
            </a:solidFill>
            <a:prstDash val="solid"/>
            <a:round/>
            <a:headEnd type="none" w="med" len="med"/>
            <a:tailEnd type="none" w="med" len="med"/>
          </a:ln>
          <a:effectLst/>
        </p:spPr>
      </p:cxnSp>
      <p:pic>
        <p:nvPicPr>
          <p:cNvPr id="29" name="Picture 2" descr="ALTARES-D&amp;B - L'ASSOCIATION FRANCAISE DES CREDIT MANAGERS ET CONSEILS">
            <a:extLst>
              <a:ext uri="{FF2B5EF4-FFF2-40B4-BE49-F238E27FC236}">
                <a16:creationId xmlns:a16="http://schemas.microsoft.com/office/drawing/2014/main" id="{B7B62081-A783-4593-BBE0-9B6FD0923E6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53533" y="1305328"/>
            <a:ext cx="1063119" cy="595483"/>
          </a:xfrm>
          <a:prstGeom prst="rect">
            <a:avLst/>
          </a:prstGeom>
          <a:noFill/>
          <a:extLst>
            <a:ext uri="{909E8E84-426E-40DD-AFC4-6F175D3DCCD1}">
              <a14:hiddenFill xmlns:a14="http://schemas.microsoft.com/office/drawing/2010/main">
                <a:solidFill>
                  <a:srgbClr val="FFFFFF"/>
                </a:solidFill>
              </a14:hiddenFill>
            </a:ext>
          </a:extLst>
        </p:spPr>
      </p:pic>
      <p:sp>
        <p:nvSpPr>
          <p:cNvPr id="30" name="ZoneTexte 69">
            <a:extLst>
              <a:ext uri="{FF2B5EF4-FFF2-40B4-BE49-F238E27FC236}">
                <a16:creationId xmlns:a16="http://schemas.microsoft.com/office/drawing/2014/main" id="{0BCD5D7A-24B9-4EBF-B0D8-5A35598BC47E}"/>
              </a:ext>
            </a:extLst>
          </p:cNvPr>
          <p:cNvSpPr txBox="1"/>
          <p:nvPr/>
        </p:nvSpPr>
        <p:spPr>
          <a:xfrm>
            <a:off x="109236" y="6333157"/>
            <a:ext cx="2510443" cy="461665"/>
          </a:xfrm>
          <a:prstGeom prst="rect">
            <a:avLst/>
          </a:prstGeom>
          <a:noFill/>
        </p:spPr>
        <p:txBody>
          <a:bodyPr wrap="square" lIns="36000" rIns="36000" anchor="t">
            <a:spAutoFit/>
          </a:bodyPr>
          <a:lstStyle/>
          <a:p>
            <a:pPr algn="ctr">
              <a:spcBef>
                <a:spcPct val="35000"/>
              </a:spcBef>
              <a:buClr>
                <a:srgbClr val="00A3E2"/>
              </a:buClr>
              <a:buSzPct val="100000"/>
              <a:defRPr/>
            </a:pPr>
            <a:r>
              <a:rPr lang="en-GB" sz="2400" b="1" i="1" cap="small">
                <a:solidFill>
                  <a:schemeClr val="bg1"/>
                </a:solidFill>
                <a:latin typeface="Trebuchet MS" panose="020B0603020202020204" pitchFamily="34" charset="0"/>
                <a:cs typeface="Arial"/>
              </a:rPr>
              <a:t>Confidential</a:t>
            </a:r>
            <a:endParaRPr lang="en-GB" sz="2400" b="1" i="1" cap="small">
              <a:solidFill>
                <a:schemeClr val="bg1"/>
              </a:solidFill>
              <a:latin typeface="Trebuchet MS" panose="020B0603020202020204" pitchFamily="34" charset="0"/>
            </a:endParaRPr>
          </a:p>
        </p:txBody>
      </p:sp>
    </p:spTree>
    <p:extLst>
      <p:ext uri="{BB962C8B-B14F-4D97-AF65-F5344CB8AC3E}">
        <p14:creationId xmlns:p14="http://schemas.microsoft.com/office/powerpoint/2010/main" val="1092298302"/>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t 52" hidden="1">
            <a:extLst>
              <a:ext uri="{FF2B5EF4-FFF2-40B4-BE49-F238E27FC236}">
                <a16:creationId xmlns:a16="http://schemas.microsoft.com/office/drawing/2014/main" id="{5C682453-EB6E-4B48-8E3B-D55C3F5B37B1}"/>
              </a:ext>
            </a:extLst>
          </p:cNvPr>
          <p:cNvGraphicFramePr>
            <a:graphicFrameLocks noChangeAspect="1"/>
          </p:cNvGraphicFramePr>
          <p:nvPr>
            <p:custDataLst>
              <p:tags r:id="rId1"/>
            </p:custDataLst>
            <p:extLst>
              <p:ext uri="{D42A27DB-BD31-4B8C-83A1-F6EECF244321}">
                <p14:modId xmlns:p14="http://schemas.microsoft.com/office/powerpoint/2010/main" val="722305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16" imgH="423" progId="TCLayout.ActiveDocument.1">
                  <p:embed/>
                </p:oleObj>
              </mc:Choice>
              <mc:Fallback>
                <p:oleObj name="think-cell Slide" r:id="rId13" imgW="416" imgH="423" progId="TCLayout.ActiveDocument.1">
                  <p:embed/>
                  <p:pic>
                    <p:nvPicPr>
                      <p:cNvPr id="53" name="Objet 52" hidden="1">
                        <a:extLst>
                          <a:ext uri="{FF2B5EF4-FFF2-40B4-BE49-F238E27FC236}">
                            <a16:creationId xmlns:a16="http://schemas.microsoft.com/office/drawing/2014/main" id="{5C682453-EB6E-4B48-8E3B-D55C3F5B37B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2" name="Rectangle 51" hidden="1">
            <a:extLst>
              <a:ext uri="{FF2B5EF4-FFF2-40B4-BE49-F238E27FC236}">
                <a16:creationId xmlns:a16="http://schemas.microsoft.com/office/drawing/2014/main" id="{919D0193-389E-4BC7-99D5-A13F90E20AC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7DD4096A-2CFA-41F0-A233-B6A26E14CFA0}"/>
              </a:ext>
            </a:extLst>
          </p:cNvPr>
          <p:cNvSpPr>
            <a:spLocks noGrp="1"/>
          </p:cNvSpPr>
          <p:nvPr>
            <p:ph type="title"/>
          </p:nvPr>
        </p:nvSpPr>
        <p:spPr>
          <a:xfrm>
            <a:off x="165600" y="147600"/>
            <a:ext cx="8505324" cy="684000"/>
          </a:xfrm>
        </p:spPr>
        <p:txBody>
          <a:bodyPr/>
          <a:lstStyle/>
          <a:p>
            <a:r>
              <a:rPr lang="en-GB" dirty="0">
                <a:latin typeface="Trebuchet MS" panose="020B0603020202020204" pitchFamily="34" charset="0"/>
              </a:rPr>
              <a:t>The </a:t>
            </a:r>
            <a:r>
              <a:rPr lang="en-GB" dirty="0">
                <a:solidFill>
                  <a:schemeClr val="tx2"/>
                </a:solidFill>
                <a:latin typeface="Trebuchet MS" panose="020B0603020202020204" pitchFamily="34" charset="0"/>
              </a:rPr>
              <a:t>compliance service market </a:t>
            </a:r>
            <a:r>
              <a:rPr lang="en-GB" dirty="0">
                <a:latin typeface="Trebuchet MS" panose="020B0603020202020204" pitchFamily="34" charset="0"/>
              </a:rPr>
              <a:t>is expecting </a:t>
            </a:r>
            <a:r>
              <a:rPr lang="en-GB" dirty="0">
                <a:solidFill>
                  <a:schemeClr val="tx2"/>
                </a:solidFill>
                <a:latin typeface="Trebuchet MS" panose="020B0603020202020204" pitchFamily="34" charset="0"/>
              </a:rPr>
              <a:t>significant growth </a:t>
            </a:r>
            <a:r>
              <a:rPr lang="en-GB" dirty="0">
                <a:latin typeface="Trebuchet MS" panose="020B0603020202020204" pitchFamily="34" charset="0"/>
              </a:rPr>
              <a:t>fuelled by the </a:t>
            </a:r>
            <a:r>
              <a:rPr lang="en-GB" dirty="0">
                <a:solidFill>
                  <a:schemeClr val="tx2"/>
                </a:solidFill>
                <a:latin typeface="Trebuchet MS" panose="020B0603020202020204" pitchFamily="34" charset="0"/>
              </a:rPr>
              <a:t>rising regulatory constraints </a:t>
            </a:r>
            <a:r>
              <a:rPr lang="en-GB" dirty="0">
                <a:latin typeface="Trebuchet MS" panose="020B0603020202020204" pitchFamily="34" charset="0"/>
              </a:rPr>
              <a:t>and the clients’ needs for support by relatively </a:t>
            </a:r>
            <a:r>
              <a:rPr lang="en-GB" dirty="0">
                <a:solidFill>
                  <a:schemeClr val="tx2"/>
                </a:solidFill>
                <a:latin typeface="Trebuchet MS" panose="020B0603020202020204" pitchFamily="34" charset="0"/>
              </a:rPr>
              <a:t>few authoritative players</a:t>
            </a:r>
          </a:p>
        </p:txBody>
      </p:sp>
      <p:sp>
        <p:nvSpPr>
          <p:cNvPr id="3" name="Espace réservé du texte 2">
            <a:extLst>
              <a:ext uri="{FF2B5EF4-FFF2-40B4-BE49-F238E27FC236}">
                <a16:creationId xmlns:a16="http://schemas.microsoft.com/office/drawing/2014/main" id="{866DBF03-B075-4B01-B424-699A08F5F2EC}"/>
              </a:ext>
            </a:extLst>
          </p:cNvPr>
          <p:cNvSpPr>
            <a:spLocks noGrp="1"/>
          </p:cNvSpPr>
          <p:nvPr>
            <p:ph type="body" sz="quarter" idx="10"/>
          </p:nvPr>
        </p:nvSpPr>
        <p:spPr/>
        <p:txBody>
          <a:bodyPr/>
          <a:lstStyle/>
          <a:p>
            <a:r>
              <a:rPr lang="en-GB"/>
              <a:t>Sources: eleven research &amp; analysis, expert calls, interviews with management		²BCC &amp; DCC: Belgium &amp; Dutch Criminal Codes</a:t>
            </a:r>
          </a:p>
          <a:p>
            <a:r>
              <a:rPr lang="en-GB"/>
              <a:t>1. UBO (Ultimate Beneficiary Owner), PEP (Politically Exposed Persons), KYC/S (Know your customer/supplier), AML (Anti-Money Laundering) </a:t>
            </a:r>
          </a:p>
          <a:p>
            <a:endParaRPr lang="en-GB"/>
          </a:p>
          <a:p>
            <a:endParaRPr lang="en-GB"/>
          </a:p>
        </p:txBody>
      </p:sp>
      <p:cxnSp>
        <p:nvCxnSpPr>
          <p:cNvPr id="17" name="Connecteur droit 16">
            <a:extLst>
              <a:ext uri="{FF2B5EF4-FFF2-40B4-BE49-F238E27FC236}">
                <a16:creationId xmlns:a16="http://schemas.microsoft.com/office/drawing/2014/main" id="{F5811852-034C-46C1-8E72-39C027B4CE47}"/>
              </a:ext>
            </a:extLst>
          </p:cNvPr>
          <p:cNvCxnSpPr>
            <a:cxnSpLocks/>
          </p:cNvCxnSpPr>
          <p:nvPr/>
        </p:nvCxnSpPr>
        <p:spPr bwMode="auto">
          <a:xfrm>
            <a:off x="4961700" y="1246012"/>
            <a:ext cx="0" cy="504000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cxnSp>
        <p:nvCxnSpPr>
          <p:cNvPr id="21" name="Connecteur droit 20">
            <a:extLst>
              <a:ext uri="{FF2B5EF4-FFF2-40B4-BE49-F238E27FC236}">
                <a16:creationId xmlns:a16="http://schemas.microsoft.com/office/drawing/2014/main" id="{7999D85F-DDEF-4BC8-A792-0784FFBCF6D7}"/>
              </a:ext>
            </a:extLst>
          </p:cNvPr>
          <p:cNvCxnSpPr>
            <a:cxnSpLocks/>
          </p:cNvCxnSpPr>
          <p:nvPr/>
        </p:nvCxnSpPr>
        <p:spPr bwMode="auto">
          <a:xfrm>
            <a:off x="191700" y="1079433"/>
            <a:ext cx="4680000"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cxnSp>
        <p:nvCxnSpPr>
          <p:cNvPr id="23" name="Connecteur droit 22">
            <a:extLst>
              <a:ext uri="{FF2B5EF4-FFF2-40B4-BE49-F238E27FC236}">
                <a16:creationId xmlns:a16="http://schemas.microsoft.com/office/drawing/2014/main" id="{06CFBA81-4081-4043-80B9-ED70610BAAE1}"/>
              </a:ext>
            </a:extLst>
          </p:cNvPr>
          <p:cNvCxnSpPr>
            <a:cxnSpLocks/>
          </p:cNvCxnSpPr>
          <p:nvPr/>
        </p:nvCxnSpPr>
        <p:spPr bwMode="auto">
          <a:xfrm>
            <a:off x="5034300" y="1079433"/>
            <a:ext cx="4680000"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25" name="Rectangle 84">
            <a:extLst>
              <a:ext uri="{FF2B5EF4-FFF2-40B4-BE49-F238E27FC236}">
                <a16:creationId xmlns:a16="http://schemas.microsoft.com/office/drawing/2014/main" id="{22E09435-F3C6-40E1-B7DF-204A08FBFDF8}"/>
              </a:ext>
            </a:extLst>
          </p:cNvPr>
          <p:cNvSpPr/>
          <p:nvPr/>
        </p:nvSpPr>
        <p:spPr bwMode="auto">
          <a:xfrm>
            <a:off x="1607143" y="928767"/>
            <a:ext cx="1831714"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a:solidFill>
                  <a:schemeClr val="accent1">
                    <a:lumMod val="75000"/>
                  </a:schemeClr>
                </a:solidFill>
                <a:latin typeface="Trebuchet MS" panose="020B0603020202020204" pitchFamily="34" charset="0"/>
              </a:rPr>
              <a:t>Market overview</a:t>
            </a:r>
          </a:p>
        </p:txBody>
      </p:sp>
      <p:sp>
        <p:nvSpPr>
          <p:cNvPr id="27" name="Rectangle 84">
            <a:extLst>
              <a:ext uri="{FF2B5EF4-FFF2-40B4-BE49-F238E27FC236}">
                <a16:creationId xmlns:a16="http://schemas.microsoft.com/office/drawing/2014/main" id="{847339C7-9513-4526-A29B-EDFB1D15928E}"/>
              </a:ext>
            </a:extLst>
          </p:cNvPr>
          <p:cNvSpPr/>
          <p:nvPr/>
        </p:nvSpPr>
        <p:spPr bwMode="auto">
          <a:xfrm>
            <a:off x="6449743" y="928767"/>
            <a:ext cx="1831714"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a:solidFill>
                  <a:schemeClr val="accent1">
                    <a:lumMod val="75000"/>
                  </a:schemeClr>
                </a:solidFill>
                <a:latin typeface="Trebuchet MS" panose="020B0603020202020204" pitchFamily="34" charset="0"/>
              </a:rPr>
              <a:t>Ecosystem overview</a:t>
            </a:r>
          </a:p>
        </p:txBody>
      </p:sp>
      <p:sp>
        <p:nvSpPr>
          <p:cNvPr id="20" name="Rectangle 19">
            <a:extLst>
              <a:ext uri="{FF2B5EF4-FFF2-40B4-BE49-F238E27FC236}">
                <a16:creationId xmlns:a16="http://schemas.microsoft.com/office/drawing/2014/main" id="{8B54963F-8448-47BB-BB94-122C070BCCBE}"/>
              </a:ext>
            </a:extLst>
          </p:cNvPr>
          <p:cNvSpPr/>
          <p:nvPr/>
        </p:nvSpPr>
        <p:spPr bwMode="auto">
          <a:xfrm>
            <a:off x="168736" y="1251172"/>
            <a:ext cx="4747503" cy="323705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100"/>
              </a:spcAft>
            </a:pPr>
            <a:r>
              <a:rPr lang="en-GB" sz="1000" b="1" i="1">
                <a:latin typeface="Trebuchet MS" panose="020B0603020202020204" pitchFamily="34" charset="0"/>
              </a:rPr>
              <a:t>Key market trends and addressable market scope</a:t>
            </a:r>
          </a:p>
        </p:txBody>
      </p:sp>
      <p:sp>
        <p:nvSpPr>
          <p:cNvPr id="22" name="ZoneTexte 111">
            <a:extLst>
              <a:ext uri="{FF2B5EF4-FFF2-40B4-BE49-F238E27FC236}">
                <a16:creationId xmlns:a16="http://schemas.microsoft.com/office/drawing/2014/main" id="{16E308DC-852B-4EF9-96F1-0C854AE20F0E}"/>
              </a:ext>
            </a:extLst>
          </p:cNvPr>
          <p:cNvSpPr txBox="1"/>
          <p:nvPr/>
        </p:nvSpPr>
        <p:spPr>
          <a:xfrm>
            <a:off x="168732" y="1409637"/>
            <a:ext cx="4778503" cy="1208023"/>
          </a:xfrm>
          <a:prstGeom prst="rect">
            <a:avLst/>
          </a:prstGeom>
          <a:noFill/>
        </p:spPr>
        <p:txBody>
          <a:bodyPr wrap="square" lIns="36000" rIns="36000" rtlCol="0" anchor="t">
            <a:spAutoFit/>
          </a:bodyPr>
          <a:lstStyle/>
          <a:p>
            <a:pPr marL="171450" indent="-171450">
              <a:spcAft>
                <a:spcPts val="0"/>
              </a:spcAft>
              <a:buFont typeface="Arial" panose="020B0604020202020204" pitchFamily="34" charset="0"/>
              <a:buChar char="•"/>
            </a:pPr>
            <a:r>
              <a:rPr lang="en-GB" sz="1000">
                <a:latin typeface="Trebuchet MS" panose="020B0603020202020204" pitchFamily="34" charset="0"/>
              </a:rPr>
              <a:t>Recent regulations have created </a:t>
            </a:r>
            <a:r>
              <a:rPr lang="en-GB" sz="1000">
                <a:solidFill>
                  <a:schemeClr val="tx2"/>
                </a:solidFill>
                <a:latin typeface="Trebuchet MS" panose="020B0603020202020204" pitchFamily="34" charset="0"/>
              </a:rPr>
              <a:t>new compliance constraints </a:t>
            </a:r>
            <a:r>
              <a:rPr lang="en-GB" sz="1000">
                <a:latin typeface="Trebuchet MS" panose="020B0603020202020204" pitchFamily="34" charset="0"/>
              </a:rPr>
              <a:t>for companies, increasing the </a:t>
            </a:r>
            <a:r>
              <a:rPr lang="en-GB" sz="1000">
                <a:solidFill>
                  <a:schemeClr val="tx2"/>
                </a:solidFill>
                <a:latin typeface="Trebuchet MS" panose="020B0603020202020204" pitchFamily="34" charset="0"/>
              </a:rPr>
              <a:t>risk of sanctions </a:t>
            </a:r>
            <a:r>
              <a:rPr lang="en-GB" sz="1000">
                <a:latin typeface="Trebuchet MS" panose="020B0603020202020204" pitchFamily="34" charset="0"/>
              </a:rPr>
              <a:t>from authorities, and potentially </a:t>
            </a:r>
            <a:r>
              <a:rPr lang="en-GB" sz="1000">
                <a:solidFill>
                  <a:schemeClr val="tx2"/>
                </a:solidFill>
                <a:latin typeface="Trebuchet MS" panose="020B0603020202020204" pitchFamily="34" charset="0"/>
              </a:rPr>
              <a:t>impacting brand equity</a:t>
            </a:r>
          </a:p>
          <a:p>
            <a:pPr marL="171450" indent="-171450">
              <a:spcAft>
                <a:spcPts val="300"/>
              </a:spcAft>
              <a:buFont typeface="Arial" panose="020B0604020202020204" pitchFamily="34" charset="0"/>
              <a:buChar char="•"/>
            </a:pPr>
            <a:r>
              <a:rPr lang="en-GB" sz="1000">
                <a:latin typeface="Trebuchet MS" panose="020B0603020202020204" pitchFamily="34" charset="0"/>
              </a:rPr>
              <a:t>These constraints generate </a:t>
            </a:r>
            <a:r>
              <a:rPr lang="en-GB" sz="1000">
                <a:solidFill>
                  <a:schemeClr val="tx2"/>
                </a:solidFill>
                <a:latin typeface="Trebuchet MS" panose="020B0603020202020204" pitchFamily="34" charset="0"/>
              </a:rPr>
              <a:t>significant costs </a:t>
            </a:r>
            <a:r>
              <a:rPr lang="en-GB" sz="1000">
                <a:latin typeface="Trebuchet MS" panose="020B0603020202020204" pitchFamily="34" charset="0"/>
              </a:rPr>
              <a:t>for companies with needs to </a:t>
            </a:r>
            <a:r>
              <a:rPr lang="en-GB" sz="1000">
                <a:solidFill>
                  <a:schemeClr val="tx2"/>
                </a:solidFill>
                <a:latin typeface="Trebuchet MS" panose="020B0603020202020204" pitchFamily="34" charset="0"/>
              </a:rPr>
              <a:t>outsource to specialists</a:t>
            </a:r>
          </a:p>
          <a:p>
            <a:pPr marL="171450" indent="-171450">
              <a:spcAft>
                <a:spcPts val="300"/>
              </a:spcAft>
              <a:buFont typeface="Arial" panose="020B0604020202020204" pitchFamily="34" charset="0"/>
              <a:buChar char="•"/>
            </a:pPr>
            <a:r>
              <a:rPr lang="en-GB" sz="1000">
                <a:latin typeface="Trebuchet MS" panose="020B0603020202020204" pitchFamily="34" charset="0"/>
              </a:rPr>
              <a:t>Leveraging their </a:t>
            </a:r>
            <a:r>
              <a:rPr lang="en-GB" sz="1000">
                <a:solidFill>
                  <a:schemeClr val="tx2"/>
                </a:solidFill>
                <a:latin typeface="Trebuchet MS" panose="020B0603020202020204" pitchFamily="34" charset="0"/>
              </a:rPr>
              <a:t>expertise</a:t>
            </a:r>
            <a:r>
              <a:rPr lang="en-GB" sz="1000">
                <a:latin typeface="Trebuchet MS" panose="020B0603020202020204" pitchFamily="34" charset="0"/>
              </a:rPr>
              <a:t>, BD&amp;A incumbents are proposing </a:t>
            </a:r>
            <a:r>
              <a:rPr lang="en-GB" sz="1000">
                <a:solidFill>
                  <a:schemeClr val="tx2"/>
                </a:solidFill>
                <a:latin typeface="Trebuchet MS" panose="020B0603020202020204" pitchFamily="34" charset="0"/>
              </a:rPr>
              <a:t>peer evaluation</a:t>
            </a:r>
            <a:r>
              <a:rPr lang="en-GB" sz="1000">
                <a:latin typeface="Trebuchet MS" panose="020B0603020202020204" pitchFamily="34" charset="0"/>
              </a:rPr>
              <a:t> services based on </a:t>
            </a:r>
            <a:r>
              <a:rPr lang="en-GB" sz="1000">
                <a:solidFill>
                  <a:schemeClr val="tx2"/>
                </a:solidFill>
                <a:latin typeface="Trebuchet MS" panose="020B0603020202020204" pitchFamily="34" charset="0"/>
              </a:rPr>
              <a:t>UBO</a:t>
            </a:r>
            <a:r>
              <a:rPr lang="en-GB" sz="1000" baseline="30000">
                <a:solidFill>
                  <a:schemeClr val="tx2"/>
                </a:solidFill>
                <a:latin typeface="Trebuchet MS" panose="020B0603020202020204" pitchFamily="34" charset="0"/>
              </a:rPr>
              <a:t>1</a:t>
            </a:r>
            <a:r>
              <a:rPr lang="en-GB" sz="1000">
                <a:solidFill>
                  <a:schemeClr val="tx2"/>
                </a:solidFill>
                <a:latin typeface="Trebuchet MS" panose="020B0603020202020204" pitchFamily="34" charset="0"/>
              </a:rPr>
              <a:t> identification, PEP</a:t>
            </a:r>
            <a:r>
              <a:rPr lang="en-GB" sz="1000" baseline="30000">
                <a:solidFill>
                  <a:schemeClr val="tx2"/>
                </a:solidFill>
                <a:latin typeface="Trebuchet MS" panose="020B0603020202020204" pitchFamily="34" charset="0"/>
              </a:rPr>
              <a:t>1 </a:t>
            </a:r>
            <a:r>
              <a:rPr lang="en-GB" sz="1000">
                <a:solidFill>
                  <a:schemeClr val="tx2"/>
                </a:solidFill>
                <a:latin typeface="Trebuchet MS" panose="020B0603020202020204" pitchFamily="34" charset="0"/>
              </a:rPr>
              <a:t>and sanctions lists </a:t>
            </a:r>
            <a:r>
              <a:rPr lang="en-GB" sz="1000">
                <a:latin typeface="Trebuchet MS" panose="020B0603020202020204" pitchFamily="34" charset="0"/>
              </a:rPr>
              <a:t>verification</a:t>
            </a:r>
          </a:p>
        </p:txBody>
      </p:sp>
      <p:sp>
        <p:nvSpPr>
          <p:cNvPr id="70" name="Rectangle 69">
            <a:extLst>
              <a:ext uri="{FF2B5EF4-FFF2-40B4-BE49-F238E27FC236}">
                <a16:creationId xmlns:a16="http://schemas.microsoft.com/office/drawing/2014/main" id="{ABB6A9DA-929F-4B7E-9690-0407D152DF34}"/>
              </a:ext>
            </a:extLst>
          </p:cNvPr>
          <p:cNvSpPr/>
          <p:nvPr/>
        </p:nvSpPr>
        <p:spPr bwMode="auto">
          <a:xfrm>
            <a:off x="165599" y="5979075"/>
            <a:ext cx="4743285" cy="498604"/>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r>
              <a:rPr lang="en-GB" sz="1000" spc="-30">
                <a:solidFill>
                  <a:srgbClr val="6C6C6C"/>
                </a:solidFill>
                <a:latin typeface="Trebuchet MS" panose="020B0603020202020204" pitchFamily="34" charset="0"/>
              </a:rPr>
              <a:t>The </a:t>
            </a:r>
            <a:r>
              <a:rPr lang="en-GB" sz="1000" spc="-30">
                <a:solidFill>
                  <a:schemeClr val="tx2"/>
                </a:solidFill>
                <a:latin typeface="Trebuchet MS" panose="020B0603020202020204" pitchFamily="34" charset="0"/>
              </a:rPr>
              <a:t>compliance</a:t>
            </a:r>
            <a:r>
              <a:rPr lang="en-GB" sz="1000" spc="-30">
                <a:solidFill>
                  <a:srgbClr val="6C6C6C"/>
                </a:solidFill>
                <a:latin typeface="Trebuchet MS" panose="020B0603020202020204" pitchFamily="34" charset="0"/>
              </a:rPr>
              <a:t> </a:t>
            </a:r>
            <a:r>
              <a:rPr lang="en-GB" sz="1000" spc="-30">
                <a:solidFill>
                  <a:schemeClr val="tx2"/>
                </a:solidFill>
                <a:latin typeface="Trebuchet MS" panose="020B0603020202020204" pitchFamily="34" charset="0"/>
              </a:rPr>
              <a:t>market</a:t>
            </a:r>
            <a:r>
              <a:rPr lang="en-GB" sz="1000" spc="-30">
                <a:solidFill>
                  <a:srgbClr val="6C6C6C"/>
                </a:solidFill>
                <a:latin typeface="Trebuchet MS" panose="020B0603020202020204" pitchFamily="34" charset="0"/>
              </a:rPr>
              <a:t> should benefit from a </a:t>
            </a:r>
            <a:r>
              <a:rPr lang="en-GB" sz="1000" spc="-30">
                <a:solidFill>
                  <a:schemeClr val="tx2"/>
                </a:solidFill>
                <a:latin typeface="Trebuchet MS" panose="020B0603020202020204" pitchFamily="34" charset="0"/>
              </a:rPr>
              <a:t>~10%</a:t>
            </a:r>
            <a:r>
              <a:rPr lang="en-GB" sz="1000" spc="-30">
                <a:solidFill>
                  <a:srgbClr val="6C6C6C"/>
                </a:solidFill>
                <a:latin typeface="Trebuchet MS" panose="020B0603020202020204" pitchFamily="34" charset="0"/>
              </a:rPr>
              <a:t> </a:t>
            </a:r>
            <a:r>
              <a:rPr lang="en-GB" sz="1000" spc="-30">
                <a:solidFill>
                  <a:schemeClr val="tx2"/>
                </a:solidFill>
                <a:latin typeface="Trebuchet MS" panose="020B0603020202020204" pitchFamily="34" charset="0"/>
              </a:rPr>
              <a:t>growth</a:t>
            </a:r>
            <a:r>
              <a:rPr lang="en-GB" sz="1000" spc="-30">
                <a:solidFill>
                  <a:srgbClr val="6C6C6C"/>
                </a:solidFill>
                <a:latin typeface="Trebuchet MS" panose="020B0603020202020204" pitchFamily="34" charset="0"/>
              </a:rPr>
              <a:t> </a:t>
            </a:r>
            <a:r>
              <a:rPr lang="en-GB" sz="1000" spc="-30">
                <a:solidFill>
                  <a:schemeClr val="tx2"/>
                </a:solidFill>
                <a:latin typeface="Trebuchet MS" panose="020B0603020202020204" pitchFamily="34" charset="0"/>
              </a:rPr>
              <a:t>per year </a:t>
            </a:r>
            <a:r>
              <a:rPr lang="en-GB" sz="1000" spc="-30">
                <a:latin typeface="Trebuchet MS" panose="020B0603020202020204" pitchFamily="34" charset="0"/>
              </a:rPr>
              <a:t>(CAGR</a:t>
            </a:r>
            <a:r>
              <a:rPr lang="en-GB" sz="1000" spc="-30" baseline="-25000">
                <a:latin typeface="Trebuchet MS" panose="020B0603020202020204" pitchFamily="34" charset="0"/>
              </a:rPr>
              <a:t>21-25</a:t>
            </a:r>
            <a:r>
              <a:rPr lang="en-GB" sz="1000" spc="-30">
                <a:latin typeface="Trebuchet MS" panose="020B0603020202020204" pitchFamily="34" charset="0"/>
              </a:rPr>
              <a:t>) </a:t>
            </a:r>
            <a:r>
              <a:rPr lang="en-GB" sz="1000" spc="-30">
                <a:solidFill>
                  <a:srgbClr val="6C6C6C"/>
                </a:solidFill>
                <a:latin typeface="Trebuchet MS" panose="020B0603020202020204" pitchFamily="34" charset="0"/>
              </a:rPr>
              <a:t>over the next years due to the </a:t>
            </a:r>
            <a:r>
              <a:rPr lang="en-GB" sz="1000" spc="-30">
                <a:solidFill>
                  <a:schemeClr val="tx2"/>
                </a:solidFill>
                <a:latin typeface="Trebuchet MS" panose="020B0603020202020204" pitchFamily="34" charset="0"/>
              </a:rPr>
              <a:t>catch-up effect of non-compliant companies </a:t>
            </a:r>
            <a:r>
              <a:rPr lang="en-GB" sz="1000" spc="-30">
                <a:solidFill>
                  <a:srgbClr val="6C6C6C"/>
                </a:solidFill>
                <a:latin typeface="Trebuchet MS" panose="020B0603020202020204" pitchFamily="34" charset="0"/>
              </a:rPr>
              <a:t>and increasing pressure from both European and domestic authorities</a:t>
            </a:r>
          </a:p>
        </p:txBody>
      </p:sp>
      <p:sp>
        <p:nvSpPr>
          <p:cNvPr id="71" name="Rectangle 70">
            <a:extLst>
              <a:ext uri="{FF2B5EF4-FFF2-40B4-BE49-F238E27FC236}">
                <a16:creationId xmlns:a16="http://schemas.microsoft.com/office/drawing/2014/main" id="{A798CAC1-BA0A-463B-8B1D-764F46649B31}"/>
              </a:ext>
            </a:extLst>
          </p:cNvPr>
          <p:cNvSpPr/>
          <p:nvPr/>
        </p:nvSpPr>
        <p:spPr bwMode="auto">
          <a:xfrm>
            <a:off x="4999383" y="1239318"/>
            <a:ext cx="4680000" cy="167474"/>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0" marR="0" indent="0" defTabSz="914400" eaLnBrk="1" latinLnBrk="0" hangingPunct="1">
              <a:lnSpc>
                <a:spcPct val="100000"/>
              </a:lnSpc>
              <a:spcAft>
                <a:spcPts val="100"/>
              </a:spcAft>
              <a:buClrTx/>
              <a:buSzTx/>
              <a:buFontTx/>
              <a:buNone/>
              <a:tabLst/>
            </a:pPr>
            <a:r>
              <a:rPr lang="en-GB" sz="1000" b="1" i="1" err="1">
                <a:latin typeface="Trebuchet MS" panose="020B0603020202020204" pitchFamily="34" charset="0"/>
              </a:rPr>
              <a:t>Altares</a:t>
            </a:r>
            <a:r>
              <a:rPr lang="en-GB" sz="1000" b="1" i="1">
                <a:latin typeface="Trebuchet MS" panose="020B0603020202020204" pitchFamily="34" charset="0"/>
              </a:rPr>
              <a:t>’ compliance ecosystem</a:t>
            </a:r>
          </a:p>
        </p:txBody>
      </p:sp>
      <p:sp>
        <p:nvSpPr>
          <p:cNvPr id="91" name="ZoneTexte 125">
            <a:extLst>
              <a:ext uri="{FF2B5EF4-FFF2-40B4-BE49-F238E27FC236}">
                <a16:creationId xmlns:a16="http://schemas.microsoft.com/office/drawing/2014/main" id="{ADB3EC91-C857-4BAF-B6DA-5CB7EF5ED4B0}"/>
              </a:ext>
            </a:extLst>
          </p:cNvPr>
          <p:cNvSpPr txBox="1"/>
          <p:nvPr/>
        </p:nvSpPr>
        <p:spPr>
          <a:xfrm>
            <a:off x="272046" y="3618618"/>
            <a:ext cx="905006" cy="288147"/>
          </a:xfrm>
          <a:prstGeom prst="rect">
            <a:avLst/>
          </a:prstGeom>
          <a:noFill/>
        </p:spPr>
        <p:txBody>
          <a:bodyPr wrap="square" lIns="36000" tIns="36000" rIns="36000" bIns="36000" rtlCol="0">
            <a:spAutoFit/>
          </a:bodyPr>
          <a:lstStyle/>
          <a:p>
            <a:pPr algn="ctr"/>
            <a:r>
              <a:rPr lang="en-GB" sz="700" b="1">
                <a:solidFill>
                  <a:schemeClr val="accent1">
                    <a:lumMod val="75000"/>
                  </a:schemeClr>
                </a:solidFill>
                <a:latin typeface="Trebuchet MS" panose="020B0603020202020204" pitchFamily="34" charset="0"/>
              </a:rPr>
              <a:t>Current BD&amp;A players’ positioning</a:t>
            </a:r>
          </a:p>
        </p:txBody>
      </p:sp>
      <p:sp>
        <p:nvSpPr>
          <p:cNvPr id="168" name="Rectangle 167">
            <a:extLst>
              <a:ext uri="{FF2B5EF4-FFF2-40B4-BE49-F238E27FC236}">
                <a16:creationId xmlns:a16="http://schemas.microsoft.com/office/drawing/2014/main" id="{0D6E560B-F3A8-4FEF-91EC-AB77183C265C}"/>
              </a:ext>
            </a:extLst>
          </p:cNvPr>
          <p:cNvSpPr/>
          <p:nvPr/>
        </p:nvSpPr>
        <p:spPr bwMode="auto">
          <a:xfrm>
            <a:off x="6810" y="4461362"/>
            <a:ext cx="5039232" cy="252449"/>
          </a:xfrm>
          <a:prstGeom prst="rect">
            <a:avLst/>
          </a:prstGeom>
        </p:spPr>
        <p:txBody>
          <a:bodyPr wrap="square" anchor="ctr">
            <a:noAutofit/>
          </a:bodyPr>
          <a:lstStyle/>
          <a:p>
            <a:r>
              <a:rPr lang="en-GB" sz="1000" b="1" dirty="0">
                <a:latin typeface="Trebuchet MS" panose="020B0603020202020204" pitchFamily="34" charset="0"/>
              </a:rPr>
              <a:t>Estimated compliance estimated revenue in France &amp; Benelux, in €m, 2017-2025</a:t>
            </a:r>
            <a:endParaRPr lang="en-GB" sz="1000" b="1" baseline="30000" dirty="0">
              <a:latin typeface="Trebuchet MS" panose="020B0603020202020204" pitchFamily="34" charset="0"/>
            </a:endParaRPr>
          </a:p>
        </p:txBody>
      </p:sp>
      <p:sp>
        <p:nvSpPr>
          <p:cNvPr id="248" name="Rectangle 247">
            <a:extLst>
              <a:ext uri="{FF2B5EF4-FFF2-40B4-BE49-F238E27FC236}">
                <a16:creationId xmlns:a16="http://schemas.microsoft.com/office/drawing/2014/main" id="{4F9E61F9-311D-46D5-A160-1F7948CA264D}"/>
              </a:ext>
            </a:extLst>
          </p:cNvPr>
          <p:cNvSpPr/>
          <p:nvPr/>
        </p:nvSpPr>
        <p:spPr bwMode="auto">
          <a:xfrm>
            <a:off x="5042654" y="4523525"/>
            <a:ext cx="4764280" cy="1954154"/>
          </a:xfrm>
          <a:prstGeom prst="rect">
            <a:avLst/>
          </a:prstGeom>
          <a:solidFill>
            <a:srgbClr val="F2F2F2"/>
          </a:solidFill>
          <a:ln w="9525" cap="flat" cmpd="sng" algn="ctr">
            <a:no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marL="171450" marR="0" indent="-171450" defTabSz="914400" rtl="0" eaLnBrk="1" fontAlgn="base" latinLnBrk="0" hangingPunct="1">
              <a:lnSpc>
                <a:spcPct val="100000"/>
              </a:lnSpc>
              <a:spcBef>
                <a:spcPts val="600"/>
              </a:spcBef>
              <a:spcAft>
                <a:spcPct val="0"/>
              </a:spcAft>
              <a:buClr>
                <a:schemeClr val="tx1"/>
              </a:buClr>
              <a:buSzTx/>
              <a:buFont typeface="Arial" panose="020B0604020202020204" pitchFamily="34" charset="0"/>
              <a:buChar char="•"/>
              <a:tabLst/>
            </a:pPr>
            <a:r>
              <a:rPr kumimoji="0" lang="en-GB" sz="1000" b="0" i="0" u="none" strike="noStrike" cap="none" normalizeH="0" baseline="0" dirty="0">
                <a:ln>
                  <a:noFill/>
                </a:ln>
                <a:solidFill>
                  <a:schemeClr val="tx2"/>
                </a:solidFill>
                <a:effectLst/>
                <a:latin typeface="Trebuchet MS" panose="020B0603020202020204" pitchFamily="34" charset="0"/>
              </a:rPr>
              <a:t>BD&amp;A players</a:t>
            </a:r>
            <a:r>
              <a:rPr kumimoji="0" lang="en-GB" sz="1000" b="0" i="0" u="none" strike="noStrike" cap="none" normalizeH="0" baseline="0" dirty="0">
                <a:ln>
                  <a:noFill/>
                </a:ln>
                <a:solidFill>
                  <a:schemeClr val="tx1"/>
                </a:solidFill>
                <a:effectLst/>
                <a:latin typeface="Trebuchet MS" panose="020B0603020202020204" pitchFamily="34" charset="0"/>
              </a:rPr>
              <a:t> enjoy a </a:t>
            </a:r>
            <a:r>
              <a:rPr kumimoji="0" lang="en-GB" sz="1000" b="0" i="0" u="none" strike="noStrike" cap="none" normalizeH="0" baseline="0" dirty="0">
                <a:ln>
                  <a:noFill/>
                </a:ln>
                <a:solidFill>
                  <a:schemeClr val="tx2"/>
                </a:solidFill>
                <a:effectLst/>
                <a:latin typeface="Trebuchet MS" panose="020B0603020202020204" pitchFamily="34" charset="0"/>
              </a:rPr>
              <a:t>central</a:t>
            </a:r>
            <a:r>
              <a:rPr kumimoji="0" lang="en-GB" sz="1000" b="0" i="0" u="none" strike="noStrike" cap="none" normalizeH="0" baseline="0" dirty="0">
                <a:ln>
                  <a:noFill/>
                </a:ln>
                <a:solidFill>
                  <a:schemeClr val="tx1"/>
                </a:solidFill>
                <a:effectLst/>
                <a:latin typeface="Trebuchet MS" panose="020B0603020202020204" pitchFamily="34" charset="0"/>
              </a:rPr>
              <a:t> </a:t>
            </a:r>
            <a:r>
              <a:rPr kumimoji="0" lang="en-GB" sz="1000" b="0" i="0" u="none" strike="noStrike" cap="none" normalizeH="0" baseline="0" dirty="0">
                <a:ln>
                  <a:noFill/>
                </a:ln>
                <a:solidFill>
                  <a:schemeClr val="tx2"/>
                </a:solidFill>
                <a:effectLst/>
                <a:latin typeface="Trebuchet MS" panose="020B0603020202020204" pitchFamily="34" charset="0"/>
              </a:rPr>
              <a:t>position</a:t>
            </a:r>
            <a:r>
              <a:rPr kumimoji="0" lang="en-GB" sz="1000" b="0" i="0" u="none" strike="noStrike" cap="none" normalizeH="0" baseline="0" dirty="0">
                <a:ln>
                  <a:noFill/>
                </a:ln>
                <a:solidFill>
                  <a:schemeClr val="tx1"/>
                </a:solidFill>
                <a:effectLst/>
                <a:latin typeface="Trebuchet MS" panose="020B0603020202020204" pitchFamily="34" charset="0"/>
              </a:rPr>
              <a:t> enabling them to leverage partnerships with other players in the ecosystem to offer a </a:t>
            </a:r>
            <a:r>
              <a:rPr kumimoji="0" lang="en-GB" sz="1000" b="0" i="0" u="none" strike="noStrike" cap="none" normalizeH="0" baseline="0" dirty="0">
                <a:ln>
                  <a:noFill/>
                </a:ln>
                <a:effectLst/>
                <a:latin typeface="Trebuchet MS" panose="020B0603020202020204" pitchFamily="34" charset="0"/>
              </a:rPr>
              <a:t>comprehensive range of services and a </a:t>
            </a:r>
            <a:r>
              <a:rPr kumimoji="0" lang="en-GB" sz="1000" b="0" i="0" u="none" strike="noStrike" cap="none" normalizeH="0" baseline="0" dirty="0">
                <a:ln>
                  <a:noFill/>
                </a:ln>
                <a:solidFill>
                  <a:schemeClr val="tx2"/>
                </a:solidFill>
                <a:effectLst/>
                <a:latin typeface="Trebuchet MS" panose="020B0603020202020204" pitchFamily="34" charset="0"/>
              </a:rPr>
              <a:t>strong brand image reinforcing the trust of their customers (key argument in a market with sanctions from authorities)</a:t>
            </a:r>
          </a:p>
          <a:p>
            <a:pPr marL="171450" marR="0" indent="-171450" defTabSz="914400" rtl="0" eaLnBrk="1" fontAlgn="base" latinLnBrk="0" hangingPunct="1">
              <a:lnSpc>
                <a:spcPct val="100000"/>
              </a:lnSpc>
              <a:spcBef>
                <a:spcPts val="600"/>
              </a:spcBef>
              <a:spcAft>
                <a:spcPct val="0"/>
              </a:spcAft>
              <a:buClr>
                <a:schemeClr val="tx1"/>
              </a:buClr>
              <a:buSzTx/>
              <a:buFont typeface="Arial" panose="020B0604020202020204" pitchFamily="34" charset="0"/>
              <a:buChar char="•"/>
              <a:tabLst/>
            </a:pPr>
            <a:r>
              <a:rPr lang="en-GB" sz="1000" dirty="0">
                <a:latin typeface="Trebuchet MS" panose="020B0603020202020204" pitchFamily="34" charset="0"/>
              </a:rPr>
              <a:t>The development of partnerships with other players in the ecosystem allows </a:t>
            </a:r>
            <a:r>
              <a:rPr lang="en-GB" sz="1000" dirty="0" err="1">
                <a:solidFill>
                  <a:schemeClr val="tx2"/>
                </a:solidFill>
                <a:latin typeface="Trebuchet MS" panose="020B0603020202020204" pitchFamily="34" charset="0"/>
              </a:rPr>
              <a:t>Altares</a:t>
            </a:r>
            <a:r>
              <a:rPr lang="en-GB" sz="1000" dirty="0">
                <a:latin typeface="Trebuchet MS" panose="020B0603020202020204" pitchFamily="34" charset="0"/>
              </a:rPr>
              <a:t> to improve its services (e.g. connect with several screening players…)</a:t>
            </a:r>
          </a:p>
          <a:p>
            <a:pPr marL="171450" indent="-171450">
              <a:spcBef>
                <a:spcPts val="600"/>
              </a:spcBef>
              <a:buClr>
                <a:schemeClr val="tx1"/>
              </a:buClr>
              <a:buFont typeface="Arial" panose="020B0604020202020204" pitchFamily="34" charset="0"/>
              <a:buChar char="•"/>
            </a:pPr>
            <a:r>
              <a:rPr kumimoji="0" lang="en-GB" sz="1000" b="0" i="0" u="none" strike="noStrike" cap="none" normalizeH="0" baseline="0" dirty="0" err="1">
                <a:ln>
                  <a:noFill/>
                </a:ln>
                <a:solidFill>
                  <a:schemeClr val="tx2"/>
                </a:solidFill>
                <a:effectLst/>
                <a:latin typeface="Trebuchet MS" panose="020B0603020202020204" pitchFamily="34" charset="0"/>
              </a:rPr>
              <a:t>Altares</a:t>
            </a:r>
            <a:r>
              <a:rPr kumimoji="0" lang="en-GB" sz="1000" b="0" i="0" u="none" strike="noStrike" cap="none" normalizeH="0" baseline="0" dirty="0">
                <a:ln>
                  <a:noFill/>
                </a:ln>
                <a:solidFill>
                  <a:schemeClr val="tx2"/>
                </a:solidFill>
                <a:effectLst/>
                <a:latin typeface="Trebuchet MS" panose="020B0603020202020204" pitchFamily="34" charset="0"/>
              </a:rPr>
              <a:t> faces very few competition</a:t>
            </a:r>
            <a:r>
              <a:rPr kumimoji="0" lang="en-GB" sz="1000" b="0" i="0" u="none" strike="noStrike" cap="none" normalizeH="0" baseline="0" dirty="0">
                <a:ln>
                  <a:noFill/>
                </a:ln>
                <a:effectLst/>
                <a:latin typeface="Trebuchet MS" panose="020B0603020202020204" pitchFamily="34" charset="0"/>
              </a:rPr>
              <a:t>, especially regarding anti-corruption offer, </a:t>
            </a:r>
            <a:r>
              <a:rPr kumimoji="0" lang="en-US" sz="1000" b="0" i="0" u="none" strike="noStrike" cap="none" normalizeH="0" baseline="0" dirty="0">
                <a:ln>
                  <a:noFill/>
                </a:ln>
                <a:effectLst/>
                <a:latin typeface="Trebuchet MS" panose="020B0603020202020204" pitchFamily="34" charset="0"/>
              </a:rPr>
              <a:t>thanks to its first mover advantage on this relatively new market</a:t>
            </a:r>
          </a:p>
          <a:p>
            <a:pPr marL="171450" indent="-171450">
              <a:spcBef>
                <a:spcPts val="600"/>
              </a:spcBef>
              <a:buClr>
                <a:schemeClr val="tx1"/>
              </a:buClr>
              <a:buFont typeface="Arial" panose="020B0604020202020204" pitchFamily="34" charset="0"/>
              <a:buChar char="•"/>
            </a:pPr>
            <a:r>
              <a:rPr lang="en-GB" sz="1000" dirty="0" err="1">
                <a:solidFill>
                  <a:schemeClr val="tx2"/>
                </a:solidFill>
                <a:latin typeface="Trebuchet MS" panose="020B0603020202020204" pitchFamily="34" charset="0"/>
              </a:rPr>
              <a:t>Regtech</a:t>
            </a:r>
            <a:r>
              <a:rPr lang="en-GB" sz="1000" dirty="0">
                <a:solidFill>
                  <a:schemeClr val="tx2"/>
                </a:solidFill>
                <a:latin typeface="Trebuchet MS" panose="020B0603020202020204" pitchFamily="34" charset="0"/>
              </a:rPr>
              <a:t> </a:t>
            </a:r>
            <a:r>
              <a:rPr lang="en-GB" sz="1000" dirty="0">
                <a:latin typeface="Trebuchet MS" panose="020B0603020202020204" pitchFamily="34" charset="0"/>
              </a:rPr>
              <a:t>players mainly</a:t>
            </a:r>
            <a:r>
              <a:rPr lang="en-GB" sz="1000" dirty="0">
                <a:solidFill>
                  <a:schemeClr val="tx2"/>
                </a:solidFill>
                <a:latin typeface="Trebuchet MS" panose="020B0603020202020204" pitchFamily="34" charset="0"/>
              </a:rPr>
              <a:t> address financial institutions </a:t>
            </a:r>
            <a:r>
              <a:rPr lang="en-GB" sz="1000" dirty="0">
                <a:latin typeface="Trebuchet MS" panose="020B0603020202020204" pitchFamily="34" charset="0"/>
              </a:rPr>
              <a:t>with</a:t>
            </a:r>
            <a:r>
              <a:rPr lang="en-GB" sz="1000" dirty="0">
                <a:solidFill>
                  <a:schemeClr val="tx2"/>
                </a:solidFill>
                <a:latin typeface="Trebuchet MS" panose="020B0603020202020204" pitchFamily="34" charset="0"/>
              </a:rPr>
              <a:t> </a:t>
            </a:r>
            <a:r>
              <a:rPr lang="en-GB" sz="1000" dirty="0">
                <a:latin typeface="Trebuchet MS" panose="020B0603020202020204" pitchFamily="34" charset="0"/>
              </a:rPr>
              <a:t>AI-powered</a:t>
            </a:r>
            <a:r>
              <a:rPr lang="en-GB" sz="1000" dirty="0">
                <a:solidFill>
                  <a:schemeClr val="tx2"/>
                </a:solidFill>
                <a:latin typeface="Trebuchet MS" panose="020B0603020202020204" pitchFamily="34" charset="0"/>
              </a:rPr>
              <a:t> KYC </a:t>
            </a:r>
            <a:r>
              <a:rPr lang="en-GB" sz="1000" dirty="0">
                <a:latin typeface="Trebuchet MS" panose="020B0603020202020204" pitchFamily="34" charset="0"/>
              </a:rPr>
              <a:t>services regarding </a:t>
            </a:r>
            <a:r>
              <a:rPr lang="en-GB" sz="1000" dirty="0">
                <a:solidFill>
                  <a:schemeClr val="tx2"/>
                </a:solidFill>
                <a:latin typeface="Trebuchet MS" panose="020B0603020202020204" pitchFamily="34" charset="0"/>
              </a:rPr>
              <a:t>AML legislations</a:t>
            </a:r>
            <a:r>
              <a:rPr lang="en-GB" sz="1000" dirty="0">
                <a:latin typeface="Trebuchet MS" panose="020B0603020202020204" pitchFamily="34" charset="0"/>
              </a:rPr>
              <a:t> (e.g. transaction monitoring in real time)</a:t>
            </a:r>
            <a:endParaRPr kumimoji="0" lang="en-GB" sz="1000" i="0" u="none" strike="noStrike" cap="none" normalizeH="0" baseline="0" dirty="0">
              <a:ln>
                <a:noFill/>
              </a:ln>
              <a:effectLst/>
              <a:latin typeface="Trebuchet MS" panose="020B0603020202020204" pitchFamily="34" charset="0"/>
            </a:endParaRPr>
          </a:p>
        </p:txBody>
      </p:sp>
      <p:grpSp>
        <p:nvGrpSpPr>
          <p:cNvPr id="249" name="Groupe 123">
            <a:extLst>
              <a:ext uri="{FF2B5EF4-FFF2-40B4-BE49-F238E27FC236}">
                <a16:creationId xmlns:a16="http://schemas.microsoft.com/office/drawing/2014/main" id="{661FF738-EF94-4B04-A948-90C04739700A}"/>
              </a:ext>
            </a:extLst>
          </p:cNvPr>
          <p:cNvGrpSpPr/>
          <p:nvPr/>
        </p:nvGrpSpPr>
        <p:grpSpPr>
          <a:xfrm>
            <a:off x="7843824" y="3928886"/>
            <a:ext cx="423645" cy="190505"/>
            <a:chOff x="3327925" y="3492847"/>
            <a:chExt cx="423645" cy="190505"/>
          </a:xfrm>
        </p:grpSpPr>
        <p:cxnSp>
          <p:nvCxnSpPr>
            <p:cNvPr id="250" name="Connecteur droit avec flèche 124">
              <a:extLst>
                <a:ext uri="{FF2B5EF4-FFF2-40B4-BE49-F238E27FC236}">
                  <a16:creationId xmlns:a16="http://schemas.microsoft.com/office/drawing/2014/main" id="{20B4BC3D-7FEB-437B-B3DB-9C6957B270B5}"/>
                </a:ext>
              </a:extLst>
            </p:cNvPr>
            <p:cNvCxnSpPr>
              <a:cxnSpLocks/>
            </p:cNvCxnSpPr>
            <p:nvPr/>
          </p:nvCxnSpPr>
          <p:spPr bwMode="auto">
            <a:xfrm flipH="1">
              <a:off x="3327925" y="3593541"/>
              <a:ext cx="423645" cy="5471"/>
            </a:xfrm>
            <a:prstGeom prst="straightConnector1">
              <a:avLst/>
            </a:prstGeom>
            <a:solidFill>
              <a:schemeClr val="accent1"/>
            </a:solidFill>
            <a:ln w="9525" cap="flat" cmpd="sng" algn="ctr">
              <a:solidFill>
                <a:schemeClr val="tx2"/>
              </a:solidFill>
              <a:prstDash val="solid"/>
              <a:round/>
              <a:headEnd type="triangle"/>
              <a:tailEnd type="triangle"/>
            </a:ln>
            <a:effectLst/>
          </p:spPr>
        </p:cxnSp>
        <p:grpSp>
          <p:nvGrpSpPr>
            <p:cNvPr id="251" name="Groupe 127">
              <a:extLst>
                <a:ext uri="{FF2B5EF4-FFF2-40B4-BE49-F238E27FC236}">
                  <a16:creationId xmlns:a16="http://schemas.microsoft.com/office/drawing/2014/main" id="{33F41B53-4116-4555-A2C1-AD8E940F17B8}"/>
                </a:ext>
              </a:extLst>
            </p:cNvPr>
            <p:cNvGrpSpPr>
              <a:grpSpLocks noChangeAspect="1"/>
            </p:cNvGrpSpPr>
            <p:nvPr/>
          </p:nvGrpSpPr>
          <p:grpSpPr>
            <a:xfrm>
              <a:off x="3442990" y="3492847"/>
              <a:ext cx="193516" cy="190505"/>
              <a:chOff x="-724464" y="3766107"/>
              <a:chExt cx="217146" cy="213766"/>
            </a:xfrm>
          </p:grpSpPr>
          <p:sp>
            <p:nvSpPr>
              <p:cNvPr id="252" name="Ellipse 128">
                <a:extLst>
                  <a:ext uri="{FF2B5EF4-FFF2-40B4-BE49-F238E27FC236}">
                    <a16:creationId xmlns:a16="http://schemas.microsoft.com/office/drawing/2014/main" id="{C70C4FEF-D574-4927-B44E-9FD29F879320}"/>
                  </a:ext>
                </a:extLst>
              </p:cNvPr>
              <p:cNvSpPr/>
              <p:nvPr/>
            </p:nvSpPr>
            <p:spPr bwMode="auto">
              <a:xfrm>
                <a:off x="-724464" y="3766107"/>
                <a:ext cx="217146" cy="213766"/>
              </a:xfrm>
              <a:prstGeom prst="ellipse">
                <a:avLst/>
              </a:prstGeom>
              <a:solidFill>
                <a:schemeClr val="bg1"/>
              </a:solidFill>
              <a:ln w="317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253" name="Graphique 132">
                <a:extLst>
                  <a:ext uri="{FF2B5EF4-FFF2-40B4-BE49-F238E27FC236}">
                    <a16:creationId xmlns:a16="http://schemas.microsoft.com/office/drawing/2014/main" id="{B61326FF-EC85-4A2A-BB22-5832337AC28F}"/>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t="11892" b="32564"/>
              <a:stretch/>
            </p:blipFill>
            <p:spPr>
              <a:xfrm>
                <a:off x="-691765" y="3824794"/>
                <a:ext cx="151748" cy="106203"/>
              </a:xfrm>
              <a:prstGeom prst="rect">
                <a:avLst/>
              </a:prstGeom>
            </p:spPr>
          </p:pic>
        </p:grpSp>
      </p:grpSp>
      <p:sp>
        <p:nvSpPr>
          <p:cNvPr id="254" name="Rectangle 253">
            <a:extLst>
              <a:ext uri="{FF2B5EF4-FFF2-40B4-BE49-F238E27FC236}">
                <a16:creationId xmlns:a16="http://schemas.microsoft.com/office/drawing/2014/main" id="{6E7DB5F7-5997-4EF9-8AB1-43FDE90DA213}"/>
              </a:ext>
            </a:extLst>
          </p:cNvPr>
          <p:cNvSpPr/>
          <p:nvPr/>
        </p:nvSpPr>
        <p:spPr bwMode="auto">
          <a:xfrm>
            <a:off x="8165350" y="3832269"/>
            <a:ext cx="1530304"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i="1" u="none" strike="noStrike" cap="none" normalizeH="0" baseline="0">
                <a:ln>
                  <a:noFill/>
                </a:ln>
                <a:effectLst/>
                <a:latin typeface="Trebuchet MS" panose="020B0603020202020204" pitchFamily="34" charset="0"/>
              </a:rPr>
              <a:t>Potential partnerships</a:t>
            </a:r>
          </a:p>
        </p:txBody>
      </p:sp>
      <p:grpSp>
        <p:nvGrpSpPr>
          <p:cNvPr id="291" name="Groupe 290">
            <a:extLst>
              <a:ext uri="{FF2B5EF4-FFF2-40B4-BE49-F238E27FC236}">
                <a16:creationId xmlns:a16="http://schemas.microsoft.com/office/drawing/2014/main" id="{AB899DCA-049F-4177-A967-18DA7E8F3E15}"/>
              </a:ext>
            </a:extLst>
          </p:cNvPr>
          <p:cNvGrpSpPr/>
          <p:nvPr/>
        </p:nvGrpSpPr>
        <p:grpSpPr>
          <a:xfrm>
            <a:off x="8448150" y="-11528"/>
            <a:ext cx="1435548" cy="588143"/>
            <a:chOff x="8448150" y="-11528"/>
            <a:chExt cx="1435548" cy="588143"/>
          </a:xfrm>
        </p:grpSpPr>
        <p:sp>
          <p:nvSpPr>
            <p:cNvPr id="292" name="Rectangle : coins arrondis 199">
              <a:extLst>
                <a:ext uri="{FF2B5EF4-FFF2-40B4-BE49-F238E27FC236}">
                  <a16:creationId xmlns:a16="http://schemas.microsoft.com/office/drawing/2014/main" id="{C568D294-CB60-46DB-9617-13372F53DCEE}"/>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93" name="Rectangle : coins arrondis 200">
              <a:extLst>
                <a:ext uri="{FF2B5EF4-FFF2-40B4-BE49-F238E27FC236}">
                  <a16:creationId xmlns:a16="http://schemas.microsoft.com/office/drawing/2014/main" id="{002D3C69-5969-4ADF-B939-82521DC7E279}"/>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94" name="Rectangle : coins arrondis 201">
              <a:extLst>
                <a:ext uri="{FF2B5EF4-FFF2-40B4-BE49-F238E27FC236}">
                  <a16:creationId xmlns:a16="http://schemas.microsoft.com/office/drawing/2014/main" id="{0C35DF2E-788D-4B21-B7CE-1D345013BF86}"/>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95" name="ZoneTexte 18">
              <a:extLst>
                <a:ext uri="{FF2B5EF4-FFF2-40B4-BE49-F238E27FC236}">
                  <a16:creationId xmlns:a16="http://schemas.microsoft.com/office/drawing/2014/main" id="{7B475750-2ABA-4109-BF91-F1B659972F36}"/>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296" name="Graphique 128" descr="Jauge">
              <a:extLst>
                <a:ext uri="{FF2B5EF4-FFF2-40B4-BE49-F238E27FC236}">
                  <a16:creationId xmlns:a16="http://schemas.microsoft.com/office/drawing/2014/main" id="{4ED8D7B1-E04B-4639-8E06-DCF2156CC56D}"/>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553764" y="187516"/>
              <a:ext cx="234953" cy="218224"/>
            </a:xfrm>
            <a:prstGeom prst="rect">
              <a:avLst/>
            </a:prstGeom>
            <a:effectLst/>
          </p:spPr>
        </p:pic>
        <p:pic>
          <p:nvPicPr>
            <p:cNvPr id="297" name="Graphique 90" descr="Poignée de main">
              <a:extLst>
                <a:ext uri="{FF2B5EF4-FFF2-40B4-BE49-F238E27FC236}">
                  <a16:creationId xmlns:a16="http://schemas.microsoft.com/office/drawing/2014/main" id="{0C5580D1-24C3-405F-B2AE-22BDBAF26C9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960868" y="152880"/>
              <a:ext cx="256313" cy="287496"/>
            </a:xfrm>
            <a:prstGeom prst="rect">
              <a:avLst/>
            </a:prstGeom>
            <a:effectLst/>
          </p:spPr>
        </p:pic>
        <p:pic>
          <p:nvPicPr>
            <p:cNvPr id="298" name="Graphique 74" descr="Mégaphone">
              <a:extLst>
                <a:ext uri="{FF2B5EF4-FFF2-40B4-BE49-F238E27FC236}">
                  <a16:creationId xmlns:a16="http://schemas.microsoft.com/office/drawing/2014/main" id="{667DA5E5-A25A-4F04-81B4-7E68E94867E6}"/>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389331" y="181519"/>
              <a:ext cx="233011" cy="216420"/>
            </a:xfrm>
            <a:prstGeom prst="rect">
              <a:avLst/>
            </a:prstGeom>
            <a:effectLst/>
          </p:spPr>
        </p:pic>
        <p:pic>
          <p:nvPicPr>
            <p:cNvPr id="299" name="Picture 2" descr="Drapeau France">
              <a:extLst>
                <a:ext uri="{FF2B5EF4-FFF2-40B4-BE49-F238E27FC236}">
                  <a16:creationId xmlns:a16="http://schemas.microsoft.com/office/drawing/2014/main" id="{B10482A3-D88F-45B6-9459-21C2116FECDE}"/>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300" name="Picture 2" descr="5 ft x 3 ft 150 x 90 cm-DRAPEAU BELGE Belgique 100% Polyester ...">
              <a:extLst>
                <a:ext uri="{FF2B5EF4-FFF2-40B4-BE49-F238E27FC236}">
                  <a16:creationId xmlns:a16="http://schemas.microsoft.com/office/drawing/2014/main" id="{627B10AF-7528-4856-BA27-270B3755C23D}"/>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301" name="Picture 2 - 1" descr="Drapeau des Pays-Bas — Wikipédia">
              <a:extLst>
                <a:ext uri="{FF2B5EF4-FFF2-40B4-BE49-F238E27FC236}">
                  <a16:creationId xmlns:a16="http://schemas.microsoft.com/office/drawing/2014/main" id="{E597160D-9FDB-47B8-8B07-E44E72E98E43}"/>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302" name="Picture 2 - 2" descr="Drapeau du Luxembourg">
              <a:extLst>
                <a:ext uri="{FF2B5EF4-FFF2-40B4-BE49-F238E27FC236}">
                  <a16:creationId xmlns:a16="http://schemas.microsoft.com/office/drawing/2014/main" id="{0541CE59-BA43-48D4-9EC0-38377ADCC43A}"/>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306" name="ZoneTexte 18">
              <a:extLst>
                <a:ext uri="{FF2B5EF4-FFF2-40B4-BE49-F238E27FC236}">
                  <a16:creationId xmlns:a16="http://schemas.microsoft.com/office/drawing/2014/main" id="{96533D77-A89D-44D0-BC73-00F1ED52F1E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sp>
        <p:nvSpPr>
          <p:cNvPr id="223" name="Rectangle 222">
            <a:extLst>
              <a:ext uri="{FF2B5EF4-FFF2-40B4-BE49-F238E27FC236}">
                <a16:creationId xmlns:a16="http://schemas.microsoft.com/office/drawing/2014/main" id="{B647039F-31AC-4D7B-9617-CD1759DA0825}"/>
              </a:ext>
            </a:extLst>
          </p:cNvPr>
          <p:cNvSpPr/>
          <p:nvPr/>
        </p:nvSpPr>
        <p:spPr bwMode="auto">
          <a:xfrm>
            <a:off x="6638235" y="1470495"/>
            <a:ext cx="1503906" cy="18351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ts val="1100"/>
              </a:lnSpc>
            </a:pPr>
            <a:r>
              <a:rPr lang="en-GB" sz="900" b="1">
                <a:solidFill>
                  <a:schemeClr val="tx2"/>
                </a:solidFill>
                <a:latin typeface="Trebuchet MS" panose="020B0603020202020204" pitchFamily="34" charset="0"/>
              </a:rPr>
              <a:t>Data enrichment players</a:t>
            </a:r>
          </a:p>
        </p:txBody>
      </p:sp>
      <p:sp>
        <p:nvSpPr>
          <p:cNvPr id="224" name="Rectangle 223">
            <a:extLst>
              <a:ext uri="{FF2B5EF4-FFF2-40B4-BE49-F238E27FC236}">
                <a16:creationId xmlns:a16="http://schemas.microsoft.com/office/drawing/2014/main" id="{599B4266-6415-47D4-B68E-AEF8DB1B5988}"/>
              </a:ext>
            </a:extLst>
          </p:cNvPr>
          <p:cNvSpPr/>
          <p:nvPr/>
        </p:nvSpPr>
        <p:spPr bwMode="auto">
          <a:xfrm>
            <a:off x="5226483" y="1470495"/>
            <a:ext cx="1367187" cy="18351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900" b="1">
                <a:solidFill>
                  <a:schemeClr val="tx2"/>
                </a:solidFill>
                <a:latin typeface="Trebuchet MS" panose="020B0603020202020204" pitchFamily="34" charset="0"/>
              </a:rPr>
              <a:t>Screening players</a:t>
            </a:r>
          </a:p>
        </p:txBody>
      </p:sp>
      <p:sp>
        <p:nvSpPr>
          <p:cNvPr id="225" name="Rectangle 224">
            <a:extLst>
              <a:ext uri="{FF2B5EF4-FFF2-40B4-BE49-F238E27FC236}">
                <a16:creationId xmlns:a16="http://schemas.microsoft.com/office/drawing/2014/main" id="{4CA5D0D9-750A-44A8-A02E-13A1E9DEA31F}"/>
              </a:ext>
            </a:extLst>
          </p:cNvPr>
          <p:cNvSpPr/>
          <p:nvPr/>
        </p:nvSpPr>
        <p:spPr bwMode="auto">
          <a:xfrm>
            <a:off x="8186703" y="1470495"/>
            <a:ext cx="1367187" cy="18351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900" b="1">
                <a:solidFill>
                  <a:schemeClr val="tx2"/>
                </a:solidFill>
                <a:latin typeface="Trebuchet MS" panose="020B0603020202020204" pitchFamily="34" charset="0"/>
              </a:rPr>
              <a:t>Consulting players</a:t>
            </a:r>
          </a:p>
        </p:txBody>
      </p:sp>
      <p:grpSp>
        <p:nvGrpSpPr>
          <p:cNvPr id="226" name="Groupe 225">
            <a:extLst>
              <a:ext uri="{FF2B5EF4-FFF2-40B4-BE49-F238E27FC236}">
                <a16:creationId xmlns:a16="http://schemas.microsoft.com/office/drawing/2014/main" id="{81B16E46-A2C4-437F-A32F-2A21509A2F8E}"/>
              </a:ext>
            </a:extLst>
          </p:cNvPr>
          <p:cNvGrpSpPr/>
          <p:nvPr/>
        </p:nvGrpSpPr>
        <p:grpSpPr>
          <a:xfrm>
            <a:off x="6843982" y="2404760"/>
            <a:ext cx="1127823" cy="867788"/>
            <a:chOff x="5770252" y="1801474"/>
            <a:chExt cx="1150492" cy="999418"/>
          </a:xfrm>
        </p:grpSpPr>
        <p:sp>
          <p:nvSpPr>
            <p:cNvPr id="227" name="Ellipse 130">
              <a:extLst>
                <a:ext uri="{FF2B5EF4-FFF2-40B4-BE49-F238E27FC236}">
                  <a16:creationId xmlns:a16="http://schemas.microsoft.com/office/drawing/2014/main" id="{8581ACF1-3446-47C2-B9CE-7FFADC65EC59}"/>
                </a:ext>
              </a:extLst>
            </p:cNvPr>
            <p:cNvSpPr>
              <a:spLocks/>
            </p:cNvSpPr>
            <p:nvPr/>
          </p:nvSpPr>
          <p:spPr bwMode="auto">
            <a:xfrm>
              <a:off x="5770252" y="1801474"/>
              <a:ext cx="1150492" cy="999418"/>
            </a:xfrm>
            <a:prstGeom prst="roundRect">
              <a:avLst/>
            </a:prstGeom>
            <a:solidFill>
              <a:schemeClr val="bg1"/>
            </a:solid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a:ln>
                  <a:noFill/>
                </a:ln>
                <a:solidFill>
                  <a:schemeClr val="tx1"/>
                </a:solidFill>
                <a:effectLst/>
                <a:latin typeface="Trebuchet MS" pitchFamily="34" charset="0"/>
              </a:endParaRPr>
            </a:p>
          </p:txBody>
        </p:sp>
        <p:pic>
          <p:nvPicPr>
            <p:cNvPr id="228" name="Picture 40" descr="A close up of a sign&#10;&#10;Description automatically generated">
              <a:extLst>
                <a:ext uri="{FF2B5EF4-FFF2-40B4-BE49-F238E27FC236}">
                  <a16:creationId xmlns:a16="http://schemas.microsoft.com/office/drawing/2014/main" id="{24C143FA-74A6-4EA9-8DAD-5FD13D56F3FF}"/>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5863865" y="2224222"/>
              <a:ext cx="465727" cy="299228"/>
            </a:xfrm>
            <a:prstGeom prst="rect">
              <a:avLst/>
            </a:prstGeom>
          </p:spPr>
        </p:pic>
        <p:sp>
          <p:nvSpPr>
            <p:cNvPr id="229" name="Rectangle 228">
              <a:extLst>
                <a:ext uri="{FF2B5EF4-FFF2-40B4-BE49-F238E27FC236}">
                  <a16:creationId xmlns:a16="http://schemas.microsoft.com/office/drawing/2014/main" id="{0F0E7D5F-FC22-4ECE-8438-BE231A815C0F}"/>
                </a:ext>
              </a:extLst>
            </p:cNvPr>
            <p:cNvSpPr/>
            <p:nvPr/>
          </p:nvSpPr>
          <p:spPr bwMode="auto">
            <a:xfrm>
              <a:off x="5916830" y="1910763"/>
              <a:ext cx="857336" cy="171056"/>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i="1">
                  <a:solidFill>
                    <a:schemeClr val="tx2"/>
                  </a:solidFill>
                  <a:latin typeface="Trebuchet MS" pitchFamily="34" charset="0"/>
                </a:rPr>
                <a:t>BD&amp;A incumbents</a:t>
              </a:r>
              <a:endParaRPr kumimoji="0" lang="en-GB" sz="900" b="1" i="1" u="none" strike="noStrike" cap="none" normalizeH="0" baseline="0">
                <a:ln>
                  <a:noFill/>
                </a:ln>
                <a:solidFill>
                  <a:schemeClr val="tx2"/>
                </a:solidFill>
                <a:effectLst/>
                <a:latin typeface="Trebuchet MS" pitchFamily="34" charset="0"/>
              </a:endParaRPr>
            </a:p>
          </p:txBody>
        </p:sp>
        <p:pic>
          <p:nvPicPr>
            <p:cNvPr id="230" name="Picture 2" descr="RÃ©sultat de recherche d'images pour &quot;bureau van dijk&quot;">
              <a:extLst>
                <a:ext uri="{FF2B5EF4-FFF2-40B4-BE49-F238E27FC236}">
                  <a16:creationId xmlns:a16="http://schemas.microsoft.com/office/drawing/2014/main" id="{5CF72F01-BDD9-452D-B066-EE07B421E13D}"/>
                </a:ext>
              </a:extLst>
            </p:cNvPr>
            <p:cNvPicPr>
              <a:picLocks noChangeAspect="1" noChangeArrowheads="1"/>
            </p:cNvPicPr>
            <p:nvPr/>
          </p:nvPicPr>
          <p:blipFill>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94384" y="2390334"/>
              <a:ext cx="522617" cy="2543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6" name="Groupe 235">
            <a:extLst>
              <a:ext uri="{FF2B5EF4-FFF2-40B4-BE49-F238E27FC236}">
                <a16:creationId xmlns:a16="http://schemas.microsoft.com/office/drawing/2014/main" id="{6BA9B9C0-8A13-4BEB-BDF8-41136D87F4FA}"/>
              </a:ext>
            </a:extLst>
          </p:cNvPr>
          <p:cNvGrpSpPr/>
          <p:nvPr/>
        </p:nvGrpSpPr>
        <p:grpSpPr>
          <a:xfrm>
            <a:off x="8335391" y="2404759"/>
            <a:ext cx="1172206" cy="877945"/>
            <a:chOff x="5777042" y="3623497"/>
            <a:chExt cx="1195767" cy="1011113"/>
          </a:xfrm>
        </p:grpSpPr>
        <p:sp>
          <p:nvSpPr>
            <p:cNvPr id="237" name="Ellipse 4132">
              <a:extLst>
                <a:ext uri="{FF2B5EF4-FFF2-40B4-BE49-F238E27FC236}">
                  <a16:creationId xmlns:a16="http://schemas.microsoft.com/office/drawing/2014/main" id="{A855E23F-0231-42A6-B8F3-CF543432D0B5}"/>
                </a:ext>
              </a:extLst>
            </p:cNvPr>
            <p:cNvSpPr/>
            <p:nvPr/>
          </p:nvSpPr>
          <p:spPr bwMode="auto">
            <a:xfrm>
              <a:off x="5798925" y="3623497"/>
              <a:ext cx="1152000" cy="1011113"/>
            </a:xfrm>
            <a:prstGeom prst="roundRect">
              <a:avLst/>
            </a:prstGeom>
            <a:solidFill>
              <a:schemeClr val="bg1"/>
            </a:solidFill>
            <a:ln w="9525" cap="flat" cmpd="sng" algn="ctr">
              <a:solidFill>
                <a:srgbClr val="00206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a:ln>
                  <a:noFill/>
                </a:ln>
                <a:solidFill>
                  <a:schemeClr val="tx1"/>
                </a:solidFill>
                <a:effectLst/>
                <a:latin typeface="Trebuchet MS" pitchFamily="34" charset="0"/>
              </a:endParaRPr>
            </a:p>
          </p:txBody>
        </p:sp>
        <p:pic>
          <p:nvPicPr>
            <p:cNvPr id="238" name="Picture 5" descr="RÃ©sultat de recherche d'images pour &quot;deloitte&quot;">
              <a:extLst>
                <a:ext uri="{FF2B5EF4-FFF2-40B4-BE49-F238E27FC236}">
                  <a16:creationId xmlns:a16="http://schemas.microsoft.com/office/drawing/2014/main" id="{5256332B-DEC1-4B7F-B6B5-30E54ED07835}"/>
                </a:ext>
              </a:extLst>
            </p:cNvPr>
            <p:cNvPicPr>
              <a:picLocks noChangeAspect="1" noChangeArrowheads="1"/>
            </p:cNvPicPr>
            <p:nvPr/>
          </p:nvPicPr>
          <p:blipFill>
            <a:blip r:embed="rId2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117208" y="4469598"/>
              <a:ext cx="525491" cy="98277"/>
            </a:xfrm>
            <a:prstGeom prst="rect">
              <a:avLst/>
            </a:prstGeom>
            <a:noFill/>
            <a:extLst>
              <a:ext uri="{909E8E84-426E-40DD-AFC4-6F175D3DCCD1}">
                <a14:hiddenFill xmlns:a14="http://schemas.microsoft.com/office/drawing/2010/main">
                  <a:solidFill>
                    <a:srgbClr val="FFFFFF"/>
                  </a:solidFill>
                </a14:hiddenFill>
              </a:ext>
            </a:extLst>
          </p:spPr>
        </p:pic>
        <p:pic>
          <p:nvPicPr>
            <p:cNvPr id="239" name="Picture 26" descr="A close up of a sign&#10;&#10;Description automatically generated">
              <a:extLst>
                <a:ext uri="{FF2B5EF4-FFF2-40B4-BE49-F238E27FC236}">
                  <a16:creationId xmlns:a16="http://schemas.microsoft.com/office/drawing/2014/main" id="{B8121987-EB5B-4B31-B65B-3E3573E1E84C}"/>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948107" y="4236907"/>
              <a:ext cx="479684" cy="198725"/>
            </a:xfrm>
            <a:prstGeom prst="rect">
              <a:avLst/>
            </a:prstGeom>
          </p:spPr>
        </p:pic>
        <p:sp>
          <p:nvSpPr>
            <p:cNvPr id="240" name="Rectangle 239">
              <a:extLst>
                <a:ext uri="{FF2B5EF4-FFF2-40B4-BE49-F238E27FC236}">
                  <a16:creationId xmlns:a16="http://schemas.microsoft.com/office/drawing/2014/main" id="{47E99B7E-CAF0-4089-8DA1-DDCD634DA6C9}"/>
                </a:ext>
              </a:extLst>
            </p:cNvPr>
            <p:cNvSpPr/>
            <p:nvPr/>
          </p:nvSpPr>
          <p:spPr bwMode="auto">
            <a:xfrm>
              <a:off x="5777042" y="3735863"/>
              <a:ext cx="1195767"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i="1">
                  <a:latin typeface="Trebuchet MS" pitchFamily="34" charset="0"/>
                </a:rPr>
                <a:t>Specialized compliance consulting players</a:t>
              </a:r>
              <a:endParaRPr kumimoji="0" lang="en-GB" sz="900" b="1" i="1" u="none" strike="noStrike" cap="none" normalizeH="0" baseline="0">
                <a:ln>
                  <a:noFill/>
                </a:ln>
                <a:effectLst/>
                <a:latin typeface="Trebuchet MS" pitchFamily="34" charset="0"/>
              </a:endParaRPr>
            </a:p>
          </p:txBody>
        </p:sp>
      </p:grpSp>
      <p:grpSp>
        <p:nvGrpSpPr>
          <p:cNvPr id="241" name="Groupe 240">
            <a:extLst>
              <a:ext uri="{FF2B5EF4-FFF2-40B4-BE49-F238E27FC236}">
                <a16:creationId xmlns:a16="http://schemas.microsoft.com/office/drawing/2014/main" id="{5D089BA8-0980-465F-A8D2-57643A2CE777}"/>
              </a:ext>
            </a:extLst>
          </p:cNvPr>
          <p:cNvGrpSpPr/>
          <p:nvPr/>
        </p:nvGrpSpPr>
        <p:grpSpPr>
          <a:xfrm>
            <a:off x="5353675" y="3598654"/>
            <a:ext cx="1528330" cy="588427"/>
            <a:chOff x="6581544" y="3015316"/>
            <a:chExt cx="1559050" cy="508972"/>
          </a:xfrm>
        </p:grpSpPr>
        <p:sp>
          <p:nvSpPr>
            <p:cNvPr id="242" name="Ellipse 143">
              <a:extLst>
                <a:ext uri="{FF2B5EF4-FFF2-40B4-BE49-F238E27FC236}">
                  <a16:creationId xmlns:a16="http://schemas.microsoft.com/office/drawing/2014/main" id="{D6175021-0DDD-49E5-8A1C-1537E250095A}"/>
                </a:ext>
              </a:extLst>
            </p:cNvPr>
            <p:cNvSpPr/>
            <p:nvPr/>
          </p:nvSpPr>
          <p:spPr bwMode="auto">
            <a:xfrm>
              <a:off x="6581544" y="3165026"/>
              <a:ext cx="1518825" cy="359262"/>
            </a:xfrm>
            <a:prstGeom prst="roundRect">
              <a:avLst/>
            </a:prstGeom>
            <a:solidFill>
              <a:schemeClr val="bg1"/>
            </a:solidFill>
            <a:ln w="9525" cap="flat" cmpd="sng" algn="ctr">
              <a:solidFill>
                <a:srgbClr val="C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a:ln>
                  <a:noFill/>
                </a:ln>
                <a:solidFill>
                  <a:schemeClr val="tx1"/>
                </a:solidFill>
                <a:effectLst/>
                <a:latin typeface="Trebuchet MS" pitchFamily="34" charset="0"/>
              </a:endParaRPr>
            </a:p>
          </p:txBody>
        </p:sp>
        <p:pic>
          <p:nvPicPr>
            <p:cNvPr id="243" name="Picture 12" descr="header-logo">
              <a:extLst>
                <a:ext uri="{FF2B5EF4-FFF2-40B4-BE49-F238E27FC236}">
                  <a16:creationId xmlns:a16="http://schemas.microsoft.com/office/drawing/2014/main" id="{0CD3C3A8-8E6F-4806-AEAF-AC3D56971C25}"/>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6643372" y="3311388"/>
              <a:ext cx="389172" cy="174665"/>
            </a:xfrm>
            <a:prstGeom prst="rect">
              <a:avLst/>
            </a:prstGeom>
            <a:noFill/>
            <a:extLst>
              <a:ext uri="{909E8E84-426E-40DD-AFC4-6F175D3DCCD1}">
                <a14:hiddenFill xmlns:a14="http://schemas.microsoft.com/office/drawing/2010/main">
                  <a:solidFill>
                    <a:srgbClr val="FFFFFF"/>
                  </a:solidFill>
                </a14:hiddenFill>
              </a:ext>
            </a:extLst>
          </p:spPr>
        </p:pic>
        <p:pic>
          <p:nvPicPr>
            <p:cNvPr id="244" name="Picture 4" descr="RÃ©sultat de recherche d'images pour &quot;smartkyc&quot;">
              <a:extLst>
                <a:ext uri="{FF2B5EF4-FFF2-40B4-BE49-F238E27FC236}">
                  <a16:creationId xmlns:a16="http://schemas.microsoft.com/office/drawing/2014/main" id="{443EA869-AB74-4EBF-AFC0-E98EDC108BAD}"/>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7513402" y="3353936"/>
              <a:ext cx="567845" cy="80990"/>
            </a:xfrm>
            <a:prstGeom prst="rect">
              <a:avLst/>
            </a:prstGeom>
            <a:noFill/>
            <a:extLst>
              <a:ext uri="{909E8E84-426E-40DD-AFC4-6F175D3DCCD1}">
                <a14:hiddenFill xmlns:a14="http://schemas.microsoft.com/office/drawing/2010/main">
                  <a:solidFill>
                    <a:srgbClr val="FFFFFF"/>
                  </a:solidFill>
                </a14:hiddenFill>
              </a:ext>
            </a:extLst>
          </p:spPr>
        </p:pic>
        <p:pic>
          <p:nvPicPr>
            <p:cNvPr id="245" name="Picture 10" descr="RÃ©sultat de recherche d'images pour &quot;vialink&quot;">
              <a:extLst>
                <a:ext uri="{FF2B5EF4-FFF2-40B4-BE49-F238E27FC236}">
                  <a16:creationId xmlns:a16="http://schemas.microsoft.com/office/drawing/2014/main" id="{C8599CEB-C1EE-443F-B38C-45900E1EF40D}"/>
                </a:ext>
              </a:extLst>
            </p:cNvPr>
            <p:cNvPicPr>
              <a:picLocks noChangeAspect="1" noChangeArrowheads="1"/>
            </p:cNvPicPr>
            <p:nvPr/>
          </p:nvPicPr>
          <p:blipFill rotWithShape="1">
            <a:blip r:embed="rId33">
              <a:clrChange>
                <a:clrFrom>
                  <a:srgbClr val="FFFFFF"/>
                </a:clrFrom>
                <a:clrTo>
                  <a:srgbClr val="FFFFFF">
                    <a:alpha val="0"/>
                  </a:srgbClr>
                </a:clrTo>
              </a:clrChange>
              <a:extLst>
                <a:ext uri="{28A0092B-C50C-407E-A947-70E740481C1C}">
                  <a14:useLocalDpi xmlns:a14="http://schemas.microsoft.com/office/drawing/2010/main" val="0"/>
                </a:ext>
              </a:extLst>
            </a:blip>
            <a:srcRect l="11999" t="32331" r="6638" b="32688"/>
            <a:stretch/>
          </p:blipFill>
          <p:spPr bwMode="auto">
            <a:xfrm>
              <a:off x="7094372" y="3273853"/>
              <a:ext cx="493864" cy="212334"/>
            </a:xfrm>
            <a:prstGeom prst="rect">
              <a:avLst/>
            </a:prstGeom>
            <a:noFill/>
            <a:extLst>
              <a:ext uri="{909E8E84-426E-40DD-AFC4-6F175D3DCCD1}">
                <a14:hiddenFill xmlns:a14="http://schemas.microsoft.com/office/drawing/2010/main">
                  <a:solidFill>
                    <a:srgbClr val="FFFFFF"/>
                  </a:solidFill>
                </a14:hiddenFill>
              </a:ext>
            </a:extLst>
          </p:spPr>
        </p:pic>
        <p:sp>
          <p:nvSpPr>
            <p:cNvPr id="246" name="Rectangle 245">
              <a:extLst>
                <a:ext uri="{FF2B5EF4-FFF2-40B4-BE49-F238E27FC236}">
                  <a16:creationId xmlns:a16="http://schemas.microsoft.com/office/drawing/2014/main" id="{567F3135-D06F-4B1E-9CAD-65383C39E14D}"/>
                </a:ext>
              </a:extLst>
            </p:cNvPr>
            <p:cNvSpPr/>
            <p:nvPr/>
          </p:nvSpPr>
          <p:spPr bwMode="auto">
            <a:xfrm>
              <a:off x="6621769" y="3015316"/>
              <a:ext cx="1518825"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i="1" err="1">
                  <a:latin typeface="Trebuchet MS" pitchFamily="34" charset="0"/>
                </a:rPr>
                <a:t>RegTech</a:t>
              </a:r>
              <a:r>
                <a:rPr lang="en-GB" sz="900" b="1" i="1">
                  <a:latin typeface="Trebuchet MS" pitchFamily="34" charset="0"/>
                </a:rPr>
                <a:t> players</a:t>
              </a:r>
              <a:endParaRPr kumimoji="0" lang="en-GB" sz="900" b="1" i="1" u="none" strike="noStrike" cap="none" normalizeH="0" baseline="0">
                <a:ln>
                  <a:noFill/>
                </a:ln>
                <a:effectLst/>
                <a:latin typeface="Trebuchet MS" pitchFamily="34" charset="0"/>
              </a:endParaRPr>
            </a:p>
          </p:txBody>
        </p:sp>
      </p:grpSp>
      <p:grpSp>
        <p:nvGrpSpPr>
          <p:cNvPr id="277" name="Groupe 123">
            <a:extLst>
              <a:ext uri="{FF2B5EF4-FFF2-40B4-BE49-F238E27FC236}">
                <a16:creationId xmlns:a16="http://schemas.microsoft.com/office/drawing/2014/main" id="{4A413CCB-B16B-450E-B694-A8E8A48780AA}"/>
              </a:ext>
            </a:extLst>
          </p:cNvPr>
          <p:cNvGrpSpPr/>
          <p:nvPr/>
        </p:nvGrpSpPr>
        <p:grpSpPr>
          <a:xfrm rot="7208654">
            <a:off x="8061883" y="2674533"/>
            <a:ext cx="184921" cy="385038"/>
            <a:chOff x="3212091" y="3416085"/>
            <a:chExt cx="193516" cy="475263"/>
          </a:xfrm>
        </p:grpSpPr>
        <p:cxnSp>
          <p:nvCxnSpPr>
            <p:cNvPr id="278" name="Connecteur droit avec flèche 124">
              <a:extLst>
                <a:ext uri="{FF2B5EF4-FFF2-40B4-BE49-F238E27FC236}">
                  <a16:creationId xmlns:a16="http://schemas.microsoft.com/office/drawing/2014/main" id="{979F6044-21F6-4BA8-8813-6B79D81677BB}"/>
                </a:ext>
              </a:extLst>
            </p:cNvPr>
            <p:cNvCxnSpPr>
              <a:cxnSpLocks/>
            </p:cNvCxnSpPr>
            <p:nvPr/>
          </p:nvCxnSpPr>
          <p:spPr bwMode="auto">
            <a:xfrm rot="14391346">
              <a:off x="3050638" y="3651060"/>
              <a:ext cx="475263" cy="5314"/>
            </a:xfrm>
            <a:prstGeom prst="straightConnector1">
              <a:avLst/>
            </a:prstGeom>
            <a:solidFill>
              <a:schemeClr val="accent1"/>
            </a:solidFill>
            <a:ln w="9525" cap="flat" cmpd="sng" algn="ctr">
              <a:solidFill>
                <a:schemeClr val="tx2"/>
              </a:solidFill>
              <a:prstDash val="solid"/>
              <a:round/>
              <a:headEnd type="triangle"/>
              <a:tailEnd type="triangle"/>
            </a:ln>
            <a:effectLst/>
          </p:spPr>
        </p:cxnSp>
        <p:grpSp>
          <p:nvGrpSpPr>
            <p:cNvPr id="279" name="Groupe 127">
              <a:extLst>
                <a:ext uri="{FF2B5EF4-FFF2-40B4-BE49-F238E27FC236}">
                  <a16:creationId xmlns:a16="http://schemas.microsoft.com/office/drawing/2014/main" id="{1CDE70C5-7A68-470C-84E8-0A3B73BCE2C7}"/>
                </a:ext>
              </a:extLst>
            </p:cNvPr>
            <p:cNvGrpSpPr>
              <a:grpSpLocks noChangeAspect="1"/>
            </p:cNvGrpSpPr>
            <p:nvPr/>
          </p:nvGrpSpPr>
          <p:grpSpPr>
            <a:xfrm>
              <a:off x="3212091" y="3551727"/>
              <a:ext cx="193516" cy="190506"/>
              <a:chOff x="-983558" y="3832174"/>
              <a:chExt cx="217146" cy="213767"/>
            </a:xfrm>
          </p:grpSpPr>
          <p:sp>
            <p:nvSpPr>
              <p:cNvPr id="280" name="Ellipse 128">
                <a:extLst>
                  <a:ext uri="{FF2B5EF4-FFF2-40B4-BE49-F238E27FC236}">
                    <a16:creationId xmlns:a16="http://schemas.microsoft.com/office/drawing/2014/main" id="{DB6F4D24-B879-4077-8B38-003B291E0E59}"/>
                  </a:ext>
                </a:extLst>
              </p:cNvPr>
              <p:cNvSpPr/>
              <p:nvPr/>
            </p:nvSpPr>
            <p:spPr bwMode="auto">
              <a:xfrm>
                <a:off x="-983558" y="3832174"/>
                <a:ext cx="217146" cy="213767"/>
              </a:xfrm>
              <a:prstGeom prst="ellipse">
                <a:avLst/>
              </a:prstGeom>
              <a:solidFill>
                <a:schemeClr val="bg1"/>
              </a:solidFill>
              <a:ln w="317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p:txBody>
          </p:sp>
          <p:pic>
            <p:nvPicPr>
              <p:cNvPr id="281" name="Graphique 132">
                <a:extLst>
                  <a:ext uri="{FF2B5EF4-FFF2-40B4-BE49-F238E27FC236}">
                    <a16:creationId xmlns:a16="http://schemas.microsoft.com/office/drawing/2014/main" id="{AAC7A583-2D62-4420-8473-73EFD7EEC914}"/>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t="11892" b="32564"/>
              <a:stretch/>
            </p:blipFill>
            <p:spPr>
              <a:xfrm rot="14391346">
                <a:off x="-950855" y="3890868"/>
                <a:ext cx="151749" cy="106202"/>
              </a:xfrm>
              <a:prstGeom prst="rect">
                <a:avLst/>
              </a:prstGeom>
            </p:spPr>
          </p:pic>
        </p:grpSp>
      </p:grpSp>
      <p:grpSp>
        <p:nvGrpSpPr>
          <p:cNvPr id="6" name="Groupe 5">
            <a:extLst>
              <a:ext uri="{FF2B5EF4-FFF2-40B4-BE49-F238E27FC236}">
                <a16:creationId xmlns:a16="http://schemas.microsoft.com/office/drawing/2014/main" id="{CA1E8A65-F822-45A3-A8E1-FDB2EBE17828}"/>
              </a:ext>
            </a:extLst>
          </p:cNvPr>
          <p:cNvGrpSpPr/>
          <p:nvPr/>
        </p:nvGrpSpPr>
        <p:grpSpPr>
          <a:xfrm>
            <a:off x="5305851" y="2402445"/>
            <a:ext cx="1174544" cy="883518"/>
            <a:chOff x="9961343" y="2609085"/>
            <a:chExt cx="1198153" cy="764216"/>
          </a:xfrm>
        </p:grpSpPr>
        <p:grpSp>
          <p:nvGrpSpPr>
            <p:cNvPr id="231" name="Groupe 230">
              <a:extLst>
                <a:ext uri="{FF2B5EF4-FFF2-40B4-BE49-F238E27FC236}">
                  <a16:creationId xmlns:a16="http://schemas.microsoft.com/office/drawing/2014/main" id="{D8AC9D76-9962-49B5-9052-8A1AA73F4180}"/>
                </a:ext>
              </a:extLst>
            </p:cNvPr>
            <p:cNvGrpSpPr/>
            <p:nvPr/>
          </p:nvGrpSpPr>
          <p:grpSpPr>
            <a:xfrm>
              <a:off x="9961343" y="2609085"/>
              <a:ext cx="1198153" cy="764216"/>
              <a:chOff x="6892599" y="1888165"/>
              <a:chExt cx="1198153" cy="1017533"/>
            </a:xfrm>
          </p:grpSpPr>
          <p:sp>
            <p:nvSpPr>
              <p:cNvPr id="232" name="Ellipse 129">
                <a:extLst>
                  <a:ext uri="{FF2B5EF4-FFF2-40B4-BE49-F238E27FC236}">
                    <a16:creationId xmlns:a16="http://schemas.microsoft.com/office/drawing/2014/main" id="{A8314D43-926A-4941-B57A-59AE321A99DE}"/>
                  </a:ext>
                </a:extLst>
              </p:cNvPr>
              <p:cNvSpPr/>
              <p:nvPr/>
            </p:nvSpPr>
            <p:spPr bwMode="auto">
              <a:xfrm>
                <a:off x="6938752" y="1888165"/>
                <a:ext cx="1152000" cy="1017533"/>
              </a:xfrm>
              <a:prstGeom prst="roundRect">
                <a:avLst/>
              </a:prstGeom>
              <a:solidFill>
                <a:schemeClr val="bg1"/>
              </a:solidFill>
              <a:ln w="9525" cap="flat" cmpd="sng" algn="ctr">
                <a:solidFill>
                  <a:schemeClr val="accent4"/>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a:ln>
                    <a:noFill/>
                  </a:ln>
                  <a:effectLst/>
                  <a:latin typeface="Trebuchet MS" pitchFamily="34" charset="0"/>
                </a:endParaRPr>
              </a:p>
            </p:txBody>
          </p:sp>
          <p:pic>
            <p:nvPicPr>
              <p:cNvPr id="233" name="Picture 22" descr="A close up of a logo&#10;&#10;Description automatically generated">
                <a:extLst>
                  <a:ext uri="{FF2B5EF4-FFF2-40B4-BE49-F238E27FC236}">
                    <a16:creationId xmlns:a16="http://schemas.microsoft.com/office/drawing/2014/main" id="{F939D004-9531-4631-AFEA-3A9F41A874CB}"/>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6892599" y="2325671"/>
                <a:ext cx="900929" cy="475791"/>
              </a:xfrm>
              <a:prstGeom prst="rect">
                <a:avLst/>
              </a:prstGeom>
            </p:spPr>
          </p:pic>
          <p:sp>
            <p:nvSpPr>
              <p:cNvPr id="234" name="Rectangle 233">
                <a:extLst>
                  <a:ext uri="{FF2B5EF4-FFF2-40B4-BE49-F238E27FC236}">
                    <a16:creationId xmlns:a16="http://schemas.microsoft.com/office/drawing/2014/main" id="{67EE934C-8973-4840-B1DB-C0A1B9BB5EE3}"/>
                  </a:ext>
                </a:extLst>
              </p:cNvPr>
              <p:cNvSpPr/>
              <p:nvPr/>
            </p:nvSpPr>
            <p:spPr bwMode="auto">
              <a:xfrm>
                <a:off x="6980085" y="2008302"/>
                <a:ext cx="1094115"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i="1">
                    <a:latin typeface="Trebuchet MS" pitchFamily="34" charset="0"/>
                  </a:rPr>
                  <a:t>C</a:t>
                </a:r>
                <a:r>
                  <a:rPr kumimoji="0" lang="en-GB" sz="900" b="1" i="1" u="none" strike="noStrike" cap="none" normalizeH="0" baseline="0">
                    <a:ln>
                      <a:noFill/>
                    </a:ln>
                    <a:effectLst/>
                    <a:latin typeface="Trebuchet MS" pitchFamily="34" charset="0"/>
                  </a:rPr>
                  <a:t>ompliance &amp; legal documents data providers </a:t>
                </a:r>
              </a:p>
            </p:txBody>
          </p:sp>
          <p:pic>
            <p:nvPicPr>
              <p:cNvPr id="235" name="Picture 15" descr="RÃ©sultat de recherche d'images pour &quot;acuris&quot;">
                <a:extLst>
                  <a:ext uri="{FF2B5EF4-FFF2-40B4-BE49-F238E27FC236}">
                    <a16:creationId xmlns:a16="http://schemas.microsoft.com/office/drawing/2014/main" id="{793F03B8-F477-465B-8699-5F329575498A}"/>
                  </a:ext>
                </a:extLst>
              </p:cNvPr>
              <p:cNvPicPr>
                <a:picLocks noChangeAspect="1" noChangeArrowheads="1"/>
              </p:cNvPicPr>
              <p:nvPr/>
            </p:nvPicPr>
            <p:blipFill>
              <a:blip r:embed="rId3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11737" y="2635699"/>
                <a:ext cx="602606" cy="225830"/>
              </a:xfrm>
              <a:prstGeom prst="rect">
                <a:avLst/>
              </a:prstGeom>
              <a:noFill/>
              <a:extLst>
                <a:ext uri="{909E8E84-426E-40DD-AFC4-6F175D3DCCD1}">
                  <a14:hiddenFill xmlns:a14="http://schemas.microsoft.com/office/drawing/2010/main">
                    <a:solidFill>
                      <a:srgbClr val="FFFFFF"/>
                    </a:solidFill>
                  </a14:hiddenFill>
                </a:ext>
              </a:extLst>
            </p:spPr>
          </p:pic>
        </p:grpSp>
        <p:pic>
          <p:nvPicPr>
            <p:cNvPr id="132" name="Picture 16" descr="RÃ©sultat de recherche d'images pour &quot;refinitiv&quot;">
              <a:extLst>
                <a:ext uri="{FF2B5EF4-FFF2-40B4-BE49-F238E27FC236}">
                  <a16:creationId xmlns:a16="http://schemas.microsoft.com/office/drawing/2014/main" id="{065D8B1E-3EAC-480B-BA83-548582CC2530}"/>
                </a:ext>
              </a:extLst>
            </p:cNvPr>
            <p:cNvPicPr>
              <a:picLocks noChangeAspect="1" noChangeArrowheads="1"/>
            </p:cNvPicPr>
            <p:nvPr/>
          </p:nvPicPr>
          <p:blipFill>
            <a:blip r:embed="rId36">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10715468" y="3074407"/>
              <a:ext cx="385914" cy="87338"/>
            </a:xfrm>
            <a:prstGeom prst="rect">
              <a:avLst/>
            </a:prstGeom>
            <a:solidFill>
              <a:schemeClr val="bg1"/>
            </a:solidFill>
          </p:spPr>
        </p:pic>
      </p:grpSp>
      <p:grpSp>
        <p:nvGrpSpPr>
          <p:cNvPr id="116" name="Groupe 123">
            <a:extLst>
              <a:ext uri="{FF2B5EF4-FFF2-40B4-BE49-F238E27FC236}">
                <a16:creationId xmlns:a16="http://schemas.microsoft.com/office/drawing/2014/main" id="{0ACCD516-6C49-4756-88B5-C23F9B9D2101}"/>
              </a:ext>
            </a:extLst>
          </p:cNvPr>
          <p:cNvGrpSpPr/>
          <p:nvPr/>
        </p:nvGrpSpPr>
        <p:grpSpPr>
          <a:xfrm rot="7208654">
            <a:off x="6552344" y="2659303"/>
            <a:ext cx="193516" cy="423719"/>
            <a:chOff x="3212091" y="3412191"/>
            <a:chExt cx="193516" cy="523008"/>
          </a:xfrm>
        </p:grpSpPr>
        <p:cxnSp>
          <p:nvCxnSpPr>
            <p:cNvPr id="117" name="Connecteur droit avec flèche 124">
              <a:extLst>
                <a:ext uri="{FF2B5EF4-FFF2-40B4-BE49-F238E27FC236}">
                  <a16:creationId xmlns:a16="http://schemas.microsoft.com/office/drawing/2014/main" id="{C6B2F855-636A-42D2-8A77-FA040E73C59C}"/>
                </a:ext>
              </a:extLst>
            </p:cNvPr>
            <p:cNvCxnSpPr>
              <a:cxnSpLocks/>
            </p:cNvCxnSpPr>
            <p:nvPr/>
          </p:nvCxnSpPr>
          <p:spPr bwMode="auto">
            <a:xfrm rot="14391346" flipV="1">
              <a:off x="3036381" y="3673695"/>
              <a:ext cx="523008" cy="0"/>
            </a:xfrm>
            <a:prstGeom prst="straightConnector1">
              <a:avLst/>
            </a:prstGeom>
            <a:solidFill>
              <a:schemeClr val="accent1"/>
            </a:solidFill>
            <a:ln w="9525" cap="flat" cmpd="sng" algn="ctr">
              <a:solidFill>
                <a:schemeClr val="tx2"/>
              </a:solidFill>
              <a:prstDash val="solid"/>
              <a:round/>
              <a:headEnd type="triangle"/>
              <a:tailEnd type="triangle"/>
            </a:ln>
            <a:effectLst/>
          </p:spPr>
        </p:cxnSp>
        <p:grpSp>
          <p:nvGrpSpPr>
            <p:cNvPr id="118" name="Groupe 127">
              <a:extLst>
                <a:ext uri="{FF2B5EF4-FFF2-40B4-BE49-F238E27FC236}">
                  <a16:creationId xmlns:a16="http://schemas.microsoft.com/office/drawing/2014/main" id="{569F9B4C-32B4-493D-9418-3918DF39DE95}"/>
                </a:ext>
              </a:extLst>
            </p:cNvPr>
            <p:cNvGrpSpPr>
              <a:grpSpLocks noChangeAspect="1"/>
            </p:cNvGrpSpPr>
            <p:nvPr/>
          </p:nvGrpSpPr>
          <p:grpSpPr>
            <a:xfrm>
              <a:off x="3212091" y="3551727"/>
              <a:ext cx="193516" cy="190506"/>
              <a:chOff x="-983558" y="3832174"/>
              <a:chExt cx="217146" cy="213767"/>
            </a:xfrm>
          </p:grpSpPr>
          <p:sp>
            <p:nvSpPr>
              <p:cNvPr id="119" name="Ellipse 128">
                <a:extLst>
                  <a:ext uri="{FF2B5EF4-FFF2-40B4-BE49-F238E27FC236}">
                    <a16:creationId xmlns:a16="http://schemas.microsoft.com/office/drawing/2014/main" id="{F5A70408-8C51-4394-A6A8-ACDED6379D01}"/>
                  </a:ext>
                </a:extLst>
              </p:cNvPr>
              <p:cNvSpPr/>
              <p:nvPr/>
            </p:nvSpPr>
            <p:spPr bwMode="auto">
              <a:xfrm>
                <a:off x="-983558" y="3832174"/>
                <a:ext cx="217146" cy="213767"/>
              </a:xfrm>
              <a:prstGeom prst="ellipse">
                <a:avLst/>
              </a:prstGeom>
              <a:solidFill>
                <a:schemeClr val="bg1"/>
              </a:solidFill>
              <a:ln w="317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p:txBody>
          </p:sp>
          <p:pic>
            <p:nvPicPr>
              <p:cNvPr id="120" name="Graphique 132">
                <a:extLst>
                  <a:ext uri="{FF2B5EF4-FFF2-40B4-BE49-F238E27FC236}">
                    <a16:creationId xmlns:a16="http://schemas.microsoft.com/office/drawing/2014/main" id="{B297942E-DC39-4E28-AB90-9B55D790FA4C}"/>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t="11892" b="32564"/>
              <a:stretch/>
            </p:blipFill>
            <p:spPr>
              <a:xfrm rot="14391346">
                <a:off x="-950855" y="3890868"/>
                <a:ext cx="151749" cy="106202"/>
              </a:xfrm>
              <a:prstGeom prst="rect">
                <a:avLst/>
              </a:prstGeom>
            </p:spPr>
          </p:pic>
        </p:grpSp>
      </p:grpSp>
      <p:cxnSp>
        <p:nvCxnSpPr>
          <p:cNvPr id="122" name="Connecteur droit avec flèche 124">
            <a:extLst>
              <a:ext uri="{FF2B5EF4-FFF2-40B4-BE49-F238E27FC236}">
                <a16:creationId xmlns:a16="http://schemas.microsoft.com/office/drawing/2014/main" id="{754C8A51-45A0-42CF-8B6F-FF91BDE1EAED}"/>
              </a:ext>
            </a:extLst>
          </p:cNvPr>
          <p:cNvCxnSpPr>
            <a:cxnSpLocks/>
          </p:cNvCxnSpPr>
          <p:nvPr/>
        </p:nvCxnSpPr>
        <p:spPr bwMode="auto">
          <a:xfrm flipV="1">
            <a:off x="6841977" y="3309461"/>
            <a:ext cx="565321" cy="474081"/>
          </a:xfrm>
          <a:prstGeom prst="straightConnector1">
            <a:avLst/>
          </a:prstGeom>
          <a:solidFill>
            <a:schemeClr val="accent1"/>
          </a:solidFill>
          <a:ln w="9525" cap="flat" cmpd="sng" algn="ctr">
            <a:solidFill>
              <a:schemeClr val="tx2"/>
            </a:solidFill>
            <a:prstDash val="solid"/>
            <a:round/>
            <a:headEnd type="triangle"/>
            <a:tailEnd type="triangle"/>
          </a:ln>
          <a:effectLst/>
        </p:spPr>
      </p:cxnSp>
      <p:sp>
        <p:nvSpPr>
          <p:cNvPr id="128" name="Rectangle 127">
            <a:extLst>
              <a:ext uri="{FF2B5EF4-FFF2-40B4-BE49-F238E27FC236}">
                <a16:creationId xmlns:a16="http://schemas.microsoft.com/office/drawing/2014/main" id="{AFA39AF3-E4B0-4F43-A668-6F722242D91C}"/>
              </a:ext>
            </a:extLst>
          </p:cNvPr>
          <p:cNvSpPr/>
          <p:nvPr/>
        </p:nvSpPr>
        <p:spPr bwMode="auto">
          <a:xfrm>
            <a:off x="5244677" y="1639533"/>
            <a:ext cx="1330105" cy="305988"/>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a:latin typeface="Trebuchet MS" panose="020B0603020202020204" pitchFamily="34" charset="0"/>
              </a:rPr>
              <a:t>Consolidated lists of PEPs, sanctions on corporations and individuals</a:t>
            </a:r>
          </a:p>
        </p:txBody>
      </p:sp>
      <p:sp>
        <p:nvSpPr>
          <p:cNvPr id="129" name="Rectangle 128">
            <a:extLst>
              <a:ext uri="{FF2B5EF4-FFF2-40B4-BE49-F238E27FC236}">
                <a16:creationId xmlns:a16="http://schemas.microsoft.com/office/drawing/2014/main" id="{F5C3A440-2360-4F95-9CEA-346FE9E114BA}"/>
              </a:ext>
            </a:extLst>
          </p:cNvPr>
          <p:cNvSpPr/>
          <p:nvPr/>
        </p:nvSpPr>
        <p:spPr bwMode="auto">
          <a:xfrm>
            <a:off x="6585696" y="1618792"/>
            <a:ext cx="1626802" cy="376624"/>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a:latin typeface="Trebuchet MS" panose="020B0603020202020204" pitchFamily="34" charset="0"/>
              </a:rPr>
              <a:t>UBOs and PEPs identification services leveraging their database and their expertise in data collection</a:t>
            </a:r>
          </a:p>
        </p:txBody>
      </p:sp>
      <p:sp>
        <p:nvSpPr>
          <p:cNvPr id="130" name="Rectangle 129">
            <a:extLst>
              <a:ext uri="{FF2B5EF4-FFF2-40B4-BE49-F238E27FC236}">
                <a16:creationId xmlns:a16="http://schemas.microsoft.com/office/drawing/2014/main" id="{93E6F954-0C02-4F9A-92B5-5DB430D68935}"/>
              </a:ext>
            </a:extLst>
          </p:cNvPr>
          <p:cNvSpPr/>
          <p:nvPr/>
        </p:nvSpPr>
        <p:spPr bwMode="auto">
          <a:xfrm>
            <a:off x="8265387" y="1639533"/>
            <a:ext cx="1242897" cy="331551"/>
          </a:xfrm>
          <a:prstGeom prst="rect">
            <a:avLst/>
          </a:prstGeom>
          <a:noFill/>
          <a:ln w="9525" cap="flat" cmpd="sng" algn="ctr">
            <a:noFill/>
            <a:prstDash val="dash"/>
            <a:round/>
            <a:headEnd type="none" w="med" len="med"/>
            <a:tailEnd type="none" w="med" len="med"/>
          </a:ln>
          <a:effectLst/>
        </p:spPr>
        <p:txBody>
          <a:bodyPr vert="horz" wrap="square" lIns="0" tIns="3600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dirty="0">
                <a:ln>
                  <a:noFill/>
                </a:ln>
                <a:effectLst/>
                <a:latin typeface="Trebuchet MS" panose="020B0603020202020204" pitchFamily="34" charset="0"/>
              </a:rPr>
              <a:t>Externalization of corporate compliance management processes</a:t>
            </a:r>
          </a:p>
          <a:p>
            <a:pPr algn="ctr"/>
            <a:r>
              <a:rPr lang="en-GB" sz="900" dirty="0">
                <a:latin typeface="Trebuchet MS" panose="020B0603020202020204" pitchFamily="34" charset="0"/>
              </a:rPr>
              <a:t>Key prescribers of BD&amp;</a:t>
            </a:r>
            <a:r>
              <a:rPr lang="en-GB" sz="900">
                <a:latin typeface="Trebuchet MS" panose="020B0603020202020204" pitchFamily="34" charset="0"/>
              </a:rPr>
              <a:t>A offerings</a:t>
            </a:r>
            <a:endParaRPr kumimoji="0" lang="en-GB" sz="900" b="0" i="0" u="none" strike="noStrike" cap="none" normalizeH="0" baseline="0" dirty="0">
              <a:ln>
                <a:noFill/>
              </a:ln>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dirty="0">
              <a:ln>
                <a:noFill/>
              </a:ln>
              <a:effectLst/>
              <a:latin typeface="Trebuchet MS" panose="020B0603020202020204" pitchFamily="34" charset="0"/>
            </a:endParaRPr>
          </a:p>
        </p:txBody>
      </p:sp>
      <p:sp>
        <p:nvSpPr>
          <p:cNvPr id="113" name="ZoneTexte 112">
            <a:extLst>
              <a:ext uri="{FF2B5EF4-FFF2-40B4-BE49-F238E27FC236}">
                <a16:creationId xmlns:a16="http://schemas.microsoft.com/office/drawing/2014/main" id="{1367C531-2BA6-4DCC-9292-912EE00A1CB0}"/>
              </a:ext>
            </a:extLst>
          </p:cNvPr>
          <p:cNvSpPr txBox="1"/>
          <p:nvPr/>
        </p:nvSpPr>
        <p:spPr>
          <a:xfrm>
            <a:off x="3351618" y="2936149"/>
            <a:ext cx="1592023" cy="992579"/>
          </a:xfrm>
          <a:prstGeom prst="rect">
            <a:avLst/>
          </a:prstGeom>
          <a:noFill/>
          <a:ln>
            <a:noFill/>
          </a:ln>
        </p:spPr>
        <p:txBody>
          <a:bodyPr wrap="square">
            <a:spAutoFit/>
          </a:bodyPr>
          <a:lstStyle/>
          <a:p>
            <a:pPr marL="84138" indent="-84138">
              <a:spcAft>
                <a:spcPts val="300"/>
              </a:spcAft>
              <a:buClr>
                <a:schemeClr val="tx1"/>
              </a:buClr>
              <a:buFont typeface="Arial" panose="020B0604020202020204" pitchFamily="34" charset="0"/>
              <a:buChar char="•"/>
            </a:pPr>
            <a:r>
              <a:rPr lang="en-GB" sz="800">
                <a:solidFill>
                  <a:schemeClr val="tx2"/>
                </a:solidFill>
                <a:latin typeface="Trebuchet MS" panose="020B0603020202020204" pitchFamily="34" charset="0"/>
              </a:rPr>
              <a:t>European AML IV &amp; V </a:t>
            </a:r>
            <a:r>
              <a:rPr lang="en-GB" sz="800">
                <a:latin typeface="Trebuchet MS" panose="020B0603020202020204" pitchFamily="34" charset="0"/>
              </a:rPr>
              <a:t>strengthen financial-related activities’ need for transparency</a:t>
            </a:r>
          </a:p>
          <a:p>
            <a:pPr marL="84138" indent="-84138">
              <a:spcAft>
                <a:spcPts val="300"/>
              </a:spcAft>
              <a:buClr>
                <a:schemeClr val="tx1"/>
              </a:buClr>
              <a:buFont typeface="Arial" panose="020B0604020202020204" pitchFamily="34" charset="0"/>
              <a:buChar char="•"/>
            </a:pPr>
            <a:r>
              <a:rPr lang="en-GB" sz="800">
                <a:latin typeface="Trebuchet MS" panose="020B0603020202020204" pitchFamily="34" charset="0"/>
              </a:rPr>
              <a:t>BD&amp;A players only offer a portion of </a:t>
            </a:r>
            <a:r>
              <a:rPr lang="en-GB" sz="800">
                <a:solidFill>
                  <a:schemeClr val="tx2"/>
                </a:solidFill>
                <a:latin typeface="Trebuchet MS" panose="020B0603020202020204" pitchFamily="34" charset="0"/>
              </a:rPr>
              <a:t>upstream data services on AML</a:t>
            </a:r>
          </a:p>
        </p:txBody>
      </p:sp>
      <p:sp>
        <p:nvSpPr>
          <p:cNvPr id="134" name="ZoneTexte 133">
            <a:extLst>
              <a:ext uri="{FF2B5EF4-FFF2-40B4-BE49-F238E27FC236}">
                <a16:creationId xmlns:a16="http://schemas.microsoft.com/office/drawing/2014/main" id="{EEE30818-3992-4EF3-BBF0-1051556B0550}"/>
              </a:ext>
            </a:extLst>
          </p:cNvPr>
          <p:cNvSpPr txBox="1"/>
          <p:nvPr/>
        </p:nvSpPr>
        <p:spPr>
          <a:xfrm>
            <a:off x="1057203" y="2813038"/>
            <a:ext cx="2414265" cy="1115690"/>
          </a:xfrm>
          <a:prstGeom prst="rect">
            <a:avLst/>
          </a:prstGeom>
          <a:noFill/>
          <a:ln>
            <a:noFill/>
          </a:ln>
        </p:spPr>
        <p:txBody>
          <a:bodyPr wrap="square">
            <a:spAutoFit/>
          </a:bodyPr>
          <a:lstStyle/>
          <a:p>
            <a:pPr marL="84138" marR="0" lvl="1" indent="-84138" defTabSz="914400" rtl="0" eaLnBrk="1" fontAlgn="base" latinLnBrk="0" hangingPunct="1">
              <a:lnSpc>
                <a:spcPct val="100000"/>
              </a:lnSpc>
              <a:spcBef>
                <a:spcPct val="0"/>
              </a:spcBef>
              <a:spcAft>
                <a:spcPts val="300"/>
              </a:spcAft>
              <a:buClr>
                <a:srgbClr val="6C6C6C"/>
              </a:buClr>
              <a:buSzTx/>
              <a:buFont typeface="Arial" panose="020B0604020202020204" pitchFamily="34" charset="0"/>
              <a:buChar char="•"/>
              <a:defRPr/>
            </a:pPr>
            <a:r>
              <a:rPr kumimoji="0" lang="en-GB" sz="800" b="0" i="0" u="none" strike="noStrike" kern="1200" cap="none" spc="0" normalizeH="0" baseline="0" noProof="0" err="1">
                <a:ln>
                  <a:noFill/>
                </a:ln>
                <a:solidFill>
                  <a:srgbClr val="289B38"/>
                </a:solidFill>
                <a:effectLst/>
                <a:uLnTx/>
                <a:uFillTx/>
                <a:latin typeface="Trebuchet MS" panose="020B0603020202020204" pitchFamily="34" charset="0"/>
                <a:ea typeface="+mn-ea"/>
                <a:cs typeface="Arial" pitchFamily="34" charset="0"/>
              </a:rPr>
              <a:t>Sapin</a:t>
            </a:r>
            <a:r>
              <a:rPr kumimoji="0" lang="en-GB" sz="8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II Law </a:t>
            </a:r>
            <a:r>
              <a:rPr kumimoji="0" lang="en-GB" sz="8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2017) introduced peer evaluation as requirements for large corporates in </a:t>
            </a:r>
            <a:r>
              <a:rPr kumimoji="0" lang="en-GB" sz="8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France</a:t>
            </a:r>
            <a:r>
              <a:rPr kumimoji="0" lang="en-GB" sz="8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while in </a:t>
            </a:r>
            <a:r>
              <a:rPr kumimoji="0" lang="en-GB" sz="800" b="0"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Benelux</a:t>
            </a:r>
            <a:r>
              <a:rPr kumimoji="0" lang="en-GB" sz="8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the constraints are </a:t>
            </a:r>
            <a:r>
              <a:rPr kumimoji="0" lang="en-GB" sz="8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more limited by law </a:t>
            </a:r>
            <a:r>
              <a:rPr kumimoji="0" lang="en-GB" sz="8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r>
              <a:rPr lang="en-GB" sz="800">
                <a:solidFill>
                  <a:srgbClr val="6C6C6C"/>
                </a:solidFill>
                <a:latin typeface="Trebuchet MS" panose="020B0603020202020204" pitchFamily="34" charset="0"/>
              </a:rPr>
              <a:t>BCC, DCC²), but concerning </a:t>
            </a:r>
            <a:r>
              <a:rPr lang="en-GB" sz="800">
                <a:solidFill>
                  <a:schemeClr val="tx2"/>
                </a:solidFill>
                <a:latin typeface="Trebuchet MS" panose="020B0603020202020204" pitchFamily="34" charset="0"/>
              </a:rPr>
              <a:t>all companies</a:t>
            </a:r>
          </a:p>
          <a:p>
            <a:pPr marL="84138" lvl="1" indent="-84138">
              <a:spcAft>
                <a:spcPts val="300"/>
              </a:spcAft>
              <a:buClr>
                <a:srgbClr val="6C6C6C"/>
              </a:buClr>
              <a:buFont typeface="Arial" panose="020B0604020202020204" pitchFamily="34" charset="0"/>
              <a:buChar char="•"/>
              <a:defRPr/>
            </a:pPr>
            <a:r>
              <a:rPr lang="en-GB" sz="800">
                <a:latin typeface="Trebuchet MS" panose="020B0603020202020204" pitchFamily="34" charset="0"/>
              </a:rPr>
              <a:t>BD&amp;A players offer </a:t>
            </a:r>
            <a:r>
              <a:rPr lang="en-GB" sz="800">
                <a:solidFill>
                  <a:schemeClr val="tx2"/>
                </a:solidFill>
                <a:latin typeface="Trebuchet MS" panose="020B0603020202020204" pitchFamily="34" charset="0"/>
              </a:rPr>
              <a:t>d</a:t>
            </a:r>
            <a:r>
              <a:rPr kumimoji="0" lang="en-GB" sz="800" b="0" i="0" u="none" strike="noStrike" cap="none" normalizeH="0" baseline="0">
                <a:ln>
                  <a:noFill/>
                </a:ln>
                <a:solidFill>
                  <a:schemeClr val="tx2"/>
                </a:solidFill>
                <a:effectLst/>
                <a:latin typeface="Trebuchet MS" panose="020B0603020202020204" pitchFamily="34" charset="0"/>
              </a:rPr>
              <a:t>iligent evaluation of all business partners </a:t>
            </a:r>
            <a:r>
              <a:rPr kumimoji="0" lang="en-GB" sz="800" b="0" i="0" u="none" strike="noStrike" cap="none" normalizeH="0" baseline="0">
                <a:ln>
                  <a:noFill/>
                </a:ln>
                <a:effectLst/>
                <a:latin typeface="Trebuchet MS" panose="020B0603020202020204" pitchFamily="34" charset="0"/>
              </a:rPr>
              <a:t>to estimate the associated risk of corruption and respectability </a:t>
            </a:r>
            <a:endParaRPr kumimoji="0" lang="en-GB" sz="8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endParaRPr>
          </a:p>
        </p:txBody>
      </p:sp>
      <p:sp>
        <p:nvSpPr>
          <p:cNvPr id="136" name="ZoneTexte 135">
            <a:extLst>
              <a:ext uri="{FF2B5EF4-FFF2-40B4-BE49-F238E27FC236}">
                <a16:creationId xmlns:a16="http://schemas.microsoft.com/office/drawing/2014/main" id="{63119A2F-E29C-4CE1-9737-44E13E860F78}"/>
              </a:ext>
            </a:extLst>
          </p:cNvPr>
          <p:cNvSpPr txBox="1"/>
          <p:nvPr/>
        </p:nvSpPr>
        <p:spPr>
          <a:xfrm>
            <a:off x="1349806" y="2589010"/>
            <a:ext cx="1791799" cy="230832"/>
          </a:xfrm>
          <a:prstGeom prst="rect">
            <a:avLst/>
          </a:prstGeom>
          <a:noFill/>
        </p:spPr>
        <p:txBody>
          <a:bodyPr wrap="square">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i="1">
                <a:solidFill>
                  <a:schemeClr val="accent1">
                    <a:lumMod val="75000"/>
                  </a:schemeClr>
                </a:solidFill>
                <a:latin typeface="Trebuchet MS" panose="020B0603020202020204" pitchFamily="34" charset="0"/>
              </a:rPr>
              <a:t>Anti-corruption regulations</a:t>
            </a:r>
          </a:p>
        </p:txBody>
      </p:sp>
      <p:sp>
        <p:nvSpPr>
          <p:cNvPr id="137" name="ZoneTexte 136">
            <a:extLst>
              <a:ext uri="{FF2B5EF4-FFF2-40B4-BE49-F238E27FC236}">
                <a16:creationId xmlns:a16="http://schemas.microsoft.com/office/drawing/2014/main" id="{A900B935-CF4F-48ED-A396-5D7F88712C85}"/>
              </a:ext>
            </a:extLst>
          </p:cNvPr>
          <p:cNvSpPr txBox="1"/>
          <p:nvPr/>
        </p:nvSpPr>
        <p:spPr>
          <a:xfrm>
            <a:off x="3514761" y="2519760"/>
            <a:ext cx="1389401" cy="507831"/>
          </a:xfrm>
          <a:prstGeom prst="rect">
            <a:avLst/>
          </a:prstGeom>
          <a:noFill/>
        </p:spPr>
        <p:txBody>
          <a:bodyPr wrap="square">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i="1">
                <a:solidFill>
                  <a:schemeClr val="accent1">
                    <a:lumMod val="75000"/>
                  </a:schemeClr>
                </a:solidFill>
                <a:latin typeface="Trebuchet MS" panose="020B0603020202020204" pitchFamily="34" charset="0"/>
              </a:rPr>
              <a:t>Anti-money laundering (AML) regulations</a:t>
            </a:r>
          </a:p>
        </p:txBody>
      </p:sp>
      <p:pic>
        <p:nvPicPr>
          <p:cNvPr id="138" name="Graphique 137" descr="Argent volant">
            <a:extLst>
              <a:ext uri="{FF2B5EF4-FFF2-40B4-BE49-F238E27FC236}">
                <a16:creationId xmlns:a16="http://schemas.microsoft.com/office/drawing/2014/main" id="{0CD73138-E85F-40A0-B55D-1C24D1E459D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3413300" y="2591454"/>
            <a:ext cx="240847" cy="225945"/>
          </a:xfrm>
          <a:prstGeom prst="rect">
            <a:avLst/>
          </a:prstGeom>
        </p:spPr>
      </p:pic>
      <p:grpSp>
        <p:nvGrpSpPr>
          <p:cNvPr id="139" name="Groupe 138">
            <a:extLst>
              <a:ext uri="{FF2B5EF4-FFF2-40B4-BE49-F238E27FC236}">
                <a16:creationId xmlns:a16="http://schemas.microsoft.com/office/drawing/2014/main" id="{238E8714-A012-4C33-9790-D67B1806175B}"/>
              </a:ext>
            </a:extLst>
          </p:cNvPr>
          <p:cNvGrpSpPr/>
          <p:nvPr/>
        </p:nvGrpSpPr>
        <p:grpSpPr>
          <a:xfrm>
            <a:off x="1167309" y="2567083"/>
            <a:ext cx="267073" cy="274686"/>
            <a:chOff x="10655921" y="3792390"/>
            <a:chExt cx="914400" cy="1075485"/>
          </a:xfrm>
          <a:solidFill>
            <a:schemeClr val="accent1">
              <a:lumMod val="75000"/>
            </a:schemeClr>
          </a:solidFill>
        </p:grpSpPr>
        <p:pic>
          <p:nvPicPr>
            <p:cNvPr id="140" name="Graphique 139" descr="Main ouverte">
              <a:extLst>
                <a:ext uri="{FF2B5EF4-FFF2-40B4-BE49-F238E27FC236}">
                  <a16:creationId xmlns:a16="http://schemas.microsoft.com/office/drawing/2014/main" id="{36CD1E21-8F75-4203-971C-EDEF74499BE2}"/>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10655921" y="3953475"/>
              <a:ext cx="914400" cy="914400"/>
            </a:xfrm>
            <a:prstGeom prst="rect">
              <a:avLst/>
            </a:prstGeom>
          </p:spPr>
        </p:pic>
        <p:pic>
          <p:nvPicPr>
            <p:cNvPr id="141" name="Graphique 140" descr="Argent">
              <a:extLst>
                <a:ext uri="{FF2B5EF4-FFF2-40B4-BE49-F238E27FC236}">
                  <a16:creationId xmlns:a16="http://schemas.microsoft.com/office/drawing/2014/main" id="{FA2F2FE5-662A-4A4D-B0FC-7D04BDBB7C0B}"/>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10821856" y="3792390"/>
              <a:ext cx="533404" cy="533404"/>
            </a:xfrm>
            <a:prstGeom prst="rect">
              <a:avLst/>
            </a:prstGeom>
          </p:spPr>
        </p:pic>
      </p:grpSp>
      <p:cxnSp>
        <p:nvCxnSpPr>
          <p:cNvPr id="146" name="Connecteur droit 145">
            <a:extLst>
              <a:ext uri="{FF2B5EF4-FFF2-40B4-BE49-F238E27FC236}">
                <a16:creationId xmlns:a16="http://schemas.microsoft.com/office/drawing/2014/main" id="{7764470B-014B-4934-93F1-A473D9588B82}"/>
              </a:ext>
            </a:extLst>
          </p:cNvPr>
          <p:cNvCxnSpPr>
            <a:cxnSpLocks/>
          </p:cNvCxnSpPr>
          <p:nvPr/>
        </p:nvCxnSpPr>
        <p:spPr bwMode="auto">
          <a:xfrm>
            <a:off x="3386651" y="2725389"/>
            <a:ext cx="0" cy="1206535"/>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157" name="Ellipse 143">
            <a:extLst>
              <a:ext uri="{FF2B5EF4-FFF2-40B4-BE49-F238E27FC236}">
                <a16:creationId xmlns:a16="http://schemas.microsoft.com/office/drawing/2014/main" id="{A95F6AAF-979E-4F62-AEA9-9D63B6118C9C}"/>
              </a:ext>
            </a:extLst>
          </p:cNvPr>
          <p:cNvSpPr/>
          <p:nvPr/>
        </p:nvSpPr>
        <p:spPr bwMode="auto">
          <a:xfrm>
            <a:off x="5369611" y="4221230"/>
            <a:ext cx="1472958" cy="222976"/>
          </a:xfrm>
          <a:prstGeom prst="roundRect">
            <a:avLst/>
          </a:prstGeom>
          <a:solidFill>
            <a:schemeClr val="bg1"/>
          </a:solid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sp>
        <p:nvSpPr>
          <p:cNvPr id="158" name="Rectangle 157">
            <a:extLst>
              <a:ext uri="{FF2B5EF4-FFF2-40B4-BE49-F238E27FC236}">
                <a16:creationId xmlns:a16="http://schemas.microsoft.com/office/drawing/2014/main" id="{91064C1D-1504-408F-8B85-60A5508AD67F}"/>
              </a:ext>
            </a:extLst>
          </p:cNvPr>
          <p:cNvSpPr/>
          <p:nvPr/>
        </p:nvSpPr>
        <p:spPr bwMode="auto">
          <a:xfrm>
            <a:off x="5261531" y="4071578"/>
            <a:ext cx="1518825"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i="1">
                <a:latin typeface="Trebuchet MS" panose="020B0603020202020204" pitchFamily="34" charset="0"/>
              </a:rPr>
              <a:t>AML software players</a:t>
            </a:r>
            <a:endParaRPr kumimoji="0" lang="en-GB" sz="900" b="1" i="1" u="none" strike="noStrike" cap="none" normalizeH="0" baseline="0">
              <a:ln>
                <a:noFill/>
              </a:ln>
              <a:effectLst/>
              <a:latin typeface="Trebuchet MS" panose="020B0603020202020204" pitchFamily="34" charset="0"/>
            </a:endParaRPr>
          </a:p>
        </p:txBody>
      </p:sp>
      <p:sp>
        <p:nvSpPr>
          <p:cNvPr id="159" name="ZoneTexte 144">
            <a:extLst>
              <a:ext uri="{FF2B5EF4-FFF2-40B4-BE49-F238E27FC236}">
                <a16:creationId xmlns:a16="http://schemas.microsoft.com/office/drawing/2014/main" id="{1F4D3462-FE59-4B98-AB1F-7986A15AB970}"/>
              </a:ext>
            </a:extLst>
          </p:cNvPr>
          <p:cNvSpPr txBox="1"/>
          <p:nvPr/>
        </p:nvSpPr>
        <p:spPr>
          <a:xfrm>
            <a:off x="5296080" y="3467854"/>
            <a:ext cx="1645849" cy="180886"/>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algn="ctr">
              <a:defRPr sz="900" b="1">
                <a:solidFill>
                  <a:schemeClr val="tx2"/>
                </a:solidFill>
                <a:latin typeface="Trebuchet MS" panose="020B0603020202020204" pitchFamily="34" charset="0"/>
              </a:defRPr>
            </a:lvl1pPr>
          </a:lstStyle>
          <a:p>
            <a:pPr algn="l"/>
            <a:r>
              <a:rPr lang="en-GB"/>
              <a:t>Adjacent tech-players (mainly on AML regulations)</a:t>
            </a:r>
          </a:p>
        </p:txBody>
      </p:sp>
      <p:pic>
        <p:nvPicPr>
          <p:cNvPr id="160" name="Picture 4">
            <a:extLst>
              <a:ext uri="{FF2B5EF4-FFF2-40B4-BE49-F238E27FC236}">
                <a16:creationId xmlns:a16="http://schemas.microsoft.com/office/drawing/2014/main" id="{5747F0DB-F249-4F06-BC25-D3BFA50ADA9E}"/>
              </a:ext>
            </a:extLst>
          </p:cNvPr>
          <p:cNvPicPr>
            <a:picLocks noChangeAspect="1" noChangeArrowheads="1"/>
          </p:cNvPicPr>
          <p:nvPr/>
        </p:nvPicPr>
        <p:blipFill>
          <a:blip r:embed="rId4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08521" y="4207635"/>
            <a:ext cx="512918" cy="376023"/>
          </a:xfrm>
          <a:prstGeom prst="rect">
            <a:avLst/>
          </a:prstGeom>
          <a:noFill/>
          <a:extLst>
            <a:ext uri="{909E8E84-426E-40DD-AFC4-6F175D3DCCD1}">
              <a14:hiddenFill xmlns:a14="http://schemas.microsoft.com/office/drawing/2010/main">
                <a:solidFill>
                  <a:srgbClr val="FFFFFF"/>
                </a:solidFill>
              </a14:hiddenFill>
            </a:ext>
          </a:extLst>
        </p:spPr>
      </p:pic>
      <p:pic>
        <p:nvPicPr>
          <p:cNvPr id="161" name="Image 160">
            <a:extLst>
              <a:ext uri="{FF2B5EF4-FFF2-40B4-BE49-F238E27FC236}">
                <a16:creationId xmlns:a16="http://schemas.microsoft.com/office/drawing/2014/main" id="{BE67DBD5-7CC5-4665-8637-230F88CE4EFA}"/>
              </a:ext>
            </a:extLst>
          </p:cNvPr>
          <p:cNvPicPr>
            <a:picLocks noChangeAspect="1"/>
          </p:cNvPicPr>
          <p:nvPr/>
        </p:nvPicPr>
        <p:blipFill>
          <a:blip r:embed="rId44">
            <a:clrChange>
              <a:clrFrom>
                <a:srgbClr val="FFFFFF"/>
              </a:clrFrom>
              <a:clrTo>
                <a:srgbClr val="FFFFFF">
                  <a:alpha val="0"/>
                </a:srgbClr>
              </a:clrTo>
            </a:clrChange>
          </a:blip>
          <a:stretch>
            <a:fillRect/>
          </a:stretch>
        </p:blipFill>
        <p:spPr>
          <a:xfrm>
            <a:off x="5460739" y="4317599"/>
            <a:ext cx="490512" cy="125397"/>
          </a:xfrm>
          <a:prstGeom prst="rect">
            <a:avLst/>
          </a:prstGeom>
        </p:spPr>
      </p:pic>
      <p:sp>
        <p:nvSpPr>
          <p:cNvPr id="164" name="ZoneTexte 163">
            <a:extLst>
              <a:ext uri="{FF2B5EF4-FFF2-40B4-BE49-F238E27FC236}">
                <a16:creationId xmlns:a16="http://schemas.microsoft.com/office/drawing/2014/main" id="{2FC5A24F-E481-4B95-85B6-AD23C0B1B6BD}"/>
              </a:ext>
            </a:extLst>
          </p:cNvPr>
          <p:cNvSpPr txBox="1"/>
          <p:nvPr/>
        </p:nvSpPr>
        <p:spPr>
          <a:xfrm>
            <a:off x="6535072" y="4248942"/>
            <a:ext cx="646765" cy="230832"/>
          </a:xfrm>
          <a:prstGeom prst="rect">
            <a:avLst/>
          </a:prstGeom>
          <a:noFill/>
        </p:spPr>
        <p:txBody>
          <a:bodyPr wrap="square" rtlCol="0">
            <a:spAutoFit/>
          </a:bodyPr>
          <a:lstStyle/>
          <a:p>
            <a:r>
              <a:rPr lang="en-GB" sz="900" i="1">
                <a:latin typeface="Trebuchet MS" panose="020B0603020202020204" pitchFamily="34" charset="0"/>
              </a:rPr>
              <a:t>...</a:t>
            </a:r>
          </a:p>
        </p:txBody>
      </p:sp>
      <p:grpSp>
        <p:nvGrpSpPr>
          <p:cNvPr id="167" name="Groupe 127">
            <a:extLst>
              <a:ext uri="{FF2B5EF4-FFF2-40B4-BE49-F238E27FC236}">
                <a16:creationId xmlns:a16="http://schemas.microsoft.com/office/drawing/2014/main" id="{B95C1C21-B5A4-43F0-86EC-94DC8A632FB0}"/>
              </a:ext>
            </a:extLst>
          </p:cNvPr>
          <p:cNvGrpSpPr>
            <a:grpSpLocks noChangeAspect="1"/>
          </p:cNvGrpSpPr>
          <p:nvPr/>
        </p:nvGrpSpPr>
        <p:grpSpPr>
          <a:xfrm>
            <a:off x="7007167" y="3457765"/>
            <a:ext cx="193516" cy="190505"/>
            <a:chOff x="-724464" y="3766107"/>
            <a:chExt cx="217146" cy="213766"/>
          </a:xfrm>
        </p:grpSpPr>
        <p:sp>
          <p:nvSpPr>
            <p:cNvPr id="169" name="Ellipse 128">
              <a:extLst>
                <a:ext uri="{FF2B5EF4-FFF2-40B4-BE49-F238E27FC236}">
                  <a16:creationId xmlns:a16="http://schemas.microsoft.com/office/drawing/2014/main" id="{9EA80FC3-2B2C-4271-BE29-D3C6CB6331D8}"/>
                </a:ext>
              </a:extLst>
            </p:cNvPr>
            <p:cNvSpPr/>
            <p:nvPr/>
          </p:nvSpPr>
          <p:spPr bwMode="auto">
            <a:xfrm>
              <a:off x="-724464" y="3766107"/>
              <a:ext cx="217146" cy="213766"/>
            </a:xfrm>
            <a:prstGeom prst="ellipse">
              <a:avLst/>
            </a:prstGeom>
            <a:solidFill>
              <a:schemeClr val="bg1"/>
            </a:solidFill>
            <a:ln w="317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70" name="Graphique 132">
              <a:extLst>
                <a:ext uri="{FF2B5EF4-FFF2-40B4-BE49-F238E27FC236}">
                  <a16:creationId xmlns:a16="http://schemas.microsoft.com/office/drawing/2014/main" id="{FCBF4266-4A81-43AD-92B1-07CF8496CD73}"/>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t="11892" b="32564"/>
            <a:stretch/>
          </p:blipFill>
          <p:spPr>
            <a:xfrm>
              <a:off x="-691765" y="3824794"/>
              <a:ext cx="151748" cy="106203"/>
            </a:xfrm>
            <a:prstGeom prst="rect">
              <a:avLst/>
            </a:prstGeom>
          </p:spPr>
        </p:pic>
      </p:grpSp>
      <p:graphicFrame>
        <p:nvGraphicFramePr>
          <p:cNvPr id="123" name="Chart 131">
            <a:extLst>
              <a:ext uri="{FF2B5EF4-FFF2-40B4-BE49-F238E27FC236}">
                <a16:creationId xmlns:a16="http://schemas.microsoft.com/office/drawing/2014/main" id="{0F716320-EBAA-4373-AF4D-DA7D02925292}"/>
              </a:ext>
            </a:extLst>
          </p:cNvPr>
          <p:cNvGraphicFramePr/>
          <p:nvPr>
            <p:extLst>
              <p:ext uri="{D42A27DB-BD31-4B8C-83A1-F6EECF244321}">
                <p14:modId xmlns:p14="http://schemas.microsoft.com/office/powerpoint/2010/main" val="4287880255"/>
              </p:ext>
            </p:extLst>
          </p:nvPr>
        </p:nvGraphicFramePr>
        <p:xfrm>
          <a:off x="70389" y="4495148"/>
          <a:ext cx="4873091" cy="1664335"/>
        </p:xfrm>
        <a:graphic>
          <a:graphicData uri="http://schemas.openxmlformats.org/drawingml/2006/chart">
            <c:chart xmlns:c="http://schemas.openxmlformats.org/drawingml/2006/chart" xmlns:r="http://schemas.openxmlformats.org/officeDocument/2006/relationships" r:id="rId45"/>
          </a:graphicData>
        </a:graphic>
      </p:graphicFrame>
      <p:cxnSp>
        <p:nvCxnSpPr>
          <p:cNvPr id="124" name="Straight Connector 133">
            <a:extLst>
              <a:ext uri="{FF2B5EF4-FFF2-40B4-BE49-F238E27FC236}">
                <a16:creationId xmlns:a16="http://schemas.microsoft.com/office/drawing/2014/main" id="{063E174E-E430-4F19-9874-778F3EFF68FF}"/>
              </a:ext>
            </a:extLst>
          </p:cNvPr>
          <p:cNvCxnSpPr>
            <a:cxnSpLocks/>
          </p:cNvCxnSpPr>
          <p:nvPr>
            <p:custDataLst>
              <p:tags r:id="rId3"/>
            </p:custDataLst>
          </p:nvPr>
        </p:nvCxnSpPr>
        <p:spPr bwMode="auto">
          <a:xfrm flipV="1">
            <a:off x="297504" y="5245920"/>
            <a:ext cx="562981" cy="87590"/>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25" name="Rectangle 124">
            <a:extLst>
              <a:ext uri="{FF2B5EF4-FFF2-40B4-BE49-F238E27FC236}">
                <a16:creationId xmlns:a16="http://schemas.microsoft.com/office/drawing/2014/main" id="{E7DA3F3A-79CD-45E8-ACD4-FF7B574927B4}"/>
              </a:ext>
            </a:extLst>
          </p:cNvPr>
          <p:cNvSpPr/>
          <p:nvPr/>
        </p:nvSpPr>
        <p:spPr bwMode="auto">
          <a:xfrm>
            <a:off x="346844" y="5102974"/>
            <a:ext cx="395278"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25% </a:t>
            </a:r>
          </a:p>
        </p:txBody>
      </p:sp>
      <p:sp>
        <p:nvSpPr>
          <p:cNvPr id="173" name="ZoneTexte 172">
            <a:extLst>
              <a:ext uri="{FF2B5EF4-FFF2-40B4-BE49-F238E27FC236}">
                <a16:creationId xmlns:a16="http://schemas.microsoft.com/office/drawing/2014/main" id="{A65DC496-79DD-4D3F-B059-FFB6DA472D83}"/>
              </a:ext>
            </a:extLst>
          </p:cNvPr>
          <p:cNvSpPr txBox="1"/>
          <p:nvPr/>
        </p:nvSpPr>
        <p:spPr>
          <a:xfrm>
            <a:off x="6184923" y="3091941"/>
            <a:ext cx="646765" cy="230832"/>
          </a:xfrm>
          <a:prstGeom prst="rect">
            <a:avLst/>
          </a:prstGeom>
          <a:noFill/>
        </p:spPr>
        <p:txBody>
          <a:bodyPr wrap="square" rtlCol="0">
            <a:spAutoFit/>
          </a:bodyPr>
          <a:lstStyle/>
          <a:p>
            <a:r>
              <a:rPr lang="en-GB" sz="900" i="1">
                <a:latin typeface="Trebuchet MS" panose="020B0603020202020204" pitchFamily="34" charset="0"/>
              </a:rPr>
              <a:t>...</a:t>
            </a:r>
          </a:p>
        </p:txBody>
      </p:sp>
      <p:sp>
        <p:nvSpPr>
          <p:cNvPr id="174" name="ZoneTexte 173">
            <a:extLst>
              <a:ext uri="{FF2B5EF4-FFF2-40B4-BE49-F238E27FC236}">
                <a16:creationId xmlns:a16="http://schemas.microsoft.com/office/drawing/2014/main" id="{E3EB5A70-9A62-455A-817B-51129A56F9ED}"/>
              </a:ext>
            </a:extLst>
          </p:cNvPr>
          <p:cNvSpPr txBox="1"/>
          <p:nvPr/>
        </p:nvSpPr>
        <p:spPr>
          <a:xfrm>
            <a:off x="6553924" y="3998680"/>
            <a:ext cx="646765" cy="230832"/>
          </a:xfrm>
          <a:prstGeom prst="rect">
            <a:avLst/>
          </a:prstGeom>
          <a:noFill/>
        </p:spPr>
        <p:txBody>
          <a:bodyPr wrap="square" rtlCol="0">
            <a:spAutoFit/>
          </a:bodyPr>
          <a:lstStyle/>
          <a:p>
            <a:r>
              <a:rPr lang="en-GB" sz="900" i="1">
                <a:latin typeface="Trebuchet MS" panose="020B0603020202020204" pitchFamily="34" charset="0"/>
              </a:rPr>
              <a:t>...</a:t>
            </a:r>
          </a:p>
        </p:txBody>
      </p:sp>
      <p:sp>
        <p:nvSpPr>
          <p:cNvPr id="175" name="ZoneTexte 174">
            <a:extLst>
              <a:ext uri="{FF2B5EF4-FFF2-40B4-BE49-F238E27FC236}">
                <a16:creationId xmlns:a16="http://schemas.microsoft.com/office/drawing/2014/main" id="{BCC25C8E-AFD9-40BF-8D07-8C13CA41213E}"/>
              </a:ext>
            </a:extLst>
          </p:cNvPr>
          <p:cNvSpPr txBox="1"/>
          <p:nvPr/>
        </p:nvSpPr>
        <p:spPr>
          <a:xfrm>
            <a:off x="7653350" y="3082240"/>
            <a:ext cx="646765" cy="230832"/>
          </a:xfrm>
          <a:prstGeom prst="rect">
            <a:avLst/>
          </a:prstGeom>
          <a:noFill/>
        </p:spPr>
        <p:txBody>
          <a:bodyPr wrap="square" rtlCol="0">
            <a:spAutoFit/>
          </a:bodyPr>
          <a:lstStyle/>
          <a:p>
            <a:r>
              <a:rPr lang="en-GB" sz="900" i="1">
                <a:latin typeface="Trebuchet MS" panose="020B0603020202020204" pitchFamily="34" charset="0"/>
              </a:rPr>
              <a:t>...</a:t>
            </a:r>
          </a:p>
        </p:txBody>
      </p:sp>
      <p:sp>
        <p:nvSpPr>
          <p:cNvPr id="176" name="ZoneTexte 175">
            <a:extLst>
              <a:ext uri="{FF2B5EF4-FFF2-40B4-BE49-F238E27FC236}">
                <a16:creationId xmlns:a16="http://schemas.microsoft.com/office/drawing/2014/main" id="{7FAB1255-3AAB-4A39-A567-E864F98F76D5}"/>
              </a:ext>
            </a:extLst>
          </p:cNvPr>
          <p:cNvSpPr txBox="1"/>
          <p:nvPr/>
        </p:nvSpPr>
        <p:spPr>
          <a:xfrm>
            <a:off x="9221718" y="3073816"/>
            <a:ext cx="646765" cy="230832"/>
          </a:xfrm>
          <a:prstGeom prst="rect">
            <a:avLst/>
          </a:prstGeom>
          <a:noFill/>
        </p:spPr>
        <p:txBody>
          <a:bodyPr wrap="square" rtlCol="0">
            <a:spAutoFit/>
          </a:bodyPr>
          <a:lstStyle/>
          <a:p>
            <a:r>
              <a:rPr lang="en-GB" sz="900" i="1">
                <a:latin typeface="Trebuchet MS" panose="020B0603020202020204" pitchFamily="34" charset="0"/>
              </a:rPr>
              <a:t>...</a:t>
            </a:r>
          </a:p>
        </p:txBody>
      </p:sp>
      <p:sp>
        <p:nvSpPr>
          <p:cNvPr id="178" name="Parallélogramme 10">
            <a:extLst>
              <a:ext uri="{FF2B5EF4-FFF2-40B4-BE49-F238E27FC236}">
                <a16:creationId xmlns:a16="http://schemas.microsoft.com/office/drawing/2014/main" id="{982C5B18-C1A7-4CEB-8ABD-8DED0231AFE2}"/>
              </a:ext>
            </a:extLst>
          </p:cNvPr>
          <p:cNvSpPr/>
          <p:nvPr/>
        </p:nvSpPr>
        <p:spPr bwMode="auto">
          <a:xfrm>
            <a:off x="315340" y="4179275"/>
            <a:ext cx="886202" cy="236639"/>
          </a:xfrm>
          <a:prstGeom prst="parallelogram">
            <a:avLst>
              <a:gd name="adj" fmla="val 0"/>
            </a:avLst>
          </a:prstGeom>
          <a:solidFill>
            <a:srgbClr val="53B26B"/>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700" b="1">
                <a:solidFill>
                  <a:schemeClr val="bg1"/>
                </a:solidFill>
                <a:latin typeface="Trebuchet MS" panose="020B0603020202020204" pitchFamily="34" charset="0"/>
              </a:rPr>
              <a:t>Data provision</a:t>
            </a:r>
          </a:p>
        </p:txBody>
      </p:sp>
      <p:sp>
        <p:nvSpPr>
          <p:cNvPr id="179" name="Parallélogramme 10">
            <a:extLst>
              <a:ext uri="{FF2B5EF4-FFF2-40B4-BE49-F238E27FC236}">
                <a16:creationId xmlns:a16="http://schemas.microsoft.com/office/drawing/2014/main" id="{6D3122FD-0680-4772-AA7A-40546551C056}"/>
              </a:ext>
            </a:extLst>
          </p:cNvPr>
          <p:cNvSpPr/>
          <p:nvPr/>
        </p:nvSpPr>
        <p:spPr bwMode="auto">
          <a:xfrm>
            <a:off x="315340" y="3923377"/>
            <a:ext cx="886202" cy="236639"/>
          </a:xfrm>
          <a:prstGeom prst="parallelogram">
            <a:avLst>
              <a:gd name="adj" fmla="val 0"/>
            </a:avLst>
          </a:prstGeom>
          <a:solidFill>
            <a:srgbClr val="289B3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700" b="1">
                <a:solidFill>
                  <a:schemeClr val="bg1"/>
                </a:solidFill>
                <a:latin typeface="Trebuchet MS" panose="020B0603020202020204" pitchFamily="34" charset="0"/>
              </a:rPr>
              <a:t>Compliance tools &amp; analysis</a:t>
            </a:r>
          </a:p>
        </p:txBody>
      </p:sp>
      <p:sp>
        <p:nvSpPr>
          <p:cNvPr id="182" name="Parallélogramme 10">
            <a:extLst>
              <a:ext uri="{FF2B5EF4-FFF2-40B4-BE49-F238E27FC236}">
                <a16:creationId xmlns:a16="http://schemas.microsoft.com/office/drawing/2014/main" id="{9A91FAAE-E2F1-4560-B068-B563E8A8C478}"/>
              </a:ext>
            </a:extLst>
          </p:cNvPr>
          <p:cNvSpPr/>
          <p:nvPr/>
        </p:nvSpPr>
        <p:spPr bwMode="auto">
          <a:xfrm>
            <a:off x="1753330" y="4179275"/>
            <a:ext cx="1022010" cy="236639"/>
          </a:xfrm>
          <a:prstGeom prst="parallelogram">
            <a:avLst>
              <a:gd name="adj" fmla="val 0"/>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700" b="1">
                <a:solidFill>
                  <a:schemeClr val="bg1"/>
                </a:solidFill>
                <a:latin typeface="Trebuchet MS" panose="020B0603020202020204" pitchFamily="34" charset="0"/>
              </a:rPr>
              <a:t>Data provision</a:t>
            </a:r>
          </a:p>
        </p:txBody>
      </p:sp>
      <p:sp>
        <p:nvSpPr>
          <p:cNvPr id="183" name="Parallélogramme 10">
            <a:extLst>
              <a:ext uri="{FF2B5EF4-FFF2-40B4-BE49-F238E27FC236}">
                <a16:creationId xmlns:a16="http://schemas.microsoft.com/office/drawing/2014/main" id="{B88EE7C1-3D9D-4F61-A4B5-FE8D6AE09837}"/>
              </a:ext>
            </a:extLst>
          </p:cNvPr>
          <p:cNvSpPr/>
          <p:nvPr/>
        </p:nvSpPr>
        <p:spPr bwMode="auto">
          <a:xfrm>
            <a:off x="1753330" y="3923377"/>
            <a:ext cx="1022010" cy="236639"/>
          </a:xfrm>
          <a:prstGeom prst="parallelogram">
            <a:avLst>
              <a:gd name="adj" fmla="val 0"/>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700" b="1">
                <a:solidFill>
                  <a:schemeClr val="bg1"/>
                </a:solidFill>
                <a:latin typeface="Trebuchet MS" panose="020B0603020202020204" pitchFamily="34" charset="0"/>
              </a:rPr>
              <a:t>Compliance tools &amp; analysis</a:t>
            </a:r>
          </a:p>
        </p:txBody>
      </p:sp>
      <p:sp>
        <p:nvSpPr>
          <p:cNvPr id="185" name="Parallélogramme 10">
            <a:extLst>
              <a:ext uri="{FF2B5EF4-FFF2-40B4-BE49-F238E27FC236}">
                <a16:creationId xmlns:a16="http://schemas.microsoft.com/office/drawing/2014/main" id="{2F863518-E999-4A8D-AAA8-CC6D74ABB047}"/>
              </a:ext>
            </a:extLst>
          </p:cNvPr>
          <p:cNvSpPr/>
          <p:nvPr/>
        </p:nvSpPr>
        <p:spPr bwMode="auto">
          <a:xfrm>
            <a:off x="3639280" y="4179275"/>
            <a:ext cx="1022010" cy="236639"/>
          </a:xfrm>
          <a:prstGeom prst="parallelogram">
            <a:avLst>
              <a:gd name="adj" fmla="val 0"/>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700" b="1">
                <a:solidFill>
                  <a:schemeClr val="bg1"/>
                </a:solidFill>
                <a:latin typeface="Trebuchet MS" panose="020B0603020202020204" pitchFamily="34" charset="0"/>
              </a:rPr>
              <a:t>Data provision</a:t>
            </a:r>
          </a:p>
        </p:txBody>
      </p:sp>
      <p:sp>
        <p:nvSpPr>
          <p:cNvPr id="186" name="Parallélogramme 10">
            <a:extLst>
              <a:ext uri="{FF2B5EF4-FFF2-40B4-BE49-F238E27FC236}">
                <a16:creationId xmlns:a16="http://schemas.microsoft.com/office/drawing/2014/main" id="{E43008FF-4A64-4E27-99B8-29A51BE2F0F8}"/>
              </a:ext>
            </a:extLst>
          </p:cNvPr>
          <p:cNvSpPr/>
          <p:nvPr/>
        </p:nvSpPr>
        <p:spPr bwMode="auto">
          <a:xfrm>
            <a:off x="3639280" y="3923377"/>
            <a:ext cx="1022010" cy="236639"/>
          </a:xfrm>
          <a:prstGeom prst="parallelogram">
            <a:avLst>
              <a:gd name="adj" fmla="val 0"/>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700" b="1">
                <a:solidFill>
                  <a:schemeClr val="bg1"/>
                </a:solidFill>
                <a:latin typeface="Trebuchet MS" panose="020B0603020202020204" pitchFamily="34" charset="0"/>
              </a:rPr>
              <a:t>Compliance tools &amp; analysis</a:t>
            </a:r>
          </a:p>
        </p:txBody>
      </p:sp>
      <p:sp>
        <p:nvSpPr>
          <p:cNvPr id="187" name="ZoneTexte 125">
            <a:extLst>
              <a:ext uri="{FF2B5EF4-FFF2-40B4-BE49-F238E27FC236}">
                <a16:creationId xmlns:a16="http://schemas.microsoft.com/office/drawing/2014/main" id="{DF8302AC-FC88-48EB-81B6-D157BB4F6FC3}"/>
              </a:ext>
            </a:extLst>
          </p:cNvPr>
          <p:cNvSpPr txBox="1"/>
          <p:nvPr/>
        </p:nvSpPr>
        <p:spPr>
          <a:xfrm>
            <a:off x="2010894" y="3889632"/>
            <a:ext cx="640720" cy="349702"/>
          </a:xfrm>
          <a:prstGeom prst="rect">
            <a:avLst/>
          </a:prstGeom>
          <a:noFill/>
        </p:spPr>
        <p:txBody>
          <a:bodyPr wrap="square" lIns="36000" tIns="36000" rIns="36000" bIns="36000" rtlCol="0">
            <a:spAutoFit/>
          </a:bodyPr>
          <a:lstStyle/>
          <a:p>
            <a:pPr marL="171450" indent="-171450" algn="ctr">
              <a:buFont typeface="Wingdings" panose="05000000000000000000" pitchFamily="2" charset="2"/>
              <a:buChar char="ü"/>
            </a:pPr>
            <a:r>
              <a:rPr lang="en-GB" sz="1800" b="1">
                <a:solidFill>
                  <a:schemeClr val="accent1">
                    <a:lumMod val="75000"/>
                  </a:schemeClr>
                </a:solidFill>
                <a:latin typeface="Trebuchet MS" panose="020B0603020202020204" pitchFamily="34" charset="0"/>
              </a:rPr>
              <a:t> </a:t>
            </a:r>
          </a:p>
        </p:txBody>
      </p:sp>
      <p:sp>
        <p:nvSpPr>
          <p:cNvPr id="188" name="ZoneTexte 125">
            <a:extLst>
              <a:ext uri="{FF2B5EF4-FFF2-40B4-BE49-F238E27FC236}">
                <a16:creationId xmlns:a16="http://schemas.microsoft.com/office/drawing/2014/main" id="{FC25A81B-84FA-4A62-B4ED-39CB9137C516}"/>
              </a:ext>
            </a:extLst>
          </p:cNvPr>
          <p:cNvSpPr txBox="1"/>
          <p:nvPr/>
        </p:nvSpPr>
        <p:spPr>
          <a:xfrm>
            <a:off x="2010894" y="4138522"/>
            <a:ext cx="640720" cy="349702"/>
          </a:xfrm>
          <a:prstGeom prst="rect">
            <a:avLst/>
          </a:prstGeom>
          <a:noFill/>
        </p:spPr>
        <p:txBody>
          <a:bodyPr wrap="square" lIns="36000" tIns="36000" rIns="36000" bIns="36000" rtlCol="0">
            <a:spAutoFit/>
          </a:bodyPr>
          <a:lstStyle/>
          <a:p>
            <a:pPr marL="171450" indent="-171450" algn="ctr">
              <a:buFont typeface="Wingdings" panose="05000000000000000000" pitchFamily="2" charset="2"/>
              <a:buChar char="ü"/>
            </a:pPr>
            <a:r>
              <a:rPr lang="en-GB" sz="1800" b="1">
                <a:solidFill>
                  <a:schemeClr val="accent1">
                    <a:lumMod val="75000"/>
                  </a:schemeClr>
                </a:solidFill>
                <a:latin typeface="Trebuchet MS" panose="020B0603020202020204" pitchFamily="34" charset="0"/>
              </a:rPr>
              <a:t> </a:t>
            </a:r>
          </a:p>
        </p:txBody>
      </p:sp>
      <p:sp>
        <p:nvSpPr>
          <p:cNvPr id="189" name="ZoneTexte 125">
            <a:extLst>
              <a:ext uri="{FF2B5EF4-FFF2-40B4-BE49-F238E27FC236}">
                <a16:creationId xmlns:a16="http://schemas.microsoft.com/office/drawing/2014/main" id="{045B3843-30A3-40EC-BE14-FF463B77BE13}"/>
              </a:ext>
            </a:extLst>
          </p:cNvPr>
          <p:cNvSpPr txBox="1"/>
          <p:nvPr/>
        </p:nvSpPr>
        <p:spPr>
          <a:xfrm>
            <a:off x="3839866" y="4138522"/>
            <a:ext cx="640720" cy="349702"/>
          </a:xfrm>
          <a:prstGeom prst="rect">
            <a:avLst/>
          </a:prstGeom>
          <a:noFill/>
        </p:spPr>
        <p:txBody>
          <a:bodyPr wrap="square" lIns="36000" tIns="36000" rIns="36000" bIns="36000" rtlCol="0">
            <a:spAutoFit/>
          </a:bodyPr>
          <a:lstStyle/>
          <a:p>
            <a:pPr marL="171450" indent="-171450" algn="ctr">
              <a:buFont typeface="Wingdings" panose="05000000000000000000" pitchFamily="2" charset="2"/>
              <a:buChar char="ü"/>
            </a:pPr>
            <a:r>
              <a:rPr lang="en-GB" sz="1800" b="1">
                <a:solidFill>
                  <a:schemeClr val="accent1">
                    <a:lumMod val="75000"/>
                  </a:schemeClr>
                </a:solidFill>
                <a:latin typeface="Trebuchet MS" panose="020B0603020202020204" pitchFamily="34" charset="0"/>
              </a:rPr>
              <a:t> </a:t>
            </a:r>
          </a:p>
        </p:txBody>
      </p:sp>
      <p:sp>
        <p:nvSpPr>
          <p:cNvPr id="190" name="ZoneTexte 125">
            <a:extLst>
              <a:ext uri="{FF2B5EF4-FFF2-40B4-BE49-F238E27FC236}">
                <a16:creationId xmlns:a16="http://schemas.microsoft.com/office/drawing/2014/main" id="{9EF2D595-C836-4CC0-9E82-8BDDD8A27163}"/>
              </a:ext>
            </a:extLst>
          </p:cNvPr>
          <p:cNvSpPr txBox="1"/>
          <p:nvPr/>
        </p:nvSpPr>
        <p:spPr>
          <a:xfrm>
            <a:off x="3839866" y="3884426"/>
            <a:ext cx="640720" cy="349702"/>
          </a:xfrm>
          <a:prstGeom prst="rect">
            <a:avLst/>
          </a:prstGeom>
          <a:noFill/>
        </p:spPr>
        <p:txBody>
          <a:bodyPr wrap="square" lIns="36000" tIns="36000" rIns="36000" bIns="36000" rtlCol="0">
            <a:spAutoFit/>
          </a:bodyPr>
          <a:lstStyle/>
          <a:p>
            <a:pPr algn="ctr"/>
            <a:r>
              <a:rPr lang="en-GB" sz="1800" b="1">
                <a:solidFill>
                  <a:schemeClr val="bg1">
                    <a:lumMod val="85000"/>
                  </a:schemeClr>
                </a:solidFill>
                <a:latin typeface="Trebuchet MS" panose="020B0603020202020204" pitchFamily="34" charset="0"/>
              </a:rPr>
              <a:t>X</a:t>
            </a:r>
          </a:p>
        </p:txBody>
      </p:sp>
      <p:cxnSp>
        <p:nvCxnSpPr>
          <p:cNvPr id="126" name="Straight Connector 133">
            <a:extLst>
              <a:ext uri="{FF2B5EF4-FFF2-40B4-BE49-F238E27FC236}">
                <a16:creationId xmlns:a16="http://schemas.microsoft.com/office/drawing/2014/main" id="{C8F4F8B1-861A-4586-AA07-29CCB82303C1}"/>
              </a:ext>
            </a:extLst>
          </p:cNvPr>
          <p:cNvCxnSpPr>
            <a:cxnSpLocks/>
          </p:cNvCxnSpPr>
          <p:nvPr>
            <p:custDataLst>
              <p:tags r:id="rId4"/>
            </p:custDataLst>
          </p:nvPr>
        </p:nvCxnSpPr>
        <p:spPr bwMode="auto">
          <a:xfrm flipV="1">
            <a:off x="879826" y="5159201"/>
            <a:ext cx="562981" cy="87590"/>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27" name="Rectangle 126">
            <a:extLst>
              <a:ext uri="{FF2B5EF4-FFF2-40B4-BE49-F238E27FC236}">
                <a16:creationId xmlns:a16="http://schemas.microsoft.com/office/drawing/2014/main" id="{F82239B7-9FD0-4006-BB9D-356FFB36F24F}"/>
              </a:ext>
            </a:extLst>
          </p:cNvPr>
          <p:cNvSpPr/>
          <p:nvPr/>
        </p:nvSpPr>
        <p:spPr bwMode="auto">
          <a:xfrm>
            <a:off x="929166" y="5016255"/>
            <a:ext cx="395278"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21% </a:t>
            </a:r>
          </a:p>
        </p:txBody>
      </p:sp>
      <p:cxnSp>
        <p:nvCxnSpPr>
          <p:cNvPr id="135" name="Straight Connector 133">
            <a:extLst>
              <a:ext uri="{FF2B5EF4-FFF2-40B4-BE49-F238E27FC236}">
                <a16:creationId xmlns:a16="http://schemas.microsoft.com/office/drawing/2014/main" id="{5BFBDDA8-784E-4D7C-BFAC-B3AF98D01E6C}"/>
              </a:ext>
            </a:extLst>
          </p:cNvPr>
          <p:cNvCxnSpPr>
            <a:cxnSpLocks/>
          </p:cNvCxnSpPr>
          <p:nvPr>
            <p:custDataLst>
              <p:tags r:id="rId5"/>
            </p:custDataLst>
          </p:nvPr>
        </p:nvCxnSpPr>
        <p:spPr bwMode="auto">
          <a:xfrm flipV="1">
            <a:off x="1473982" y="5070134"/>
            <a:ext cx="562981" cy="87590"/>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42" name="Rectangle 141">
            <a:extLst>
              <a:ext uri="{FF2B5EF4-FFF2-40B4-BE49-F238E27FC236}">
                <a16:creationId xmlns:a16="http://schemas.microsoft.com/office/drawing/2014/main" id="{ABE396B4-5E74-4815-B77F-D092D1E1B35E}"/>
              </a:ext>
            </a:extLst>
          </p:cNvPr>
          <p:cNvSpPr/>
          <p:nvPr/>
        </p:nvSpPr>
        <p:spPr bwMode="auto">
          <a:xfrm>
            <a:off x="1523319" y="4936714"/>
            <a:ext cx="395278" cy="173264"/>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18% </a:t>
            </a:r>
          </a:p>
        </p:txBody>
      </p:sp>
      <p:cxnSp>
        <p:nvCxnSpPr>
          <p:cNvPr id="143" name="Straight Connector 133">
            <a:extLst>
              <a:ext uri="{FF2B5EF4-FFF2-40B4-BE49-F238E27FC236}">
                <a16:creationId xmlns:a16="http://schemas.microsoft.com/office/drawing/2014/main" id="{1EA661C8-1767-44C9-8704-FD473773EFB3}"/>
              </a:ext>
            </a:extLst>
          </p:cNvPr>
          <p:cNvCxnSpPr>
            <a:cxnSpLocks/>
          </p:cNvCxnSpPr>
          <p:nvPr>
            <p:custDataLst>
              <p:tags r:id="rId6"/>
            </p:custDataLst>
          </p:nvPr>
        </p:nvCxnSpPr>
        <p:spPr bwMode="auto">
          <a:xfrm flipV="1">
            <a:off x="2046486" y="4989357"/>
            <a:ext cx="562981" cy="87590"/>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44" name="Rectangle 143">
            <a:extLst>
              <a:ext uri="{FF2B5EF4-FFF2-40B4-BE49-F238E27FC236}">
                <a16:creationId xmlns:a16="http://schemas.microsoft.com/office/drawing/2014/main" id="{A62B63EE-5C90-4743-BC53-932C7C62CB32}"/>
              </a:ext>
            </a:extLst>
          </p:cNvPr>
          <p:cNvSpPr/>
          <p:nvPr/>
        </p:nvSpPr>
        <p:spPr bwMode="auto">
          <a:xfrm>
            <a:off x="2022622" y="4874329"/>
            <a:ext cx="395278" cy="173264"/>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15% </a:t>
            </a:r>
          </a:p>
        </p:txBody>
      </p:sp>
      <p:cxnSp>
        <p:nvCxnSpPr>
          <p:cNvPr id="145" name="Straight Connector 133">
            <a:extLst>
              <a:ext uri="{FF2B5EF4-FFF2-40B4-BE49-F238E27FC236}">
                <a16:creationId xmlns:a16="http://schemas.microsoft.com/office/drawing/2014/main" id="{B6B5EF6A-DB41-4BB5-B326-1C11D7226FDB}"/>
              </a:ext>
            </a:extLst>
          </p:cNvPr>
          <p:cNvCxnSpPr>
            <a:cxnSpLocks/>
          </p:cNvCxnSpPr>
          <p:nvPr>
            <p:custDataLst>
              <p:tags r:id="rId7"/>
            </p:custDataLst>
          </p:nvPr>
        </p:nvCxnSpPr>
        <p:spPr bwMode="auto">
          <a:xfrm flipV="1">
            <a:off x="2618406" y="4910309"/>
            <a:ext cx="562981" cy="87590"/>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47" name="Rectangle 146">
            <a:extLst>
              <a:ext uri="{FF2B5EF4-FFF2-40B4-BE49-F238E27FC236}">
                <a16:creationId xmlns:a16="http://schemas.microsoft.com/office/drawing/2014/main" id="{B2694F75-C548-4C90-885D-63F3F32B0E54}"/>
              </a:ext>
            </a:extLst>
          </p:cNvPr>
          <p:cNvSpPr/>
          <p:nvPr/>
        </p:nvSpPr>
        <p:spPr bwMode="auto">
          <a:xfrm>
            <a:off x="2594542" y="4795281"/>
            <a:ext cx="395278" cy="173264"/>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13% </a:t>
            </a:r>
          </a:p>
        </p:txBody>
      </p:sp>
      <p:cxnSp>
        <p:nvCxnSpPr>
          <p:cNvPr id="148" name="Straight Connector 133">
            <a:extLst>
              <a:ext uri="{FF2B5EF4-FFF2-40B4-BE49-F238E27FC236}">
                <a16:creationId xmlns:a16="http://schemas.microsoft.com/office/drawing/2014/main" id="{D5A2835C-BD6D-40E2-82C7-2C356D784B34}"/>
              </a:ext>
            </a:extLst>
          </p:cNvPr>
          <p:cNvCxnSpPr>
            <a:cxnSpLocks/>
          </p:cNvCxnSpPr>
          <p:nvPr>
            <p:custDataLst>
              <p:tags r:id="rId8"/>
            </p:custDataLst>
          </p:nvPr>
        </p:nvCxnSpPr>
        <p:spPr bwMode="auto">
          <a:xfrm flipV="1">
            <a:off x="3168257" y="4889523"/>
            <a:ext cx="512120" cy="22529"/>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49" name="Rectangle 148">
            <a:extLst>
              <a:ext uri="{FF2B5EF4-FFF2-40B4-BE49-F238E27FC236}">
                <a16:creationId xmlns:a16="http://schemas.microsoft.com/office/drawing/2014/main" id="{1FA4CD0B-8F17-44FC-8D15-5484EB24368B}"/>
              </a:ext>
            </a:extLst>
          </p:cNvPr>
          <p:cNvSpPr/>
          <p:nvPr/>
        </p:nvSpPr>
        <p:spPr bwMode="auto">
          <a:xfrm>
            <a:off x="3144393" y="4709434"/>
            <a:ext cx="395278" cy="173264"/>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11% </a:t>
            </a:r>
          </a:p>
        </p:txBody>
      </p:sp>
      <p:cxnSp>
        <p:nvCxnSpPr>
          <p:cNvPr id="150" name="Straight Connector 133">
            <a:extLst>
              <a:ext uri="{FF2B5EF4-FFF2-40B4-BE49-F238E27FC236}">
                <a16:creationId xmlns:a16="http://schemas.microsoft.com/office/drawing/2014/main" id="{2F60D24E-14A9-4DB0-84CF-DE9AC08DE378}"/>
              </a:ext>
            </a:extLst>
          </p:cNvPr>
          <p:cNvCxnSpPr>
            <a:cxnSpLocks/>
          </p:cNvCxnSpPr>
          <p:nvPr>
            <p:custDataLst>
              <p:tags r:id="rId9"/>
            </p:custDataLst>
          </p:nvPr>
        </p:nvCxnSpPr>
        <p:spPr bwMode="auto">
          <a:xfrm flipV="1">
            <a:off x="3698597" y="4824462"/>
            <a:ext cx="555617" cy="65061"/>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51" name="Rectangle 150">
            <a:extLst>
              <a:ext uri="{FF2B5EF4-FFF2-40B4-BE49-F238E27FC236}">
                <a16:creationId xmlns:a16="http://schemas.microsoft.com/office/drawing/2014/main" id="{2180B601-699E-4FA4-82E6-C0E16BCAC257}"/>
              </a:ext>
            </a:extLst>
          </p:cNvPr>
          <p:cNvSpPr/>
          <p:nvPr/>
        </p:nvSpPr>
        <p:spPr bwMode="auto">
          <a:xfrm>
            <a:off x="3667369" y="4709434"/>
            <a:ext cx="395278" cy="173264"/>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9% </a:t>
            </a:r>
          </a:p>
        </p:txBody>
      </p:sp>
      <p:cxnSp>
        <p:nvCxnSpPr>
          <p:cNvPr id="152" name="Straight Connector 133">
            <a:extLst>
              <a:ext uri="{FF2B5EF4-FFF2-40B4-BE49-F238E27FC236}">
                <a16:creationId xmlns:a16="http://schemas.microsoft.com/office/drawing/2014/main" id="{3AB21DE7-D02D-4FA4-A73D-C0218B6C0D9A}"/>
              </a:ext>
            </a:extLst>
          </p:cNvPr>
          <p:cNvCxnSpPr>
            <a:cxnSpLocks/>
          </p:cNvCxnSpPr>
          <p:nvPr>
            <p:custDataLst>
              <p:tags r:id="rId10"/>
            </p:custDataLst>
          </p:nvPr>
        </p:nvCxnSpPr>
        <p:spPr bwMode="auto">
          <a:xfrm flipV="1">
            <a:off x="4231838" y="4742030"/>
            <a:ext cx="522309" cy="88827"/>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53" name="Rectangle 152">
            <a:extLst>
              <a:ext uri="{FF2B5EF4-FFF2-40B4-BE49-F238E27FC236}">
                <a16:creationId xmlns:a16="http://schemas.microsoft.com/office/drawing/2014/main" id="{F9253080-89DD-4BA5-82F7-A6266308C943}"/>
              </a:ext>
            </a:extLst>
          </p:cNvPr>
          <p:cNvSpPr/>
          <p:nvPr/>
        </p:nvSpPr>
        <p:spPr bwMode="auto">
          <a:xfrm>
            <a:off x="4196880" y="4651198"/>
            <a:ext cx="395278" cy="173264"/>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8% </a:t>
            </a:r>
          </a:p>
        </p:txBody>
      </p:sp>
      <p:sp>
        <p:nvSpPr>
          <p:cNvPr id="5" name="Bulle narrative : rectangle 4">
            <a:extLst>
              <a:ext uri="{FF2B5EF4-FFF2-40B4-BE49-F238E27FC236}">
                <a16:creationId xmlns:a16="http://schemas.microsoft.com/office/drawing/2014/main" id="{6D12C115-87E5-441F-A55E-2829608B8374}"/>
              </a:ext>
            </a:extLst>
          </p:cNvPr>
          <p:cNvSpPr/>
          <p:nvPr/>
        </p:nvSpPr>
        <p:spPr bwMode="auto">
          <a:xfrm>
            <a:off x="2946400" y="4101506"/>
            <a:ext cx="935190" cy="244386"/>
          </a:xfrm>
          <a:prstGeom prst="wedgeRectCallout">
            <a:avLst>
              <a:gd name="adj1" fmla="val 31111"/>
              <a:gd name="adj2" fmla="val 66397"/>
            </a:avLst>
          </a:prstGeom>
          <a:solidFill>
            <a:srgbClr val="F2F2F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itchFamily="34" charset="0"/>
              </a:rPr>
              <a:t>UBOs only</a:t>
            </a:r>
            <a:endParaRPr kumimoji="0" lang="en-GB" sz="900" b="0" i="0" u="none" strike="noStrike" cap="none" normalizeH="0" baseline="0">
              <a:ln>
                <a:noFill/>
              </a:ln>
              <a:solidFill>
                <a:schemeClr val="tx1"/>
              </a:solidFill>
              <a:effectLst/>
              <a:latin typeface="Trebuchet MS" pitchFamily="34" charset="0"/>
            </a:endParaRPr>
          </a:p>
        </p:txBody>
      </p:sp>
    </p:spTree>
    <p:extLst>
      <p:ext uri="{BB962C8B-B14F-4D97-AF65-F5344CB8AC3E}">
        <p14:creationId xmlns:p14="http://schemas.microsoft.com/office/powerpoint/2010/main" val="2927211765"/>
      </p:ext>
    </p:extLst>
  </p:cSld>
  <p:clrMapOvr>
    <a:masterClrMapping/>
  </p:clrMapOvr>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5D8A451-9CCF-4721-81BC-4455201434B2}"/>
              </a:ext>
            </a:extLst>
          </p:cNvPr>
          <p:cNvGraphicFramePr>
            <a:graphicFrameLocks noChangeAspect="1"/>
          </p:cNvGraphicFramePr>
          <p:nvPr>
            <p:custDataLst>
              <p:tags r:id="rId1"/>
            </p:custDataLst>
            <p:extLst>
              <p:ext uri="{D42A27DB-BD31-4B8C-83A1-F6EECF244321}">
                <p14:modId xmlns:p14="http://schemas.microsoft.com/office/powerpoint/2010/main" val="3169523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7" name="Object 6" hidden="1">
                        <a:extLst>
                          <a:ext uri="{FF2B5EF4-FFF2-40B4-BE49-F238E27FC236}">
                            <a16:creationId xmlns:a16="http://schemas.microsoft.com/office/drawing/2014/main" id="{D5D8A451-9CCF-4721-81BC-4455201434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1381AAA-C103-400B-A0E3-B9609C488AF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5" name="Rectangle 4">
            <a:extLst>
              <a:ext uri="{FF2B5EF4-FFF2-40B4-BE49-F238E27FC236}">
                <a16:creationId xmlns:a16="http://schemas.microsoft.com/office/drawing/2014/main" id="{A1AE1010-4DC4-4E84-B9D3-B2CAA7A78AA4}"/>
              </a:ext>
            </a:extLst>
          </p:cNvPr>
          <p:cNvSpPr/>
          <p:nvPr/>
        </p:nvSpPr>
        <p:spPr bwMode="auto">
          <a:xfrm>
            <a:off x="256803" y="1108411"/>
            <a:ext cx="9392393" cy="531921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mc:AlternateContent xmlns:mc="http://schemas.openxmlformats.org/markup-compatibility/2006" xmlns:cx1="http://schemas.microsoft.com/office/drawing/2015/9/8/chartex">
        <mc:Choice Requires="cx1">
          <p:graphicFrame>
            <p:nvGraphicFramePr>
              <p:cNvPr id="33" name="Chart 32">
                <a:extLst>
                  <a:ext uri="{FF2B5EF4-FFF2-40B4-BE49-F238E27FC236}">
                    <a16:creationId xmlns:a16="http://schemas.microsoft.com/office/drawing/2014/main" id="{00F23043-58DB-42DB-87F0-DFE1A5A35BA9}"/>
                  </a:ext>
                </a:extLst>
              </p:cNvPr>
              <p:cNvGraphicFramePr/>
              <p:nvPr>
                <p:extLst>
                  <p:ext uri="{D42A27DB-BD31-4B8C-83A1-F6EECF244321}">
                    <p14:modId xmlns:p14="http://schemas.microsoft.com/office/powerpoint/2010/main" val="1309718819"/>
                  </p:ext>
                </p:extLst>
              </p:nvPr>
            </p:nvGraphicFramePr>
            <p:xfrm>
              <a:off x="400931" y="1539150"/>
              <a:ext cx="5804197" cy="479474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33" name="Chart 32">
                <a:extLst>
                  <a:ext uri="{FF2B5EF4-FFF2-40B4-BE49-F238E27FC236}">
                    <a16:creationId xmlns:a16="http://schemas.microsoft.com/office/drawing/2014/main" id="{00F23043-58DB-42DB-87F0-DFE1A5A35BA9}"/>
                  </a:ext>
                </a:extLst>
              </p:cNvPr>
              <p:cNvPicPr>
                <a:picLocks noGrp="1" noRot="1" noChangeAspect="1" noMove="1" noResize="1" noEditPoints="1" noAdjustHandles="1" noChangeArrowheads="1" noChangeShapeType="1"/>
              </p:cNvPicPr>
              <p:nvPr/>
            </p:nvPicPr>
            <p:blipFill>
              <a:blip r:embed="rId8"/>
              <a:stretch>
                <a:fillRect/>
              </a:stretch>
            </p:blipFill>
            <p:spPr>
              <a:xfrm>
                <a:off x="400931" y="1539150"/>
                <a:ext cx="5804197" cy="4794743"/>
              </a:xfrm>
              <a:prstGeom prst="rect">
                <a:avLst/>
              </a:prstGeom>
            </p:spPr>
          </p:pic>
        </mc:Fallback>
      </mc:AlternateContent>
      <p:sp>
        <p:nvSpPr>
          <p:cNvPr id="2" name="Title 1">
            <a:extLst>
              <a:ext uri="{FF2B5EF4-FFF2-40B4-BE49-F238E27FC236}">
                <a16:creationId xmlns:a16="http://schemas.microsoft.com/office/drawing/2014/main" id="{356E2121-E170-4E23-BD37-8FBCB6761C4E}"/>
              </a:ext>
            </a:extLst>
          </p:cNvPr>
          <p:cNvSpPr>
            <a:spLocks noGrp="1"/>
          </p:cNvSpPr>
          <p:nvPr>
            <p:ph type="title"/>
          </p:nvPr>
        </p:nvSpPr>
        <p:spPr>
          <a:xfrm>
            <a:off x="165600" y="147600"/>
            <a:ext cx="8388164" cy="684000"/>
          </a:xfrm>
          <a:noFill/>
        </p:spPr>
        <p:txBody>
          <a:bodyPr/>
          <a:lstStyle/>
          <a:p>
            <a:r>
              <a:rPr lang="en-GB" err="1">
                <a:solidFill>
                  <a:schemeClr val="tx2"/>
                </a:solidFill>
                <a:latin typeface="Trebuchet MS" panose="020B0603020202020204" pitchFamily="34" charset="0"/>
              </a:rPr>
              <a:t>Manageo</a:t>
            </a:r>
            <a:r>
              <a:rPr lang="en-GB">
                <a:solidFill>
                  <a:schemeClr val="tx2"/>
                </a:solidFill>
                <a:latin typeface="Trebuchet MS" panose="020B0603020202020204" pitchFamily="34" charset="0"/>
              </a:rPr>
              <a:t> steady growth </a:t>
            </a:r>
            <a:r>
              <a:rPr lang="en-GB">
                <a:latin typeface="Trebuchet MS" panose="020B0603020202020204" pitchFamily="34" charset="0"/>
              </a:rPr>
              <a:t>relies on </a:t>
            </a:r>
            <a:r>
              <a:rPr lang="en-GB">
                <a:solidFill>
                  <a:schemeClr val="tx2"/>
                </a:solidFill>
                <a:latin typeface="Trebuchet MS" panose="020B0603020202020204" pitchFamily="34" charset="0"/>
              </a:rPr>
              <a:t>strong customer acquisition </a:t>
            </a:r>
            <a:r>
              <a:rPr lang="en-GB">
                <a:latin typeface="Trebuchet MS" panose="020B0603020202020204" pitchFamily="34" charset="0"/>
              </a:rPr>
              <a:t>enabling to offset natural churn over the years as </a:t>
            </a:r>
            <a:r>
              <a:rPr lang="en-GB" err="1">
                <a:latin typeface="Trebuchet MS" panose="020B0603020202020204" pitchFamily="34" charset="0"/>
              </a:rPr>
              <a:t>Manageo</a:t>
            </a:r>
            <a:r>
              <a:rPr lang="en-GB">
                <a:latin typeface="Trebuchet MS" panose="020B0603020202020204" pitchFamily="34" charset="0"/>
              </a:rPr>
              <a:t>’ activity is </a:t>
            </a:r>
            <a:r>
              <a:rPr lang="en-GB">
                <a:solidFill>
                  <a:schemeClr val="tx2"/>
                </a:solidFill>
                <a:latin typeface="Trebuchet MS" panose="020B0603020202020204" pitchFamily="34" charset="0"/>
              </a:rPr>
              <a:t>mainly characterized by one-off products</a:t>
            </a:r>
          </a:p>
        </p:txBody>
      </p:sp>
      <p:sp>
        <p:nvSpPr>
          <p:cNvPr id="3" name="Text Placeholder 2">
            <a:extLst>
              <a:ext uri="{FF2B5EF4-FFF2-40B4-BE49-F238E27FC236}">
                <a16:creationId xmlns:a16="http://schemas.microsoft.com/office/drawing/2014/main" id="{FBD13BD1-B840-4073-A6D1-1E8723FF6B39}"/>
              </a:ext>
            </a:extLst>
          </p:cNvPr>
          <p:cNvSpPr>
            <a:spLocks noGrp="1"/>
          </p:cNvSpPr>
          <p:nvPr>
            <p:ph type="body" sz="quarter" idx="10"/>
          </p:nvPr>
        </p:nvSpPr>
        <p:spPr/>
        <p:txBody>
          <a:bodyPr/>
          <a:lstStyle/>
          <a:p>
            <a:r>
              <a:rPr lang="en-GB"/>
              <a:t>Sources: eleven research &amp; analysis, company data</a:t>
            </a:r>
          </a:p>
        </p:txBody>
      </p:sp>
      <p:sp>
        <p:nvSpPr>
          <p:cNvPr id="8" name="Rectangle : coins arrondis 25">
            <a:extLst>
              <a:ext uri="{FF2B5EF4-FFF2-40B4-BE49-F238E27FC236}">
                <a16:creationId xmlns:a16="http://schemas.microsoft.com/office/drawing/2014/main" id="{A2AC5C70-8EB5-4F0C-A842-AADC34B04F23}"/>
              </a:ext>
            </a:extLst>
          </p:cNvPr>
          <p:cNvSpPr/>
          <p:nvPr/>
        </p:nvSpPr>
        <p:spPr bwMode="auto">
          <a:xfrm>
            <a:off x="6378309" y="1505263"/>
            <a:ext cx="3024546" cy="1432106"/>
          </a:xfrm>
          <a:prstGeom prst="roundRect">
            <a:avLst>
              <a:gd name="adj" fmla="val 0"/>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600"/>
              </a:spcAft>
            </a:pPr>
            <a:r>
              <a:rPr lang="en-GB" sz="1000" b="1" dirty="0">
                <a:latin typeface="Trebuchet MS" panose="020B0603020202020204" pitchFamily="34" charset="0"/>
              </a:rPr>
              <a:t>Description of categories</a:t>
            </a:r>
          </a:p>
          <a:p>
            <a:pPr marL="171450" indent="-171450">
              <a:buClr>
                <a:schemeClr val="tx1"/>
              </a:buClr>
              <a:buFont typeface="Arial" panose="020B0604020202020204" pitchFamily="34" charset="0"/>
              <a:buChar char="•"/>
            </a:pPr>
            <a:r>
              <a:rPr lang="en-GB" sz="1000" dirty="0" err="1">
                <a:solidFill>
                  <a:schemeClr val="tx2"/>
                </a:solidFill>
                <a:latin typeface="Trebuchet MS" panose="020B0603020202020204" pitchFamily="34" charset="0"/>
              </a:rPr>
              <a:t>LfL</a:t>
            </a:r>
            <a:r>
              <a:rPr lang="en-GB" sz="1000" dirty="0">
                <a:solidFill>
                  <a:schemeClr val="tx2"/>
                </a:solidFill>
                <a:latin typeface="Trebuchet MS" panose="020B0603020202020204" pitchFamily="34" charset="0"/>
              </a:rPr>
              <a:t> YEAR</a:t>
            </a:r>
            <a:r>
              <a:rPr lang="en-GB" sz="1000" dirty="0">
                <a:latin typeface="Trebuchet MS" panose="020B0603020202020204" pitchFamily="34" charset="0"/>
              </a:rPr>
              <a:t>: All clients that generated revenue in years YEAR and YEAR+1 and then includes up-sell, down-sell and sales same as previous</a:t>
            </a:r>
          </a:p>
          <a:p>
            <a:pPr marL="171450" indent="-171450">
              <a:buClr>
                <a:schemeClr val="tx1"/>
              </a:buClr>
              <a:buFont typeface="Arial" panose="020B0604020202020204" pitchFamily="34" charset="0"/>
              <a:buChar char="•"/>
            </a:pPr>
            <a:r>
              <a:rPr lang="en-GB" sz="1000" dirty="0">
                <a:solidFill>
                  <a:schemeClr val="tx2"/>
                </a:solidFill>
                <a:latin typeface="Trebuchet MS" panose="020B0603020202020204" pitchFamily="34" charset="0"/>
              </a:rPr>
              <a:t>Churn YEAR</a:t>
            </a:r>
            <a:r>
              <a:rPr lang="en-GB" sz="1000" dirty="0">
                <a:latin typeface="Trebuchet MS" panose="020B0603020202020204" pitchFamily="34" charset="0"/>
              </a:rPr>
              <a:t>: All clients that generated revenue in year </a:t>
            </a:r>
            <a:r>
              <a:rPr lang="en-GB" sz="1000" dirty="0" err="1">
                <a:latin typeface="Trebuchet MS" panose="020B0603020202020204" pitchFamily="34" charset="0"/>
              </a:rPr>
              <a:t>YEAR</a:t>
            </a:r>
            <a:r>
              <a:rPr lang="en-GB" sz="1000" dirty="0">
                <a:latin typeface="Trebuchet MS" panose="020B0603020202020204" pitchFamily="34" charset="0"/>
              </a:rPr>
              <a:t> and not in year YEAR+1</a:t>
            </a:r>
          </a:p>
          <a:p>
            <a:pPr marL="171450" indent="-171450">
              <a:buClr>
                <a:schemeClr val="tx1"/>
              </a:buClr>
              <a:buFont typeface="Arial" panose="020B0604020202020204" pitchFamily="34" charset="0"/>
              <a:buChar char="•"/>
            </a:pPr>
            <a:r>
              <a:rPr lang="en-GB" sz="1000" dirty="0">
                <a:solidFill>
                  <a:schemeClr val="tx2"/>
                </a:solidFill>
                <a:latin typeface="Trebuchet MS" panose="020B0603020202020204" pitchFamily="34" charset="0"/>
              </a:rPr>
              <a:t>New YEAR</a:t>
            </a:r>
            <a:r>
              <a:rPr lang="en-GB" sz="1000" dirty="0">
                <a:latin typeface="Trebuchet MS" panose="020B0603020202020204" pitchFamily="34" charset="0"/>
              </a:rPr>
              <a:t>: All clients that generated revenue in year </a:t>
            </a:r>
            <a:r>
              <a:rPr lang="en-GB" sz="1000" dirty="0" err="1">
                <a:latin typeface="Trebuchet MS" panose="020B0603020202020204" pitchFamily="34" charset="0"/>
              </a:rPr>
              <a:t>YEAR</a:t>
            </a:r>
            <a:r>
              <a:rPr lang="en-GB" sz="1000" dirty="0">
                <a:latin typeface="Trebuchet MS" panose="020B0603020202020204" pitchFamily="34" charset="0"/>
              </a:rPr>
              <a:t> and not in year YEAR-1</a:t>
            </a:r>
            <a:endParaRPr lang="en-GB" sz="1000" dirty="0">
              <a:solidFill>
                <a:schemeClr val="tx2"/>
              </a:solidFill>
              <a:latin typeface="Trebuchet MS" panose="020B0603020202020204" pitchFamily="34" charset="0"/>
            </a:endParaRPr>
          </a:p>
        </p:txBody>
      </p:sp>
      <p:sp>
        <p:nvSpPr>
          <p:cNvPr id="21" name="Rectangle 20">
            <a:extLst>
              <a:ext uri="{FF2B5EF4-FFF2-40B4-BE49-F238E27FC236}">
                <a16:creationId xmlns:a16="http://schemas.microsoft.com/office/drawing/2014/main" id="{8DF558A3-1E6B-42C4-BC10-9D27518050F9}"/>
              </a:ext>
            </a:extLst>
          </p:cNvPr>
          <p:cNvSpPr/>
          <p:nvPr/>
        </p:nvSpPr>
        <p:spPr bwMode="auto">
          <a:xfrm>
            <a:off x="615787" y="1113659"/>
            <a:ext cx="4238626"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Waterfall of </a:t>
            </a:r>
            <a:r>
              <a:rPr lang="en-GB" sz="1000" b="1" i="1" err="1">
                <a:latin typeface="Trebuchet MS" panose="020B0603020202020204" pitchFamily="34" charset="0"/>
              </a:rPr>
              <a:t>Manageo</a:t>
            </a:r>
            <a:r>
              <a:rPr lang="en-GB" sz="1000" b="1" i="1">
                <a:latin typeface="Trebuchet MS" panose="020B0603020202020204" pitchFamily="34" charset="0"/>
              </a:rPr>
              <a:t>’ sales between 2017 and 2019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2" name="Rectangle 31">
            <a:extLst>
              <a:ext uri="{FF2B5EF4-FFF2-40B4-BE49-F238E27FC236}">
                <a16:creationId xmlns:a16="http://schemas.microsoft.com/office/drawing/2014/main" id="{83672DA3-89ED-4CAE-B6D7-22C414ADECA6}"/>
              </a:ext>
            </a:extLst>
          </p:cNvPr>
          <p:cNvSpPr/>
          <p:nvPr/>
        </p:nvSpPr>
        <p:spPr bwMode="auto">
          <a:xfrm>
            <a:off x="6378309" y="5295593"/>
            <a:ext cx="3027059" cy="1028698"/>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b="1">
                <a:latin typeface="Trebuchet MS" panose="020B0603020202020204" pitchFamily="34" charset="0"/>
              </a:rPr>
              <a:t>Comments</a:t>
            </a:r>
            <a:endParaRPr lang="en-GB" sz="1000">
              <a:latin typeface="Trebuchet MS" pitchFamily="34" charset="0"/>
            </a:endParaRPr>
          </a:p>
          <a:p>
            <a:pPr marL="228600" indent="-228600">
              <a:spcBef>
                <a:spcPts val="600"/>
              </a:spcBef>
              <a:buClr>
                <a:schemeClr val="tx1"/>
              </a:buClr>
              <a:buFont typeface="Arial" panose="020B0604020202020204" pitchFamily="34" charset="0"/>
              <a:buChar char="•"/>
            </a:pPr>
            <a:r>
              <a:rPr lang="en-GB" sz="1000">
                <a:latin typeface="Trebuchet MS" pitchFamily="34" charset="0"/>
              </a:rPr>
              <a:t>Every year new business is offsetting churn showing </a:t>
            </a:r>
            <a:r>
              <a:rPr lang="en-GB" sz="1000" err="1">
                <a:latin typeface="Trebuchet MS" panose="020B0603020202020204" pitchFamily="34" charset="0"/>
              </a:rPr>
              <a:t>Manageo’s</a:t>
            </a:r>
            <a:r>
              <a:rPr lang="en-GB" sz="1000">
                <a:latin typeface="Trebuchet MS" panose="020B0603020202020204" pitchFamily="34" charset="0"/>
              </a:rPr>
              <a:t> strong customer “hunting” ability</a:t>
            </a:r>
            <a:endParaRPr lang="en-GB" sz="1000">
              <a:solidFill>
                <a:schemeClr val="tx2"/>
              </a:solidFill>
              <a:latin typeface="Trebuchet MS" panose="020B0603020202020204" pitchFamily="34" charset="0"/>
            </a:endParaRPr>
          </a:p>
        </p:txBody>
      </p:sp>
      <p:grpSp>
        <p:nvGrpSpPr>
          <p:cNvPr id="36" name="Group 4">
            <a:extLst>
              <a:ext uri="{FF2B5EF4-FFF2-40B4-BE49-F238E27FC236}">
                <a16:creationId xmlns:a16="http://schemas.microsoft.com/office/drawing/2014/main" id="{FE38731D-45C7-46BF-95F0-141B5655AFB2}"/>
              </a:ext>
            </a:extLst>
          </p:cNvPr>
          <p:cNvGrpSpPr>
            <a:grpSpLocks noChangeAspect="1"/>
          </p:cNvGrpSpPr>
          <p:nvPr/>
        </p:nvGrpSpPr>
        <p:grpSpPr bwMode="auto">
          <a:xfrm>
            <a:off x="7220427" y="5353779"/>
            <a:ext cx="226868" cy="184867"/>
            <a:chOff x="788" y="869"/>
            <a:chExt cx="740" cy="603"/>
          </a:xfrm>
          <a:solidFill>
            <a:schemeClr val="tx1"/>
          </a:solidFill>
        </p:grpSpPr>
        <p:sp>
          <p:nvSpPr>
            <p:cNvPr id="37" name="Freeform 5">
              <a:extLst>
                <a:ext uri="{FF2B5EF4-FFF2-40B4-BE49-F238E27FC236}">
                  <a16:creationId xmlns:a16="http://schemas.microsoft.com/office/drawing/2014/main" id="{01868F54-CC04-4009-8B1E-8F8F1F38B9E6}"/>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Rectangle 6">
              <a:extLst>
                <a:ext uri="{FF2B5EF4-FFF2-40B4-BE49-F238E27FC236}">
                  <a16:creationId xmlns:a16="http://schemas.microsoft.com/office/drawing/2014/main" id="{7219CFDF-0234-4BE8-AA37-DEE46D5B9C44}"/>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Rectangle 7">
              <a:extLst>
                <a:ext uri="{FF2B5EF4-FFF2-40B4-BE49-F238E27FC236}">
                  <a16:creationId xmlns:a16="http://schemas.microsoft.com/office/drawing/2014/main" id="{20E9CC33-2F0E-4F5B-B241-E25CB55885C8}"/>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Rectangle 8">
              <a:extLst>
                <a:ext uri="{FF2B5EF4-FFF2-40B4-BE49-F238E27FC236}">
                  <a16:creationId xmlns:a16="http://schemas.microsoft.com/office/drawing/2014/main" id="{59AEEC01-84F5-4637-88A3-5570D6E36F0D}"/>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4" name="Groupe 83">
            <a:extLst>
              <a:ext uri="{FF2B5EF4-FFF2-40B4-BE49-F238E27FC236}">
                <a16:creationId xmlns:a16="http://schemas.microsoft.com/office/drawing/2014/main" id="{15A86253-F206-4732-B3D4-9986B9269F08}"/>
              </a:ext>
            </a:extLst>
          </p:cNvPr>
          <p:cNvGrpSpPr/>
          <p:nvPr/>
        </p:nvGrpSpPr>
        <p:grpSpPr>
          <a:xfrm>
            <a:off x="8448150" y="-11528"/>
            <a:ext cx="1435548" cy="606240"/>
            <a:chOff x="8448150" y="-11528"/>
            <a:chExt cx="1435548" cy="606240"/>
          </a:xfrm>
        </p:grpSpPr>
        <p:grpSp>
          <p:nvGrpSpPr>
            <p:cNvPr id="70" name="Groupe 69">
              <a:extLst>
                <a:ext uri="{FF2B5EF4-FFF2-40B4-BE49-F238E27FC236}">
                  <a16:creationId xmlns:a16="http://schemas.microsoft.com/office/drawing/2014/main" id="{099C2009-42CE-404A-A790-009323776CCC}"/>
                </a:ext>
              </a:extLst>
            </p:cNvPr>
            <p:cNvGrpSpPr/>
            <p:nvPr/>
          </p:nvGrpSpPr>
          <p:grpSpPr>
            <a:xfrm>
              <a:off x="8448150" y="-11528"/>
              <a:ext cx="1435548" cy="451904"/>
              <a:chOff x="8448150" y="-11528"/>
              <a:chExt cx="1435548" cy="451904"/>
            </a:xfrm>
          </p:grpSpPr>
          <p:sp>
            <p:nvSpPr>
              <p:cNvPr id="72" name="Rectangle : coins arrondis 199">
                <a:extLst>
                  <a:ext uri="{FF2B5EF4-FFF2-40B4-BE49-F238E27FC236}">
                    <a16:creationId xmlns:a16="http://schemas.microsoft.com/office/drawing/2014/main" id="{E499FB98-2E6E-4250-9807-166D499E8538}"/>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3" name="Rectangle : coins arrondis 200">
                <a:extLst>
                  <a:ext uri="{FF2B5EF4-FFF2-40B4-BE49-F238E27FC236}">
                    <a16:creationId xmlns:a16="http://schemas.microsoft.com/office/drawing/2014/main" id="{611CC5DE-9E6F-406B-9595-8EADC6BE87D3}"/>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4" name="Rectangle : coins arrondis 201">
                <a:extLst>
                  <a:ext uri="{FF2B5EF4-FFF2-40B4-BE49-F238E27FC236}">
                    <a16:creationId xmlns:a16="http://schemas.microsoft.com/office/drawing/2014/main" id="{1B87F58E-127E-4A8A-9DCA-2A0E7E8A3523}"/>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5" name="ZoneTexte 18">
                <a:extLst>
                  <a:ext uri="{FF2B5EF4-FFF2-40B4-BE49-F238E27FC236}">
                    <a16:creationId xmlns:a16="http://schemas.microsoft.com/office/drawing/2014/main" id="{E3A38CC3-64C1-45DB-8C1E-4024EC10CFF5}"/>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76" name="Graphique 128" descr="Jauge">
                <a:extLst>
                  <a:ext uri="{FF2B5EF4-FFF2-40B4-BE49-F238E27FC236}">
                    <a16:creationId xmlns:a16="http://schemas.microsoft.com/office/drawing/2014/main" id="{34268161-61D0-44FC-A574-30923E69DF2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53764" y="187516"/>
                <a:ext cx="234953" cy="218224"/>
              </a:xfrm>
              <a:prstGeom prst="rect">
                <a:avLst/>
              </a:prstGeom>
              <a:effectLst/>
            </p:spPr>
          </p:pic>
          <p:pic>
            <p:nvPicPr>
              <p:cNvPr id="77" name="Graphique 90" descr="Poignée de main">
                <a:extLst>
                  <a:ext uri="{FF2B5EF4-FFF2-40B4-BE49-F238E27FC236}">
                    <a16:creationId xmlns:a16="http://schemas.microsoft.com/office/drawing/2014/main" id="{2DC1EEAB-CA61-41FD-A87A-7479D657477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60868" y="152880"/>
                <a:ext cx="256313" cy="287496"/>
              </a:xfrm>
              <a:prstGeom prst="rect">
                <a:avLst/>
              </a:prstGeom>
              <a:effectLst/>
            </p:spPr>
          </p:pic>
          <p:pic>
            <p:nvPicPr>
              <p:cNvPr id="78" name="Graphique 74" descr="Mégaphone">
                <a:extLst>
                  <a:ext uri="{FF2B5EF4-FFF2-40B4-BE49-F238E27FC236}">
                    <a16:creationId xmlns:a16="http://schemas.microsoft.com/office/drawing/2014/main" id="{CC66F75F-2DD1-4CE8-BB0C-EA424B92B02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389331" y="181519"/>
                <a:ext cx="233011" cy="216420"/>
              </a:xfrm>
              <a:prstGeom prst="rect">
                <a:avLst/>
              </a:prstGeom>
              <a:effectLst/>
            </p:spPr>
          </p:pic>
          <p:pic>
            <p:nvPicPr>
              <p:cNvPr id="79" name="Picture 2" descr="Drapeau France">
                <a:extLst>
                  <a:ext uri="{FF2B5EF4-FFF2-40B4-BE49-F238E27FC236}">
                    <a16:creationId xmlns:a16="http://schemas.microsoft.com/office/drawing/2014/main" id="{F2D67598-7821-4EA2-9FE3-7E4DC6D01D23}"/>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grpSp>
        <p:pic>
          <p:nvPicPr>
            <p:cNvPr id="83" name="Picture 2">
              <a:extLst>
                <a:ext uri="{FF2B5EF4-FFF2-40B4-BE49-F238E27FC236}">
                  <a16:creationId xmlns:a16="http://schemas.microsoft.com/office/drawing/2014/main" id="{BFE31709-7FCF-4875-BE9D-C498BBE1D36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927990" y="449606"/>
              <a:ext cx="428463" cy="145106"/>
            </a:xfrm>
            <a:prstGeom prst="rect">
              <a:avLst/>
            </a:prstGeom>
            <a:noFill/>
            <a:extLst>
              <a:ext uri="{909E8E84-426E-40DD-AFC4-6F175D3DCCD1}">
                <a14:hiddenFill xmlns:a14="http://schemas.microsoft.com/office/drawing/2010/main">
                  <a:solidFill>
                    <a:srgbClr val="FFFFFF"/>
                  </a:solidFill>
                </a14:hiddenFill>
              </a:ext>
            </a:extLst>
          </p:spPr>
        </p:pic>
      </p:grpSp>
      <p:sp>
        <p:nvSpPr>
          <p:cNvPr id="53" name="Bulle narrative : rectangle 3">
            <a:extLst>
              <a:ext uri="{FF2B5EF4-FFF2-40B4-BE49-F238E27FC236}">
                <a16:creationId xmlns:a16="http://schemas.microsoft.com/office/drawing/2014/main" id="{227AA692-D11C-43B6-817A-D6D0C44061E4}"/>
              </a:ext>
            </a:extLst>
          </p:cNvPr>
          <p:cNvSpPr/>
          <p:nvPr/>
        </p:nvSpPr>
        <p:spPr bwMode="auto">
          <a:xfrm>
            <a:off x="6380822" y="3089772"/>
            <a:ext cx="3024546" cy="2053418"/>
          </a:xfrm>
          <a:prstGeom prst="wedgeRectCallout">
            <a:avLst>
              <a:gd name="adj1" fmla="val -57878"/>
              <a:gd name="adj2" fmla="val -17514"/>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effectLst/>
                <a:latin typeface="Trebuchet MS" panose="020B0603020202020204" pitchFamily="34" charset="0"/>
              </a:rPr>
              <a:t>Readin</a:t>
            </a:r>
            <a:r>
              <a:rPr lang="en-GB" sz="1000" b="1">
                <a:latin typeface="Trebuchet MS" panose="020B0603020202020204" pitchFamily="34" charset="0"/>
              </a:rPr>
              <a:t>g insights</a:t>
            </a:r>
          </a:p>
          <a:p>
            <a:pPr marL="0" marR="0" indent="0" algn="ctr" defTabSz="914400" rtl="0" eaLnBrk="1" fontAlgn="base" latinLnBrk="0" hangingPunct="1">
              <a:lnSpc>
                <a:spcPct val="100000"/>
              </a:lnSpc>
              <a:spcBef>
                <a:spcPct val="0"/>
              </a:spcBef>
              <a:spcAft>
                <a:spcPct val="0"/>
              </a:spcAft>
              <a:buClrTx/>
              <a:buSzTx/>
              <a:buFontTx/>
              <a:buNone/>
              <a:tabLst/>
            </a:pPr>
            <a:endParaRPr lang="en-GB" sz="1000">
              <a:latin typeface="Trebuchet MS" panose="020B0603020202020204" pitchFamily="34" charset="0"/>
            </a:endParaRPr>
          </a:p>
          <a:p>
            <a:pPr marL="171450" indent="-171450">
              <a:spcAft>
                <a:spcPts val="600"/>
              </a:spcAft>
              <a:buClr>
                <a:schemeClr val="tx1"/>
              </a:buClr>
              <a:buFont typeface="Arial" panose="020B0604020202020204" pitchFamily="34" charset="0"/>
              <a:buChar char="•"/>
            </a:pPr>
            <a:r>
              <a:rPr lang="en-GB" sz="1000" err="1">
                <a:solidFill>
                  <a:schemeClr val="tx2"/>
                </a:solidFill>
                <a:latin typeface="Trebuchet MS" panose="020B0603020202020204" pitchFamily="34" charset="0"/>
              </a:rPr>
              <a:t>Lfl</a:t>
            </a:r>
            <a:r>
              <a:rPr lang="en-GB" sz="1000">
                <a:solidFill>
                  <a:schemeClr val="tx2"/>
                </a:solidFill>
                <a:latin typeface="Trebuchet MS" panose="020B0603020202020204" pitchFamily="34" charset="0"/>
              </a:rPr>
              <a:t> can be either positive</a:t>
            </a:r>
            <a:r>
              <a:rPr lang="en-GB" sz="1000">
                <a:latin typeface="Trebuchet MS" panose="020B0603020202020204" pitchFamily="34" charset="0"/>
              </a:rPr>
              <a:t> if </a:t>
            </a:r>
            <a:r>
              <a:rPr lang="en-GB" sz="1000" err="1">
                <a:latin typeface="Trebuchet MS" panose="020B0603020202020204" pitchFamily="34" charset="0"/>
              </a:rPr>
              <a:t>Lfl</a:t>
            </a:r>
            <a:r>
              <a:rPr lang="en-GB" sz="1000">
                <a:latin typeface="Trebuchet MS" panose="020B0603020202020204" pitchFamily="34" charset="0"/>
              </a:rPr>
              <a:t> customer have in average generate more sales than the previous year (up-sell) or </a:t>
            </a:r>
            <a:r>
              <a:rPr lang="en-GB" sz="1000">
                <a:solidFill>
                  <a:schemeClr val="tx2"/>
                </a:solidFill>
                <a:latin typeface="Trebuchet MS" panose="020B0603020202020204" pitchFamily="34" charset="0"/>
              </a:rPr>
              <a:t>negative</a:t>
            </a:r>
            <a:r>
              <a:rPr lang="en-GB" sz="1000">
                <a:latin typeface="Trebuchet MS" panose="020B0603020202020204" pitchFamily="34" charset="0"/>
              </a:rPr>
              <a:t> if they have in average generate less sales than the previous year (down-sell)</a:t>
            </a:r>
          </a:p>
          <a:p>
            <a:pPr marL="171450" indent="-171450">
              <a:spcAft>
                <a:spcPts val="600"/>
              </a:spcAft>
              <a:buClr>
                <a:schemeClr val="tx1"/>
              </a:buClr>
              <a:buFont typeface="Arial" panose="020B0604020202020204" pitchFamily="34" charset="0"/>
              <a:buChar char="•"/>
            </a:pPr>
            <a:r>
              <a:rPr lang="en-GB" sz="1000">
                <a:latin typeface="Trebuchet MS" panose="020B0603020202020204" pitchFamily="34" charset="0"/>
              </a:rPr>
              <a:t>This cohort contains </a:t>
            </a:r>
            <a:r>
              <a:rPr lang="en-GB" sz="1000">
                <a:solidFill>
                  <a:schemeClr val="tx2"/>
                </a:solidFill>
                <a:latin typeface="Trebuchet MS" panose="020B0603020202020204" pitchFamily="34" charset="0"/>
              </a:rPr>
              <a:t>both recurring and non-recurring contracts</a:t>
            </a:r>
          </a:p>
          <a:p>
            <a:pPr marL="171450" indent="-171450">
              <a:spcAft>
                <a:spcPts val="600"/>
              </a:spcAft>
              <a:buClr>
                <a:schemeClr val="tx1"/>
              </a:buClr>
              <a:buFont typeface="Arial" panose="020B0604020202020204" pitchFamily="34" charset="0"/>
              <a:buChar char="•"/>
            </a:pPr>
            <a:r>
              <a:rPr lang="en-GB" sz="1000">
                <a:latin typeface="Trebuchet MS" panose="020B0603020202020204" pitchFamily="34" charset="0"/>
              </a:rPr>
              <a:t>One client is considered as </a:t>
            </a:r>
            <a:r>
              <a:rPr lang="en-GB" sz="1000">
                <a:solidFill>
                  <a:schemeClr val="tx2"/>
                </a:solidFill>
                <a:latin typeface="Trebuchet MS" panose="020B0603020202020204" pitchFamily="34" charset="0"/>
              </a:rPr>
              <a:t>a company</a:t>
            </a:r>
            <a:endParaRPr kumimoji="0" lang="en-GB" sz="1000" b="0" i="0" u="none" strike="noStrike" cap="none" normalizeH="0" baseline="0">
              <a:ln>
                <a:noFill/>
              </a:ln>
              <a:solidFill>
                <a:schemeClr val="tx2"/>
              </a:solidFill>
              <a:effectLst/>
              <a:latin typeface="Trebuchet MS" panose="020B0603020202020204" pitchFamily="34" charset="0"/>
            </a:endParaRPr>
          </a:p>
        </p:txBody>
      </p:sp>
      <p:pic>
        <p:nvPicPr>
          <p:cNvPr id="31" name="Picture 2" descr="Drapeau France">
            <a:extLst>
              <a:ext uri="{FF2B5EF4-FFF2-40B4-BE49-F238E27FC236}">
                <a16:creationId xmlns:a16="http://schemas.microsoft.com/office/drawing/2014/main" id="{7412036F-06A1-44C6-BE93-B7D41DC1C902}"/>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17006" b="16757"/>
          <a:stretch/>
        </p:blipFill>
        <p:spPr bwMode="auto">
          <a:xfrm>
            <a:off x="346294" y="1257404"/>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1343468430"/>
      </p:ext>
    </p:extLst>
  </p:cSld>
  <p:clrMapOvr>
    <a:masterClrMapping/>
  </p:clrMapOvr>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AD8A8315-ACB0-4AFA-BDAB-ACE3EE7940F9}"/>
              </a:ext>
            </a:extLst>
          </p:cNvPr>
          <p:cNvGraphicFramePr>
            <a:graphicFrameLocks noChangeAspect="1"/>
          </p:cNvGraphicFramePr>
          <p:nvPr>
            <p:custDataLst>
              <p:tags r:id="rId1"/>
            </p:custDataLst>
            <p:extLst>
              <p:ext uri="{D42A27DB-BD31-4B8C-83A1-F6EECF244321}">
                <p14:modId xmlns:p14="http://schemas.microsoft.com/office/powerpoint/2010/main" val="2131255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6" name="Objet 5" hidden="1">
                        <a:extLst>
                          <a:ext uri="{FF2B5EF4-FFF2-40B4-BE49-F238E27FC236}">
                            <a16:creationId xmlns:a16="http://schemas.microsoft.com/office/drawing/2014/main" id="{AD8A8315-ACB0-4AFA-BDAB-ACE3EE7940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854DCEF-5D09-4A27-9C10-DE41FAB26FC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5" name="Rectangle 4">
            <a:extLst>
              <a:ext uri="{FF2B5EF4-FFF2-40B4-BE49-F238E27FC236}">
                <a16:creationId xmlns:a16="http://schemas.microsoft.com/office/drawing/2014/main" id="{EAC0CC13-A429-4B1D-9536-6F719397E27C}"/>
              </a:ext>
            </a:extLst>
          </p:cNvPr>
          <p:cNvSpPr/>
          <p:nvPr/>
        </p:nvSpPr>
        <p:spPr bwMode="auto">
          <a:xfrm>
            <a:off x="256803" y="955875"/>
            <a:ext cx="9392393" cy="54544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6" name="Rectangle 55">
            <a:extLst>
              <a:ext uri="{FF2B5EF4-FFF2-40B4-BE49-F238E27FC236}">
                <a16:creationId xmlns:a16="http://schemas.microsoft.com/office/drawing/2014/main" id="{3D04210C-A6AE-4263-A4B3-ABED7FE32EE9}"/>
              </a:ext>
            </a:extLst>
          </p:cNvPr>
          <p:cNvSpPr/>
          <p:nvPr/>
        </p:nvSpPr>
        <p:spPr bwMode="auto">
          <a:xfrm>
            <a:off x="356084" y="5082440"/>
            <a:ext cx="9126566" cy="1261210"/>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600"/>
              </a:spcBef>
              <a:buClr>
                <a:schemeClr val="tx1"/>
              </a:buClr>
            </a:pPr>
            <a:r>
              <a:rPr lang="en-GB" sz="1000" b="1" kern="0" dirty="0">
                <a:latin typeface="Trebuchet MS" panose="020B0603020202020204" pitchFamily="34" charset="0"/>
              </a:rPr>
              <a:t>Comments</a:t>
            </a:r>
          </a:p>
          <a:p>
            <a:pPr marL="171450" indent="-171450">
              <a:spcBef>
                <a:spcPts val="600"/>
              </a:spcBef>
              <a:buClr>
                <a:schemeClr val="tx1"/>
              </a:buClr>
              <a:buFont typeface="Arial" panose="020B0604020202020204" pitchFamily="34" charset="0"/>
              <a:buChar char="•"/>
            </a:pPr>
            <a:r>
              <a:rPr lang="en-GB" sz="1000" dirty="0" err="1">
                <a:latin typeface="Trebuchet MS" panose="020B0603020202020204" pitchFamily="34" charset="0"/>
              </a:rPr>
              <a:t>Manageo</a:t>
            </a:r>
            <a:r>
              <a:rPr lang="en-GB" sz="1000" dirty="0">
                <a:latin typeface="Trebuchet MS" panose="020B0603020202020204" pitchFamily="34" charset="0"/>
              </a:rPr>
              <a:t>' customer base has proven its resilience over time </a:t>
            </a:r>
            <a:r>
              <a:rPr lang="en-GB" sz="1000" dirty="0">
                <a:solidFill>
                  <a:schemeClr val="tx2"/>
                </a:solidFill>
                <a:latin typeface="Trebuchet MS" panose="020B0603020202020204" pitchFamily="34" charset="0"/>
              </a:rPr>
              <a:t>as 60% of its 2019 turnover </a:t>
            </a:r>
            <a:r>
              <a:rPr lang="en-GB" sz="1000" dirty="0">
                <a:latin typeface="Trebuchet MS" panose="020B0603020202020204" pitchFamily="34" charset="0"/>
              </a:rPr>
              <a:t>comes from </a:t>
            </a:r>
            <a:r>
              <a:rPr lang="en-GB" sz="1000" dirty="0">
                <a:solidFill>
                  <a:schemeClr val="tx2"/>
                </a:solidFill>
                <a:latin typeface="Trebuchet MS" panose="020B0603020202020204" pitchFamily="34" charset="0"/>
              </a:rPr>
              <a:t>customers acquired prior 2017, </a:t>
            </a:r>
            <a:r>
              <a:rPr lang="en-GB" sz="1000" dirty="0">
                <a:latin typeface="Trebuchet MS" panose="020B0603020202020204" pitchFamily="34" charset="0"/>
              </a:rPr>
              <a:t>while preserving </a:t>
            </a:r>
            <a:r>
              <a:rPr lang="en-GB" sz="1000" dirty="0">
                <a:solidFill>
                  <a:schemeClr val="tx2"/>
                </a:solidFill>
                <a:latin typeface="Trebuchet MS" panose="020B0603020202020204" pitchFamily="34" charset="0"/>
              </a:rPr>
              <a:t>a robust customer acquisition rate</a:t>
            </a:r>
          </a:p>
          <a:p>
            <a:pPr marL="171450" indent="-171450">
              <a:spcBef>
                <a:spcPts val="600"/>
              </a:spcBef>
              <a:buClr>
                <a:schemeClr val="tx1"/>
              </a:buClr>
              <a:buFont typeface="Arial" panose="020B0604020202020204" pitchFamily="34" charset="0"/>
              <a:buChar char="•"/>
            </a:pPr>
            <a:r>
              <a:rPr lang="en-GB" sz="1000" dirty="0">
                <a:latin typeface="Trebuchet MS" panose="020B0603020202020204" pitchFamily="34" charset="0"/>
              </a:rPr>
              <a:t>Since 2016, </a:t>
            </a:r>
            <a:r>
              <a:rPr lang="en-GB" sz="1000" dirty="0" err="1">
                <a:latin typeface="Trebuchet MS" panose="020B0603020202020204" pitchFamily="34" charset="0"/>
              </a:rPr>
              <a:t>Manageo</a:t>
            </a:r>
            <a:r>
              <a:rPr lang="en-GB" sz="1000" dirty="0">
                <a:latin typeface="Trebuchet MS" panose="020B0603020202020204" pitchFamily="34" charset="0"/>
              </a:rPr>
              <a:t> has </a:t>
            </a:r>
            <a:r>
              <a:rPr lang="en-GB" sz="1000" dirty="0">
                <a:solidFill>
                  <a:schemeClr val="tx2"/>
                </a:solidFill>
                <a:latin typeface="Trebuchet MS" panose="020B0603020202020204" pitchFamily="34" charset="0"/>
              </a:rPr>
              <a:t>tightened its customer base </a:t>
            </a:r>
            <a:r>
              <a:rPr lang="en-GB" sz="1000" dirty="0">
                <a:latin typeface="Trebuchet MS" panose="020B0603020202020204" pitchFamily="34" charset="0"/>
              </a:rPr>
              <a:t>from ~2400 in 2017 to ~2000 customers in 2019 but </a:t>
            </a:r>
            <a:r>
              <a:rPr lang="en-GB" sz="1000" dirty="0">
                <a:solidFill>
                  <a:schemeClr val="tx2"/>
                </a:solidFill>
                <a:latin typeface="Trebuchet MS" panose="020B0603020202020204" pitchFamily="34" charset="0"/>
              </a:rPr>
              <a:t>has managed to increase upsell </a:t>
            </a:r>
            <a:r>
              <a:rPr lang="en-GB" sz="1000" dirty="0">
                <a:latin typeface="Trebuchet MS" panose="020B0603020202020204" pitchFamily="34" charset="0"/>
              </a:rPr>
              <a:t>as the </a:t>
            </a:r>
            <a:r>
              <a:rPr lang="en-GB" sz="1000" dirty="0">
                <a:solidFill>
                  <a:schemeClr val="tx2"/>
                </a:solidFill>
                <a:latin typeface="Trebuchet MS" panose="020B0603020202020204" pitchFamily="34" charset="0"/>
              </a:rPr>
              <a:t>total generated revenue has increased from ~€8.8m in 2016 to ~€9.4m in 2019</a:t>
            </a:r>
            <a:endParaRPr lang="en-GB" sz="900" dirty="0">
              <a:latin typeface="Trebuchet MS" pitchFamily="34" charset="0"/>
            </a:endParaRPr>
          </a:p>
          <a:p>
            <a:pPr algn="ctr">
              <a:spcBef>
                <a:spcPts val="600"/>
              </a:spcBef>
              <a:buClr>
                <a:schemeClr val="tx1"/>
              </a:buClr>
            </a:pPr>
            <a:endParaRPr lang="en-GB" sz="1000" b="1" kern="0" dirty="0">
              <a:latin typeface="Trebuchet MS" panose="020B0603020202020204" pitchFamily="34" charset="0"/>
            </a:endParaRPr>
          </a:p>
        </p:txBody>
      </p:sp>
      <p:sp>
        <p:nvSpPr>
          <p:cNvPr id="2" name="Title 1">
            <a:extLst>
              <a:ext uri="{FF2B5EF4-FFF2-40B4-BE49-F238E27FC236}">
                <a16:creationId xmlns:a16="http://schemas.microsoft.com/office/drawing/2014/main" id="{7EFDEDFD-03EA-47F3-B974-1CACBD8FA6E2}"/>
              </a:ext>
            </a:extLst>
          </p:cNvPr>
          <p:cNvSpPr>
            <a:spLocks noGrp="1"/>
          </p:cNvSpPr>
          <p:nvPr>
            <p:ph type="title"/>
          </p:nvPr>
        </p:nvSpPr>
        <p:spPr>
          <a:xfrm>
            <a:off x="165599" y="147600"/>
            <a:ext cx="8388165" cy="684000"/>
          </a:xfrm>
          <a:solidFill>
            <a:schemeClr val="bg1"/>
          </a:solidFill>
        </p:spPr>
        <p:txBody>
          <a:bodyPr/>
          <a:lstStyle/>
          <a:p>
            <a:r>
              <a:rPr lang="en-GB" err="1">
                <a:solidFill>
                  <a:schemeClr val="tx2"/>
                </a:solidFill>
                <a:latin typeface="Trebuchet MS" panose="020B0603020202020204" pitchFamily="34" charset="0"/>
              </a:rPr>
              <a:t>Manageo</a:t>
            </a:r>
            <a:r>
              <a:rPr lang="en-GB">
                <a:latin typeface="Trebuchet MS" panose="020B0603020202020204" pitchFamily="34" charset="0"/>
              </a:rPr>
              <a:t> customers dynamics show that </a:t>
            </a:r>
            <a:r>
              <a:rPr lang="en-GB" err="1">
                <a:latin typeface="Trebuchet MS" panose="020B0603020202020204" pitchFamily="34" charset="0"/>
              </a:rPr>
              <a:t>Manageo</a:t>
            </a:r>
            <a:r>
              <a:rPr lang="en-GB">
                <a:latin typeface="Trebuchet MS" panose="020B0603020202020204" pitchFamily="34" charset="0"/>
              </a:rPr>
              <a:t> has succeeded to </a:t>
            </a:r>
            <a:r>
              <a:rPr lang="en-GB">
                <a:solidFill>
                  <a:schemeClr val="tx2"/>
                </a:solidFill>
                <a:latin typeface="Trebuchet MS" panose="020B0603020202020204" pitchFamily="34" charset="0"/>
              </a:rPr>
              <a:t>upsell its historical customers </a:t>
            </a:r>
            <a:r>
              <a:rPr lang="en-GB">
                <a:latin typeface="Trebuchet MS" panose="020B0603020202020204" pitchFamily="34" charset="0"/>
              </a:rPr>
              <a:t>and thus </a:t>
            </a:r>
            <a:r>
              <a:rPr lang="en-GB">
                <a:solidFill>
                  <a:schemeClr val="tx2"/>
                </a:solidFill>
                <a:latin typeface="Trebuchet MS" panose="020B0603020202020204" pitchFamily="34" charset="0"/>
              </a:rPr>
              <a:t>increase its overall booking </a:t>
            </a:r>
            <a:r>
              <a:rPr lang="en-GB">
                <a:latin typeface="Trebuchet MS" panose="020B0603020202020204" pitchFamily="34" charset="0"/>
              </a:rPr>
              <a:t>despite a </a:t>
            </a:r>
            <a:r>
              <a:rPr lang="en-GB">
                <a:solidFill>
                  <a:schemeClr val="tx2"/>
                </a:solidFill>
                <a:latin typeface="Trebuchet MS" panose="020B0603020202020204" pitchFamily="34" charset="0"/>
              </a:rPr>
              <a:t>decrease in the number of clients</a:t>
            </a:r>
          </a:p>
        </p:txBody>
      </p:sp>
      <p:sp>
        <p:nvSpPr>
          <p:cNvPr id="3" name="Text Placeholder 2">
            <a:extLst>
              <a:ext uri="{FF2B5EF4-FFF2-40B4-BE49-F238E27FC236}">
                <a16:creationId xmlns:a16="http://schemas.microsoft.com/office/drawing/2014/main" id="{4FF62979-614C-474A-8BAB-7BBEB6F4CE52}"/>
              </a:ext>
            </a:extLst>
          </p:cNvPr>
          <p:cNvSpPr>
            <a:spLocks noGrp="1"/>
          </p:cNvSpPr>
          <p:nvPr>
            <p:ph type="body" sz="quarter" idx="10"/>
          </p:nvPr>
        </p:nvSpPr>
        <p:spPr/>
        <p:txBody>
          <a:bodyPr/>
          <a:lstStyle/>
          <a:p>
            <a:r>
              <a:rPr lang="en-GB" sz="800" i="1" kern="0"/>
              <a:t>Sources: eleven research &amp; analysis, company data</a:t>
            </a:r>
          </a:p>
          <a:p>
            <a:endParaRPr lang="en-GB"/>
          </a:p>
        </p:txBody>
      </p:sp>
      <p:sp>
        <p:nvSpPr>
          <p:cNvPr id="63" name="Rectangle 62">
            <a:extLst>
              <a:ext uri="{FF2B5EF4-FFF2-40B4-BE49-F238E27FC236}">
                <a16:creationId xmlns:a16="http://schemas.microsoft.com/office/drawing/2014/main" id="{9D8F770D-F6E7-44B0-889F-175908BB5270}"/>
              </a:ext>
            </a:extLst>
          </p:cNvPr>
          <p:cNvSpPr/>
          <p:nvPr/>
        </p:nvSpPr>
        <p:spPr bwMode="auto">
          <a:xfrm>
            <a:off x="5517347" y="952025"/>
            <a:ext cx="3979495"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Manageo’s</a:t>
            </a:r>
            <a:r>
              <a:rPr lang="en-GB" sz="1000" b="1" i="1">
                <a:latin typeface="Trebuchet MS" panose="020B0603020202020204" pitchFamily="34" charset="0"/>
              </a:rPr>
              <a:t> number of clients broken down by customers’ recruitment year</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65" name="Rectangle 64">
            <a:extLst>
              <a:ext uri="{FF2B5EF4-FFF2-40B4-BE49-F238E27FC236}">
                <a16:creationId xmlns:a16="http://schemas.microsoft.com/office/drawing/2014/main" id="{FB2E2AB6-6549-4EE3-85DD-6A07ED6FB51F}"/>
              </a:ext>
            </a:extLst>
          </p:cNvPr>
          <p:cNvSpPr/>
          <p:nvPr/>
        </p:nvSpPr>
        <p:spPr bwMode="auto">
          <a:xfrm>
            <a:off x="585463" y="952025"/>
            <a:ext cx="3979494"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Manageo’s</a:t>
            </a:r>
            <a:r>
              <a:rPr lang="en-GB" sz="1000" b="1" i="1">
                <a:latin typeface="Trebuchet MS" panose="020B0603020202020204" pitchFamily="34" charset="0"/>
              </a:rPr>
              <a:t> sales broken down by customers’ recruitment year,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pSp>
        <p:nvGrpSpPr>
          <p:cNvPr id="12" name="Group 4">
            <a:extLst>
              <a:ext uri="{FF2B5EF4-FFF2-40B4-BE49-F238E27FC236}">
                <a16:creationId xmlns:a16="http://schemas.microsoft.com/office/drawing/2014/main" id="{E9AE6511-7906-4A4E-B79B-0B9C13CE98F8}"/>
              </a:ext>
            </a:extLst>
          </p:cNvPr>
          <p:cNvGrpSpPr>
            <a:grpSpLocks noChangeAspect="1"/>
          </p:cNvGrpSpPr>
          <p:nvPr/>
        </p:nvGrpSpPr>
        <p:grpSpPr bwMode="auto">
          <a:xfrm>
            <a:off x="4335578" y="5153354"/>
            <a:ext cx="226868" cy="184867"/>
            <a:chOff x="788" y="869"/>
            <a:chExt cx="740" cy="603"/>
          </a:xfrm>
          <a:solidFill>
            <a:schemeClr val="tx1"/>
          </a:solidFill>
        </p:grpSpPr>
        <p:sp>
          <p:nvSpPr>
            <p:cNvPr id="14" name="Freeform 5">
              <a:extLst>
                <a:ext uri="{FF2B5EF4-FFF2-40B4-BE49-F238E27FC236}">
                  <a16:creationId xmlns:a16="http://schemas.microsoft.com/office/drawing/2014/main" id="{3425F310-0635-4AB7-916E-E09532EF32D1}"/>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Rectangle 6">
              <a:extLst>
                <a:ext uri="{FF2B5EF4-FFF2-40B4-BE49-F238E27FC236}">
                  <a16:creationId xmlns:a16="http://schemas.microsoft.com/office/drawing/2014/main" id="{B3921DDB-F47D-4612-95B4-725084757B40}"/>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Rectangle 7">
              <a:extLst>
                <a:ext uri="{FF2B5EF4-FFF2-40B4-BE49-F238E27FC236}">
                  <a16:creationId xmlns:a16="http://schemas.microsoft.com/office/drawing/2014/main" id="{377B1199-4CB2-45CB-8D4B-D933C5DC90BC}"/>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Rectangle 8">
              <a:extLst>
                <a:ext uri="{FF2B5EF4-FFF2-40B4-BE49-F238E27FC236}">
                  <a16:creationId xmlns:a16="http://schemas.microsoft.com/office/drawing/2014/main" id="{B8EDA6D8-9FE1-4D21-A3D1-379F31776FFA}"/>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aphicFrame>
        <p:nvGraphicFramePr>
          <p:cNvPr id="46" name="Chart 45">
            <a:extLst>
              <a:ext uri="{FF2B5EF4-FFF2-40B4-BE49-F238E27FC236}">
                <a16:creationId xmlns:a16="http://schemas.microsoft.com/office/drawing/2014/main" id="{4EB07F8C-7D71-415E-A0E2-98D9E27F7903}"/>
              </a:ext>
            </a:extLst>
          </p:cNvPr>
          <p:cNvGraphicFramePr/>
          <p:nvPr>
            <p:extLst>
              <p:ext uri="{D42A27DB-BD31-4B8C-83A1-F6EECF244321}">
                <p14:modId xmlns:p14="http://schemas.microsoft.com/office/powerpoint/2010/main" val="4221226955"/>
              </p:ext>
            </p:extLst>
          </p:nvPr>
        </p:nvGraphicFramePr>
        <p:xfrm>
          <a:off x="5517347" y="1416500"/>
          <a:ext cx="4032570" cy="3375691"/>
        </p:xfrm>
        <a:graphic>
          <a:graphicData uri="http://schemas.openxmlformats.org/drawingml/2006/chart">
            <c:chart xmlns:c="http://schemas.openxmlformats.org/drawingml/2006/chart" xmlns:r="http://schemas.openxmlformats.org/officeDocument/2006/relationships" r:id="rId6"/>
          </a:graphicData>
        </a:graphic>
      </p:graphicFrame>
      <p:grpSp>
        <p:nvGrpSpPr>
          <p:cNvPr id="47" name="Groupe 46">
            <a:extLst>
              <a:ext uri="{FF2B5EF4-FFF2-40B4-BE49-F238E27FC236}">
                <a16:creationId xmlns:a16="http://schemas.microsoft.com/office/drawing/2014/main" id="{4D36B742-EE7E-4344-875B-27860BE8DB32}"/>
              </a:ext>
            </a:extLst>
          </p:cNvPr>
          <p:cNvGrpSpPr/>
          <p:nvPr/>
        </p:nvGrpSpPr>
        <p:grpSpPr>
          <a:xfrm>
            <a:off x="8448150" y="-11528"/>
            <a:ext cx="1435548" cy="606240"/>
            <a:chOff x="8448150" y="-11528"/>
            <a:chExt cx="1435548" cy="606240"/>
          </a:xfrm>
        </p:grpSpPr>
        <p:grpSp>
          <p:nvGrpSpPr>
            <p:cNvPr id="48" name="Groupe 47">
              <a:extLst>
                <a:ext uri="{FF2B5EF4-FFF2-40B4-BE49-F238E27FC236}">
                  <a16:creationId xmlns:a16="http://schemas.microsoft.com/office/drawing/2014/main" id="{10AB53D8-DDAE-412B-9C59-3F2353D0DA43}"/>
                </a:ext>
              </a:extLst>
            </p:cNvPr>
            <p:cNvGrpSpPr/>
            <p:nvPr/>
          </p:nvGrpSpPr>
          <p:grpSpPr>
            <a:xfrm>
              <a:off x="8448150" y="-11528"/>
              <a:ext cx="1435548" cy="451904"/>
              <a:chOff x="8448150" y="-11528"/>
              <a:chExt cx="1435548" cy="451904"/>
            </a:xfrm>
          </p:grpSpPr>
          <p:sp>
            <p:nvSpPr>
              <p:cNvPr id="51" name="Rectangle : coins arrondis 199">
                <a:extLst>
                  <a:ext uri="{FF2B5EF4-FFF2-40B4-BE49-F238E27FC236}">
                    <a16:creationId xmlns:a16="http://schemas.microsoft.com/office/drawing/2014/main" id="{E1B039DF-7D46-4505-8AFD-738CA732B887}"/>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5" name="Rectangle : coins arrondis 200">
                <a:extLst>
                  <a:ext uri="{FF2B5EF4-FFF2-40B4-BE49-F238E27FC236}">
                    <a16:creationId xmlns:a16="http://schemas.microsoft.com/office/drawing/2014/main" id="{6A3B1CC5-1B3A-46D4-883B-F787D6F317E4}"/>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8" name="Rectangle : coins arrondis 201">
                <a:extLst>
                  <a:ext uri="{FF2B5EF4-FFF2-40B4-BE49-F238E27FC236}">
                    <a16:creationId xmlns:a16="http://schemas.microsoft.com/office/drawing/2014/main" id="{49FC0DE9-89C2-4D19-A130-3FE6F98CA787}"/>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0" name="ZoneTexte 18">
                <a:extLst>
                  <a:ext uri="{FF2B5EF4-FFF2-40B4-BE49-F238E27FC236}">
                    <a16:creationId xmlns:a16="http://schemas.microsoft.com/office/drawing/2014/main" id="{E688362D-C049-4B7C-BA25-85C8D100D0B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62" name="Graphique 128" descr="Jauge">
                <a:extLst>
                  <a:ext uri="{FF2B5EF4-FFF2-40B4-BE49-F238E27FC236}">
                    <a16:creationId xmlns:a16="http://schemas.microsoft.com/office/drawing/2014/main" id="{91E5A18F-0124-44F9-BCA6-199B1CC20C1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64" name="Graphique 90" descr="Poignée de main">
                <a:extLst>
                  <a:ext uri="{FF2B5EF4-FFF2-40B4-BE49-F238E27FC236}">
                    <a16:creationId xmlns:a16="http://schemas.microsoft.com/office/drawing/2014/main" id="{9E226D39-4AB9-448D-A1F0-B9ABD66B243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66" name="Graphique 74" descr="Mégaphone">
                <a:extLst>
                  <a:ext uri="{FF2B5EF4-FFF2-40B4-BE49-F238E27FC236}">
                    <a16:creationId xmlns:a16="http://schemas.microsoft.com/office/drawing/2014/main" id="{FBBA16DF-7678-4307-8F58-601EC55042B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67" name="Picture 2" descr="Drapeau France">
                <a:extLst>
                  <a:ext uri="{FF2B5EF4-FFF2-40B4-BE49-F238E27FC236}">
                    <a16:creationId xmlns:a16="http://schemas.microsoft.com/office/drawing/2014/main" id="{4DA86F26-A4B4-4E15-BADE-C0D3A650E756}"/>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grpSp>
        <p:pic>
          <p:nvPicPr>
            <p:cNvPr id="50" name="Picture 2">
              <a:extLst>
                <a:ext uri="{FF2B5EF4-FFF2-40B4-BE49-F238E27FC236}">
                  <a16:creationId xmlns:a16="http://schemas.microsoft.com/office/drawing/2014/main" id="{9FAE7C94-EA89-4603-BE65-FFA594539F9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927990" y="449606"/>
              <a:ext cx="428463" cy="145106"/>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33" name="Chart 32">
            <a:extLst>
              <a:ext uri="{FF2B5EF4-FFF2-40B4-BE49-F238E27FC236}">
                <a16:creationId xmlns:a16="http://schemas.microsoft.com/office/drawing/2014/main" id="{5FB86F27-5E12-4E33-A896-2FD7A117D12F}"/>
              </a:ext>
            </a:extLst>
          </p:cNvPr>
          <p:cNvGraphicFramePr/>
          <p:nvPr>
            <p:extLst>
              <p:ext uri="{D42A27DB-BD31-4B8C-83A1-F6EECF244321}">
                <p14:modId xmlns:p14="http://schemas.microsoft.com/office/powerpoint/2010/main" val="2973558825"/>
              </p:ext>
            </p:extLst>
          </p:nvPr>
        </p:nvGraphicFramePr>
        <p:xfrm>
          <a:off x="356083" y="1416500"/>
          <a:ext cx="3979495" cy="3375691"/>
        </p:xfrm>
        <a:graphic>
          <a:graphicData uri="http://schemas.openxmlformats.org/drawingml/2006/chart">
            <c:chart xmlns:c="http://schemas.openxmlformats.org/drawingml/2006/chart" xmlns:r="http://schemas.openxmlformats.org/officeDocument/2006/relationships" r:id="rId15"/>
          </a:graphicData>
        </a:graphic>
      </p:graphicFrame>
      <p:sp>
        <p:nvSpPr>
          <p:cNvPr id="34" name="Rectangle 33">
            <a:extLst>
              <a:ext uri="{FF2B5EF4-FFF2-40B4-BE49-F238E27FC236}">
                <a16:creationId xmlns:a16="http://schemas.microsoft.com/office/drawing/2014/main" id="{E5B914B4-5273-4CE4-84B9-90455D088539}"/>
              </a:ext>
            </a:extLst>
          </p:cNvPr>
          <p:cNvSpPr/>
          <p:nvPr/>
        </p:nvSpPr>
        <p:spPr bwMode="auto">
          <a:xfrm>
            <a:off x="4426713" y="1416500"/>
            <a:ext cx="995226" cy="136641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grpSp>
        <p:nvGrpSpPr>
          <p:cNvPr id="9" name="Group 8">
            <a:extLst>
              <a:ext uri="{FF2B5EF4-FFF2-40B4-BE49-F238E27FC236}">
                <a16:creationId xmlns:a16="http://schemas.microsoft.com/office/drawing/2014/main" id="{C2BD9FB4-1067-4753-B9D6-1F327DDFC42F}"/>
              </a:ext>
            </a:extLst>
          </p:cNvPr>
          <p:cNvGrpSpPr/>
          <p:nvPr/>
        </p:nvGrpSpPr>
        <p:grpSpPr>
          <a:xfrm>
            <a:off x="4522121" y="1978222"/>
            <a:ext cx="579313" cy="123111"/>
            <a:chOff x="4522121" y="1978222"/>
            <a:chExt cx="579313" cy="123111"/>
          </a:xfrm>
        </p:grpSpPr>
        <p:cxnSp>
          <p:nvCxnSpPr>
            <p:cNvPr id="35" name="Straight Connector 34">
              <a:extLst>
                <a:ext uri="{FF2B5EF4-FFF2-40B4-BE49-F238E27FC236}">
                  <a16:creationId xmlns:a16="http://schemas.microsoft.com/office/drawing/2014/main" id="{E7AD8570-E9D9-4147-B61E-55824F83F57C}"/>
                </a:ext>
              </a:extLst>
            </p:cNvPr>
            <p:cNvCxnSpPr>
              <a:cxnSpLocks/>
            </p:cNvCxnSpPr>
            <p:nvPr/>
          </p:nvCxnSpPr>
          <p:spPr bwMode="auto">
            <a:xfrm>
              <a:off x="4522121" y="2032968"/>
              <a:ext cx="207891"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36" name="TextBox 35">
              <a:extLst>
                <a:ext uri="{FF2B5EF4-FFF2-40B4-BE49-F238E27FC236}">
                  <a16:creationId xmlns:a16="http://schemas.microsoft.com/office/drawing/2014/main" id="{0BF5ADFD-4CCC-4A7A-85B2-81DA6D4B17F3}"/>
                </a:ext>
              </a:extLst>
            </p:cNvPr>
            <p:cNvSpPr txBox="1"/>
            <p:nvPr/>
          </p:nvSpPr>
          <p:spPr>
            <a:xfrm>
              <a:off x="4817500" y="1978222"/>
              <a:ext cx="283934" cy="123111"/>
            </a:xfrm>
            <a:prstGeom prst="rect">
              <a:avLst/>
            </a:prstGeom>
            <a:noFill/>
          </p:spPr>
          <p:txBody>
            <a:bodyPr wrap="square" lIns="0" tIns="0" rIns="0" bIns="0" rtlCol="0">
              <a:spAutoFit/>
            </a:bodyPr>
            <a:lstStyle/>
            <a:p>
              <a:r>
                <a:rPr lang="en-GB" sz="800">
                  <a:latin typeface="+mj-lt"/>
                </a:rPr>
                <a:t>&lt;2018</a:t>
              </a:r>
            </a:p>
          </p:txBody>
        </p:sp>
      </p:grpSp>
      <p:grpSp>
        <p:nvGrpSpPr>
          <p:cNvPr id="10" name="Group 9">
            <a:extLst>
              <a:ext uri="{FF2B5EF4-FFF2-40B4-BE49-F238E27FC236}">
                <a16:creationId xmlns:a16="http://schemas.microsoft.com/office/drawing/2014/main" id="{8FAE1442-F0C5-49E1-B8F0-C076F633FDC7}"/>
              </a:ext>
            </a:extLst>
          </p:cNvPr>
          <p:cNvGrpSpPr/>
          <p:nvPr/>
        </p:nvGrpSpPr>
        <p:grpSpPr>
          <a:xfrm>
            <a:off x="4522121" y="2187945"/>
            <a:ext cx="579312" cy="123111"/>
            <a:chOff x="4522121" y="2179396"/>
            <a:chExt cx="579312" cy="123111"/>
          </a:xfrm>
        </p:grpSpPr>
        <p:cxnSp>
          <p:nvCxnSpPr>
            <p:cNvPr id="37" name="Straight Connector 36">
              <a:extLst>
                <a:ext uri="{FF2B5EF4-FFF2-40B4-BE49-F238E27FC236}">
                  <a16:creationId xmlns:a16="http://schemas.microsoft.com/office/drawing/2014/main" id="{AB397BEF-22C0-4E6A-B276-BF6A9CABC351}"/>
                </a:ext>
              </a:extLst>
            </p:cNvPr>
            <p:cNvCxnSpPr>
              <a:cxnSpLocks/>
            </p:cNvCxnSpPr>
            <p:nvPr/>
          </p:nvCxnSpPr>
          <p:spPr bwMode="auto">
            <a:xfrm>
              <a:off x="4522121" y="2234142"/>
              <a:ext cx="207891"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38" name="TextBox 37">
              <a:extLst>
                <a:ext uri="{FF2B5EF4-FFF2-40B4-BE49-F238E27FC236}">
                  <a16:creationId xmlns:a16="http://schemas.microsoft.com/office/drawing/2014/main" id="{28DDA946-DCC8-4D0F-9724-D9257F8F245A}"/>
                </a:ext>
              </a:extLst>
            </p:cNvPr>
            <p:cNvSpPr txBox="1"/>
            <p:nvPr/>
          </p:nvSpPr>
          <p:spPr>
            <a:xfrm>
              <a:off x="4817500" y="2179396"/>
              <a:ext cx="283933" cy="123111"/>
            </a:xfrm>
            <a:prstGeom prst="rect">
              <a:avLst/>
            </a:prstGeom>
            <a:noFill/>
          </p:spPr>
          <p:txBody>
            <a:bodyPr wrap="square" lIns="0" tIns="0" rIns="0" bIns="0" rtlCol="0">
              <a:spAutoFit/>
            </a:bodyPr>
            <a:lstStyle/>
            <a:p>
              <a:r>
                <a:rPr lang="en-GB" sz="800">
                  <a:latin typeface="+mj-lt"/>
                </a:rPr>
                <a:t>2018</a:t>
              </a:r>
            </a:p>
          </p:txBody>
        </p:sp>
      </p:grpSp>
      <p:grpSp>
        <p:nvGrpSpPr>
          <p:cNvPr id="11" name="Group 10">
            <a:extLst>
              <a:ext uri="{FF2B5EF4-FFF2-40B4-BE49-F238E27FC236}">
                <a16:creationId xmlns:a16="http://schemas.microsoft.com/office/drawing/2014/main" id="{3558F525-8A84-4C81-A939-1867347DA03B}"/>
              </a:ext>
            </a:extLst>
          </p:cNvPr>
          <p:cNvGrpSpPr/>
          <p:nvPr/>
        </p:nvGrpSpPr>
        <p:grpSpPr>
          <a:xfrm>
            <a:off x="4522121" y="2397668"/>
            <a:ext cx="579312" cy="123111"/>
            <a:chOff x="4522121" y="2380569"/>
            <a:chExt cx="579312" cy="123111"/>
          </a:xfrm>
        </p:grpSpPr>
        <p:cxnSp>
          <p:nvCxnSpPr>
            <p:cNvPr id="39" name="Straight Connector 38">
              <a:extLst>
                <a:ext uri="{FF2B5EF4-FFF2-40B4-BE49-F238E27FC236}">
                  <a16:creationId xmlns:a16="http://schemas.microsoft.com/office/drawing/2014/main" id="{6480223E-E868-467E-8BE9-FF20EB15FEBE}"/>
                </a:ext>
              </a:extLst>
            </p:cNvPr>
            <p:cNvCxnSpPr>
              <a:cxnSpLocks/>
            </p:cNvCxnSpPr>
            <p:nvPr/>
          </p:nvCxnSpPr>
          <p:spPr bwMode="auto">
            <a:xfrm>
              <a:off x="4522121" y="2435315"/>
              <a:ext cx="207891" cy="0"/>
            </a:xfrm>
            <a:prstGeom prst="line">
              <a:avLst/>
            </a:prstGeom>
            <a:solidFill>
              <a:schemeClr val="bg1"/>
            </a:solidFill>
            <a:ln w="88900" cap="flat" cmpd="sng" algn="ctr">
              <a:solidFill>
                <a:srgbClr val="8FCD9F"/>
              </a:solidFill>
              <a:prstDash val="solid"/>
              <a:round/>
              <a:headEnd type="none" w="med" len="med"/>
              <a:tailEnd type="none" w="med" len="med"/>
            </a:ln>
            <a:effectLst/>
          </p:spPr>
        </p:cxnSp>
        <p:sp>
          <p:nvSpPr>
            <p:cNvPr id="40" name="TextBox 39">
              <a:extLst>
                <a:ext uri="{FF2B5EF4-FFF2-40B4-BE49-F238E27FC236}">
                  <a16:creationId xmlns:a16="http://schemas.microsoft.com/office/drawing/2014/main" id="{BC296C84-2574-45FC-875C-2FB4392A2299}"/>
                </a:ext>
              </a:extLst>
            </p:cNvPr>
            <p:cNvSpPr txBox="1"/>
            <p:nvPr/>
          </p:nvSpPr>
          <p:spPr>
            <a:xfrm>
              <a:off x="4817500" y="2380569"/>
              <a:ext cx="283933" cy="123111"/>
            </a:xfrm>
            <a:prstGeom prst="rect">
              <a:avLst/>
            </a:prstGeom>
            <a:noFill/>
          </p:spPr>
          <p:txBody>
            <a:bodyPr wrap="square" lIns="0" tIns="0" rIns="0" bIns="0" rtlCol="0">
              <a:spAutoFit/>
            </a:bodyPr>
            <a:lstStyle/>
            <a:p>
              <a:r>
                <a:rPr lang="en-GB" sz="800">
                  <a:latin typeface="+mj-lt"/>
                </a:rPr>
                <a:t>2019</a:t>
              </a:r>
            </a:p>
          </p:txBody>
        </p:sp>
      </p:grpSp>
      <p:grpSp>
        <p:nvGrpSpPr>
          <p:cNvPr id="41" name="Group 40">
            <a:extLst>
              <a:ext uri="{FF2B5EF4-FFF2-40B4-BE49-F238E27FC236}">
                <a16:creationId xmlns:a16="http://schemas.microsoft.com/office/drawing/2014/main" id="{897E392E-4FAC-435A-B665-9DAB09604A5D}"/>
              </a:ext>
            </a:extLst>
          </p:cNvPr>
          <p:cNvGrpSpPr/>
          <p:nvPr/>
        </p:nvGrpSpPr>
        <p:grpSpPr>
          <a:xfrm>
            <a:off x="4522121" y="2607391"/>
            <a:ext cx="675609" cy="123111"/>
            <a:chOff x="4490012" y="3450640"/>
            <a:chExt cx="659545" cy="123111"/>
          </a:xfrm>
        </p:grpSpPr>
        <p:cxnSp>
          <p:nvCxnSpPr>
            <p:cNvPr id="42" name="Straight Connector 41">
              <a:extLst>
                <a:ext uri="{FF2B5EF4-FFF2-40B4-BE49-F238E27FC236}">
                  <a16:creationId xmlns:a16="http://schemas.microsoft.com/office/drawing/2014/main" id="{A298FCD7-F2B5-4859-A2A0-C06D09E7FBFE}"/>
                </a:ext>
              </a:extLst>
            </p:cNvPr>
            <p:cNvCxnSpPr>
              <a:cxnSpLocks/>
            </p:cNvCxnSpPr>
            <p:nvPr/>
          </p:nvCxnSpPr>
          <p:spPr bwMode="auto">
            <a:xfrm>
              <a:off x="4490012" y="3512195"/>
              <a:ext cx="202948" cy="0"/>
            </a:xfrm>
            <a:prstGeom prst="line">
              <a:avLst/>
            </a:prstGeom>
            <a:solidFill>
              <a:schemeClr val="bg1"/>
            </a:solidFill>
            <a:ln w="19050" cap="flat" cmpd="sng" algn="ctr">
              <a:solidFill>
                <a:schemeClr val="accent1">
                  <a:lumMod val="75000"/>
                </a:schemeClr>
              </a:solidFill>
              <a:prstDash val="solid"/>
              <a:round/>
              <a:headEnd type="none" w="med" len="med"/>
              <a:tailEnd type="none" w="med" len="med"/>
            </a:ln>
            <a:effectLst/>
          </p:spPr>
        </p:cxnSp>
        <p:sp>
          <p:nvSpPr>
            <p:cNvPr id="43" name="TextBox 42">
              <a:extLst>
                <a:ext uri="{FF2B5EF4-FFF2-40B4-BE49-F238E27FC236}">
                  <a16:creationId xmlns:a16="http://schemas.microsoft.com/office/drawing/2014/main" id="{EE7E150D-CAD4-4DA2-9E6E-BA48E69DDFD3}"/>
                </a:ext>
              </a:extLst>
            </p:cNvPr>
            <p:cNvSpPr txBox="1"/>
            <p:nvPr/>
          </p:nvSpPr>
          <p:spPr>
            <a:xfrm>
              <a:off x="4778368" y="3450640"/>
              <a:ext cx="371189" cy="123111"/>
            </a:xfrm>
            <a:prstGeom prst="rect">
              <a:avLst/>
            </a:prstGeom>
            <a:noFill/>
          </p:spPr>
          <p:txBody>
            <a:bodyPr wrap="square" lIns="0" tIns="0" rIns="0" bIns="0" rtlCol="0">
              <a:spAutoFit/>
            </a:bodyPr>
            <a:lstStyle/>
            <a:p>
              <a:r>
                <a:rPr lang="en-GB" sz="800">
                  <a:latin typeface="+mj-lt"/>
                </a:rPr>
                <a:t>Total</a:t>
              </a:r>
            </a:p>
          </p:txBody>
        </p:sp>
      </p:grpSp>
      <p:sp>
        <p:nvSpPr>
          <p:cNvPr id="44" name="Rectangle 43">
            <a:extLst>
              <a:ext uri="{FF2B5EF4-FFF2-40B4-BE49-F238E27FC236}">
                <a16:creationId xmlns:a16="http://schemas.microsoft.com/office/drawing/2014/main" id="{167BD7B5-F523-4BEA-917F-ABAFBEC0FFDE}"/>
              </a:ext>
            </a:extLst>
          </p:cNvPr>
          <p:cNvSpPr/>
          <p:nvPr/>
        </p:nvSpPr>
        <p:spPr>
          <a:xfrm>
            <a:off x="4426713" y="1443843"/>
            <a:ext cx="995226" cy="507831"/>
          </a:xfrm>
          <a:prstGeom prst="rect">
            <a:avLst/>
          </a:prstGeom>
        </p:spPr>
        <p:txBody>
          <a:bodyPr wrap="square">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900" b="1">
                <a:solidFill>
                  <a:srgbClr val="6C6C6C"/>
                </a:solidFill>
                <a:latin typeface="Trebuchet MS" panose="020B0603020202020204" pitchFamily="34" charset="0"/>
              </a:rPr>
              <a:t>Customers</a:t>
            </a:r>
            <a:r>
              <a:rPr kumimoji="0" lang="en-GB" sz="900" b="1"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recruitment years: </a:t>
            </a:r>
          </a:p>
        </p:txBody>
      </p:sp>
      <p:cxnSp>
        <p:nvCxnSpPr>
          <p:cNvPr id="49" name="Straight Arrow Connector 48">
            <a:extLst>
              <a:ext uri="{FF2B5EF4-FFF2-40B4-BE49-F238E27FC236}">
                <a16:creationId xmlns:a16="http://schemas.microsoft.com/office/drawing/2014/main" id="{78C70031-8B1E-4BD7-A067-082F49C0B5B7}"/>
              </a:ext>
            </a:extLst>
          </p:cNvPr>
          <p:cNvCxnSpPr>
            <a:cxnSpLocks/>
          </p:cNvCxnSpPr>
          <p:nvPr/>
        </p:nvCxnSpPr>
        <p:spPr bwMode="auto">
          <a:xfrm>
            <a:off x="6794919" y="1654776"/>
            <a:ext cx="2165949" cy="378192"/>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52" name="TextBox 32">
            <a:extLst>
              <a:ext uri="{FF2B5EF4-FFF2-40B4-BE49-F238E27FC236}">
                <a16:creationId xmlns:a16="http://schemas.microsoft.com/office/drawing/2014/main" id="{D13DF9D3-D863-4BEC-B8D7-234004AD8A31}"/>
              </a:ext>
            </a:extLst>
          </p:cNvPr>
          <p:cNvSpPr txBox="1"/>
          <p:nvPr/>
        </p:nvSpPr>
        <p:spPr>
          <a:xfrm>
            <a:off x="7646730" y="1476366"/>
            <a:ext cx="1612093" cy="27700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100" b="1" i="1">
                <a:latin typeface="Trebuchet MS" panose="020B0603020202020204" pitchFamily="34" charset="0"/>
              </a:rPr>
              <a:t>CAGR</a:t>
            </a:r>
            <a:r>
              <a:rPr lang="en-GB" sz="1100" b="1" i="1" baseline="-25000">
                <a:latin typeface="Trebuchet MS" panose="020B0603020202020204" pitchFamily="34" charset="0"/>
              </a:rPr>
              <a:t>17-19</a:t>
            </a:r>
            <a:r>
              <a:rPr lang="en-GB" sz="1200" b="1" i="1">
                <a:latin typeface="Trebuchet MS" panose="020B0603020202020204" pitchFamily="34" charset="0"/>
              </a:rPr>
              <a:t>: -9.0%</a:t>
            </a:r>
          </a:p>
        </p:txBody>
      </p:sp>
      <p:cxnSp>
        <p:nvCxnSpPr>
          <p:cNvPr id="53" name="Connecteur droit avec flèche 9">
            <a:extLst>
              <a:ext uri="{FF2B5EF4-FFF2-40B4-BE49-F238E27FC236}">
                <a16:creationId xmlns:a16="http://schemas.microsoft.com/office/drawing/2014/main" id="{071E7230-0DAF-4E8E-9A20-9B70AD1182A2}"/>
              </a:ext>
            </a:extLst>
          </p:cNvPr>
          <p:cNvCxnSpPr>
            <a:cxnSpLocks/>
          </p:cNvCxnSpPr>
          <p:nvPr/>
        </p:nvCxnSpPr>
        <p:spPr bwMode="auto">
          <a:xfrm>
            <a:off x="4152901" y="3076575"/>
            <a:ext cx="0" cy="1343025"/>
          </a:xfrm>
          <a:prstGeom prst="straightConnector1">
            <a:avLst/>
          </a:prstGeom>
          <a:solidFill>
            <a:schemeClr val="accent1"/>
          </a:solidFill>
          <a:ln w="9525" cap="flat" cmpd="sng" algn="ctr">
            <a:solidFill>
              <a:schemeClr val="tx1"/>
            </a:solidFill>
            <a:prstDash val="solid"/>
            <a:round/>
            <a:headEnd type="triangle" w="med" len="med"/>
            <a:tailEnd type="triangle" w="med" len="med"/>
          </a:ln>
          <a:effectLst/>
        </p:spPr>
      </p:cxnSp>
      <p:sp>
        <p:nvSpPr>
          <p:cNvPr id="54" name="Rectangle 53">
            <a:extLst>
              <a:ext uri="{FF2B5EF4-FFF2-40B4-BE49-F238E27FC236}">
                <a16:creationId xmlns:a16="http://schemas.microsoft.com/office/drawing/2014/main" id="{2B4667C3-C0F6-43CD-9824-272478C1ADEE}"/>
              </a:ext>
            </a:extLst>
          </p:cNvPr>
          <p:cNvSpPr/>
          <p:nvPr/>
        </p:nvSpPr>
        <p:spPr bwMode="auto">
          <a:xfrm>
            <a:off x="4160357" y="3309505"/>
            <a:ext cx="1224000" cy="941694"/>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dirty="0">
                <a:latin typeface="Trebuchet MS" panose="020B0603020202020204" pitchFamily="34" charset="0"/>
              </a:rPr>
              <a:t>60% of 2019 revenue were generated by customers recruited prior 2018</a:t>
            </a:r>
            <a:endParaRPr kumimoji="0" lang="en-GB" sz="1000" b="1" i="1" u="none" strike="noStrike" kern="1200" cap="none" spc="0" normalizeH="0" baseline="0" noProof="0" dirty="0">
              <a:ln>
                <a:noFill/>
              </a:ln>
              <a:effectLst/>
              <a:uLnTx/>
              <a:uFillTx/>
              <a:latin typeface="Trebuchet MS" panose="020B0603020202020204" pitchFamily="34" charset="0"/>
            </a:endParaRPr>
          </a:p>
        </p:txBody>
      </p:sp>
      <p:pic>
        <p:nvPicPr>
          <p:cNvPr id="57" name="Picture 2" descr="Drapeau France">
            <a:extLst>
              <a:ext uri="{FF2B5EF4-FFF2-40B4-BE49-F238E27FC236}">
                <a16:creationId xmlns:a16="http://schemas.microsoft.com/office/drawing/2014/main" id="{0D2FC296-FF87-4BC6-99F5-62C86ACB6C4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331132" y="1052587"/>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3683193157"/>
      </p:ext>
    </p:extLst>
  </p:cSld>
  <p:clrMapOvr>
    <a:masterClrMapping/>
  </p:clrMapOvr>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1DB3DBB-5599-418B-A231-B7F08D406FF8}"/>
              </a:ext>
            </a:extLst>
          </p:cNvPr>
          <p:cNvGraphicFramePr>
            <a:graphicFrameLocks noChangeAspect="1"/>
          </p:cNvGraphicFramePr>
          <p:nvPr>
            <p:custDataLst>
              <p:tags r:id="rId1"/>
            </p:custDataLst>
            <p:extLst>
              <p:ext uri="{D42A27DB-BD31-4B8C-83A1-F6EECF244321}">
                <p14:modId xmlns:p14="http://schemas.microsoft.com/office/powerpoint/2010/main" val="3375474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40" imgH="541" progId="TCLayout.ActiveDocument.1">
                  <p:embed/>
                </p:oleObj>
              </mc:Choice>
              <mc:Fallback>
                <p:oleObj name="think-cell Slide" r:id="rId5" imgW="540" imgH="541" progId="TCLayout.ActiveDocument.1">
                  <p:embed/>
                  <p:pic>
                    <p:nvPicPr>
                      <p:cNvPr id="6" name="Object 5" hidden="1">
                        <a:extLst>
                          <a:ext uri="{FF2B5EF4-FFF2-40B4-BE49-F238E27FC236}">
                            <a16:creationId xmlns:a16="http://schemas.microsoft.com/office/drawing/2014/main" id="{81DB3DBB-5599-418B-A231-B7F08D406F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FE4007A-4322-494F-8570-08F1E1CEBE28}"/>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Rectangle 1">
            <a:extLst>
              <a:ext uri="{FF2B5EF4-FFF2-40B4-BE49-F238E27FC236}">
                <a16:creationId xmlns:a16="http://schemas.microsoft.com/office/drawing/2014/main" id="{BD1A72BA-BC92-4F75-A18A-DA60D91E117B}"/>
              </a:ext>
            </a:extLst>
          </p:cNvPr>
          <p:cNvSpPr/>
          <p:nvPr/>
        </p:nvSpPr>
        <p:spPr bwMode="auto">
          <a:xfrm>
            <a:off x="256803" y="1108411"/>
            <a:ext cx="9392393" cy="531921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aphicFrame>
        <p:nvGraphicFramePr>
          <p:cNvPr id="36" name="Chart 35">
            <a:extLst>
              <a:ext uri="{FF2B5EF4-FFF2-40B4-BE49-F238E27FC236}">
                <a16:creationId xmlns:a16="http://schemas.microsoft.com/office/drawing/2014/main" id="{906A83E0-196F-40CC-85C5-35D0F3A88309}"/>
              </a:ext>
            </a:extLst>
          </p:cNvPr>
          <p:cNvGraphicFramePr>
            <a:graphicFrameLocks noChangeAspect="1"/>
          </p:cNvGraphicFramePr>
          <p:nvPr>
            <p:extLst>
              <p:ext uri="{D42A27DB-BD31-4B8C-83A1-F6EECF244321}">
                <p14:modId xmlns:p14="http://schemas.microsoft.com/office/powerpoint/2010/main" val="4039245018"/>
              </p:ext>
            </p:extLst>
          </p:nvPr>
        </p:nvGraphicFramePr>
        <p:xfrm>
          <a:off x="591510" y="1575309"/>
          <a:ext cx="4167316" cy="326339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Chart 7">
            <a:extLst>
              <a:ext uri="{FF2B5EF4-FFF2-40B4-BE49-F238E27FC236}">
                <a16:creationId xmlns:a16="http://schemas.microsoft.com/office/drawing/2014/main" id="{256AEEA1-5D55-4724-A980-03F17A2BB8E7}"/>
              </a:ext>
            </a:extLst>
          </p:cNvPr>
          <p:cNvGraphicFramePr/>
          <p:nvPr>
            <p:extLst>
              <p:ext uri="{D42A27DB-BD31-4B8C-83A1-F6EECF244321}">
                <p14:modId xmlns:p14="http://schemas.microsoft.com/office/powerpoint/2010/main" val="2314672280"/>
              </p:ext>
            </p:extLst>
          </p:nvPr>
        </p:nvGraphicFramePr>
        <p:xfrm>
          <a:off x="5244843" y="1573505"/>
          <a:ext cx="4167316" cy="3263392"/>
        </p:xfrm>
        <a:graphic>
          <a:graphicData uri="http://schemas.openxmlformats.org/drawingml/2006/chart">
            <c:chart xmlns:c="http://schemas.openxmlformats.org/drawingml/2006/chart" xmlns:r="http://schemas.openxmlformats.org/officeDocument/2006/relationships" r:id="rId8"/>
          </a:graphicData>
        </a:graphic>
      </p:graphicFrame>
      <p:sp>
        <p:nvSpPr>
          <p:cNvPr id="50" name="Rectangle 49">
            <a:extLst>
              <a:ext uri="{FF2B5EF4-FFF2-40B4-BE49-F238E27FC236}">
                <a16:creationId xmlns:a16="http://schemas.microsoft.com/office/drawing/2014/main" id="{BDB37B39-FBB6-4E35-9EB1-5883957472DA}"/>
              </a:ext>
            </a:extLst>
          </p:cNvPr>
          <p:cNvSpPr/>
          <p:nvPr/>
        </p:nvSpPr>
        <p:spPr bwMode="auto">
          <a:xfrm>
            <a:off x="591511" y="1108410"/>
            <a:ext cx="4167316"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RPU broken down type of products in €</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26" name="Rectangle 25">
            <a:extLst>
              <a:ext uri="{FF2B5EF4-FFF2-40B4-BE49-F238E27FC236}">
                <a16:creationId xmlns:a16="http://schemas.microsoft.com/office/drawing/2014/main" id="{D83D40EB-3A78-4813-9686-1A8B94D2CF13}"/>
              </a:ext>
            </a:extLst>
          </p:cNvPr>
          <p:cNvSpPr/>
          <p:nvPr/>
        </p:nvSpPr>
        <p:spPr>
          <a:xfrm>
            <a:off x="591510" y="4367028"/>
            <a:ext cx="1058471" cy="507831"/>
          </a:xfrm>
          <a:prstGeom prst="rect">
            <a:avLst/>
          </a:prstGeom>
        </p:spPr>
        <p:txBody>
          <a:bodyPr wrap="square">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900" b="1">
                <a:solidFill>
                  <a:srgbClr val="6C6C6C"/>
                </a:solidFill>
                <a:latin typeface="Trebuchet MS" panose="020B0603020202020204" pitchFamily="34" charset="0"/>
              </a:rPr>
              <a:t>Customers</a:t>
            </a:r>
            <a:r>
              <a:rPr kumimoji="0" lang="en-GB" sz="900" b="1"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recruitment years: </a:t>
            </a:r>
          </a:p>
        </p:txBody>
      </p:sp>
      <p:sp>
        <p:nvSpPr>
          <p:cNvPr id="18" name="Bulle narrative : rectangle 3">
            <a:extLst>
              <a:ext uri="{FF2B5EF4-FFF2-40B4-BE49-F238E27FC236}">
                <a16:creationId xmlns:a16="http://schemas.microsoft.com/office/drawing/2014/main" id="{5306F885-8467-4812-83BF-91BF6ED5110E}"/>
              </a:ext>
            </a:extLst>
          </p:cNvPr>
          <p:cNvSpPr/>
          <p:nvPr/>
        </p:nvSpPr>
        <p:spPr bwMode="auto">
          <a:xfrm>
            <a:off x="591510" y="4954946"/>
            <a:ext cx="1846890" cy="1366617"/>
          </a:xfrm>
          <a:prstGeom prst="rect">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1200"/>
              </a:spcAft>
              <a:buClrTx/>
              <a:buSzTx/>
              <a:buFontTx/>
              <a:buNone/>
              <a:tabLst/>
            </a:pPr>
            <a:r>
              <a:rPr kumimoji="0" lang="en-GB" sz="1000" b="1" u="none" strike="noStrike" cap="none" normalizeH="0" baseline="0">
                <a:ln>
                  <a:noFill/>
                </a:ln>
                <a:effectLst/>
                <a:latin typeface="Trebuchet MS" panose="020B0603020202020204" pitchFamily="34" charset="0"/>
              </a:rPr>
              <a:t>Readin</a:t>
            </a:r>
            <a:r>
              <a:rPr lang="en-GB" sz="1000" b="1">
                <a:latin typeface="Trebuchet MS" panose="020B0603020202020204" pitchFamily="34" charset="0"/>
              </a:rPr>
              <a:t>g insights</a:t>
            </a:r>
            <a:endParaRPr kumimoji="0" lang="en-GB" sz="1000" b="1" u="none" strike="noStrike" cap="none" normalizeH="0" baseline="0">
              <a:ln>
                <a:noFill/>
              </a:ln>
              <a:solidFill>
                <a:schemeClr val="bg1">
                  <a:lumMod val="65000"/>
                </a:schemeClr>
              </a:solidFill>
              <a:effectLst/>
              <a:latin typeface="Trebuchet MS" panose="020B0603020202020204" pitchFamily="34" charset="0"/>
            </a:endParaRPr>
          </a:p>
          <a:p>
            <a:pPr marL="171450" indent="-171450">
              <a:spcAft>
                <a:spcPts val="1200"/>
              </a:spcAft>
              <a:buFont typeface="Arial" panose="020B0604020202020204" pitchFamily="34" charset="0"/>
              <a:buChar char="•"/>
            </a:pPr>
            <a:r>
              <a:rPr lang="en-GB" sz="1000">
                <a:latin typeface="Trebuchet MS" panose="020B0603020202020204" pitchFamily="34" charset="0"/>
              </a:rPr>
              <a:t>ARPU is the Average Revenue Per Unit, a unit being a single customer</a:t>
            </a:r>
          </a:p>
          <a:p>
            <a:pPr marL="171450" indent="-171450">
              <a:spcAft>
                <a:spcPts val="600"/>
              </a:spcAft>
              <a:buFont typeface="Arial" panose="020B0604020202020204" pitchFamily="34" charset="0"/>
              <a:buChar char="•"/>
            </a:pPr>
            <a:r>
              <a:rPr lang="en-GB" sz="1000">
                <a:latin typeface="Trebuchet MS" panose="020B0603020202020204" pitchFamily="34" charset="0"/>
              </a:rPr>
              <a:t>Company is the customer referential</a:t>
            </a:r>
          </a:p>
          <a:p>
            <a:pPr marL="0" marR="0" indent="0" algn="ctr" defTabSz="914400" rtl="0" eaLnBrk="1" fontAlgn="base" latinLnBrk="0" hangingPunct="1">
              <a:lnSpc>
                <a:spcPct val="100000"/>
              </a:lnSpc>
              <a:spcBef>
                <a:spcPct val="0"/>
              </a:spcBef>
              <a:spcAft>
                <a:spcPts val="600"/>
              </a:spcAft>
              <a:buClrTx/>
              <a:buSzTx/>
              <a:buFontTx/>
              <a:buNone/>
              <a:tabLst/>
            </a:pPr>
            <a:endParaRPr kumimoji="0" lang="en-GB" sz="1200" b="0" i="0" u="none" strike="noStrike" cap="none" normalizeH="0" baseline="0">
              <a:ln>
                <a:noFill/>
              </a:ln>
              <a:solidFill>
                <a:schemeClr val="bg1">
                  <a:lumMod val="65000"/>
                </a:schemeClr>
              </a:solidFill>
              <a:effectLst/>
              <a:latin typeface="Trebuchet MS" panose="020B0603020202020204" pitchFamily="34" charset="0"/>
            </a:endParaRPr>
          </a:p>
        </p:txBody>
      </p:sp>
      <p:sp>
        <p:nvSpPr>
          <p:cNvPr id="40" name="Rectangle 39">
            <a:extLst>
              <a:ext uri="{FF2B5EF4-FFF2-40B4-BE49-F238E27FC236}">
                <a16:creationId xmlns:a16="http://schemas.microsoft.com/office/drawing/2014/main" id="{1D4D4ECA-F7DD-43F8-8C86-BBB9912BA7B8}"/>
              </a:ext>
            </a:extLst>
          </p:cNvPr>
          <p:cNvSpPr/>
          <p:nvPr/>
        </p:nvSpPr>
        <p:spPr bwMode="auto">
          <a:xfrm>
            <a:off x="5244843" y="1108410"/>
            <a:ext cx="4167316"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RPU broken down by year in €</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 name="Titre 2">
            <a:extLst>
              <a:ext uri="{FF2B5EF4-FFF2-40B4-BE49-F238E27FC236}">
                <a16:creationId xmlns:a16="http://schemas.microsoft.com/office/drawing/2014/main" id="{E4275405-17D5-4465-9E93-EFAEB0121919}"/>
              </a:ext>
            </a:extLst>
          </p:cNvPr>
          <p:cNvSpPr>
            <a:spLocks noGrp="1"/>
          </p:cNvSpPr>
          <p:nvPr>
            <p:ph type="title"/>
          </p:nvPr>
        </p:nvSpPr>
        <p:spPr>
          <a:xfrm>
            <a:off x="165599" y="147600"/>
            <a:ext cx="8287519" cy="806288"/>
          </a:xfrm>
        </p:spPr>
        <p:txBody>
          <a:bodyPr/>
          <a:lstStyle/>
          <a:p>
            <a:r>
              <a:rPr lang="en-GB">
                <a:solidFill>
                  <a:schemeClr val="tx2"/>
                </a:solidFill>
                <a:latin typeface="Trebuchet MS" panose="020B0603020202020204" pitchFamily="34" charset="0"/>
              </a:rPr>
              <a:t>ARPU evolution </a:t>
            </a:r>
            <a:r>
              <a:rPr lang="en-GB" sz="1600" b="0" i="0">
                <a:effectLst/>
                <a:latin typeface="Trebuchet MS" panose="020B0603020202020204" pitchFamily="34" charset="0"/>
              </a:rPr>
              <a:t>shows</a:t>
            </a:r>
            <a:r>
              <a:rPr lang="en-GB" sz="1600" b="0" i="0">
                <a:solidFill>
                  <a:schemeClr val="tx2"/>
                </a:solidFill>
                <a:effectLst/>
                <a:latin typeface="Trebuchet MS" panose="020B0603020202020204" pitchFamily="34" charset="0"/>
              </a:rPr>
              <a:t> </a:t>
            </a:r>
            <a:r>
              <a:rPr lang="en-GB" sz="1600" b="0" i="0" err="1">
                <a:solidFill>
                  <a:schemeClr val="tx2"/>
                </a:solidFill>
                <a:effectLst/>
                <a:latin typeface="Trebuchet MS" panose="020B0603020202020204" pitchFamily="34" charset="0"/>
              </a:rPr>
              <a:t>Manageo</a:t>
            </a:r>
            <a:r>
              <a:rPr lang="en-GB" sz="1600" b="0" i="0">
                <a:solidFill>
                  <a:schemeClr val="tx2"/>
                </a:solidFill>
                <a:effectLst/>
                <a:latin typeface="Trebuchet MS" panose="020B0603020202020204" pitchFamily="34" charset="0"/>
              </a:rPr>
              <a:t>' ability to upsell </a:t>
            </a:r>
            <a:r>
              <a:rPr lang="en-GB">
                <a:solidFill>
                  <a:schemeClr val="tx2"/>
                </a:solidFill>
                <a:latin typeface="Trebuchet MS" panose="020B0603020202020204" pitchFamily="34" charset="0"/>
              </a:rPr>
              <a:t>historical accounts </a:t>
            </a:r>
            <a:r>
              <a:rPr lang="en-GB" sz="1600" b="0" i="0">
                <a:effectLst/>
                <a:latin typeface="Trebuchet MS" panose="020B0603020202020204" pitchFamily="34" charset="0"/>
              </a:rPr>
              <a:t>as ARPU </a:t>
            </a:r>
            <a:r>
              <a:rPr lang="en-GB">
                <a:latin typeface="Trebuchet MS" panose="020B0603020202020204" pitchFamily="34" charset="0"/>
              </a:rPr>
              <a:t>of each cohort as well as global ARPU are increasing </a:t>
            </a:r>
            <a:r>
              <a:rPr lang="en-GB" sz="1600" b="0" i="0">
                <a:effectLst/>
                <a:latin typeface="Trebuchet MS" panose="020B0603020202020204" pitchFamily="34" charset="0"/>
              </a:rPr>
              <a:t>every year</a:t>
            </a:r>
            <a:endParaRPr lang="en-GB">
              <a:solidFill>
                <a:schemeClr val="tx2"/>
              </a:solidFill>
              <a:latin typeface="Trebuchet MS" panose="020B0603020202020204" pitchFamily="34" charset="0"/>
            </a:endParaRPr>
          </a:p>
        </p:txBody>
      </p:sp>
      <p:sp>
        <p:nvSpPr>
          <p:cNvPr id="16" name="Espace réservé du texte 15">
            <a:extLst>
              <a:ext uri="{FF2B5EF4-FFF2-40B4-BE49-F238E27FC236}">
                <a16:creationId xmlns:a16="http://schemas.microsoft.com/office/drawing/2014/main" id="{8FCB6FA7-DD5D-461D-B50E-49DE41EE896D}"/>
              </a:ext>
            </a:extLst>
          </p:cNvPr>
          <p:cNvSpPr>
            <a:spLocks noGrp="1"/>
          </p:cNvSpPr>
          <p:nvPr>
            <p:ph type="body" sz="quarter" idx="10"/>
          </p:nvPr>
        </p:nvSpPr>
        <p:spPr/>
        <p:txBody>
          <a:bodyPr/>
          <a:lstStyle/>
          <a:p>
            <a:r>
              <a:rPr lang="en-GB" sz="800" i="1" kern="0"/>
              <a:t>Sources: eleven research &amp; analysis, company data</a:t>
            </a:r>
          </a:p>
          <a:p>
            <a:endParaRPr lang="en-GB"/>
          </a:p>
        </p:txBody>
      </p:sp>
      <p:sp>
        <p:nvSpPr>
          <p:cNvPr id="19" name="Rectangle 18">
            <a:extLst>
              <a:ext uri="{FF2B5EF4-FFF2-40B4-BE49-F238E27FC236}">
                <a16:creationId xmlns:a16="http://schemas.microsoft.com/office/drawing/2014/main" id="{E4F66408-3154-4332-A0D9-EE50DAAB0FA9}"/>
              </a:ext>
            </a:extLst>
          </p:cNvPr>
          <p:cNvSpPr/>
          <p:nvPr/>
        </p:nvSpPr>
        <p:spPr bwMode="auto">
          <a:xfrm>
            <a:off x="2586420" y="4953143"/>
            <a:ext cx="6806470" cy="1366618"/>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b="1">
                <a:latin typeface="Trebuchet MS" panose="020B0603020202020204" pitchFamily="34" charset="0"/>
              </a:rPr>
              <a:t>Comments</a:t>
            </a:r>
            <a:endParaRPr lang="en-GB" sz="1050" b="1">
              <a:latin typeface="Trebuchet MS" panose="020B0603020202020204" pitchFamily="34" charset="0"/>
            </a:endParaRPr>
          </a:p>
          <a:p>
            <a:pPr marL="171450" indent="-171450">
              <a:spcBef>
                <a:spcPts val="600"/>
              </a:spcBef>
              <a:buClr>
                <a:schemeClr val="tx1"/>
              </a:buClr>
              <a:buFont typeface="Arial" panose="020B0604020202020204" pitchFamily="34" charset="0"/>
              <a:buChar char="•"/>
            </a:pPr>
            <a:r>
              <a:rPr lang="en-GB" sz="1050">
                <a:latin typeface="Trebuchet MS" panose="020B0603020202020204" pitchFamily="34" charset="0"/>
              </a:rPr>
              <a:t>ARPU broken down by customer recruitment year shows an </a:t>
            </a:r>
            <a:r>
              <a:rPr lang="en-GB" sz="1050">
                <a:solidFill>
                  <a:schemeClr val="tx2"/>
                </a:solidFill>
                <a:latin typeface="Trebuchet MS" panose="020B0603020202020204" pitchFamily="34" charset="0"/>
              </a:rPr>
              <a:t>onboarding ~€3k </a:t>
            </a:r>
            <a:r>
              <a:rPr lang="en-GB" sz="1050">
                <a:latin typeface="Trebuchet MS" panose="020B0603020202020204" pitchFamily="34" charset="0"/>
              </a:rPr>
              <a:t>and an </a:t>
            </a:r>
            <a:r>
              <a:rPr lang="en-GB" sz="1050">
                <a:solidFill>
                  <a:schemeClr val="tx2"/>
                </a:solidFill>
                <a:latin typeface="Trebuchet MS" panose="020B0603020202020204" pitchFamily="34" charset="0"/>
              </a:rPr>
              <a:t>increase year by year</a:t>
            </a:r>
            <a:endParaRPr lang="en-GB" sz="1050">
              <a:latin typeface="Trebuchet MS" pitchFamily="34" charset="0"/>
            </a:endParaRPr>
          </a:p>
          <a:p>
            <a:pPr marL="171450" indent="-171450">
              <a:spcBef>
                <a:spcPts val="600"/>
              </a:spcBef>
              <a:buClr>
                <a:schemeClr val="tx1"/>
              </a:buClr>
              <a:buFont typeface="Arial" panose="020B0604020202020204" pitchFamily="34" charset="0"/>
              <a:buChar char="•"/>
            </a:pPr>
            <a:r>
              <a:rPr lang="en-GB" sz="1050">
                <a:latin typeface="Trebuchet MS" pitchFamily="34" charset="0"/>
              </a:rPr>
              <a:t>The global ARPU confirms that analysis with a value </a:t>
            </a:r>
            <a:r>
              <a:rPr lang="en-GB" sz="1050">
                <a:solidFill>
                  <a:schemeClr val="tx2"/>
                </a:solidFill>
                <a:latin typeface="Trebuchet MS" panose="020B0603020202020204" pitchFamily="34" charset="0"/>
              </a:rPr>
              <a:t>increasing every year</a:t>
            </a:r>
          </a:p>
          <a:p>
            <a:pPr marL="171450" indent="-171450">
              <a:spcBef>
                <a:spcPts val="600"/>
              </a:spcBef>
              <a:buClr>
                <a:schemeClr val="tx1"/>
              </a:buClr>
              <a:buFont typeface="Wingdings" panose="05000000000000000000" pitchFamily="2" charset="2"/>
              <a:buChar char="Ø"/>
            </a:pPr>
            <a:r>
              <a:rPr lang="en-GB" sz="1050">
                <a:latin typeface="Trebuchet MS" panose="020B0603020202020204" pitchFamily="34" charset="0"/>
              </a:rPr>
              <a:t>It confirms </a:t>
            </a:r>
            <a:r>
              <a:rPr lang="en-GB" sz="1050" err="1">
                <a:latin typeface="Trebuchet MS" panose="020B0603020202020204" pitchFamily="34" charset="0"/>
              </a:rPr>
              <a:t>Altares</a:t>
            </a:r>
            <a:r>
              <a:rPr lang="en-GB" sz="1050">
                <a:latin typeface="Trebuchet MS" panose="020B0603020202020204" pitchFamily="34" charset="0"/>
              </a:rPr>
              <a:t> </a:t>
            </a:r>
            <a:r>
              <a:rPr lang="en-GB" sz="1050">
                <a:solidFill>
                  <a:schemeClr val="tx2"/>
                </a:solidFill>
                <a:latin typeface="Trebuchet MS" panose="020B0603020202020204" pitchFamily="34" charset="0"/>
              </a:rPr>
              <a:t>customers’ farming ability</a:t>
            </a:r>
            <a:r>
              <a:rPr lang="en-GB" sz="1050">
                <a:latin typeface="Trebuchet MS" panose="020B0603020202020204" pitchFamily="34" charset="0"/>
              </a:rPr>
              <a:t>, enabling a </a:t>
            </a:r>
            <a:r>
              <a:rPr lang="en-GB" sz="1050">
                <a:solidFill>
                  <a:schemeClr val="tx2"/>
                </a:solidFill>
                <a:latin typeface="Trebuchet MS" panose="020B0603020202020204" pitchFamily="34" charset="0"/>
              </a:rPr>
              <a:t>strong upsell dynamic</a:t>
            </a:r>
          </a:p>
          <a:p>
            <a:pPr algn="ctr">
              <a:spcBef>
                <a:spcPts val="600"/>
              </a:spcBef>
              <a:buClr>
                <a:schemeClr val="tx1"/>
              </a:buClr>
            </a:pPr>
            <a:endParaRPr lang="en-GB" sz="1050">
              <a:latin typeface="Trebuchet MS" panose="020B0603020202020204" pitchFamily="34" charset="0"/>
            </a:endParaRPr>
          </a:p>
        </p:txBody>
      </p:sp>
      <p:pic>
        <p:nvPicPr>
          <p:cNvPr id="7" name="Graphic 6" descr="Lights On">
            <a:extLst>
              <a:ext uri="{FF2B5EF4-FFF2-40B4-BE49-F238E27FC236}">
                <a16:creationId xmlns:a16="http://schemas.microsoft.com/office/drawing/2014/main" id="{293D755D-6598-4892-A8BB-ED0AAD799A5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1462" y="4987855"/>
            <a:ext cx="209742" cy="209742"/>
          </a:xfrm>
          <a:prstGeom prst="rect">
            <a:avLst/>
          </a:prstGeom>
        </p:spPr>
      </p:pic>
      <p:grpSp>
        <p:nvGrpSpPr>
          <p:cNvPr id="20" name="Group 4">
            <a:extLst>
              <a:ext uri="{FF2B5EF4-FFF2-40B4-BE49-F238E27FC236}">
                <a16:creationId xmlns:a16="http://schemas.microsoft.com/office/drawing/2014/main" id="{67C874CA-08B6-43EB-AAF5-A401ED6665E0}"/>
              </a:ext>
            </a:extLst>
          </p:cNvPr>
          <p:cNvGrpSpPr>
            <a:grpSpLocks noChangeAspect="1"/>
          </p:cNvGrpSpPr>
          <p:nvPr/>
        </p:nvGrpSpPr>
        <p:grpSpPr bwMode="auto">
          <a:xfrm>
            <a:off x="5131409" y="5000292"/>
            <a:ext cx="226868" cy="184867"/>
            <a:chOff x="788" y="869"/>
            <a:chExt cx="740" cy="603"/>
          </a:xfrm>
          <a:solidFill>
            <a:schemeClr val="tx1"/>
          </a:solidFill>
        </p:grpSpPr>
        <p:sp>
          <p:nvSpPr>
            <p:cNvPr id="21" name="Freeform 5">
              <a:extLst>
                <a:ext uri="{FF2B5EF4-FFF2-40B4-BE49-F238E27FC236}">
                  <a16:creationId xmlns:a16="http://schemas.microsoft.com/office/drawing/2014/main" id="{4266A374-E100-40D7-B73F-28156E6E1301}"/>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6">
              <a:extLst>
                <a:ext uri="{FF2B5EF4-FFF2-40B4-BE49-F238E27FC236}">
                  <a16:creationId xmlns:a16="http://schemas.microsoft.com/office/drawing/2014/main" id="{C7531C03-6CF3-4C68-B0F7-1AF5DED46D67}"/>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Rectangle 7">
              <a:extLst>
                <a:ext uri="{FF2B5EF4-FFF2-40B4-BE49-F238E27FC236}">
                  <a16:creationId xmlns:a16="http://schemas.microsoft.com/office/drawing/2014/main" id="{07D4B324-AAA6-46C7-B8B7-914AFFE06C35}"/>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Rectangle 8">
              <a:extLst>
                <a:ext uri="{FF2B5EF4-FFF2-40B4-BE49-F238E27FC236}">
                  <a16:creationId xmlns:a16="http://schemas.microsoft.com/office/drawing/2014/main" id="{5D8DB234-2796-4624-AED7-BED53C6318C3}"/>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 name="Groupe 28">
            <a:extLst>
              <a:ext uri="{FF2B5EF4-FFF2-40B4-BE49-F238E27FC236}">
                <a16:creationId xmlns:a16="http://schemas.microsoft.com/office/drawing/2014/main" id="{CCC0302E-9340-4002-ABD4-250094219DFF}"/>
              </a:ext>
            </a:extLst>
          </p:cNvPr>
          <p:cNvGrpSpPr/>
          <p:nvPr/>
        </p:nvGrpSpPr>
        <p:grpSpPr>
          <a:xfrm>
            <a:off x="8448150" y="-11528"/>
            <a:ext cx="1435548" cy="606240"/>
            <a:chOff x="8448150" y="-11528"/>
            <a:chExt cx="1435548" cy="606240"/>
          </a:xfrm>
        </p:grpSpPr>
        <p:grpSp>
          <p:nvGrpSpPr>
            <p:cNvPr id="30" name="Groupe 29">
              <a:extLst>
                <a:ext uri="{FF2B5EF4-FFF2-40B4-BE49-F238E27FC236}">
                  <a16:creationId xmlns:a16="http://schemas.microsoft.com/office/drawing/2014/main" id="{A3D73813-5FC8-4F49-A3D6-22F91FFEECE8}"/>
                </a:ext>
              </a:extLst>
            </p:cNvPr>
            <p:cNvGrpSpPr/>
            <p:nvPr/>
          </p:nvGrpSpPr>
          <p:grpSpPr>
            <a:xfrm>
              <a:off x="8448150" y="-11528"/>
              <a:ext cx="1435548" cy="451904"/>
              <a:chOff x="8448150" y="-11528"/>
              <a:chExt cx="1435548" cy="451904"/>
            </a:xfrm>
          </p:grpSpPr>
          <p:sp>
            <p:nvSpPr>
              <p:cNvPr id="32" name="Rectangle : coins arrondis 199">
                <a:extLst>
                  <a:ext uri="{FF2B5EF4-FFF2-40B4-BE49-F238E27FC236}">
                    <a16:creationId xmlns:a16="http://schemas.microsoft.com/office/drawing/2014/main" id="{5C5C508A-EAD8-4D5D-AF50-D42EC987B3F2}"/>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3" name="Rectangle : coins arrondis 200">
                <a:extLst>
                  <a:ext uri="{FF2B5EF4-FFF2-40B4-BE49-F238E27FC236}">
                    <a16:creationId xmlns:a16="http://schemas.microsoft.com/office/drawing/2014/main" id="{43058EAE-64F5-4851-8E0B-F1E78830F08D}"/>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4" name="Rectangle : coins arrondis 201">
                <a:extLst>
                  <a:ext uri="{FF2B5EF4-FFF2-40B4-BE49-F238E27FC236}">
                    <a16:creationId xmlns:a16="http://schemas.microsoft.com/office/drawing/2014/main" id="{E19AD542-1154-497C-A97E-E3A56FBB7E65}"/>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5" name="ZoneTexte 18">
                <a:extLst>
                  <a:ext uri="{FF2B5EF4-FFF2-40B4-BE49-F238E27FC236}">
                    <a16:creationId xmlns:a16="http://schemas.microsoft.com/office/drawing/2014/main" id="{30A10C04-8761-4396-B9EF-FF7AE1B09ACD}"/>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46" name="Graphique 128" descr="Jauge">
                <a:extLst>
                  <a:ext uri="{FF2B5EF4-FFF2-40B4-BE49-F238E27FC236}">
                    <a16:creationId xmlns:a16="http://schemas.microsoft.com/office/drawing/2014/main" id="{68E330F5-89DC-4473-B3E3-4ABDB9ED3F9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553764" y="187516"/>
                <a:ext cx="234953" cy="218224"/>
              </a:xfrm>
              <a:prstGeom prst="rect">
                <a:avLst/>
              </a:prstGeom>
              <a:effectLst/>
            </p:spPr>
          </p:pic>
          <p:pic>
            <p:nvPicPr>
              <p:cNvPr id="47" name="Graphique 90" descr="Poignée de main">
                <a:extLst>
                  <a:ext uri="{FF2B5EF4-FFF2-40B4-BE49-F238E27FC236}">
                    <a16:creationId xmlns:a16="http://schemas.microsoft.com/office/drawing/2014/main" id="{616CE3B4-7A8C-4B2A-B35D-BEC8C621BCC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960868" y="152880"/>
                <a:ext cx="256313" cy="287496"/>
              </a:xfrm>
              <a:prstGeom prst="rect">
                <a:avLst/>
              </a:prstGeom>
              <a:effectLst/>
            </p:spPr>
          </p:pic>
          <p:pic>
            <p:nvPicPr>
              <p:cNvPr id="48" name="Graphique 74" descr="Mégaphone">
                <a:extLst>
                  <a:ext uri="{FF2B5EF4-FFF2-40B4-BE49-F238E27FC236}">
                    <a16:creationId xmlns:a16="http://schemas.microsoft.com/office/drawing/2014/main" id="{1B0C14E3-9C08-414E-A3DA-293EBAA8DEA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89331" y="181519"/>
                <a:ext cx="233011" cy="216420"/>
              </a:xfrm>
              <a:prstGeom prst="rect">
                <a:avLst/>
              </a:prstGeom>
              <a:effectLst/>
            </p:spPr>
          </p:pic>
          <p:pic>
            <p:nvPicPr>
              <p:cNvPr id="49" name="Picture 2" descr="Drapeau France">
                <a:extLst>
                  <a:ext uri="{FF2B5EF4-FFF2-40B4-BE49-F238E27FC236}">
                    <a16:creationId xmlns:a16="http://schemas.microsoft.com/office/drawing/2014/main" id="{3EEA4BAE-F4FB-4734-9B93-CA7F1BD2A19E}"/>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grpSp>
        <p:pic>
          <p:nvPicPr>
            <p:cNvPr id="31" name="Picture 2">
              <a:extLst>
                <a:ext uri="{FF2B5EF4-FFF2-40B4-BE49-F238E27FC236}">
                  <a16:creationId xmlns:a16="http://schemas.microsoft.com/office/drawing/2014/main" id="{9DC9A017-04B9-4BEF-89A0-F04A36A2704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927990" y="449606"/>
              <a:ext cx="428463" cy="145106"/>
            </a:xfrm>
            <a:prstGeom prst="rect">
              <a:avLst/>
            </a:prstGeom>
            <a:noFill/>
            <a:extLst>
              <a:ext uri="{909E8E84-426E-40DD-AFC4-6F175D3DCCD1}">
                <a14:hiddenFill xmlns:a14="http://schemas.microsoft.com/office/drawing/2010/main">
                  <a:solidFill>
                    <a:srgbClr val="FFFFFF"/>
                  </a:solidFill>
                </a14:hiddenFill>
              </a:ext>
            </a:extLst>
          </p:spPr>
        </p:pic>
      </p:grpSp>
      <p:pic>
        <p:nvPicPr>
          <p:cNvPr id="37" name="Picture 2" descr="Drapeau France">
            <a:extLst>
              <a:ext uri="{FF2B5EF4-FFF2-40B4-BE49-F238E27FC236}">
                <a16:creationId xmlns:a16="http://schemas.microsoft.com/office/drawing/2014/main" id="{B3856770-1807-437E-AA60-A7FE2E8A1617}"/>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17006" b="16757"/>
          <a:stretch/>
        </p:blipFill>
        <p:spPr bwMode="auto">
          <a:xfrm>
            <a:off x="313839" y="1232056"/>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1878143679"/>
      </p:ext>
    </p:extLst>
  </p:cSld>
  <p:clrMapOvr>
    <a:masterClrMapping/>
  </p:clrMapOvr>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5D8A451-9CCF-4721-81BC-4455201434B2}"/>
              </a:ext>
            </a:extLst>
          </p:cNvPr>
          <p:cNvGraphicFramePr>
            <a:graphicFrameLocks noChangeAspect="1"/>
          </p:cNvGraphicFramePr>
          <p:nvPr>
            <p:custDataLst>
              <p:tags r:id="rId1"/>
            </p:custDataLst>
            <p:extLst>
              <p:ext uri="{D42A27DB-BD31-4B8C-83A1-F6EECF244321}">
                <p14:modId xmlns:p14="http://schemas.microsoft.com/office/powerpoint/2010/main" val="80871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7" name="Object 6" hidden="1">
                        <a:extLst>
                          <a:ext uri="{FF2B5EF4-FFF2-40B4-BE49-F238E27FC236}">
                            <a16:creationId xmlns:a16="http://schemas.microsoft.com/office/drawing/2014/main" id="{D5D8A451-9CCF-4721-81BC-4455201434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1381AAA-C103-400B-A0E3-B9609C488AF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5" name="Rectangle 4">
            <a:extLst>
              <a:ext uri="{FF2B5EF4-FFF2-40B4-BE49-F238E27FC236}">
                <a16:creationId xmlns:a16="http://schemas.microsoft.com/office/drawing/2014/main" id="{A1AE1010-4DC4-4E84-B9D3-B2CAA7A78AA4}"/>
              </a:ext>
            </a:extLst>
          </p:cNvPr>
          <p:cNvSpPr/>
          <p:nvPr/>
        </p:nvSpPr>
        <p:spPr bwMode="auto">
          <a:xfrm>
            <a:off x="256803" y="1108411"/>
            <a:ext cx="9392393" cy="531921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le 1">
            <a:extLst>
              <a:ext uri="{FF2B5EF4-FFF2-40B4-BE49-F238E27FC236}">
                <a16:creationId xmlns:a16="http://schemas.microsoft.com/office/drawing/2014/main" id="{356E2121-E170-4E23-BD37-8FBCB6761C4E}"/>
              </a:ext>
            </a:extLst>
          </p:cNvPr>
          <p:cNvSpPr>
            <a:spLocks noGrp="1"/>
          </p:cNvSpPr>
          <p:nvPr>
            <p:ph type="title"/>
          </p:nvPr>
        </p:nvSpPr>
        <p:spPr>
          <a:xfrm>
            <a:off x="165600" y="147600"/>
            <a:ext cx="8388164" cy="684000"/>
          </a:xfrm>
          <a:noFill/>
        </p:spPr>
        <p:txBody>
          <a:bodyPr/>
          <a:lstStyle/>
          <a:p>
            <a:r>
              <a:rPr lang="en-GB" err="1">
                <a:latin typeface="Trebuchet MS" panose="020B0603020202020204" pitchFamily="34" charset="0"/>
              </a:rPr>
              <a:t>Manageo</a:t>
            </a:r>
            <a:r>
              <a:rPr lang="en-GB">
                <a:latin typeface="Trebuchet MS" panose="020B0603020202020204" pitchFamily="34" charset="0"/>
              </a:rPr>
              <a:t> faces </a:t>
            </a:r>
            <a:r>
              <a:rPr lang="en-GB">
                <a:solidFill>
                  <a:schemeClr val="tx2"/>
                </a:solidFill>
                <a:latin typeface="Trebuchet MS" panose="020B0603020202020204" pitchFamily="34" charset="0"/>
              </a:rPr>
              <a:t>different dynamics </a:t>
            </a:r>
            <a:r>
              <a:rPr lang="en-GB">
                <a:latin typeface="Trebuchet MS" panose="020B0603020202020204" pitchFamily="34" charset="0"/>
              </a:rPr>
              <a:t>depending on the </a:t>
            </a:r>
            <a:r>
              <a:rPr lang="en-GB">
                <a:solidFill>
                  <a:schemeClr val="tx2"/>
                </a:solidFill>
                <a:latin typeface="Trebuchet MS" panose="020B0603020202020204" pitchFamily="34" charset="0"/>
              </a:rPr>
              <a:t>type of products sold, one-off products </a:t>
            </a:r>
            <a:r>
              <a:rPr lang="en-GB">
                <a:latin typeface="Trebuchet MS" panose="020B0603020202020204" pitchFamily="34" charset="0"/>
              </a:rPr>
              <a:t>for large accounts </a:t>
            </a:r>
            <a:r>
              <a:rPr lang="en-GB">
                <a:solidFill>
                  <a:schemeClr val="tx2"/>
                </a:solidFill>
                <a:latin typeface="Trebuchet MS" panose="020B0603020202020204" pitchFamily="34" charset="0"/>
              </a:rPr>
              <a:t>being mainly renewed every year</a:t>
            </a:r>
            <a:r>
              <a:rPr lang="en-GB">
                <a:latin typeface="Trebuchet MS" panose="020B0603020202020204" pitchFamily="34" charset="0"/>
              </a:rPr>
              <a:t> while </a:t>
            </a:r>
            <a:r>
              <a:rPr lang="en-GB">
                <a:solidFill>
                  <a:schemeClr val="tx2"/>
                </a:solidFill>
                <a:latin typeface="Trebuchet MS" panose="020B0603020202020204" pitchFamily="34" charset="0"/>
              </a:rPr>
              <a:t>recurring products churn is offset by new business</a:t>
            </a:r>
          </a:p>
        </p:txBody>
      </p:sp>
      <p:sp>
        <p:nvSpPr>
          <p:cNvPr id="3" name="Text Placeholder 2">
            <a:extLst>
              <a:ext uri="{FF2B5EF4-FFF2-40B4-BE49-F238E27FC236}">
                <a16:creationId xmlns:a16="http://schemas.microsoft.com/office/drawing/2014/main" id="{FBD13BD1-B840-4073-A6D1-1E8723FF6B39}"/>
              </a:ext>
            </a:extLst>
          </p:cNvPr>
          <p:cNvSpPr>
            <a:spLocks noGrp="1"/>
          </p:cNvSpPr>
          <p:nvPr>
            <p:ph type="body" sz="quarter" idx="10"/>
          </p:nvPr>
        </p:nvSpPr>
        <p:spPr/>
        <p:txBody>
          <a:bodyPr/>
          <a:lstStyle/>
          <a:p>
            <a:r>
              <a:rPr lang="en-GB"/>
              <a:t>Sources: eleven research &amp; analysis, company data</a:t>
            </a:r>
          </a:p>
        </p:txBody>
      </p:sp>
      <p:sp>
        <p:nvSpPr>
          <p:cNvPr id="8" name="Rectangle : coins arrondis 25">
            <a:extLst>
              <a:ext uri="{FF2B5EF4-FFF2-40B4-BE49-F238E27FC236}">
                <a16:creationId xmlns:a16="http://schemas.microsoft.com/office/drawing/2014/main" id="{A2AC5C70-8EB5-4F0C-A842-AADC34B04F23}"/>
              </a:ext>
            </a:extLst>
          </p:cNvPr>
          <p:cNvSpPr/>
          <p:nvPr/>
        </p:nvSpPr>
        <p:spPr bwMode="auto">
          <a:xfrm>
            <a:off x="400930" y="5248275"/>
            <a:ext cx="5804198" cy="1091371"/>
          </a:xfrm>
          <a:prstGeom prst="roundRect">
            <a:avLst>
              <a:gd name="adj" fmla="val 0"/>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600"/>
              </a:spcAft>
            </a:pPr>
            <a:r>
              <a:rPr lang="en-GB" sz="1000" b="1" dirty="0">
                <a:latin typeface="Trebuchet MS" panose="020B0603020202020204" pitchFamily="34" charset="0"/>
              </a:rPr>
              <a:t>Description of categories</a:t>
            </a:r>
          </a:p>
          <a:p>
            <a:pPr marL="171450" indent="-171450">
              <a:buClr>
                <a:schemeClr val="tx1"/>
              </a:buClr>
              <a:buFont typeface="Arial" panose="020B0604020202020204" pitchFamily="34" charset="0"/>
              <a:buChar char="•"/>
            </a:pPr>
            <a:r>
              <a:rPr lang="en-GB" sz="1000" dirty="0" err="1">
                <a:solidFill>
                  <a:schemeClr val="tx2"/>
                </a:solidFill>
                <a:latin typeface="Trebuchet MS" panose="020B0603020202020204" pitchFamily="34" charset="0"/>
              </a:rPr>
              <a:t>LfL</a:t>
            </a:r>
            <a:r>
              <a:rPr lang="en-GB" sz="1000" dirty="0">
                <a:solidFill>
                  <a:schemeClr val="tx2"/>
                </a:solidFill>
                <a:latin typeface="Trebuchet MS" panose="020B0603020202020204" pitchFamily="34" charset="0"/>
              </a:rPr>
              <a:t> YEAR</a:t>
            </a:r>
            <a:r>
              <a:rPr lang="en-GB" sz="1000" dirty="0">
                <a:latin typeface="Trebuchet MS" panose="020B0603020202020204" pitchFamily="34" charset="0"/>
              </a:rPr>
              <a:t>: All clients that generated revenue in years YEAR and YEAR+1 and then includes up-sell, down-sell and sales same as previous</a:t>
            </a:r>
          </a:p>
          <a:p>
            <a:pPr marL="171450" indent="-171450">
              <a:buClr>
                <a:schemeClr val="tx1"/>
              </a:buClr>
              <a:buFont typeface="Arial" panose="020B0604020202020204" pitchFamily="34" charset="0"/>
              <a:buChar char="•"/>
            </a:pPr>
            <a:r>
              <a:rPr lang="en-GB" sz="1000" dirty="0">
                <a:solidFill>
                  <a:schemeClr val="tx2"/>
                </a:solidFill>
                <a:latin typeface="Trebuchet MS" panose="020B0603020202020204" pitchFamily="34" charset="0"/>
              </a:rPr>
              <a:t>Churn YEAR</a:t>
            </a:r>
            <a:r>
              <a:rPr lang="en-GB" sz="1000" dirty="0">
                <a:latin typeface="Trebuchet MS" panose="020B0603020202020204" pitchFamily="34" charset="0"/>
              </a:rPr>
              <a:t>: All clients that generated revenue in year </a:t>
            </a:r>
            <a:r>
              <a:rPr lang="en-GB" sz="1000" dirty="0" err="1">
                <a:latin typeface="Trebuchet MS" panose="020B0603020202020204" pitchFamily="34" charset="0"/>
              </a:rPr>
              <a:t>YEAR</a:t>
            </a:r>
            <a:r>
              <a:rPr lang="en-GB" sz="1000" dirty="0">
                <a:latin typeface="Trebuchet MS" panose="020B0603020202020204" pitchFamily="34" charset="0"/>
              </a:rPr>
              <a:t> and not in year YEAR+1</a:t>
            </a:r>
          </a:p>
          <a:p>
            <a:pPr marL="171450" indent="-171450">
              <a:buClr>
                <a:schemeClr val="tx1"/>
              </a:buClr>
              <a:buFont typeface="Arial" panose="020B0604020202020204" pitchFamily="34" charset="0"/>
              <a:buChar char="•"/>
            </a:pPr>
            <a:r>
              <a:rPr lang="en-GB" sz="1000" dirty="0">
                <a:solidFill>
                  <a:schemeClr val="tx2"/>
                </a:solidFill>
                <a:latin typeface="Trebuchet MS" panose="020B0603020202020204" pitchFamily="34" charset="0"/>
              </a:rPr>
              <a:t>New YEAR</a:t>
            </a:r>
            <a:r>
              <a:rPr lang="en-GB" sz="1000" dirty="0">
                <a:latin typeface="Trebuchet MS" panose="020B0603020202020204" pitchFamily="34" charset="0"/>
              </a:rPr>
              <a:t>: All clients that generated revenue in year </a:t>
            </a:r>
            <a:r>
              <a:rPr lang="en-GB" sz="1000" dirty="0" err="1">
                <a:latin typeface="Trebuchet MS" panose="020B0603020202020204" pitchFamily="34" charset="0"/>
              </a:rPr>
              <a:t>YEAR</a:t>
            </a:r>
            <a:r>
              <a:rPr lang="en-GB" sz="1000" dirty="0">
                <a:latin typeface="Trebuchet MS" panose="020B0603020202020204" pitchFamily="34" charset="0"/>
              </a:rPr>
              <a:t> and not in year YEAR-1</a:t>
            </a:r>
            <a:endParaRPr lang="en-GB" sz="1000" dirty="0">
              <a:solidFill>
                <a:schemeClr val="tx2"/>
              </a:solidFill>
              <a:latin typeface="Trebuchet MS" panose="020B0603020202020204" pitchFamily="34" charset="0"/>
            </a:endParaRPr>
          </a:p>
        </p:txBody>
      </p:sp>
      <p:sp>
        <p:nvSpPr>
          <p:cNvPr id="21" name="Rectangle 20">
            <a:extLst>
              <a:ext uri="{FF2B5EF4-FFF2-40B4-BE49-F238E27FC236}">
                <a16:creationId xmlns:a16="http://schemas.microsoft.com/office/drawing/2014/main" id="{8DF558A3-1E6B-42C4-BC10-9D27518050F9}"/>
              </a:ext>
            </a:extLst>
          </p:cNvPr>
          <p:cNvSpPr/>
          <p:nvPr/>
        </p:nvSpPr>
        <p:spPr bwMode="auto">
          <a:xfrm>
            <a:off x="542579" y="1113659"/>
            <a:ext cx="4238626"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Waterfall of </a:t>
            </a:r>
            <a:r>
              <a:rPr lang="en-GB" sz="1000" b="1" i="1" err="1">
                <a:latin typeface="Trebuchet MS" panose="020B0603020202020204" pitchFamily="34" charset="0"/>
              </a:rPr>
              <a:t>Manageo</a:t>
            </a:r>
            <a:r>
              <a:rPr lang="en-GB" sz="1000" b="1" i="1">
                <a:latin typeface="Trebuchet MS" panose="020B0603020202020204" pitchFamily="34" charset="0"/>
              </a:rPr>
              <a:t>’ sales between 2017 and 2019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2" name="Rectangle 31">
            <a:extLst>
              <a:ext uri="{FF2B5EF4-FFF2-40B4-BE49-F238E27FC236}">
                <a16:creationId xmlns:a16="http://schemas.microsoft.com/office/drawing/2014/main" id="{83672DA3-89ED-4CAE-B6D7-22C414ADECA6}"/>
              </a:ext>
            </a:extLst>
          </p:cNvPr>
          <p:cNvSpPr/>
          <p:nvPr/>
        </p:nvSpPr>
        <p:spPr bwMode="auto">
          <a:xfrm>
            <a:off x="6349259" y="3748270"/>
            <a:ext cx="3155813" cy="2591376"/>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b="1">
                <a:latin typeface="Trebuchet MS" panose="020B0603020202020204" pitchFamily="34" charset="0"/>
              </a:rPr>
              <a:t>Comments</a:t>
            </a:r>
            <a:endParaRPr lang="en-GB" sz="1000">
              <a:highlight>
                <a:srgbClr val="FFFF00"/>
              </a:highlight>
              <a:latin typeface="Trebuchet MS" panose="020B0603020202020204" pitchFamily="34" charset="0"/>
            </a:endParaRPr>
          </a:p>
          <a:p>
            <a:pPr marL="228600" indent="-228600">
              <a:spcBef>
                <a:spcPts val="600"/>
              </a:spcBef>
              <a:buClr>
                <a:schemeClr val="tx1"/>
              </a:buClr>
              <a:buFont typeface="Arial" panose="020B0604020202020204" pitchFamily="34" charset="0"/>
              <a:buChar char="•"/>
            </a:pPr>
            <a:r>
              <a:rPr lang="en-GB" sz="1000" i="1">
                <a:solidFill>
                  <a:schemeClr val="tx2"/>
                </a:solidFill>
                <a:latin typeface="Trebuchet MS" panose="020B0603020202020204" pitchFamily="34" charset="0"/>
              </a:rPr>
              <a:t>One-off lead generation products</a:t>
            </a:r>
            <a:r>
              <a:rPr lang="en-GB" sz="1000">
                <a:latin typeface="Trebuchet MS" panose="020B0603020202020204" pitchFamily="34" charset="0"/>
              </a:rPr>
              <a:t>: Despite the non-</a:t>
            </a:r>
            <a:r>
              <a:rPr lang="en-GB" sz="1000" err="1">
                <a:latin typeface="Trebuchet MS" panose="020B0603020202020204" pitchFamily="34" charset="0"/>
              </a:rPr>
              <a:t>reccurence</a:t>
            </a:r>
            <a:r>
              <a:rPr lang="en-GB" sz="1000">
                <a:latin typeface="Trebuchet MS" panose="020B0603020202020204" pitchFamily="34" charset="0"/>
              </a:rPr>
              <a:t> of </a:t>
            </a:r>
            <a:r>
              <a:rPr lang="en-GB" sz="1000" err="1">
                <a:latin typeface="Trebuchet MS" panose="020B0603020202020204" pitchFamily="34" charset="0"/>
              </a:rPr>
              <a:t>contratcs</a:t>
            </a:r>
            <a:r>
              <a:rPr lang="en-GB" sz="1000">
                <a:latin typeface="Trebuchet MS" panose="020B0603020202020204" pitchFamily="34" charset="0"/>
              </a:rPr>
              <a:t>, </a:t>
            </a:r>
            <a:r>
              <a:rPr lang="en-GB" sz="1000" err="1">
                <a:latin typeface="Trebuchet MS" panose="020B0603020202020204" pitchFamily="34" charset="0"/>
              </a:rPr>
              <a:t>Manageo</a:t>
            </a:r>
            <a:r>
              <a:rPr lang="en-GB" sz="1000">
                <a:latin typeface="Trebuchet MS" panose="020B0603020202020204" pitchFamily="34" charset="0"/>
              </a:rPr>
              <a:t> manages </a:t>
            </a:r>
            <a:r>
              <a:rPr lang="en-GB" sz="1000">
                <a:solidFill>
                  <a:schemeClr val="tx2"/>
                </a:solidFill>
                <a:latin typeface="Trebuchet MS" panose="020B0603020202020204" pitchFamily="34" charset="0"/>
              </a:rPr>
              <a:t>to upsell large accounts </a:t>
            </a:r>
            <a:r>
              <a:rPr lang="en-GB" sz="1000">
                <a:latin typeface="Trebuchet MS" panose="020B0603020202020204" pitchFamily="34" charset="0"/>
              </a:rPr>
              <a:t>while</a:t>
            </a:r>
            <a:r>
              <a:rPr lang="en-GB" sz="1000">
                <a:solidFill>
                  <a:schemeClr val="tx2"/>
                </a:solidFill>
                <a:latin typeface="Trebuchet MS" panose="020B0603020202020204" pitchFamily="34" charset="0"/>
              </a:rPr>
              <a:t> keeping onboarding new customer </a:t>
            </a:r>
            <a:r>
              <a:rPr lang="en-GB" sz="1000">
                <a:latin typeface="Trebuchet MS" panose="020B0603020202020204" pitchFamily="34" charset="0"/>
              </a:rPr>
              <a:t>to compensate natural churn</a:t>
            </a:r>
          </a:p>
          <a:p>
            <a:pPr marL="228600" indent="-228600">
              <a:spcBef>
                <a:spcPts val="600"/>
              </a:spcBef>
              <a:buClr>
                <a:schemeClr val="tx1"/>
              </a:buClr>
              <a:buFont typeface="Arial" panose="020B0604020202020204" pitchFamily="34" charset="0"/>
              <a:buChar char="•"/>
            </a:pPr>
            <a:r>
              <a:rPr lang="en-GB" sz="1000" i="1">
                <a:solidFill>
                  <a:schemeClr val="tx2"/>
                </a:solidFill>
                <a:latin typeface="Trebuchet MS" panose="020B0603020202020204" pitchFamily="34" charset="0"/>
              </a:rPr>
              <a:t>One-off programmatic product: </a:t>
            </a:r>
            <a:r>
              <a:rPr lang="en-GB" sz="1000">
                <a:solidFill>
                  <a:schemeClr val="tx2"/>
                </a:solidFill>
                <a:latin typeface="Trebuchet MS" panose="020B0603020202020204" pitchFamily="34" charset="0"/>
              </a:rPr>
              <a:t>Programmatic is a growing activity </a:t>
            </a:r>
            <a:r>
              <a:rPr lang="en-GB" sz="1000">
                <a:latin typeface="Trebuchet MS" panose="020B0603020202020204" pitchFamily="34" charset="0"/>
              </a:rPr>
              <a:t>thanks to </a:t>
            </a:r>
            <a:r>
              <a:rPr lang="en-GB" sz="1000">
                <a:solidFill>
                  <a:schemeClr val="tx2"/>
                </a:solidFill>
                <a:latin typeface="Trebuchet MS" panose="020B0603020202020204" pitchFamily="34" charset="0"/>
              </a:rPr>
              <a:t>large agencies </a:t>
            </a:r>
            <a:r>
              <a:rPr lang="en-GB" sz="1000">
                <a:latin typeface="Trebuchet MS" panose="020B0603020202020204" pitchFamily="34" charset="0"/>
              </a:rPr>
              <a:t>that buy back every year (constant or positive </a:t>
            </a:r>
            <a:r>
              <a:rPr lang="en-GB" sz="1000" err="1">
                <a:latin typeface="Trebuchet MS" panose="020B0603020202020204" pitchFamily="34" charset="0"/>
              </a:rPr>
              <a:t>LfL</a:t>
            </a:r>
            <a:r>
              <a:rPr lang="en-GB" sz="1000">
                <a:latin typeface="Trebuchet MS" panose="020B0603020202020204" pitchFamily="34" charset="0"/>
              </a:rPr>
              <a:t>)</a:t>
            </a:r>
          </a:p>
          <a:p>
            <a:pPr marL="228600" indent="-228600">
              <a:spcBef>
                <a:spcPts val="600"/>
              </a:spcBef>
              <a:buClr>
                <a:schemeClr val="tx1"/>
              </a:buClr>
              <a:buFont typeface="Arial" panose="020B0604020202020204" pitchFamily="34" charset="0"/>
              <a:buChar char="•"/>
            </a:pPr>
            <a:r>
              <a:rPr lang="en-GB" sz="1000" i="1">
                <a:solidFill>
                  <a:schemeClr val="tx2"/>
                </a:solidFill>
                <a:latin typeface="Trebuchet MS" panose="020B0603020202020204" pitchFamily="34" charset="0"/>
              </a:rPr>
              <a:t>MD products (recurring lead generation products): </a:t>
            </a:r>
            <a:r>
              <a:rPr lang="en-GB" sz="1000">
                <a:latin typeface="Trebuchet MS" panose="020B0603020202020204" pitchFamily="34" charset="0"/>
              </a:rPr>
              <a:t>Despite renewable contracts, </a:t>
            </a:r>
            <a:r>
              <a:rPr lang="en-GB" sz="1000">
                <a:solidFill>
                  <a:schemeClr val="tx2"/>
                </a:solidFill>
                <a:latin typeface="Trebuchet MS" panose="020B0603020202020204" pitchFamily="34" charset="0"/>
              </a:rPr>
              <a:t>multi-year products face churn</a:t>
            </a:r>
            <a:r>
              <a:rPr lang="en-GB" sz="1000">
                <a:latin typeface="Trebuchet MS" panose="020B0603020202020204" pitchFamily="34" charset="0"/>
              </a:rPr>
              <a:t> compensated by </a:t>
            </a:r>
            <a:r>
              <a:rPr lang="en-GB" sz="1000">
                <a:solidFill>
                  <a:schemeClr val="tx2"/>
                </a:solidFill>
                <a:latin typeface="Trebuchet MS" panose="020B0603020202020204" pitchFamily="34" charset="0"/>
              </a:rPr>
              <a:t>new business</a:t>
            </a:r>
            <a:r>
              <a:rPr lang="en-GB" sz="1000">
                <a:latin typeface="Trebuchet MS" panose="020B0603020202020204" pitchFamily="34" charset="0"/>
              </a:rPr>
              <a:t>, showing a </a:t>
            </a:r>
            <a:r>
              <a:rPr lang="en-GB" sz="1000">
                <a:solidFill>
                  <a:schemeClr val="tx2"/>
                </a:solidFill>
                <a:latin typeface="Trebuchet MS" panose="020B0603020202020204" pitchFamily="34" charset="0"/>
              </a:rPr>
              <a:t>good “hunter” dynamic</a:t>
            </a:r>
          </a:p>
        </p:txBody>
      </p:sp>
      <p:grpSp>
        <p:nvGrpSpPr>
          <p:cNvPr id="36" name="Group 4">
            <a:extLst>
              <a:ext uri="{FF2B5EF4-FFF2-40B4-BE49-F238E27FC236}">
                <a16:creationId xmlns:a16="http://schemas.microsoft.com/office/drawing/2014/main" id="{FE38731D-45C7-46BF-95F0-141B5655AFB2}"/>
              </a:ext>
            </a:extLst>
          </p:cNvPr>
          <p:cNvGrpSpPr>
            <a:grpSpLocks noChangeAspect="1"/>
          </p:cNvGrpSpPr>
          <p:nvPr/>
        </p:nvGrpSpPr>
        <p:grpSpPr bwMode="auto">
          <a:xfrm>
            <a:off x="7346627" y="3781038"/>
            <a:ext cx="187495" cy="152783"/>
            <a:chOff x="788" y="869"/>
            <a:chExt cx="740" cy="603"/>
          </a:xfrm>
          <a:solidFill>
            <a:schemeClr val="tx1"/>
          </a:solidFill>
        </p:grpSpPr>
        <p:sp>
          <p:nvSpPr>
            <p:cNvPr id="37" name="Freeform 5">
              <a:extLst>
                <a:ext uri="{FF2B5EF4-FFF2-40B4-BE49-F238E27FC236}">
                  <a16:creationId xmlns:a16="http://schemas.microsoft.com/office/drawing/2014/main" id="{01868F54-CC04-4009-8B1E-8F8F1F38B9E6}"/>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Rectangle 6">
              <a:extLst>
                <a:ext uri="{FF2B5EF4-FFF2-40B4-BE49-F238E27FC236}">
                  <a16:creationId xmlns:a16="http://schemas.microsoft.com/office/drawing/2014/main" id="{7219CFDF-0234-4BE8-AA37-DEE46D5B9C44}"/>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Rectangle 7">
              <a:extLst>
                <a:ext uri="{FF2B5EF4-FFF2-40B4-BE49-F238E27FC236}">
                  <a16:creationId xmlns:a16="http://schemas.microsoft.com/office/drawing/2014/main" id="{20E9CC33-2F0E-4F5B-B241-E25CB55885C8}"/>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Rectangle 8">
              <a:extLst>
                <a:ext uri="{FF2B5EF4-FFF2-40B4-BE49-F238E27FC236}">
                  <a16:creationId xmlns:a16="http://schemas.microsoft.com/office/drawing/2014/main" id="{59AEEC01-84F5-4637-88A3-5570D6E36F0D}"/>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1" name="Rectangle 40">
            <a:extLst>
              <a:ext uri="{FF2B5EF4-FFF2-40B4-BE49-F238E27FC236}">
                <a16:creationId xmlns:a16="http://schemas.microsoft.com/office/drawing/2014/main" id="{5BB7CC38-0F31-4736-BBB2-9C26982DB4F8}"/>
              </a:ext>
            </a:extLst>
          </p:cNvPr>
          <p:cNvSpPr/>
          <p:nvPr/>
        </p:nvSpPr>
        <p:spPr bwMode="auto">
          <a:xfrm>
            <a:off x="400931" y="1539150"/>
            <a:ext cx="5804197" cy="363024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1" name="Bulle narrative : rectangle 3">
            <a:extLst>
              <a:ext uri="{FF2B5EF4-FFF2-40B4-BE49-F238E27FC236}">
                <a16:creationId xmlns:a16="http://schemas.microsoft.com/office/drawing/2014/main" id="{FA3F4479-E7AA-43E4-89F5-F93C9F7EA73F}"/>
              </a:ext>
            </a:extLst>
          </p:cNvPr>
          <p:cNvSpPr/>
          <p:nvPr/>
        </p:nvSpPr>
        <p:spPr bwMode="auto">
          <a:xfrm>
            <a:off x="6349255" y="2942132"/>
            <a:ext cx="3155813" cy="638487"/>
          </a:xfrm>
          <a:prstGeom prst="wedgeRectCallout">
            <a:avLst>
              <a:gd name="adj1" fmla="val -57878"/>
              <a:gd name="adj2" fmla="val -17514"/>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600"/>
              </a:spcAft>
              <a:buClrTx/>
              <a:buSzTx/>
              <a:buFontTx/>
              <a:buNone/>
              <a:tabLst/>
            </a:pPr>
            <a:r>
              <a:rPr kumimoji="0" lang="en-GB" sz="1000" b="1" i="0" u="none" strike="noStrike" cap="none" normalizeH="0" baseline="0">
                <a:ln>
                  <a:noFill/>
                </a:ln>
                <a:effectLst/>
                <a:latin typeface="Trebuchet MS" panose="020B0603020202020204" pitchFamily="34" charset="0"/>
              </a:rPr>
              <a:t>Readin</a:t>
            </a:r>
            <a:r>
              <a:rPr lang="en-GB" sz="1000" b="1">
                <a:latin typeface="Trebuchet MS" panose="020B0603020202020204" pitchFamily="34" charset="0"/>
              </a:rPr>
              <a:t>g insights</a:t>
            </a:r>
            <a:endParaRPr kumimoji="0" lang="en-GB" sz="1200" b="0" i="0" u="none" strike="noStrike" cap="none" normalizeH="0" baseline="0">
              <a:ln>
                <a:noFill/>
              </a:ln>
              <a:solidFill>
                <a:schemeClr val="bg1">
                  <a:lumMod val="65000"/>
                </a:schemeClr>
              </a:solidFill>
              <a:effectLst/>
              <a:latin typeface="Trebuchet MS" panose="020B0603020202020204" pitchFamily="34" charset="0"/>
            </a:endParaRPr>
          </a:p>
          <a:p>
            <a:pPr marL="171450" indent="-171450">
              <a:spcAft>
                <a:spcPts val="600"/>
              </a:spcAft>
              <a:buFont typeface="Arial" panose="020B0604020202020204" pitchFamily="34" charset="0"/>
              <a:buChar char="•"/>
            </a:pPr>
            <a:r>
              <a:rPr lang="en-GB" sz="1000">
                <a:latin typeface="Trebuchet MS" panose="020B0603020202020204" pitchFamily="34" charset="0"/>
              </a:rPr>
              <a:t>One client is considered as </a:t>
            </a:r>
            <a:r>
              <a:rPr lang="en-GB" sz="1000">
                <a:solidFill>
                  <a:schemeClr val="tx2"/>
                </a:solidFill>
                <a:latin typeface="Trebuchet MS" panose="020B0603020202020204" pitchFamily="34" charset="0"/>
              </a:rPr>
              <a:t>a company</a:t>
            </a: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10" name="Rectangle 9">
            <a:extLst>
              <a:ext uri="{FF2B5EF4-FFF2-40B4-BE49-F238E27FC236}">
                <a16:creationId xmlns:a16="http://schemas.microsoft.com/office/drawing/2014/main" id="{CAF163B1-68DE-4B3B-B95E-8855A40559F9}"/>
              </a:ext>
            </a:extLst>
          </p:cNvPr>
          <p:cNvSpPr/>
          <p:nvPr/>
        </p:nvSpPr>
        <p:spPr bwMode="auto">
          <a:xfrm>
            <a:off x="6349256" y="1328748"/>
            <a:ext cx="3155813" cy="1515027"/>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43" name="Straight Connector 42">
            <a:extLst>
              <a:ext uri="{FF2B5EF4-FFF2-40B4-BE49-F238E27FC236}">
                <a16:creationId xmlns:a16="http://schemas.microsoft.com/office/drawing/2014/main" id="{73702295-E443-480E-9620-CE5373D34FB9}"/>
              </a:ext>
            </a:extLst>
          </p:cNvPr>
          <p:cNvCxnSpPr>
            <a:cxnSpLocks/>
          </p:cNvCxnSpPr>
          <p:nvPr/>
        </p:nvCxnSpPr>
        <p:spPr bwMode="auto">
          <a:xfrm>
            <a:off x="6484095" y="2427206"/>
            <a:ext cx="207891" cy="0"/>
          </a:xfrm>
          <a:prstGeom prst="line">
            <a:avLst/>
          </a:prstGeom>
          <a:solidFill>
            <a:schemeClr val="bg1"/>
          </a:solidFill>
          <a:ln w="139700" cap="flat" cmpd="sng" algn="ctr">
            <a:solidFill>
              <a:srgbClr val="8FCD9F"/>
            </a:solidFill>
            <a:prstDash val="solid"/>
            <a:round/>
            <a:headEnd type="none" w="med" len="med"/>
            <a:tailEnd type="none" w="med" len="med"/>
          </a:ln>
          <a:effectLst/>
        </p:spPr>
      </p:cxnSp>
      <p:sp>
        <p:nvSpPr>
          <p:cNvPr id="44" name="TextBox 43">
            <a:extLst>
              <a:ext uri="{FF2B5EF4-FFF2-40B4-BE49-F238E27FC236}">
                <a16:creationId xmlns:a16="http://schemas.microsoft.com/office/drawing/2014/main" id="{033660ED-8787-4CE8-A6D6-CBBDC197EA67}"/>
              </a:ext>
            </a:extLst>
          </p:cNvPr>
          <p:cNvSpPr txBox="1"/>
          <p:nvPr/>
        </p:nvSpPr>
        <p:spPr>
          <a:xfrm>
            <a:off x="6779472" y="2150207"/>
            <a:ext cx="1180543" cy="553998"/>
          </a:xfrm>
          <a:prstGeom prst="rect">
            <a:avLst/>
          </a:prstGeom>
          <a:noFill/>
        </p:spPr>
        <p:txBody>
          <a:bodyPr wrap="square" lIns="0" tIns="0" rIns="0" bIns="0" rtlCol="0">
            <a:spAutoFit/>
          </a:bodyPr>
          <a:lstStyle/>
          <a:p>
            <a:r>
              <a:rPr lang="en-GB" sz="900">
                <a:latin typeface="Trebuchet MS" panose="020B0603020202020204" pitchFamily="34" charset="0"/>
              </a:rPr>
              <a:t>One-off programmatic solutions for advertising agencies (incl. </a:t>
            </a:r>
            <a:r>
              <a:rPr lang="en-GB" sz="900" err="1">
                <a:latin typeface="Trebuchet MS" panose="020B0603020202020204" pitchFamily="34" charset="0"/>
              </a:rPr>
              <a:t>mAds</a:t>
            </a:r>
            <a:r>
              <a:rPr lang="en-GB" sz="900">
                <a:latin typeface="Trebuchet MS" panose="020B0603020202020204" pitchFamily="34" charset="0"/>
              </a:rPr>
              <a:t>)</a:t>
            </a:r>
            <a:endParaRPr lang="en-GB" sz="700">
              <a:latin typeface="Trebuchet MS" panose="020B0603020202020204" pitchFamily="34" charset="0"/>
            </a:endParaRPr>
          </a:p>
        </p:txBody>
      </p:sp>
      <p:cxnSp>
        <p:nvCxnSpPr>
          <p:cNvPr id="34" name="Straight Connector 33">
            <a:extLst>
              <a:ext uri="{FF2B5EF4-FFF2-40B4-BE49-F238E27FC236}">
                <a16:creationId xmlns:a16="http://schemas.microsoft.com/office/drawing/2014/main" id="{FCB4E0E3-5A22-4673-8670-8ACBDCD25321}"/>
              </a:ext>
            </a:extLst>
          </p:cNvPr>
          <p:cNvCxnSpPr>
            <a:cxnSpLocks/>
          </p:cNvCxnSpPr>
          <p:nvPr/>
        </p:nvCxnSpPr>
        <p:spPr bwMode="auto">
          <a:xfrm>
            <a:off x="6484094" y="1750483"/>
            <a:ext cx="207891" cy="0"/>
          </a:xfrm>
          <a:prstGeom prst="line">
            <a:avLst/>
          </a:prstGeom>
          <a:solidFill>
            <a:schemeClr val="bg1"/>
          </a:solidFill>
          <a:ln w="139700" cap="flat" cmpd="sng" algn="ctr">
            <a:solidFill>
              <a:srgbClr val="ADD9FD"/>
            </a:solidFill>
            <a:prstDash val="solid"/>
            <a:round/>
            <a:headEnd type="none" w="med" len="med"/>
            <a:tailEnd type="none" w="med" len="med"/>
          </a:ln>
          <a:effectLst/>
        </p:spPr>
      </p:cxnSp>
      <p:sp>
        <p:nvSpPr>
          <p:cNvPr id="51" name="TextBox 50">
            <a:extLst>
              <a:ext uri="{FF2B5EF4-FFF2-40B4-BE49-F238E27FC236}">
                <a16:creationId xmlns:a16="http://schemas.microsoft.com/office/drawing/2014/main" id="{FDABF482-579E-4CFC-90C5-1D31655F159A}"/>
              </a:ext>
            </a:extLst>
          </p:cNvPr>
          <p:cNvSpPr txBox="1"/>
          <p:nvPr/>
        </p:nvSpPr>
        <p:spPr>
          <a:xfrm>
            <a:off x="6779472" y="1473484"/>
            <a:ext cx="1134311" cy="553998"/>
          </a:xfrm>
          <a:prstGeom prst="rect">
            <a:avLst/>
          </a:prstGeom>
          <a:noFill/>
        </p:spPr>
        <p:txBody>
          <a:bodyPr wrap="square" lIns="0" tIns="0" rIns="0" bIns="0" rtlCol="0">
            <a:spAutoFit/>
          </a:bodyPr>
          <a:lstStyle/>
          <a:p>
            <a:r>
              <a:rPr lang="en-GB" sz="900">
                <a:latin typeface="Trebuchet MS" panose="020B0603020202020204" pitchFamily="34" charset="0"/>
              </a:rPr>
              <a:t>Recurring Lead generation products (MD products, incl. </a:t>
            </a:r>
            <a:r>
              <a:rPr lang="en-GB" sz="900" err="1">
                <a:latin typeface="Trebuchet MS" panose="020B0603020202020204" pitchFamily="34" charset="0"/>
              </a:rPr>
              <a:t>mList</a:t>
            </a:r>
            <a:r>
              <a:rPr lang="en-GB" sz="900">
                <a:latin typeface="Trebuchet MS" panose="020B0603020202020204" pitchFamily="34" charset="0"/>
              </a:rPr>
              <a:t>)</a:t>
            </a:r>
            <a:endParaRPr lang="en-GB" sz="700">
              <a:latin typeface="Trebuchet MS" panose="020B0603020202020204" pitchFamily="34" charset="0"/>
            </a:endParaRPr>
          </a:p>
        </p:txBody>
      </p:sp>
      <p:cxnSp>
        <p:nvCxnSpPr>
          <p:cNvPr id="45" name="Straight Connector 44">
            <a:extLst>
              <a:ext uri="{FF2B5EF4-FFF2-40B4-BE49-F238E27FC236}">
                <a16:creationId xmlns:a16="http://schemas.microsoft.com/office/drawing/2014/main" id="{E0AB5BD8-AD26-4FA9-90B6-26F003197BA7}"/>
              </a:ext>
            </a:extLst>
          </p:cNvPr>
          <p:cNvCxnSpPr>
            <a:cxnSpLocks/>
          </p:cNvCxnSpPr>
          <p:nvPr/>
        </p:nvCxnSpPr>
        <p:spPr bwMode="auto">
          <a:xfrm>
            <a:off x="8151495" y="1750483"/>
            <a:ext cx="207891" cy="0"/>
          </a:xfrm>
          <a:prstGeom prst="line">
            <a:avLst/>
          </a:prstGeom>
          <a:solidFill>
            <a:schemeClr val="bg1"/>
          </a:solidFill>
          <a:ln w="139700" cap="flat" cmpd="sng" algn="ctr">
            <a:solidFill>
              <a:srgbClr val="D6D7D9"/>
            </a:solidFill>
            <a:prstDash val="solid"/>
            <a:round/>
            <a:headEnd type="none" w="med" len="med"/>
            <a:tailEnd type="none" w="med" len="med"/>
          </a:ln>
          <a:effectLst/>
        </p:spPr>
      </p:cxnSp>
      <p:sp>
        <p:nvSpPr>
          <p:cNvPr id="46" name="TextBox 45">
            <a:extLst>
              <a:ext uri="{FF2B5EF4-FFF2-40B4-BE49-F238E27FC236}">
                <a16:creationId xmlns:a16="http://schemas.microsoft.com/office/drawing/2014/main" id="{6111E63A-164E-4C56-9BB9-E0DFC35E81A8}"/>
              </a:ext>
            </a:extLst>
          </p:cNvPr>
          <p:cNvSpPr txBox="1"/>
          <p:nvPr/>
        </p:nvSpPr>
        <p:spPr>
          <a:xfrm>
            <a:off x="8411034" y="1479700"/>
            <a:ext cx="933566" cy="541566"/>
          </a:xfrm>
          <a:prstGeom prst="rect">
            <a:avLst/>
          </a:prstGeom>
          <a:noFill/>
        </p:spPr>
        <p:txBody>
          <a:bodyPr wrap="square" lIns="0" tIns="0" rIns="0" bIns="0" rtlCol="0">
            <a:noAutofit/>
          </a:bodyPr>
          <a:lstStyle/>
          <a:p>
            <a:r>
              <a:rPr lang="en-GB" sz="900">
                <a:latin typeface="Trebuchet MS" panose="020B0603020202020204" pitchFamily="34" charset="0"/>
              </a:rPr>
              <a:t>One-off lead generation products (incl. </a:t>
            </a:r>
            <a:r>
              <a:rPr lang="en-GB" sz="900" err="1">
                <a:latin typeface="Trebuchet MS" panose="020B0603020202020204" pitchFamily="34" charset="0"/>
              </a:rPr>
              <a:t>mData</a:t>
            </a:r>
            <a:r>
              <a:rPr lang="en-GB" sz="900">
                <a:latin typeface="Trebuchet MS" panose="020B0603020202020204" pitchFamily="34" charset="0"/>
              </a:rPr>
              <a:t>, </a:t>
            </a:r>
            <a:r>
              <a:rPr lang="en-GB" sz="900" err="1">
                <a:latin typeface="Trebuchet MS" panose="020B0603020202020204" pitchFamily="34" charset="0"/>
              </a:rPr>
              <a:t>mLead</a:t>
            </a:r>
            <a:r>
              <a:rPr lang="en-GB" sz="900">
                <a:latin typeface="Trebuchet MS" panose="020B0603020202020204" pitchFamily="34" charset="0"/>
              </a:rPr>
              <a:t>)</a:t>
            </a:r>
            <a:endParaRPr lang="en-GB" sz="700">
              <a:latin typeface="Trebuchet MS" panose="020B0603020202020204" pitchFamily="34" charset="0"/>
            </a:endParaRPr>
          </a:p>
        </p:txBody>
      </p:sp>
      <p:cxnSp>
        <p:nvCxnSpPr>
          <p:cNvPr id="47" name="Straight Connector 46">
            <a:extLst>
              <a:ext uri="{FF2B5EF4-FFF2-40B4-BE49-F238E27FC236}">
                <a16:creationId xmlns:a16="http://schemas.microsoft.com/office/drawing/2014/main" id="{AF6C5C08-26F6-40A3-9856-20A70BCEDB29}"/>
              </a:ext>
            </a:extLst>
          </p:cNvPr>
          <p:cNvCxnSpPr>
            <a:cxnSpLocks/>
          </p:cNvCxnSpPr>
          <p:nvPr/>
        </p:nvCxnSpPr>
        <p:spPr bwMode="auto">
          <a:xfrm>
            <a:off x="8151495" y="2427206"/>
            <a:ext cx="207891" cy="0"/>
          </a:xfrm>
          <a:prstGeom prst="line">
            <a:avLst/>
          </a:prstGeom>
          <a:solidFill>
            <a:schemeClr val="bg1"/>
          </a:solidFill>
          <a:ln w="139700" cap="flat" cmpd="sng" algn="ctr">
            <a:solidFill>
              <a:srgbClr val="00A2E2"/>
            </a:solidFill>
            <a:prstDash val="solid"/>
            <a:round/>
            <a:headEnd type="none" w="med" len="med"/>
            <a:tailEnd type="none" w="med" len="med"/>
          </a:ln>
          <a:effectLst/>
        </p:spPr>
      </p:cxnSp>
      <p:sp>
        <p:nvSpPr>
          <p:cNvPr id="48" name="TextBox 47">
            <a:extLst>
              <a:ext uri="{FF2B5EF4-FFF2-40B4-BE49-F238E27FC236}">
                <a16:creationId xmlns:a16="http://schemas.microsoft.com/office/drawing/2014/main" id="{0BB623DF-5830-442A-954A-12A406D26751}"/>
              </a:ext>
            </a:extLst>
          </p:cNvPr>
          <p:cNvSpPr txBox="1"/>
          <p:nvPr/>
        </p:nvSpPr>
        <p:spPr>
          <a:xfrm>
            <a:off x="8411034" y="2219457"/>
            <a:ext cx="888184" cy="415498"/>
          </a:xfrm>
          <a:prstGeom prst="rect">
            <a:avLst/>
          </a:prstGeom>
          <a:noFill/>
        </p:spPr>
        <p:txBody>
          <a:bodyPr wrap="square" lIns="0" tIns="0" rIns="0" bIns="0" rtlCol="0">
            <a:spAutoFit/>
          </a:bodyPr>
          <a:lstStyle/>
          <a:p>
            <a:r>
              <a:rPr lang="en-GB" sz="900">
                <a:latin typeface="Trebuchet MS" panose="020B0603020202020204" pitchFamily="34" charset="0"/>
              </a:rPr>
              <a:t>Risk and others (incl. Manageo.fr)</a:t>
            </a:r>
            <a:endParaRPr lang="en-GB" sz="700">
              <a:latin typeface="Trebuchet MS" panose="020B0603020202020204" pitchFamily="34" charset="0"/>
            </a:endParaRPr>
          </a:p>
        </p:txBody>
      </p:sp>
      <p:grpSp>
        <p:nvGrpSpPr>
          <p:cNvPr id="84" name="Groupe 83">
            <a:extLst>
              <a:ext uri="{FF2B5EF4-FFF2-40B4-BE49-F238E27FC236}">
                <a16:creationId xmlns:a16="http://schemas.microsoft.com/office/drawing/2014/main" id="{15A86253-F206-4732-B3D4-9986B9269F08}"/>
              </a:ext>
            </a:extLst>
          </p:cNvPr>
          <p:cNvGrpSpPr/>
          <p:nvPr/>
        </p:nvGrpSpPr>
        <p:grpSpPr>
          <a:xfrm>
            <a:off x="8448150" y="-11528"/>
            <a:ext cx="1435548" cy="606240"/>
            <a:chOff x="8448150" y="-11528"/>
            <a:chExt cx="1435548" cy="606240"/>
          </a:xfrm>
        </p:grpSpPr>
        <p:grpSp>
          <p:nvGrpSpPr>
            <p:cNvPr id="70" name="Groupe 69">
              <a:extLst>
                <a:ext uri="{FF2B5EF4-FFF2-40B4-BE49-F238E27FC236}">
                  <a16:creationId xmlns:a16="http://schemas.microsoft.com/office/drawing/2014/main" id="{099C2009-42CE-404A-A790-009323776CCC}"/>
                </a:ext>
              </a:extLst>
            </p:cNvPr>
            <p:cNvGrpSpPr/>
            <p:nvPr/>
          </p:nvGrpSpPr>
          <p:grpSpPr>
            <a:xfrm>
              <a:off x="8448150" y="-11528"/>
              <a:ext cx="1435548" cy="451904"/>
              <a:chOff x="8448150" y="-11528"/>
              <a:chExt cx="1435548" cy="451904"/>
            </a:xfrm>
          </p:grpSpPr>
          <p:sp>
            <p:nvSpPr>
              <p:cNvPr id="72" name="Rectangle : coins arrondis 199">
                <a:extLst>
                  <a:ext uri="{FF2B5EF4-FFF2-40B4-BE49-F238E27FC236}">
                    <a16:creationId xmlns:a16="http://schemas.microsoft.com/office/drawing/2014/main" id="{E499FB98-2E6E-4250-9807-166D499E8538}"/>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3" name="Rectangle : coins arrondis 200">
                <a:extLst>
                  <a:ext uri="{FF2B5EF4-FFF2-40B4-BE49-F238E27FC236}">
                    <a16:creationId xmlns:a16="http://schemas.microsoft.com/office/drawing/2014/main" id="{611CC5DE-9E6F-406B-9595-8EADC6BE87D3}"/>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4" name="Rectangle : coins arrondis 201">
                <a:extLst>
                  <a:ext uri="{FF2B5EF4-FFF2-40B4-BE49-F238E27FC236}">
                    <a16:creationId xmlns:a16="http://schemas.microsoft.com/office/drawing/2014/main" id="{1B87F58E-127E-4A8A-9DCA-2A0E7E8A3523}"/>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5" name="ZoneTexte 18">
                <a:extLst>
                  <a:ext uri="{FF2B5EF4-FFF2-40B4-BE49-F238E27FC236}">
                    <a16:creationId xmlns:a16="http://schemas.microsoft.com/office/drawing/2014/main" id="{E3A38CC3-64C1-45DB-8C1E-4024EC10CFF5}"/>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76" name="Graphique 128" descr="Jauge">
                <a:extLst>
                  <a:ext uri="{FF2B5EF4-FFF2-40B4-BE49-F238E27FC236}">
                    <a16:creationId xmlns:a16="http://schemas.microsoft.com/office/drawing/2014/main" id="{34268161-61D0-44FC-A574-30923E69DF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77" name="Graphique 90" descr="Poignée de main">
                <a:extLst>
                  <a:ext uri="{FF2B5EF4-FFF2-40B4-BE49-F238E27FC236}">
                    <a16:creationId xmlns:a16="http://schemas.microsoft.com/office/drawing/2014/main" id="{2DC1EEAB-CA61-41FD-A87A-7479D657477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78" name="Graphique 74" descr="Mégaphone">
                <a:extLst>
                  <a:ext uri="{FF2B5EF4-FFF2-40B4-BE49-F238E27FC236}">
                    <a16:creationId xmlns:a16="http://schemas.microsoft.com/office/drawing/2014/main" id="{CC66F75F-2DD1-4CE8-BB0C-EA424B92B02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79" name="Picture 2" descr="Drapeau France">
                <a:extLst>
                  <a:ext uri="{FF2B5EF4-FFF2-40B4-BE49-F238E27FC236}">
                    <a16:creationId xmlns:a16="http://schemas.microsoft.com/office/drawing/2014/main" id="{F2D67598-7821-4EA2-9FE3-7E4DC6D01D23}"/>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grpSp>
        <p:pic>
          <p:nvPicPr>
            <p:cNvPr id="83" name="Picture 2">
              <a:extLst>
                <a:ext uri="{FF2B5EF4-FFF2-40B4-BE49-F238E27FC236}">
                  <a16:creationId xmlns:a16="http://schemas.microsoft.com/office/drawing/2014/main" id="{BFE31709-7FCF-4875-BE9D-C498BBE1D3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927990" y="449606"/>
              <a:ext cx="428463" cy="145106"/>
            </a:xfrm>
            <a:prstGeom prst="rect">
              <a:avLst/>
            </a:prstGeom>
            <a:noFill/>
            <a:extLst>
              <a:ext uri="{909E8E84-426E-40DD-AFC4-6F175D3DCCD1}">
                <a14:hiddenFill xmlns:a14="http://schemas.microsoft.com/office/drawing/2010/main">
                  <a:solidFill>
                    <a:srgbClr val="FFFFFF"/>
                  </a:solidFill>
                </a14:hiddenFill>
              </a:ext>
            </a:extLst>
          </p:spPr>
        </p:pic>
      </p:grpSp>
      <p:pic>
        <p:nvPicPr>
          <p:cNvPr id="4" name="Picture 3">
            <a:extLst>
              <a:ext uri="{FF2B5EF4-FFF2-40B4-BE49-F238E27FC236}">
                <a16:creationId xmlns:a16="http://schemas.microsoft.com/office/drawing/2014/main" id="{9A28B1DB-2E52-44F0-9DED-806835A5CEE4}"/>
              </a:ext>
            </a:extLst>
          </p:cNvPr>
          <p:cNvPicPr>
            <a:picLocks/>
          </p:cNvPicPr>
          <p:nvPr/>
        </p:nvPicPr>
        <p:blipFill>
          <a:blip r:embed="rId14"/>
          <a:stretch>
            <a:fillRect/>
          </a:stretch>
        </p:blipFill>
        <p:spPr>
          <a:xfrm>
            <a:off x="601584" y="1542558"/>
            <a:ext cx="5402891" cy="3623432"/>
          </a:xfrm>
          <a:prstGeom prst="rect">
            <a:avLst/>
          </a:prstGeom>
        </p:spPr>
      </p:pic>
      <p:pic>
        <p:nvPicPr>
          <p:cNvPr id="42" name="Picture 2" descr="Drapeau France">
            <a:extLst>
              <a:ext uri="{FF2B5EF4-FFF2-40B4-BE49-F238E27FC236}">
                <a16:creationId xmlns:a16="http://schemas.microsoft.com/office/drawing/2014/main" id="{2E8BB3E1-C7C2-440F-8519-822803DEFDFC}"/>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310929" y="1287378"/>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4165085356"/>
      </p:ext>
    </p:extLst>
  </p:cSld>
  <p:clrMapOvr>
    <a:masterClrMapping/>
  </p:clrMapOvr>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AD8A8315-ACB0-4AFA-BDAB-ACE3EE7940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6" name="Objet 5" hidden="1">
                        <a:extLst>
                          <a:ext uri="{FF2B5EF4-FFF2-40B4-BE49-F238E27FC236}">
                            <a16:creationId xmlns:a16="http://schemas.microsoft.com/office/drawing/2014/main" id="{AD8A8315-ACB0-4AFA-BDAB-ACE3EE7940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854DCEF-5D09-4A27-9C10-DE41FAB26FC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5" name="Rectangle 4">
            <a:extLst>
              <a:ext uri="{FF2B5EF4-FFF2-40B4-BE49-F238E27FC236}">
                <a16:creationId xmlns:a16="http://schemas.microsoft.com/office/drawing/2014/main" id="{EAC0CC13-A429-4B1D-9536-6F719397E27C}"/>
              </a:ext>
            </a:extLst>
          </p:cNvPr>
          <p:cNvSpPr/>
          <p:nvPr/>
        </p:nvSpPr>
        <p:spPr bwMode="auto">
          <a:xfrm>
            <a:off x="256803" y="955875"/>
            <a:ext cx="9392393" cy="54544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8" name="Rectangle 37">
            <a:extLst>
              <a:ext uri="{FF2B5EF4-FFF2-40B4-BE49-F238E27FC236}">
                <a16:creationId xmlns:a16="http://schemas.microsoft.com/office/drawing/2014/main" id="{C1721D0C-E460-4F14-9C39-1813F1C494EF}"/>
              </a:ext>
            </a:extLst>
          </p:cNvPr>
          <p:cNvSpPr/>
          <p:nvPr/>
        </p:nvSpPr>
        <p:spPr bwMode="auto">
          <a:xfrm>
            <a:off x="342288" y="4879813"/>
            <a:ext cx="4892191" cy="1390752"/>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le 1">
            <a:extLst>
              <a:ext uri="{FF2B5EF4-FFF2-40B4-BE49-F238E27FC236}">
                <a16:creationId xmlns:a16="http://schemas.microsoft.com/office/drawing/2014/main" id="{7EFDEDFD-03EA-47F3-B974-1CACBD8FA6E2}"/>
              </a:ext>
            </a:extLst>
          </p:cNvPr>
          <p:cNvSpPr>
            <a:spLocks noGrp="1"/>
          </p:cNvSpPr>
          <p:nvPr>
            <p:ph type="title"/>
          </p:nvPr>
        </p:nvSpPr>
        <p:spPr>
          <a:xfrm>
            <a:off x="165600" y="147600"/>
            <a:ext cx="8458094" cy="684000"/>
          </a:xfrm>
          <a:solidFill>
            <a:schemeClr val="bg1"/>
          </a:solidFill>
        </p:spPr>
        <p:txBody>
          <a:bodyPr/>
          <a:lstStyle/>
          <a:p>
            <a:r>
              <a:rPr lang="en-GB" err="1">
                <a:latin typeface="Trebuchet MS" panose="020B0603020202020204" pitchFamily="34" charset="0"/>
              </a:rPr>
              <a:t>Manageo’s</a:t>
            </a:r>
            <a:r>
              <a:rPr lang="en-GB">
                <a:latin typeface="Trebuchet MS" panose="020B0603020202020204" pitchFamily="34" charset="0"/>
              </a:rPr>
              <a:t> growth is </a:t>
            </a:r>
            <a:r>
              <a:rPr lang="en-GB">
                <a:solidFill>
                  <a:schemeClr val="tx2"/>
                </a:solidFill>
                <a:latin typeface="Trebuchet MS" panose="020B0603020202020204" pitchFamily="34" charset="0"/>
              </a:rPr>
              <a:t>mainly driven</a:t>
            </a:r>
            <a:r>
              <a:rPr lang="en-GB">
                <a:latin typeface="Trebuchet MS" panose="020B0603020202020204" pitchFamily="34" charset="0"/>
              </a:rPr>
              <a:t> by both programmatic and lead generation </a:t>
            </a:r>
            <a:r>
              <a:rPr lang="en-GB">
                <a:solidFill>
                  <a:schemeClr val="tx2"/>
                </a:solidFill>
                <a:latin typeface="Trebuchet MS" panose="020B0603020202020204" pitchFamily="34" charset="0"/>
              </a:rPr>
              <a:t>one-off solutions</a:t>
            </a:r>
            <a:r>
              <a:rPr lang="en-GB">
                <a:latin typeface="Trebuchet MS" panose="020B0603020202020204" pitchFamily="34" charset="0"/>
              </a:rPr>
              <a:t>, for which </a:t>
            </a:r>
            <a:r>
              <a:rPr lang="en-GB" err="1">
                <a:latin typeface="Trebuchet MS" panose="020B0603020202020204" pitchFamily="34" charset="0"/>
              </a:rPr>
              <a:t>Manageo</a:t>
            </a:r>
            <a:r>
              <a:rPr lang="en-GB">
                <a:latin typeface="Trebuchet MS" panose="020B0603020202020204" pitchFamily="34" charset="0"/>
              </a:rPr>
              <a:t> has </a:t>
            </a:r>
            <a:r>
              <a:rPr lang="en-GB">
                <a:solidFill>
                  <a:schemeClr val="tx2"/>
                </a:solidFill>
                <a:latin typeface="Trebuchet MS" panose="020B0603020202020204" pitchFamily="34" charset="0"/>
              </a:rPr>
              <a:t>successfully increased ARPU over the years</a:t>
            </a:r>
          </a:p>
        </p:txBody>
      </p:sp>
      <p:sp>
        <p:nvSpPr>
          <p:cNvPr id="3" name="Text Placeholder 2">
            <a:extLst>
              <a:ext uri="{FF2B5EF4-FFF2-40B4-BE49-F238E27FC236}">
                <a16:creationId xmlns:a16="http://schemas.microsoft.com/office/drawing/2014/main" id="{4FF62979-614C-474A-8BAB-7BBEB6F4CE52}"/>
              </a:ext>
            </a:extLst>
          </p:cNvPr>
          <p:cNvSpPr>
            <a:spLocks noGrp="1"/>
          </p:cNvSpPr>
          <p:nvPr>
            <p:ph type="body" sz="quarter" idx="10"/>
          </p:nvPr>
        </p:nvSpPr>
        <p:spPr/>
        <p:txBody>
          <a:bodyPr/>
          <a:lstStyle/>
          <a:p>
            <a:r>
              <a:rPr lang="en-GB" sz="800" i="1" kern="0"/>
              <a:t>Sources: eleven research &amp; analysis, company data</a:t>
            </a:r>
          </a:p>
          <a:p>
            <a:endParaRPr lang="en-GB"/>
          </a:p>
        </p:txBody>
      </p:sp>
      <p:sp>
        <p:nvSpPr>
          <p:cNvPr id="7" name="Rectangle 6">
            <a:extLst>
              <a:ext uri="{FF2B5EF4-FFF2-40B4-BE49-F238E27FC236}">
                <a16:creationId xmlns:a16="http://schemas.microsoft.com/office/drawing/2014/main" id="{8AADBE8E-2522-4234-BCCA-A570CA396A5E}"/>
              </a:ext>
            </a:extLst>
          </p:cNvPr>
          <p:cNvSpPr/>
          <p:nvPr/>
        </p:nvSpPr>
        <p:spPr bwMode="auto">
          <a:xfrm>
            <a:off x="5435522" y="4879813"/>
            <a:ext cx="4101420" cy="1390752"/>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600"/>
              </a:spcBef>
              <a:buClr>
                <a:schemeClr val="tx1"/>
              </a:buClr>
            </a:pPr>
            <a:r>
              <a:rPr lang="en-GB" sz="1000" b="1" kern="0">
                <a:latin typeface="Trebuchet MS" panose="020B0603020202020204" pitchFamily="34" charset="0"/>
              </a:rPr>
              <a:t>Comments</a:t>
            </a:r>
          </a:p>
          <a:p>
            <a:pPr marL="171450" indent="-171450">
              <a:spcBef>
                <a:spcPts val="600"/>
              </a:spcBef>
              <a:buClr>
                <a:schemeClr val="tx1"/>
              </a:buClr>
              <a:buFont typeface="Arial" panose="020B0604020202020204" pitchFamily="34" charset="0"/>
              <a:buChar char="•"/>
            </a:pPr>
            <a:r>
              <a:rPr lang="en-GB" sz="1000" kern="0">
                <a:solidFill>
                  <a:schemeClr val="tx2"/>
                </a:solidFill>
                <a:latin typeface="Trebuchet MS" panose="020B0603020202020204" pitchFamily="34" charset="0"/>
              </a:rPr>
              <a:t>One-off lead generation products </a:t>
            </a:r>
            <a:r>
              <a:rPr lang="en-GB" sz="1000" kern="0">
                <a:latin typeface="Trebuchet MS" panose="020B0603020202020204" pitchFamily="34" charset="0"/>
              </a:rPr>
              <a:t>accounted for </a:t>
            </a:r>
            <a:r>
              <a:rPr lang="en-GB" sz="1000" kern="0">
                <a:solidFill>
                  <a:schemeClr val="tx2"/>
                </a:solidFill>
                <a:latin typeface="Trebuchet MS" panose="020B0603020202020204" pitchFamily="34" charset="0"/>
              </a:rPr>
              <a:t>31%</a:t>
            </a:r>
            <a:r>
              <a:rPr lang="en-GB" sz="1000" kern="0">
                <a:latin typeface="Trebuchet MS" panose="020B0603020202020204" pitchFamily="34" charset="0"/>
              </a:rPr>
              <a:t> of total </a:t>
            </a:r>
            <a:r>
              <a:rPr lang="en-GB" sz="1000" kern="0" err="1">
                <a:latin typeface="Trebuchet MS" panose="020B0603020202020204" pitchFamily="34" charset="0"/>
              </a:rPr>
              <a:t>Manageo’s</a:t>
            </a:r>
            <a:r>
              <a:rPr lang="en-GB" sz="1000" kern="0">
                <a:latin typeface="Trebuchet MS" panose="020B0603020202020204" pitchFamily="34" charset="0"/>
              </a:rPr>
              <a:t> booking in 2017 versus </a:t>
            </a:r>
            <a:r>
              <a:rPr lang="en-GB" sz="1000" kern="0">
                <a:solidFill>
                  <a:schemeClr val="tx2"/>
                </a:solidFill>
                <a:latin typeface="Trebuchet MS" panose="020B0603020202020204" pitchFamily="34" charset="0"/>
              </a:rPr>
              <a:t>43%</a:t>
            </a:r>
            <a:r>
              <a:rPr lang="en-GB" sz="1000" kern="0">
                <a:latin typeface="Trebuchet MS" panose="020B0603020202020204" pitchFamily="34" charset="0"/>
              </a:rPr>
              <a:t> in 2019</a:t>
            </a:r>
          </a:p>
          <a:p>
            <a:pPr marL="171450" indent="-171450">
              <a:spcBef>
                <a:spcPts val="600"/>
              </a:spcBef>
              <a:buClr>
                <a:schemeClr val="tx1"/>
              </a:buClr>
              <a:buFont typeface="Arial" panose="020B0604020202020204" pitchFamily="34" charset="0"/>
              <a:buChar char="•"/>
            </a:pPr>
            <a:r>
              <a:rPr lang="en-GB" sz="1000" kern="0">
                <a:solidFill>
                  <a:schemeClr val="tx2"/>
                </a:solidFill>
                <a:latin typeface="Trebuchet MS" panose="020B0603020202020204" pitchFamily="34" charset="0"/>
              </a:rPr>
              <a:t>One-off programmatic products </a:t>
            </a:r>
            <a:r>
              <a:rPr lang="en-GB" sz="1000" kern="0">
                <a:latin typeface="Trebuchet MS" panose="020B0603020202020204" pitchFamily="34" charset="0"/>
              </a:rPr>
              <a:t>accounted for </a:t>
            </a:r>
            <a:r>
              <a:rPr lang="en-GB" sz="1000" kern="0">
                <a:solidFill>
                  <a:schemeClr val="tx2"/>
                </a:solidFill>
                <a:latin typeface="Trebuchet MS" panose="020B0603020202020204" pitchFamily="34" charset="0"/>
              </a:rPr>
              <a:t>16% </a:t>
            </a:r>
            <a:r>
              <a:rPr lang="en-GB" sz="1000" kern="0">
                <a:latin typeface="Trebuchet MS" panose="020B0603020202020204" pitchFamily="34" charset="0"/>
              </a:rPr>
              <a:t>of total </a:t>
            </a:r>
            <a:r>
              <a:rPr lang="en-GB" sz="1000" kern="0" err="1">
                <a:latin typeface="Trebuchet MS" panose="020B0603020202020204" pitchFamily="34" charset="0"/>
              </a:rPr>
              <a:t>Manageo’s</a:t>
            </a:r>
            <a:r>
              <a:rPr lang="en-GB" sz="1000" kern="0">
                <a:latin typeface="Trebuchet MS" panose="020B0603020202020204" pitchFamily="34" charset="0"/>
              </a:rPr>
              <a:t> booking in 2017 versus </a:t>
            </a:r>
            <a:r>
              <a:rPr lang="en-GB" sz="1000" kern="0">
                <a:solidFill>
                  <a:schemeClr val="tx2"/>
                </a:solidFill>
                <a:latin typeface="Trebuchet MS" panose="020B0603020202020204" pitchFamily="34" charset="0"/>
              </a:rPr>
              <a:t>23%</a:t>
            </a:r>
            <a:r>
              <a:rPr lang="en-GB" sz="1000" kern="0">
                <a:latin typeface="Trebuchet MS" panose="020B0603020202020204" pitchFamily="34" charset="0"/>
              </a:rPr>
              <a:t> in 2019</a:t>
            </a:r>
          </a:p>
          <a:p>
            <a:pPr marL="171450" indent="-171450">
              <a:spcBef>
                <a:spcPts val="600"/>
              </a:spcBef>
              <a:buClr>
                <a:schemeClr val="tx1"/>
              </a:buClr>
              <a:buFont typeface="Arial" panose="020B0604020202020204" pitchFamily="34" charset="0"/>
              <a:buChar char="•"/>
            </a:pPr>
            <a:r>
              <a:rPr lang="en-GB" sz="1000" kern="0">
                <a:solidFill>
                  <a:schemeClr val="tx2"/>
                </a:solidFill>
                <a:latin typeface="Trebuchet MS" panose="020B0603020202020204" pitchFamily="34" charset="0"/>
              </a:rPr>
              <a:t>Recurring lead generation products </a:t>
            </a:r>
            <a:r>
              <a:rPr lang="en-GB" sz="1000" kern="0">
                <a:latin typeface="Trebuchet MS" panose="020B0603020202020204" pitchFamily="34" charset="0"/>
              </a:rPr>
              <a:t>accounted for </a:t>
            </a:r>
            <a:r>
              <a:rPr lang="en-GB" sz="1000" kern="0">
                <a:solidFill>
                  <a:schemeClr val="tx2"/>
                </a:solidFill>
                <a:latin typeface="Trebuchet MS" panose="020B0603020202020204" pitchFamily="34" charset="0"/>
              </a:rPr>
              <a:t>33%</a:t>
            </a:r>
            <a:r>
              <a:rPr lang="en-GB" sz="1000" kern="0">
                <a:latin typeface="Trebuchet MS" panose="020B0603020202020204" pitchFamily="34" charset="0"/>
              </a:rPr>
              <a:t> of total </a:t>
            </a:r>
            <a:r>
              <a:rPr lang="en-GB" sz="1000" kern="0" err="1">
                <a:latin typeface="Trebuchet MS" panose="020B0603020202020204" pitchFamily="34" charset="0"/>
              </a:rPr>
              <a:t>Manageo’s</a:t>
            </a:r>
            <a:r>
              <a:rPr lang="en-GB" sz="1000" kern="0">
                <a:latin typeface="Trebuchet MS" panose="020B0603020202020204" pitchFamily="34" charset="0"/>
              </a:rPr>
              <a:t> booking in 2017 versus </a:t>
            </a:r>
            <a:r>
              <a:rPr lang="en-GB" sz="1000" kern="0">
                <a:solidFill>
                  <a:schemeClr val="tx2"/>
                </a:solidFill>
                <a:latin typeface="Trebuchet MS" panose="020B0603020202020204" pitchFamily="34" charset="0"/>
              </a:rPr>
              <a:t>22%</a:t>
            </a:r>
            <a:r>
              <a:rPr lang="en-GB" sz="1000" kern="0">
                <a:latin typeface="Trebuchet MS" panose="020B0603020202020204" pitchFamily="34" charset="0"/>
              </a:rPr>
              <a:t> in 2019</a:t>
            </a:r>
          </a:p>
        </p:txBody>
      </p:sp>
      <p:sp>
        <p:nvSpPr>
          <p:cNvPr id="65" name="Rectangle 64">
            <a:extLst>
              <a:ext uri="{FF2B5EF4-FFF2-40B4-BE49-F238E27FC236}">
                <a16:creationId xmlns:a16="http://schemas.microsoft.com/office/drawing/2014/main" id="{FB2E2AB6-6549-4EE3-85DD-6A07ED6FB51F}"/>
              </a:ext>
            </a:extLst>
          </p:cNvPr>
          <p:cNvSpPr/>
          <p:nvPr/>
        </p:nvSpPr>
        <p:spPr bwMode="auto">
          <a:xfrm>
            <a:off x="550740" y="968417"/>
            <a:ext cx="3768567"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Manageo’s</a:t>
            </a:r>
            <a:r>
              <a:rPr lang="en-GB" sz="1000" b="1" i="1">
                <a:latin typeface="Trebuchet MS" panose="020B0603020202020204" pitchFamily="34" charset="0"/>
              </a:rPr>
              <a:t> sales broken down by customers’ recruitment year and type of products,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pSp>
        <p:nvGrpSpPr>
          <p:cNvPr id="12" name="Group 4">
            <a:extLst>
              <a:ext uri="{FF2B5EF4-FFF2-40B4-BE49-F238E27FC236}">
                <a16:creationId xmlns:a16="http://schemas.microsoft.com/office/drawing/2014/main" id="{E9AE6511-7906-4A4E-B79B-0B9C13CE98F8}"/>
              </a:ext>
            </a:extLst>
          </p:cNvPr>
          <p:cNvGrpSpPr>
            <a:grpSpLocks noChangeAspect="1"/>
          </p:cNvGrpSpPr>
          <p:nvPr/>
        </p:nvGrpSpPr>
        <p:grpSpPr bwMode="auto">
          <a:xfrm>
            <a:off x="6875762" y="4962199"/>
            <a:ext cx="170450" cy="138894"/>
            <a:chOff x="788" y="869"/>
            <a:chExt cx="740" cy="603"/>
          </a:xfrm>
          <a:solidFill>
            <a:schemeClr val="tx1"/>
          </a:solidFill>
        </p:grpSpPr>
        <p:sp>
          <p:nvSpPr>
            <p:cNvPr id="14" name="Freeform 5">
              <a:extLst>
                <a:ext uri="{FF2B5EF4-FFF2-40B4-BE49-F238E27FC236}">
                  <a16:creationId xmlns:a16="http://schemas.microsoft.com/office/drawing/2014/main" id="{3425F310-0635-4AB7-916E-E09532EF32D1}"/>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Rectangle 6">
              <a:extLst>
                <a:ext uri="{FF2B5EF4-FFF2-40B4-BE49-F238E27FC236}">
                  <a16:creationId xmlns:a16="http://schemas.microsoft.com/office/drawing/2014/main" id="{B3921DDB-F47D-4612-95B4-725084757B40}"/>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Rectangle 7">
              <a:extLst>
                <a:ext uri="{FF2B5EF4-FFF2-40B4-BE49-F238E27FC236}">
                  <a16:creationId xmlns:a16="http://schemas.microsoft.com/office/drawing/2014/main" id="{377B1199-4CB2-45CB-8D4B-D933C5DC90BC}"/>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Rectangle 8">
              <a:extLst>
                <a:ext uri="{FF2B5EF4-FFF2-40B4-BE49-F238E27FC236}">
                  <a16:creationId xmlns:a16="http://schemas.microsoft.com/office/drawing/2014/main" id="{B8EDA6D8-9FE1-4D21-A3D1-379F31776FFA}"/>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aphicFrame>
        <p:nvGraphicFramePr>
          <p:cNvPr id="13" name="Chart 12">
            <a:extLst>
              <a:ext uri="{FF2B5EF4-FFF2-40B4-BE49-F238E27FC236}">
                <a16:creationId xmlns:a16="http://schemas.microsoft.com/office/drawing/2014/main" id="{C1E41F35-C560-493B-9562-B1B1C78ADE99}"/>
              </a:ext>
            </a:extLst>
          </p:cNvPr>
          <p:cNvGraphicFramePr/>
          <p:nvPr/>
        </p:nvGraphicFramePr>
        <p:xfrm>
          <a:off x="356084" y="1450761"/>
          <a:ext cx="4892191" cy="3304777"/>
        </p:xfrm>
        <a:graphic>
          <a:graphicData uri="http://schemas.openxmlformats.org/drawingml/2006/chart">
            <c:chart xmlns:c="http://schemas.openxmlformats.org/drawingml/2006/chart" xmlns:r="http://schemas.openxmlformats.org/officeDocument/2006/relationships" r:id="rId6"/>
          </a:graphicData>
        </a:graphic>
      </p:graphicFrame>
      <p:grpSp>
        <p:nvGrpSpPr>
          <p:cNvPr id="47" name="Groupe 46">
            <a:extLst>
              <a:ext uri="{FF2B5EF4-FFF2-40B4-BE49-F238E27FC236}">
                <a16:creationId xmlns:a16="http://schemas.microsoft.com/office/drawing/2014/main" id="{4D36B742-EE7E-4344-875B-27860BE8DB32}"/>
              </a:ext>
            </a:extLst>
          </p:cNvPr>
          <p:cNvGrpSpPr/>
          <p:nvPr/>
        </p:nvGrpSpPr>
        <p:grpSpPr>
          <a:xfrm>
            <a:off x="8448150" y="-11528"/>
            <a:ext cx="1435548" cy="606240"/>
            <a:chOff x="8448150" y="-11528"/>
            <a:chExt cx="1435548" cy="606240"/>
          </a:xfrm>
        </p:grpSpPr>
        <p:grpSp>
          <p:nvGrpSpPr>
            <p:cNvPr id="48" name="Groupe 47">
              <a:extLst>
                <a:ext uri="{FF2B5EF4-FFF2-40B4-BE49-F238E27FC236}">
                  <a16:creationId xmlns:a16="http://schemas.microsoft.com/office/drawing/2014/main" id="{10AB53D8-DDAE-412B-9C59-3F2353D0DA43}"/>
                </a:ext>
              </a:extLst>
            </p:cNvPr>
            <p:cNvGrpSpPr/>
            <p:nvPr/>
          </p:nvGrpSpPr>
          <p:grpSpPr>
            <a:xfrm>
              <a:off x="8448150" y="-11528"/>
              <a:ext cx="1435548" cy="451904"/>
              <a:chOff x="8448150" y="-11528"/>
              <a:chExt cx="1435548" cy="451904"/>
            </a:xfrm>
          </p:grpSpPr>
          <p:sp>
            <p:nvSpPr>
              <p:cNvPr id="51" name="Rectangle : coins arrondis 199">
                <a:extLst>
                  <a:ext uri="{FF2B5EF4-FFF2-40B4-BE49-F238E27FC236}">
                    <a16:creationId xmlns:a16="http://schemas.microsoft.com/office/drawing/2014/main" id="{E1B039DF-7D46-4505-8AFD-738CA732B887}"/>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5" name="Rectangle : coins arrondis 200">
                <a:extLst>
                  <a:ext uri="{FF2B5EF4-FFF2-40B4-BE49-F238E27FC236}">
                    <a16:creationId xmlns:a16="http://schemas.microsoft.com/office/drawing/2014/main" id="{6A3B1CC5-1B3A-46D4-883B-F787D6F317E4}"/>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8" name="Rectangle : coins arrondis 201">
                <a:extLst>
                  <a:ext uri="{FF2B5EF4-FFF2-40B4-BE49-F238E27FC236}">
                    <a16:creationId xmlns:a16="http://schemas.microsoft.com/office/drawing/2014/main" id="{49FC0DE9-89C2-4D19-A130-3FE6F98CA787}"/>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0" name="ZoneTexte 18">
                <a:extLst>
                  <a:ext uri="{FF2B5EF4-FFF2-40B4-BE49-F238E27FC236}">
                    <a16:creationId xmlns:a16="http://schemas.microsoft.com/office/drawing/2014/main" id="{E688362D-C049-4B7C-BA25-85C8D100D0B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62" name="Graphique 128" descr="Jauge">
                <a:extLst>
                  <a:ext uri="{FF2B5EF4-FFF2-40B4-BE49-F238E27FC236}">
                    <a16:creationId xmlns:a16="http://schemas.microsoft.com/office/drawing/2014/main" id="{91E5A18F-0124-44F9-BCA6-199B1CC20C1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64" name="Graphique 90" descr="Poignée de main">
                <a:extLst>
                  <a:ext uri="{FF2B5EF4-FFF2-40B4-BE49-F238E27FC236}">
                    <a16:creationId xmlns:a16="http://schemas.microsoft.com/office/drawing/2014/main" id="{9E226D39-4AB9-448D-A1F0-B9ABD66B243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66" name="Graphique 74" descr="Mégaphone">
                <a:extLst>
                  <a:ext uri="{FF2B5EF4-FFF2-40B4-BE49-F238E27FC236}">
                    <a16:creationId xmlns:a16="http://schemas.microsoft.com/office/drawing/2014/main" id="{FBBA16DF-7678-4307-8F58-601EC55042B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67" name="Picture 2" descr="Drapeau France">
                <a:extLst>
                  <a:ext uri="{FF2B5EF4-FFF2-40B4-BE49-F238E27FC236}">
                    <a16:creationId xmlns:a16="http://schemas.microsoft.com/office/drawing/2014/main" id="{4DA86F26-A4B4-4E15-BADE-C0D3A650E756}"/>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grpSp>
        <p:pic>
          <p:nvPicPr>
            <p:cNvPr id="50" name="Picture 2">
              <a:extLst>
                <a:ext uri="{FF2B5EF4-FFF2-40B4-BE49-F238E27FC236}">
                  <a16:creationId xmlns:a16="http://schemas.microsoft.com/office/drawing/2014/main" id="{9FAE7C94-EA89-4603-BE65-FFA594539F9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927990" y="449606"/>
              <a:ext cx="428463" cy="145106"/>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34" name="Chart 33">
            <a:extLst>
              <a:ext uri="{FF2B5EF4-FFF2-40B4-BE49-F238E27FC236}">
                <a16:creationId xmlns:a16="http://schemas.microsoft.com/office/drawing/2014/main" id="{9700E973-FF04-420F-9D2B-4F1BF210342A}"/>
              </a:ext>
            </a:extLst>
          </p:cNvPr>
          <p:cNvGraphicFramePr>
            <a:graphicFrameLocks noChangeAspect="1"/>
          </p:cNvGraphicFramePr>
          <p:nvPr>
            <p:extLst>
              <p:ext uri="{D42A27DB-BD31-4B8C-83A1-F6EECF244321}">
                <p14:modId xmlns:p14="http://schemas.microsoft.com/office/powerpoint/2010/main" val="2395556125"/>
              </p:ext>
            </p:extLst>
          </p:nvPr>
        </p:nvGraphicFramePr>
        <p:xfrm>
          <a:off x="5435522" y="1463160"/>
          <a:ext cx="4101420" cy="3285571"/>
        </p:xfrm>
        <a:graphic>
          <a:graphicData uri="http://schemas.openxmlformats.org/drawingml/2006/chart">
            <c:chart xmlns:c="http://schemas.openxmlformats.org/drawingml/2006/chart" xmlns:r="http://schemas.openxmlformats.org/officeDocument/2006/relationships" r:id="rId15"/>
          </a:graphicData>
        </a:graphic>
      </p:graphicFrame>
      <p:sp>
        <p:nvSpPr>
          <p:cNvPr id="37" name="Rectangle 36">
            <a:extLst>
              <a:ext uri="{FF2B5EF4-FFF2-40B4-BE49-F238E27FC236}">
                <a16:creationId xmlns:a16="http://schemas.microsoft.com/office/drawing/2014/main" id="{1A8E7577-7746-4DE9-A76A-6C8AB3D1094A}"/>
              </a:ext>
            </a:extLst>
          </p:cNvPr>
          <p:cNvSpPr/>
          <p:nvPr/>
        </p:nvSpPr>
        <p:spPr bwMode="auto">
          <a:xfrm>
            <a:off x="5373654" y="968417"/>
            <a:ext cx="2934323"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Manageo’s</a:t>
            </a:r>
            <a:r>
              <a:rPr lang="en-GB" sz="1000" b="1" i="1">
                <a:latin typeface="Trebuchet MS" panose="020B0603020202020204" pitchFamily="34" charset="0"/>
              </a:rPr>
              <a:t> ARPU broken by type of products, in €</a:t>
            </a:r>
            <a:endParaRPr kumimoji="0" lang="en-GB" sz="1000" b="1" i="1" u="none" strike="noStrike" kern="1200" cap="none" spc="0" normalizeH="0" baseline="0" noProof="0">
              <a:ln>
                <a:noFill/>
              </a:ln>
              <a:effectLst/>
              <a:uLnTx/>
              <a:uFillTx/>
              <a:latin typeface="Trebuchet MS" panose="020B0603020202020204" pitchFamily="34" charset="0"/>
            </a:endParaRPr>
          </a:p>
        </p:txBody>
      </p:sp>
      <p:cxnSp>
        <p:nvCxnSpPr>
          <p:cNvPr id="39" name="Straight Connector 38">
            <a:extLst>
              <a:ext uri="{FF2B5EF4-FFF2-40B4-BE49-F238E27FC236}">
                <a16:creationId xmlns:a16="http://schemas.microsoft.com/office/drawing/2014/main" id="{82B69E34-6ACE-43B4-8BEE-1DA2AF089702}"/>
              </a:ext>
            </a:extLst>
          </p:cNvPr>
          <p:cNvCxnSpPr>
            <a:cxnSpLocks/>
          </p:cNvCxnSpPr>
          <p:nvPr/>
        </p:nvCxnSpPr>
        <p:spPr bwMode="auto">
          <a:xfrm>
            <a:off x="490923" y="5967078"/>
            <a:ext cx="207891" cy="0"/>
          </a:xfrm>
          <a:prstGeom prst="line">
            <a:avLst/>
          </a:prstGeom>
          <a:solidFill>
            <a:schemeClr val="bg1"/>
          </a:solidFill>
          <a:ln w="139700" cap="flat" cmpd="sng" algn="ctr">
            <a:solidFill>
              <a:srgbClr val="8FCD9F"/>
            </a:solidFill>
            <a:prstDash val="solid"/>
            <a:round/>
            <a:headEnd type="none" w="med" len="med"/>
            <a:tailEnd type="none" w="med" len="med"/>
          </a:ln>
          <a:effectLst/>
        </p:spPr>
      </p:cxnSp>
      <p:sp>
        <p:nvSpPr>
          <p:cNvPr id="40" name="TextBox 39">
            <a:extLst>
              <a:ext uri="{FF2B5EF4-FFF2-40B4-BE49-F238E27FC236}">
                <a16:creationId xmlns:a16="http://schemas.microsoft.com/office/drawing/2014/main" id="{D5CD4274-590E-4E82-9C25-BBD292141644}"/>
              </a:ext>
            </a:extLst>
          </p:cNvPr>
          <p:cNvSpPr txBox="1"/>
          <p:nvPr/>
        </p:nvSpPr>
        <p:spPr>
          <a:xfrm>
            <a:off x="786300" y="5690079"/>
            <a:ext cx="1180543" cy="553998"/>
          </a:xfrm>
          <a:prstGeom prst="rect">
            <a:avLst/>
          </a:prstGeom>
          <a:noFill/>
        </p:spPr>
        <p:txBody>
          <a:bodyPr wrap="square" lIns="0" tIns="0" rIns="0" bIns="0" rtlCol="0">
            <a:spAutoFit/>
          </a:bodyPr>
          <a:lstStyle/>
          <a:p>
            <a:r>
              <a:rPr lang="en-GB" sz="900">
                <a:latin typeface="Trebuchet MS" panose="020B0603020202020204" pitchFamily="34" charset="0"/>
              </a:rPr>
              <a:t>One-off programmatic solutions for advertising agencies (incl. </a:t>
            </a:r>
            <a:r>
              <a:rPr lang="en-GB" sz="900" err="1">
                <a:latin typeface="Trebuchet MS" panose="020B0603020202020204" pitchFamily="34" charset="0"/>
              </a:rPr>
              <a:t>mAds</a:t>
            </a:r>
            <a:r>
              <a:rPr lang="en-GB" sz="900">
                <a:latin typeface="Trebuchet MS" panose="020B0603020202020204" pitchFamily="34" charset="0"/>
              </a:rPr>
              <a:t>)</a:t>
            </a:r>
            <a:endParaRPr lang="en-GB" sz="700">
              <a:latin typeface="Trebuchet MS" panose="020B0603020202020204" pitchFamily="34" charset="0"/>
            </a:endParaRPr>
          </a:p>
        </p:txBody>
      </p:sp>
      <p:cxnSp>
        <p:nvCxnSpPr>
          <p:cNvPr id="41" name="Straight Connector 40">
            <a:extLst>
              <a:ext uri="{FF2B5EF4-FFF2-40B4-BE49-F238E27FC236}">
                <a16:creationId xmlns:a16="http://schemas.microsoft.com/office/drawing/2014/main" id="{09C68B7E-F2D5-4E0F-BC5F-3E2253B7F084}"/>
              </a:ext>
            </a:extLst>
          </p:cNvPr>
          <p:cNvCxnSpPr>
            <a:cxnSpLocks/>
          </p:cNvCxnSpPr>
          <p:nvPr/>
        </p:nvCxnSpPr>
        <p:spPr bwMode="auto">
          <a:xfrm>
            <a:off x="490922" y="5388923"/>
            <a:ext cx="207891" cy="0"/>
          </a:xfrm>
          <a:prstGeom prst="line">
            <a:avLst/>
          </a:prstGeom>
          <a:solidFill>
            <a:schemeClr val="bg1"/>
          </a:solidFill>
          <a:ln w="139700" cap="flat" cmpd="sng" algn="ctr">
            <a:solidFill>
              <a:srgbClr val="ADD9FD"/>
            </a:solidFill>
            <a:prstDash val="solid"/>
            <a:round/>
            <a:headEnd type="none" w="med" len="med"/>
            <a:tailEnd type="none" w="med" len="med"/>
          </a:ln>
          <a:effectLst/>
        </p:spPr>
      </p:cxnSp>
      <p:sp>
        <p:nvSpPr>
          <p:cNvPr id="42" name="TextBox 41">
            <a:extLst>
              <a:ext uri="{FF2B5EF4-FFF2-40B4-BE49-F238E27FC236}">
                <a16:creationId xmlns:a16="http://schemas.microsoft.com/office/drawing/2014/main" id="{5CDEC3D0-A3B6-484C-B4C7-B39AACA8746D}"/>
              </a:ext>
            </a:extLst>
          </p:cNvPr>
          <p:cNvSpPr txBox="1"/>
          <p:nvPr/>
        </p:nvSpPr>
        <p:spPr>
          <a:xfrm>
            <a:off x="786300" y="5111924"/>
            <a:ext cx="1134311" cy="553998"/>
          </a:xfrm>
          <a:prstGeom prst="rect">
            <a:avLst/>
          </a:prstGeom>
          <a:noFill/>
        </p:spPr>
        <p:txBody>
          <a:bodyPr wrap="square" lIns="0" tIns="0" rIns="0" bIns="0" rtlCol="0">
            <a:spAutoFit/>
          </a:bodyPr>
          <a:lstStyle/>
          <a:p>
            <a:r>
              <a:rPr lang="en-GB" sz="900">
                <a:latin typeface="Trebuchet MS" panose="020B0603020202020204" pitchFamily="34" charset="0"/>
              </a:rPr>
              <a:t>Recurring Lead generation products (MD products, incl. </a:t>
            </a:r>
            <a:r>
              <a:rPr lang="en-GB" sz="900" err="1">
                <a:latin typeface="Trebuchet MS" panose="020B0603020202020204" pitchFamily="34" charset="0"/>
              </a:rPr>
              <a:t>mList</a:t>
            </a:r>
            <a:r>
              <a:rPr lang="en-GB" sz="900">
                <a:latin typeface="Trebuchet MS" panose="020B0603020202020204" pitchFamily="34" charset="0"/>
              </a:rPr>
              <a:t>)</a:t>
            </a:r>
            <a:endParaRPr lang="en-GB" sz="700">
              <a:latin typeface="Trebuchet MS" panose="020B0603020202020204" pitchFamily="34" charset="0"/>
            </a:endParaRPr>
          </a:p>
        </p:txBody>
      </p:sp>
      <p:cxnSp>
        <p:nvCxnSpPr>
          <p:cNvPr id="43" name="Straight Connector 42">
            <a:extLst>
              <a:ext uri="{FF2B5EF4-FFF2-40B4-BE49-F238E27FC236}">
                <a16:creationId xmlns:a16="http://schemas.microsoft.com/office/drawing/2014/main" id="{C36C5D14-9BE0-4E4C-B1B7-8606C39BAB8B}"/>
              </a:ext>
            </a:extLst>
          </p:cNvPr>
          <p:cNvCxnSpPr>
            <a:cxnSpLocks/>
          </p:cNvCxnSpPr>
          <p:nvPr/>
        </p:nvCxnSpPr>
        <p:spPr bwMode="auto">
          <a:xfrm>
            <a:off x="2158323" y="5388923"/>
            <a:ext cx="207891" cy="0"/>
          </a:xfrm>
          <a:prstGeom prst="line">
            <a:avLst/>
          </a:prstGeom>
          <a:solidFill>
            <a:schemeClr val="bg1"/>
          </a:solidFill>
          <a:ln w="139700" cap="flat" cmpd="sng" algn="ctr">
            <a:solidFill>
              <a:srgbClr val="D6D7D9"/>
            </a:solidFill>
            <a:prstDash val="solid"/>
            <a:round/>
            <a:headEnd type="none" w="med" len="med"/>
            <a:tailEnd type="none" w="med" len="med"/>
          </a:ln>
          <a:effectLst/>
        </p:spPr>
      </p:cxnSp>
      <p:sp>
        <p:nvSpPr>
          <p:cNvPr id="44" name="TextBox 43">
            <a:extLst>
              <a:ext uri="{FF2B5EF4-FFF2-40B4-BE49-F238E27FC236}">
                <a16:creationId xmlns:a16="http://schemas.microsoft.com/office/drawing/2014/main" id="{D8EF2208-4D92-4E02-9524-AF50DBCB2B46}"/>
              </a:ext>
            </a:extLst>
          </p:cNvPr>
          <p:cNvSpPr txBox="1"/>
          <p:nvPr/>
        </p:nvSpPr>
        <p:spPr>
          <a:xfrm>
            <a:off x="2417862" y="5118140"/>
            <a:ext cx="933566" cy="541566"/>
          </a:xfrm>
          <a:prstGeom prst="rect">
            <a:avLst/>
          </a:prstGeom>
          <a:noFill/>
        </p:spPr>
        <p:txBody>
          <a:bodyPr wrap="square" lIns="0" tIns="0" rIns="0" bIns="0" rtlCol="0">
            <a:noAutofit/>
          </a:bodyPr>
          <a:lstStyle/>
          <a:p>
            <a:r>
              <a:rPr lang="en-GB" sz="900">
                <a:latin typeface="Trebuchet MS" panose="020B0603020202020204" pitchFamily="34" charset="0"/>
              </a:rPr>
              <a:t>One-off lead generation products (incl. </a:t>
            </a:r>
            <a:r>
              <a:rPr lang="en-GB" sz="900" err="1">
                <a:latin typeface="Trebuchet MS" panose="020B0603020202020204" pitchFamily="34" charset="0"/>
              </a:rPr>
              <a:t>mData</a:t>
            </a:r>
            <a:r>
              <a:rPr lang="en-GB" sz="900">
                <a:latin typeface="Trebuchet MS" panose="020B0603020202020204" pitchFamily="34" charset="0"/>
              </a:rPr>
              <a:t>, </a:t>
            </a:r>
            <a:r>
              <a:rPr lang="en-GB" sz="900" err="1">
                <a:latin typeface="Trebuchet MS" panose="020B0603020202020204" pitchFamily="34" charset="0"/>
              </a:rPr>
              <a:t>mLead</a:t>
            </a:r>
            <a:r>
              <a:rPr lang="en-GB" sz="900">
                <a:latin typeface="Trebuchet MS" panose="020B0603020202020204" pitchFamily="34" charset="0"/>
              </a:rPr>
              <a:t>)</a:t>
            </a:r>
            <a:endParaRPr lang="en-GB" sz="700">
              <a:latin typeface="Trebuchet MS" panose="020B0603020202020204" pitchFamily="34" charset="0"/>
            </a:endParaRPr>
          </a:p>
        </p:txBody>
      </p:sp>
      <p:cxnSp>
        <p:nvCxnSpPr>
          <p:cNvPr id="45" name="Straight Connector 44">
            <a:extLst>
              <a:ext uri="{FF2B5EF4-FFF2-40B4-BE49-F238E27FC236}">
                <a16:creationId xmlns:a16="http://schemas.microsoft.com/office/drawing/2014/main" id="{338CB62E-9C63-48A2-ACA9-3B300BAAA280}"/>
              </a:ext>
            </a:extLst>
          </p:cNvPr>
          <p:cNvCxnSpPr>
            <a:cxnSpLocks/>
          </p:cNvCxnSpPr>
          <p:nvPr/>
        </p:nvCxnSpPr>
        <p:spPr bwMode="auto">
          <a:xfrm>
            <a:off x="2158323" y="5967078"/>
            <a:ext cx="207891" cy="0"/>
          </a:xfrm>
          <a:prstGeom prst="line">
            <a:avLst/>
          </a:prstGeom>
          <a:solidFill>
            <a:schemeClr val="bg1"/>
          </a:solidFill>
          <a:ln w="139700" cap="flat" cmpd="sng" algn="ctr">
            <a:solidFill>
              <a:srgbClr val="00A2E2"/>
            </a:solidFill>
            <a:prstDash val="solid"/>
            <a:round/>
            <a:headEnd type="none" w="med" len="med"/>
            <a:tailEnd type="none" w="med" len="med"/>
          </a:ln>
          <a:effectLst/>
        </p:spPr>
      </p:cxnSp>
      <p:sp>
        <p:nvSpPr>
          <p:cNvPr id="49" name="TextBox 48">
            <a:extLst>
              <a:ext uri="{FF2B5EF4-FFF2-40B4-BE49-F238E27FC236}">
                <a16:creationId xmlns:a16="http://schemas.microsoft.com/office/drawing/2014/main" id="{E3F7441C-0CD7-41BE-8C88-E828F1DF5398}"/>
              </a:ext>
            </a:extLst>
          </p:cNvPr>
          <p:cNvSpPr txBox="1"/>
          <p:nvPr/>
        </p:nvSpPr>
        <p:spPr>
          <a:xfrm>
            <a:off x="2417862" y="5759329"/>
            <a:ext cx="888184" cy="415498"/>
          </a:xfrm>
          <a:prstGeom prst="rect">
            <a:avLst/>
          </a:prstGeom>
          <a:noFill/>
        </p:spPr>
        <p:txBody>
          <a:bodyPr wrap="square" lIns="0" tIns="0" rIns="0" bIns="0" rtlCol="0">
            <a:spAutoFit/>
          </a:bodyPr>
          <a:lstStyle/>
          <a:p>
            <a:r>
              <a:rPr lang="en-GB" sz="900">
                <a:latin typeface="Trebuchet MS" panose="020B0603020202020204" pitchFamily="34" charset="0"/>
              </a:rPr>
              <a:t>Risk and others (incl. Manageo.fr)</a:t>
            </a:r>
            <a:endParaRPr lang="en-GB" sz="700">
              <a:latin typeface="Trebuchet MS" panose="020B0603020202020204" pitchFamily="34" charset="0"/>
            </a:endParaRPr>
          </a:p>
        </p:txBody>
      </p:sp>
      <p:grpSp>
        <p:nvGrpSpPr>
          <p:cNvPr id="11" name="Group 10">
            <a:extLst>
              <a:ext uri="{FF2B5EF4-FFF2-40B4-BE49-F238E27FC236}">
                <a16:creationId xmlns:a16="http://schemas.microsoft.com/office/drawing/2014/main" id="{850D4152-1F03-4CD3-9F85-1030DDEC1F92}"/>
              </a:ext>
            </a:extLst>
          </p:cNvPr>
          <p:cNvGrpSpPr/>
          <p:nvPr/>
        </p:nvGrpSpPr>
        <p:grpSpPr>
          <a:xfrm>
            <a:off x="3896122" y="5322357"/>
            <a:ext cx="1313720" cy="185140"/>
            <a:chOff x="3896122" y="5137977"/>
            <a:chExt cx="1313720" cy="185140"/>
          </a:xfrm>
        </p:grpSpPr>
        <p:sp>
          <p:nvSpPr>
            <p:cNvPr id="53" name="TextBox 52">
              <a:extLst>
                <a:ext uri="{FF2B5EF4-FFF2-40B4-BE49-F238E27FC236}">
                  <a16:creationId xmlns:a16="http://schemas.microsoft.com/office/drawing/2014/main" id="{CF24A754-FC54-4C5D-B428-5F8BBC52C578}"/>
                </a:ext>
              </a:extLst>
            </p:cNvPr>
            <p:cNvSpPr txBox="1"/>
            <p:nvPr/>
          </p:nvSpPr>
          <p:spPr>
            <a:xfrm>
              <a:off x="4276276" y="5167375"/>
              <a:ext cx="933566" cy="126344"/>
            </a:xfrm>
            <a:prstGeom prst="rect">
              <a:avLst/>
            </a:prstGeom>
            <a:noFill/>
          </p:spPr>
          <p:txBody>
            <a:bodyPr wrap="square" lIns="0" tIns="0" rIns="0" bIns="0" rtlCol="0">
              <a:noAutofit/>
            </a:bodyPr>
            <a:lstStyle/>
            <a:p>
              <a:r>
                <a:rPr lang="en-GB" sz="900">
                  <a:latin typeface="+mj-lt"/>
                </a:rPr>
                <a:t>Prior 2017</a:t>
              </a:r>
              <a:endParaRPr lang="en-GB" sz="700">
                <a:latin typeface="+mj-lt"/>
              </a:endParaRPr>
            </a:p>
          </p:txBody>
        </p:sp>
        <p:sp>
          <p:nvSpPr>
            <p:cNvPr id="8" name="Rectangle 7">
              <a:extLst>
                <a:ext uri="{FF2B5EF4-FFF2-40B4-BE49-F238E27FC236}">
                  <a16:creationId xmlns:a16="http://schemas.microsoft.com/office/drawing/2014/main" id="{60C9E80C-68F5-4834-A062-477187CB927D}"/>
                </a:ext>
              </a:extLst>
            </p:cNvPr>
            <p:cNvSpPr/>
            <p:nvPr/>
          </p:nvSpPr>
          <p:spPr bwMode="auto">
            <a:xfrm>
              <a:off x="3896122" y="5137977"/>
              <a:ext cx="279400" cy="185140"/>
            </a:xfrm>
            <a:prstGeom prst="rect">
              <a:avLst/>
            </a:prstGeom>
            <a:pattFill prst="ltDnDiag">
              <a:fgClr>
                <a:schemeClr val="tx1">
                  <a:lumMod val="50000"/>
                </a:schemeClr>
              </a:fgClr>
              <a:bgClr>
                <a:schemeClr val="bg1"/>
              </a:bgClr>
            </a:patt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0" name="Group 9">
            <a:extLst>
              <a:ext uri="{FF2B5EF4-FFF2-40B4-BE49-F238E27FC236}">
                <a16:creationId xmlns:a16="http://schemas.microsoft.com/office/drawing/2014/main" id="{58D023DB-D825-41B1-84C2-A754D0CEDACB}"/>
              </a:ext>
            </a:extLst>
          </p:cNvPr>
          <p:cNvGrpSpPr/>
          <p:nvPr/>
        </p:nvGrpSpPr>
        <p:grpSpPr>
          <a:xfrm>
            <a:off x="3896122" y="5618400"/>
            <a:ext cx="1313720" cy="185140"/>
            <a:chOff x="3896122" y="5514918"/>
            <a:chExt cx="1313720" cy="185140"/>
          </a:xfrm>
        </p:grpSpPr>
        <p:sp>
          <p:nvSpPr>
            <p:cNvPr id="54" name="TextBox 53">
              <a:extLst>
                <a:ext uri="{FF2B5EF4-FFF2-40B4-BE49-F238E27FC236}">
                  <a16:creationId xmlns:a16="http://schemas.microsoft.com/office/drawing/2014/main" id="{AF89456B-B5B6-4954-8ACF-76E019985E71}"/>
                </a:ext>
              </a:extLst>
            </p:cNvPr>
            <p:cNvSpPr txBox="1"/>
            <p:nvPr/>
          </p:nvSpPr>
          <p:spPr>
            <a:xfrm>
              <a:off x="4276276" y="5544316"/>
              <a:ext cx="933566" cy="126344"/>
            </a:xfrm>
            <a:prstGeom prst="rect">
              <a:avLst/>
            </a:prstGeom>
            <a:noFill/>
          </p:spPr>
          <p:txBody>
            <a:bodyPr wrap="square" lIns="0" tIns="0" rIns="0" bIns="0" rtlCol="0">
              <a:noAutofit/>
            </a:bodyPr>
            <a:lstStyle/>
            <a:p>
              <a:r>
                <a:rPr lang="en-GB" sz="900">
                  <a:latin typeface="+mj-lt"/>
                </a:rPr>
                <a:t>2018</a:t>
              </a:r>
              <a:endParaRPr lang="en-GB" sz="700">
                <a:latin typeface="+mj-lt"/>
              </a:endParaRPr>
            </a:p>
          </p:txBody>
        </p:sp>
        <p:sp>
          <p:nvSpPr>
            <p:cNvPr id="56" name="Rectangle 55">
              <a:extLst>
                <a:ext uri="{FF2B5EF4-FFF2-40B4-BE49-F238E27FC236}">
                  <a16:creationId xmlns:a16="http://schemas.microsoft.com/office/drawing/2014/main" id="{F54BFA0A-93A7-4DFA-96AB-74E48E7B98F2}"/>
                </a:ext>
              </a:extLst>
            </p:cNvPr>
            <p:cNvSpPr/>
            <p:nvPr/>
          </p:nvSpPr>
          <p:spPr bwMode="auto">
            <a:xfrm>
              <a:off x="3896122" y="5514918"/>
              <a:ext cx="279400" cy="185140"/>
            </a:xfrm>
            <a:prstGeom prst="rect">
              <a:avLst/>
            </a:prstGeom>
            <a:pattFill prst="ltVert">
              <a:fgClr>
                <a:schemeClr val="tx1">
                  <a:lumMod val="50000"/>
                </a:schemeClr>
              </a:fgClr>
              <a:bgClr>
                <a:schemeClr val="bg1"/>
              </a:bgClr>
            </a:patt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9" name="Group 8">
            <a:extLst>
              <a:ext uri="{FF2B5EF4-FFF2-40B4-BE49-F238E27FC236}">
                <a16:creationId xmlns:a16="http://schemas.microsoft.com/office/drawing/2014/main" id="{82C7CC09-D45E-4E9D-AF24-A2F32297BF29}"/>
              </a:ext>
            </a:extLst>
          </p:cNvPr>
          <p:cNvGrpSpPr/>
          <p:nvPr/>
        </p:nvGrpSpPr>
        <p:grpSpPr>
          <a:xfrm>
            <a:off x="3896122" y="5928208"/>
            <a:ext cx="1313720" cy="185140"/>
            <a:chOff x="3896122" y="5879899"/>
            <a:chExt cx="1313720" cy="185140"/>
          </a:xfrm>
        </p:grpSpPr>
        <p:sp>
          <p:nvSpPr>
            <p:cNvPr id="57" name="TextBox 56">
              <a:extLst>
                <a:ext uri="{FF2B5EF4-FFF2-40B4-BE49-F238E27FC236}">
                  <a16:creationId xmlns:a16="http://schemas.microsoft.com/office/drawing/2014/main" id="{269B1D82-6A6A-4DC1-81E7-E8FF5E3929C5}"/>
                </a:ext>
              </a:extLst>
            </p:cNvPr>
            <p:cNvSpPr txBox="1"/>
            <p:nvPr/>
          </p:nvSpPr>
          <p:spPr>
            <a:xfrm>
              <a:off x="4276276" y="5909297"/>
              <a:ext cx="933566" cy="126344"/>
            </a:xfrm>
            <a:prstGeom prst="rect">
              <a:avLst/>
            </a:prstGeom>
            <a:noFill/>
          </p:spPr>
          <p:txBody>
            <a:bodyPr wrap="square" lIns="0" tIns="0" rIns="0" bIns="0" rtlCol="0">
              <a:noAutofit/>
            </a:bodyPr>
            <a:lstStyle/>
            <a:p>
              <a:r>
                <a:rPr lang="en-GB" sz="900">
                  <a:latin typeface="+mj-lt"/>
                </a:rPr>
                <a:t>2019</a:t>
              </a:r>
              <a:endParaRPr lang="en-GB" sz="700">
                <a:latin typeface="+mj-lt"/>
              </a:endParaRPr>
            </a:p>
          </p:txBody>
        </p:sp>
        <p:sp>
          <p:nvSpPr>
            <p:cNvPr id="59" name="Rectangle 58">
              <a:extLst>
                <a:ext uri="{FF2B5EF4-FFF2-40B4-BE49-F238E27FC236}">
                  <a16:creationId xmlns:a16="http://schemas.microsoft.com/office/drawing/2014/main" id="{862B6E81-E0FF-42F1-970E-423B82A0B548}"/>
                </a:ext>
              </a:extLst>
            </p:cNvPr>
            <p:cNvSpPr/>
            <p:nvPr/>
          </p:nvSpPr>
          <p:spPr bwMode="auto">
            <a:xfrm>
              <a:off x="3896122" y="5879899"/>
              <a:ext cx="279400" cy="185140"/>
            </a:xfrm>
            <a:prstGeom prst="rect">
              <a:avLst/>
            </a:prstGeom>
            <a:pattFill prst="pct5">
              <a:fgClr>
                <a:schemeClr val="tx1">
                  <a:lumMod val="50000"/>
                </a:schemeClr>
              </a:fgClr>
              <a:bgClr>
                <a:schemeClr val="bg1"/>
              </a:bgClr>
            </a:patt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52" name="Rectangle 51">
            <a:extLst>
              <a:ext uri="{FF2B5EF4-FFF2-40B4-BE49-F238E27FC236}">
                <a16:creationId xmlns:a16="http://schemas.microsoft.com/office/drawing/2014/main" id="{65105DA9-CF35-451C-8BE5-23142353A792}"/>
              </a:ext>
            </a:extLst>
          </p:cNvPr>
          <p:cNvSpPr/>
          <p:nvPr/>
        </p:nvSpPr>
        <p:spPr>
          <a:xfrm>
            <a:off x="3806454" y="4901720"/>
            <a:ext cx="1361163" cy="369332"/>
          </a:xfrm>
          <a:prstGeom prst="rect">
            <a:avLst/>
          </a:prstGeom>
        </p:spPr>
        <p:txBody>
          <a:bodyPr wrap="square">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900" b="1">
                <a:solidFill>
                  <a:srgbClr val="6C6C6C"/>
                </a:solidFill>
                <a:latin typeface="Trebuchet MS" panose="020B0603020202020204" pitchFamily="34" charset="0"/>
              </a:rPr>
              <a:t>Customers</a:t>
            </a:r>
            <a:r>
              <a:rPr kumimoji="0" lang="en-GB" sz="900" b="1"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recruitment years: </a:t>
            </a:r>
          </a:p>
        </p:txBody>
      </p:sp>
      <p:pic>
        <p:nvPicPr>
          <p:cNvPr id="61" name="Picture 2" descr="Drapeau France">
            <a:extLst>
              <a:ext uri="{FF2B5EF4-FFF2-40B4-BE49-F238E27FC236}">
                <a16:creationId xmlns:a16="http://schemas.microsoft.com/office/drawing/2014/main" id="{1D9D4294-BCAA-4766-B0A4-A22732B66DF6}"/>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295143" y="1115812"/>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2309580848"/>
      </p:ext>
    </p:extLst>
  </p:cSld>
  <p:clrMapOvr>
    <a:masterClrMapping/>
  </p:clrMapOvr>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4E9DE99D-BD68-42FE-9B3C-2293D0C1089E}"/>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BC317995-D852-4549-AC70-AA5A11CAFAFC}"/>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indent="-228600">
              <a:spcBef>
                <a:spcPts val="600"/>
              </a:spcBef>
              <a:buAutoNum type="arabicPeriod"/>
            </a:pPr>
            <a:r>
              <a:rPr lang="en-GB" sz="1200">
                <a:latin typeface="Trebuchet MS" panose="020B0603020202020204" pitchFamily="34" charset="0"/>
              </a:rPr>
              <a:t>Overview of </a:t>
            </a:r>
            <a:r>
              <a:rPr lang="en-GB" sz="1200" err="1">
                <a:latin typeface="Trebuchet MS" panose="020B0603020202020204" pitchFamily="34" charset="0"/>
              </a:rPr>
              <a:t>Altares</a:t>
            </a:r>
            <a:r>
              <a:rPr lang="en-GB" sz="1200">
                <a:latin typeface="Trebuchet MS" panose="020B0603020202020204" pitchFamily="34" charset="0"/>
              </a:rPr>
              <a:t>’ core assets</a:t>
            </a:r>
          </a:p>
          <a:p>
            <a:pPr marL="228600" indent="-228600">
              <a:spcBef>
                <a:spcPts val="600"/>
              </a:spcBef>
              <a:buAutoNum type="arabicPeriod"/>
            </a:pPr>
            <a:r>
              <a:rPr lang="en-GB" sz="1200" err="1">
                <a:latin typeface="Trebuchet MS" panose="020B0603020202020204" pitchFamily="34" charset="0"/>
              </a:rPr>
              <a:t>Altares</a:t>
            </a:r>
            <a:r>
              <a:rPr lang="en-GB" sz="1200">
                <a:latin typeface="Trebuchet MS" panose="020B0603020202020204" pitchFamily="34" charset="0"/>
              </a:rPr>
              <a:t>' offer and value proposition</a:t>
            </a:r>
          </a:p>
          <a:p>
            <a:pPr marL="685800" lvl="1" indent="-228600">
              <a:spcBef>
                <a:spcPts val="600"/>
              </a:spcBef>
              <a:buAutoNum type="romanLcPeriod"/>
            </a:pPr>
            <a:r>
              <a:rPr lang="en-GB" sz="1200" err="1">
                <a:latin typeface="Trebuchet MS" panose="020B0603020202020204" pitchFamily="34" charset="0"/>
              </a:rPr>
              <a:t>Altares</a:t>
            </a:r>
            <a:r>
              <a:rPr lang="en-GB" sz="1200">
                <a:latin typeface="Trebuchet MS" panose="020B0603020202020204" pitchFamily="34" charset="0"/>
              </a:rPr>
              <a:t>’ comprehensive offer</a:t>
            </a:r>
          </a:p>
          <a:p>
            <a:pPr marL="685800" lvl="1" indent="-228600">
              <a:spcBef>
                <a:spcPts val="600"/>
              </a:spcBef>
              <a:buAutoNum type="romanLcPeriod"/>
            </a:pPr>
            <a:r>
              <a:rPr lang="en-GB" sz="1200" err="1">
                <a:latin typeface="Trebuchet MS" panose="020B0603020202020204" pitchFamily="34" charset="0"/>
              </a:rPr>
              <a:t>Altares</a:t>
            </a:r>
            <a:r>
              <a:rPr lang="en-GB" sz="1200">
                <a:latin typeface="Trebuchet MS" panose="020B0603020202020204" pitchFamily="34" charset="0"/>
              </a:rPr>
              <a:t>’ premium value proposition </a:t>
            </a: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loyal, resilient and diversified client base</a:t>
            </a:r>
          </a:p>
          <a:p>
            <a:pPr marL="285750" indent="-285750">
              <a:spcBef>
                <a:spcPts val="600"/>
              </a:spcBef>
              <a:buFont typeface="+mj-lt"/>
              <a:buAutoNum type="arabicPeriod"/>
            </a:pPr>
            <a:r>
              <a:rPr kumimoji="0" lang="en-GB" sz="1200" b="0" i="0" u="none" strike="noStrike" kern="1200" cap="none" spc="0" normalizeH="0" baseline="0" noProof="0" err="1">
                <a:ln>
                  <a:noFill/>
                </a:ln>
                <a:solidFill>
                  <a:schemeClr val="tx2"/>
                </a:solidFill>
                <a:effectLst/>
                <a:uLnTx/>
                <a:uFillTx/>
                <a:latin typeface="Trebuchet MS" panose="020B0603020202020204" pitchFamily="34" charset="0"/>
                <a:ea typeface="+mn-ea"/>
                <a:cs typeface="Arial" pitchFamily="34" charset="0"/>
              </a:rPr>
              <a:t>Altares</a:t>
            </a:r>
            <a:r>
              <a:rPr kumimoji="0" lang="en-GB" sz="1200" b="0"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 structuring partnership with Dun &amp; Bradstreet</a:t>
            </a: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high-quality comprehensive data collection</a:t>
            </a:r>
            <a:endParaRPr kumimoji="0" lang="en-GB" sz="1200" b="0" i="0" u="none" strike="noStrike" kern="1200" cap="none" spc="0" normalizeH="0" baseline="0" noProof="0">
              <a:ln>
                <a:noFill/>
              </a:ln>
              <a:effectLst/>
              <a:uLnTx/>
              <a:uFillTx/>
              <a:latin typeface="Trebuchet MS" panose="020B0603020202020204" pitchFamily="34" charset="0"/>
              <a:ea typeface="+mn-ea"/>
              <a:cs typeface="Arial" pitchFamily="34" charset="0"/>
            </a:endParaRP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fine-tuned operating model</a:t>
            </a:r>
          </a:p>
        </p:txBody>
      </p:sp>
      <p:sp>
        <p:nvSpPr>
          <p:cNvPr id="5" name="Chevron">
            <a:extLst>
              <a:ext uri="{FF2B5EF4-FFF2-40B4-BE49-F238E27FC236}">
                <a16:creationId xmlns:a16="http://schemas.microsoft.com/office/drawing/2014/main" id="{19C7AF68-ADEF-46DC-A209-2CDD74387B37}"/>
              </a:ext>
            </a:extLst>
          </p:cNvPr>
          <p:cNvSpPr/>
          <p:nvPr/>
        </p:nvSpPr>
        <p:spPr bwMode="auto">
          <a:xfrm>
            <a:off x="1418399" y="2685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 name="Section">
            <a:extLst>
              <a:ext uri="{FF2B5EF4-FFF2-40B4-BE49-F238E27FC236}">
                <a16:creationId xmlns:a16="http://schemas.microsoft.com/office/drawing/2014/main" id="{636E6D9A-2F3C-453B-9C0F-03B146337E4D}"/>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3</a:t>
            </a:r>
          </a:p>
        </p:txBody>
      </p:sp>
      <p:sp>
        <p:nvSpPr>
          <p:cNvPr id="7" name="Isosceles Triangle">
            <a:extLst>
              <a:ext uri="{FF2B5EF4-FFF2-40B4-BE49-F238E27FC236}">
                <a16:creationId xmlns:a16="http://schemas.microsoft.com/office/drawing/2014/main" id="{86E97B8D-EAC4-48AA-ADCB-BDC40D046F9F}"/>
              </a:ext>
            </a:extLst>
          </p:cNvPr>
          <p:cNvSpPr/>
          <p:nvPr/>
        </p:nvSpPr>
        <p:spPr bwMode="auto">
          <a:xfrm rot="5400000">
            <a:off x="5731200" y="2791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 name="Arrow: Pentagon">
            <a:extLst>
              <a:ext uri="{FF2B5EF4-FFF2-40B4-BE49-F238E27FC236}">
                <a16:creationId xmlns:a16="http://schemas.microsoft.com/office/drawing/2014/main" id="{7B496A37-C04C-4E14-9E59-FC504CC05350}"/>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9" name="Oval">
            <a:extLst>
              <a:ext uri="{FF2B5EF4-FFF2-40B4-BE49-F238E27FC236}">
                <a16:creationId xmlns:a16="http://schemas.microsoft.com/office/drawing/2014/main" id="{8C61C93E-4F49-4FF2-9932-EE31E7F22E5C}"/>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10" name="Arrow: Pentagon">
            <a:extLst>
              <a:ext uri="{FF2B5EF4-FFF2-40B4-BE49-F238E27FC236}">
                <a16:creationId xmlns:a16="http://schemas.microsoft.com/office/drawing/2014/main" id="{A32E2EE0-08BE-4D98-86A8-11AC4CDCC805}"/>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11" name="Oval">
            <a:extLst>
              <a:ext uri="{FF2B5EF4-FFF2-40B4-BE49-F238E27FC236}">
                <a16:creationId xmlns:a16="http://schemas.microsoft.com/office/drawing/2014/main" id="{153B8BA1-2F07-41F7-854C-2A2EF7282FC0}"/>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13" name="Arrow: Pentagon">
            <a:extLst>
              <a:ext uri="{FF2B5EF4-FFF2-40B4-BE49-F238E27FC236}">
                <a16:creationId xmlns:a16="http://schemas.microsoft.com/office/drawing/2014/main" id="{F64937A8-EB90-414F-9429-A832045779A6}"/>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14" name="Arrow: Pentagon">
            <a:extLst>
              <a:ext uri="{FF2B5EF4-FFF2-40B4-BE49-F238E27FC236}">
                <a16:creationId xmlns:a16="http://schemas.microsoft.com/office/drawing/2014/main" id="{C22E3091-7CDD-4698-A99C-B9F917CB533F}"/>
              </a:ext>
            </a:extLst>
          </p:cNvPr>
          <p:cNvSpPr/>
          <p:nvPr/>
        </p:nvSpPr>
        <p:spPr bwMode="auto">
          <a:xfrm>
            <a:off x="1641598" y="2685599"/>
            <a:ext cx="4319993"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value proposition &amp; core assets</a:t>
            </a:r>
          </a:p>
        </p:txBody>
      </p:sp>
      <p:sp>
        <p:nvSpPr>
          <p:cNvPr id="15" name="Oval">
            <a:extLst>
              <a:ext uri="{FF2B5EF4-FFF2-40B4-BE49-F238E27FC236}">
                <a16:creationId xmlns:a16="http://schemas.microsoft.com/office/drawing/2014/main" id="{CE0958F8-3919-4AB0-8E3F-59CDE95E83A8}"/>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16" name="Arrow: Pentagon">
            <a:extLst>
              <a:ext uri="{FF2B5EF4-FFF2-40B4-BE49-F238E27FC236}">
                <a16:creationId xmlns:a16="http://schemas.microsoft.com/office/drawing/2014/main" id="{65BED380-DD04-49BB-B0FD-E066252EB5A7}"/>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17" name="Oval">
            <a:extLst>
              <a:ext uri="{FF2B5EF4-FFF2-40B4-BE49-F238E27FC236}">
                <a16:creationId xmlns:a16="http://schemas.microsoft.com/office/drawing/2014/main" id="{99BC9E39-01D2-41CA-8B5F-E2B34C02B176}"/>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39" name="Oval">
            <a:extLst>
              <a:ext uri="{FF2B5EF4-FFF2-40B4-BE49-F238E27FC236}">
                <a16:creationId xmlns:a16="http://schemas.microsoft.com/office/drawing/2014/main" id="{1EF6DBD7-F41E-4AD6-939D-E872537F3D4E}"/>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1112437642"/>
      </p:ext>
    </p:extLst>
  </p:cSld>
  <p:clrMapOvr>
    <a:masterClrMapping/>
  </p:clrMapOvr>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F488C6A4-2F49-4251-A67F-9B2DC404F49B}"/>
              </a:ext>
            </a:extLst>
          </p:cNvPr>
          <p:cNvGraphicFramePr>
            <a:graphicFrameLocks noChangeAspect="1"/>
          </p:cNvGraphicFramePr>
          <p:nvPr>
            <p:custDataLst>
              <p:tags r:id="rId1"/>
            </p:custDataLst>
            <p:extLst>
              <p:ext uri="{D42A27DB-BD31-4B8C-83A1-F6EECF244321}">
                <p14:modId xmlns:p14="http://schemas.microsoft.com/office/powerpoint/2010/main" val="764379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6" imgH="423" progId="TCLayout.ActiveDocument.1">
                  <p:embed/>
                </p:oleObj>
              </mc:Choice>
              <mc:Fallback>
                <p:oleObj name="think-cell Slide" r:id="rId6" imgW="416" imgH="423" progId="TCLayout.ActiveDocument.1">
                  <p:embed/>
                  <p:pic>
                    <p:nvPicPr>
                      <p:cNvPr id="16" name="Object 15" hidden="1">
                        <a:extLst>
                          <a:ext uri="{FF2B5EF4-FFF2-40B4-BE49-F238E27FC236}">
                            <a16:creationId xmlns:a16="http://schemas.microsoft.com/office/drawing/2014/main" id="{F488C6A4-2F49-4251-A67F-9B2DC404F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2D4CC542-7931-47B7-A8FA-05158BB84B9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1" name="Rectangle 10" hidden="1">
            <a:extLst>
              <a:ext uri="{FF2B5EF4-FFF2-40B4-BE49-F238E27FC236}">
                <a16:creationId xmlns:a16="http://schemas.microsoft.com/office/drawing/2014/main" id="{90015CC8-CE99-4FDE-A790-86EAF4C4CB59}"/>
              </a:ext>
            </a:extLst>
          </p:cNvPr>
          <p:cNvSpPr/>
          <p:nvPr>
            <p:custDataLst>
              <p:tags r:id="rId3"/>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2" name="Rectangle 21">
            <a:extLst>
              <a:ext uri="{FF2B5EF4-FFF2-40B4-BE49-F238E27FC236}">
                <a16:creationId xmlns:a16="http://schemas.microsoft.com/office/drawing/2014/main" id="{5E3D3F8C-458F-419A-A4E3-A37B87321A31}"/>
              </a:ext>
            </a:extLst>
          </p:cNvPr>
          <p:cNvSpPr/>
          <p:nvPr/>
        </p:nvSpPr>
        <p:spPr bwMode="auto">
          <a:xfrm>
            <a:off x="5692322" y="2004287"/>
            <a:ext cx="4131294" cy="364941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le 1">
            <a:extLst>
              <a:ext uri="{FF2B5EF4-FFF2-40B4-BE49-F238E27FC236}">
                <a16:creationId xmlns:a16="http://schemas.microsoft.com/office/drawing/2014/main" id="{308DDB91-34A9-4FB9-9304-FB2088A28173}"/>
              </a:ext>
            </a:extLst>
          </p:cNvPr>
          <p:cNvSpPr>
            <a:spLocks noGrp="1"/>
          </p:cNvSpPr>
          <p:nvPr>
            <p:ph type="title"/>
          </p:nvPr>
        </p:nvSpPr>
        <p:spPr>
          <a:xfrm>
            <a:off x="165601" y="147600"/>
            <a:ext cx="8301169" cy="684000"/>
          </a:xfrm>
        </p:spPr>
        <p:txBody>
          <a:bodyPr/>
          <a:lstStyle/>
          <a:p>
            <a:r>
              <a:rPr lang="en-GB" err="1">
                <a:latin typeface="Trebuchet MS" panose="020B0603020202020204" pitchFamily="34" charset="0"/>
              </a:rPr>
              <a:t>Altares</a:t>
            </a:r>
            <a:r>
              <a:rPr lang="en-GB">
                <a:latin typeface="Trebuchet MS" panose="020B0603020202020204" pitchFamily="34" charset="0"/>
              </a:rPr>
              <a:t> has an </a:t>
            </a:r>
            <a:r>
              <a:rPr lang="en-GB">
                <a:solidFill>
                  <a:schemeClr val="tx2"/>
                </a:solidFill>
                <a:latin typeface="Trebuchet MS" panose="020B0603020202020204" pitchFamily="34" charset="0"/>
              </a:rPr>
              <a:t>historical partnership </a:t>
            </a:r>
            <a:r>
              <a:rPr lang="en-GB">
                <a:latin typeface="Trebuchet MS" panose="020B0603020202020204" pitchFamily="34" charset="0"/>
              </a:rPr>
              <a:t>- running until 2031 – with </a:t>
            </a:r>
            <a:r>
              <a:rPr lang="en-GB">
                <a:solidFill>
                  <a:schemeClr val="tx2"/>
                </a:solidFill>
                <a:latin typeface="Trebuchet MS" panose="020B0603020202020204" pitchFamily="34" charset="0"/>
              </a:rPr>
              <a:t>Dun &amp; Bradstreet </a:t>
            </a:r>
            <a:r>
              <a:rPr lang="en-GB">
                <a:latin typeface="Trebuchet MS" panose="020B0603020202020204" pitchFamily="34" charset="0"/>
              </a:rPr>
              <a:t>enabling </a:t>
            </a:r>
            <a:r>
              <a:rPr lang="en-GB" err="1">
                <a:latin typeface="Trebuchet MS" panose="020B0603020202020204" pitchFamily="34" charset="0"/>
              </a:rPr>
              <a:t>Altares</a:t>
            </a:r>
            <a:r>
              <a:rPr lang="en-GB">
                <a:latin typeface="Trebuchet MS" panose="020B0603020202020204" pitchFamily="34" charset="0"/>
              </a:rPr>
              <a:t> to benefit from D&amp;B </a:t>
            </a:r>
            <a:r>
              <a:rPr lang="en-GB">
                <a:solidFill>
                  <a:schemeClr val="tx2"/>
                </a:solidFill>
                <a:latin typeface="Trebuchet MS" panose="020B0603020202020204" pitchFamily="34" charset="0"/>
              </a:rPr>
              <a:t>international data </a:t>
            </a:r>
            <a:r>
              <a:rPr lang="en-GB">
                <a:latin typeface="Trebuchet MS" panose="020B0603020202020204" pitchFamily="34" charset="0"/>
              </a:rPr>
              <a:t>and a very </a:t>
            </a:r>
            <a:r>
              <a:rPr lang="en-GB">
                <a:solidFill>
                  <a:schemeClr val="tx2"/>
                </a:solidFill>
                <a:latin typeface="Trebuchet MS" panose="020B0603020202020204" pitchFamily="34" charset="0"/>
              </a:rPr>
              <a:t>strong worldwide brand image</a:t>
            </a:r>
            <a:br>
              <a:rPr lang="en-GB">
                <a:solidFill>
                  <a:schemeClr val="tx2"/>
                </a:solidFill>
                <a:latin typeface="Trebuchet MS" panose="020B0603020202020204" pitchFamily="34" charset="0"/>
              </a:rPr>
            </a:br>
            <a:endParaRPr lang="en-GB">
              <a:solidFill>
                <a:schemeClr val="tx2"/>
              </a:solidFill>
              <a:latin typeface="Trebuchet MS" panose="020B0603020202020204" pitchFamily="34" charset="0"/>
            </a:endParaRPr>
          </a:p>
        </p:txBody>
      </p:sp>
      <p:sp>
        <p:nvSpPr>
          <p:cNvPr id="3" name="Text Placeholder 2">
            <a:extLst>
              <a:ext uri="{FF2B5EF4-FFF2-40B4-BE49-F238E27FC236}">
                <a16:creationId xmlns:a16="http://schemas.microsoft.com/office/drawing/2014/main" id="{43473453-BFC5-46F1-B35F-FFD72814F389}"/>
              </a:ext>
            </a:extLst>
          </p:cNvPr>
          <p:cNvSpPr>
            <a:spLocks noGrp="1"/>
          </p:cNvSpPr>
          <p:nvPr>
            <p:ph type="body" sz="quarter" idx="10"/>
          </p:nvPr>
        </p:nvSpPr>
        <p:spPr/>
        <p:txBody>
          <a:bodyPr/>
          <a:lstStyle/>
          <a:p>
            <a:r>
              <a:rPr lang="en-GB" sz="800" i="1" kern="0"/>
              <a:t>Sources: eleven research &amp; analysis, </a:t>
            </a:r>
            <a:r>
              <a:rPr lang="en-GB"/>
              <a:t>D&amp;B website</a:t>
            </a:r>
          </a:p>
        </p:txBody>
      </p:sp>
      <p:cxnSp>
        <p:nvCxnSpPr>
          <p:cNvPr id="8" name="Connecteur droit 4">
            <a:extLst>
              <a:ext uri="{FF2B5EF4-FFF2-40B4-BE49-F238E27FC236}">
                <a16:creationId xmlns:a16="http://schemas.microsoft.com/office/drawing/2014/main" id="{243442E1-3A3C-4796-8A2C-38A5B92C6C7A}"/>
              </a:ext>
            </a:extLst>
          </p:cNvPr>
          <p:cNvCxnSpPr>
            <a:cxnSpLocks/>
          </p:cNvCxnSpPr>
          <p:nvPr/>
        </p:nvCxnSpPr>
        <p:spPr bwMode="auto">
          <a:xfrm>
            <a:off x="194217" y="1284274"/>
            <a:ext cx="5172407"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0" name="ZoneTexte 12">
            <a:extLst>
              <a:ext uri="{FF2B5EF4-FFF2-40B4-BE49-F238E27FC236}">
                <a16:creationId xmlns:a16="http://schemas.microsoft.com/office/drawing/2014/main" id="{39A5BB14-A08B-4421-9CEB-EEF0A33094A6}"/>
              </a:ext>
            </a:extLst>
          </p:cNvPr>
          <p:cNvSpPr txBox="1"/>
          <p:nvPr/>
        </p:nvSpPr>
        <p:spPr>
          <a:xfrm>
            <a:off x="696111" y="1006218"/>
            <a:ext cx="4199392" cy="556112"/>
          </a:xfrm>
          <a:prstGeom prst="rect">
            <a:avLst/>
          </a:prstGeom>
          <a:solidFill>
            <a:schemeClr val="bg1"/>
          </a:solidFill>
        </p:spPr>
        <p:txBody>
          <a:bodyPr wrap="square" rtlCol="0">
            <a:noAutofit/>
          </a:bodyPr>
          <a:lstStyle/>
          <a:p>
            <a:pPr algn="ctr"/>
            <a:r>
              <a:rPr lang="en-GB" sz="1100">
                <a:latin typeface="Trebuchet MS" panose="020B0603020202020204" pitchFamily="34" charset="0"/>
              </a:rPr>
              <a:t>D&amp;B is an international company that has developed a partnership business model in Europe based on a win-win dependency</a:t>
            </a:r>
          </a:p>
        </p:txBody>
      </p:sp>
      <p:cxnSp>
        <p:nvCxnSpPr>
          <p:cNvPr id="21" name="Connecteur droit 4">
            <a:extLst>
              <a:ext uri="{FF2B5EF4-FFF2-40B4-BE49-F238E27FC236}">
                <a16:creationId xmlns:a16="http://schemas.microsoft.com/office/drawing/2014/main" id="{F8DB0DC1-C948-4F93-99B0-0A97D24C5E14}"/>
              </a:ext>
            </a:extLst>
          </p:cNvPr>
          <p:cNvCxnSpPr>
            <a:cxnSpLocks/>
          </p:cNvCxnSpPr>
          <p:nvPr/>
        </p:nvCxnSpPr>
        <p:spPr bwMode="auto">
          <a:xfrm>
            <a:off x="6200761" y="1284274"/>
            <a:ext cx="3398073"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6" name="ZoneTexte 12">
            <a:extLst>
              <a:ext uri="{FF2B5EF4-FFF2-40B4-BE49-F238E27FC236}">
                <a16:creationId xmlns:a16="http://schemas.microsoft.com/office/drawing/2014/main" id="{A083C2CB-6B66-43AE-8CD4-F15C82A32BAE}"/>
              </a:ext>
            </a:extLst>
          </p:cNvPr>
          <p:cNvSpPr txBox="1"/>
          <p:nvPr/>
        </p:nvSpPr>
        <p:spPr>
          <a:xfrm>
            <a:off x="6465677" y="1082336"/>
            <a:ext cx="2868241" cy="403877"/>
          </a:xfrm>
          <a:prstGeom prst="rect">
            <a:avLst/>
          </a:prstGeom>
          <a:solidFill>
            <a:schemeClr val="bg1"/>
          </a:solidFill>
        </p:spPr>
        <p:txBody>
          <a:bodyPr wrap="square" rtlCol="0">
            <a:noAutofit/>
          </a:bodyPr>
          <a:lstStyle/>
          <a:p>
            <a:pPr algn="ctr"/>
            <a:r>
              <a:rPr lang="en-GB" sz="1100">
                <a:latin typeface="Trebuchet MS" panose="020B0603020202020204" pitchFamily="34" charset="0"/>
              </a:rPr>
              <a:t>Organization of the international D&amp;B network </a:t>
            </a:r>
          </a:p>
        </p:txBody>
      </p:sp>
      <p:sp>
        <p:nvSpPr>
          <p:cNvPr id="34" name="Rectangle: Rounded Corners 33">
            <a:extLst>
              <a:ext uri="{FF2B5EF4-FFF2-40B4-BE49-F238E27FC236}">
                <a16:creationId xmlns:a16="http://schemas.microsoft.com/office/drawing/2014/main" id="{42749CE1-F976-4E34-BD45-E4C7BAA779DF}"/>
              </a:ext>
            </a:extLst>
          </p:cNvPr>
          <p:cNvSpPr>
            <a:spLocks/>
          </p:cNvSpPr>
          <p:nvPr/>
        </p:nvSpPr>
        <p:spPr bwMode="auto">
          <a:xfrm>
            <a:off x="186753" y="4886567"/>
            <a:ext cx="5308142" cy="984354"/>
          </a:xfrm>
          <a:prstGeom prst="round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b="1">
                <a:latin typeface="Trebuchet MS" pitchFamily="34" charset="0"/>
              </a:rPr>
              <a:t>Local partners</a:t>
            </a:r>
            <a:endParaRPr kumimoji="0" lang="en-GB" sz="1200" b="1" i="0" u="none" strike="noStrike" cap="none" normalizeH="0" baseline="0">
              <a:ln>
                <a:noFill/>
              </a:ln>
              <a:solidFill>
                <a:schemeClr val="tx1"/>
              </a:solidFill>
              <a:effectLst/>
              <a:latin typeface="Trebuchet MS" pitchFamily="34" charset="0"/>
            </a:endParaRPr>
          </a:p>
        </p:txBody>
      </p:sp>
      <p:sp>
        <p:nvSpPr>
          <p:cNvPr id="5" name="Rectangle: Rounded Corners 4">
            <a:extLst>
              <a:ext uri="{FF2B5EF4-FFF2-40B4-BE49-F238E27FC236}">
                <a16:creationId xmlns:a16="http://schemas.microsoft.com/office/drawing/2014/main" id="{E61E1964-8E0A-4C2F-8CFE-027A6DD3E5EC}"/>
              </a:ext>
            </a:extLst>
          </p:cNvPr>
          <p:cNvSpPr>
            <a:spLocks/>
          </p:cNvSpPr>
          <p:nvPr/>
        </p:nvSpPr>
        <p:spPr bwMode="auto">
          <a:xfrm>
            <a:off x="186753" y="2221502"/>
            <a:ext cx="5308142" cy="804310"/>
          </a:xfrm>
          <a:prstGeom prst="round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7" name="Picture 2" descr="Dun &amp; Bradstreet - Bâtir des relations">
            <a:extLst>
              <a:ext uri="{FF2B5EF4-FFF2-40B4-BE49-F238E27FC236}">
                <a16:creationId xmlns:a16="http://schemas.microsoft.com/office/drawing/2014/main" id="{139FBF7A-290C-4EA2-9510-6BAFA6A488D8}"/>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31829" y="2421151"/>
            <a:ext cx="2817991" cy="405012"/>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Rounded Corners 39">
            <a:extLst>
              <a:ext uri="{FF2B5EF4-FFF2-40B4-BE49-F238E27FC236}">
                <a16:creationId xmlns:a16="http://schemas.microsoft.com/office/drawing/2014/main" id="{AD76D71F-7BFB-487D-9010-B9B9268D511B}"/>
              </a:ext>
            </a:extLst>
          </p:cNvPr>
          <p:cNvSpPr/>
          <p:nvPr/>
        </p:nvSpPr>
        <p:spPr bwMode="auto">
          <a:xfrm>
            <a:off x="3899391" y="4991591"/>
            <a:ext cx="1099549" cy="595588"/>
          </a:xfrm>
          <a:prstGeom prst="round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4098" name="Picture 2">
            <a:extLst>
              <a:ext uri="{FF2B5EF4-FFF2-40B4-BE49-F238E27FC236}">
                <a16:creationId xmlns:a16="http://schemas.microsoft.com/office/drawing/2014/main" id="{4520AA3D-7127-4C2F-9E49-870C9FBE541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6625" y="5134321"/>
            <a:ext cx="605081" cy="310127"/>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Rounded Corners 5">
            <a:extLst>
              <a:ext uri="{FF2B5EF4-FFF2-40B4-BE49-F238E27FC236}">
                <a16:creationId xmlns:a16="http://schemas.microsoft.com/office/drawing/2014/main" id="{BFFFB9AA-9177-46B5-8E31-3B471A9A8FEA}"/>
              </a:ext>
            </a:extLst>
          </p:cNvPr>
          <p:cNvSpPr/>
          <p:nvPr/>
        </p:nvSpPr>
        <p:spPr bwMode="auto">
          <a:xfrm>
            <a:off x="531062" y="4991591"/>
            <a:ext cx="1099549" cy="595588"/>
          </a:xfrm>
          <a:prstGeom prst="round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3" name="Rectangle: Rounded Corners 32">
            <a:extLst>
              <a:ext uri="{FF2B5EF4-FFF2-40B4-BE49-F238E27FC236}">
                <a16:creationId xmlns:a16="http://schemas.microsoft.com/office/drawing/2014/main" id="{EA36A826-37D6-4A88-9C8D-2E4FA5045E29}"/>
              </a:ext>
            </a:extLst>
          </p:cNvPr>
          <p:cNvSpPr/>
          <p:nvPr/>
        </p:nvSpPr>
        <p:spPr bwMode="auto">
          <a:xfrm>
            <a:off x="2215226" y="4991590"/>
            <a:ext cx="1099549" cy="595588"/>
          </a:xfrm>
          <a:prstGeom prst="round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27" name="Straight Arrow Connector 26">
            <a:extLst>
              <a:ext uri="{FF2B5EF4-FFF2-40B4-BE49-F238E27FC236}">
                <a16:creationId xmlns:a16="http://schemas.microsoft.com/office/drawing/2014/main" id="{50EA0B45-EEA0-425E-8BA2-464450AE1C4A}"/>
              </a:ext>
            </a:extLst>
          </p:cNvPr>
          <p:cNvCxnSpPr>
            <a:cxnSpLocks/>
          </p:cNvCxnSpPr>
          <p:nvPr/>
        </p:nvCxnSpPr>
        <p:spPr bwMode="auto">
          <a:xfrm>
            <a:off x="986306" y="3143979"/>
            <a:ext cx="0" cy="1624422"/>
          </a:xfrm>
          <a:prstGeom prst="straightConnector1">
            <a:avLst/>
          </a:prstGeom>
          <a:solidFill>
            <a:schemeClr val="accent1"/>
          </a:solidFill>
          <a:ln w="38100" cap="flat" cmpd="sng" algn="ctr">
            <a:solidFill>
              <a:schemeClr val="tx2"/>
            </a:solidFill>
            <a:prstDash val="solid"/>
            <a:round/>
            <a:headEnd type="none" w="med" len="med"/>
            <a:tailEnd type="triangle"/>
          </a:ln>
          <a:effectLst/>
        </p:spPr>
      </p:cxnSp>
      <p:sp>
        <p:nvSpPr>
          <p:cNvPr id="28" name="TextBox 27">
            <a:extLst>
              <a:ext uri="{FF2B5EF4-FFF2-40B4-BE49-F238E27FC236}">
                <a16:creationId xmlns:a16="http://schemas.microsoft.com/office/drawing/2014/main" id="{73DC6A84-33D6-401C-AE86-49BE97A54EE0}"/>
              </a:ext>
            </a:extLst>
          </p:cNvPr>
          <p:cNvSpPr txBox="1"/>
          <p:nvPr/>
        </p:nvSpPr>
        <p:spPr>
          <a:xfrm>
            <a:off x="455399" y="3599935"/>
            <a:ext cx="1061815" cy="557451"/>
          </a:xfrm>
          <a:prstGeom prst="rect">
            <a:avLst/>
          </a:prstGeom>
          <a:solidFill>
            <a:schemeClr val="bg1"/>
          </a:solidFill>
        </p:spPr>
        <p:txBody>
          <a:bodyPr wrap="square" lIns="0" tIns="36000" rIns="0" bIns="36000" rtlCol="0">
            <a:spAutoFit/>
          </a:bodyPr>
          <a:lstStyle/>
          <a:p>
            <a:pPr algn="ctr"/>
            <a:r>
              <a:rPr lang="en-GB" sz="1050">
                <a:solidFill>
                  <a:schemeClr val="tx2"/>
                </a:solidFill>
                <a:latin typeface="Trebuchet MS" panose="020B0603020202020204" pitchFamily="34" charset="0"/>
              </a:rPr>
              <a:t>Right to distribute D&amp;B’s products</a:t>
            </a:r>
          </a:p>
        </p:txBody>
      </p:sp>
      <p:cxnSp>
        <p:nvCxnSpPr>
          <p:cNvPr id="45" name="Straight Arrow Connector 44">
            <a:extLst>
              <a:ext uri="{FF2B5EF4-FFF2-40B4-BE49-F238E27FC236}">
                <a16:creationId xmlns:a16="http://schemas.microsoft.com/office/drawing/2014/main" id="{3C5DC402-E7D1-4550-98AB-A3889B736D18}"/>
              </a:ext>
            </a:extLst>
          </p:cNvPr>
          <p:cNvCxnSpPr>
            <a:cxnSpLocks/>
          </p:cNvCxnSpPr>
          <p:nvPr/>
        </p:nvCxnSpPr>
        <p:spPr bwMode="auto">
          <a:xfrm>
            <a:off x="1958459" y="3143979"/>
            <a:ext cx="0" cy="1624422"/>
          </a:xfrm>
          <a:prstGeom prst="straightConnector1">
            <a:avLst/>
          </a:prstGeom>
          <a:solidFill>
            <a:schemeClr val="accent1"/>
          </a:solidFill>
          <a:ln w="38100" cap="flat" cmpd="sng" algn="ctr">
            <a:solidFill>
              <a:schemeClr val="tx2"/>
            </a:solidFill>
            <a:prstDash val="solid"/>
            <a:round/>
            <a:headEnd type="none" w="med" len="med"/>
            <a:tailEnd type="triangle"/>
          </a:ln>
          <a:effectLst/>
        </p:spPr>
      </p:cxnSp>
      <p:sp>
        <p:nvSpPr>
          <p:cNvPr id="46" name="TextBox 45">
            <a:extLst>
              <a:ext uri="{FF2B5EF4-FFF2-40B4-BE49-F238E27FC236}">
                <a16:creationId xmlns:a16="http://schemas.microsoft.com/office/drawing/2014/main" id="{7AA171B6-D675-4A57-8F2E-A610989ACE3E}"/>
              </a:ext>
            </a:extLst>
          </p:cNvPr>
          <p:cNvSpPr txBox="1"/>
          <p:nvPr/>
        </p:nvSpPr>
        <p:spPr>
          <a:xfrm>
            <a:off x="1440945" y="3693365"/>
            <a:ext cx="1061815" cy="395868"/>
          </a:xfrm>
          <a:prstGeom prst="rect">
            <a:avLst/>
          </a:prstGeom>
          <a:solidFill>
            <a:schemeClr val="bg1"/>
          </a:solidFill>
        </p:spPr>
        <p:txBody>
          <a:bodyPr wrap="square" lIns="0" tIns="36000" rIns="0" bIns="36000" rtlCol="0">
            <a:spAutoFit/>
          </a:bodyPr>
          <a:lstStyle/>
          <a:p>
            <a:pPr algn="ctr"/>
            <a:r>
              <a:rPr lang="en-GB" sz="1050">
                <a:solidFill>
                  <a:schemeClr val="tx2"/>
                </a:solidFill>
                <a:latin typeface="Trebuchet MS" panose="020B0603020202020204" pitchFamily="34" charset="0"/>
              </a:rPr>
              <a:t>International data </a:t>
            </a:r>
          </a:p>
        </p:txBody>
      </p:sp>
      <p:cxnSp>
        <p:nvCxnSpPr>
          <p:cNvPr id="30" name="Straight Arrow Connector 29">
            <a:extLst>
              <a:ext uri="{FF2B5EF4-FFF2-40B4-BE49-F238E27FC236}">
                <a16:creationId xmlns:a16="http://schemas.microsoft.com/office/drawing/2014/main" id="{0487546A-00AC-4DC9-AD2A-3C78FDBA26B9}"/>
              </a:ext>
            </a:extLst>
          </p:cNvPr>
          <p:cNvCxnSpPr>
            <a:cxnSpLocks/>
          </p:cNvCxnSpPr>
          <p:nvPr/>
        </p:nvCxnSpPr>
        <p:spPr bwMode="auto">
          <a:xfrm flipV="1">
            <a:off x="3578340" y="3143979"/>
            <a:ext cx="0" cy="1624422"/>
          </a:xfrm>
          <a:prstGeom prst="straightConnector1">
            <a:avLst/>
          </a:prstGeom>
          <a:solidFill>
            <a:schemeClr val="accent1"/>
          </a:solidFill>
          <a:ln w="38100" cap="flat" cmpd="sng" algn="ctr">
            <a:solidFill>
              <a:schemeClr val="accent1"/>
            </a:solidFill>
            <a:prstDash val="solid"/>
            <a:round/>
            <a:headEnd type="none" w="med" len="med"/>
            <a:tailEnd type="triangle"/>
          </a:ln>
          <a:effectLst/>
        </p:spPr>
      </p:cxnSp>
      <p:cxnSp>
        <p:nvCxnSpPr>
          <p:cNvPr id="49" name="Straight Arrow Connector 48">
            <a:extLst>
              <a:ext uri="{FF2B5EF4-FFF2-40B4-BE49-F238E27FC236}">
                <a16:creationId xmlns:a16="http://schemas.microsoft.com/office/drawing/2014/main" id="{BB5B9C8E-9201-47D0-8521-13722C1737C1}"/>
              </a:ext>
            </a:extLst>
          </p:cNvPr>
          <p:cNvCxnSpPr>
            <a:cxnSpLocks/>
          </p:cNvCxnSpPr>
          <p:nvPr/>
        </p:nvCxnSpPr>
        <p:spPr bwMode="auto">
          <a:xfrm flipV="1">
            <a:off x="4709363" y="3143979"/>
            <a:ext cx="0" cy="1624422"/>
          </a:xfrm>
          <a:prstGeom prst="straightConnector1">
            <a:avLst/>
          </a:prstGeom>
          <a:solidFill>
            <a:schemeClr val="accent1"/>
          </a:solidFill>
          <a:ln w="38100" cap="flat" cmpd="sng" algn="ctr">
            <a:solidFill>
              <a:schemeClr val="accent1"/>
            </a:solidFill>
            <a:prstDash val="solid"/>
            <a:round/>
            <a:headEnd type="none" w="med" len="med"/>
            <a:tailEnd type="triangle"/>
          </a:ln>
          <a:effectLst/>
        </p:spPr>
      </p:cxnSp>
      <p:sp>
        <p:nvSpPr>
          <p:cNvPr id="50" name="TextBox 49">
            <a:extLst>
              <a:ext uri="{FF2B5EF4-FFF2-40B4-BE49-F238E27FC236}">
                <a16:creationId xmlns:a16="http://schemas.microsoft.com/office/drawing/2014/main" id="{0FB08CBD-9AC5-4851-A5BD-5BCC4F8EF6F4}"/>
              </a:ext>
            </a:extLst>
          </p:cNvPr>
          <p:cNvSpPr txBox="1"/>
          <p:nvPr/>
        </p:nvSpPr>
        <p:spPr>
          <a:xfrm>
            <a:off x="3047433" y="3693365"/>
            <a:ext cx="1061815" cy="395868"/>
          </a:xfrm>
          <a:prstGeom prst="rect">
            <a:avLst/>
          </a:prstGeom>
          <a:solidFill>
            <a:schemeClr val="bg1"/>
          </a:solidFill>
        </p:spPr>
        <p:txBody>
          <a:bodyPr wrap="square" lIns="0" tIns="36000" rIns="0" bIns="36000" rtlCol="0">
            <a:spAutoFit/>
          </a:bodyPr>
          <a:lstStyle/>
          <a:p>
            <a:pPr algn="ctr"/>
            <a:r>
              <a:rPr lang="en-GB" sz="1050">
                <a:solidFill>
                  <a:schemeClr val="accent1"/>
                </a:solidFill>
                <a:latin typeface="Trebuchet MS" panose="020B0603020202020204" pitchFamily="34" charset="0"/>
              </a:rPr>
              <a:t>Locally collected data </a:t>
            </a:r>
          </a:p>
        </p:txBody>
      </p:sp>
      <p:sp>
        <p:nvSpPr>
          <p:cNvPr id="51" name="TextBox 50">
            <a:extLst>
              <a:ext uri="{FF2B5EF4-FFF2-40B4-BE49-F238E27FC236}">
                <a16:creationId xmlns:a16="http://schemas.microsoft.com/office/drawing/2014/main" id="{8B73B36D-0053-41C7-8D55-C6A881E58ECC}"/>
              </a:ext>
            </a:extLst>
          </p:cNvPr>
          <p:cNvSpPr txBox="1"/>
          <p:nvPr/>
        </p:nvSpPr>
        <p:spPr>
          <a:xfrm>
            <a:off x="4178455" y="3496670"/>
            <a:ext cx="1061815" cy="557451"/>
          </a:xfrm>
          <a:prstGeom prst="rect">
            <a:avLst/>
          </a:prstGeom>
          <a:solidFill>
            <a:schemeClr val="bg1"/>
          </a:solidFill>
        </p:spPr>
        <p:txBody>
          <a:bodyPr wrap="square" lIns="0" tIns="36000" rIns="0" bIns="36000" rtlCol="0">
            <a:spAutoFit/>
          </a:bodyPr>
          <a:lstStyle>
            <a:defPPr>
              <a:defRPr lang="en-US"/>
            </a:defPPr>
            <a:lvl1pPr algn="ctr">
              <a:defRPr sz="1200">
                <a:solidFill>
                  <a:schemeClr val="accent1"/>
                </a:solidFill>
                <a:latin typeface="+mj-lt"/>
              </a:defRPr>
            </a:lvl1pPr>
          </a:lstStyle>
          <a:p>
            <a:r>
              <a:rPr lang="en-GB" sz="1050">
                <a:latin typeface="Trebuchet MS" panose="020B0603020202020204" pitchFamily="34" charset="0"/>
              </a:rPr>
              <a:t>Restricted activity in D&amp;B’s other locations</a:t>
            </a:r>
          </a:p>
        </p:txBody>
      </p:sp>
      <p:pic>
        <p:nvPicPr>
          <p:cNvPr id="35842" name="Picture 2" descr="Icône italie, drapeau, drapeaux">
            <a:extLst>
              <a:ext uri="{FF2B5EF4-FFF2-40B4-BE49-F238E27FC236}">
                <a16:creationId xmlns:a16="http://schemas.microsoft.com/office/drawing/2014/main" id="{622F792D-B41C-4EA0-A47B-BB0D49F969E9}"/>
              </a:ext>
            </a:extLst>
          </p:cNvPr>
          <p:cNvPicPr>
            <a:picLocks noChangeArrowheads="1"/>
          </p:cNvPicPr>
          <p:nvPr/>
        </p:nvPicPr>
        <p:blipFill rotWithShape="1">
          <a:blip r:embed="rId10">
            <a:extLst>
              <a:ext uri="{28A0092B-C50C-407E-A947-70E740481C1C}">
                <a14:useLocalDpi xmlns:a14="http://schemas.microsoft.com/office/drawing/2010/main" val="0"/>
              </a:ext>
            </a:extLst>
          </a:blip>
          <a:srcRect t="23305" b="23052"/>
          <a:stretch/>
        </p:blipFill>
        <p:spPr bwMode="auto">
          <a:xfrm>
            <a:off x="4795817" y="4923857"/>
            <a:ext cx="360000" cy="253312"/>
          </a:xfrm>
          <a:prstGeom prst="rect">
            <a:avLst/>
          </a:prstGeom>
          <a:noFill/>
          <a:extLst>
            <a:ext uri="{909E8E84-426E-40DD-AFC4-6F175D3DCCD1}">
              <a14:hiddenFill xmlns:a14="http://schemas.microsoft.com/office/drawing/2010/main">
                <a:solidFill>
                  <a:srgbClr val="FFFFFF"/>
                </a:solidFill>
              </a14:hiddenFill>
            </a:ext>
          </a:extLst>
        </p:spPr>
      </p:pic>
      <p:cxnSp>
        <p:nvCxnSpPr>
          <p:cNvPr id="43" name="Connecteur droit 42">
            <a:extLst>
              <a:ext uri="{FF2B5EF4-FFF2-40B4-BE49-F238E27FC236}">
                <a16:creationId xmlns:a16="http://schemas.microsoft.com/office/drawing/2014/main" id="{0EB19500-0479-46FD-BF0D-D7C3D925604E}"/>
              </a:ext>
            </a:extLst>
          </p:cNvPr>
          <p:cNvCxnSpPr/>
          <p:nvPr/>
        </p:nvCxnSpPr>
        <p:spPr bwMode="auto">
          <a:xfrm flipH="1">
            <a:off x="5731793" y="1418546"/>
            <a:ext cx="0" cy="487872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48" name="Rectangle 47">
            <a:extLst>
              <a:ext uri="{FF2B5EF4-FFF2-40B4-BE49-F238E27FC236}">
                <a16:creationId xmlns:a16="http://schemas.microsoft.com/office/drawing/2014/main" id="{DA39BB39-71E7-4B02-8DA6-400CE4DC2842}"/>
              </a:ext>
            </a:extLst>
          </p:cNvPr>
          <p:cNvSpPr/>
          <p:nvPr/>
        </p:nvSpPr>
        <p:spPr bwMode="auto">
          <a:xfrm>
            <a:off x="7674954" y="5156595"/>
            <a:ext cx="2153091" cy="24765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grpSp>
        <p:nvGrpSpPr>
          <p:cNvPr id="52" name="Groupe 51">
            <a:extLst>
              <a:ext uri="{FF2B5EF4-FFF2-40B4-BE49-F238E27FC236}">
                <a16:creationId xmlns:a16="http://schemas.microsoft.com/office/drawing/2014/main" id="{17AC9F58-46EF-44F0-8B46-347F0899FBCA}"/>
              </a:ext>
            </a:extLst>
          </p:cNvPr>
          <p:cNvGrpSpPr/>
          <p:nvPr/>
        </p:nvGrpSpPr>
        <p:grpSpPr>
          <a:xfrm>
            <a:off x="6458462" y="5958712"/>
            <a:ext cx="2875456" cy="370831"/>
            <a:chOff x="621784" y="6185427"/>
            <a:chExt cx="2875456" cy="370831"/>
          </a:xfrm>
        </p:grpSpPr>
        <p:sp>
          <p:nvSpPr>
            <p:cNvPr id="53" name="Rectangle 52">
              <a:extLst>
                <a:ext uri="{FF2B5EF4-FFF2-40B4-BE49-F238E27FC236}">
                  <a16:creationId xmlns:a16="http://schemas.microsoft.com/office/drawing/2014/main" id="{527B38DD-6F64-4934-ABE7-C2FA8096D557}"/>
                </a:ext>
              </a:extLst>
            </p:cNvPr>
            <p:cNvSpPr/>
            <p:nvPr/>
          </p:nvSpPr>
          <p:spPr bwMode="auto">
            <a:xfrm>
              <a:off x="621784" y="6278800"/>
              <a:ext cx="252000" cy="144000"/>
            </a:xfrm>
            <a:prstGeom prst="rect">
              <a:avLst/>
            </a:prstGeom>
            <a:solidFill>
              <a:srgbClr val="4396B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sp>
          <p:nvSpPr>
            <p:cNvPr id="54" name="Rectangle 53">
              <a:extLst>
                <a:ext uri="{FF2B5EF4-FFF2-40B4-BE49-F238E27FC236}">
                  <a16:creationId xmlns:a16="http://schemas.microsoft.com/office/drawing/2014/main" id="{5DC5F897-DE98-4082-8A11-CBDF6EB9C83E}"/>
                </a:ext>
              </a:extLst>
            </p:cNvPr>
            <p:cNvSpPr/>
            <p:nvPr/>
          </p:nvSpPr>
          <p:spPr bwMode="auto">
            <a:xfrm>
              <a:off x="1337577" y="6278800"/>
              <a:ext cx="252000" cy="144000"/>
            </a:xfrm>
            <a:prstGeom prst="rect">
              <a:avLst/>
            </a:prstGeom>
            <a:solidFill>
              <a:srgbClr val="4E4E50"/>
            </a:solidFill>
            <a:ln w="9525" cap="flat" cmpd="sng" algn="ctr">
              <a:solidFill>
                <a:srgbClr val="49494A"/>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sp>
          <p:nvSpPr>
            <p:cNvPr id="55" name="ZoneTexte 54">
              <a:extLst>
                <a:ext uri="{FF2B5EF4-FFF2-40B4-BE49-F238E27FC236}">
                  <a16:creationId xmlns:a16="http://schemas.microsoft.com/office/drawing/2014/main" id="{E043D22F-F003-4FDF-A8BC-A7E7F368CB45}"/>
                </a:ext>
              </a:extLst>
            </p:cNvPr>
            <p:cNvSpPr txBox="1"/>
            <p:nvPr/>
          </p:nvSpPr>
          <p:spPr>
            <a:xfrm>
              <a:off x="837390" y="6217704"/>
              <a:ext cx="518160" cy="338554"/>
            </a:xfrm>
            <a:prstGeom prst="rect">
              <a:avLst/>
            </a:prstGeom>
            <a:noFill/>
          </p:spPr>
          <p:txBody>
            <a:bodyPr wrap="square" rtlCol="0">
              <a:spAutoFit/>
            </a:bodyPr>
            <a:lstStyle/>
            <a:p>
              <a:r>
                <a:rPr lang="en-GB" sz="800">
                  <a:latin typeface="+mj-lt"/>
                </a:rPr>
                <a:t>D&amp;B owned</a:t>
              </a:r>
            </a:p>
          </p:txBody>
        </p:sp>
        <p:sp>
          <p:nvSpPr>
            <p:cNvPr id="56" name="ZoneTexte 55">
              <a:extLst>
                <a:ext uri="{FF2B5EF4-FFF2-40B4-BE49-F238E27FC236}">
                  <a16:creationId xmlns:a16="http://schemas.microsoft.com/office/drawing/2014/main" id="{DCA8E462-289F-4A4E-BC94-1A5D5E9EE50A}"/>
                </a:ext>
              </a:extLst>
            </p:cNvPr>
            <p:cNvSpPr txBox="1"/>
            <p:nvPr/>
          </p:nvSpPr>
          <p:spPr>
            <a:xfrm>
              <a:off x="1589577" y="6185427"/>
              <a:ext cx="781973" cy="338554"/>
            </a:xfrm>
            <a:prstGeom prst="rect">
              <a:avLst/>
            </a:prstGeom>
            <a:noFill/>
          </p:spPr>
          <p:txBody>
            <a:bodyPr wrap="square" rtlCol="0">
              <a:spAutoFit/>
            </a:bodyPr>
            <a:lstStyle/>
            <a:p>
              <a:r>
                <a:rPr lang="en-GB" sz="800">
                  <a:latin typeface="+mj-lt"/>
                </a:rPr>
                <a:t>Partner owned</a:t>
              </a:r>
            </a:p>
          </p:txBody>
        </p:sp>
        <p:sp>
          <p:nvSpPr>
            <p:cNvPr id="60" name="Rectangle 59">
              <a:extLst>
                <a:ext uri="{FF2B5EF4-FFF2-40B4-BE49-F238E27FC236}">
                  <a16:creationId xmlns:a16="http://schemas.microsoft.com/office/drawing/2014/main" id="{F44C3293-8D06-4BDA-90D9-888D37C6CE49}"/>
                </a:ext>
              </a:extLst>
            </p:cNvPr>
            <p:cNvSpPr/>
            <p:nvPr/>
          </p:nvSpPr>
          <p:spPr bwMode="auto">
            <a:xfrm>
              <a:off x="2211267" y="6278800"/>
              <a:ext cx="252000" cy="144000"/>
            </a:xfrm>
            <a:prstGeom prst="rect">
              <a:avLst/>
            </a:prstGeom>
            <a:solidFill>
              <a:srgbClr val="AAA9A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sp>
          <p:nvSpPr>
            <p:cNvPr id="61" name="ZoneTexte 60">
              <a:extLst>
                <a:ext uri="{FF2B5EF4-FFF2-40B4-BE49-F238E27FC236}">
                  <a16:creationId xmlns:a16="http://schemas.microsoft.com/office/drawing/2014/main" id="{40EFC281-37EC-4C2E-A2F2-EC168E0B943B}"/>
                </a:ext>
              </a:extLst>
            </p:cNvPr>
            <p:cNvSpPr txBox="1"/>
            <p:nvPr/>
          </p:nvSpPr>
          <p:spPr>
            <a:xfrm>
              <a:off x="2463267" y="6243078"/>
              <a:ext cx="1033973" cy="215444"/>
            </a:xfrm>
            <a:prstGeom prst="rect">
              <a:avLst/>
            </a:prstGeom>
            <a:noFill/>
          </p:spPr>
          <p:txBody>
            <a:bodyPr wrap="square" rtlCol="0">
              <a:spAutoFit/>
            </a:bodyPr>
            <a:lstStyle/>
            <a:p>
              <a:r>
                <a:rPr lang="en-GB" sz="800">
                  <a:latin typeface="+mj-lt"/>
                </a:rPr>
                <a:t>Correspondents</a:t>
              </a:r>
            </a:p>
          </p:txBody>
        </p:sp>
      </p:grpSp>
      <p:sp>
        <p:nvSpPr>
          <p:cNvPr id="14" name="ZoneTexte 13">
            <a:extLst>
              <a:ext uri="{FF2B5EF4-FFF2-40B4-BE49-F238E27FC236}">
                <a16:creationId xmlns:a16="http://schemas.microsoft.com/office/drawing/2014/main" id="{47F8B9AE-21B2-4FA8-A3DE-16AF7F72F8F9}"/>
              </a:ext>
            </a:extLst>
          </p:cNvPr>
          <p:cNvSpPr txBox="1"/>
          <p:nvPr/>
        </p:nvSpPr>
        <p:spPr>
          <a:xfrm>
            <a:off x="5970211" y="1751369"/>
            <a:ext cx="3786677" cy="1938992"/>
          </a:xfrm>
          <a:prstGeom prst="rect">
            <a:avLst/>
          </a:prstGeom>
          <a:noFill/>
        </p:spPr>
        <p:txBody>
          <a:bodyPr wrap="square" rtlCol="0">
            <a:spAutoFit/>
          </a:bodyPr>
          <a:lstStyle/>
          <a:p>
            <a:r>
              <a:rPr lang="en-GB" sz="1000">
                <a:latin typeface="Trebuchet MS" panose="020B0603020202020204" pitchFamily="34" charset="0"/>
              </a:rPr>
              <a:t>D&amp;B international network is organized around </a:t>
            </a:r>
            <a:r>
              <a:rPr lang="en-GB" sz="1000">
                <a:solidFill>
                  <a:schemeClr val="tx2"/>
                </a:solidFill>
                <a:latin typeface="Trebuchet MS" panose="020B0603020202020204" pitchFamily="34" charset="0"/>
              </a:rPr>
              <a:t>four types of structures</a:t>
            </a:r>
            <a:r>
              <a:rPr lang="en-GB" sz="1000">
                <a:latin typeface="Trebuchet MS" panose="020B0603020202020204" pitchFamily="34" charset="0"/>
              </a:rPr>
              <a:t>: </a:t>
            </a:r>
          </a:p>
          <a:p>
            <a:endParaRPr lang="en-GB" sz="1000">
              <a:latin typeface="Trebuchet MS" panose="020B0603020202020204" pitchFamily="34" charset="0"/>
            </a:endParaRPr>
          </a:p>
          <a:p>
            <a:pPr marL="228600" indent="-228600">
              <a:buFont typeface="+mj-lt"/>
              <a:buAutoNum type="arabicPeriod"/>
            </a:pPr>
            <a:r>
              <a:rPr lang="en-GB" sz="1000">
                <a:solidFill>
                  <a:schemeClr val="tx2"/>
                </a:solidFill>
                <a:latin typeface="Trebuchet MS" panose="020B0603020202020204" pitchFamily="34" charset="0"/>
              </a:rPr>
              <a:t>Own subsidiaries: </a:t>
            </a:r>
            <a:r>
              <a:rPr lang="en-GB" sz="1000">
                <a:latin typeface="Trebuchet MS" panose="020B0603020202020204" pitchFamily="34" charset="0"/>
              </a:rPr>
              <a:t>16 subsidiaries including the United Kingdom, Canada...</a:t>
            </a:r>
          </a:p>
          <a:p>
            <a:pPr marL="228600" indent="-228600">
              <a:buFont typeface="+mj-lt"/>
              <a:buAutoNum type="arabicPeriod"/>
            </a:pPr>
            <a:endParaRPr lang="en-GB" sz="1000">
              <a:solidFill>
                <a:schemeClr val="tx2"/>
              </a:solidFill>
              <a:latin typeface="Trebuchet MS" panose="020B0603020202020204" pitchFamily="34" charset="0"/>
            </a:endParaRPr>
          </a:p>
          <a:p>
            <a:pPr marL="228600" indent="-228600">
              <a:buFont typeface="+mj-lt"/>
              <a:buAutoNum type="arabicPeriod"/>
            </a:pPr>
            <a:r>
              <a:rPr lang="en-GB" sz="1000">
                <a:solidFill>
                  <a:schemeClr val="tx2"/>
                </a:solidFill>
                <a:latin typeface="Trebuchet MS" panose="020B0603020202020204" pitchFamily="34" charset="0"/>
              </a:rPr>
              <a:t>Exclusive partners: </a:t>
            </a:r>
            <a:r>
              <a:rPr lang="en-GB" sz="1000">
                <a:latin typeface="Trebuchet MS" panose="020B0603020202020204" pitchFamily="34" charset="0"/>
              </a:rPr>
              <a:t>the main exclusive partners are Bisnode, </a:t>
            </a:r>
            <a:r>
              <a:rPr lang="en-GB" sz="1000" err="1">
                <a:latin typeface="Trebuchet MS" panose="020B0603020202020204" pitchFamily="34" charset="0"/>
              </a:rPr>
              <a:t>Altares</a:t>
            </a:r>
            <a:r>
              <a:rPr lang="en-GB" sz="1000">
                <a:latin typeface="Trebuchet MS" panose="020B0603020202020204" pitchFamily="34" charset="0"/>
              </a:rPr>
              <a:t>, Informa and </a:t>
            </a:r>
            <a:r>
              <a:rPr lang="en-GB" sz="1000" err="1">
                <a:latin typeface="Trebuchet MS" panose="020B0603020202020204" pitchFamily="34" charset="0"/>
              </a:rPr>
              <a:t>Icap</a:t>
            </a:r>
            <a:r>
              <a:rPr lang="en-GB" sz="1000">
                <a:latin typeface="Trebuchet MS" panose="020B0603020202020204" pitchFamily="34" charset="0"/>
              </a:rPr>
              <a:t> ... </a:t>
            </a:r>
          </a:p>
          <a:p>
            <a:pPr marL="228600" indent="-228600">
              <a:buFont typeface="+mj-lt"/>
              <a:buAutoNum type="arabicPeriod"/>
            </a:pPr>
            <a:endParaRPr lang="en-GB" sz="1000">
              <a:latin typeface="Trebuchet MS" panose="020B0603020202020204" pitchFamily="34" charset="0"/>
            </a:endParaRPr>
          </a:p>
          <a:p>
            <a:pPr marL="228600" indent="-228600">
              <a:buFont typeface="+mj-lt"/>
              <a:buAutoNum type="arabicPeriod"/>
            </a:pPr>
            <a:r>
              <a:rPr lang="en-GB" sz="1000">
                <a:solidFill>
                  <a:schemeClr val="tx2"/>
                </a:solidFill>
                <a:latin typeface="Trebuchet MS" panose="020B0603020202020204" pitchFamily="34" charset="0"/>
              </a:rPr>
              <a:t>Correspondents: </a:t>
            </a:r>
            <a:r>
              <a:rPr lang="en-GB" sz="1000">
                <a:latin typeface="Trebuchet MS" panose="020B0603020202020204" pitchFamily="34" charset="0"/>
              </a:rPr>
              <a:t>9 correspondents including Chile, Venezuela, Iceland, Estonia...</a:t>
            </a:r>
          </a:p>
          <a:p>
            <a:pPr marL="228600" indent="-228600">
              <a:buFont typeface="+mj-lt"/>
              <a:buAutoNum type="arabicPeriod"/>
            </a:pPr>
            <a:endParaRPr lang="en-GB" sz="1000">
              <a:latin typeface="Trebuchet MS" panose="020B0603020202020204" pitchFamily="34" charset="0"/>
            </a:endParaRPr>
          </a:p>
        </p:txBody>
      </p:sp>
      <p:pic>
        <p:nvPicPr>
          <p:cNvPr id="15" name="Image 14">
            <a:extLst>
              <a:ext uri="{FF2B5EF4-FFF2-40B4-BE49-F238E27FC236}">
                <a16:creationId xmlns:a16="http://schemas.microsoft.com/office/drawing/2014/main" id="{E7D54BD3-8E60-401C-B5D4-E8B65FF09F68}"/>
              </a:ext>
            </a:extLst>
          </p:cNvPr>
          <p:cNvPicPr>
            <a:picLocks noChangeAspect="1"/>
          </p:cNvPicPr>
          <p:nvPr/>
        </p:nvPicPr>
        <p:blipFill>
          <a:blip r:embed="rId11"/>
          <a:stretch>
            <a:fillRect/>
          </a:stretch>
        </p:blipFill>
        <p:spPr>
          <a:xfrm>
            <a:off x="5987673" y="3585681"/>
            <a:ext cx="3765356" cy="2318506"/>
          </a:xfrm>
          <a:prstGeom prst="rect">
            <a:avLst/>
          </a:prstGeom>
        </p:spPr>
      </p:pic>
      <p:grpSp>
        <p:nvGrpSpPr>
          <p:cNvPr id="47" name="Groupe 66">
            <a:extLst>
              <a:ext uri="{FF2B5EF4-FFF2-40B4-BE49-F238E27FC236}">
                <a16:creationId xmlns:a16="http://schemas.microsoft.com/office/drawing/2014/main" id="{EEB49352-963B-44CA-AF9E-F0A102B9B385}"/>
              </a:ext>
            </a:extLst>
          </p:cNvPr>
          <p:cNvGrpSpPr/>
          <p:nvPr/>
        </p:nvGrpSpPr>
        <p:grpSpPr>
          <a:xfrm>
            <a:off x="8448150" y="-11528"/>
            <a:ext cx="1435548" cy="588143"/>
            <a:chOff x="8448150" y="-11528"/>
            <a:chExt cx="1435548" cy="588143"/>
          </a:xfrm>
        </p:grpSpPr>
        <p:sp>
          <p:nvSpPr>
            <p:cNvPr id="57" name="Rectangle : coins arrondis 199">
              <a:extLst>
                <a:ext uri="{FF2B5EF4-FFF2-40B4-BE49-F238E27FC236}">
                  <a16:creationId xmlns:a16="http://schemas.microsoft.com/office/drawing/2014/main" id="{D84114BE-6388-4778-9E60-8DE843228415}"/>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8" name="Rectangle : coins arrondis 200">
              <a:extLst>
                <a:ext uri="{FF2B5EF4-FFF2-40B4-BE49-F238E27FC236}">
                  <a16:creationId xmlns:a16="http://schemas.microsoft.com/office/drawing/2014/main" id="{2C19AC48-3984-4CE4-A14D-B0F9D81FB698}"/>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9" name="Rectangle : coins arrondis 201">
              <a:extLst>
                <a:ext uri="{FF2B5EF4-FFF2-40B4-BE49-F238E27FC236}">
                  <a16:creationId xmlns:a16="http://schemas.microsoft.com/office/drawing/2014/main" id="{9A5E030B-349A-4E48-8B58-B78F7E7921E8}"/>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2" name="ZoneTexte 18">
              <a:extLst>
                <a:ext uri="{FF2B5EF4-FFF2-40B4-BE49-F238E27FC236}">
                  <a16:creationId xmlns:a16="http://schemas.microsoft.com/office/drawing/2014/main" id="{1CE405E6-2306-4111-8285-7B4BD8FFF755}"/>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Partnership with D&amp;B</a:t>
              </a:r>
            </a:p>
          </p:txBody>
        </p:sp>
        <p:pic>
          <p:nvPicPr>
            <p:cNvPr id="63" name="Graphique 128" descr="Jauge">
              <a:extLst>
                <a:ext uri="{FF2B5EF4-FFF2-40B4-BE49-F238E27FC236}">
                  <a16:creationId xmlns:a16="http://schemas.microsoft.com/office/drawing/2014/main" id="{D085FC49-8796-487F-9C1A-608AB3EF70A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53764" y="187516"/>
              <a:ext cx="234953" cy="218224"/>
            </a:xfrm>
            <a:prstGeom prst="rect">
              <a:avLst/>
            </a:prstGeom>
            <a:effectLst/>
          </p:spPr>
        </p:pic>
        <p:pic>
          <p:nvPicPr>
            <p:cNvPr id="64" name="Graphique 90" descr="Poignée de main">
              <a:extLst>
                <a:ext uri="{FF2B5EF4-FFF2-40B4-BE49-F238E27FC236}">
                  <a16:creationId xmlns:a16="http://schemas.microsoft.com/office/drawing/2014/main" id="{BE315118-525D-4855-950A-0CE34F10B02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960868" y="152880"/>
              <a:ext cx="256313" cy="287496"/>
            </a:xfrm>
            <a:prstGeom prst="rect">
              <a:avLst/>
            </a:prstGeom>
            <a:effectLst/>
          </p:spPr>
        </p:pic>
        <p:pic>
          <p:nvPicPr>
            <p:cNvPr id="65" name="Graphique 96" descr="Mégaphone">
              <a:extLst>
                <a:ext uri="{FF2B5EF4-FFF2-40B4-BE49-F238E27FC236}">
                  <a16:creationId xmlns:a16="http://schemas.microsoft.com/office/drawing/2014/main" id="{B2088D01-BF38-4E9D-AEAD-571BE525E08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89331" y="181519"/>
              <a:ext cx="233011" cy="216420"/>
            </a:xfrm>
            <a:prstGeom prst="rect">
              <a:avLst/>
            </a:prstGeom>
            <a:effectLst/>
          </p:spPr>
        </p:pic>
        <p:pic>
          <p:nvPicPr>
            <p:cNvPr id="66" name="Picture 2" descr="Drapeau France">
              <a:extLst>
                <a:ext uri="{FF2B5EF4-FFF2-40B4-BE49-F238E27FC236}">
                  <a16:creationId xmlns:a16="http://schemas.microsoft.com/office/drawing/2014/main" id="{94B6513E-BFC4-47BF-8BA3-4A129D84EF28}"/>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7" name="Picture 2" descr="5 ft x 3 ft 150 x 90 cm-DRAPEAU BELGE Belgique 100% Polyester ...">
              <a:extLst>
                <a:ext uri="{FF2B5EF4-FFF2-40B4-BE49-F238E27FC236}">
                  <a16:creationId xmlns:a16="http://schemas.microsoft.com/office/drawing/2014/main" id="{8EA6C4E7-4788-42AE-BCD8-442428756EDA}"/>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8" name="Picture 2 - 1" descr="Drapeau des Pays-Bas — Wikipédia">
              <a:extLst>
                <a:ext uri="{FF2B5EF4-FFF2-40B4-BE49-F238E27FC236}">
                  <a16:creationId xmlns:a16="http://schemas.microsoft.com/office/drawing/2014/main" id="{FD8C81EF-44A9-495A-9230-A0E158AAE4ED}"/>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9" name="Picture 2 - 2" descr="Drapeau du Luxembourg">
              <a:extLst>
                <a:ext uri="{FF2B5EF4-FFF2-40B4-BE49-F238E27FC236}">
                  <a16:creationId xmlns:a16="http://schemas.microsoft.com/office/drawing/2014/main" id="{1747EA3E-4E31-4434-B869-A70E9304414D}"/>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70" name="ZoneTexte 18">
              <a:extLst>
                <a:ext uri="{FF2B5EF4-FFF2-40B4-BE49-F238E27FC236}">
                  <a16:creationId xmlns:a16="http://schemas.microsoft.com/office/drawing/2014/main" id="{F0E165F4-EEAE-42A9-BAA3-EF25E2C18EDD}"/>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pic>
        <p:nvPicPr>
          <p:cNvPr id="9" name="Picture 8" descr="A picture containing sitting, food, drawing&#10;&#10;Description automatically generated">
            <a:extLst>
              <a:ext uri="{FF2B5EF4-FFF2-40B4-BE49-F238E27FC236}">
                <a16:creationId xmlns:a16="http://schemas.microsoft.com/office/drawing/2014/main" id="{61C9B4D2-51C8-4078-A9A8-DCF5366C3B1A}"/>
              </a:ext>
            </a:extLst>
          </p:cNvPr>
          <p:cNvPicPr>
            <a:picLocks noChangeAspect="1"/>
          </p:cNvPicPr>
          <p:nvPr/>
        </p:nvPicPr>
        <p:blipFill rotWithShape="1">
          <a:blip r:embed="rId22">
            <a:extLst>
              <a:ext uri="{28A0092B-C50C-407E-A947-70E740481C1C}">
                <a14:useLocalDpi xmlns:a14="http://schemas.microsoft.com/office/drawing/2010/main" val="0"/>
              </a:ext>
            </a:extLst>
          </a:blip>
          <a:srcRect t="34524"/>
          <a:stretch/>
        </p:blipFill>
        <p:spPr>
          <a:xfrm>
            <a:off x="2367360" y="5096236"/>
            <a:ext cx="805363" cy="358427"/>
          </a:xfrm>
          <a:prstGeom prst="rect">
            <a:avLst/>
          </a:prstGeom>
        </p:spPr>
      </p:pic>
      <p:pic>
        <p:nvPicPr>
          <p:cNvPr id="4" name="Picture 2" descr="Altares D&amp;B | La plus grande base de données commerciale du monde">
            <a:extLst>
              <a:ext uri="{FF2B5EF4-FFF2-40B4-BE49-F238E27FC236}">
                <a16:creationId xmlns:a16="http://schemas.microsoft.com/office/drawing/2014/main" id="{AEE1968E-CC84-415B-81C9-7818EAB0D471}"/>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763658" y="4975990"/>
            <a:ext cx="630542" cy="632632"/>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descr="Drapeaux Allemagne dans différents styles">
            <a:extLst>
              <a:ext uri="{FF2B5EF4-FFF2-40B4-BE49-F238E27FC236}">
                <a16:creationId xmlns:a16="http://schemas.microsoft.com/office/drawing/2014/main" id="{B3ACB5CA-9304-4CFB-8D23-BCA6012B2AC9}"/>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3137672" y="4906934"/>
            <a:ext cx="360000" cy="310523"/>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e 17">
            <a:extLst>
              <a:ext uri="{FF2B5EF4-FFF2-40B4-BE49-F238E27FC236}">
                <a16:creationId xmlns:a16="http://schemas.microsoft.com/office/drawing/2014/main" id="{F1A46ED2-E620-4C08-87AF-62877967261E}"/>
              </a:ext>
            </a:extLst>
          </p:cNvPr>
          <p:cNvGrpSpPr/>
          <p:nvPr/>
        </p:nvGrpSpPr>
        <p:grpSpPr>
          <a:xfrm>
            <a:off x="1451765" y="4954634"/>
            <a:ext cx="499745" cy="722078"/>
            <a:chOff x="1390675" y="4697440"/>
            <a:chExt cx="731676" cy="961085"/>
          </a:xfrm>
        </p:grpSpPr>
        <p:pic>
          <p:nvPicPr>
            <p:cNvPr id="71" name="Picture 10" descr="A picture containing drawing&#10;&#10;Description automatically generated">
              <a:extLst>
                <a:ext uri="{FF2B5EF4-FFF2-40B4-BE49-F238E27FC236}">
                  <a16:creationId xmlns:a16="http://schemas.microsoft.com/office/drawing/2014/main" id="{D8A26C1E-E942-4738-A3DB-F2FFA337FEE0}"/>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762351" y="5026702"/>
              <a:ext cx="360000" cy="239999"/>
            </a:xfrm>
            <a:prstGeom prst="roundRect">
              <a:avLst/>
            </a:prstGeom>
          </p:spPr>
        </p:pic>
        <p:pic>
          <p:nvPicPr>
            <p:cNvPr id="72" name="Picture 8">
              <a:extLst>
                <a:ext uri="{FF2B5EF4-FFF2-40B4-BE49-F238E27FC236}">
                  <a16:creationId xmlns:a16="http://schemas.microsoft.com/office/drawing/2014/main" id="{1DA4DB32-32A8-42C2-A1D7-54E85CA109F6}"/>
                </a:ext>
              </a:extLst>
            </p:cNvPr>
            <p:cNvPicPr>
              <a:picLocks noChangeAspect="1"/>
            </p:cNvPicPr>
            <p:nvPr/>
          </p:nvPicPr>
          <p:blipFill>
            <a:blip r:embed="rId26"/>
            <a:stretch>
              <a:fillRect/>
            </a:stretch>
          </p:blipFill>
          <p:spPr>
            <a:xfrm>
              <a:off x="1762351" y="5294177"/>
              <a:ext cx="360000" cy="239999"/>
            </a:xfrm>
            <a:prstGeom prst="roundRect">
              <a:avLst/>
            </a:prstGeom>
            <a:ln>
              <a:solidFill>
                <a:schemeClr val="bg1">
                  <a:lumMod val="85000"/>
                </a:schemeClr>
              </a:solidFill>
            </a:ln>
          </p:spPr>
        </p:pic>
        <p:pic>
          <p:nvPicPr>
            <p:cNvPr id="73" name="Picture 11">
              <a:extLst>
                <a:ext uri="{FF2B5EF4-FFF2-40B4-BE49-F238E27FC236}">
                  <a16:creationId xmlns:a16="http://schemas.microsoft.com/office/drawing/2014/main" id="{742144EE-CF86-4E6D-AE01-31E83CED8874}"/>
                </a:ext>
              </a:extLst>
            </p:cNvPr>
            <p:cNvPicPr>
              <a:picLocks noChangeAspect="1"/>
            </p:cNvPicPr>
            <p:nvPr/>
          </p:nvPicPr>
          <p:blipFill>
            <a:blip r:embed="rId27"/>
            <a:stretch>
              <a:fillRect/>
            </a:stretch>
          </p:blipFill>
          <p:spPr>
            <a:xfrm>
              <a:off x="1762351" y="4759507"/>
              <a:ext cx="360000" cy="239718"/>
            </a:xfrm>
            <a:prstGeom prst="roundRect">
              <a:avLst/>
            </a:prstGeom>
          </p:spPr>
        </p:pic>
        <p:pic>
          <p:nvPicPr>
            <p:cNvPr id="75" name="Picture 2" descr="5 ft x 3 ft 150 x 90 cm-DRAPEAU BELGE Belgique 100% Polyester ...">
              <a:extLst>
                <a:ext uri="{FF2B5EF4-FFF2-40B4-BE49-F238E27FC236}">
                  <a16:creationId xmlns:a16="http://schemas.microsoft.com/office/drawing/2014/main" id="{4131B0EB-6D62-414A-B855-8661201E8140}"/>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3973"/>
            <a:stretch/>
          </p:blipFill>
          <p:spPr bwMode="auto">
            <a:xfrm>
              <a:off x="1390675" y="4945135"/>
              <a:ext cx="360000" cy="216998"/>
            </a:xfrm>
            <a:prstGeom prst="rect">
              <a:avLst/>
            </a:prstGeom>
            <a:solidFill>
              <a:schemeClr val="bg1"/>
            </a:solidFill>
            <a:ln w="9525" cap="flat" cmpd="sng" algn="ctr">
              <a:noFill/>
              <a:prstDash val="solid"/>
              <a:round/>
              <a:headEnd type="none" w="med" len="med"/>
              <a:tailEnd type="none" w="med" len="med"/>
            </a:ln>
            <a:effectLst/>
          </p:spPr>
        </p:pic>
        <p:pic>
          <p:nvPicPr>
            <p:cNvPr id="76" name="Picture 2 - 1" descr="Drapeau des Pays-Bas — Wikipédia">
              <a:extLst>
                <a:ext uri="{FF2B5EF4-FFF2-40B4-BE49-F238E27FC236}">
                  <a16:creationId xmlns:a16="http://schemas.microsoft.com/office/drawing/2014/main" id="{B08BBFC9-F5B2-425F-949C-99264E358BB2}"/>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390675" y="5193830"/>
              <a:ext cx="360000" cy="216999"/>
            </a:xfrm>
            <a:prstGeom prst="rect">
              <a:avLst/>
            </a:prstGeom>
            <a:solidFill>
              <a:schemeClr val="bg1"/>
            </a:solidFill>
            <a:ln w="9525" cap="flat" cmpd="sng" algn="ctr">
              <a:noFill/>
              <a:prstDash val="solid"/>
              <a:round/>
              <a:headEnd type="none" w="med" len="med"/>
              <a:tailEnd type="none" w="med" len="med"/>
            </a:ln>
            <a:effectLst/>
          </p:spPr>
        </p:pic>
        <p:pic>
          <p:nvPicPr>
            <p:cNvPr id="77" name="Picture 2 - 2" descr="Drapeau du Luxembourg">
              <a:extLst>
                <a:ext uri="{FF2B5EF4-FFF2-40B4-BE49-F238E27FC236}">
                  <a16:creationId xmlns:a16="http://schemas.microsoft.com/office/drawing/2014/main" id="{771795DE-047C-47E7-972C-1519B9320892}"/>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390675" y="5442527"/>
              <a:ext cx="360000" cy="215998"/>
            </a:xfrm>
            <a:prstGeom prst="rect">
              <a:avLst/>
            </a:prstGeom>
            <a:solidFill>
              <a:schemeClr val="bg1"/>
            </a:solidFill>
            <a:ln w="9525" cap="flat" cmpd="sng" algn="ctr">
              <a:noFill/>
              <a:prstDash val="solid"/>
              <a:round/>
              <a:headEnd type="none" w="med" len="med"/>
              <a:tailEnd type="none" w="med" len="med"/>
            </a:ln>
            <a:effectLst/>
          </p:spPr>
        </p:pic>
        <p:pic>
          <p:nvPicPr>
            <p:cNvPr id="78" name="Picture 2" descr="Drapeau France">
              <a:extLst>
                <a:ext uri="{FF2B5EF4-FFF2-40B4-BE49-F238E27FC236}">
                  <a16:creationId xmlns:a16="http://schemas.microsoft.com/office/drawing/2014/main" id="{28B226B4-F427-4C01-996D-6ECE36224430}"/>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t="17006" b="16757"/>
            <a:stretch/>
          </p:blipFill>
          <p:spPr bwMode="auto">
            <a:xfrm>
              <a:off x="1390675" y="4697440"/>
              <a:ext cx="360000" cy="215998"/>
            </a:xfrm>
            <a:prstGeom prst="rect">
              <a:avLst/>
            </a:prstGeom>
            <a:solidFill>
              <a:schemeClr val="bg1"/>
            </a:solidFill>
            <a:ln w="9525" cap="flat" cmpd="sng" algn="ctr">
              <a:noFill/>
              <a:prstDash val="solid"/>
              <a:round/>
              <a:headEnd type="none" w="med" len="med"/>
              <a:tailEnd type="none" w="med" len="med"/>
            </a:ln>
            <a:effectLst/>
          </p:spPr>
        </p:pic>
      </p:grpSp>
      <p:sp>
        <p:nvSpPr>
          <p:cNvPr id="25" name="ZoneTexte 24">
            <a:extLst>
              <a:ext uri="{FF2B5EF4-FFF2-40B4-BE49-F238E27FC236}">
                <a16:creationId xmlns:a16="http://schemas.microsoft.com/office/drawing/2014/main" id="{9ACEC744-08B5-49AF-AC32-22685CC93FBA}"/>
              </a:ext>
            </a:extLst>
          </p:cNvPr>
          <p:cNvSpPr txBox="1"/>
          <p:nvPr/>
        </p:nvSpPr>
        <p:spPr>
          <a:xfrm>
            <a:off x="3256848" y="5028568"/>
            <a:ext cx="530906" cy="276999"/>
          </a:xfrm>
          <a:prstGeom prst="rect">
            <a:avLst/>
          </a:prstGeom>
          <a:noFill/>
        </p:spPr>
        <p:txBody>
          <a:bodyPr wrap="square" rtlCol="0">
            <a:spAutoFit/>
          </a:bodyPr>
          <a:lstStyle/>
          <a:p>
            <a:r>
              <a:rPr lang="en-GB" sz="1200">
                <a:latin typeface="+mj-lt"/>
              </a:rPr>
              <a:t>…</a:t>
            </a:r>
          </a:p>
        </p:txBody>
      </p:sp>
      <p:sp>
        <p:nvSpPr>
          <p:cNvPr id="79" name="ZoneTexte 78">
            <a:extLst>
              <a:ext uri="{FF2B5EF4-FFF2-40B4-BE49-F238E27FC236}">
                <a16:creationId xmlns:a16="http://schemas.microsoft.com/office/drawing/2014/main" id="{745BB4E8-6FE1-4F1A-B94B-DD76502F5ACE}"/>
              </a:ext>
            </a:extLst>
          </p:cNvPr>
          <p:cNvSpPr txBox="1"/>
          <p:nvPr/>
        </p:nvSpPr>
        <p:spPr>
          <a:xfrm>
            <a:off x="4929835" y="5028568"/>
            <a:ext cx="530906" cy="276999"/>
          </a:xfrm>
          <a:prstGeom prst="rect">
            <a:avLst/>
          </a:prstGeom>
          <a:noFill/>
        </p:spPr>
        <p:txBody>
          <a:bodyPr wrap="square" rtlCol="0">
            <a:spAutoFit/>
          </a:bodyPr>
          <a:lstStyle/>
          <a:p>
            <a:r>
              <a:rPr lang="en-GB" sz="1200">
                <a:latin typeface="+mj-lt"/>
              </a:rPr>
              <a:t>…</a:t>
            </a:r>
          </a:p>
        </p:txBody>
      </p:sp>
      <p:sp>
        <p:nvSpPr>
          <p:cNvPr id="80" name="ZoneTexte 79">
            <a:extLst>
              <a:ext uri="{FF2B5EF4-FFF2-40B4-BE49-F238E27FC236}">
                <a16:creationId xmlns:a16="http://schemas.microsoft.com/office/drawing/2014/main" id="{325E8329-4C95-4C5F-88DE-51ACE94EFC7B}"/>
              </a:ext>
            </a:extLst>
          </p:cNvPr>
          <p:cNvSpPr txBox="1"/>
          <p:nvPr/>
        </p:nvSpPr>
        <p:spPr>
          <a:xfrm>
            <a:off x="149112" y="1717719"/>
            <a:ext cx="5385251" cy="400110"/>
          </a:xfrm>
          <a:prstGeom prst="rect">
            <a:avLst/>
          </a:prstGeom>
          <a:noFill/>
        </p:spPr>
        <p:txBody>
          <a:bodyPr wrap="square">
            <a:spAutoFit/>
          </a:bodyPr>
          <a:lstStyle/>
          <a:p>
            <a:r>
              <a:rPr lang="en-GB" sz="1000">
                <a:solidFill>
                  <a:schemeClr val="tx2"/>
                </a:solidFill>
                <a:latin typeface="Trebuchet MS" panose="020B0603020202020204" pitchFamily="34" charset="0"/>
              </a:rPr>
              <a:t>Dun &amp; Bradstreet </a:t>
            </a:r>
            <a:r>
              <a:rPr lang="en-GB" sz="1000">
                <a:latin typeface="Trebuchet MS" panose="020B0603020202020204" pitchFamily="34" charset="0"/>
              </a:rPr>
              <a:t>is an American global </a:t>
            </a:r>
            <a:r>
              <a:rPr lang="en-GB" sz="1000">
                <a:solidFill>
                  <a:schemeClr val="tx2"/>
                </a:solidFill>
                <a:latin typeface="Trebuchet MS" panose="020B0603020202020204" pitchFamily="34" charset="0"/>
              </a:rPr>
              <a:t>Credit risk information leader </a:t>
            </a:r>
            <a:r>
              <a:rPr lang="en-GB" sz="1000">
                <a:latin typeface="Trebuchet MS" panose="020B0603020202020204" pitchFamily="34" charset="0"/>
              </a:rPr>
              <a:t>that operates in Europe through </a:t>
            </a:r>
            <a:r>
              <a:rPr lang="en-GB" sz="1000">
                <a:solidFill>
                  <a:schemeClr val="tx2"/>
                </a:solidFill>
                <a:latin typeface="Trebuchet MS" panose="020B0603020202020204" pitchFamily="34" charset="0"/>
              </a:rPr>
              <a:t>exclusive partnerships </a:t>
            </a:r>
            <a:r>
              <a:rPr lang="en-GB" sz="1000">
                <a:latin typeface="Trebuchet MS" panose="020B0603020202020204" pitchFamily="34" charset="0"/>
              </a:rPr>
              <a:t>based on </a:t>
            </a:r>
            <a:r>
              <a:rPr lang="en-GB" sz="1000">
                <a:solidFill>
                  <a:schemeClr val="tx2"/>
                </a:solidFill>
                <a:latin typeface="Trebuchet MS" panose="020B0603020202020204" pitchFamily="34" charset="0"/>
              </a:rPr>
              <a:t>mutual </a:t>
            </a:r>
            <a:r>
              <a:rPr lang="en-GB" sz="1000">
                <a:latin typeface="Trebuchet MS" panose="020B0603020202020204" pitchFamily="34" charset="0"/>
              </a:rPr>
              <a:t>and</a:t>
            </a:r>
            <a:r>
              <a:rPr lang="en-GB" sz="1000">
                <a:solidFill>
                  <a:schemeClr val="tx2"/>
                </a:solidFill>
                <a:latin typeface="Trebuchet MS" panose="020B0603020202020204" pitchFamily="34" charset="0"/>
              </a:rPr>
              <a:t> win-win dependency</a:t>
            </a:r>
            <a:endParaRPr lang="en-GB" sz="1000"/>
          </a:p>
        </p:txBody>
      </p:sp>
      <p:sp>
        <p:nvSpPr>
          <p:cNvPr id="31" name="Bulle narrative : rectangle 30">
            <a:extLst>
              <a:ext uri="{FF2B5EF4-FFF2-40B4-BE49-F238E27FC236}">
                <a16:creationId xmlns:a16="http://schemas.microsoft.com/office/drawing/2014/main" id="{4160ED34-1CDC-466F-86D3-1CF9B160B5E4}"/>
              </a:ext>
            </a:extLst>
          </p:cNvPr>
          <p:cNvSpPr/>
          <p:nvPr/>
        </p:nvSpPr>
        <p:spPr bwMode="auto">
          <a:xfrm>
            <a:off x="523615" y="5927188"/>
            <a:ext cx="1292214" cy="403928"/>
          </a:xfrm>
          <a:prstGeom prst="wedgeRectCallout">
            <a:avLst>
              <a:gd name="adj1" fmla="val -9842"/>
              <a:gd name="adj2" fmla="val -163496"/>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tx1"/>
                </a:solidFill>
                <a:effectLst/>
                <a:latin typeface="Trebuchet MS" pitchFamily="34" charset="0"/>
              </a:rPr>
              <a:t>Renewed contract until 2031</a:t>
            </a:r>
          </a:p>
        </p:txBody>
      </p:sp>
    </p:spTree>
    <p:extLst>
      <p:ext uri="{BB962C8B-B14F-4D97-AF65-F5344CB8AC3E}">
        <p14:creationId xmlns:p14="http://schemas.microsoft.com/office/powerpoint/2010/main" val="914221013"/>
      </p:ext>
    </p:extLst>
  </p:cSld>
  <p:clrMapOvr>
    <a:masterClrMapping/>
  </p:clrMapOvr>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FCC5D57-DD25-460E-B263-BFCD78A58038}"/>
              </a:ext>
            </a:extLst>
          </p:cNvPr>
          <p:cNvGraphicFramePr>
            <a:graphicFrameLocks noChangeAspect="1"/>
          </p:cNvGraphicFramePr>
          <p:nvPr>
            <p:custDataLst>
              <p:tags r:id="rId1"/>
            </p:custDataLst>
            <p:extLst>
              <p:ext uri="{D42A27DB-BD31-4B8C-83A1-F6EECF244321}">
                <p14:modId xmlns:p14="http://schemas.microsoft.com/office/powerpoint/2010/main" val="2382357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4" name="Objet 3" hidden="1">
                        <a:extLst>
                          <a:ext uri="{FF2B5EF4-FFF2-40B4-BE49-F238E27FC236}">
                            <a16:creationId xmlns:a16="http://schemas.microsoft.com/office/drawing/2014/main" id="{5FCC5D57-DD25-460E-B263-BFCD78A5803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0AC2C10-6E38-4ABF-A055-EB88298D7E6E}"/>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6" name="Rectangle 5">
            <a:extLst>
              <a:ext uri="{FF2B5EF4-FFF2-40B4-BE49-F238E27FC236}">
                <a16:creationId xmlns:a16="http://schemas.microsoft.com/office/drawing/2014/main" id="{B62F1761-B847-4ADC-8D36-83AA993FB1C3}"/>
              </a:ext>
            </a:extLst>
          </p:cNvPr>
          <p:cNvSpPr/>
          <p:nvPr/>
        </p:nvSpPr>
        <p:spPr bwMode="auto">
          <a:xfrm>
            <a:off x="3369774" y="1327272"/>
            <a:ext cx="3276119" cy="22776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France</a:t>
            </a:r>
          </a:p>
        </p:txBody>
      </p:sp>
      <p:sp>
        <p:nvSpPr>
          <p:cNvPr id="2" name="Titre 1">
            <a:extLst>
              <a:ext uri="{FF2B5EF4-FFF2-40B4-BE49-F238E27FC236}">
                <a16:creationId xmlns:a16="http://schemas.microsoft.com/office/drawing/2014/main" id="{F672EAFC-678C-4DB5-B39E-F22D79953022}"/>
              </a:ext>
            </a:extLst>
          </p:cNvPr>
          <p:cNvSpPr>
            <a:spLocks noGrp="1"/>
          </p:cNvSpPr>
          <p:nvPr>
            <p:ph type="title"/>
          </p:nvPr>
        </p:nvSpPr>
        <p:spPr>
          <a:xfrm>
            <a:off x="165600" y="147600"/>
            <a:ext cx="8342812" cy="684000"/>
          </a:xfrm>
        </p:spPr>
        <p:txBody>
          <a:bodyPr/>
          <a:lstStyle/>
          <a:p>
            <a:r>
              <a:rPr lang="en-GB">
                <a:latin typeface="Trebuchet MS" panose="020B0603020202020204" pitchFamily="34" charset="0"/>
              </a:rPr>
              <a:t>The nature of the exchanges between </a:t>
            </a:r>
            <a:r>
              <a:rPr lang="en-GB" err="1">
                <a:latin typeface="Trebuchet MS" panose="020B0603020202020204" pitchFamily="34" charset="0"/>
              </a:rPr>
              <a:t>Altares</a:t>
            </a:r>
            <a:r>
              <a:rPr lang="en-GB">
                <a:latin typeface="Trebuchet MS" panose="020B0603020202020204" pitchFamily="34" charset="0"/>
              </a:rPr>
              <a:t> and Dun &amp; Bradstreet creates a </a:t>
            </a:r>
            <a:r>
              <a:rPr lang="en-GB">
                <a:solidFill>
                  <a:schemeClr val="tx2"/>
                </a:solidFill>
                <a:latin typeface="Trebuchet MS" panose="020B0603020202020204" pitchFamily="34" charset="0"/>
              </a:rPr>
              <a:t>reciprocal dependency</a:t>
            </a:r>
            <a:endParaRPr lang="en-GB">
              <a:latin typeface="Trebuchet MS" panose="020B0603020202020204" pitchFamily="34" charset="0"/>
            </a:endParaRPr>
          </a:p>
        </p:txBody>
      </p:sp>
      <p:sp>
        <p:nvSpPr>
          <p:cNvPr id="9" name="Arrondir un rectangle à un seul coin 24">
            <a:extLst>
              <a:ext uri="{FF2B5EF4-FFF2-40B4-BE49-F238E27FC236}">
                <a16:creationId xmlns:a16="http://schemas.microsoft.com/office/drawing/2014/main" id="{F4847B33-B507-479C-B707-25267319E6B5}"/>
              </a:ext>
            </a:extLst>
          </p:cNvPr>
          <p:cNvSpPr/>
          <p:nvPr/>
        </p:nvSpPr>
        <p:spPr bwMode="auto">
          <a:xfrm>
            <a:off x="259536" y="1354897"/>
            <a:ext cx="2942129" cy="360000"/>
          </a:xfrm>
          <a:prstGeom prst="round1Rect">
            <a:avLst>
              <a:gd name="adj" fmla="val 50000"/>
            </a:avLst>
          </a:prstGeom>
          <a:solidFill>
            <a:schemeClr val="tx2"/>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r>
              <a:rPr lang="en-GB" sz="1600" cap="small" err="1">
                <a:solidFill>
                  <a:schemeClr val="bg1"/>
                </a:solidFill>
                <a:latin typeface="Trebuchet MS" panose="020B0603020202020204" pitchFamily="34" charset="0"/>
              </a:rPr>
              <a:t>Altares</a:t>
            </a:r>
            <a:r>
              <a:rPr lang="en-GB" sz="1600" cap="small">
                <a:solidFill>
                  <a:schemeClr val="bg1"/>
                </a:solidFill>
                <a:latin typeface="Trebuchet MS" panose="020B0603020202020204" pitchFamily="34" charset="0"/>
              </a:rPr>
              <a:t> </a:t>
            </a:r>
            <a:r>
              <a:rPr lang="en-GB" sz="1600" cap="small">
                <a:solidFill>
                  <a:schemeClr val="bg1"/>
                </a:solidFill>
                <a:latin typeface="Trebuchet MS" panose="020B0603020202020204" pitchFamily="34" charset="0"/>
                <a:sym typeface="Wingdings" panose="05000000000000000000" pitchFamily="2" charset="2"/>
              </a:rPr>
              <a:t> </a:t>
            </a:r>
            <a:r>
              <a:rPr lang="en-GB" sz="1600" cap="small">
                <a:solidFill>
                  <a:schemeClr val="bg1"/>
                </a:solidFill>
                <a:latin typeface="Trebuchet MS" panose="020B0603020202020204" pitchFamily="34" charset="0"/>
              </a:rPr>
              <a:t>Dun &amp; Bradstreet</a:t>
            </a:r>
          </a:p>
        </p:txBody>
      </p:sp>
      <p:sp>
        <p:nvSpPr>
          <p:cNvPr id="10" name="Arrondir un rectangle à un seul coin 23">
            <a:extLst>
              <a:ext uri="{FF2B5EF4-FFF2-40B4-BE49-F238E27FC236}">
                <a16:creationId xmlns:a16="http://schemas.microsoft.com/office/drawing/2014/main" id="{A919A357-4A18-40AC-B332-6A2C8DC39A30}"/>
              </a:ext>
            </a:extLst>
          </p:cNvPr>
          <p:cNvSpPr/>
          <p:nvPr/>
        </p:nvSpPr>
        <p:spPr bwMode="auto">
          <a:xfrm>
            <a:off x="6763851" y="1342914"/>
            <a:ext cx="2920288" cy="360000"/>
          </a:xfrm>
          <a:prstGeom prst="round1Rect">
            <a:avLst>
              <a:gd name="adj" fmla="val 50000"/>
            </a:avLst>
          </a:prstGeom>
          <a:solidFill>
            <a:schemeClr val="tx1"/>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r>
              <a:rPr lang="en-GB" sz="1600" cap="small">
                <a:solidFill>
                  <a:schemeClr val="bg1"/>
                </a:solidFill>
                <a:latin typeface="Trebuchet MS" panose="020B0603020202020204" pitchFamily="34" charset="0"/>
              </a:rPr>
              <a:t>Dun &amp; Bradstreet </a:t>
            </a:r>
            <a:r>
              <a:rPr lang="en-GB" sz="1600" cap="small">
                <a:solidFill>
                  <a:schemeClr val="bg1"/>
                </a:solidFill>
                <a:latin typeface="Trebuchet MS" panose="020B0603020202020204" pitchFamily="34" charset="0"/>
                <a:sym typeface="Wingdings" panose="05000000000000000000" pitchFamily="2" charset="2"/>
              </a:rPr>
              <a:t> </a:t>
            </a:r>
            <a:r>
              <a:rPr lang="en-GB" sz="1600" cap="small" err="1">
                <a:solidFill>
                  <a:schemeClr val="bg1"/>
                </a:solidFill>
                <a:latin typeface="Trebuchet MS" panose="020B0603020202020204" pitchFamily="34" charset="0"/>
              </a:rPr>
              <a:t>Altares</a:t>
            </a:r>
            <a:endParaRPr lang="en-GB" sz="1600" cap="small">
              <a:solidFill>
                <a:schemeClr val="bg1"/>
              </a:solidFill>
              <a:latin typeface="Trebuchet MS" panose="020B0603020202020204" pitchFamily="34" charset="0"/>
            </a:endParaRPr>
          </a:p>
        </p:txBody>
      </p:sp>
      <p:sp>
        <p:nvSpPr>
          <p:cNvPr id="14" name="Rectangle 13">
            <a:extLst>
              <a:ext uri="{FF2B5EF4-FFF2-40B4-BE49-F238E27FC236}">
                <a16:creationId xmlns:a16="http://schemas.microsoft.com/office/drawing/2014/main" id="{FD5E9477-2947-4ED1-A8E6-682C7C039F4D}"/>
              </a:ext>
            </a:extLst>
          </p:cNvPr>
          <p:cNvSpPr/>
          <p:nvPr/>
        </p:nvSpPr>
        <p:spPr bwMode="auto">
          <a:xfrm>
            <a:off x="251620" y="1714897"/>
            <a:ext cx="2950830" cy="4616543"/>
          </a:xfrm>
          <a:prstGeom prst="rect">
            <a:avLst/>
          </a:prstGeom>
          <a:no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447675" indent="-266700">
              <a:spcBef>
                <a:spcPts val="1200"/>
              </a:spcBef>
              <a:spcAft>
                <a:spcPts val="600"/>
              </a:spcAft>
              <a:buFont typeface="Arial" panose="020B0604020202020204" pitchFamily="34" charset="0"/>
              <a:buChar char="•"/>
            </a:pPr>
            <a:endParaRPr lang="en-GB" sz="1050" dirty="0">
              <a:latin typeface="Trebuchet MS" panose="020B0603020202020204" pitchFamily="34" charset="0"/>
            </a:endParaRPr>
          </a:p>
          <a:p>
            <a:pPr marL="447675" indent="-266700">
              <a:spcBef>
                <a:spcPts val="1200"/>
              </a:spcBef>
              <a:spcAft>
                <a:spcPts val="600"/>
              </a:spcAft>
              <a:buFont typeface="Arial" panose="020B0604020202020204" pitchFamily="34" charset="0"/>
              <a:buChar char="•"/>
            </a:pPr>
            <a:r>
              <a:rPr lang="en-GB" sz="1050" dirty="0" err="1">
                <a:latin typeface="Trebuchet MS" panose="020B0603020202020204" pitchFamily="34" charset="0"/>
              </a:rPr>
              <a:t>Altares</a:t>
            </a:r>
            <a:r>
              <a:rPr lang="en-GB" sz="1050" dirty="0">
                <a:latin typeface="Trebuchet MS" panose="020B0603020202020204" pitchFamily="34" charset="0"/>
              </a:rPr>
              <a:t> is a trusted third party that has been providing quality data to D&amp;B for years, according to contractual objectives (payment </a:t>
            </a:r>
            <a:r>
              <a:rPr lang="en-GB" sz="1050" dirty="0" err="1">
                <a:latin typeface="Trebuchet MS" panose="020B0603020202020204" pitchFamily="34" charset="0"/>
              </a:rPr>
              <a:t>behavior</a:t>
            </a:r>
            <a:r>
              <a:rPr lang="en-GB" sz="1050" dirty="0">
                <a:latin typeface="Trebuchet MS" panose="020B0603020202020204" pitchFamily="34" charset="0"/>
              </a:rPr>
              <a:t> coverage rate, telephone numbers, etc.) that are revised every three years</a:t>
            </a:r>
          </a:p>
          <a:p>
            <a:pPr marL="447675" indent="-266700">
              <a:spcBef>
                <a:spcPts val="1200"/>
              </a:spcBef>
              <a:spcAft>
                <a:spcPts val="600"/>
              </a:spcAft>
              <a:buFont typeface="Arial" panose="020B0604020202020204" pitchFamily="34" charset="0"/>
              <a:buChar char="•"/>
            </a:pPr>
            <a:r>
              <a:rPr lang="en-GB" sz="1050" dirty="0">
                <a:latin typeface="Trebuchet MS" panose="020B0603020202020204" pitchFamily="34" charset="0"/>
              </a:rPr>
              <a:t>The brand image provided by D&amp;B and its high-quality international data in a homogeneous format is essential for major French and Benelux clients</a:t>
            </a:r>
          </a:p>
          <a:p>
            <a:pPr marL="447675" indent="-266700">
              <a:spcBef>
                <a:spcPts val="1200"/>
              </a:spcBef>
              <a:spcAft>
                <a:spcPts val="600"/>
              </a:spcAft>
              <a:buFont typeface="Arial" panose="020B0604020202020204" pitchFamily="34" charset="0"/>
              <a:buChar char="•"/>
            </a:pPr>
            <a:r>
              <a:rPr lang="en-GB" sz="1050" dirty="0" err="1">
                <a:latin typeface="Trebuchet MS" panose="020B0603020202020204" pitchFamily="34" charset="0"/>
              </a:rPr>
              <a:t>Altares</a:t>
            </a:r>
            <a:r>
              <a:rPr lang="en-GB" sz="1050" dirty="0">
                <a:latin typeface="Trebuchet MS" panose="020B0603020202020204" pitchFamily="34" charset="0"/>
              </a:rPr>
              <a:t> (France and Benelux) and Bisnode are the most important exclusive partners of D&amp;B in terms of turnover, followed by </a:t>
            </a:r>
            <a:r>
              <a:rPr lang="en-GB" sz="1050" dirty="0" err="1">
                <a:latin typeface="Trebuchet MS" panose="020B0603020202020204" pitchFamily="34" charset="0"/>
              </a:rPr>
              <a:t>Crif</a:t>
            </a:r>
            <a:r>
              <a:rPr lang="en-GB" sz="1050" dirty="0">
                <a:latin typeface="Trebuchet MS" panose="020B0603020202020204" pitchFamily="34" charset="0"/>
              </a:rPr>
              <a:t> and Informa</a:t>
            </a:r>
          </a:p>
          <a:p>
            <a:pPr marL="447675" indent="-266700">
              <a:spcBef>
                <a:spcPts val="1200"/>
              </a:spcBef>
              <a:spcAft>
                <a:spcPts val="600"/>
              </a:spcAft>
              <a:buFont typeface="Arial" panose="020B0604020202020204" pitchFamily="34" charset="0"/>
              <a:buChar char="•"/>
            </a:pPr>
            <a:r>
              <a:rPr lang="en-GB" sz="1050" dirty="0" err="1">
                <a:latin typeface="Trebuchet MS" panose="020B0603020202020204" pitchFamily="34" charset="0"/>
              </a:rPr>
              <a:t>Alatares</a:t>
            </a:r>
            <a:r>
              <a:rPr lang="en-GB" sz="1050" dirty="0">
                <a:latin typeface="Trebuchet MS" panose="020B0603020202020204" pitchFamily="34" charset="0"/>
              </a:rPr>
              <a:t> (France and Benelux) represent ~20% of D&amp;B network turnover (~140€m)</a:t>
            </a:r>
          </a:p>
        </p:txBody>
      </p:sp>
      <p:sp>
        <p:nvSpPr>
          <p:cNvPr id="16" name="Rectangle 15">
            <a:extLst>
              <a:ext uri="{FF2B5EF4-FFF2-40B4-BE49-F238E27FC236}">
                <a16:creationId xmlns:a16="http://schemas.microsoft.com/office/drawing/2014/main" id="{8FB163A9-02E6-438A-8835-52F9CC9CEBEB}"/>
              </a:ext>
            </a:extLst>
          </p:cNvPr>
          <p:cNvSpPr/>
          <p:nvPr/>
        </p:nvSpPr>
        <p:spPr bwMode="auto">
          <a:xfrm>
            <a:off x="6763852" y="1693904"/>
            <a:ext cx="2920287" cy="4640908"/>
          </a:xfrm>
          <a:prstGeom prst="rect">
            <a:avLst/>
          </a:prstGeom>
          <a:no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447675" indent="-266700">
              <a:spcBef>
                <a:spcPts val="1200"/>
              </a:spcBef>
              <a:spcAft>
                <a:spcPts val="600"/>
              </a:spcAft>
              <a:buFont typeface="Arial" panose="020B0604020202020204" pitchFamily="34" charset="0"/>
              <a:buChar char="•"/>
            </a:pPr>
            <a:endParaRPr lang="en-GB" sz="1050" dirty="0">
              <a:latin typeface="Trebuchet MS" panose="020B0603020202020204" pitchFamily="34" charset="0"/>
            </a:endParaRPr>
          </a:p>
          <a:p>
            <a:pPr marL="447675" indent="-266700">
              <a:spcBef>
                <a:spcPts val="1200"/>
              </a:spcBef>
              <a:spcAft>
                <a:spcPts val="600"/>
              </a:spcAft>
              <a:buFont typeface="Arial" panose="020B0604020202020204" pitchFamily="34" charset="0"/>
              <a:buChar char="•"/>
            </a:pPr>
            <a:r>
              <a:rPr lang="en-GB" sz="1050" dirty="0" err="1">
                <a:latin typeface="Trebuchet MS" panose="020B0603020202020204" pitchFamily="34" charset="0"/>
              </a:rPr>
              <a:t>Altares</a:t>
            </a:r>
            <a:r>
              <a:rPr lang="en-GB" sz="1050" dirty="0">
                <a:latin typeface="Trebuchet MS" panose="020B0603020202020204" pitchFamily="34" charset="0"/>
              </a:rPr>
              <a:t> benefits from D&amp;B's brand image, a market leader recognized for the quality of its data and the homogeneity of its data assets</a:t>
            </a:r>
          </a:p>
          <a:p>
            <a:pPr marL="447675" indent="-266700">
              <a:spcBef>
                <a:spcPts val="1200"/>
              </a:spcBef>
              <a:spcAft>
                <a:spcPts val="600"/>
              </a:spcAft>
              <a:buFont typeface="Arial" panose="020B0604020202020204" pitchFamily="34" charset="0"/>
              <a:buChar char="•"/>
            </a:pPr>
            <a:r>
              <a:rPr lang="en-GB" sz="1050" dirty="0">
                <a:latin typeface="Trebuchet MS" panose="020B0603020202020204" pitchFamily="34" charset="0"/>
              </a:rPr>
              <a:t>Thanks to the international data of the D&amp;B network, </a:t>
            </a:r>
            <a:r>
              <a:rPr lang="en-US" sz="1050" dirty="0" err="1">
                <a:latin typeface="Trebuchet MS" panose="020B0603020202020204" pitchFamily="34" charset="0"/>
              </a:rPr>
              <a:t>Altares</a:t>
            </a:r>
            <a:r>
              <a:rPr lang="en-US" sz="1050" dirty="0">
                <a:latin typeface="Trebuchet MS" panose="020B0603020202020204" pitchFamily="34" charset="0"/>
              </a:rPr>
              <a:t> is uniquely positioned to meet all use local and international use cases, consequently expanding its addressable market in France and in the Benelux versus traditional competition</a:t>
            </a:r>
            <a:endParaRPr lang="en-GB" sz="1050" dirty="0">
              <a:latin typeface="Trebuchet MS" panose="020B0603020202020204" pitchFamily="34" charset="0"/>
            </a:endParaRPr>
          </a:p>
          <a:p>
            <a:pPr marL="447675" indent="-266700">
              <a:spcBef>
                <a:spcPts val="1200"/>
              </a:spcBef>
              <a:spcAft>
                <a:spcPts val="600"/>
              </a:spcAft>
              <a:buFont typeface="Arial" panose="020B0604020202020204" pitchFamily="34" charset="0"/>
              <a:buChar char="•"/>
            </a:pPr>
            <a:r>
              <a:rPr lang="en-GB" sz="1050" dirty="0">
                <a:latin typeface="Trebuchet MS" panose="020B0603020202020204" pitchFamily="34" charset="0"/>
              </a:rPr>
              <a:t>All of the D&amp;B products distributed by </a:t>
            </a:r>
            <a:r>
              <a:rPr lang="en-GB" sz="1050" dirty="0" err="1">
                <a:latin typeface="Trebuchet MS" panose="020B0603020202020204" pitchFamily="34" charset="0"/>
              </a:rPr>
              <a:t>Altares</a:t>
            </a:r>
            <a:r>
              <a:rPr lang="en-GB" sz="1050" dirty="0">
                <a:latin typeface="Trebuchet MS" panose="020B0603020202020204" pitchFamily="34" charset="0"/>
              </a:rPr>
              <a:t> group generated ~51.9€m or ~50% of its turnover in 2019</a:t>
            </a:r>
          </a:p>
          <a:p>
            <a:pPr marL="447675" indent="-266700">
              <a:spcBef>
                <a:spcPts val="1200"/>
              </a:spcBef>
              <a:spcAft>
                <a:spcPts val="600"/>
              </a:spcAft>
              <a:buFont typeface="Arial" panose="020B0604020202020204" pitchFamily="34" charset="0"/>
              <a:buChar char="•"/>
            </a:pPr>
            <a:r>
              <a:rPr lang="en-GB" sz="1050" dirty="0">
                <a:latin typeface="Trebuchet MS" panose="020B0603020202020204" pitchFamily="34" charset="0"/>
              </a:rPr>
              <a:t>Dun &amp; Bradstreet provides the IT platform that enables the data storage and production of the D&amp;B services operated by </a:t>
            </a:r>
            <a:r>
              <a:rPr lang="en-GB" sz="1050" dirty="0" err="1">
                <a:latin typeface="Trebuchet MS" panose="020B0603020202020204" pitchFamily="34" charset="0"/>
              </a:rPr>
              <a:t>Altares</a:t>
            </a:r>
            <a:endParaRPr lang="en-GB" sz="1050" dirty="0">
              <a:latin typeface="Trebuchet MS" panose="020B0603020202020204" pitchFamily="34" charset="0"/>
            </a:endParaRPr>
          </a:p>
          <a:p>
            <a:pPr marL="447675" indent="-266700">
              <a:spcBef>
                <a:spcPts val="1200"/>
              </a:spcBef>
              <a:spcAft>
                <a:spcPts val="600"/>
              </a:spcAft>
              <a:buFont typeface="Arial" panose="020B0604020202020204" pitchFamily="34" charset="0"/>
              <a:buChar char="•"/>
            </a:pPr>
            <a:endParaRPr lang="en-GB" sz="1050" dirty="0">
              <a:latin typeface="Trebuchet MS" panose="020B0603020202020204" pitchFamily="34" charset="0"/>
            </a:endParaRPr>
          </a:p>
        </p:txBody>
      </p:sp>
      <p:sp>
        <p:nvSpPr>
          <p:cNvPr id="17" name="Flèche droite 52">
            <a:extLst>
              <a:ext uri="{FF2B5EF4-FFF2-40B4-BE49-F238E27FC236}">
                <a16:creationId xmlns:a16="http://schemas.microsoft.com/office/drawing/2014/main" id="{9E58CD14-367E-4002-9597-954A286B1676}"/>
              </a:ext>
            </a:extLst>
          </p:cNvPr>
          <p:cNvSpPr/>
          <p:nvPr/>
        </p:nvSpPr>
        <p:spPr bwMode="auto">
          <a:xfrm>
            <a:off x="3679959" y="1572416"/>
            <a:ext cx="2623352" cy="548640"/>
          </a:xfrm>
          <a:prstGeom prst="rightArrow">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err="1">
                <a:ln>
                  <a:noFill/>
                </a:ln>
                <a:solidFill>
                  <a:schemeClr val="bg1"/>
                </a:solidFill>
                <a:effectLst/>
                <a:latin typeface="Trebuchet MS" panose="020B0603020202020204" pitchFamily="34" charset="0"/>
              </a:rPr>
              <a:t>Flox</a:t>
            </a:r>
            <a:r>
              <a:rPr kumimoji="0" lang="en-GB" sz="1100" b="0" i="0" u="none" strike="noStrike" cap="none" normalizeH="0" baseline="0">
                <a:ln>
                  <a:noFill/>
                </a:ln>
                <a:solidFill>
                  <a:schemeClr val="bg1"/>
                </a:solidFill>
                <a:effectLst/>
                <a:latin typeface="Trebuchet MS" panose="020B0603020202020204" pitchFamily="34" charset="0"/>
              </a:rPr>
              <a:t> 2019 </a:t>
            </a:r>
            <a:r>
              <a:rPr kumimoji="0" lang="en-GB" sz="1100" b="0" i="0" u="none" strike="noStrike" cap="none" normalizeH="0" baseline="0" err="1">
                <a:ln>
                  <a:noFill/>
                </a:ln>
                <a:solidFill>
                  <a:schemeClr val="bg1"/>
                </a:solidFill>
                <a:effectLst/>
                <a:latin typeface="Trebuchet MS" panose="020B0603020202020204" pitchFamily="34" charset="0"/>
              </a:rPr>
              <a:t>Altares</a:t>
            </a:r>
            <a:r>
              <a:rPr kumimoji="0" lang="en-GB" sz="1100" b="0" i="0" u="none" strike="noStrike" cap="none" normalizeH="0" baseline="0">
                <a:ln>
                  <a:noFill/>
                </a:ln>
                <a:solidFill>
                  <a:schemeClr val="bg1"/>
                </a:solidFill>
                <a:effectLst/>
                <a:latin typeface="Trebuchet MS" panose="020B0603020202020204" pitchFamily="34" charset="0"/>
              </a:rPr>
              <a:t> -&gt; D&amp;B: ~€</a:t>
            </a:r>
            <a:r>
              <a:rPr lang="en-GB" sz="1100">
                <a:solidFill>
                  <a:schemeClr val="bg1"/>
                </a:solidFill>
                <a:latin typeface="Trebuchet MS" panose="020B0603020202020204" pitchFamily="34" charset="0"/>
              </a:rPr>
              <a:t>7m</a:t>
            </a:r>
            <a:endParaRPr kumimoji="0" lang="en-GB" sz="1100" b="0" i="0" u="none" strike="noStrike" cap="none" normalizeH="0" baseline="0">
              <a:ln>
                <a:noFill/>
              </a:ln>
              <a:solidFill>
                <a:schemeClr val="tx2"/>
              </a:solidFill>
              <a:effectLst/>
              <a:latin typeface="Trebuchet MS" panose="020B0603020202020204" pitchFamily="34" charset="0"/>
            </a:endParaRPr>
          </a:p>
        </p:txBody>
      </p:sp>
      <p:sp>
        <p:nvSpPr>
          <p:cNvPr id="18" name="Flèche droite 58">
            <a:extLst>
              <a:ext uri="{FF2B5EF4-FFF2-40B4-BE49-F238E27FC236}">
                <a16:creationId xmlns:a16="http://schemas.microsoft.com/office/drawing/2014/main" id="{4241C0D8-156A-48A4-80B1-298C419A4374}"/>
              </a:ext>
            </a:extLst>
          </p:cNvPr>
          <p:cNvSpPr/>
          <p:nvPr/>
        </p:nvSpPr>
        <p:spPr bwMode="auto">
          <a:xfrm flipH="1">
            <a:off x="3665842" y="2039595"/>
            <a:ext cx="2623352" cy="548640"/>
          </a:xfrm>
          <a:prstGeom prst="rightArrow">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a:solidFill>
                  <a:schemeClr val="bg1"/>
                </a:solidFill>
                <a:latin typeface="Trebuchet MS" panose="020B0603020202020204" pitchFamily="34" charset="0"/>
              </a:rPr>
              <a:t>Flox 2019 D&amp;B -&gt; Altares: ~€10.2m</a:t>
            </a:r>
            <a:endParaRPr lang="en-GB" sz="1100">
              <a:latin typeface="Trebuchet MS" panose="020B0603020202020204" pitchFamily="34" charset="0"/>
            </a:endParaRPr>
          </a:p>
        </p:txBody>
      </p:sp>
      <p:cxnSp>
        <p:nvCxnSpPr>
          <p:cNvPr id="33" name="Connecteur droit 208">
            <a:extLst>
              <a:ext uri="{FF2B5EF4-FFF2-40B4-BE49-F238E27FC236}">
                <a16:creationId xmlns:a16="http://schemas.microsoft.com/office/drawing/2014/main" id="{1789A41C-352F-497F-A3C3-228EAB4A2900}"/>
              </a:ext>
            </a:extLst>
          </p:cNvPr>
          <p:cNvCxnSpPr>
            <a:cxnSpLocks/>
          </p:cNvCxnSpPr>
          <p:nvPr/>
        </p:nvCxnSpPr>
        <p:spPr bwMode="auto">
          <a:xfrm>
            <a:off x="384975" y="986602"/>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7" name="ZoneTexte 12">
            <a:extLst>
              <a:ext uri="{FF2B5EF4-FFF2-40B4-BE49-F238E27FC236}">
                <a16:creationId xmlns:a16="http://schemas.microsoft.com/office/drawing/2014/main" id="{622BE60D-36C6-470D-A0CD-EBC16813B032}"/>
              </a:ext>
            </a:extLst>
          </p:cNvPr>
          <p:cNvSpPr txBox="1"/>
          <p:nvPr/>
        </p:nvSpPr>
        <p:spPr>
          <a:xfrm>
            <a:off x="2340442" y="883124"/>
            <a:ext cx="5081264" cy="245165"/>
          </a:xfrm>
          <a:prstGeom prst="rect">
            <a:avLst/>
          </a:prstGeom>
          <a:solidFill>
            <a:schemeClr val="bg1"/>
          </a:solidFill>
        </p:spPr>
        <p:txBody>
          <a:bodyPr wrap="square" rtlCol="0">
            <a:noAutofit/>
          </a:bodyPr>
          <a:lstStyle/>
          <a:p>
            <a:pPr algn="ctr"/>
            <a:r>
              <a:rPr lang="en-GB" sz="1100">
                <a:latin typeface="Trebuchet MS" panose="020B0603020202020204" pitchFamily="34" charset="0"/>
              </a:rPr>
              <a:t>“Give to take” scheme between </a:t>
            </a:r>
            <a:r>
              <a:rPr lang="en-GB" sz="1100" err="1">
                <a:latin typeface="Trebuchet MS" panose="020B0603020202020204" pitchFamily="34" charset="0"/>
              </a:rPr>
              <a:t>Altares</a:t>
            </a:r>
            <a:r>
              <a:rPr lang="en-GB" sz="1100">
                <a:latin typeface="Trebuchet MS" panose="020B0603020202020204" pitchFamily="34" charset="0"/>
              </a:rPr>
              <a:t> and D&amp;B in France and Benelux</a:t>
            </a:r>
          </a:p>
        </p:txBody>
      </p:sp>
      <p:sp>
        <p:nvSpPr>
          <p:cNvPr id="47" name="Rectangle 46">
            <a:extLst>
              <a:ext uri="{FF2B5EF4-FFF2-40B4-BE49-F238E27FC236}">
                <a16:creationId xmlns:a16="http://schemas.microsoft.com/office/drawing/2014/main" id="{4514BBE6-6556-46C8-A0B1-BF63D6C9FDFE}"/>
              </a:ext>
            </a:extLst>
          </p:cNvPr>
          <p:cNvSpPr/>
          <p:nvPr/>
        </p:nvSpPr>
        <p:spPr bwMode="auto">
          <a:xfrm>
            <a:off x="3379123" y="4031699"/>
            <a:ext cx="3276119" cy="227768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Benelux</a:t>
            </a:r>
          </a:p>
        </p:txBody>
      </p:sp>
      <p:sp>
        <p:nvSpPr>
          <p:cNvPr id="48" name="Flèche droite 52">
            <a:extLst>
              <a:ext uri="{FF2B5EF4-FFF2-40B4-BE49-F238E27FC236}">
                <a16:creationId xmlns:a16="http://schemas.microsoft.com/office/drawing/2014/main" id="{0F258E2B-3BD5-48AA-A4A5-9DA1DE22C76B}"/>
              </a:ext>
            </a:extLst>
          </p:cNvPr>
          <p:cNvSpPr/>
          <p:nvPr/>
        </p:nvSpPr>
        <p:spPr bwMode="auto">
          <a:xfrm>
            <a:off x="3689308" y="4278996"/>
            <a:ext cx="2623352" cy="548640"/>
          </a:xfrm>
          <a:prstGeom prst="rightArrow">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bg1"/>
                </a:solidFill>
                <a:effectLst/>
                <a:latin typeface="Trebuchet MS" panose="020B0603020202020204" pitchFamily="34" charset="0"/>
              </a:rPr>
              <a:t>Flux 2019 Altares -&gt; D&amp;B: ~€30.4m</a:t>
            </a:r>
            <a:endParaRPr kumimoji="0" lang="en-GB" sz="1100" b="0" i="0" u="none" strike="noStrike" cap="none" normalizeH="0" baseline="0">
              <a:ln>
                <a:noFill/>
              </a:ln>
              <a:solidFill>
                <a:schemeClr val="tx2"/>
              </a:solidFill>
              <a:effectLst/>
              <a:latin typeface="Trebuchet MS" panose="020B0603020202020204" pitchFamily="34" charset="0"/>
            </a:endParaRPr>
          </a:p>
        </p:txBody>
      </p:sp>
      <p:sp>
        <p:nvSpPr>
          <p:cNvPr id="49" name="Flèche droite 58">
            <a:extLst>
              <a:ext uri="{FF2B5EF4-FFF2-40B4-BE49-F238E27FC236}">
                <a16:creationId xmlns:a16="http://schemas.microsoft.com/office/drawing/2014/main" id="{A0F23B7E-A7B6-4CCE-BB97-BCF957158E6D}"/>
              </a:ext>
            </a:extLst>
          </p:cNvPr>
          <p:cNvSpPr/>
          <p:nvPr/>
        </p:nvSpPr>
        <p:spPr bwMode="auto">
          <a:xfrm flipH="1">
            <a:off x="3622463" y="4746075"/>
            <a:ext cx="2623352" cy="548640"/>
          </a:xfrm>
          <a:prstGeom prst="rightArrow">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a:solidFill>
                  <a:schemeClr val="bg1"/>
                </a:solidFill>
                <a:latin typeface="Trebuchet MS" panose="020B0603020202020204" pitchFamily="34" charset="0"/>
              </a:rPr>
              <a:t>Flux 2019 D&amp;B -&gt; Altares: ~€7.8m</a:t>
            </a:r>
            <a:endParaRPr lang="en-GB" sz="1100">
              <a:latin typeface="Trebuchet MS" panose="020B0603020202020204" pitchFamily="34" charset="0"/>
            </a:endParaRPr>
          </a:p>
        </p:txBody>
      </p:sp>
      <p:sp>
        <p:nvSpPr>
          <p:cNvPr id="50" name="Flèche droite 52">
            <a:extLst>
              <a:ext uri="{FF2B5EF4-FFF2-40B4-BE49-F238E27FC236}">
                <a16:creationId xmlns:a16="http://schemas.microsoft.com/office/drawing/2014/main" id="{F0C69F1C-03FC-47F2-93E4-0750B94D28B6}"/>
              </a:ext>
            </a:extLst>
          </p:cNvPr>
          <p:cNvSpPr/>
          <p:nvPr/>
        </p:nvSpPr>
        <p:spPr bwMode="auto">
          <a:xfrm>
            <a:off x="4078609" y="6547242"/>
            <a:ext cx="965742" cy="326315"/>
          </a:xfrm>
          <a:prstGeom prst="rightArrow">
            <a:avLst>
              <a:gd name="adj1" fmla="val 50000"/>
              <a:gd name="adj2" fmla="val 26889"/>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1"/>
                </a:solidFill>
                <a:effectLst/>
                <a:latin typeface="Trebuchet MS" panose="020B0603020202020204" pitchFamily="34" charset="0"/>
              </a:rPr>
              <a:t>Expenses</a:t>
            </a:r>
            <a:endParaRPr kumimoji="0" lang="en-GB" sz="900" b="0" i="0" u="none" strike="noStrike" cap="none" normalizeH="0" baseline="0">
              <a:ln>
                <a:noFill/>
              </a:ln>
              <a:solidFill>
                <a:schemeClr val="tx2"/>
              </a:solidFill>
              <a:effectLst/>
              <a:latin typeface="Trebuchet MS" panose="020B0603020202020204" pitchFamily="34" charset="0"/>
            </a:endParaRPr>
          </a:p>
        </p:txBody>
      </p:sp>
      <p:sp>
        <p:nvSpPr>
          <p:cNvPr id="51" name="Flèche droite 58">
            <a:extLst>
              <a:ext uri="{FF2B5EF4-FFF2-40B4-BE49-F238E27FC236}">
                <a16:creationId xmlns:a16="http://schemas.microsoft.com/office/drawing/2014/main" id="{76A9C32D-69B4-434B-94AD-C9B3E06CCB9C}"/>
              </a:ext>
            </a:extLst>
          </p:cNvPr>
          <p:cNvSpPr/>
          <p:nvPr/>
        </p:nvSpPr>
        <p:spPr bwMode="auto">
          <a:xfrm flipH="1">
            <a:off x="5249772" y="6554903"/>
            <a:ext cx="1011145" cy="303097"/>
          </a:xfrm>
          <a:prstGeom prst="rightArrow">
            <a:avLst>
              <a:gd name="adj1" fmla="val 50000"/>
              <a:gd name="adj2" fmla="val 36455"/>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900" dirty="0">
                <a:solidFill>
                  <a:schemeClr val="bg1"/>
                </a:solidFill>
                <a:latin typeface="Trebuchet MS" panose="020B0603020202020204" pitchFamily="34" charset="0"/>
              </a:rPr>
              <a:t>Revenue</a:t>
            </a:r>
            <a:endParaRPr lang="en-GB" sz="900" dirty="0">
              <a:latin typeface="Trebuchet MS" panose="020B0603020202020204" pitchFamily="34" charset="0"/>
            </a:endParaRPr>
          </a:p>
        </p:txBody>
      </p:sp>
      <p:sp>
        <p:nvSpPr>
          <p:cNvPr id="25" name="Freeform 9">
            <a:extLst>
              <a:ext uri="{FF2B5EF4-FFF2-40B4-BE49-F238E27FC236}">
                <a16:creationId xmlns:a16="http://schemas.microsoft.com/office/drawing/2014/main" id="{DDA3464C-C5E5-4BA3-9E58-243F91EB1AA1}"/>
              </a:ext>
            </a:extLst>
          </p:cNvPr>
          <p:cNvSpPr>
            <a:spLocks noEditPoints="1"/>
          </p:cNvSpPr>
          <p:nvPr/>
        </p:nvSpPr>
        <p:spPr bwMode="auto">
          <a:xfrm>
            <a:off x="6259121" y="1861389"/>
            <a:ext cx="234184" cy="241015"/>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8" name="Rectangle 7">
            <a:extLst>
              <a:ext uri="{FF2B5EF4-FFF2-40B4-BE49-F238E27FC236}">
                <a16:creationId xmlns:a16="http://schemas.microsoft.com/office/drawing/2014/main" id="{C3940C02-2558-4390-8EF3-2B588F010A5A}"/>
              </a:ext>
            </a:extLst>
          </p:cNvPr>
          <p:cNvSpPr/>
          <p:nvPr/>
        </p:nvSpPr>
        <p:spPr bwMode="auto">
          <a:xfrm>
            <a:off x="4003589" y="2688380"/>
            <a:ext cx="2272555" cy="71859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200" b="1" dirty="0">
                <a:solidFill>
                  <a:schemeClr val="bg1"/>
                </a:solidFill>
                <a:latin typeface="Trebuchet MS" panose="020B0603020202020204" pitchFamily="34" charset="0"/>
              </a:rPr>
              <a:t>Revenue from D&amp;B Products In France (booking, 2019)</a:t>
            </a:r>
          </a:p>
          <a:p>
            <a:pPr algn="ctr"/>
            <a:r>
              <a:rPr lang="en-GB" sz="1800" b="1" dirty="0">
                <a:solidFill>
                  <a:schemeClr val="bg1"/>
                </a:solidFill>
                <a:latin typeface="Trebuchet MS" panose="020B0603020202020204" pitchFamily="34" charset="0"/>
              </a:rPr>
              <a:t>~€17.6m</a:t>
            </a:r>
          </a:p>
        </p:txBody>
      </p:sp>
      <p:sp>
        <p:nvSpPr>
          <p:cNvPr id="11" name="Ellipse 10">
            <a:extLst>
              <a:ext uri="{FF2B5EF4-FFF2-40B4-BE49-F238E27FC236}">
                <a16:creationId xmlns:a16="http://schemas.microsoft.com/office/drawing/2014/main" id="{1F9A4ADA-58BF-4D9D-9C4E-E81C8D6508FF}"/>
              </a:ext>
            </a:extLst>
          </p:cNvPr>
          <p:cNvSpPr/>
          <p:nvPr/>
        </p:nvSpPr>
        <p:spPr bwMode="auto">
          <a:xfrm>
            <a:off x="3784642" y="2902682"/>
            <a:ext cx="323233" cy="342885"/>
          </a:xfrm>
          <a:prstGeom prst="ellipse">
            <a:avLst/>
          </a:prstGeom>
          <a:solidFill>
            <a:schemeClr val="tx2"/>
          </a:solidFill>
          <a:ln w="2857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a:ln>
                <a:noFill/>
              </a:ln>
              <a:solidFill>
                <a:schemeClr val="bg1"/>
              </a:solidFill>
              <a:effectLst/>
              <a:latin typeface="Trebuchet MS" pitchFamily="34" charset="0"/>
            </a:endParaRPr>
          </a:p>
        </p:txBody>
      </p:sp>
      <p:sp>
        <p:nvSpPr>
          <p:cNvPr id="12" name="ZoneTexte 11">
            <a:extLst>
              <a:ext uri="{FF2B5EF4-FFF2-40B4-BE49-F238E27FC236}">
                <a16:creationId xmlns:a16="http://schemas.microsoft.com/office/drawing/2014/main" id="{7C8A1DA7-7561-4003-B0D8-565BBEE20BC6}"/>
              </a:ext>
            </a:extLst>
          </p:cNvPr>
          <p:cNvSpPr txBox="1"/>
          <p:nvPr/>
        </p:nvSpPr>
        <p:spPr>
          <a:xfrm>
            <a:off x="3716868" y="2855359"/>
            <a:ext cx="464128" cy="400110"/>
          </a:xfrm>
          <a:prstGeom prst="rect">
            <a:avLst/>
          </a:prstGeom>
          <a:noFill/>
          <a:ln>
            <a:noFill/>
          </a:ln>
        </p:spPr>
        <p:txBody>
          <a:bodyPr wrap="square" rtlCol="0">
            <a:spAutoFit/>
          </a:bodyPr>
          <a:lstStyle/>
          <a:p>
            <a:pPr algn="ctr"/>
            <a:r>
              <a:rPr lang="en-GB" sz="2000" b="1">
                <a:solidFill>
                  <a:schemeClr val="bg1"/>
                </a:solidFill>
                <a:latin typeface="Trebuchet MS" panose="020B0603020202020204" pitchFamily="34" charset="0"/>
              </a:rPr>
              <a:t>+</a:t>
            </a:r>
          </a:p>
        </p:txBody>
      </p:sp>
      <p:sp>
        <p:nvSpPr>
          <p:cNvPr id="39" name="Rectangle 38">
            <a:extLst>
              <a:ext uri="{FF2B5EF4-FFF2-40B4-BE49-F238E27FC236}">
                <a16:creationId xmlns:a16="http://schemas.microsoft.com/office/drawing/2014/main" id="{3BF89C4F-B632-44E1-AEB0-11FBF95A23A2}"/>
              </a:ext>
            </a:extLst>
          </p:cNvPr>
          <p:cNvSpPr/>
          <p:nvPr/>
        </p:nvSpPr>
        <p:spPr bwMode="auto">
          <a:xfrm>
            <a:off x="4005749" y="5357088"/>
            <a:ext cx="2272555" cy="71859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200" dirty="0">
                <a:solidFill>
                  <a:schemeClr val="bg1"/>
                </a:solidFill>
                <a:latin typeface="Trebuchet MS" panose="020B0603020202020204" pitchFamily="34" charset="0"/>
              </a:rPr>
              <a:t>Revenue from D&amp;B Products In Benelux (booking, 2019)</a:t>
            </a:r>
          </a:p>
          <a:p>
            <a:pPr algn="ctr"/>
            <a:r>
              <a:rPr lang="en-GB" sz="1800" dirty="0">
                <a:solidFill>
                  <a:schemeClr val="bg1"/>
                </a:solidFill>
                <a:latin typeface="Trebuchet MS" panose="020B0603020202020204" pitchFamily="34" charset="0"/>
              </a:rPr>
              <a:t>~</a:t>
            </a:r>
            <a:r>
              <a:rPr lang="en-GB" sz="1800" b="1" dirty="0">
                <a:solidFill>
                  <a:schemeClr val="bg1"/>
                </a:solidFill>
                <a:latin typeface="Trebuchet MS" panose="020B0603020202020204" pitchFamily="34" charset="0"/>
              </a:rPr>
              <a:t>€37.9m</a:t>
            </a:r>
          </a:p>
        </p:txBody>
      </p:sp>
      <p:sp>
        <p:nvSpPr>
          <p:cNvPr id="41" name="ZoneTexte 40">
            <a:extLst>
              <a:ext uri="{FF2B5EF4-FFF2-40B4-BE49-F238E27FC236}">
                <a16:creationId xmlns:a16="http://schemas.microsoft.com/office/drawing/2014/main" id="{507D4F9F-C629-4C59-B0E5-0CEF0391A6A3}"/>
              </a:ext>
            </a:extLst>
          </p:cNvPr>
          <p:cNvSpPr txBox="1"/>
          <p:nvPr/>
        </p:nvSpPr>
        <p:spPr>
          <a:xfrm>
            <a:off x="3714706" y="5539208"/>
            <a:ext cx="464128" cy="400110"/>
          </a:xfrm>
          <a:prstGeom prst="rect">
            <a:avLst/>
          </a:prstGeom>
          <a:noFill/>
          <a:ln>
            <a:noFill/>
          </a:ln>
        </p:spPr>
        <p:txBody>
          <a:bodyPr wrap="square" rtlCol="0">
            <a:spAutoFit/>
          </a:bodyPr>
          <a:lstStyle/>
          <a:p>
            <a:pPr algn="ctr"/>
            <a:r>
              <a:rPr lang="en-GB" sz="2000" b="1">
                <a:solidFill>
                  <a:schemeClr val="bg1"/>
                </a:solidFill>
                <a:latin typeface="Trebuchet MS" panose="020B0603020202020204" pitchFamily="34" charset="0"/>
              </a:rPr>
              <a:t>+</a:t>
            </a:r>
          </a:p>
        </p:txBody>
      </p:sp>
      <p:pic>
        <p:nvPicPr>
          <p:cNvPr id="43" name="Picture 2 - 1" descr="Drapeau des Pays-Bas — Wikipédia">
            <a:extLst>
              <a:ext uri="{FF2B5EF4-FFF2-40B4-BE49-F238E27FC236}">
                <a16:creationId xmlns:a16="http://schemas.microsoft.com/office/drawing/2014/main" id="{090D9579-7876-489C-81DA-3079050D066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96809" y="4147402"/>
            <a:ext cx="253285" cy="152675"/>
          </a:xfrm>
          <a:prstGeom prst="roundRect">
            <a:avLst/>
          </a:prstGeom>
          <a:noFill/>
          <a:extLst>
            <a:ext uri="{909E8E84-426E-40DD-AFC4-6F175D3DCCD1}">
              <a14:hiddenFill xmlns:a14="http://schemas.microsoft.com/office/drawing/2010/main">
                <a:solidFill>
                  <a:srgbClr val="FFFFFF"/>
                </a:solidFill>
              </a14:hiddenFill>
            </a:ext>
          </a:extLst>
        </p:spPr>
      </p:pic>
      <p:pic>
        <p:nvPicPr>
          <p:cNvPr id="44" name="Picture 2" descr="5 ft x 3 ft 150 x 90 cm-DRAPEAU BELGE Belgique 100% Polyester ...">
            <a:extLst>
              <a:ext uri="{FF2B5EF4-FFF2-40B4-BE49-F238E27FC236}">
                <a16:creationId xmlns:a16="http://schemas.microsoft.com/office/drawing/2014/main" id="{33E52EE2-7AFB-44D5-93BB-3CABBA8D66E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973"/>
          <a:stretch/>
        </p:blipFill>
        <p:spPr bwMode="auto">
          <a:xfrm>
            <a:off x="4110308" y="4142396"/>
            <a:ext cx="253287" cy="152675"/>
          </a:xfrm>
          <a:prstGeom prst="roundRect">
            <a:avLst/>
          </a:prstGeom>
          <a:noFill/>
          <a:extLst>
            <a:ext uri="{909E8E84-426E-40DD-AFC4-6F175D3DCCD1}">
              <a14:hiddenFill xmlns:a14="http://schemas.microsoft.com/office/drawing/2010/main">
                <a:solidFill>
                  <a:srgbClr val="FFFFFF"/>
                </a:solidFill>
              </a14:hiddenFill>
            </a:ext>
          </a:extLst>
        </p:spPr>
      </p:pic>
      <p:pic>
        <p:nvPicPr>
          <p:cNvPr id="45" name="Picture 5" descr="A picture containing bird&#10;&#10;Description automatically generated">
            <a:extLst>
              <a:ext uri="{FF2B5EF4-FFF2-40B4-BE49-F238E27FC236}">
                <a16:creationId xmlns:a16="http://schemas.microsoft.com/office/drawing/2014/main" id="{1A7B592E-16D4-4932-9330-70E2717E55F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806992" y="4140267"/>
            <a:ext cx="253287" cy="152368"/>
          </a:xfrm>
          <a:prstGeom prst="roundRect">
            <a:avLst/>
          </a:prstGeom>
          <a:noFill/>
        </p:spPr>
      </p:pic>
      <p:pic>
        <p:nvPicPr>
          <p:cNvPr id="46" name="Picture 2" descr="Drapeau France">
            <a:extLst>
              <a:ext uri="{FF2B5EF4-FFF2-40B4-BE49-F238E27FC236}">
                <a16:creationId xmlns:a16="http://schemas.microsoft.com/office/drawing/2014/main" id="{170710F4-F1E2-4845-AB1C-E70B59F4B123}"/>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17006" b="16757"/>
          <a:stretch/>
        </p:blipFill>
        <p:spPr bwMode="auto">
          <a:xfrm>
            <a:off x="3451535" y="1386317"/>
            <a:ext cx="253285" cy="152675"/>
          </a:xfrm>
          <a:prstGeom prst="roundRect">
            <a:avLst/>
          </a:prstGeom>
          <a:noFill/>
          <a:extLst>
            <a:ext uri="{909E8E84-426E-40DD-AFC4-6F175D3DCCD1}">
              <a14:hiddenFill xmlns:a14="http://schemas.microsoft.com/office/drawing/2010/main">
                <a:solidFill>
                  <a:srgbClr val="FFFFFF"/>
                </a:solidFill>
              </a14:hiddenFill>
            </a:ext>
          </a:extLst>
        </p:spPr>
      </p:pic>
      <p:sp>
        <p:nvSpPr>
          <p:cNvPr id="52" name="Freeform 9">
            <a:extLst>
              <a:ext uri="{FF2B5EF4-FFF2-40B4-BE49-F238E27FC236}">
                <a16:creationId xmlns:a16="http://schemas.microsoft.com/office/drawing/2014/main" id="{36F45AEF-DD81-4C2E-AF9E-CB93D17F0D6F}"/>
              </a:ext>
            </a:extLst>
          </p:cNvPr>
          <p:cNvSpPr>
            <a:spLocks noEditPoints="1"/>
          </p:cNvSpPr>
          <p:nvPr/>
        </p:nvSpPr>
        <p:spPr bwMode="auto">
          <a:xfrm>
            <a:off x="7470799" y="6587816"/>
            <a:ext cx="224594" cy="245165"/>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53" name="Espace réservé du texte 2">
            <a:extLst>
              <a:ext uri="{FF2B5EF4-FFF2-40B4-BE49-F238E27FC236}">
                <a16:creationId xmlns:a16="http://schemas.microsoft.com/office/drawing/2014/main" id="{08B305E9-872E-40F7-97A4-9BC17F08526A}"/>
              </a:ext>
            </a:extLst>
          </p:cNvPr>
          <p:cNvSpPr txBox="1">
            <a:spLocks/>
          </p:cNvSpPr>
          <p:nvPr/>
        </p:nvSpPr>
        <p:spPr>
          <a:xfrm>
            <a:off x="7720255" y="6580025"/>
            <a:ext cx="932040" cy="244800"/>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GB"/>
              <a:t>Details in the following slides</a:t>
            </a:r>
          </a:p>
        </p:txBody>
      </p:sp>
      <p:sp>
        <p:nvSpPr>
          <p:cNvPr id="13" name="Rectangle 12">
            <a:extLst>
              <a:ext uri="{FF2B5EF4-FFF2-40B4-BE49-F238E27FC236}">
                <a16:creationId xmlns:a16="http://schemas.microsoft.com/office/drawing/2014/main" id="{DA3DD324-AB24-4EAB-AE06-DFADA34AA393}"/>
              </a:ext>
            </a:extLst>
          </p:cNvPr>
          <p:cNvSpPr/>
          <p:nvPr/>
        </p:nvSpPr>
        <p:spPr bwMode="auto">
          <a:xfrm>
            <a:off x="3494649" y="1565435"/>
            <a:ext cx="3067728" cy="995359"/>
          </a:xfrm>
          <a:prstGeom prst="rect">
            <a:avLst/>
          </a:prstGeom>
          <a:noFill/>
          <a:ln w="9525" cap="flat" cmpd="sng" algn="ctr">
            <a:solidFill>
              <a:schemeClr val="accent1"/>
            </a:solidFill>
            <a:prstDash val="lg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7" name="Freeform 9">
            <a:extLst>
              <a:ext uri="{FF2B5EF4-FFF2-40B4-BE49-F238E27FC236}">
                <a16:creationId xmlns:a16="http://schemas.microsoft.com/office/drawing/2014/main" id="{7E84C90F-D726-4E11-AE0A-5506B4CAA191}"/>
              </a:ext>
            </a:extLst>
          </p:cNvPr>
          <p:cNvSpPr>
            <a:spLocks noEditPoints="1"/>
          </p:cNvSpPr>
          <p:nvPr/>
        </p:nvSpPr>
        <p:spPr bwMode="auto">
          <a:xfrm>
            <a:off x="6258419" y="4610186"/>
            <a:ext cx="234184" cy="241015"/>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38" name="Rectangle 37">
            <a:extLst>
              <a:ext uri="{FF2B5EF4-FFF2-40B4-BE49-F238E27FC236}">
                <a16:creationId xmlns:a16="http://schemas.microsoft.com/office/drawing/2014/main" id="{B4D2EA02-6130-4BC8-BE7E-1CB3AB6107C5}"/>
              </a:ext>
            </a:extLst>
          </p:cNvPr>
          <p:cNvSpPr/>
          <p:nvPr/>
        </p:nvSpPr>
        <p:spPr bwMode="auto">
          <a:xfrm>
            <a:off x="3496809" y="4314080"/>
            <a:ext cx="3067728" cy="940294"/>
          </a:xfrm>
          <a:prstGeom prst="rect">
            <a:avLst/>
          </a:prstGeom>
          <a:noFill/>
          <a:ln w="9525" cap="flat" cmpd="sng" algn="ctr">
            <a:solidFill>
              <a:schemeClr val="accent1"/>
            </a:solidFill>
            <a:prstDash val="lg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42" name="Groupe 66">
            <a:extLst>
              <a:ext uri="{FF2B5EF4-FFF2-40B4-BE49-F238E27FC236}">
                <a16:creationId xmlns:a16="http://schemas.microsoft.com/office/drawing/2014/main" id="{26DEC652-4896-4060-A7EE-4710E28EABC5}"/>
              </a:ext>
            </a:extLst>
          </p:cNvPr>
          <p:cNvGrpSpPr/>
          <p:nvPr/>
        </p:nvGrpSpPr>
        <p:grpSpPr>
          <a:xfrm>
            <a:off x="8448150" y="-11528"/>
            <a:ext cx="1435548" cy="588143"/>
            <a:chOff x="8448150" y="-11528"/>
            <a:chExt cx="1435548" cy="588143"/>
          </a:xfrm>
        </p:grpSpPr>
        <p:sp>
          <p:nvSpPr>
            <p:cNvPr id="54" name="Rectangle : coins arrondis 199">
              <a:extLst>
                <a:ext uri="{FF2B5EF4-FFF2-40B4-BE49-F238E27FC236}">
                  <a16:creationId xmlns:a16="http://schemas.microsoft.com/office/drawing/2014/main" id="{B66DBB9B-E195-4246-861A-A94C985DAB58}"/>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5" name="Rectangle : coins arrondis 200">
              <a:extLst>
                <a:ext uri="{FF2B5EF4-FFF2-40B4-BE49-F238E27FC236}">
                  <a16:creationId xmlns:a16="http://schemas.microsoft.com/office/drawing/2014/main" id="{6779AD1E-EED4-4E55-A7C1-C20910CA4FDE}"/>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6" name="Rectangle : coins arrondis 201">
              <a:extLst>
                <a:ext uri="{FF2B5EF4-FFF2-40B4-BE49-F238E27FC236}">
                  <a16:creationId xmlns:a16="http://schemas.microsoft.com/office/drawing/2014/main" id="{BA6963A2-7BF4-43FD-AF55-7A664F7C4CE2}"/>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7" name="ZoneTexte 18">
              <a:extLst>
                <a:ext uri="{FF2B5EF4-FFF2-40B4-BE49-F238E27FC236}">
                  <a16:creationId xmlns:a16="http://schemas.microsoft.com/office/drawing/2014/main" id="{DC14BDAE-7788-4FAE-BA31-8EEE7C1D206B}"/>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Partnership with D&amp;B</a:t>
              </a:r>
            </a:p>
          </p:txBody>
        </p:sp>
        <p:pic>
          <p:nvPicPr>
            <p:cNvPr id="58" name="Graphique 128" descr="Jauge">
              <a:extLst>
                <a:ext uri="{FF2B5EF4-FFF2-40B4-BE49-F238E27FC236}">
                  <a16:creationId xmlns:a16="http://schemas.microsoft.com/office/drawing/2014/main" id="{1AD32FB8-2F88-4CB2-A95E-6A4D7A51224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553764" y="187516"/>
              <a:ext cx="234953" cy="218224"/>
            </a:xfrm>
            <a:prstGeom prst="rect">
              <a:avLst/>
            </a:prstGeom>
            <a:effectLst/>
          </p:spPr>
        </p:pic>
        <p:pic>
          <p:nvPicPr>
            <p:cNvPr id="59" name="Graphique 90" descr="Poignée de main">
              <a:extLst>
                <a:ext uri="{FF2B5EF4-FFF2-40B4-BE49-F238E27FC236}">
                  <a16:creationId xmlns:a16="http://schemas.microsoft.com/office/drawing/2014/main" id="{B6F8BC53-93CE-4FEE-BA7C-1A30579544C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960868" y="152880"/>
              <a:ext cx="256313" cy="287496"/>
            </a:xfrm>
            <a:prstGeom prst="rect">
              <a:avLst/>
            </a:prstGeom>
            <a:effectLst/>
          </p:spPr>
        </p:pic>
        <p:pic>
          <p:nvPicPr>
            <p:cNvPr id="60" name="Graphique 96" descr="Mégaphone">
              <a:extLst>
                <a:ext uri="{FF2B5EF4-FFF2-40B4-BE49-F238E27FC236}">
                  <a16:creationId xmlns:a16="http://schemas.microsoft.com/office/drawing/2014/main" id="{9ADADE87-AAE8-4461-BA44-6B649364B389}"/>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89331" y="181519"/>
              <a:ext cx="233011" cy="216420"/>
            </a:xfrm>
            <a:prstGeom prst="rect">
              <a:avLst/>
            </a:prstGeom>
            <a:effectLst/>
          </p:spPr>
        </p:pic>
        <p:pic>
          <p:nvPicPr>
            <p:cNvPr id="61" name="Picture 2" descr="Drapeau France">
              <a:extLst>
                <a:ext uri="{FF2B5EF4-FFF2-40B4-BE49-F238E27FC236}">
                  <a16:creationId xmlns:a16="http://schemas.microsoft.com/office/drawing/2014/main" id="{45CC6350-4372-45FE-896B-F681DE5F0E48}"/>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2" name="Picture 2" descr="5 ft x 3 ft 150 x 90 cm-DRAPEAU BELGE Belgique 100% Polyester ...">
              <a:extLst>
                <a:ext uri="{FF2B5EF4-FFF2-40B4-BE49-F238E27FC236}">
                  <a16:creationId xmlns:a16="http://schemas.microsoft.com/office/drawing/2014/main" id="{DD3F31F5-BF82-4DA5-A6C1-6A1E8ED86CF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3" name="Picture 2 - 1" descr="Drapeau des Pays-Bas — Wikipédia">
              <a:extLst>
                <a:ext uri="{FF2B5EF4-FFF2-40B4-BE49-F238E27FC236}">
                  <a16:creationId xmlns:a16="http://schemas.microsoft.com/office/drawing/2014/main" id="{7C2448C4-C1BF-4522-81A3-F34DC69C7BC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4" name="Picture 2 - 2" descr="Drapeau du Luxembourg">
              <a:extLst>
                <a:ext uri="{FF2B5EF4-FFF2-40B4-BE49-F238E27FC236}">
                  <a16:creationId xmlns:a16="http://schemas.microsoft.com/office/drawing/2014/main" id="{DA3BD27A-2FF2-4DCA-A7AD-24DB4229BE83}"/>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5" name="ZoneTexte 18">
              <a:extLst>
                <a:ext uri="{FF2B5EF4-FFF2-40B4-BE49-F238E27FC236}">
                  <a16:creationId xmlns:a16="http://schemas.microsoft.com/office/drawing/2014/main" id="{524AAFA5-1BC4-4787-A59B-EC3859455C5D}"/>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sp>
        <p:nvSpPr>
          <p:cNvPr id="20" name="ZoneTexte 19">
            <a:extLst>
              <a:ext uri="{FF2B5EF4-FFF2-40B4-BE49-F238E27FC236}">
                <a16:creationId xmlns:a16="http://schemas.microsoft.com/office/drawing/2014/main" id="{E7DD6920-A425-47CA-BFF6-7F6CDDA3C83D}"/>
              </a:ext>
            </a:extLst>
          </p:cNvPr>
          <p:cNvSpPr txBox="1"/>
          <p:nvPr/>
        </p:nvSpPr>
        <p:spPr>
          <a:xfrm>
            <a:off x="3494649" y="3702189"/>
            <a:ext cx="3151244" cy="246221"/>
          </a:xfrm>
          <a:prstGeom prst="rect">
            <a:avLst/>
          </a:prstGeom>
          <a:noFill/>
        </p:spPr>
        <p:txBody>
          <a:bodyPr wrap="square" rtlCol="0">
            <a:spAutoFit/>
          </a:bodyPr>
          <a:lstStyle/>
          <a:p>
            <a:pPr algn="ctr"/>
            <a:r>
              <a:rPr lang="en-GB" sz="1000" i="1">
                <a:latin typeface="Trebuchet MS" panose="020B0603020202020204" pitchFamily="34" charset="0"/>
              </a:rPr>
              <a:t>Flux include data/IT/royalties/</a:t>
            </a:r>
            <a:r>
              <a:rPr lang="en-GB" sz="1000" i="1" err="1">
                <a:latin typeface="Trebuchet MS" panose="020B0603020202020204" pitchFamily="34" charset="0"/>
              </a:rPr>
              <a:t>TradeMark</a:t>
            </a:r>
            <a:r>
              <a:rPr lang="en-GB" sz="1000" i="1">
                <a:latin typeface="Trebuchet MS" panose="020B0603020202020204" pitchFamily="34" charset="0"/>
              </a:rPr>
              <a:t> </a:t>
            </a:r>
          </a:p>
        </p:txBody>
      </p:sp>
      <p:sp>
        <p:nvSpPr>
          <p:cNvPr id="21" name="Triangle isocèle 20">
            <a:extLst>
              <a:ext uri="{FF2B5EF4-FFF2-40B4-BE49-F238E27FC236}">
                <a16:creationId xmlns:a16="http://schemas.microsoft.com/office/drawing/2014/main" id="{048F0AFB-0954-4E18-B3F8-041BE6DC7111}"/>
              </a:ext>
            </a:extLst>
          </p:cNvPr>
          <p:cNvSpPr/>
          <p:nvPr/>
        </p:nvSpPr>
        <p:spPr bwMode="auto">
          <a:xfrm>
            <a:off x="4807356" y="3641917"/>
            <a:ext cx="591127" cy="91656"/>
          </a:xfrm>
          <a:prstGeom prst="triangl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7" name="Triangle isocèle 66">
            <a:extLst>
              <a:ext uri="{FF2B5EF4-FFF2-40B4-BE49-F238E27FC236}">
                <a16:creationId xmlns:a16="http://schemas.microsoft.com/office/drawing/2014/main" id="{E737B98D-97AE-4ACA-A404-E3B356627350}"/>
              </a:ext>
            </a:extLst>
          </p:cNvPr>
          <p:cNvSpPr/>
          <p:nvPr/>
        </p:nvSpPr>
        <p:spPr bwMode="auto">
          <a:xfrm rot="10800000">
            <a:off x="4844128" y="3915800"/>
            <a:ext cx="591127" cy="91656"/>
          </a:xfrm>
          <a:prstGeom prst="triangl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2" name="Espace réservé du texte 21">
            <a:extLst>
              <a:ext uri="{FF2B5EF4-FFF2-40B4-BE49-F238E27FC236}">
                <a16:creationId xmlns:a16="http://schemas.microsoft.com/office/drawing/2014/main" id="{A8A0981B-ADCD-43AC-9477-F75945FAEE9D}"/>
              </a:ext>
            </a:extLst>
          </p:cNvPr>
          <p:cNvSpPr>
            <a:spLocks noGrp="1"/>
          </p:cNvSpPr>
          <p:nvPr>
            <p:ph type="body" sz="quarter" idx="10"/>
          </p:nvPr>
        </p:nvSpPr>
        <p:spPr/>
        <p:txBody>
          <a:bodyPr/>
          <a:lstStyle/>
          <a:p>
            <a:r>
              <a:rPr lang="en-GB" sz="800" i="1" kern="0" dirty="0"/>
              <a:t>Sources: eleven research &amp; analysis, company data</a:t>
            </a:r>
            <a:endParaRPr lang="en-GB" dirty="0"/>
          </a:p>
        </p:txBody>
      </p:sp>
      <p:sp>
        <p:nvSpPr>
          <p:cNvPr id="66" name="Espace réservé du texte 2">
            <a:extLst>
              <a:ext uri="{FF2B5EF4-FFF2-40B4-BE49-F238E27FC236}">
                <a16:creationId xmlns:a16="http://schemas.microsoft.com/office/drawing/2014/main" id="{63274088-9449-47AE-9E04-4007E3754246}"/>
              </a:ext>
            </a:extLst>
          </p:cNvPr>
          <p:cNvSpPr txBox="1">
            <a:spLocks/>
          </p:cNvSpPr>
          <p:nvPr/>
        </p:nvSpPr>
        <p:spPr>
          <a:xfrm>
            <a:off x="6417732" y="4806195"/>
            <a:ext cx="932040" cy="244800"/>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GB">
                <a:solidFill>
                  <a:schemeClr val="accent1"/>
                </a:solidFill>
              </a:rPr>
              <a:t>See infra</a:t>
            </a:r>
          </a:p>
        </p:txBody>
      </p:sp>
      <p:sp>
        <p:nvSpPr>
          <p:cNvPr id="68" name="Espace réservé du texte 2">
            <a:extLst>
              <a:ext uri="{FF2B5EF4-FFF2-40B4-BE49-F238E27FC236}">
                <a16:creationId xmlns:a16="http://schemas.microsoft.com/office/drawing/2014/main" id="{625849B2-13D4-4F9D-9673-AAE8B03B0B1C}"/>
              </a:ext>
            </a:extLst>
          </p:cNvPr>
          <p:cNvSpPr txBox="1">
            <a:spLocks/>
          </p:cNvSpPr>
          <p:nvPr/>
        </p:nvSpPr>
        <p:spPr>
          <a:xfrm>
            <a:off x="6325635" y="2090714"/>
            <a:ext cx="932040" cy="244800"/>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GB">
                <a:solidFill>
                  <a:schemeClr val="accent1"/>
                </a:solidFill>
              </a:rPr>
              <a:t>See infra</a:t>
            </a:r>
          </a:p>
        </p:txBody>
      </p:sp>
      <p:sp>
        <p:nvSpPr>
          <p:cNvPr id="3" name="Rectangle 2">
            <a:extLst>
              <a:ext uri="{FF2B5EF4-FFF2-40B4-BE49-F238E27FC236}">
                <a16:creationId xmlns:a16="http://schemas.microsoft.com/office/drawing/2014/main" id="{0C59084E-AECD-48A7-9201-72A8A1DAC993}"/>
              </a:ext>
            </a:extLst>
          </p:cNvPr>
          <p:cNvSpPr/>
          <p:nvPr/>
        </p:nvSpPr>
        <p:spPr bwMode="auto">
          <a:xfrm>
            <a:off x="10827657" y="361171"/>
            <a:ext cx="1640114" cy="1759882"/>
          </a:xfrm>
          <a:prstGeom prst="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itchFamily="34" charset="0"/>
              </a:rPr>
              <a:t>Altares a un partenariat exclusif avec D&amp;B depuis X années </a:t>
            </a:r>
          </a:p>
        </p:txBody>
      </p:sp>
      <p:sp>
        <p:nvSpPr>
          <p:cNvPr id="69" name="Ellipse 68">
            <a:extLst>
              <a:ext uri="{FF2B5EF4-FFF2-40B4-BE49-F238E27FC236}">
                <a16:creationId xmlns:a16="http://schemas.microsoft.com/office/drawing/2014/main" id="{D5B179F7-A3B1-40CE-98A2-CC2D5603EE7E}"/>
              </a:ext>
            </a:extLst>
          </p:cNvPr>
          <p:cNvSpPr/>
          <p:nvPr/>
        </p:nvSpPr>
        <p:spPr bwMode="auto">
          <a:xfrm>
            <a:off x="3784642" y="5567820"/>
            <a:ext cx="323233" cy="342885"/>
          </a:xfrm>
          <a:prstGeom prst="ellipse">
            <a:avLst/>
          </a:prstGeom>
          <a:solidFill>
            <a:schemeClr val="tx2"/>
          </a:solidFill>
          <a:ln w="2857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a:ln>
                <a:noFill/>
              </a:ln>
              <a:solidFill>
                <a:schemeClr val="bg1"/>
              </a:solidFill>
              <a:effectLst/>
              <a:latin typeface="Trebuchet MS" pitchFamily="34" charset="0"/>
            </a:endParaRPr>
          </a:p>
        </p:txBody>
      </p:sp>
      <p:sp>
        <p:nvSpPr>
          <p:cNvPr id="70" name="ZoneTexte 69">
            <a:extLst>
              <a:ext uri="{FF2B5EF4-FFF2-40B4-BE49-F238E27FC236}">
                <a16:creationId xmlns:a16="http://schemas.microsoft.com/office/drawing/2014/main" id="{047324D0-DAA9-49CA-AD75-850BF7E84C70}"/>
              </a:ext>
            </a:extLst>
          </p:cNvPr>
          <p:cNvSpPr txBox="1"/>
          <p:nvPr/>
        </p:nvSpPr>
        <p:spPr>
          <a:xfrm>
            <a:off x="3716868" y="5543477"/>
            <a:ext cx="464128" cy="400110"/>
          </a:xfrm>
          <a:prstGeom prst="rect">
            <a:avLst/>
          </a:prstGeom>
          <a:noFill/>
          <a:ln>
            <a:noFill/>
          </a:ln>
        </p:spPr>
        <p:txBody>
          <a:bodyPr wrap="square" rtlCol="0">
            <a:spAutoFit/>
          </a:bodyPr>
          <a:lstStyle/>
          <a:p>
            <a:pPr algn="ctr"/>
            <a:r>
              <a:rPr lang="en-GB" sz="2000" b="1">
                <a:solidFill>
                  <a:schemeClr val="bg1"/>
                </a:solidFill>
                <a:latin typeface="Trebuchet MS" panose="020B0603020202020204" pitchFamily="34" charset="0"/>
              </a:rPr>
              <a:t>+</a:t>
            </a:r>
          </a:p>
        </p:txBody>
      </p:sp>
    </p:spTree>
    <p:extLst>
      <p:ext uri="{BB962C8B-B14F-4D97-AF65-F5344CB8AC3E}">
        <p14:creationId xmlns:p14="http://schemas.microsoft.com/office/powerpoint/2010/main" val="1314010191"/>
      </p:ext>
    </p:extLst>
  </p:cSld>
  <p:clrMapOvr>
    <a:masterClrMapping/>
  </p:clrMapOvr>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552E1EC3-205B-4433-B741-DE5C2A189BA2}"/>
              </a:ext>
            </a:extLst>
          </p:cNvPr>
          <p:cNvGraphicFramePr>
            <a:graphicFrameLocks noChangeAspect="1"/>
          </p:cNvGraphicFramePr>
          <p:nvPr>
            <p:custDataLst>
              <p:tags r:id="rId1"/>
            </p:custDataLst>
            <p:extLst>
              <p:ext uri="{D42A27DB-BD31-4B8C-83A1-F6EECF244321}">
                <p14:modId xmlns:p14="http://schemas.microsoft.com/office/powerpoint/2010/main" val="300593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13" name="Objet 12" hidden="1">
                        <a:extLst>
                          <a:ext uri="{FF2B5EF4-FFF2-40B4-BE49-F238E27FC236}">
                            <a16:creationId xmlns:a16="http://schemas.microsoft.com/office/drawing/2014/main" id="{552E1EC3-205B-4433-B741-DE5C2A189B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du texte 2">
            <a:extLst>
              <a:ext uri="{FF2B5EF4-FFF2-40B4-BE49-F238E27FC236}">
                <a16:creationId xmlns:a16="http://schemas.microsoft.com/office/drawing/2014/main" id="{2CCF91DF-5924-4961-9D1C-67F2DE9D187B}"/>
              </a:ext>
            </a:extLst>
          </p:cNvPr>
          <p:cNvSpPr>
            <a:spLocks noGrp="1"/>
          </p:cNvSpPr>
          <p:nvPr>
            <p:ph type="body" sz="quarter" idx="10"/>
          </p:nvPr>
        </p:nvSpPr>
        <p:spPr/>
        <p:txBody>
          <a:bodyPr/>
          <a:lstStyle/>
          <a:p>
            <a:r>
              <a:rPr lang="en-GB" sz="800" i="1" kern="0"/>
              <a:t>Sources: eleven research &amp; analysis, </a:t>
            </a:r>
            <a:r>
              <a:rPr lang="en-GB"/>
              <a:t>company data</a:t>
            </a:r>
          </a:p>
          <a:p>
            <a:r>
              <a:rPr lang="en-GB"/>
              <a:t>*Purchase from DBI (incl. about 350K p.a. from Benelux) </a:t>
            </a:r>
          </a:p>
        </p:txBody>
      </p:sp>
      <p:cxnSp>
        <p:nvCxnSpPr>
          <p:cNvPr id="4" name="Connecteur droit 208">
            <a:extLst>
              <a:ext uri="{FF2B5EF4-FFF2-40B4-BE49-F238E27FC236}">
                <a16:creationId xmlns:a16="http://schemas.microsoft.com/office/drawing/2014/main" id="{CFCFAA4C-9B5D-464A-B237-335D7501CA5C}"/>
              </a:ext>
            </a:extLst>
          </p:cNvPr>
          <p:cNvCxnSpPr>
            <a:cxnSpLocks/>
          </p:cNvCxnSpPr>
          <p:nvPr/>
        </p:nvCxnSpPr>
        <p:spPr bwMode="auto">
          <a:xfrm>
            <a:off x="384975" y="986602"/>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 name="ZoneTexte 12">
            <a:extLst>
              <a:ext uri="{FF2B5EF4-FFF2-40B4-BE49-F238E27FC236}">
                <a16:creationId xmlns:a16="http://schemas.microsoft.com/office/drawing/2014/main" id="{B0DECA8C-AD4B-49C6-8D94-1FF22D905769}"/>
              </a:ext>
            </a:extLst>
          </p:cNvPr>
          <p:cNvSpPr txBox="1"/>
          <p:nvPr/>
        </p:nvSpPr>
        <p:spPr>
          <a:xfrm>
            <a:off x="2340442" y="883124"/>
            <a:ext cx="5081264" cy="245165"/>
          </a:xfrm>
          <a:prstGeom prst="rect">
            <a:avLst/>
          </a:prstGeom>
          <a:solidFill>
            <a:schemeClr val="bg1"/>
          </a:solidFill>
        </p:spPr>
        <p:txBody>
          <a:bodyPr wrap="square" rtlCol="0">
            <a:noAutofit/>
          </a:bodyPr>
          <a:lstStyle/>
          <a:p>
            <a:pPr algn="ctr"/>
            <a:r>
              <a:rPr lang="en-GB" sz="1100">
                <a:latin typeface="Trebuchet MS" panose="020B0603020202020204" pitchFamily="34" charset="0"/>
              </a:rPr>
              <a:t>Financial flow inventory between </a:t>
            </a:r>
            <a:r>
              <a:rPr lang="en-GB" sz="1100" err="1">
                <a:latin typeface="Trebuchet MS" panose="020B0603020202020204" pitchFamily="34" charset="0"/>
              </a:rPr>
              <a:t>Altares</a:t>
            </a:r>
            <a:r>
              <a:rPr lang="en-GB" sz="1100">
                <a:latin typeface="Trebuchet MS" panose="020B0603020202020204" pitchFamily="34" charset="0"/>
              </a:rPr>
              <a:t> and D&amp;B in France</a:t>
            </a:r>
          </a:p>
        </p:txBody>
      </p:sp>
      <p:sp>
        <p:nvSpPr>
          <p:cNvPr id="6" name="Rectangle 5">
            <a:extLst>
              <a:ext uri="{FF2B5EF4-FFF2-40B4-BE49-F238E27FC236}">
                <a16:creationId xmlns:a16="http://schemas.microsoft.com/office/drawing/2014/main" id="{9B8CF351-193D-488A-B25D-B65F23001228}"/>
              </a:ext>
            </a:extLst>
          </p:cNvPr>
          <p:cNvSpPr/>
          <p:nvPr/>
        </p:nvSpPr>
        <p:spPr bwMode="auto">
          <a:xfrm>
            <a:off x="384975" y="1283292"/>
            <a:ext cx="4294978" cy="500002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Expenses (k€)</a:t>
            </a:r>
          </a:p>
        </p:txBody>
      </p:sp>
      <p:sp>
        <p:nvSpPr>
          <p:cNvPr id="8" name="Rectangle 7">
            <a:extLst>
              <a:ext uri="{FF2B5EF4-FFF2-40B4-BE49-F238E27FC236}">
                <a16:creationId xmlns:a16="http://schemas.microsoft.com/office/drawing/2014/main" id="{CB1BE7F2-FBB2-4FD3-948E-9C8EDCDBA0F1}"/>
              </a:ext>
            </a:extLst>
          </p:cNvPr>
          <p:cNvSpPr/>
          <p:nvPr/>
        </p:nvSpPr>
        <p:spPr bwMode="auto">
          <a:xfrm>
            <a:off x="5041557" y="1283292"/>
            <a:ext cx="4479470" cy="500002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a:ln>
                  <a:noFill/>
                </a:ln>
                <a:solidFill>
                  <a:schemeClr val="tx1"/>
                </a:solidFill>
                <a:effectLst/>
                <a:latin typeface="Trebuchet MS" panose="020B0603020202020204" pitchFamily="34" charset="0"/>
              </a:rPr>
              <a:t>Revenue (k€)</a:t>
            </a:r>
          </a:p>
        </p:txBody>
      </p:sp>
      <p:graphicFrame>
        <p:nvGraphicFramePr>
          <p:cNvPr id="20" name="Graphique 19">
            <a:extLst>
              <a:ext uri="{FF2B5EF4-FFF2-40B4-BE49-F238E27FC236}">
                <a16:creationId xmlns:a16="http://schemas.microsoft.com/office/drawing/2014/main" id="{720BA582-74A4-4F89-8B20-6CD48EBD33A1}"/>
              </a:ext>
            </a:extLst>
          </p:cNvPr>
          <p:cNvGraphicFramePr/>
          <p:nvPr>
            <p:extLst>
              <p:ext uri="{D42A27DB-BD31-4B8C-83A1-F6EECF244321}">
                <p14:modId xmlns:p14="http://schemas.microsoft.com/office/powerpoint/2010/main" val="598352837"/>
              </p:ext>
            </p:extLst>
          </p:nvPr>
        </p:nvGraphicFramePr>
        <p:xfrm>
          <a:off x="481915" y="1680636"/>
          <a:ext cx="4198038" cy="449774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1" name="Graphique 20">
            <a:extLst>
              <a:ext uri="{FF2B5EF4-FFF2-40B4-BE49-F238E27FC236}">
                <a16:creationId xmlns:a16="http://schemas.microsoft.com/office/drawing/2014/main" id="{07897239-4104-429E-A736-1D434AAC1486}"/>
              </a:ext>
            </a:extLst>
          </p:cNvPr>
          <p:cNvGraphicFramePr/>
          <p:nvPr>
            <p:extLst>
              <p:ext uri="{D42A27DB-BD31-4B8C-83A1-F6EECF244321}">
                <p14:modId xmlns:p14="http://schemas.microsoft.com/office/powerpoint/2010/main" val="3081598281"/>
              </p:ext>
            </p:extLst>
          </p:nvPr>
        </p:nvGraphicFramePr>
        <p:xfrm>
          <a:off x="5189838" y="1579981"/>
          <a:ext cx="4148006" cy="4703335"/>
        </p:xfrm>
        <a:graphic>
          <a:graphicData uri="http://schemas.openxmlformats.org/drawingml/2006/chart">
            <c:chart xmlns:c="http://schemas.openxmlformats.org/drawingml/2006/chart" xmlns:r="http://schemas.openxmlformats.org/officeDocument/2006/relationships" r:id="rId6"/>
          </a:graphicData>
        </a:graphic>
      </p:graphicFrame>
      <p:sp>
        <p:nvSpPr>
          <p:cNvPr id="22" name="Rectangle 21">
            <a:extLst>
              <a:ext uri="{FF2B5EF4-FFF2-40B4-BE49-F238E27FC236}">
                <a16:creationId xmlns:a16="http://schemas.microsoft.com/office/drawing/2014/main" id="{865DCA02-1DB7-4F79-877A-8FB5D2ECCF62}"/>
              </a:ext>
            </a:extLst>
          </p:cNvPr>
          <p:cNvSpPr/>
          <p:nvPr/>
        </p:nvSpPr>
        <p:spPr bwMode="auto">
          <a:xfrm>
            <a:off x="3248200" y="1767133"/>
            <a:ext cx="1075037" cy="827786"/>
          </a:xfrm>
          <a:prstGeom prst="rect">
            <a:avLst/>
          </a:prstGeom>
          <a:solidFill>
            <a:schemeClr val="bg1"/>
          </a:solidFill>
          <a:ln w="9525" cap="flat" cmpd="sng" algn="ctr">
            <a:solidFill>
              <a:srgbClr val="BFBFBF"/>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tx2"/>
                </a:solidFill>
                <a:effectLst/>
                <a:latin typeface="Trebuchet MS" pitchFamily="34" charset="0"/>
              </a:rPr>
              <a:t>Total 2019: </a:t>
            </a:r>
          </a:p>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2"/>
              </a:solidFill>
              <a:effectLst/>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tx2"/>
                </a:solidFill>
                <a:effectLst/>
                <a:latin typeface="Trebuchet MS" pitchFamily="34" charset="0"/>
              </a:rPr>
              <a:t>€ 7,157k</a:t>
            </a:r>
            <a:endParaRPr lang="en-GB" sz="1200">
              <a:solidFill>
                <a:schemeClr val="tx2"/>
              </a:solidFill>
              <a:latin typeface="Trebuchet MS" panose="020B0603020202020204" pitchFamily="34" charset="0"/>
            </a:endParaRPr>
          </a:p>
        </p:txBody>
      </p:sp>
      <p:sp>
        <p:nvSpPr>
          <p:cNvPr id="23" name="Rectangle 22">
            <a:extLst>
              <a:ext uri="{FF2B5EF4-FFF2-40B4-BE49-F238E27FC236}">
                <a16:creationId xmlns:a16="http://schemas.microsoft.com/office/drawing/2014/main" id="{3B1647E1-E1C5-4A47-9361-3402F78378DF}"/>
              </a:ext>
            </a:extLst>
          </p:cNvPr>
          <p:cNvSpPr/>
          <p:nvPr/>
        </p:nvSpPr>
        <p:spPr bwMode="auto">
          <a:xfrm>
            <a:off x="8262807" y="1767133"/>
            <a:ext cx="1075037" cy="827786"/>
          </a:xfrm>
          <a:prstGeom prst="rect">
            <a:avLst/>
          </a:prstGeom>
          <a:solidFill>
            <a:schemeClr val="bg1"/>
          </a:solidFill>
          <a:ln w="9525" cap="flat" cmpd="sng" algn="ctr">
            <a:solidFill>
              <a:srgbClr val="BFBFBF"/>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tx2"/>
                </a:solidFill>
                <a:effectLst/>
                <a:latin typeface="Trebuchet MS" pitchFamily="34" charset="0"/>
              </a:rPr>
              <a:t>Total 2019: </a:t>
            </a:r>
          </a:p>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2"/>
              </a:solidFill>
              <a:effectLst/>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tx2"/>
                </a:solidFill>
                <a:effectLst/>
                <a:latin typeface="Trebuchet MS" pitchFamily="34" charset="0"/>
              </a:rPr>
              <a:t>€ 10,241k</a:t>
            </a:r>
            <a:endParaRPr lang="en-GB" sz="1200">
              <a:solidFill>
                <a:schemeClr val="tx2"/>
              </a:solidFill>
              <a:latin typeface="Trebuchet MS" panose="020B0603020202020204" pitchFamily="34" charset="0"/>
            </a:endParaRPr>
          </a:p>
        </p:txBody>
      </p:sp>
      <p:sp>
        <p:nvSpPr>
          <p:cNvPr id="15" name="Freeform 9">
            <a:extLst>
              <a:ext uri="{FF2B5EF4-FFF2-40B4-BE49-F238E27FC236}">
                <a16:creationId xmlns:a16="http://schemas.microsoft.com/office/drawing/2014/main" id="{540B6F5C-DDE4-4785-9F62-5F0EB11B3DD4}"/>
              </a:ext>
            </a:extLst>
          </p:cNvPr>
          <p:cNvSpPr>
            <a:spLocks noEditPoints="1"/>
          </p:cNvSpPr>
          <p:nvPr/>
        </p:nvSpPr>
        <p:spPr bwMode="auto">
          <a:xfrm>
            <a:off x="140400" y="222163"/>
            <a:ext cx="382759" cy="416927"/>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16" name="Titre 2">
            <a:extLst>
              <a:ext uri="{FF2B5EF4-FFF2-40B4-BE49-F238E27FC236}">
                <a16:creationId xmlns:a16="http://schemas.microsoft.com/office/drawing/2014/main" id="{F75F6C43-0E02-4BE4-A0AF-02C157F90161}"/>
              </a:ext>
            </a:extLst>
          </p:cNvPr>
          <p:cNvSpPr txBox="1">
            <a:spLocks/>
          </p:cNvSpPr>
          <p:nvPr/>
        </p:nvSpPr>
        <p:spPr bwMode="auto">
          <a:xfrm>
            <a:off x="596809" y="147600"/>
            <a:ext cx="7769572" cy="68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1">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b="0" i="1" kern="0" dirty="0">
                <a:solidFill>
                  <a:schemeClr val="accent1"/>
                </a:solidFill>
                <a:latin typeface="Trebuchet MS" panose="020B0603020202020204" pitchFamily="34" charset="0"/>
              </a:rPr>
              <a:t>Illustration</a:t>
            </a:r>
            <a:r>
              <a:rPr lang="en-GB" b="0" kern="0" dirty="0">
                <a:latin typeface="Trebuchet MS" panose="020B0603020202020204" pitchFamily="34" charset="0"/>
              </a:rPr>
              <a:t>: In 2019, financial flows (excluding revenue from D&amp;B products) between </a:t>
            </a:r>
            <a:r>
              <a:rPr lang="en-GB" b="0" kern="0" dirty="0" err="1">
                <a:latin typeface="Trebuchet MS" panose="020B0603020202020204" pitchFamily="34" charset="0"/>
              </a:rPr>
              <a:t>Altares</a:t>
            </a:r>
            <a:r>
              <a:rPr lang="en-GB" b="0" kern="0" dirty="0">
                <a:latin typeface="Trebuchet MS" panose="020B0603020202020204" pitchFamily="34" charset="0"/>
              </a:rPr>
              <a:t> </a:t>
            </a:r>
            <a:r>
              <a:rPr lang="en-GB" b="0" kern="0" dirty="0">
                <a:solidFill>
                  <a:schemeClr val="tx2"/>
                </a:solidFill>
                <a:latin typeface="Trebuchet MS" panose="020B0603020202020204" pitchFamily="34" charset="0"/>
              </a:rPr>
              <a:t>France</a:t>
            </a:r>
            <a:r>
              <a:rPr lang="en-GB" b="0" kern="0" dirty="0">
                <a:latin typeface="Trebuchet MS" panose="020B0603020202020204" pitchFamily="34" charset="0"/>
              </a:rPr>
              <a:t> and D&amp;B are split </a:t>
            </a:r>
            <a:r>
              <a:rPr lang="en-GB" b="0" kern="0" dirty="0">
                <a:solidFill>
                  <a:schemeClr val="tx2"/>
                </a:solidFill>
                <a:latin typeface="Trebuchet MS" panose="020B0603020202020204" pitchFamily="34" charset="0"/>
              </a:rPr>
              <a:t>between ~10m€ of revenue and ~7€m of expenses </a:t>
            </a:r>
          </a:p>
        </p:txBody>
      </p:sp>
      <p:sp>
        <p:nvSpPr>
          <p:cNvPr id="17" name="Rectangle : coins arrondis 199">
            <a:extLst>
              <a:ext uri="{FF2B5EF4-FFF2-40B4-BE49-F238E27FC236}">
                <a16:creationId xmlns:a16="http://schemas.microsoft.com/office/drawing/2014/main" id="{60D463C4-2BEF-4F90-99E4-BE1F596B82EE}"/>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8" name="Rectangle : coins arrondis 200">
            <a:extLst>
              <a:ext uri="{FF2B5EF4-FFF2-40B4-BE49-F238E27FC236}">
                <a16:creationId xmlns:a16="http://schemas.microsoft.com/office/drawing/2014/main" id="{B865CD4A-7F6D-4B02-8730-312E86F4C3E2}"/>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9" name="Rectangle : coins arrondis 201">
            <a:extLst>
              <a:ext uri="{FF2B5EF4-FFF2-40B4-BE49-F238E27FC236}">
                <a16:creationId xmlns:a16="http://schemas.microsoft.com/office/drawing/2014/main" id="{83AC96A4-6D08-4DCD-8F83-E72C6339290D}"/>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4" name="ZoneTexte 18">
            <a:extLst>
              <a:ext uri="{FF2B5EF4-FFF2-40B4-BE49-F238E27FC236}">
                <a16:creationId xmlns:a16="http://schemas.microsoft.com/office/drawing/2014/main" id="{7F857B66-88AF-4CC8-B115-32E790EE3E15}"/>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Partnership with D&amp;B</a:t>
            </a:r>
          </a:p>
        </p:txBody>
      </p:sp>
      <p:pic>
        <p:nvPicPr>
          <p:cNvPr id="25" name="Graphique 128" descr="Jauge">
            <a:extLst>
              <a:ext uri="{FF2B5EF4-FFF2-40B4-BE49-F238E27FC236}">
                <a16:creationId xmlns:a16="http://schemas.microsoft.com/office/drawing/2014/main" id="{A56F63C0-D1A4-4A36-8A9D-53C2F88D4F0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26" name="Graphique 90" descr="Poignée de main">
            <a:extLst>
              <a:ext uri="{FF2B5EF4-FFF2-40B4-BE49-F238E27FC236}">
                <a16:creationId xmlns:a16="http://schemas.microsoft.com/office/drawing/2014/main" id="{1506BAB4-AF28-4BA4-9E1F-55E03C3023F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27" name="Graphique 96" descr="Mégaphone">
            <a:extLst>
              <a:ext uri="{FF2B5EF4-FFF2-40B4-BE49-F238E27FC236}">
                <a16:creationId xmlns:a16="http://schemas.microsoft.com/office/drawing/2014/main" id="{AFBDBE68-1670-474C-8ED7-CF4417E4192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28" name="Picture 2" descr="Drapeau France">
            <a:extLst>
              <a:ext uri="{FF2B5EF4-FFF2-40B4-BE49-F238E27FC236}">
                <a16:creationId xmlns:a16="http://schemas.microsoft.com/office/drawing/2014/main" id="{1BC4EC40-5D3A-4080-9366-8B1D17620A38}"/>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32" name="ZoneTexte 18">
            <a:extLst>
              <a:ext uri="{FF2B5EF4-FFF2-40B4-BE49-F238E27FC236}">
                <a16:creationId xmlns:a16="http://schemas.microsoft.com/office/drawing/2014/main" id="{DD36DF9E-831F-4291-9672-77533653FC32}"/>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France</a:t>
            </a:r>
          </a:p>
        </p:txBody>
      </p:sp>
      <p:sp>
        <p:nvSpPr>
          <p:cNvPr id="36" name="Bulle narrative : rectangle 35">
            <a:extLst>
              <a:ext uri="{FF2B5EF4-FFF2-40B4-BE49-F238E27FC236}">
                <a16:creationId xmlns:a16="http://schemas.microsoft.com/office/drawing/2014/main" id="{D0669013-4107-4455-96AA-5F18C0E1559F}"/>
              </a:ext>
            </a:extLst>
          </p:cNvPr>
          <p:cNvSpPr/>
          <p:nvPr/>
        </p:nvSpPr>
        <p:spPr bwMode="auto">
          <a:xfrm>
            <a:off x="1863999" y="2681415"/>
            <a:ext cx="1276365" cy="893057"/>
          </a:xfrm>
          <a:prstGeom prst="wedgeRectCallout">
            <a:avLst>
              <a:gd name="adj1" fmla="val -64230"/>
              <a:gd name="adj2" fmla="val 22959"/>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1"/>
                </a:solidFill>
                <a:effectLst/>
                <a:latin typeface="Trebuchet MS" panose="020B0603020202020204" pitchFamily="34" charset="0"/>
              </a:rPr>
              <a:t>« Cross border subscription plan », i.e. purchase and sale of international reports</a:t>
            </a:r>
          </a:p>
        </p:txBody>
      </p:sp>
      <p:sp>
        <p:nvSpPr>
          <p:cNvPr id="37" name="Bulle narrative : rectangle 36">
            <a:extLst>
              <a:ext uri="{FF2B5EF4-FFF2-40B4-BE49-F238E27FC236}">
                <a16:creationId xmlns:a16="http://schemas.microsoft.com/office/drawing/2014/main" id="{993ACA39-7CBF-43C3-94BB-E01B2FE94702}"/>
              </a:ext>
            </a:extLst>
          </p:cNvPr>
          <p:cNvSpPr/>
          <p:nvPr/>
        </p:nvSpPr>
        <p:spPr bwMode="auto">
          <a:xfrm>
            <a:off x="3140364" y="3703650"/>
            <a:ext cx="936741" cy="451713"/>
          </a:xfrm>
          <a:prstGeom prst="wedgeRectCallout">
            <a:avLst>
              <a:gd name="adj1" fmla="val -64230"/>
              <a:gd name="adj2" fmla="val 22959"/>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Royalties on products</a:t>
            </a:r>
            <a:endParaRPr kumimoji="0" lang="en-GB" sz="900" b="0" i="0" u="none" strike="noStrike" cap="none" normalizeH="0" baseline="0">
              <a:ln>
                <a:noFill/>
              </a:ln>
              <a:solidFill>
                <a:schemeClr val="tx1"/>
              </a:solidFill>
              <a:effectLst/>
              <a:latin typeface="Trebuchet MS" panose="020B0603020202020204" pitchFamily="34" charset="0"/>
            </a:endParaRPr>
          </a:p>
        </p:txBody>
      </p:sp>
      <p:sp>
        <p:nvSpPr>
          <p:cNvPr id="38" name="Bulle narrative : rectangle 37">
            <a:extLst>
              <a:ext uri="{FF2B5EF4-FFF2-40B4-BE49-F238E27FC236}">
                <a16:creationId xmlns:a16="http://schemas.microsoft.com/office/drawing/2014/main" id="{4BFF22DF-EE9C-499D-AF3A-386558E6EA0D}"/>
              </a:ext>
            </a:extLst>
          </p:cNvPr>
          <p:cNvSpPr/>
          <p:nvPr/>
        </p:nvSpPr>
        <p:spPr bwMode="auto">
          <a:xfrm>
            <a:off x="6809028" y="2681415"/>
            <a:ext cx="1276365" cy="893057"/>
          </a:xfrm>
          <a:prstGeom prst="wedgeRectCallout">
            <a:avLst>
              <a:gd name="adj1" fmla="val -64230"/>
              <a:gd name="adj2" fmla="val 22959"/>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1"/>
                </a:solidFill>
                <a:effectLst/>
                <a:latin typeface="Trebuchet MS" panose="020B0603020202020204" pitchFamily="34" charset="0"/>
              </a:rPr>
              <a:t>« Cross boarder subscription plan », i.e. purchase and sale of international reports</a:t>
            </a:r>
          </a:p>
        </p:txBody>
      </p:sp>
      <p:pic>
        <p:nvPicPr>
          <p:cNvPr id="29" name="Picture 2" descr="Drapeau France">
            <a:extLst>
              <a:ext uri="{FF2B5EF4-FFF2-40B4-BE49-F238E27FC236}">
                <a16:creationId xmlns:a16="http://schemas.microsoft.com/office/drawing/2014/main" id="{1302E334-C206-4FA2-8A44-689E7782DF3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391914" y="960778"/>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30" name="Rectangle 29">
            <a:extLst>
              <a:ext uri="{FF2B5EF4-FFF2-40B4-BE49-F238E27FC236}">
                <a16:creationId xmlns:a16="http://schemas.microsoft.com/office/drawing/2014/main" id="{114B25CB-2398-4D9C-98CC-CB44E2D72F75}"/>
              </a:ext>
            </a:extLst>
          </p:cNvPr>
          <p:cNvSpPr/>
          <p:nvPr/>
        </p:nvSpPr>
        <p:spPr bwMode="auto">
          <a:xfrm>
            <a:off x="4003589" y="5756492"/>
            <a:ext cx="2272555" cy="71859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200" b="1" dirty="0">
                <a:solidFill>
                  <a:schemeClr val="bg1"/>
                </a:solidFill>
                <a:latin typeface="Trebuchet MS" panose="020B0603020202020204" pitchFamily="34" charset="0"/>
              </a:rPr>
              <a:t>Revenue from D&amp;B Products In France (booking, 2019)</a:t>
            </a:r>
          </a:p>
          <a:p>
            <a:pPr algn="ctr"/>
            <a:r>
              <a:rPr lang="en-GB" sz="1800" b="1" dirty="0">
                <a:solidFill>
                  <a:schemeClr val="bg1"/>
                </a:solidFill>
                <a:latin typeface="Trebuchet MS" panose="020B0603020202020204" pitchFamily="34" charset="0"/>
              </a:rPr>
              <a:t>~€14m</a:t>
            </a:r>
          </a:p>
        </p:txBody>
      </p:sp>
      <p:sp>
        <p:nvSpPr>
          <p:cNvPr id="31" name="Ellipse 30">
            <a:extLst>
              <a:ext uri="{FF2B5EF4-FFF2-40B4-BE49-F238E27FC236}">
                <a16:creationId xmlns:a16="http://schemas.microsoft.com/office/drawing/2014/main" id="{2DD7ED53-1D20-41C3-8F3F-3D32EC4F5A40}"/>
              </a:ext>
            </a:extLst>
          </p:cNvPr>
          <p:cNvSpPr/>
          <p:nvPr/>
        </p:nvSpPr>
        <p:spPr bwMode="auto">
          <a:xfrm>
            <a:off x="3784642" y="5970794"/>
            <a:ext cx="323233" cy="342885"/>
          </a:xfrm>
          <a:prstGeom prst="ellipse">
            <a:avLst/>
          </a:prstGeom>
          <a:solidFill>
            <a:schemeClr val="tx2"/>
          </a:solidFill>
          <a:ln w="2857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a:ln>
                <a:noFill/>
              </a:ln>
              <a:solidFill>
                <a:schemeClr val="bg1"/>
              </a:solidFill>
              <a:effectLst/>
              <a:latin typeface="Trebuchet MS" pitchFamily="34" charset="0"/>
            </a:endParaRPr>
          </a:p>
        </p:txBody>
      </p:sp>
      <p:sp>
        <p:nvSpPr>
          <p:cNvPr id="33" name="ZoneTexte 32">
            <a:extLst>
              <a:ext uri="{FF2B5EF4-FFF2-40B4-BE49-F238E27FC236}">
                <a16:creationId xmlns:a16="http://schemas.microsoft.com/office/drawing/2014/main" id="{4F2CD2FB-49C8-4158-BF59-3D1DDD28AF2C}"/>
              </a:ext>
            </a:extLst>
          </p:cNvPr>
          <p:cNvSpPr txBox="1"/>
          <p:nvPr/>
        </p:nvSpPr>
        <p:spPr>
          <a:xfrm>
            <a:off x="3716868" y="5923471"/>
            <a:ext cx="464128" cy="400110"/>
          </a:xfrm>
          <a:prstGeom prst="rect">
            <a:avLst/>
          </a:prstGeom>
          <a:noFill/>
          <a:ln>
            <a:noFill/>
          </a:ln>
        </p:spPr>
        <p:txBody>
          <a:bodyPr wrap="square" rtlCol="0">
            <a:spAutoFit/>
          </a:bodyPr>
          <a:lstStyle/>
          <a:p>
            <a:pPr algn="ctr"/>
            <a:r>
              <a:rPr lang="en-GB" sz="2000" b="1">
                <a:solidFill>
                  <a:schemeClr val="bg1"/>
                </a:solidFill>
                <a:latin typeface="Trebuchet MS" panose="020B0603020202020204" pitchFamily="34" charset="0"/>
              </a:rPr>
              <a:t>+</a:t>
            </a:r>
          </a:p>
        </p:txBody>
      </p:sp>
    </p:spTree>
    <p:extLst>
      <p:ext uri="{BB962C8B-B14F-4D97-AF65-F5344CB8AC3E}">
        <p14:creationId xmlns:p14="http://schemas.microsoft.com/office/powerpoint/2010/main" val="1030086371"/>
      </p:ext>
    </p:extLst>
  </p:cSld>
  <p:clrMapOvr>
    <a:masterClrMapping/>
  </p:clrMapOvr>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7D529CF8-1F75-4DC8-9387-B47FB734A368}"/>
              </a:ext>
            </a:extLst>
          </p:cNvPr>
          <p:cNvGraphicFramePr>
            <a:graphicFrameLocks noChangeAspect="1"/>
          </p:cNvGraphicFramePr>
          <p:nvPr>
            <p:custDataLst>
              <p:tags r:id="rId1"/>
            </p:custDataLst>
            <p:extLst>
              <p:ext uri="{D42A27DB-BD31-4B8C-83A1-F6EECF244321}">
                <p14:modId xmlns:p14="http://schemas.microsoft.com/office/powerpoint/2010/main" val="3781195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7" name="Objet 6" hidden="1">
                        <a:extLst>
                          <a:ext uri="{FF2B5EF4-FFF2-40B4-BE49-F238E27FC236}">
                            <a16:creationId xmlns:a16="http://schemas.microsoft.com/office/drawing/2014/main" id="{7D529CF8-1F75-4DC8-9387-B47FB734A3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du texte 2">
            <a:extLst>
              <a:ext uri="{FF2B5EF4-FFF2-40B4-BE49-F238E27FC236}">
                <a16:creationId xmlns:a16="http://schemas.microsoft.com/office/drawing/2014/main" id="{2CCF91DF-5924-4961-9D1C-67F2DE9D187B}"/>
              </a:ext>
            </a:extLst>
          </p:cNvPr>
          <p:cNvSpPr>
            <a:spLocks noGrp="1"/>
          </p:cNvSpPr>
          <p:nvPr>
            <p:ph type="body" sz="quarter" idx="10"/>
          </p:nvPr>
        </p:nvSpPr>
        <p:spPr/>
        <p:txBody>
          <a:bodyPr/>
          <a:lstStyle/>
          <a:p>
            <a:r>
              <a:rPr lang="en-GB" sz="800" i="1" kern="0"/>
              <a:t>Sources: eleven research &amp; analysis, company data</a:t>
            </a:r>
            <a:endParaRPr lang="en-GB"/>
          </a:p>
        </p:txBody>
      </p:sp>
      <p:cxnSp>
        <p:nvCxnSpPr>
          <p:cNvPr id="4" name="Connecteur droit 208">
            <a:extLst>
              <a:ext uri="{FF2B5EF4-FFF2-40B4-BE49-F238E27FC236}">
                <a16:creationId xmlns:a16="http://schemas.microsoft.com/office/drawing/2014/main" id="{CFCFAA4C-9B5D-464A-B237-335D7501CA5C}"/>
              </a:ext>
            </a:extLst>
          </p:cNvPr>
          <p:cNvCxnSpPr>
            <a:cxnSpLocks/>
          </p:cNvCxnSpPr>
          <p:nvPr/>
        </p:nvCxnSpPr>
        <p:spPr bwMode="auto">
          <a:xfrm>
            <a:off x="384975" y="986602"/>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 name="ZoneTexte 12">
            <a:extLst>
              <a:ext uri="{FF2B5EF4-FFF2-40B4-BE49-F238E27FC236}">
                <a16:creationId xmlns:a16="http://schemas.microsoft.com/office/drawing/2014/main" id="{B0DECA8C-AD4B-49C6-8D94-1FF22D905769}"/>
              </a:ext>
            </a:extLst>
          </p:cNvPr>
          <p:cNvSpPr txBox="1"/>
          <p:nvPr/>
        </p:nvSpPr>
        <p:spPr>
          <a:xfrm>
            <a:off x="2340442" y="883124"/>
            <a:ext cx="5081264" cy="245165"/>
          </a:xfrm>
          <a:prstGeom prst="rect">
            <a:avLst/>
          </a:prstGeom>
          <a:solidFill>
            <a:schemeClr val="bg1"/>
          </a:solidFill>
        </p:spPr>
        <p:txBody>
          <a:bodyPr wrap="square" rtlCol="0">
            <a:noAutofit/>
          </a:bodyPr>
          <a:lstStyle/>
          <a:p>
            <a:pPr algn="ctr"/>
            <a:r>
              <a:rPr lang="en-GB" sz="1100">
                <a:latin typeface="Trebuchet MS" panose="020B0603020202020204" pitchFamily="34" charset="0"/>
              </a:rPr>
              <a:t>Financial flow inventory between </a:t>
            </a:r>
            <a:r>
              <a:rPr lang="en-GB" sz="1100" err="1">
                <a:latin typeface="Trebuchet MS" panose="020B0603020202020204" pitchFamily="34" charset="0"/>
              </a:rPr>
              <a:t>Altares</a:t>
            </a:r>
            <a:r>
              <a:rPr lang="en-GB" sz="1100">
                <a:latin typeface="Trebuchet MS" panose="020B0603020202020204" pitchFamily="34" charset="0"/>
              </a:rPr>
              <a:t> and D&amp;B in Benelux</a:t>
            </a:r>
          </a:p>
        </p:txBody>
      </p:sp>
      <p:sp>
        <p:nvSpPr>
          <p:cNvPr id="6" name="Rectangle 5">
            <a:extLst>
              <a:ext uri="{FF2B5EF4-FFF2-40B4-BE49-F238E27FC236}">
                <a16:creationId xmlns:a16="http://schemas.microsoft.com/office/drawing/2014/main" id="{9B8CF351-193D-488A-B25D-B65F23001228}"/>
              </a:ext>
            </a:extLst>
          </p:cNvPr>
          <p:cNvSpPr/>
          <p:nvPr/>
        </p:nvSpPr>
        <p:spPr bwMode="auto">
          <a:xfrm>
            <a:off x="384975" y="1283292"/>
            <a:ext cx="4294978" cy="500002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Expenses (k€)</a:t>
            </a:r>
          </a:p>
        </p:txBody>
      </p:sp>
      <p:sp>
        <p:nvSpPr>
          <p:cNvPr id="8" name="Rectangle 7">
            <a:extLst>
              <a:ext uri="{FF2B5EF4-FFF2-40B4-BE49-F238E27FC236}">
                <a16:creationId xmlns:a16="http://schemas.microsoft.com/office/drawing/2014/main" id="{CB1BE7F2-FBB2-4FD3-948E-9C8EDCDBA0F1}"/>
              </a:ext>
            </a:extLst>
          </p:cNvPr>
          <p:cNvSpPr/>
          <p:nvPr/>
        </p:nvSpPr>
        <p:spPr bwMode="auto">
          <a:xfrm>
            <a:off x="5041557" y="1283292"/>
            <a:ext cx="4479470" cy="500002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a:ln>
                  <a:noFill/>
                </a:ln>
                <a:solidFill>
                  <a:schemeClr val="tx1"/>
                </a:solidFill>
                <a:effectLst/>
                <a:latin typeface="Trebuchet MS" panose="020B0603020202020204" pitchFamily="34" charset="0"/>
              </a:rPr>
              <a:t>Revenue (k€)</a:t>
            </a:r>
          </a:p>
        </p:txBody>
      </p:sp>
      <p:graphicFrame>
        <p:nvGraphicFramePr>
          <p:cNvPr id="11" name="Graphique 10">
            <a:extLst>
              <a:ext uri="{FF2B5EF4-FFF2-40B4-BE49-F238E27FC236}">
                <a16:creationId xmlns:a16="http://schemas.microsoft.com/office/drawing/2014/main" id="{0B26B341-748E-4273-A86C-4040AD25130A}"/>
              </a:ext>
            </a:extLst>
          </p:cNvPr>
          <p:cNvGraphicFramePr/>
          <p:nvPr>
            <p:extLst>
              <p:ext uri="{D42A27DB-BD31-4B8C-83A1-F6EECF244321}">
                <p14:modId xmlns:p14="http://schemas.microsoft.com/office/powerpoint/2010/main" val="2848624993"/>
              </p:ext>
            </p:extLst>
          </p:nvPr>
        </p:nvGraphicFramePr>
        <p:xfrm>
          <a:off x="521503" y="1651705"/>
          <a:ext cx="4158450" cy="463769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Graphique 11">
            <a:extLst>
              <a:ext uri="{FF2B5EF4-FFF2-40B4-BE49-F238E27FC236}">
                <a16:creationId xmlns:a16="http://schemas.microsoft.com/office/drawing/2014/main" id="{A41D6566-AB52-4EC2-A3FE-D4EC9770C7B1}"/>
              </a:ext>
            </a:extLst>
          </p:cNvPr>
          <p:cNvGraphicFramePr/>
          <p:nvPr>
            <p:extLst>
              <p:ext uri="{D42A27DB-BD31-4B8C-83A1-F6EECF244321}">
                <p14:modId xmlns:p14="http://schemas.microsoft.com/office/powerpoint/2010/main" val="3575057945"/>
              </p:ext>
            </p:extLst>
          </p:nvPr>
        </p:nvGraphicFramePr>
        <p:xfrm>
          <a:off x="5433957" y="1651705"/>
          <a:ext cx="3950540" cy="4631611"/>
        </p:xfrm>
        <a:graphic>
          <a:graphicData uri="http://schemas.openxmlformats.org/drawingml/2006/chart">
            <c:chart xmlns:c="http://schemas.openxmlformats.org/drawingml/2006/chart" xmlns:r="http://schemas.openxmlformats.org/officeDocument/2006/relationships" r:id="rId6"/>
          </a:graphicData>
        </a:graphic>
      </p:graphicFrame>
      <p:sp>
        <p:nvSpPr>
          <p:cNvPr id="13" name="Rectangle 12">
            <a:extLst>
              <a:ext uri="{FF2B5EF4-FFF2-40B4-BE49-F238E27FC236}">
                <a16:creationId xmlns:a16="http://schemas.microsoft.com/office/drawing/2014/main" id="{9A920738-B5D6-4882-927F-95CB9A426DFC}"/>
              </a:ext>
            </a:extLst>
          </p:cNvPr>
          <p:cNvSpPr/>
          <p:nvPr/>
        </p:nvSpPr>
        <p:spPr bwMode="auto">
          <a:xfrm>
            <a:off x="3248200" y="1767133"/>
            <a:ext cx="1075037" cy="827786"/>
          </a:xfrm>
          <a:prstGeom prst="rect">
            <a:avLst/>
          </a:prstGeom>
          <a:solidFill>
            <a:schemeClr val="bg1"/>
          </a:solidFill>
          <a:ln w="9525" cap="flat" cmpd="sng" algn="ctr">
            <a:solidFill>
              <a:srgbClr val="BFBFBF"/>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tx2"/>
                </a:solidFill>
                <a:effectLst/>
                <a:latin typeface="Trebuchet MS" pitchFamily="34" charset="0"/>
              </a:rPr>
              <a:t>Total 2019: </a:t>
            </a:r>
          </a:p>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2"/>
              </a:solidFill>
              <a:effectLst/>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tx2"/>
                </a:solidFill>
                <a:effectLst/>
                <a:latin typeface="Trebuchet MS" pitchFamily="34" charset="0"/>
              </a:rPr>
              <a:t>€ 30,493k</a:t>
            </a:r>
            <a:endParaRPr lang="en-GB" sz="1200">
              <a:solidFill>
                <a:schemeClr val="tx2"/>
              </a:solidFill>
              <a:latin typeface="Trebuchet MS" panose="020B0603020202020204" pitchFamily="34" charset="0"/>
            </a:endParaRPr>
          </a:p>
        </p:txBody>
      </p:sp>
      <p:sp>
        <p:nvSpPr>
          <p:cNvPr id="14" name="Rectangle 13">
            <a:extLst>
              <a:ext uri="{FF2B5EF4-FFF2-40B4-BE49-F238E27FC236}">
                <a16:creationId xmlns:a16="http://schemas.microsoft.com/office/drawing/2014/main" id="{30BCEC53-0008-45E0-97B2-9AB15E9B239E}"/>
              </a:ext>
            </a:extLst>
          </p:cNvPr>
          <p:cNvSpPr/>
          <p:nvPr/>
        </p:nvSpPr>
        <p:spPr bwMode="auto">
          <a:xfrm>
            <a:off x="8262807" y="1767133"/>
            <a:ext cx="1075037" cy="827786"/>
          </a:xfrm>
          <a:prstGeom prst="rect">
            <a:avLst/>
          </a:prstGeom>
          <a:solidFill>
            <a:schemeClr val="bg1"/>
          </a:solidFill>
          <a:ln w="9525" cap="flat" cmpd="sng" algn="ctr">
            <a:solidFill>
              <a:srgbClr val="BFBFBF"/>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tx2"/>
                </a:solidFill>
                <a:effectLst/>
                <a:latin typeface="Trebuchet MS" pitchFamily="34" charset="0"/>
              </a:rPr>
              <a:t>Total 2019: </a:t>
            </a:r>
          </a:p>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2"/>
              </a:solidFill>
              <a:effectLst/>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tx2"/>
                </a:solidFill>
                <a:effectLst/>
                <a:latin typeface="Trebuchet MS" pitchFamily="34" charset="0"/>
              </a:rPr>
              <a:t>€ 7,881k</a:t>
            </a:r>
            <a:endParaRPr lang="en-GB" sz="1200">
              <a:solidFill>
                <a:schemeClr val="tx2"/>
              </a:solidFill>
              <a:latin typeface="Trebuchet MS" panose="020B0603020202020204" pitchFamily="34" charset="0"/>
            </a:endParaRPr>
          </a:p>
        </p:txBody>
      </p:sp>
      <p:sp>
        <p:nvSpPr>
          <p:cNvPr id="15" name="Freeform 9">
            <a:extLst>
              <a:ext uri="{FF2B5EF4-FFF2-40B4-BE49-F238E27FC236}">
                <a16:creationId xmlns:a16="http://schemas.microsoft.com/office/drawing/2014/main" id="{3DA73A47-CE1D-434B-AC02-B7AB8169D943}"/>
              </a:ext>
            </a:extLst>
          </p:cNvPr>
          <p:cNvSpPr>
            <a:spLocks noEditPoints="1"/>
          </p:cNvSpPr>
          <p:nvPr/>
        </p:nvSpPr>
        <p:spPr bwMode="auto">
          <a:xfrm>
            <a:off x="140400" y="222163"/>
            <a:ext cx="382759" cy="416927"/>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16" name="Titre 2">
            <a:extLst>
              <a:ext uri="{FF2B5EF4-FFF2-40B4-BE49-F238E27FC236}">
                <a16:creationId xmlns:a16="http://schemas.microsoft.com/office/drawing/2014/main" id="{EC1BC621-DF60-4775-9A38-F64F06321CCF}"/>
              </a:ext>
            </a:extLst>
          </p:cNvPr>
          <p:cNvSpPr txBox="1">
            <a:spLocks/>
          </p:cNvSpPr>
          <p:nvPr/>
        </p:nvSpPr>
        <p:spPr bwMode="auto">
          <a:xfrm>
            <a:off x="596809" y="147600"/>
            <a:ext cx="7676096" cy="68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1">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b="0" i="1" kern="0" dirty="0">
                <a:solidFill>
                  <a:schemeClr val="accent1"/>
                </a:solidFill>
                <a:latin typeface="Trebuchet MS" panose="020B0603020202020204" pitchFamily="34" charset="0"/>
              </a:rPr>
              <a:t>Illustration: </a:t>
            </a:r>
            <a:r>
              <a:rPr lang="en-GB" b="0" kern="0" dirty="0">
                <a:latin typeface="Trebuchet MS" panose="020B0603020202020204" pitchFamily="34" charset="0"/>
              </a:rPr>
              <a:t>In 2019, financial flows (excluding revenue from D&amp;B products) between </a:t>
            </a:r>
            <a:r>
              <a:rPr lang="en-GB" b="0" kern="0" dirty="0" err="1">
                <a:latin typeface="Trebuchet MS" panose="020B0603020202020204" pitchFamily="34" charset="0"/>
              </a:rPr>
              <a:t>Altares</a:t>
            </a:r>
            <a:r>
              <a:rPr lang="en-GB" b="0" kern="0" dirty="0">
                <a:latin typeface="Trebuchet MS" panose="020B0603020202020204" pitchFamily="34" charset="0"/>
              </a:rPr>
              <a:t> </a:t>
            </a:r>
            <a:r>
              <a:rPr lang="en-GB" b="0" kern="0" dirty="0">
                <a:solidFill>
                  <a:schemeClr val="tx2"/>
                </a:solidFill>
                <a:latin typeface="Trebuchet MS" panose="020B0603020202020204" pitchFamily="34" charset="0"/>
              </a:rPr>
              <a:t>Benelux</a:t>
            </a:r>
            <a:r>
              <a:rPr lang="en-GB" b="0" kern="0" dirty="0">
                <a:latin typeface="Trebuchet MS" panose="020B0603020202020204" pitchFamily="34" charset="0"/>
              </a:rPr>
              <a:t> and D&amp;B are split between </a:t>
            </a:r>
            <a:r>
              <a:rPr lang="en-GB" b="0" kern="0" dirty="0">
                <a:solidFill>
                  <a:schemeClr val="tx2"/>
                </a:solidFill>
                <a:latin typeface="Trebuchet MS" panose="020B0603020202020204" pitchFamily="34" charset="0"/>
              </a:rPr>
              <a:t>~8m€ of revenue </a:t>
            </a:r>
            <a:r>
              <a:rPr lang="en-GB" b="0" kern="0" dirty="0">
                <a:latin typeface="Trebuchet MS" panose="020B0603020202020204" pitchFamily="34" charset="0"/>
              </a:rPr>
              <a:t>and ~</a:t>
            </a:r>
            <a:r>
              <a:rPr lang="en-GB" b="0" kern="0" dirty="0">
                <a:solidFill>
                  <a:schemeClr val="tx2"/>
                </a:solidFill>
                <a:latin typeface="Trebuchet MS" panose="020B0603020202020204" pitchFamily="34" charset="0"/>
              </a:rPr>
              <a:t>30€m of expenses </a:t>
            </a:r>
          </a:p>
        </p:txBody>
      </p:sp>
      <p:sp>
        <p:nvSpPr>
          <p:cNvPr id="18" name="Rectangle : coins arrondis 199">
            <a:extLst>
              <a:ext uri="{FF2B5EF4-FFF2-40B4-BE49-F238E27FC236}">
                <a16:creationId xmlns:a16="http://schemas.microsoft.com/office/drawing/2014/main" id="{5001A042-B4A7-41DF-8CDE-4B36712F656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9" name="Rectangle : coins arrondis 200">
            <a:extLst>
              <a:ext uri="{FF2B5EF4-FFF2-40B4-BE49-F238E27FC236}">
                <a16:creationId xmlns:a16="http://schemas.microsoft.com/office/drawing/2014/main" id="{3AC5671A-30F8-457C-87F8-36E9C58240A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0" name="Rectangle : coins arrondis 201">
            <a:extLst>
              <a:ext uri="{FF2B5EF4-FFF2-40B4-BE49-F238E27FC236}">
                <a16:creationId xmlns:a16="http://schemas.microsoft.com/office/drawing/2014/main" id="{789609C3-3020-49E7-8B48-0C59658F34B7}"/>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1" name="ZoneTexte 18">
            <a:extLst>
              <a:ext uri="{FF2B5EF4-FFF2-40B4-BE49-F238E27FC236}">
                <a16:creationId xmlns:a16="http://schemas.microsoft.com/office/drawing/2014/main" id="{BCB73F7B-867F-462D-9E73-9DC69AFC2504}"/>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Partnership with D&amp;B</a:t>
            </a:r>
          </a:p>
        </p:txBody>
      </p:sp>
      <p:pic>
        <p:nvPicPr>
          <p:cNvPr id="22" name="Graphique 128" descr="Jauge">
            <a:extLst>
              <a:ext uri="{FF2B5EF4-FFF2-40B4-BE49-F238E27FC236}">
                <a16:creationId xmlns:a16="http://schemas.microsoft.com/office/drawing/2014/main" id="{106F0DB0-A8BD-42F5-8EA1-73469C4FA7E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23" name="Graphique 90" descr="Poignée de main">
            <a:extLst>
              <a:ext uri="{FF2B5EF4-FFF2-40B4-BE49-F238E27FC236}">
                <a16:creationId xmlns:a16="http://schemas.microsoft.com/office/drawing/2014/main" id="{DF051824-0309-477B-A303-07BA540733A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24" name="Graphique 96" descr="Mégaphone">
            <a:extLst>
              <a:ext uri="{FF2B5EF4-FFF2-40B4-BE49-F238E27FC236}">
                <a16:creationId xmlns:a16="http://schemas.microsoft.com/office/drawing/2014/main" id="{122D300D-A053-4393-A74A-26CC015CF8C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26" name="Picture 2" descr="5 ft x 3 ft 150 x 90 cm-DRAPEAU BELGE Belgique 100% Polyester ...">
            <a:extLst>
              <a:ext uri="{FF2B5EF4-FFF2-40B4-BE49-F238E27FC236}">
                <a16:creationId xmlns:a16="http://schemas.microsoft.com/office/drawing/2014/main" id="{D56E2256-8BDE-4553-B614-CFCB867C5263}"/>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27" name="Picture 2 - 1" descr="Drapeau des Pays-Bas — Wikipédia">
            <a:extLst>
              <a:ext uri="{FF2B5EF4-FFF2-40B4-BE49-F238E27FC236}">
                <a16:creationId xmlns:a16="http://schemas.microsoft.com/office/drawing/2014/main" id="{6405FB19-9AF8-4FC0-8402-F7FE26261D0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28" name="Picture 2 - 2" descr="Drapeau du Luxembourg">
            <a:extLst>
              <a:ext uri="{FF2B5EF4-FFF2-40B4-BE49-F238E27FC236}">
                <a16:creationId xmlns:a16="http://schemas.microsoft.com/office/drawing/2014/main" id="{F0785E30-56F1-4CBD-A2EF-63C84AF4EB4D}"/>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29" name="ZoneTexte 18">
            <a:extLst>
              <a:ext uri="{FF2B5EF4-FFF2-40B4-BE49-F238E27FC236}">
                <a16:creationId xmlns:a16="http://schemas.microsoft.com/office/drawing/2014/main" id="{F0C7397F-3669-4DD8-BD2E-7F3B02BFAAD3}"/>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enelux</a:t>
            </a:r>
          </a:p>
        </p:txBody>
      </p:sp>
      <p:sp>
        <p:nvSpPr>
          <p:cNvPr id="38" name="Bulle narrative : rectangle 37">
            <a:extLst>
              <a:ext uri="{FF2B5EF4-FFF2-40B4-BE49-F238E27FC236}">
                <a16:creationId xmlns:a16="http://schemas.microsoft.com/office/drawing/2014/main" id="{7580506F-E29F-48B9-AE24-3180A854BFEA}"/>
              </a:ext>
            </a:extLst>
          </p:cNvPr>
          <p:cNvSpPr/>
          <p:nvPr/>
        </p:nvSpPr>
        <p:spPr bwMode="auto">
          <a:xfrm>
            <a:off x="1531490" y="2594919"/>
            <a:ext cx="1184001" cy="702462"/>
          </a:xfrm>
          <a:prstGeom prst="wedgeRectCallout">
            <a:avLst>
              <a:gd name="adj1" fmla="val -64230"/>
              <a:gd name="adj2" fmla="val 22959"/>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1"/>
                </a:solidFill>
                <a:effectLst/>
                <a:latin typeface="Trebuchet MS" panose="020B0603020202020204" pitchFamily="34" charset="0"/>
              </a:rPr>
              <a:t>Purchase and sale of international reports</a:t>
            </a:r>
          </a:p>
        </p:txBody>
      </p:sp>
      <p:sp>
        <p:nvSpPr>
          <p:cNvPr id="39" name="Bulle narrative : rectangle 38">
            <a:extLst>
              <a:ext uri="{FF2B5EF4-FFF2-40B4-BE49-F238E27FC236}">
                <a16:creationId xmlns:a16="http://schemas.microsoft.com/office/drawing/2014/main" id="{BF82BC3C-134F-4323-AE55-43C4FE4C8D64}"/>
              </a:ext>
            </a:extLst>
          </p:cNvPr>
          <p:cNvSpPr/>
          <p:nvPr/>
        </p:nvSpPr>
        <p:spPr bwMode="auto">
          <a:xfrm>
            <a:off x="1663987" y="3452384"/>
            <a:ext cx="936741" cy="451713"/>
          </a:xfrm>
          <a:prstGeom prst="wedgeRectCallout">
            <a:avLst>
              <a:gd name="adj1" fmla="val -44509"/>
              <a:gd name="adj2" fmla="val 69988"/>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Royalties on products</a:t>
            </a:r>
            <a:endParaRPr kumimoji="0" lang="en-GB" sz="900" b="0" i="0" u="none" strike="noStrike" cap="none" normalizeH="0" baseline="0">
              <a:ln>
                <a:noFill/>
              </a:ln>
              <a:solidFill>
                <a:schemeClr val="tx1"/>
              </a:solidFill>
              <a:effectLst/>
              <a:latin typeface="Trebuchet MS" panose="020B0603020202020204" pitchFamily="34" charset="0"/>
            </a:endParaRPr>
          </a:p>
        </p:txBody>
      </p:sp>
      <p:sp>
        <p:nvSpPr>
          <p:cNvPr id="40" name="Bulle narrative : rectangle 39">
            <a:extLst>
              <a:ext uri="{FF2B5EF4-FFF2-40B4-BE49-F238E27FC236}">
                <a16:creationId xmlns:a16="http://schemas.microsoft.com/office/drawing/2014/main" id="{44622D7F-EB4C-42B4-A178-4AF8866DFB94}"/>
              </a:ext>
            </a:extLst>
          </p:cNvPr>
          <p:cNvSpPr/>
          <p:nvPr/>
        </p:nvSpPr>
        <p:spPr bwMode="auto">
          <a:xfrm>
            <a:off x="6689291" y="2594919"/>
            <a:ext cx="1184001" cy="702462"/>
          </a:xfrm>
          <a:prstGeom prst="wedgeRectCallout">
            <a:avLst>
              <a:gd name="adj1" fmla="val -64230"/>
              <a:gd name="adj2" fmla="val 22959"/>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1"/>
                </a:solidFill>
                <a:effectLst/>
                <a:latin typeface="Trebuchet MS" panose="020B0603020202020204" pitchFamily="34" charset="0"/>
              </a:rPr>
              <a:t>Purchase and sale of international reports</a:t>
            </a:r>
          </a:p>
        </p:txBody>
      </p:sp>
      <p:pic>
        <p:nvPicPr>
          <p:cNvPr id="31" name="Picture 2" descr="5 ft x 3 ft 150 x 90 cm-DRAPEAU BELGE Belgique 100% Polyester ...">
            <a:extLst>
              <a:ext uri="{FF2B5EF4-FFF2-40B4-BE49-F238E27FC236}">
                <a16:creationId xmlns:a16="http://schemas.microsoft.com/office/drawing/2014/main" id="{E4815D3F-38AC-48F2-8F36-F74030314A19}"/>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618134" y="92291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32" name="Picture 2 - 1" descr="Drapeau des Pays-Bas — Wikipédia">
            <a:extLst>
              <a:ext uri="{FF2B5EF4-FFF2-40B4-BE49-F238E27FC236}">
                <a16:creationId xmlns:a16="http://schemas.microsoft.com/office/drawing/2014/main" id="{78DA459B-6123-4D07-AEF2-665885DFEEE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11811" y="922914"/>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33" name="Picture 2 - 2" descr="Drapeau du Luxembourg">
            <a:extLst>
              <a:ext uri="{FF2B5EF4-FFF2-40B4-BE49-F238E27FC236}">
                <a16:creationId xmlns:a16="http://schemas.microsoft.com/office/drawing/2014/main" id="{47601F19-F1C6-4753-A324-F2682101B49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24457" y="922914"/>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35" name="Rectangle 34">
            <a:extLst>
              <a:ext uri="{FF2B5EF4-FFF2-40B4-BE49-F238E27FC236}">
                <a16:creationId xmlns:a16="http://schemas.microsoft.com/office/drawing/2014/main" id="{9030E3A4-64D5-46FE-88C9-781622E6C8BE}"/>
              </a:ext>
            </a:extLst>
          </p:cNvPr>
          <p:cNvSpPr/>
          <p:nvPr/>
        </p:nvSpPr>
        <p:spPr bwMode="auto">
          <a:xfrm>
            <a:off x="4005749" y="5727774"/>
            <a:ext cx="2272555" cy="71859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200" dirty="0">
                <a:solidFill>
                  <a:schemeClr val="bg1"/>
                </a:solidFill>
                <a:latin typeface="Trebuchet MS" panose="020B0603020202020204" pitchFamily="34" charset="0"/>
              </a:rPr>
              <a:t>Revenue from D&amp;B Products In Benelux (booking, 2019)</a:t>
            </a:r>
          </a:p>
          <a:p>
            <a:pPr algn="ctr"/>
            <a:r>
              <a:rPr lang="en-GB" sz="1800" dirty="0">
                <a:solidFill>
                  <a:schemeClr val="bg1"/>
                </a:solidFill>
                <a:latin typeface="Trebuchet MS" panose="020B0603020202020204" pitchFamily="34" charset="0"/>
              </a:rPr>
              <a:t>~</a:t>
            </a:r>
            <a:r>
              <a:rPr lang="en-GB" sz="1800" b="1" dirty="0">
                <a:solidFill>
                  <a:schemeClr val="bg1"/>
                </a:solidFill>
                <a:latin typeface="Trebuchet MS" panose="020B0603020202020204" pitchFamily="34" charset="0"/>
              </a:rPr>
              <a:t>€37.9m</a:t>
            </a:r>
          </a:p>
        </p:txBody>
      </p:sp>
      <p:sp>
        <p:nvSpPr>
          <p:cNvPr id="36" name="ZoneTexte 35">
            <a:extLst>
              <a:ext uri="{FF2B5EF4-FFF2-40B4-BE49-F238E27FC236}">
                <a16:creationId xmlns:a16="http://schemas.microsoft.com/office/drawing/2014/main" id="{A310A392-1F9A-4235-88E1-83BECBB6405B}"/>
              </a:ext>
            </a:extLst>
          </p:cNvPr>
          <p:cNvSpPr txBox="1"/>
          <p:nvPr/>
        </p:nvSpPr>
        <p:spPr>
          <a:xfrm>
            <a:off x="3714706" y="5909894"/>
            <a:ext cx="464128" cy="400110"/>
          </a:xfrm>
          <a:prstGeom prst="rect">
            <a:avLst/>
          </a:prstGeom>
          <a:noFill/>
          <a:ln>
            <a:noFill/>
          </a:ln>
        </p:spPr>
        <p:txBody>
          <a:bodyPr wrap="square" rtlCol="0">
            <a:spAutoFit/>
          </a:bodyPr>
          <a:lstStyle/>
          <a:p>
            <a:pPr algn="ctr"/>
            <a:r>
              <a:rPr lang="en-GB" sz="2000" b="1">
                <a:solidFill>
                  <a:schemeClr val="bg1"/>
                </a:solidFill>
                <a:latin typeface="Trebuchet MS" panose="020B0603020202020204" pitchFamily="34" charset="0"/>
              </a:rPr>
              <a:t>+</a:t>
            </a:r>
          </a:p>
        </p:txBody>
      </p:sp>
      <p:sp>
        <p:nvSpPr>
          <p:cNvPr id="37" name="Ellipse 36">
            <a:extLst>
              <a:ext uri="{FF2B5EF4-FFF2-40B4-BE49-F238E27FC236}">
                <a16:creationId xmlns:a16="http://schemas.microsoft.com/office/drawing/2014/main" id="{05B20301-A3E4-4F23-8F79-22F6CE77B034}"/>
              </a:ext>
            </a:extLst>
          </p:cNvPr>
          <p:cNvSpPr/>
          <p:nvPr/>
        </p:nvSpPr>
        <p:spPr bwMode="auto">
          <a:xfrm>
            <a:off x="3784642" y="5938506"/>
            <a:ext cx="323233" cy="342885"/>
          </a:xfrm>
          <a:prstGeom prst="ellipse">
            <a:avLst/>
          </a:prstGeom>
          <a:solidFill>
            <a:schemeClr val="tx2"/>
          </a:solidFill>
          <a:ln w="2857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a:ln>
                <a:noFill/>
              </a:ln>
              <a:solidFill>
                <a:schemeClr val="bg1"/>
              </a:solidFill>
              <a:effectLst/>
              <a:latin typeface="Trebuchet MS" pitchFamily="34" charset="0"/>
            </a:endParaRPr>
          </a:p>
        </p:txBody>
      </p:sp>
      <p:sp>
        <p:nvSpPr>
          <p:cNvPr id="41" name="ZoneTexte 40">
            <a:extLst>
              <a:ext uri="{FF2B5EF4-FFF2-40B4-BE49-F238E27FC236}">
                <a16:creationId xmlns:a16="http://schemas.microsoft.com/office/drawing/2014/main" id="{E9C70374-E7E4-4CF7-B4ED-4B7D3E7AE5D4}"/>
              </a:ext>
            </a:extLst>
          </p:cNvPr>
          <p:cNvSpPr txBox="1"/>
          <p:nvPr/>
        </p:nvSpPr>
        <p:spPr>
          <a:xfrm>
            <a:off x="3716868" y="5914163"/>
            <a:ext cx="464128" cy="400110"/>
          </a:xfrm>
          <a:prstGeom prst="rect">
            <a:avLst/>
          </a:prstGeom>
          <a:noFill/>
          <a:ln>
            <a:noFill/>
          </a:ln>
        </p:spPr>
        <p:txBody>
          <a:bodyPr wrap="square" rtlCol="0">
            <a:spAutoFit/>
          </a:bodyPr>
          <a:lstStyle/>
          <a:p>
            <a:pPr algn="ctr"/>
            <a:r>
              <a:rPr lang="en-GB" sz="2000" b="1">
                <a:solidFill>
                  <a:schemeClr val="bg1"/>
                </a:solidFill>
                <a:latin typeface="Trebuchet MS" panose="020B0603020202020204" pitchFamily="34" charset="0"/>
              </a:rPr>
              <a:t>+</a:t>
            </a:r>
          </a:p>
        </p:txBody>
      </p:sp>
    </p:spTree>
    <p:extLst>
      <p:ext uri="{BB962C8B-B14F-4D97-AF65-F5344CB8AC3E}">
        <p14:creationId xmlns:p14="http://schemas.microsoft.com/office/powerpoint/2010/main" val="3680184187"/>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16E90DBA-1FEF-43F3-9E80-329AF1ADEE33}"/>
              </a:ext>
            </a:extLst>
          </p:cNvPr>
          <p:cNvGraphicFramePr>
            <a:graphicFrameLocks noChangeAspect="1"/>
          </p:cNvGraphicFramePr>
          <p:nvPr>
            <p:custDataLst>
              <p:tags r:id="rId1"/>
            </p:custDataLst>
            <p:extLst>
              <p:ext uri="{D42A27DB-BD31-4B8C-83A1-F6EECF244321}">
                <p14:modId xmlns:p14="http://schemas.microsoft.com/office/powerpoint/2010/main" val="1165957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6" imgH="416" progId="TCLayout.ActiveDocument.1">
                  <p:embed/>
                </p:oleObj>
              </mc:Choice>
              <mc:Fallback>
                <p:oleObj name="think-cell Slide" r:id="rId8" imgW="416" imgH="416" progId="TCLayout.ActiveDocument.1">
                  <p:embed/>
                  <p:pic>
                    <p:nvPicPr>
                      <p:cNvPr id="42" name="Object 41" hidden="1">
                        <a:extLst>
                          <a:ext uri="{FF2B5EF4-FFF2-40B4-BE49-F238E27FC236}">
                            <a16:creationId xmlns:a16="http://schemas.microsoft.com/office/drawing/2014/main" id="{16E90DBA-1FEF-43F3-9E80-329AF1ADEE3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1" name="Rectangle 40" hidden="1">
            <a:extLst>
              <a:ext uri="{FF2B5EF4-FFF2-40B4-BE49-F238E27FC236}">
                <a16:creationId xmlns:a16="http://schemas.microsoft.com/office/drawing/2014/main" id="{CD70BF0C-466B-4172-8244-CA8BE9C0B020}"/>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graphicFrame>
        <p:nvGraphicFramePr>
          <p:cNvPr id="132" name="Chart 131">
            <a:extLst>
              <a:ext uri="{FF2B5EF4-FFF2-40B4-BE49-F238E27FC236}">
                <a16:creationId xmlns:a16="http://schemas.microsoft.com/office/drawing/2014/main" id="{90DAAAD4-137E-49D1-BF85-7E2393A9B05A}"/>
              </a:ext>
            </a:extLst>
          </p:cNvPr>
          <p:cNvGraphicFramePr/>
          <p:nvPr>
            <p:extLst>
              <p:ext uri="{D42A27DB-BD31-4B8C-83A1-F6EECF244321}">
                <p14:modId xmlns:p14="http://schemas.microsoft.com/office/powerpoint/2010/main" val="2608156854"/>
              </p:ext>
            </p:extLst>
          </p:nvPr>
        </p:nvGraphicFramePr>
        <p:xfrm>
          <a:off x="70389" y="3946456"/>
          <a:ext cx="3039133" cy="2669133"/>
        </p:xfrm>
        <a:graphic>
          <a:graphicData uri="http://schemas.openxmlformats.org/drawingml/2006/chart">
            <c:chart xmlns:c="http://schemas.openxmlformats.org/drawingml/2006/chart" xmlns:r="http://schemas.openxmlformats.org/officeDocument/2006/relationships" r:id="rId10"/>
          </a:graphicData>
        </a:graphic>
      </p:graphicFrame>
      <p:sp>
        <p:nvSpPr>
          <p:cNvPr id="182" name="Rectangle 181">
            <a:extLst>
              <a:ext uri="{FF2B5EF4-FFF2-40B4-BE49-F238E27FC236}">
                <a16:creationId xmlns:a16="http://schemas.microsoft.com/office/drawing/2014/main" id="{E2919D47-00B5-4B12-932C-3A8AEE04C073}"/>
              </a:ext>
            </a:extLst>
          </p:cNvPr>
          <p:cNvSpPr/>
          <p:nvPr/>
        </p:nvSpPr>
        <p:spPr bwMode="auto">
          <a:xfrm>
            <a:off x="249863" y="1249036"/>
            <a:ext cx="4612586" cy="234906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spcAft>
                <a:spcPts val="100"/>
              </a:spcAft>
            </a:pPr>
            <a:r>
              <a:rPr lang="en-GB" sz="1000" b="1" i="1">
                <a:latin typeface="Trebuchet MS" panose="020B0603020202020204" pitchFamily="34" charset="0"/>
              </a:rPr>
              <a:t>B2B Marketing ecosystem</a:t>
            </a:r>
          </a:p>
          <a:p>
            <a:pPr algn="ctr">
              <a:spcAft>
                <a:spcPts val="100"/>
              </a:spcAft>
            </a:pPr>
            <a:endParaRPr lang="en-GB" sz="900" b="1">
              <a:solidFill>
                <a:schemeClr val="tx2"/>
              </a:solidFill>
              <a:latin typeface="Trebuchet MS" panose="020B0603020202020204" pitchFamily="34" charset="0"/>
            </a:endParaRPr>
          </a:p>
        </p:txBody>
      </p:sp>
      <p:sp>
        <p:nvSpPr>
          <p:cNvPr id="64" name="Rectangle 63">
            <a:extLst>
              <a:ext uri="{FF2B5EF4-FFF2-40B4-BE49-F238E27FC236}">
                <a16:creationId xmlns:a16="http://schemas.microsoft.com/office/drawing/2014/main" id="{B5E190BF-AD57-4F4C-BA48-D1AD7F122BD6}"/>
              </a:ext>
            </a:extLst>
          </p:cNvPr>
          <p:cNvSpPr/>
          <p:nvPr/>
        </p:nvSpPr>
        <p:spPr bwMode="auto">
          <a:xfrm>
            <a:off x="3045040" y="3791712"/>
            <a:ext cx="1834895" cy="267411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000" b="0" i="0" u="none" strike="noStrike" cap="none" normalizeH="0" baseline="0">
                <a:ln>
                  <a:noFill/>
                </a:ln>
                <a:solidFill>
                  <a:schemeClr val="tx1"/>
                </a:solidFill>
                <a:effectLst/>
                <a:latin typeface="Trebuchet MS" panose="020B0603020202020204" pitchFamily="34" charset="0"/>
              </a:rPr>
              <a:t>The </a:t>
            </a:r>
            <a:r>
              <a:rPr lang="en-GB" sz="1000">
                <a:solidFill>
                  <a:schemeClr val="tx2"/>
                </a:solidFill>
                <a:latin typeface="Trebuchet MS" panose="020B0603020202020204" pitchFamily="34" charset="0"/>
              </a:rPr>
              <a:t>C</a:t>
            </a:r>
            <a:r>
              <a:rPr kumimoji="0" lang="en-GB" sz="1000" b="0" i="0" u="none" strike="noStrike" cap="none" normalizeH="0" baseline="0">
                <a:ln>
                  <a:noFill/>
                </a:ln>
                <a:solidFill>
                  <a:schemeClr val="tx2"/>
                </a:solidFill>
                <a:effectLst/>
                <a:latin typeface="Trebuchet MS" panose="020B0603020202020204" pitchFamily="34" charset="0"/>
              </a:rPr>
              <a:t>ovid-19</a:t>
            </a:r>
            <a:r>
              <a:rPr kumimoji="0" lang="en-GB" sz="1000" b="0" i="0" u="none" strike="noStrike" cap="none" normalizeH="0" baseline="0">
                <a:ln>
                  <a:noFill/>
                </a:ln>
                <a:solidFill>
                  <a:schemeClr val="tx1"/>
                </a:solidFill>
                <a:effectLst/>
                <a:latin typeface="Trebuchet MS" panose="020B0603020202020204" pitchFamily="34" charset="0"/>
              </a:rPr>
              <a:t> cris</a:t>
            </a:r>
            <a:r>
              <a:rPr lang="en-GB" sz="1000">
                <a:latin typeface="Trebuchet MS" panose="020B0603020202020204" pitchFamily="34" charset="0"/>
              </a:rPr>
              <a:t>is has </a:t>
            </a:r>
            <a:r>
              <a:rPr lang="en-GB" sz="1000">
                <a:solidFill>
                  <a:schemeClr val="tx2"/>
                </a:solidFill>
                <a:latin typeface="Trebuchet MS" panose="020B0603020202020204" pitchFamily="34" charset="0"/>
              </a:rPr>
              <a:t>strongly</a:t>
            </a:r>
            <a:r>
              <a:rPr lang="en-GB" sz="1000">
                <a:latin typeface="Trebuchet MS" panose="020B0603020202020204" pitchFamily="34" charset="0"/>
              </a:rPr>
              <a:t> impacted all </a:t>
            </a:r>
            <a:r>
              <a:rPr lang="en-GB" sz="1000">
                <a:solidFill>
                  <a:schemeClr val="tx2"/>
                </a:solidFill>
                <a:latin typeface="Trebuchet MS" panose="020B0603020202020204" pitchFamily="34" charset="0"/>
              </a:rPr>
              <a:t>B2B</a:t>
            </a:r>
            <a:r>
              <a:rPr lang="en-GB" sz="1000">
                <a:latin typeface="Trebuchet MS" panose="020B0603020202020204" pitchFamily="34" charset="0"/>
              </a:rPr>
              <a:t> </a:t>
            </a:r>
            <a:r>
              <a:rPr lang="en-GB" sz="1000">
                <a:solidFill>
                  <a:schemeClr val="tx2"/>
                </a:solidFill>
                <a:latin typeface="Trebuchet MS" panose="020B0603020202020204" pitchFamily="34" charset="0"/>
              </a:rPr>
              <a:t>marketing</a:t>
            </a:r>
            <a:r>
              <a:rPr lang="en-GB" sz="1000">
                <a:latin typeface="Trebuchet MS" panose="020B0603020202020204" pitchFamily="34" charset="0"/>
              </a:rPr>
              <a:t> </a:t>
            </a:r>
            <a:r>
              <a:rPr lang="en-GB" sz="1000">
                <a:solidFill>
                  <a:schemeClr val="tx2"/>
                </a:solidFill>
                <a:latin typeface="Trebuchet MS" panose="020B0603020202020204" pitchFamily="34" charset="0"/>
              </a:rPr>
              <a:t>spending</a:t>
            </a:r>
            <a:r>
              <a:rPr lang="en-GB" sz="1000">
                <a:latin typeface="Trebuchet MS" panose="020B0603020202020204" pitchFamily="34" charset="0"/>
              </a:rPr>
              <a:t>, which has </a:t>
            </a:r>
            <a:r>
              <a:rPr lang="en-GB" sz="1000">
                <a:solidFill>
                  <a:schemeClr val="tx2"/>
                </a:solidFill>
                <a:latin typeface="Trebuchet MS" panose="020B0603020202020204" pitchFamily="34" charset="0"/>
              </a:rPr>
              <a:t>stopped</a:t>
            </a:r>
            <a:r>
              <a:rPr lang="en-GB" sz="1000">
                <a:latin typeface="Trebuchet MS" panose="020B0603020202020204" pitchFamily="34" charset="0"/>
              </a:rPr>
              <a:t> the </a:t>
            </a:r>
            <a:r>
              <a:rPr lang="en-GB" sz="1000">
                <a:solidFill>
                  <a:schemeClr val="tx2"/>
                </a:solidFill>
                <a:latin typeface="Trebuchet MS" panose="020B0603020202020204" pitchFamily="34" charset="0"/>
              </a:rPr>
              <a:t>growth</a:t>
            </a:r>
            <a:r>
              <a:rPr lang="en-GB" sz="1000">
                <a:latin typeface="Trebuchet MS" panose="020B0603020202020204" pitchFamily="34" charset="0"/>
              </a:rPr>
              <a:t> for </a:t>
            </a:r>
            <a:r>
              <a:rPr lang="en-GB" sz="1000">
                <a:solidFill>
                  <a:schemeClr val="tx2"/>
                </a:solidFill>
                <a:latin typeface="Trebuchet MS" panose="020B0603020202020204" pitchFamily="34" charset="0"/>
              </a:rPr>
              <a:t>2019</a:t>
            </a:r>
            <a:endParaRPr kumimoji="0" lang="en-GB" sz="1000" b="0" i="0" u="none" strike="noStrike" cap="none" normalizeH="0" baseline="0">
              <a:ln>
                <a:noFill/>
              </a:ln>
              <a:solidFill>
                <a:schemeClr val="tx2"/>
              </a:solidFill>
              <a:effectLst/>
              <a:latin typeface="Trebuchet MS" panose="020B0603020202020204" pitchFamily="34" charset="0"/>
            </a:endParaRP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000">
                <a:latin typeface="Trebuchet MS" panose="020B0603020202020204" pitchFamily="34" charset="0"/>
              </a:rPr>
              <a:t>Thus, d</a:t>
            </a:r>
            <a:r>
              <a:rPr kumimoji="0" lang="en-GB" sz="1000" b="0" i="0" u="none" strike="noStrike" cap="none" normalizeH="0" baseline="0">
                <a:ln>
                  <a:noFill/>
                </a:ln>
                <a:solidFill>
                  <a:schemeClr val="tx1"/>
                </a:solidFill>
                <a:effectLst/>
                <a:latin typeface="Trebuchet MS" panose="020B0603020202020204" pitchFamily="34" charset="0"/>
              </a:rPr>
              <a:t>ue to changing needs and the regulatory impact of GDPR, </a:t>
            </a:r>
            <a:r>
              <a:rPr kumimoji="0" lang="en-GB" sz="1000" b="0" i="0" u="none" strike="noStrike" cap="none" normalizeH="0" baseline="0">
                <a:ln>
                  <a:noFill/>
                </a:ln>
                <a:solidFill>
                  <a:schemeClr val="tx2"/>
                </a:solidFill>
                <a:effectLst/>
                <a:latin typeface="Trebuchet MS" panose="020B0603020202020204" pitchFamily="34" charset="0"/>
              </a:rPr>
              <a:t>future</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growth</a:t>
            </a:r>
            <a:r>
              <a:rPr kumimoji="0" lang="en-GB" sz="1000" b="0" i="0" u="none" strike="noStrike" cap="none" normalizeH="0" baseline="0">
                <a:ln>
                  <a:noFill/>
                </a:ln>
                <a:solidFill>
                  <a:schemeClr val="tx1"/>
                </a:solidFill>
                <a:effectLst/>
                <a:latin typeface="Trebuchet MS" panose="020B0603020202020204" pitchFamily="34" charset="0"/>
              </a:rPr>
              <a:t> in the B2B prospect qualification market will mainly be </a:t>
            </a:r>
            <a:r>
              <a:rPr kumimoji="0" lang="en-GB" sz="1000" b="0" i="0" u="none" strike="noStrike" cap="none" normalizeH="0" baseline="0">
                <a:ln>
                  <a:noFill/>
                </a:ln>
                <a:solidFill>
                  <a:schemeClr val="tx2"/>
                </a:solidFill>
                <a:effectLst/>
                <a:latin typeface="Trebuchet MS" panose="020B0603020202020204" pitchFamily="34" charset="0"/>
              </a:rPr>
              <a:t>driven</a:t>
            </a:r>
            <a:r>
              <a:rPr kumimoji="0" lang="en-GB" sz="1000" b="0" i="0" u="none" strike="noStrike" cap="none" normalizeH="0" baseline="0">
                <a:ln>
                  <a:noFill/>
                </a:ln>
                <a:solidFill>
                  <a:schemeClr val="tx1"/>
                </a:solidFill>
                <a:effectLst/>
                <a:latin typeface="Trebuchet MS" panose="020B0603020202020204" pitchFamily="34" charset="0"/>
              </a:rPr>
              <a:t> by </a:t>
            </a:r>
            <a:r>
              <a:rPr kumimoji="0" lang="en-GB" sz="1000" b="0" i="0" u="none" strike="noStrike" cap="none" normalizeH="0" baseline="0">
                <a:ln>
                  <a:noFill/>
                </a:ln>
                <a:solidFill>
                  <a:schemeClr val="tx2"/>
                </a:solidFill>
                <a:effectLst/>
                <a:latin typeface="Trebuchet MS" panose="020B0603020202020204" pitchFamily="34" charset="0"/>
              </a:rPr>
              <a:t>services</a:t>
            </a:r>
            <a:r>
              <a:rPr kumimoji="0" lang="en-GB" sz="1000" b="0" i="0" u="none" strike="noStrike" cap="none" normalizeH="0" baseline="0">
                <a:ln>
                  <a:noFill/>
                </a:ln>
                <a:solidFill>
                  <a:schemeClr val="tx1"/>
                </a:solidFill>
                <a:effectLst/>
                <a:latin typeface="Trebuchet MS" panose="020B0603020202020204" pitchFamily="34" charset="0"/>
              </a:rPr>
              <a:t> at the top end of the value chain, i.e. </a:t>
            </a:r>
            <a:r>
              <a:rPr kumimoji="0" lang="en-GB" sz="1000" b="0" i="0" u="none" strike="noStrike" cap="none" normalizeH="0" baseline="0">
                <a:ln>
                  <a:noFill/>
                </a:ln>
                <a:solidFill>
                  <a:schemeClr val="tx2"/>
                </a:solidFill>
                <a:effectLst/>
                <a:latin typeface="Trebuchet MS" panose="020B0603020202020204" pitchFamily="34" charset="0"/>
              </a:rPr>
              <a:t>quality</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database</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building</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cleansing</a:t>
            </a:r>
            <a:r>
              <a:rPr kumimoji="0" lang="en-GB" sz="1000" b="0" i="0" u="none" strike="noStrike" cap="none" normalizeH="0" baseline="0">
                <a:ln>
                  <a:noFill/>
                </a:ln>
                <a:solidFill>
                  <a:schemeClr val="tx1"/>
                </a:solidFill>
                <a:effectLst/>
                <a:latin typeface="Trebuchet MS" panose="020B0603020202020204" pitchFamily="34" charset="0"/>
              </a:rPr>
              <a:t> and </a:t>
            </a:r>
            <a:r>
              <a:rPr kumimoji="0" lang="en-GB" sz="1000" b="0" i="0" u="none" strike="noStrike" cap="none" normalizeH="0" baseline="0">
                <a:ln>
                  <a:noFill/>
                </a:ln>
                <a:solidFill>
                  <a:schemeClr val="tx2"/>
                </a:solidFill>
                <a:effectLst/>
                <a:latin typeface="Trebuchet MS" panose="020B0603020202020204" pitchFamily="34" charset="0"/>
              </a:rPr>
              <a:t>enrichment</a:t>
            </a:r>
            <a:r>
              <a:rPr kumimoji="0" lang="en-GB" sz="1000" b="0" i="0" u="none" strike="noStrike" cap="none" normalizeH="0" baseline="0">
                <a:ln>
                  <a:noFill/>
                </a:ln>
                <a:solidFill>
                  <a:schemeClr val="tx1"/>
                </a:solidFill>
                <a:effectLst/>
                <a:latin typeface="Trebuchet MS" panose="020B0603020202020204" pitchFamily="34" charset="0"/>
              </a:rPr>
              <a:t> services</a:t>
            </a:r>
          </a:p>
          <a:p>
            <a:pPr algn="ctr">
              <a:spcAft>
                <a:spcPts val="100"/>
              </a:spcAft>
            </a:pPr>
            <a:endParaRPr lang="en-GB" sz="900" b="1">
              <a:solidFill>
                <a:schemeClr val="tx2"/>
              </a:solidFill>
              <a:latin typeface="Trebuchet MS" panose="020B0603020202020204" pitchFamily="34" charset="0"/>
            </a:endParaRPr>
          </a:p>
        </p:txBody>
      </p:sp>
      <p:sp>
        <p:nvSpPr>
          <p:cNvPr id="6" name="Espace réservé du texte 5">
            <a:extLst>
              <a:ext uri="{FF2B5EF4-FFF2-40B4-BE49-F238E27FC236}">
                <a16:creationId xmlns:a16="http://schemas.microsoft.com/office/drawing/2014/main" id="{1EA54DC4-147B-4B7F-938B-0B3F1BD1CCD0}"/>
              </a:ext>
            </a:extLst>
          </p:cNvPr>
          <p:cNvSpPr>
            <a:spLocks noGrp="1"/>
          </p:cNvSpPr>
          <p:nvPr>
            <p:ph type="body" sz="quarter" idx="10"/>
          </p:nvPr>
        </p:nvSpPr>
        <p:spPr/>
        <p:txBody>
          <a:bodyPr/>
          <a:lstStyle/>
          <a:p>
            <a:r>
              <a:rPr lang="en-GB"/>
              <a:t>Sources: eleven research &amp; analysis, expert calls</a:t>
            </a:r>
          </a:p>
          <a:p>
            <a:endParaRPr lang="en-GB"/>
          </a:p>
        </p:txBody>
      </p:sp>
      <p:cxnSp>
        <p:nvCxnSpPr>
          <p:cNvPr id="3" name="Connecteur droit 2">
            <a:extLst>
              <a:ext uri="{FF2B5EF4-FFF2-40B4-BE49-F238E27FC236}">
                <a16:creationId xmlns:a16="http://schemas.microsoft.com/office/drawing/2014/main" id="{C34E7FE0-805B-47CD-9621-1C81CE67DF54}"/>
              </a:ext>
            </a:extLst>
          </p:cNvPr>
          <p:cNvCxnSpPr>
            <a:cxnSpLocks/>
          </p:cNvCxnSpPr>
          <p:nvPr/>
        </p:nvCxnSpPr>
        <p:spPr bwMode="auto">
          <a:xfrm>
            <a:off x="191700" y="1108308"/>
            <a:ext cx="4680000"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cxnSp>
        <p:nvCxnSpPr>
          <p:cNvPr id="8" name="Connecteur droit 7">
            <a:extLst>
              <a:ext uri="{FF2B5EF4-FFF2-40B4-BE49-F238E27FC236}">
                <a16:creationId xmlns:a16="http://schemas.microsoft.com/office/drawing/2014/main" id="{63DF27FF-0D13-417C-A9CB-C388AC67A50F}"/>
              </a:ext>
            </a:extLst>
          </p:cNvPr>
          <p:cNvCxnSpPr>
            <a:cxnSpLocks/>
          </p:cNvCxnSpPr>
          <p:nvPr/>
        </p:nvCxnSpPr>
        <p:spPr bwMode="auto">
          <a:xfrm>
            <a:off x="5034300" y="1108308"/>
            <a:ext cx="4680000"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14" name="Rectangle 84">
            <a:extLst>
              <a:ext uri="{FF2B5EF4-FFF2-40B4-BE49-F238E27FC236}">
                <a16:creationId xmlns:a16="http://schemas.microsoft.com/office/drawing/2014/main" id="{44FB9787-3E28-41ED-A475-DBC2383B2C18}"/>
              </a:ext>
            </a:extLst>
          </p:cNvPr>
          <p:cNvSpPr/>
          <p:nvPr/>
        </p:nvSpPr>
        <p:spPr bwMode="auto">
          <a:xfrm>
            <a:off x="1607143" y="957642"/>
            <a:ext cx="1831714"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a:solidFill>
                  <a:schemeClr val="accent1">
                    <a:lumMod val="75000"/>
                  </a:schemeClr>
                </a:solidFill>
                <a:latin typeface="Trebuchet MS" panose="020B0603020202020204" pitchFamily="34" charset="0"/>
              </a:rPr>
              <a:t>Market overview</a:t>
            </a:r>
          </a:p>
        </p:txBody>
      </p:sp>
      <p:sp>
        <p:nvSpPr>
          <p:cNvPr id="16" name="Rectangle 84">
            <a:extLst>
              <a:ext uri="{FF2B5EF4-FFF2-40B4-BE49-F238E27FC236}">
                <a16:creationId xmlns:a16="http://schemas.microsoft.com/office/drawing/2014/main" id="{5AE8460A-ED69-4BA7-A899-C6250D686549}"/>
              </a:ext>
            </a:extLst>
          </p:cNvPr>
          <p:cNvSpPr/>
          <p:nvPr/>
        </p:nvSpPr>
        <p:spPr bwMode="auto">
          <a:xfrm>
            <a:off x="6449743" y="957642"/>
            <a:ext cx="1831714"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a:solidFill>
                  <a:schemeClr val="accent1">
                    <a:lumMod val="75000"/>
                  </a:schemeClr>
                </a:solidFill>
                <a:latin typeface="Trebuchet MS" panose="020B0603020202020204" pitchFamily="34" charset="0"/>
              </a:rPr>
              <a:t>Ecosystem overview</a:t>
            </a:r>
          </a:p>
        </p:txBody>
      </p:sp>
      <p:cxnSp>
        <p:nvCxnSpPr>
          <p:cNvPr id="18" name="Connecteur droit 17">
            <a:extLst>
              <a:ext uri="{FF2B5EF4-FFF2-40B4-BE49-F238E27FC236}">
                <a16:creationId xmlns:a16="http://schemas.microsoft.com/office/drawing/2014/main" id="{A7EC8758-FA2E-4399-8347-943500D29919}"/>
              </a:ext>
            </a:extLst>
          </p:cNvPr>
          <p:cNvCxnSpPr>
            <a:cxnSpLocks/>
          </p:cNvCxnSpPr>
          <p:nvPr/>
        </p:nvCxnSpPr>
        <p:spPr bwMode="auto">
          <a:xfrm>
            <a:off x="4961700" y="1246012"/>
            <a:ext cx="0" cy="504000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112" name="Rectangle 111">
            <a:extLst>
              <a:ext uri="{FF2B5EF4-FFF2-40B4-BE49-F238E27FC236}">
                <a16:creationId xmlns:a16="http://schemas.microsoft.com/office/drawing/2014/main" id="{01FD697C-AFC0-441F-B1C6-EE2F371F4906}"/>
              </a:ext>
            </a:extLst>
          </p:cNvPr>
          <p:cNvSpPr/>
          <p:nvPr/>
        </p:nvSpPr>
        <p:spPr bwMode="auto">
          <a:xfrm>
            <a:off x="5056908" y="1251289"/>
            <a:ext cx="4612586" cy="234681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spcAft>
                <a:spcPts val="100"/>
              </a:spcAft>
            </a:pPr>
            <a:r>
              <a:rPr lang="en-GB" sz="1000" b="1" i="1">
                <a:latin typeface="Trebuchet MS" panose="020B0603020202020204" pitchFamily="34" charset="0"/>
              </a:rPr>
              <a:t>Main players positioning on B2B Marketing market value chain</a:t>
            </a:r>
          </a:p>
          <a:p>
            <a:pPr algn="ctr">
              <a:spcAft>
                <a:spcPts val="100"/>
              </a:spcAft>
            </a:pPr>
            <a:endParaRPr lang="en-GB" sz="900" b="1">
              <a:solidFill>
                <a:schemeClr val="tx2"/>
              </a:solidFill>
              <a:latin typeface="Trebuchet MS" panose="020B0603020202020204" pitchFamily="34" charset="0"/>
            </a:endParaRPr>
          </a:p>
          <a:p>
            <a:pPr algn="ctr">
              <a:spcAft>
                <a:spcPts val="100"/>
              </a:spcAft>
            </a:pPr>
            <a:endParaRPr lang="en-GB" sz="900" b="1">
              <a:solidFill>
                <a:schemeClr val="tx2"/>
              </a:solidFill>
              <a:latin typeface="Trebuchet MS" panose="020B0603020202020204" pitchFamily="34" charset="0"/>
            </a:endParaRPr>
          </a:p>
          <a:p>
            <a:pPr algn="ctr">
              <a:spcAft>
                <a:spcPts val="100"/>
              </a:spcAft>
            </a:pPr>
            <a:endParaRPr lang="en-GB" sz="900" b="1">
              <a:solidFill>
                <a:schemeClr val="tx2"/>
              </a:solidFill>
              <a:latin typeface="Trebuchet MS" panose="020B0603020202020204" pitchFamily="34" charset="0"/>
            </a:endParaRPr>
          </a:p>
          <a:p>
            <a:pPr algn="ctr">
              <a:spcAft>
                <a:spcPts val="100"/>
              </a:spcAft>
            </a:pPr>
            <a:endParaRPr lang="en-GB" sz="900" b="1">
              <a:solidFill>
                <a:schemeClr val="tx2"/>
              </a:solidFill>
              <a:latin typeface="Trebuchet MS" panose="020B0603020202020204" pitchFamily="34" charset="0"/>
            </a:endParaRPr>
          </a:p>
          <a:p>
            <a:pPr algn="ctr">
              <a:spcAft>
                <a:spcPts val="100"/>
              </a:spcAft>
            </a:pPr>
            <a:endParaRPr lang="en-GB" sz="900" b="1">
              <a:solidFill>
                <a:schemeClr val="tx2"/>
              </a:solidFill>
              <a:latin typeface="Trebuchet MS" panose="020B0603020202020204" pitchFamily="34" charset="0"/>
            </a:endParaRPr>
          </a:p>
          <a:p>
            <a:pPr algn="ctr">
              <a:spcAft>
                <a:spcPts val="100"/>
              </a:spcAft>
            </a:pPr>
            <a:endParaRPr lang="en-GB" sz="900" b="1">
              <a:solidFill>
                <a:schemeClr val="tx2"/>
              </a:solidFill>
              <a:latin typeface="Trebuchet MS" panose="020B0603020202020204" pitchFamily="34" charset="0"/>
            </a:endParaRPr>
          </a:p>
          <a:p>
            <a:pPr algn="ctr">
              <a:spcAft>
                <a:spcPts val="100"/>
              </a:spcAft>
            </a:pPr>
            <a:endParaRPr lang="en-GB" sz="900" b="1">
              <a:solidFill>
                <a:schemeClr val="tx2"/>
              </a:solidFill>
              <a:latin typeface="Trebuchet MS" panose="020B0603020202020204" pitchFamily="34" charset="0"/>
            </a:endParaRPr>
          </a:p>
          <a:p>
            <a:pPr algn="ctr">
              <a:spcAft>
                <a:spcPts val="100"/>
              </a:spcAft>
            </a:pPr>
            <a:endParaRPr lang="en-GB" sz="900" b="1">
              <a:solidFill>
                <a:schemeClr val="tx2"/>
              </a:solidFill>
              <a:latin typeface="Trebuchet MS" panose="020B0603020202020204" pitchFamily="34" charset="0"/>
            </a:endParaRPr>
          </a:p>
          <a:p>
            <a:pPr algn="ctr">
              <a:spcAft>
                <a:spcPts val="100"/>
              </a:spcAft>
            </a:pPr>
            <a:endParaRPr lang="en-GB" sz="900" b="1">
              <a:solidFill>
                <a:schemeClr val="tx2"/>
              </a:solidFill>
              <a:latin typeface="Trebuchet MS" panose="020B0603020202020204" pitchFamily="34" charset="0"/>
            </a:endParaRPr>
          </a:p>
          <a:p>
            <a:pPr algn="ctr">
              <a:spcAft>
                <a:spcPts val="100"/>
              </a:spcAft>
            </a:pPr>
            <a:endParaRPr lang="en-GB" sz="900" b="1">
              <a:solidFill>
                <a:schemeClr val="tx2"/>
              </a:solidFill>
              <a:latin typeface="Trebuchet MS" panose="020B0603020202020204" pitchFamily="34" charset="0"/>
            </a:endParaRPr>
          </a:p>
        </p:txBody>
      </p:sp>
      <p:sp>
        <p:nvSpPr>
          <p:cNvPr id="113" name="Rectangle 112">
            <a:extLst>
              <a:ext uri="{FF2B5EF4-FFF2-40B4-BE49-F238E27FC236}">
                <a16:creationId xmlns:a16="http://schemas.microsoft.com/office/drawing/2014/main" id="{8C96269F-50D3-40AE-9C86-6F7E243F29ED}"/>
              </a:ext>
            </a:extLst>
          </p:cNvPr>
          <p:cNvSpPr/>
          <p:nvPr/>
        </p:nvSpPr>
        <p:spPr>
          <a:xfrm>
            <a:off x="5086751" y="1470054"/>
            <a:ext cx="4552901" cy="2070944"/>
          </a:xfrm>
          <a:prstGeom prst="rect">
            <a:avLst/>
          </a:prstGeom>
          <a:solidFill>
            <a:schemeClr val="bg1">
              <a:alpha val="90000"/>
            </a:schemeClr>
          </a:solidFill>
          <a:ln w="6350">
            <a:solidFill>
              <a:schemeClr val="bg1">
                <a:lumMod val="75000"/>
              </a:schemeClr>
            </a:solidFill>
            <a:prstDash val="dash"/>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3200">
              <a:solidFill>
                <a:schemeClr val="lt1"/>
              </a:solidFill>
              <a:latin typeface="Trebuchet MS" panose="020B0603020202020204" pitchFamily="34" charset="0"/>
              <a:ea typeface="Open Sans Light"/>
              <a:cs typeface="Open Sans Light"/>
              <a:sym typeface="Open Sans Light"/>
            </a:endParaRPr>
          </a:p>
        </p:txBody>
      </p:sp>
      <p:sp>
        <p:nvSpPr>
          <p:cNvPr id="114" name="Flèche : chevron 291">
            <a:extLst>
              <a:ext uri="{FF2B5EF4-FFF2-40B4-BE49-F238E27FC236}">
                <a16:creationId xmlns:a16="http://schemas.microsoft.com/office/drawing/2014/main" id="{9A621606-4CC2-45A4-9B9A-8E922AA46F41}"/>
              </a:ext>
            </a:extLst>
          </p:cNvPr>
          <p:cNvSpPr/>
          <p:nvPr/>
        </p:nvSpPr>
        <p:spPr bwMode="auto">
          <a:xfrm>
            <a:off x="7027258" y="1534568"/>
            <a:ext cx="828000" cy="360000"/>
          </a:xfrm>
          <a:prstGeom prst="chevron">
            <a:avLst>
              <a:gd name="adj" fmla="val 19648"/>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a:r>
              <a:rPr lang="en-GB" sz="800" b="1">
                <a:solidFill>
                  <a:schemeClr val="tx2"/>
                </a:solidFill>
                <a:latin typeface="Trebuchet MS" panose="020B0603020202020204" pitchFamily="34" charset="0"/>
              </a:rPr>
              <a:t>High-quality enrichment</a:t>
            </a:r>
          </a:p>
        </p:txBody>
      </p:sp>
      <p:sp>
        <p:nvSpPr>
          <p:cNvPr id="115" name="Flèche : chevron 292">
            <a:extLst>
              <a:ext uri="{FF2B5EF4-FFF2-40B4-BE49-F238E27FC236}">
                <a16:creationId xmlns:a16="http://schemas.microsoft.com/office/drawing/2014/main" id="{F319AFE6-1D70-42B1-98C5-2B9E2D59FE70}"/>
              </a:ext>
            </a:extLst>
          </p:cNvPr>
          <p:cNvSpPr/>
          <p:nvPr/>
        </p:nvSpPr>
        <p:spPr bwMode="auto">
          <a:xfrm>
            <a:off x="5244238" y="1534568"/>
            <a:ext cx="828000" cy="360000"/>
          </a:xfrm>
          <a:prstGeom prst="chevron">
            <a:avLst>
              <a:gd name="adj" fmla="val 19648"/>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tx2"/>
                </a:solidFill>
                <a:effectLst/>
                <a:latin typeface="Trebuchet MS" panose="020B0603020202020204" pitchFamily="34" charset="0"/>
              </a:rPr>
              <a:t>Database constitution</a:t>
            </a:r>
          </a:p>
        </p:txBody>
      </p:sp>
      <p:sp>
        <p:nvSpPr>
          <p:cNvPr id="116" name="Flèche : chevron 293">
            <a:extLst>
              <a:ext uri="{FF2B5EF4-FFF2-40B4-BE49-F238E27FC236}">
                <a16:creationId xmlns:a16="http://schemas.microsoft.com/office/drawing/2014/main" id="{7B693E39-C107-4F66-8E42-F696402F1F7A}"/>
              </a:ext>
            </a:extLst>
          </p:cNvPr>
          <p:cNvSpPr/>
          <p:nvPr/>
        </p:nvSpPr>
        <p:spPr bwMode="auto">
          <a:xfrm>
            <a:off x="6135748" y="1534568"/>
            <a:ext cx="828000" cy="360000"/>
          </a:xfrm>
          <a:prstGeom prst="chevron">
            <a:avLst>
              <a:gd name="adj" fmla="val 19648"/>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a:r>
              <a:rPr lang="en-GB" sz="800" b="1">
                <a:solidFill>
                  <a:schemeClr val="tx2"/>
                </a:solidFill>
                <a:latin typeface="Trebuchet MS" panose="020B0603020202020204" pitchFamily="34" charset="0"/>
              </a:rPr>
              <a:t>Cleansing &amp; basic enrichment</a:t>
            </a:r>
          </a:p>
        </p:txBody>
      </p:sp>
      <p:sp>
        <p:nvSpPr>
          <p:cNvPr id="117" name="Flèche : chevron 294">
            <a:extLst>
              <a:ext uri="{FF2B5EF4-FFF2-40B4-BE49-F238E27FC236}">
                <a16:creationId xmlns:a16="http://schemas.microsoft.com/office/drawing/2014/main" id="{043C8EB5-F1FD-4BB6-8793-A55D8659061E}"/>
              </a:ext>
            </a:extLst>
          </p:cNvPr>
          <p:cNvSpPr/>
          <p:nvPr/>
        </p:nvSpPr>
        <p:spPr bwMode="auto">
          <a:xfrm>
            <a:off x="8810279" y="1534568"/>
            <a:ext cx="828000" cy="360000"/>
          </a:xfrm>
          <a:prstGeom prst="chevron">
            <a:avLst>
              <a:gd name="adj" fmla="val 19648"/>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a:r>
              <a:rPr lang="en-GB" sz="800" b="1">
                <a:solidFill>
                  <a:schemeClr val="bg2">
                    <a:lumMod val="75000"/>
                  </a:schemeClr>
                </a:solidFill>
                <a:latin typeface="Trebuchet MS" panose="020B0603020202020204" pitchFamily="34" charset="0"/>
              </a:rPr>
              <a:t>Marketing automation</a:t>
            </a:r>
          </a:p>
        </p:txBody>
      </p:sp>
      <p:sp>
        <p:nvSpPr>
          <p:cNvPr id="118" name="Flèche : chevron 295">
            <a:extLst>
              <a:ext uri="{FF2B5EF4-FFF2-40B4-BE49-F238E27FC236}">
                <a16:creationId xmlns:a16="http://schemas.microsoft.com/office/drawing/2014/main" id="{C13BF61D-702D-451A-92F2-240F90156D03}"/>
              </a:ext>
            </a:extLst>
          </p:cNvPr>
          <p:cNvSpPr/>
          <p:nvPr/>
        </p:nvSpPr>
        <p:spPr bwMode="auto">
          <a:xfrm>
            <a:off x="7918768" y="1534568"/>
            <a:ext cx="828000" cy="360000"/>
          </a:xfrm>
          <a:prstGeom prst="chevron">
            <a:avLst>
              <a:gd name="adj" fmla="val 19648"/>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a:r>
              <a:rPr lang="en-GB" sz="800" b="1">
                <a:solidFill>
                  <a:schemeClr val="tx2"/>
                </a:solidFill>
                <a:latin typeface="Trebuchet MS" panose="020B0603020202020204" pitchFamily="34" charset="0"/>
              </a:rPr>
              <a:t>Lead qualification</a:t>
            </a:r>
          </a:p>
        </p:txBody>
      </p:sp>
      <p:sp>
        <p:nvSpPr>
          <p:cNvPr id="121" name="Rectangle 120">
            <a:extLst>
              <a:ext uri="{FF2B5EF4-FFF2-40B4-BE49-F238E27FC236}">
                <a16:creationId xmlns:a16="http://schemas.microsoft.com/office/drawing/2014/main" id="{29E8C345-4C8C-4342-B2DD-EF12342F82FB}"/>
              </a:ext>
            </a:extLst>
          </p:cNvPr>
          <p:cNvSpPr/>
          <p:nvPr/>
        </p:nvSpPr>
        <p:spPr bwMode="auto">
          <a:xfrm>
            <a:off x="5056908" y="3657830"/>
            <a:ext cx="4612586" cy="2808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spcAft>
                <a:spcPts val="100"/>
              </a:spcAft>
            </a:pPr>
            <a:r>
              <a:rPr lang="en-GB" sz="1000" b="1" i="1">
                <a:latin typeface="Trebuchet MS" panose="020B0603020202020204" pitchFamily="34" charset="0"/>
              </a:rPr>
              <a:t>Mapping of the market’s key players</a:t>
            </a:r>
          </a:p>
          <a:p>
            <a:pPr algn="ctr">
              <a:spcAft>
                <a:spcPts val="100"/>
              </a:spcAft>
            </a:pPr>
            <a:endParaRPr lang="en-GB" sz="900" b="1">
              <a:solidFill>
                <a:schemeClr val="tx2"/>
              </a:solidFill>
              <a:latin typeface="Trebuchet MS" panose="020B0603020202020204" pitchFamily="34" charset="0"/>
            </a:endParaRPr>
          </a:p>
        </p:txBody>
      </p:sp>
      <p:sp>
        <p:nvSpPr>
          <p:cNvPr id="145" name="Rectangle 144">
            <a:extLst>
              <a:ext uri="{FF2B5EF4-FFF2-40B4-BE49-F238E27FC236}">
                <a16:creationId xmlns:a16="http://schemas.microsoft.com/office/drawing/2014/main" id="{B50B2CF1-F99C-4911-B175-D59632AF89E9}"/>
              </a:ext>
            </a:extLst>
          </p:cNvPr>
          <p:cNvSpPr/>
          <p:nvPr/>
        </p:nvSpPr>
        <p:spPr bwMode="auto">
          <a:xfrm>
            <a:off x="5035348" y="4508029"/>
            <a:ext cx="4602961" cy="135766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Aft>
                <a:spcPts val="300"/>
              </a:spcAft>
              <a:buFont typeface="Arial" panose="020B0604020202020204" pitchFamily="34" charset="0"/>
              <a:buChar char="•"/>
            </a:pPr>
            <a:r>
              <a:rPr lang="en-GB" sz="1000">
                <a:latin typeface="Trebuchet MS" panose="020B0603020202020204" pitchFamily="34" charset="0"/>
              </a:rPr>
              <a:t>Within this market, BD&amp;A multi-specialists are mostly addressing </a:t>
            </a:r>
            <a:r>
              <a:rPr lang="en-GB" sz="1000">
                <a:solidFill>
                  <a:schemeClr val="tx2"/>
                </a:solidFill>
                <a:latin typeface="Trebuchet MS" panose="020B0603020202020204" pitchFamily="34" charset="0"/>
              </a:rPr>
              <a:t>large corporates </a:t>
            </a:r>
            <a:r>
              <a:rPr lang="en-GB" sz="1000">
                <a:latin typeface="Trebuchet MS" panose="020B0603020202020204" pitchFamily="34" charset="0"/>
              </a:rPr>
              <a:t>while </a:t>
            </a:r>
            <a:r>
              <a:rPr lang="en-GB" sz="1000">
                <a:solidFill>
                  <a:schemeClr val="tx2"/>
                </a:solidFill>
                <a:latin typeface="Trebuchet MS" panose="020B0603020202020204" pitchFamily="34" charset="0"/>
              </a:rPr>
              <a:t>pure</a:t>
            </a:r>
            <a:r>
              <a:rPr lang="en-GB" sz="1000">
                <a:latin typeface="Trebuchet MS" panose="020B0603020202020204" pitchFamily="34" charset="0"/>
              </a:rPr>
              <a:t> </a:t>
            </a:r>
            <a:r>
              <a:rPr lang="en-GB" sz="1000">
                <a:solidFill>
                  <a:schemeClr val="tx2"/>
                </a:solidFill>
                <a:latin typeface="Trebuchet MS" panose="020B0603020202020204" pitchFamily="34" charset="0"/>
              </a:rPr>
              <a:t>players</a:t>
            </a:r>
            <a:r>
              <a:rPr lang="en-GB" sz="1000">
                <a:latin typeface="Trebuchet MS" panose="020B0603020202020204" pitchFamily="34" charset="0"/>
              </a:rPr>
              <a:t> are addressing </a:t>
            </a:r>
            <a:r>
              <a:rPr lang="en-GB" sz="1000">
                <a:solidFill>
                  <a:schemeClr val="tx2"/>
                </a:solidFill>
                <a:latin typeface="Trebuchet MS" panose="020B0603020202020204" pitchFamily="34" charset="0"/>
              </a:rPr>
              <a:t>SMEs</a:t>
            </a:r>
          </a:p>
          <a:p>
            <a:pPr marL="171450" indent="-171450">
              <a:spcAft>
                <a:spcPts val="0"/>
              </a:spcAft>
              <a:buFont typeface="Arial" panose="020B0604020202020204" pitchFamily="34" charset="0"/>
              <a:buChar char="•"/>
            </a:pPr>
            <a:r>
              <a:rPr lang="en-GB" sz="1000">
                <a:latin typeface="Trebuchet MS" panose="020B0603020202020204" pitchFamily="34" charset="0"/>
              </a:rPr>
              <a:t>The performance of the different companies depends on: </a:t>
            </a:r>
          </a:p>
          <a:p>
            <a:pPr marL="361950" lvl="1" indent="-171450">
              <a:spcAft>
                <a:spcPts val="0"/>
              </a:spcAft>
              <a:buClr>
                <a:schemeClr val="tx1"/>
              </a:buClr>
              <a:buFont typeface="Courier New" panose="02070309020205020404" pitchFamily="49" charset="0"/>
              <a:buChar char="o"/>
            </a:pPr>
            <a:r>
              <a:rPr lang="en-GB" sz="1000">
                <a:latin typeface="Trebuchet MS" panose="020B0603020202020204" pitchFamily="34" charset="0"/>
              </a:rPr>
              <a:t>Their </a:t>
            </a:r>
            <a:r>
              <a:rPr lang="en-GB" sz="1000">
                <a:solidFill>
                  <a:schemeClr val="tx2"/>
                </a:solidFill>
                <a:latin typeface="Trebuchet MS" panose="020B0603020202020204" pitchFamily="34" charset="0"/>
              </a:rPr>
              <a:t>ability to offer value-added services </a:t>
            </a:r>
            <a:r>
              <a:rPr lang="en-GB" sz="1000">
                <a:latin typeface="Trebuchet MS" panose="020B0603020202020204" pitchFamily="34" charset="0"/>
              </a:rPr>
              <a:t>along the value chain</a:t>
            </a:r>
          </a:p>
          <a:p>
            <a:pPr marL="361950" lvl="1" indent="-171450">
              <a:spcAft>
                <a:spcPts val="0"/>
              </a:spcAft>
              <a:buClr>
                <a:schemeClr val="tx1"/>
              </a:buClr>
              <a:buFont typeface="Courier New" panose="02070309020205020404" pitchFamily="49" charset="0"/>
              <a:buChar char="o"/>
            </a:pPr>
            <a:r>
              <a:rPr lang="en-GB" sz="1000">
                <a:latin typeface="Trebuchet MS" panose="020B0603020202020204" pitchFamily="34" charset="0"/>
              </a:rPr>
              <a:t>Their </a:t>
            </a:r>
            <a:r>
              <a:rPr lang="en-GB" sz="1000">
                <a:solidFill>
                  <a:schemeClr val="tx2"/>
                </a:solidFill>
                <a:latin typeface="Trebuchet MS" panose="020B0603020202020204" pitchFamily="34" charset="0"/>
              </a:rPr>
              <a:t>operational capabilities </a:t>
            </a:r>
            <a:r>
              <a:rPr lang="en-GB" sz="1000">
                <a:latin typeface="Trebuchet MS" panose="020B0603020202020204" pitchFamily="34" charset="0"/>
              </a:rPr>
              <a:t>(e.g. use of call </a:t>
            </a:r>
            <a:r>
              <a:rPr lang="en-GB" sz="1000" err="1">
                <a:latin typeface="Trebuchet MS" panose="020B0603020202020204" pitchFamily="34" charset="0"/>
              </a:rPr>
              <a:t>center</a:t>
            </a:r>
            <a:r>
              <a:rPr lang="en-GB" sz="1000">
                <a:latin typeface="Trebuchet MS" panose="020B0603020202020204" pitchFamily="34" charset="0"/>
              </a:rPr>
              <a:t> to sell the solutions and qualify leads…)</a:t>
            </a:r>
          </a:p>
          <a:p>
            <a:pPr marL="361950" lvl="1" indent="-171450">
              <a:spcAft>
                <a:spcPts val="0"/>
              </a:spcAft>
              <a:buClr>
                <a:schemeClr val="tx1"/>
              </a:buClr>
              <a:buFont typeface="Courier New" panose="02070309020205020404" pitchFamily="49" charset="0"/>
              <a:buChar char="o"/>
            </a:pPr>
            <a:r>
              <a:rPr lang="en-GB" sz="1000">
                <a:latin typeface="Trebuchet MS" panose="020B0603020202020204" pitchFamily="34" charset="0"/>
              </a:rPr>
              <a:t>Their </a:t>
            </a:r>
            <a:r>
              <a:rPr lang="en-GB" sz="1000">
                <a:solidFill>
                  <a:schemeClr val="tx2"/>
                </a:solidFill>
                <a:latin typeface="Trebuchet MS" panose="020B0603020202020204" pitchFamily="34" charset="0"/>
              </a:rPr>
              <a:t>commercial abilities </a:t>
            </a:r>
            <a:r>
              <a:rPr lang="en-GB" sz="1000">
                <a:latin typeface="Trebuchet MS" panose="020B0603020202020204" pitchFamily="34" charset="0"/>
              </a:rPr>
              <a:t>(e.g. deployment of dedicated sales team for marketing solutions…)</a:t>
            </a:r>
          </a:p>
        </p:txBody>
      </p:sp>
      <p:pic>
        <p:nvPicPr>
          <p:cNvPr id="20" name="Picture 19" descr="A close up of a sign&#10;&#10;Description automatically generated">
            <a:extLst>
              <a:ext uri="{FF2B5EF4-FFF2-40B4-BE49-F238E27FC236}">
                <a16:creationId xmlns:a16="http://schemas.microsoft.com/office/drawing/2014/main" id="{5453F780-BD82-4640-9B20-1A70AAF8353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144427" y="1972063"/>
            <a:ext cx="240181" cy="154315"/>
          </a:xfrm>
          <a:prstGeom prst="rect">
            <a:avLst/>
          </a:prstGeom>
        </p:spPr>
      </p:pic>
      <p:sp>
        <p:nvSpPr>
          <p:cNvPr id="96" name="Rectangle 95">
            <a:extLst>
              <a:ext uri="{FF2B5EF4-FFF2-40B4-BE49-F238E27FC236}">
                <a16:creationId xmlns:a16="http://schemas.microsoft.com/office/drawing/2014/main" id="{C6FC74A9-11FB-4A5F-BAF5-251E8AF98C08}"/>
              </a:ext>
            </a:extLst>
          </p:cNvPr>
          <p:cNvSpPr/>
          <p:nvPr/>
        </p:nvSpPr>
        <p:spPr bwMode="auto">
          <a:xfrm>
            <a:off x="5266621" y="2630944"/>
            <a:ext cx="2578820" cy="192059"/>
          </a:xfrm>
          <a:prstGeom prst="rect">
            <a:avLst/>
          </a:prstGeom>
          <a:solidFill>
            <a:schemeClr val="bg1"/>
          </a:solidFill>
          <a:ln w="9525" cap="flat" cmpd="sng" algn="ctr">
            <a:solidFill>
              <a:schemeClr val="tx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7" name="Rectangle 146">
            <a:extLst>
              <a:ext uri="{FF2B5EF4-FFF2-40B4-BE49-F238E27FC236}">
                <a16:creationId xmlns:a16="http://schemas.microsoft.com/office/drawing/2014/main" id="{E2DDA0D8-158D-4302-AA87-E11CC00993D1}"/>
              </a:ext>
            </a:extLst>
          </p:cNvPr>
          <p:cNvSpPr/>
          <p:nvPr/>
        </p:nvSpPr>
        <p:spPr bwMode="auto">
          <a:xfrm>
            <a:off x="5266621" y="2207804"/>
            <a:ext cx="3470330" cy="360000"/>
          </a:xfrm>
          <a:prstGeom prst="rect">
            <a:avLst/>
          </a:prstGeom>
          <a:solidFill>
            <a:schemeClr val="bg1"/>
          </a:solidFill>
          <a:ln w="9525" cap="flat" cmpd="sng" algn="ctr">
            <a:solidFill>
              <a:schemeClr val="tx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52" name="Picture 2" descr="Image result for bureau van dijk logo">
            <a:extLst>
              <a:ext uri="{FF2B5EF4-FFF2-40B4-BE49-F238E27FC236}">
                <a16:creationId xmlns:a16="http://schemas.microsoft.com/office/drawing/2014/main" id="{15FBF7A9-69B7-42AA-83B6-62930380CAF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033335" y="2418998"/>
            <a:ext cx="295316" cy="139578"/>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6" descr="Image result for logo kompass">
            <a:extLst>
              <a:ext uri="{FF2B5EF4-FFF2-40B4-BE49-F238E27FC236}">
                <a16:creationId xmlns:a16="http://schemas.microsoft.com/office/drawing/2014/main" id="{1DBB2B2B-8645-42A1-AA16-06B2CE8ED52B}"/>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9033" b="19033"/>
          <a:stretch/>
        </p:blipFill>
        <p:spPr bwMode="auto">
          <a:xfrm>
            <a:off x="6498800" y="2358052"/>
            <a:ext cx="434726" cy="261471"/>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153" descr="A picture containing computer, computer&#10;&#10;Description automatically generated">
            <a:extLst>
              <a:ext uri="{FF2B5EF4-FFF2-40B4-BE49-F238E27FC236}">
                <a16:creationId xmlns:a16="http://schemas.microsoft.com/office/drawing/2014/main" id="{FBA10948-7CD7-4084-93A6-354EAA5BE425}"/>
              </a:ext>
            </a:extLst>
          </p:cNvPr>
          <p:cNvPicPr>
            <a:picLocks noChangeAspect="1"/>
          </p:cNvPicPr>
          <p:nvPr/>
        </p:nvPicPr>
        <p:blipFill rotWithShape="1">
          <a:blip r:embed="rId14">
            <a:extLst>
              <a:ext uri="{28A0092B-C50C-407E-A947-70E740481C1C}">
                <a14:useLocalDpi xmlns:a14="http://schemas.microsoft.com/office/drawing/2010/main" val="0"/>
              </a:ext>
            </a:extLst>
          </a:blip>
          <a:srcRect l="12024" t="40724" r="12024" b="40724"/>
          <a:stretch/>
        </p:blipFill>
        <p:spPr>
          <a:xfrm>
            <a:off x="7474980" y="2453973"/>
            <a:ext cx="380082" cy="69628"/>
          </a:xfrm>
          <a:prstGeom prst="rect">
            <a:avLst/>
          </a:prstGeom>
        </p:spPr>
      </p:pic>
      <p:pic>
        <p:nvPicPr>
          <p:cNvPr id="155" name="Picture 154">
            <a:extLst>
              <a:ext uri="{FF2B5EF4-FFF2-40B4-BE49-F238E27FC236}">
                <a16:creationId xmlns:a16="http://schemas.microsoft.com/office/drawing/2014/main" id="{7DD250E1-8BBC-488F-9B8A-5060FA80EED5}"/>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6154884" y="2397934"/>
            <a:ext cx="239854" cy="181706"/>
          </a:xfrm>
          <a:prstGeom prst="rect">
            <a:avLst/>
          </a:prstGeom>
        </p:spPr>
      </p:pic>
      <p:pic>
        <p:nvPicPr>
          <p:cNvPr id="158" name="Picture 2" descr="Image result for creditsafe logo">
            <a:extLst>
              <a:ext uri="{FF2B5EF4-FFF2-40B4-BE49-F238E27FC236}">
                <a16:creationId xmlns:a16="http://schemas.microsoft.com/office/drawing/2014/main" id="{8EE35872-B9E4-490A-A0FC-90827A4A95B7}"/>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702353" y="2280881"/>
            <a:ext cx="447063" cy="77162"/>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4" descr="Image result for logo sparklane">
            <a:extLst>
              <a:ext uri="{FF2B5EF4-FFF2-40B4-BE49-F238E27FC236}">
                <a16:creationId xmlns:a16="http://schemas.microsoft.com/office/drawing/2014/main" id="{347E5B98-422E-4053-B44A-127450E45DE2}"/>
              </a:ext>
            </a:extLst>
          </p:cNvPr>
          <p:cNvPicPr>
            <a:picLocks noChangeAspect="1" noChangeArrowheads="1"/>
          </p:cNvPicPr>
          <p:nvPr/>
        </p:nvPicPr>
        <p:blipFill>
          <a:blip r:embed="rId17">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5879827" y="2218088"/>
            <a:ext cx="230264" cy="202748"/>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6" descr="Corporama">
            <a:extLst>
              <a:ext uri="{FF2B5EF4-FFF2-40B4-BE49-F238E27FC236}">
                <a16:creationId xmlns:a16="http://schemas.microsoft.com/office/drawing/2014/main" id="{D00FFDB6-9387-492A-B67D-B2BBFC6CDF80}"/>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370802" y="2260235"/>
            <a:ext cx="310522" cy="76720"/>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6" descr="Image result for intescia logo">
            <a:extLst>
              <a:ext uri="{FF2B5EF4-FFF2-40B4-BE49-F238E27FC236}">
                <a16:creationId xmlns:a16="http://schemas.microsoft.com/office/drawing/2014/main" id="{8EDD59DB-5005-4960-85E3-62BF795105E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614570" y="2297131"/>
            <a:ext cx="144035" cy="41875"/>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2 - 1" descr="Image result for salezeo">
            <a:extLst>
              <a:ext uri="{FF2B5EF4-FFF2-40B4-BE49-F238E27FC236}">
                <a16:creationId xmlns:a16="http://schemas.microsoft.com/office/drawing/2014/main" id="{D8BF60F8-6ED6-48B8-89F1-18FD5DD28CD4}"/>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28083" b="28083"/>
          <a:stretch/>
        </p:blipFill>
        <p:spPr bwMode="auto">
          <a:xfrm>
            <a:off x="6220532" y="2238316"/>
            <a:ext cx="381235" cy="162293"/>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163">
            <a:extLst>
              <a:ext uri="{FF2B5EF4-FFF2-40B4-BE49-F238E27FC236}">
                <a16:creationId xmlns:a16="http://schemas.microsoft.com/office/drawing/2014/main" id="{A0DB5112-1B00-4DDF-BE01-0A07265C1698}"/>
              </a:ext>
            </a:extLst>
          </p:cNvPr>
          <p:cNvPicPr>
            <a:picLocks noChangeAspect="1"/>
          </p:cNvPicPr>
          <p:nvPr/>
        </p:nvPicPr>
        <p:blipFill>
          <a:blip r:embed="rId21">
            <a:clrChange>
              <a:clrFrom>
                <a:srgbClr val="FFFFFF"/>
              </a:clrFrom>
              <a:clrTo>
                <a:srgbClr val="FFFFFF">
                  <a:alpha val="0"/>
                </a:srgbClr>
              </a:clrTo>
            </a:clrChange>
          </a:blip>
          <a:stretch>
            <a:fillRect/>
          </a:stretch>
        </p:blipFill>
        <p:spPr>
          <a:xfrm>
            <a:off x="7829657" y="2247724"/>
            <a:ext cx="340302" cy="143477"/>
          </a:xfrm>
          <a:prstGeom prst="rect">
            <a:avLst/>
          </a:prstGeom>
        </p:spPr>
      </p:pic>
      <p:pic>
        <p:nvPicPr>
          <p:cNvPr id="165" name="Picture 164" descr="A picture containing light&#10;&#10;Description automatically generated">
            <a:extLst>
              <a:ext uri="{FF2B5EF4-FFF2-40B4-BE49-F238E27FC236}">
                <a16:creationId xmlns:a16="http://schemas.microsoft.com/office/drawing/2014/main" id="{EDA2E34A-9DFC-48DE-9D1E-735F0F17E2AB}"/>
              </a:ext>
            </a:extLst>
          </p:cNvPr>
          <p:cNvPicPr>
            <a:picLocks noChangeAspect="1"/>
          </p:cNvPicPr>
          <p:nvPr/>
        </p:nvPicPr>
        <p:blipFill rotWithShape="1">
          <a:blip r:embed="rId22">
            <a:extLst>
              <a:ext uri="{28A0092B-C50C-407E-A947-70E740481C1C}">
                <a14:useLocalDpi xmlns:a14="http://schemas.microsoft.com/office/drawing/2010/main" val="0"/>
              </a:ext>
            </a:extLst>
          </a:blip>
          <a:srcRect t="40335" b="35823"/>
          <a:stretch/>
        </p:blipFill>
        <p:spPr>
          <a:xfrm>
            <a:off x="7245353" y="2273350"/>
            <a:ext cx="483515" cy="92225"/>
          </a:xfrm>
          <a:prstGeom prst="rect">
            <a:avLst/>
          </a:prstGeom>
        </p:spPr>
      </p:pic>
      <p:pic>
        <p:nvPicPr>
          <p:cNvPr id="166" name="Image 86">
            <a:extLst>
              <a:ext uri="{FF2B5EF4-FFF2-40B4-BE49-F238E27FC236}">
                <a16:creationId xmlns:a16="http://schemas.microsoft.com/office/drawing/2014/main" id="{89A0DDBA-C687-4288-B33B-D11D23C44F33}"/>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8275912" y="2264897"/>
            <a:ext cx="369896" cy="109131"/>
          </a:xfrm>
          <a:prstGeom prst="rect">
            <a:avLst/>
          </a:prstGeom>
        </p:spPr>
      </p:pic>
      <p:pic>
        <p:nvPicPr>
          <p:cNvPr id="167" name="Picture 2" descr="Image result for nomination logo">
            <a:extLst>
              <a:ext uri="{FF2B5EF4-FFF2-40B4-BE49-F238E27FC236}">
                <a16:creationId xmlns:a16="http://schemas.microsoft.com/office/drawing/2014/main" id="{A6828C68-7F11-43C6-908B-325923281A81}"/>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5969948" y="2644088"/>
            <a:ext cx="232541" cy="170917"/>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167">
            <a:extLst>
              <a:ext uri="{FF2B5EF4-FFF2-40B4-BE49-F238E27FC236}">
                <a16:creationId xmlns:a16="http://schemas.microsoft.com/office/drawing/2014/main" id="{B74ED0E5-9129-4D96-B398-82F69609213C}"/>
              </a:ext>
            </a:extLst>
          </p:cNvPr>
          <p:cNvPicPr>
            <a:picLocks noChangeAspect="1"/>
          </p:cNvPicPr>
          <p:nvPr/>
        </p:nvPicPr>
        <p:blipFill>
          <a:blip r:embed="rId25">
            <a:clrChange>
              <a:clrFrom>
                <a:srgbClr val="FFFFFF"/>
              </a:clrFrom>
              <a:clrTo>
                <a:srgbClr val="FFFFFF">
                  <a:alpha val="0"/>
                </a:srgbClr>
              </a:clrTo>
            </a:clrChange>
          </a:blip>
          <a:stretch>
            <a:fillRect/>
          </a:stretch>
        </p:blipFill>
        <p:spPr>
          <a:xfrm>
            <a:off x="6676860" y="2636069"/>
            <a:ext cx="590300" cy="157192"/>
          </a:xfrm>
          <a:prstGeom prst="rect">
            <a:avLst/>
          </a:prstGeom>
        </p:spPr>
      </p:pic>
      <p:sp>
        <p:nvSpPr>
          <p:cNvPr id="91" name="Rectangle 90">
            <a:extLst>
              <a:ext uri="{FF2B5EF4-FFF2-40B4-BE49-F238E27FC236}">
                <a16:creationId xmlns:a16="http://schemas.microsoft.com/office/drawing/2014/main" id="{D9E4824A-040E-451B-A9C6-3E20121B25F4}"/>
              </a:ext>
            </a:extLst>
          </p:cNvPr>
          <p:cNvSpPr/>
          <p:nvPr/>
        </p:nvSpPr>
        <p:spPr bwMode="auto">
          <a:xfrm>
            <a:off x="5266621" y="2886143"/>
            <a:ext cx="1686468" cy="192059"/>
          </a:xfrm>
          <a:prstGeom prst="rect">
            <a:avLst/>
          </a:prstGeom>
          <a:solidFill>
            <a:schemeClr val="bg1"/>
          </a:solidFill>
          <a:ln w="9525" cap="flat" cmpd="sng" algn="ctr">
            <a:solidFill>
              <a:schemeClr val="tx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69" name="Picture 10" descr="Image result for espace direct logo">
            <a:extLst>
              <a:ext uri="{FF2B5EF4-FFF2-40B4-BE49-F238E27FC236}">
                <a16:creationId xmlns:a16="http://schemas.microsoft.com/office/drawing/2014/main" id="{2496634B-8DAB-4501-955D-AD01B26B716A}"/>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6117134" y="2855753"/>
            <a:ext cx="364214" cy="265932"/>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169" descr="A picture containing computer&#10;&#10;Description automatically generated">
            <a:extLst>
              <a:ext uri="{FF2B5EF4-FFF2-40B4-BE49-F238E27FC236}">
                <a16:creationId xmlns:a16="http://schemas.microsoft.com/office/drawing/2014/main" id="{E499D82D-71F4-47E6-B703-7D4B8BF3DF48}"/>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5692104" y="2918146"/>
            <a:ext cx="491214" cy="133704"/>
          </a:xfrm>
          <a:prstGeom prst="rect">
            <a:avLst/>
          </a:prstGeom>
        </p:spPr>
      </p:pic>
      <p:sp>
        <p:nvSpPr>
          <p:cNvPr id="87" name="Rectangle 86">
            <a:extLst>
              <a:ext uri="{FF2B5EF4-FFF2-40B4-BE49-F238E27FC236}">
                <a16:creationId xmlns:a16="http://schemas.microsoft.com/office/drawing/2014/main" id="{43C8CC99-08A8-462F-8ED2-69D617FDCCEF}"/>
              </a:ext>
            </a:extLst>
          </p:cNvPr>
          <p:cNvSpPr/>
          <p:nvPr/>
        </p:nvSpPr>
        <p:spPr bwMode="auto">
          <a:xfrm>
            <a:off x="5266621" y="3141341"/>
            <a:ext cx="795800" cy="360000"/>
          </a:xfrm>
          <a:prstGeom prst="rect">
            <a:avLst/>
          </a:prstGeom>
          <a:solidFill>
            <a:schemeClr val="bg1"/>
          </a:solidFill>
          <a:ln w="9525" cap="flat" cmpd="sng" algn="ctr">
            <a:solidFill>
              <a:schemeClr val="tx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71" name="Picture 2" descr="Afficher l'image d'origine">
            <a:extLst>
              <a:ext uri="{FF2B5EF4-FFF2-40B4-BE49-F238E27FC236}">
                <a16:creationId xmlns:a16="http://schemas.microsoft.com/office/drawing/2014/main" id="{3FCC7EE5-EB0A-43A8-8320-73FC38693E36}"/>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5269027" y="3333750"/>
            <a:ext cx="308983" cy="105815"/>
          </a:xfrm>
          <a:prstGeom prst="rect">
            <a:avLst/>
          </a:prstGeom>
          <a:noFill/>
          <a:extLst>
            <a:ext uri="{909E8E84-426E-40DD-AFC4-6F175D3DCCD1}">
              <a14:hiddenFill xmlns:a14="http://schemas.microsoft.com/office/drawing/2010/main">
                <a:solidFill>
                  <a:srgbClr val="FFFFFF"/>
                </a:solidFill>
              </a14:hiddenFill>
            </a:ext>
          </a:extLst>
        </p:spPr>
      </p:pic>
      <p:pic>
        <p:nvPicPr>
          <p:cNvPr id="172" name="Picture 16" descr="Vertical-Mail Logo">
            <a:extLst>
              <a:ext uri="{FF2B5EF4-FFF2-40B4-BE49-F238E27FC236}">
                <a16:creationId xmlns:a16="http://schemas.microsoft.com/office/drawing/2014/main" id="{90BB860D-7C0B-4CD8-9605-297555CFB135}"/>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601733" y="3341021"/>
            <a:ext cx="447063" cy="91273"/>
          </a:xfrm>
          <a:prstGeom prst="rect">
            <a:avLst/>
          </a:prstGeom>
          <a:noFill/>
          <a:extLst>
            <a:ext uri="{909E8E84-426E-40DD-AFC4-6F175D3DCCD1}">
              <a14:hiddenFill xmlns:a14="http://schemas.microsoft.com/office/drawing/2010/main">
                <a:solidFill>
                  <a:srgbClr val="FFFFFF"/>
                </a:solidFill>
              </a14:hiddenFill>
            </a:ext>
          </a:extLst>
        </p:spPr>
      </p:pic>
      <p:sp>
        <p:nvSpPr>
          <p:cNvPr id="151" name="Rectangle 150">
            <a:extLst>
              <a:ext uri="{FF2B5EF4-FFF2-40B4-BE49-F238E27FC236}">
                <a16:creationId xmlns:a16="http://schemas.microsoft.com/office/drawing/2014/main" id="{A9A6BBC3-04CE-4E01-ABD9-0E181C1EB696}"/>
              </a:ext>
            </a:extLst>
          </p:cNvPr>
          <p:cNvSpPr/>
          <p:nvPr/>
        </p:nvSpPr>
        <p:spPr bwMode="auto">
          <a:xfrm>
            <a:off x="8808066" y="1895222"/>
            <a:ext cx="818182" cy="1602758"/>
          </a:xfrm>
          <a:prstGeom prst="rect">
            <a:avLst/>
          </a:prstGeom>
          <a:solidFill>
            <a:schemeClr val="bg1">
              <a:lumMod val="95000"/>
              <a:alpha val="60000"/>
            </a:schemeClr>
          </a:solid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lumMod val="60000"/>
                    <a:lumOff val="40000"/>
                  </a:schemeClr>
                </a:solidFill>
                <a:effectLst/>
                <a:latin typeface="Trebuchet MS" panose="020B0603020202020204" pitchFamily="34" charset="0"/>
              </a:rPr>
              <a:t>Adjacent market (not considered)</a:t>
            </a:r>
          </a:p>
        </p:txBody>
      </p:sp>
      <p:sp>
        <p:nvSpPr>
          <p:cNvPr id="17" name="Rectangle 16">
            <a:extLst>
              <a:ext uri="{FF2B5EF4-FFF2-40B4-BE49-F238E27FC236}">
                <a16:creationId xmlns:a16="http://schemas.microsoft.com/office/drawing/2014/main" id="{7C98EFD6-DC82-495E-BCC6-8355A6F2C765}"/>
              </a:ext>
            </a:extLst>
          </p:cNvPr>
          <p:cNvSpPr/>
          <p:nvPr/>
        </p:nvSpPr>
        <p:spPr bwMode="auto">
          <a:xfrm>
            <a:off x="5266620" y="1952605"/>
            <a:ext cx="3995795" cy="192059"/>
          </a:xfrm>
          <a:prstGeom prst="rect">
            <a:avLst/>
          </a:prstGeom>
          <a:no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0" name="Rectangle 149">
            <a:extLst>
              <a:ext uri="{FF2B5EF4-FFF2-40B4-BE49-F238E27FC236}">
                <a16:creationId xmlns:a16="http://schemas.microsoft.com/office/drawing/2014/main" id="{FCFF3CE0-32B7-4E86-B5A2-214BAA56A562}"/>
              </a:ext>
            </a:extLst>
          </p:cNvPr>
          <p:cNvSpPr/>
          <p:nvPr/>
        </p:nvSpPr>
        <p:spPr bwMode="auto">
          <a:xfrm>
            <a:off x="7919394" y="3137133"/>
            <a:ext cx="817556" cy="360000"/>
          </a:xfrm>
          <a:prstGeom prst="rect">
            <a:avLst/>
          </a:prstGeom>
          <a:solidFill>
            <a:schemeClr val="bg1"/>
          </a:solidFill>
          <a:ln w="9525" cap="flat" cmpd="sng" algn="ctr">
            <a:solidFill>
              <a:schemeClr val="tx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156" name="Picture 12" descr="Image result for sidetrade group logo">
            <a:extLst>
              <a:ext uri="{FF2B5EF4-FFF2-40B4-BE49-F238E27FC236}">
                <a16:creationId xmlns:a16="http://schemas.microsoft.com/office/drawing/2014/main" id="{390F6AD1-ED29-4E18-A496-AD20DFC5643F}"/>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8165758" y="3237500"/>
            <a:ext cx="390099" cy="147749"/>
          </a:xfrm>
          <a:prstGeom prst="rect">
            <a:avLst/>
          </a:prstGeom>
          <a:noFill/>
          <a:extLst>
            <a:ext uri="{909E8E84-426E-40DD-AFC4-6F175D3DCCD1}">
              <a14:hiddenFill xmlns:a14="http://schemas.microsoft.com/office/drawing/2010/main">
                <a:solidFill>
                  <a:srgbClr val="FFFFFF"/>
                </a:solidFill>
              </a14:hiddenFill>
            </a:ext>
          </a:extLst>
        </p:spPr>
      </p:pic>
      <p:pic>
        <p:nvPicPr>
          <p:cNvPr id="177" name="Picture 176" descr="A picture containing drawing&#10;&#10;Description automatically generated">
            <a:extLst>
              <a:ext uri="{FF2B5EF4-FFF2-40B4-BE49-F238E27FC236}">
                <a16:creationId xmlns:a16="http://schemas.microsoft.com/office/drawing/2014/main" id="{262644F5-3E6A-468F-B4B9-9527E7171D2F}"/>
              </a:ext>
            </a:extLst>
          </p:cNvPr>
          <p:cNvPicPr>
            <a:picLocks noChangeAspect="1"/>
          </p:cNvPicPr>
          <p:nvPr/>
        </p:nvPicPr>
        <p:blipFill>
          <a:blip r:embed="rId31">
            <a:clrChange>
              <a:clrFrom>
                <a:srgbClr val="FFFFFF"/>
              </a:clrFrom>
              <a:clrTo>
                <a:srgbClr val="FFFFFF">
                  <a:alpha val="0"/>
                </a:srgbClr>
              </a:clrTo>
            </a:clrChange>
            <a:alphaModFix amt="35000"/>
            <a:extLst>
              <a:ext uri="{28A0092B-C50C-407E-A947-70E740481C1C}">
                <a14:useLocalDpi xmlns:a14="http://schemas.microsoft.com/office/drawing/2010/main" val="0"/>
              </a:ext>
            </a:extLst>
          </a:blip>
          <a:stretch>
            <a:fillRect/>
          </a:stretch>
        </p:blipFill>
        <p:spPr>
          <a:xfrm>
            <a:off x="8973063" y="2927211"/>
            <a:ext cx="480359" cy="142907"/>
          </a:xfrm>
          <a:prstGeom prst="rect">
            <a:avLst/>
          </a:prstGeom>
        </p:spPr>
      </p:pic>
      <p:pic>
        <p:nvPicPr>
          <p:cNvPr id="178" name="Picture 177" descr="A picture containing table&#10;&#10;Description automatically generated">
            <a:extLst>
              <a:ext uri="{FF2B5EF4-FFF2-40B4-BE49-F238E27FC236}">
                <a16:creationId xmlns:a16="http://schemas.microsoft.com/office/drawing/2014/main" id="{2609921E-D0AC-49A4-88F9-7DBE6D709CAA}"/>
              </a:ext>
            </a:extLst>
          </p:cNvPr>
          <p:cNvPicPr>
            <a:picLocks noChangeAspect="1"/>
          </p:cNvPicPr>
          <p:nvPr/>
        </p:nvPicPr>
        <p:blipFill>
          <a:blip r:embed="rId32">
            <a:clrChange>
              <a:clrFrom>
                <a:srgbClr val="FBFBFB"/>
              </a:clrFrom>
              <a:clrTo>
                <a:srgbClr val="FBFBFB">
                  <a:alpha val="0"/>
                </a:srgbClr>
              </a:clrTo>
            </a:clrChange>
            <a:alphaModFix amt="50000"/>
            <a:extLst>
              <a:ext uri="{28A0092B-C50C-407E-A947-70E740481C1C}">
                <a14:useLocalDpi xmlns:a14="http://schemas.microsoft.com/office/drawing/2010/main" val="0"/>
              </a:ext>
            </a:extLst>
          </a:blip>
          <a:stretch>
            <a:fillRect/>
          </a:stretch>
        </p:blipFill>
        <p:spPr>
          <a:xfrm>
            <a:off x="8926918" y="2234635"/>
            <a:ext cx="572649" cy="264199"/>
          </a:xfrm>
          <a:prstGeom prst="rect">
            <a:avLst/>
          </a:prstGeom>
        </p:spPr>
      </p:pic>
      <p:grpSp>
        <p:nvGrpSpPr>
          <p:cNvPr id="15" name="Groupe 14">
            <a:extLst>
              <a:ext uri="{FF2B5EF4-FFF2-40B4-BE49-F238E27FC236}">
                <a16:creationId xmlns:a16="http://schemas.microsoft.com/office/drawing/2014/main" id="{D34E0484-4894-4452-A20A-2926432348F4}"/>
              </a:ext>
            </a:extLst>
          </p:cNvPr>
          <p:cNvGrpSpPr/>
          <p:nvPr/>
        </p:nvGrpSpPr>
        <p:grpSpPr>
          <a:xfrm>
            <a:off x="5932101" y="3868471"/>
            <a:ext cx="1270542" cy="572358"/>
            <a:chOff x="5210176" y="3942359"/>
            <a:chExt cx="1270542" cy="572358"/>
          </a:xfrm>
        </p:grpSpPr>
        <p:sp>
          <p:nvSpPr>
            <p:cNvPr id="123" name="Rectangle : coins arrondis 300">
              <a:extLst>
                <a:ext uri="{FF2B5EF4-FFF2-40B4-BE49-F238E27FC236}">
                  <a16:creationId xmlns:a16="http://schemas.microsoft.com/office/drawing/2014/main" id="{2A9B461F-8A97-49CA-85B7-77B4080060B9}"/>
                </a:ext>
              </a:extLst>
            </p:cNvPr>
            <p:cNvSpPr/>
            <p:nvPr/>
          </p:nvSpPr>
          <p:spPr bwMode="auto">
            <a:xfrm>
              <a:off x="5228359" y="4155610"/>
              <a:ext cx="1107478" cy="324765"/>
            </a:xfrm>
            <a:prstGeom prst="roundRect">
              <a:avLst/>
            </a:prstGeom>
            <a:solidFill>
              <a:schemeClr val="bg1"/>
            </a:solid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25" name="Picture 6" descr="RÃ©sultat de recherche d'images pour &quot;creditsafe logo&quot;">
              <a:extLst>
                <a:ext uri="{FF2B5EF4-FFF2-40B4-BE49-F238E27FC236}">
                  <a16:creationId xmlns:a16="http://schemas.microsoft.com/office/drawing/2014/main" id="{EFC9AE6B-B614-4625-BED5-A10F083CBFF0}"/>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5893244" y="4223583"/>
              <a:ext cx="421934" cy="117316"/>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12" descr="RÃ©sultat de recherche d'images pour &quot;bureau van dijk&quot;">
              <a:extLst>
                <a:ext uri="{FF2B5EF4-FFF2-40B4-BE49-F238E27FC236}">
                  <a16:creationId xmlns:a16="http://schemas.microsoft.com/office/drawing/2014/main" id="{A9D645D4-C8E8-4E0B-97F1-E5338410BEA0}"/>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5601239" y="4224311"/>
              <a:ext cx="245428" cy="160644"/>
            </a:xfrm>
            <a:prstGeom prst="rect">
              <a:avLst/>
            </a:prstGeom>
            <a:noFill/>
            <a:extLst>
              <a:ext uri="{909E8E84-426E-40DD-AFC4-6F175D3DCCD1}">
                <a14:hiddenFill xmlns:a14="http://schemas.microsoft.com/office/drawing/2010/main">
                  <a:solidFill>
                    <a:srgbClr val="FFFFFF"/>
                  </a:solidFill>
                </a14:hiddenFill>
              </a:ext>
            </a:extLst>
          </p:spPr>
        </p:pic>
        <p:sp>
          <p:nvSpPr>
            <p:cNvPr id="127" name="ZoneTexte 304">
              <a:extLst>
                <a:ext uri="{FF2B5EF4-FFF2-40B4-BE49-F238E27FC236}">
                  <a16:creationId xmlns:a16="http://schemas.microsoft.com/office/drawing/2014/main" id="{0B648282-26D2-4C3C-BF36-14E572B1AF82}"/>
                </a:ext>
              </a:extLst>
            </p:cNvPr>
            <p:cNvSpPr txBox="1"/>
            <p:nvPr/>
          </p:nvSpPr>
          <p:spPr>
            <a:xfrm>
              <a:off x="6064485" y="4299273"/>
              <a:ext cx="416233" cy="215444"/>
            </a:xfrm>
            <a:prstGeom prst="rect">
              <a:avLst/>
            </a:prstGeom>
            <a:noFill/>
          </p:spPr>
          <p:txBody>
            <a:bodyPr wrap="square" rtlCol="0">
              <a:spAutoFit/>
            </a:bodyPr>
            <a:lstStyle/>
            <a:p>
              <a:r>
                <a:rPr lang="en-GB" sz="800">
                  <a:latin typeface="+mj-lt"/>
                </a:rPr>
                <a:t>…</a:t>
              </a:r>
            </a:p>
          </p:txBody>
        </p:sp>
        <p:sp>
          <p:nvSpPr>
            <p:cNvPr id="135" name="ZoneTexte 312">
              <a:extLst>
                <a:ext uri="{FF2B5EF4-FFF2-40B4-BE49-F238E27FC236}">
                  <a16:creationId xmlns:a16="http://schemas.microsoft.com/office/drawing/2014/main" id="{2ECAAD0B-14DB-4D7D-BF3A-0768322098AB}"/>
                </a:ext>
              </a:extLst>
            </p:cNvPr>
            <p:cNvSpPr txBox="1"/>
            <p:nvPr/>
          </p:nvSpPr>
          <p:spPr>
            <a:xfrm>
              <a:off x="5210176" y="3942359"/>
              <a:ext cx="1241770" cy="230832"/>
            </a:xfrm>
            <a:prstGeom prst="rect">
              <a:avLst/>
            </a:prstGeom>
            <a:noFill/>
          </p:spPr>
          <p:txBody>
            <a:bodyPr wrap="square" lIns="0" rIns="0" rtlCol="0">
              <a:spAutoFit/>
            </a:bodyPr>
            <a:lstStyle/>
            <a:p>
              <a:pPr algn="ctr"/>
              <a:r>
                <a:rPr lang="en-GB" sz="900" b="1" i="1">
                  <a:solidFill>
                    <a:schemeClr val="tx2"/>
                  </a:solidFill>
                  <a:latin typeface="+mj-lt"/>
                </a:rPr>
                <a:t>BD&amp;A multi-specialists</a:t>
              </a:r>
            </a:p>
          </p:txBody>
        </p:sp>
        <p:pic>
          <p:nvPicPr>
            <p:cNvPr id="5" name="Picture 4" descr="A close up of a sign&#10;&#10;Description automatically generated">
              <a:extLst>
                <a:ext uri="{FF2B5EF4-FFF2-40B4-BE49-F238E27FC236}">
                  <a16:creationId xmlns:a16="http://schemas.microsoft.com/office/drawing/2014/main" id="{0212C606-A883-479D-9EA2-B457704826F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281013" y="4215675"/>
              <a:ext cx="240181" cy="154315"/>
            </a:xfrm>
            <a:prstGeom prst="rect">
              <a:avLst/>
            </a:prstGeom>
          </p:spPr>
        </p:pic>
      </p:grpSp>
      <p:grpSp>
        <p:nvGrpSpPr>
          <p:cNvPr id="13" name="Groupe 12">
            <a:extLst>
              <a:ext uri="{FF2B5EF4-FFF2-40B4-BE49-F238E27FC236}">
                <a16:creationId xmlns:a16="http://schemas.microsoft.com/office/drawing/2014/main" id="{6A95B886-A514-473C-B1E8-CD01AEA10566}"/>
              </a:ext>
            </a:extLst>
          </p:cNvPr>
          <p:cNvGrpSpPr/>
          <p:nvPr/>
        </p:nvGrpSpPr>
        <p:grpSpPr>
          <a:xfrm>
            <a:off x="7384608" y="3868471"/>
            <a:ext cx="1466610" cy="573465"/>
            <a:chOff x="6266078" y="3942359"/>
            <a:chExt cx="1466610" cy="573465"/>
          </a:xfrm>
        </p:grpSpPr>
        <p:sp>
          <p:nvSpPr>
            <p:cNvPr id="124" name="Rectangle : coins arrondis 301">
              <a:extLst>
                <a:ext uri="{FF2B5EF4-FFF2-40B4-BE49-F238E27FC236}">
                  <a16:creationId xmlns:a16="http://schemas.microsoft.com/office/drawing/2014/main" id="{0D3A1367-BDEB-41AD-950B-BD37B5215F7C}"/>
                </a:ext>
              </a:extLst>
            </p:cNvPr>
            <p:cNvSpPr/>
            <p:nvPr/>
          </p:nvSpPr>
          <p:spPr bwMode="auto">
            <a:xfrm>
              <a:off x="6456771" y="4155610"/>
              <a:ext cx="1128882" cy="324765"/>
            </a:xfrm>
            <a:prstGeom prst="roundRect">
              <a:avLst/>
            </a:prstGeom>
            <a:solidFill>
              <a:schemeClr val="bg1"/>
            </a:solidFill>
            <a:ln w="9525" cap="flat" cmpd="sng" algn="ctr">
              <a:solidFill>
                <a:srgbClr val="C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8" name="ZoneTexte 305">
              <a:extLst>
                <a:ext uri="{FF2B5EF4-FFF2-40B4-BE49-F238E27FC236}">
                  <a16:creationId xmlns:a16="http://schemas.microsoft.com/office/drawing/2014/main" id="{A41C9AD9-5812-481F-A309-1F7D79F79DA1}"/>
                </a:ext>
              </a:extLst>
            </p:cNvPr>
            <p:cNvSpPr txBox="1"/>
            <p:nvPr/>
          </p:nvSpPr>
          <p:spPr>
            <a:xfrm>
              <a:off x="7316455" y="4300380"/>
              <a:ext cx="416233" cy="215444"/>
            </a:xfrm>
            <a:prstGeom prst="rect">
              <a:avLst/>
            </a:prstGeom>
            <a:noFill/>
          </p:spPr>
          <p:txBody>
            <a:bodyPr wrap="square" rtlCol="0">
              <a:spAutoFit/>
            </a:bodyPr>
            <a:lstStyle/>
            <a:p>
              <a:r>
                <a:rPr lang="en-GB" sz="800">
                  <a:latin typeface="+mj-lt"/>
                </a:rPr>
                <a:t>…</a:t>
              </a:r>
            </a:p>
          </p:txBody>
        </p:sp>
        <p:pic>
          <p:nvPicPr>
            <p:cNvPr id="129" name="Picture 4" descr="Image result for logo sparklane">
              <a:extLst>
                <a:ext uri="{FF2B5EF4-FFF2-40B4-BE49-F238E27FC236}">
                  <a16:creationId xmlns:a16="http://schemas.microsoft.com/office/drawing/2014/main" id="{92E0EAC2-7AD5-4CDF-BAC4-76C1EBAA3F60}"/>
                </a:ext>
              </a:extLst>
            </p:cNvPr>
            <p:cNvPicPr>
              <a:picLocks noChangeAspect="1" noChangeArrowheads="1"/>
            </p:cNvPicPr>
            <p:nvPr/>
          </p:nvPicPr>
          <p:blipFill>
            <a:blip r:embed="rId17">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7099398" y="4163608"/>
              <a:ext cx="165119" cy="149706"/>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16" descr="Vertical-Mail Logo">
              <a:extLst>
                <a:ext uri="{FF2B5EF4-FFF2-40B4-BE49-F238E27FC236}">
                  <a16:creationId xmlns:a16="http://schemas.microsoft.com/office/drawing/2014/main" id="{ACA6578A-2298-4DB6-92D2-373382E71D67}"/>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6483280" y="4215559"/>
              <a:ext cx="373216" cy="78459"/>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2" descr="Image result for nomination logo">
              <a:extLst>
                <a:ext uri="{FF2B5EF4-FFF2-40B4-BE49-F238E27FC236}">
                  <a16:creationId xmlns:a16="http://schemas.microsoft.com/office/drawing/2014/main" id="{68B385E9-D47C-4A52-9C62-ABC5E99EBCA0}"/>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6885943" y="4183037"/>
              <a:ext cx="172135" cy="130277"/>
            </a:xfrm>
            <a:prstGeom prst="rect">
              <a:avLst/>
            </a:prstGeom>
            <a:noFill/>
            <a:extLst>
              <a:ext uri="{909E8E84-426E-40DD-AFC4-6F175D3DCCD1}">
                <a14:hiddenFill xmlns:a14="http://schemas.microsoft.com/office/drawing/2010/main">
                  <a:solidFill>
                    <a:srgbClr val="FFFFFF"/>
                  </a:solidFill>
                </a14:hiddenFill>
              </a:ext>
            </a:extLst>
          </p:spPr>
        </p:pic>
        <p:sp>
          <p:nvSpPr>
            <p:cNvPr id="136" name="ZoneTexte 313">
              <a:extLst>
                <a:ext uri="{FF2B5EF4-FFF2-40B4-BE49-F238E27FC236}">
                  <a16:creationId xmlns:a16="http://schemas.microsoft.com/office/drawing/2014/main" id="{B394A33D-0006-4D07-8224-9C77B018A978}"/>
                </a:ext>
              </a:extLst>
            </p:cNvPr>
            <p:cNvSpPr txBox="1"/>
            <p:nvPr/>
          </p:nvSpPr>
          <p:spPr>
            <a:xfrm>
              <a:off x="6266078" y="3942359"/>
              <a:ext cx="1460532" cy="230832"/>
            </a:xfrm>
            <a:prstGeom prst="rect">
              <a:avLst/>
            </a:prstGeom>
            <a:noFill/>
          </p:spPr>
          <p:txBody>
            <a:bodyPr wrap="square" rtlCol="0">
              <a:spAutoFit/>
            </a:bodyPr>
            <a:lstStyle/>
            <a:p>
              <a:pPr algn="ctr"/>
              <a:r>
                <a:rPr lang="en-GB" sz="900" b="1" i="1">
                  <a:solidFill>
                    <a:srgbClr val="C00000"/>
                  </a:solidFill>
                  <a:latin typeface="+mj-lt"/>
                </a:rPr>
                <a:t>Marketing pure players</a:t>
              </a:r>
            </a:p>
          </p:txBody>
        </p:sp>
        <p:pic>
          <p:nvPicPr>
            <p:cNvPr id="139" name="Image 316">
              <a:extLst>
                <a:ext uri="{FF2B5EF4-FFF2-40B4-BE49-F238E27FC236}">
                  <a16:creationId xmlns:a16="http://schemas.microsoft.com/office/drawing/2014/main" id="{49FC718C-08C2-4267-9A80-73AB3CE3F503}"/>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6734080" y="4347650"/>
              <a:ext cx="398892" cy="117685"/>
            </a:xfrm>
            <a:prstGeom prst="rect">
              <a:avLst/>
            </a:prstGeom>
          </p:spPr>
        </p:pic>
        <p:pic>
          <p:nvPicPr>
            <p:cNvPr id="179" name="Picture 2 - 1" descr="Image result for salezeo">
              <a:extLst>
                <a:ext uri="{FF2B5EF4-FFF2-40B4-BE49-F238E27FC236}">
                  <a16:creationId xmlns:a16="http://schemas.microsoft.com/office/drawing/2014/main" id="{7B68D3C0-CA4A-476A-8A0D-D42E302E1DA8}"/>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28083" b="28083"/>
            <a:stretch/>
          </p:blipFill>
          <p:spPr bwMode="auto">
            <a:xfrm>
              <a:off x="7314088" y="4204293"/>
              <a:ext cx="260388" cy="110848"/>
            </a:xfrm>
            <a:prstGeom prst="rect">
              <a:avLst/>
            </a:prstGeom>
            <a:noFill/>
            <a:extLst>
              <a:ext uri="{909E8E84-426E-40DD-AFC4-6F175D3DCCD1}">
                <a14:hiddenFill xmlns:a14="http://schemas.microsoft.com/office/drawing/2010/main">
                  <a:solidFill>
                    <a:srgbClr val="FFFFFF"/>
                  </a:solidFill>
                </a14:hiddenFill>
              </a:ext>
            </a:extLst>
          </p:spPr>
        </p:pic>
      </p:grpSp>
      <p:sp>
        <p:nvSpPr>
          <p:cNvPr id="180" name="Rectangle 179">
            <a:extLst>
              <a:ext uri="{FF2B5EF4-FFF2-40B4-BE49-F238E27FC236}">
                <a16:creationId xmlns:a16="http://schemas.microsoft.com/office/drawing/2014/main" id="{3F42A485-8023-46B4-8315-53732FA819B4}"/>
              </a:ext>
            </a:extLst>
          </p:cNvPr>
          <p:cNvSpPr/>
          <p:nvPr/>
        </p:nvSpPr>
        <p:spPr bwMode="auto">
          <a:xfrm>
            <a:off x="5557547" y="5914878"/>
            <a:ext cx="3797988" cy="507595"/>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72000">
              <a:spcAft>
                <a:spcPts val="0"/>
              </a:spcAft>
            </a:pPr>
            <a:r>
              <a:rPr kumimoji="0" lang="en-GB" sz="1000" b="0" u="none" strike="noStrike" cap="none" spc="-30" normalizeH="0">
                <a:ln>
                  <a:noFill/>
                </a:ln>
                <a:solidFill>
                  <a:schemeClr val="tx1"/>
                </a:solidFill>
                <a:effectLst/>
                <a:latin typeface="Trebuchet MS" panose="020B0603020202020204" pitchFamily="34" charset="0"/>
              </a:rPr>
              <a:t>“</a:t>
            </a:r>
            <a:r>
              <a:rPr lang="en-GB" sz="1000" i="1" spc="-30">
                <a:latin typeface="Trebuchet MS" panose="020B0603020202020204" pitchFamily="34" charset="0"/>
              </a:rPr>
              <a:t>Currently, </a:t>
            </a:r>
            <a:r>
              <a:rPr lang="en-GB" sz="1000" i="1" spc="-30">
                <a:solidFill>
                  <a:schemeClr val="tx2"/>
                </a:solidFill>
                <a:latin typeface="Trebuchet MS" panose="020B0603020202020204" pitchFamily="34" charset="0"/>
              </a:rPr>
              <a:t>traditional</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BD&amp;A</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players</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lack</a:t>
            </a:r>
            <a:r>
              <a:rPr lang="en-GB" sz="1000" i="1" spc="-30">
                <a:latin typeface="Trebuchet MS" panose="020B0603020202020204" pitchFamily="34" charset="0"/>
              </a:rPr>
              <a:t> of core </a:t>
            </a:r>
            <a:r>
              <a:rPr lang="en-GB" sz="1000" i="1" spc="-30">
                <a:solidFill>
                  <a:schemeClr val="tx2"/>
                </a:solidFill>
                <a:latin typeface="Trebuchet MS" panose="020B0603020202020204" pitchFamily="34" charset="0"/>
              </a:rPr>
              <a:t>business</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intelligence</a:t>
            </a:r>
            <a:r>
              <a:rPr lang="en-GB" sz="1000" i="1" spc="-30">
                <a:latin typeface="Trebuchet MS" panose="020B0603020202020204" pitchFamily="34" charset="0"/>
              </a:rPr>
              <a:t> to </a:t>
            </a:r>
            <a:r>
              <a:rPr lang="en-GB" sz="1000" i="1" spc="-30">
                <a:solidFill>
                  <a:schemeClr val="tx2"/>
                </a:solidFill>
                <a:latin typeface="Trebuchet MS" panose="020B0603020202020204" pitchFamily="34" charset="0"/>
              </a:rPr>
              <a:t>compete</a:t>
            </a:r>
            <a:r>
              <a:rPr lang="en-GB" sz="1000" i="1" spc="-30">
                <a:latin typeface="Trebuchet MS" panose="020B0603020202020204" pitchFamily="34" charset="0"/>
              </a:rPr>
              <a:t> with marketing </a:t>
            </a:r>
            <a:r>
              <a:rPr lang="en-GB" sz="1000" i="1" spc="-30">
                <a:solidFill>
                  <a:schemeClr val="tx2"/>
                </a:solidFill>
                <a:latin typeface="Trebuchet MS" panose="020B0603020202020204" pitchFamily="34" charset="0"/>
              </a:rPr>
              <a:t>pure</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players</a:t>
            </a:r>
            <a:r>
              <a:rPr lang="en-GB" sz="1000" spc="-30">
                <a:latin typeface="Trebuchet MS" panose="020B0603020202020204" pitchFamily="34" charset="0"/>
              </a:rPr>
              <a:t>”</a:t>
            </a:r>
          </a:p>
          <a:p>
            <a:pPr marL="72000">
              <a:spcAft>
                <a:spcPts val="0"/>
              </a:spcAft>
            </a:pPr>
            <a:r>
              <a:rPr kumimoji="0" lang="en-GB" sz="1000" b="0" u="none" strike="noStrike" cap="none" spc="-30" normalizeH="0">
                <a:ln>
                  <a:noFill/>
                </a:ln>
                <a:solidFill>
                  <a:schemeClr val="tx1"/>
                </a:solidFill>
                <a:effectLst/>
                <a:latin typeface="Trebuchet MS" panose="020B0603020202020204" pitchFamily="34" charset="0"/>
              </a:rPr>
              <a:t>Former Commercial Manager at </a:t>
            </a:r>
            <a:r>
              <a:rPr kumimoji="0" lang="en-GB" sz="1000" b="0" u="none" strike="noStrike" cap="none" spc="-30" normalizeH="0" err="1">
                <a:ln>
                  <a:noFill/>
                </a:ln>
                <a:solidFill>
                  <a:schemeClr val="tx1"/>
                </a:solidFill>
                <a:effectLst/>
                <a:latin typeface="Trebuchet MS" panose="020B0603020202020204" pitchFamily="34" charset="0"/>
              </a:rPr>
              <a:t>Ellispere</a:t>
            </a:r>
            <a:endParaRPr kumimoji="0" lang="en-GB" sz="1000" b="0" u="none" strike="noStrike" cap="none" spc="-30" normalizeH="0">
              <a:ln>
                <a:noFill/>
              </a:ln>
              <a:solidFill>
                <a:schemeClr val="tx1"/>
              </a:solidFill>
              <a:effectLst/>
              <a:latin typeface="Trebuchet MS" panose="020B0603020202020204" pitchFamily="34" charset="0"/>
            </a:endParaRPr>
          </a:p>
        </p:txBody>
      </p:sp>
      <p:sp>
        <p:nvSpPr>
          <p:cNvPr id="181" name="Freeform 663">
            <a:extLst>
              <a:ext uri="{FF2B5EF4-FFF2-40B4-BE49-F238E27FC236}">
                <a16:creationId xmlns:a16="http://schemas.microsoft.com/office/drawing/2014/main" id="{D2322467-5B4D-417F-9A94-043005212697}"/>
              </a:ext>
            </a:extLst>
          </p:cNvPr>
          <p:cNvSpPr>
            <a:spLocks noEditPoints="1"/>
          </p:cNvSpPr>
          <p:nvPr/>
        </p:nvSpPr>
        <p:spPr bwMode="auto">
          <a:xfrm>
            <a:off x="5452101" y="6074009"/>
            <a:ext cx="189332" cy="189332"/>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90" name="Rectangle 89">
            <a:extLst>
              <a:ext uri="{FF2B5EF4-FFF2-40B4-BE49-F238E27FC236}">
                <a16:creationId xmlns:a16="http://schemas.microsoft.com/office/drawing/2014/main" id="{0FB3D06D-4368-46CF-98FF-CA94E8F8D634}"/>
              </a:ext>
            </a:extLst>
          </p:cNvPr>
          <p:cNvSpPr/>
          <p:nvPr/>
        </p:nvSpPr>
        <p:spPr bwMode="auto">
          <a:xfrm>
            <a:off x="3411004" y="1479176"/>
            <a:ext cx="864000" cy="1949824"/>
          </a:xfrm>
          <a:prstGeom prst="rect">
            <a:avLst/>
          </a:prstGeom>
          <a:solidFill>
            <a:schemeClr val="bg2">
              <a:lumMod val="20000"/>
              <a:lumOff val="80000"/>
              <a:alpha val="37000"/>
            </a:schemeClr>
          </a:solid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2"/>
              </a:solidFill>
              <a:effectLst/>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Tools</a:t>
            </a:r>
          </a:p>
        </p:txBody>
      </p:sp>
      <p:grpSp>
        <p:nvGrpSpPr>
          <p:cNvPr id="99" name="Group 98">
            <a:extLst>
              <a:ext uri="{FF2B5EF4-FFF2-40B4-BE49-F238E27FC236}">
                <a16:creationId xmlns:a16="http://schemas.microsoft.com/office/drawing/2014/main" id="{9A20AE31-01B2-4039-88D9-D1BFEAA614DC}"/>
              </a:ext>
            </a:extLst>
          </p:cNvPr>
          <p:cNvGrpSpPr/>
          <p:nvPr/>
        </p:nvGrpSpPr>
        <p:grpSpPr>
          <a:xfrm>
            <a:off x="3542743" y="1920069"/>
            <a:ext cx="595041" cy="1068039"/>
            <a:chOff x="4007285" y="1715388"/>
            <a:chExt cx="595041" cy="1068039"/>
          </a:xfrm>
        </p:grpSpPr>
        <p:sp>
          <p:nvSpPr>
            <p:cNvPr id="95" name="Rectangle 94">
              <a:extLst>
                <a:ext uri="{FF2B5EF4-FFF2-40B4-BE49-F238E27FC236}">
                  <a16:creationId xmlns:a16="http://schemas.microsoft.com/office/drawing/2014/main" id="{8AA90301-9CFF-40D5-9DBA-1DB0B366CC2C}"/>
                </a:ext>
              </a:extLst>
            </p:cNvPr>
            <p:cNvSpPr/>
            <p:nvPr/>
          </p:nvSpPr>
          <p:spPr bwMode="auto">
            <a:xfrm>
              <a:off x="4007285" y="1715388"/>
              <a:ext cx="595041" cy="431608"/>
            </a:xfrm>
            <a:prstGeom prst="rect">
              <a:avLst/>
            </a:prstGeom>
            <a:noFill/>
            <a:ln w="9525" cap="flat" cmpd="sng" algn="ctr">
              <a:solidFill>
                <a:schemeClr val="tx2"/>
              </a:solidFill>
              <a:prstDash val="dash"/>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Marketing analytics</a:t>
              </a:r>
            </a:p>
          </p:txBody>
        </p:sp>
        <p:sp>
          <p:nvSpPr>
            <p:cNvPr id="97" name="Rectangle 96">
              <a:extLst>
                <a:ext uri="{FF2B5EF4-FFF2-40B4-BE49-F238E27FC236}">
                  <a16:creationId xmlns:a16="http://schemas.microsoft.com/office/drawing/2014/main" id="{C02771E9-7E16-4B8C-BBB7-C6C8966AD4C9}"/>
                </a:ext>
              </a:extLst>
            </p:cNvPr>
            <p:cNvSpPr/>
            <p:nvPr/>
          </p:nvSpPr>
          <p:spPr bwMode="auto">
            <a:xfrm>
              <a:off x="4007285" y="2351819"/>
              <a:ext cx="595041" cy="431608"/>
            </a:xfrm>
            <a:prstGeom prst="rect">
              <a:avLst/>
            </a:prstGeom>
            <a:noFill/>
            <a:ln w="9525" cap="flat" cmpd="sng" algn="ctr">
              <a:solidFill>
                <a:schemeClr val="tx2"/>
              </a:solidFill>
              <a:prstDash val="dash"/>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CRM</a:t>
              </a:r>
            </a:p>
          </p:txBody>
        </p:sp>
      </p:grpSp>
      <p:grpSp>
        <p:nvGrpSpPr>
          <p:cNvPr id="7" name="Groupe 6">
            <a:extLst>
              <a:ext uri="{FF2B5EF4-FFF2-40B4-BE49-F238E27FC236}">
                <a16:creationId xmlns:a16="http://schemas.microsoft.com/office/drawing/2014/main" id="{05035902-084F-4006-8248-4C4E45A58B15}"/>
              </a:ext>
            </a:extLst>
          </p:cNvPr>
          <p:cNvGrpSpPr/>
          <p:nvPr/>
        </p:nvGrpSpPr>
        <p:grpSpPr>
          <a:xfrm>
            <a:off x="837309" y="1479176"/>
            <a:ext cx="2472518" cy="917117"/>
            <a:chOff x="1301851" y="1479176"/>
            <a:chExt cx="2472518" cy="917117"/>
          </a:xfrm>
        </p:grpSpPr>
        <p:sp>
          <p:nvSpPr>
            <p:cNvPr id="89" name="Rectangle 88">
              <a:extLst>
                <a:ext uri="{FF2B5EF4-FFF2-40B4-BE49-F238E27FC236}">
                  <a16:creationId xmlns:a16="http://schemas.microsoft.com/office/drawing/2014/main" id="{A973BE9A-E01F-45CE-AECA-6C9AA0D3E195}"/>
                </a:ext>
              </a:extLst>
            </p:cNvPr>
            <p:cNvSpPr/>
            <p:nvPr/>
          </p:nvSpPr>
          <p:spPr bwMode="auto">
            <a:xfrm>
              <a:off x="1347193" y="1479176"/>
              <a:ext cx="2404645" cy="917117"/>
            </a:xfrm>
            <a:prstGeom prst="rect">
              <a:avLst/>
            </a:prstGeom>
            <a:solidFill>
              <a:schemeClr val="bg2">
                <a:lumMod val="40000"/>
                <a:lumOff val="60000"/>
              </a:schemeClr>
            </a:solidFill>
            <a:ln w="9525" cap="flat" cmpd="sng" algn="ctr">
              <a:solidFill>
                <a:schemeClr val="tx2"/>
              </a:solidFill>
              <a:prstDash val="solid"/>
              <a:round/>
              <a:headEnd type="none" w="med" len="med"/>
              <a:tailEnd type="none" w="med" len="med"/>
            </a:ln>
            <a:effectLst/>
          </p:spPr>
          <p:txBody>
            <a:bodyPr vert="horz" wrap="square" lIns="91440" tIns="36000" rIns="9144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Inbound Marketing</a:t>
              </a:r>
            </a:p>
          </p:txBody>
        </p:sp>
        <p:sp>
          <p:nvSpPr>
            <p:cNvPr id="92" name="Rectangle 91">
              <a:extLst>
                <a:ext uri="{FF2B5EF4-FFF2-40B4-BE49-F238E27FC236}">
                  <a16:creationId xmlns:a16="http://schemas.microsoft.com/office/drawing/2014/main" id="{2B39AA6C-1069-4163-8271-79DE3A3D8E20}"/>
                </a:ext>
              </a:extLst>
            </p:cNvPr>
            <p:cNvSpPr/>
            <p:nvPr/>
          </p:nvSpPr>
          <p:spPr bwMode="auto">
            <a:xfrm>
              <a:off x="1431893" y="1933785"/>
              <a:ext cx="684000" cy="376643"/>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Content creation</a:t>
              </a:r>
            </a:p>
          </p:txBody>
        </p:sp>
        <p:sp>
          <p:nvSpPr>
            <p:cNvPr id="93" name="Rectangle 92">
              <a:extLst>
                <a:ext uri="{FF2B5EF4-FFF2-40B4-BE49-F238E27FC236}">
                  <a16:creationId xmlns:a16="http://schemas.microsoft.com/office/drawing/2014/main" id="{DF06CF54-CA82-4979-B8B0-C70D890EF10B}"/>
                </a:ext>
              </a:extLst>
            </p:cNvPr>
            <p:cNvSpPr/>
            <p:nvPr/>
          </p:nvSpPr>
          <p:spPr bwMode="auto">
            <a:xfrm>
              <a:off x="2201718" y="1933785"/>
              <a:ext cx="684000" cy="376643"/>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Inbound </a:t>
              </a:r>
              <a:r>
                <a:rPr lang="en-GB" sz="900" err="1">
                  <a:solidFill>
                    <a:schemeClr val="tx2"/>
                  </a:solidFill>
                  <a:latin typeface="Trebuchet MS" pitchFamily="34" charset="0"/>
                </a:rPr>
                <a:t>s</a:t>
              </a:r>
              <a:r>
                <a:rPr kumimoji="0" lang="en-GB" sz="900" b="0" i="0" u="none" strike="noStrike" cap="none" normalizeH="0" baseline="0" err="1">
                  <a:ln>
                    <a:noFill/>
                  </a:ln>
                  <a:solidFill>
                    <a:schemeClr val="tx2"/>
                  </a:solidFill>
                  <a:effectLst/>
                  <a:latin typeface="Trebuchet MS" pitchFamily="34" charset="0"/>
                </a:rPr>
                <a:t>oftwares</a:t>
              </a:r>
              <a:endParaRPr kumimoji="0" lang="en-GB" sz="900" b="0" i="0" u="none" strike="noStrike" cap="none" normalizeH="0" baseline="0">
                <a:ln>
                  <a:noFill/>
                </a:ln>
                <a:solidFill>
                  <a:schemeClr val="tx2"/>
                </a:solidFill>
                <a:effectLst/>
                <a:latin typeface="Trebuchet MS" pitchFamily="34" charset="0"/>
              </a:endParaRPr>
            </a:p>
          </p:txBody>
        </p:sp>
        <p:sp>
          <p:nvSpPr>
            <p:cNvPr id="94" name="Rectangle 93">
              <a:extLst>
                <a:ext uri="{FF2B5EF4-FFF2-40B4-BE49-F238E27FC236}">
                  <a16:creationId xmlns:a16="http://schemas.microsoft.com/office/drawing/2014/main" id="{A9F20762-EAA1-441D-8136-6C5DFDA84C20}"/>
                </a:ext>
              </a:extLst>
            </p:cNvPr>
            <p:cNvSpPr/>
            <p:nvPr/>
          </p:nvSpPr>
          <p:spPr bwMode="auto">
            <a:xfrm>
              <a:off x="2971543" y="1933785"/>
              <a:ext cx="684000" cy="376643"/>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Web agencies</a:t>
              </a:r>
            </a:p>
          </p:txBody>
        </p:sp>
        <p:sp>
          <p:nvSpPr>
            <p:cNvPr id="10" name="Rectangle 9">
              <a:extLst>
                <a:ext uri="{FF2B5EF4-FFF2-40B4-BE49-F238E27FC236}">
                  <a16:creationId xmlns:a16="http://schemas.microsoft.com/office/drawing/2014/main" id="{AA214CEA-4596-4C70-A3B9-2C3612A14BB1}"/>
                </a:ext>
              </a:extLst>
            </p:cNvPr>
            <p:cNvSpPr/>
            <p:nvPr/>
          </p:nvSpPr>
          <p:spPr bwMode="auto">
            <a:xfrm>
              <a:off x="1301851" y="1611747"/>
              <a:ext cx="2472518" cy="4496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a:latin typeface="Trebuchet MS" panose="020B0603020202020204" pitchFamily="34" charset="0"/>
                </a:rPr>
                <a:t>Attract online customers on the company’s own channels</a:t>
              </a:r>
            </a:p>
          </p:txBody>
        </p:sp>
      </p:grpSp>
      <p:sp>
        <p:nvSpPr>
          <p:cNvPr id="88" name="Rectangle 87">
            <a:extLst>
              <a:ext uri="{FF2B5EF4-FFF2-40B4-BE49-F238E27FC236}">
                <a16:creationId xmlns:a16="http://schemas.microsoft.com/office/drawing/2014/main" id="{5B12BEB8-4B78-445A-976D-8CC641C8F3D4}"/>
              </a:ext>
            </a:extLst>
          </p:cNvPr>
          <p:cNvSpPr/>
          <p:nvPr/>
        </p:nvSpPr>
        <p:spPr bwMode="auto">
          <a:xfrm>
            <a:off x="882652" y="2456016"/>
            <a:ext cx="2404644" cy="972984"/>
          </a:xfrm>
          <a:prstGeom prst="rect">
            <a:avLst/>
          </a:prstGeom>
          <a:solidFill>
            <a:schemeClr val="bg2">
              <a:lumMod val="40000"/>
              <a:lumOff val="60000"/>
            </a:schemeClr>
          </a:solidFill>
          <a:ln w="9525" cap="flat" cmpd="sng" algn="ctr">
            <a:solidFill>
              <a:schemeClr val="tx2"/>
            </a:solidFill>
            <a:prstDash val="solid"/>
            <a:round/>
            <a:headEnd type="none" w="med" len="med"/>
            <a:tailEnd type="none" w="med" len="med"/>
          </a:ln>
          <a:effectLst/>
        </p:spPr>
        <p:txBody>
          <a:bodyPr vert="horz" wrap="square" lIns="91440" tIns="36000" rIns="9144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anose="020B0603020202020204" pitchFamily="34" charset="0"/>
              </a:rPr>
              <a:t>Outbound Marketing</a:t>
            </a:r>
          </a:p>
        </p:txBody>
      </p:sp>
      <p:sp>
        <p:nvSpPr>
          <p:cNvPr id="104" name="Rectangle 103">
            <a:extLst>
              <a:ext uri="{FF2B5EF4-FFF2-40B4-BE49-F238E27FC236}">
                <a16:creationId xmlns:a16="http://schemas.microsoft.com/office/drawing/2014/main" id="{B8806A2C-4890-4245-9921-00DCA32737E9}"/>
              </a:ext>
            </a:extLst>
          </p:cNvPr>
          <p:cNvSpPr/>
          <p:nvPr/>
        </p:nvSpPr>
        <p:spPr bwMode="auto">
          <a:xfrm>
            <a:off x="968387" y="2927211"/>
            <a:ext cx="684000" cy="421848"/>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anose="020B0603020202020204" pitchFamily="34" charset="0"/>
              </a:rPr>
              <a:t>Physical</a:t>
            </a:r>
          </a:p>
          <a:p>
            <a:pPr marL="0" marR="0" indent="0" algn="ctr" defTabSz="914400" rtl="0" eaLnBrk="1" fontAlgn="base" latinLnBrk="0" hangingPunct="1">
              <a:lnSpc>
                <a:spcPct val="100000"/>
              </a:lnSpc>
              <a:spcBef>
                <a:spcPct val="0"/>
              </a:spcBef>
              <a:spcAft>
                <a:spcPct val="0"/>
              </a:spcAft>
              <a:buClrTx/>
              <a:buSzTx/>
              <a:buFontTx/>
              <a:buNone/>
              <a:tabLst/>
            </a:pPr>
            <a:r>
              <a:rPr lang="en-GB" sz="900">
                <a:solidFill>
                  <a:schemeClr val="tx2"/>
                </a:solidFill>
                <a:latin typeface="Trebuchet MS" panose="020B0603020202020204" pitchFamily="34" charset="0"/>
              </a:rPr>
              <a:t>Ads</a:t>
            </a:r>
            <a:endParaRPr kumimoji="0" lang="en-GB" sz="900" b="0" i="0" u="none" strike="noStrike" cap="none" normalizeH="0" baseline="0">
              <a:ln>
                <a:noFill/>
              </a:ln>
              <a:solidFill>
                <a:schemeClr val="tx2"/>
              </a:solidFill>
              <a:effectLst/>
              <a:latin typeface="Trebuchet MS" panose="020B0603020202020204" pitchFamily="34" charset="0"/>
            </a:endParaRPr>
          </a:p>
        </p:txBody>
      </p:sp>
      <p:sp>
        <p:nvSpPr>
          <p:cNvPr id="105" name="Rectangle 104">
            <a:extLst>
              <a:ext uri="{FF2B5EF4-FFF2-40B4-BE49-F238E27FC236}">
                <a16:creationId xmlns:a16="http://schemas.microsoft.com/office/drawing/2014/main" id="{F92AD843-3E68-4C45-8604-12A9F1BE7A27}"/>
              </a:ext>
            </a:extLst>
          </p:cNvPr>
          <p:cNvSpPr/>
          <p:nvPr/>
        </p:nvSpPr>
        <p:spPr bwMode="auto">
          <a:xfrm>
            <a:off x="1738212" y="2927211"/>
            <a:ext cx="684000" cy="421848"/>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900" err="1">
                <a:solidFill>
                  <a:schemeClr val="tx2"/>
                </a:solidFill>
                <a:latin typeface="Trebuchet MS" panose="020B0603020202020204" pitchFamily="34" charset="0"/>
              </a:rPr>
              <a:t>Behavioral</a:t>
            </a:r>
            <a:endParaRPr lang="en-GB" sz="900">
              <a:solidFill>
                <a:schemeClr val="tx2"/>
              </a:solidFill>
              <a:latin typeface="Trebuchet MS" pitchFamily="34" charset="0"/>
            </a:endParaRPr>
          </a:p>
          <a:p>
            <a:pPr algn="ctr"/>
            <a:r>
              <a:rPr lang="en-GB" sz="900">
                <a:solidFill>
                  <a:schemeClr val="tx2"/>
                </a:solidFill>
                <a:latin typeface="Trebuchet MS" pitchFamily="34" charset="0"/>
              </a:rPr>
              <a:t>intelligence</a:t>
            </a:r>
          </a:p>
        </p:txBody>
      </p:sp>
      <p:sp>
        <p:nvSpPr>
          <p:cNvPr id="106" name="Rectangle 105">
            <a:extLst>
              <a:ext uri="{FF2B5EF4-FFF2-40B4-BE49-F238E27FC236}">
                <a16:creationId xmlns:a16="http://schemas.microsoft.com/office/drawing/2014/main" id="{7BB589D6-8719-4EC6-AC16-440173C11EA1}"/>
              </a:ext>
            </a:extLst>
          </p:cNvPr>
          <p:cNvSpPr/>
          <p:nvPr/>
        </p:nvSpPr>
        <p:spPr bwMode="auto">
          <a:xfrm>
            <a:off x="2508037" y="2927211"/>
            <a:ext cx="684000" cy="421848"/>
          </a:xfrm>
          <a:prstGeom prst="rect">
            <a:avLst/>
          </a:prstGeom>
          <a:solidFill>
            <a:schemeClr val="accent1">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1" i="0" u="none" strike="noStrike" cap="none" normalizeH="0" baseline="0">
                <a:ln>
                  <a:noFill/>
                </a:ln>
                <a:solidFill>
                  <a:schemeClr val="accent1"/>
                </a:solidFill>
                <a:effectLst/>
                <a:latin typeface="Trebuchet MS" panose="020B0603020202020204" pitchFamily="34" charset="0"/>
              </a:rPr>
              <a:t>B2B Prospect qualification</a:t>
            </a:r>
          </a:p>
        </p:txBody>
      </p:sp>
      <p:pic>
        <p:nvPicPr>
          <p:cNvPr id="109" name="Graphique 37" descr="Loupe">
            <a:extLst>
              <a:ext uri="{FF2B5EF4-FFF2-40B4-BE49-F238E27FC236}">
                <a16:creationId xmlns:a16="http://schemas.microsoft.com/office/drawing/2014/main" id="{FC99220D-46AE-407A-8997-898A49806F8B}"/>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2773824" y="3317133"/>
            <a:ext cx="140310" cy="133562"/>
          </a:xfrm>
          <a:prstGeom prst="rect">
            <a:avLst/>
          </a:prstGeom>
        </p:spPr>
      </p:pic>
      <p:sp>
        <p:nvSpPr>
          <p:cNvPr id="9" name="Rectangle 8">
            <a:extLst>
              <a:ext uri="{FF2B5EF4-FFF2-40B4-BE49-F238E27FC236}">
                <a16:creationId xmlns:a16="http://schemas.microsoft.com/office/drawing/2014/main" id="{94619076-507E-4BBC-9394-3683FA09AB73}"/>
              </a:ext>
            </a:extLst>
          </p:cNvPr>
          <p:cNvSpPr/>
          <p:nvPr/>
        </p:nvSpPr>
        <p:spPr bwMode="auto">
          <a:xfrm>
            <a:off x="859440" y="2581861"/>
            <a:ext cx="2433445" cy="4496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a:latin typeface="Trebuchet MS" panose="020B0603020202020204" pitchFamily="34" charset="0"/>
              </a:rPr>
              <a:t>Initiate conversation or contact to a targeted audience</a:t>
            </a:r>
          </a:p>
        </p:txBody>
      </p:sp>
      <p:sp>
        <p:nvSpPr>
          <p:cNvPr id="11" name="Rectangle 10">
            <a:extLst>
              <a:ext uri="{FF2B5EF4-FFF2-40B4-BE49-F238E27FC236}">
                <a16:creationId xmlns:a16="http://schemas.microsoft.com/office/drawing/2014/main" id="{46B07244-45F0-4543-91C0-6A0C3AEF9EA7}"/>
              </a:ext>
            </a:extLst>
          </p:cNvPr>
          <p:cNvSpPr/>
          <p:nvPr/>
        </p:nvSpPr>
        <p:spPr bwMode="auto">
          <a:xfrm>
            <a:off x="1725726" y="3431203"/>
            <a:ext cx="2301807" cy="16689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accent1"/>
                </a:solidFill>
                <a:effectLst/>
                <a:latin typeface="Trebuchet MS" panose="020B0603020202020204" pitchFamily="34" charset="0"/>
              </a:rPr>
              <a:t>Addressed market by </a:t>
            </a:r>
            <a:r>
              <a:rPr kumimoji="0" lang="en-GB" sz="900" b="0" i="1" u="none" strike="noStrike" cap="none" normalizeH="0" baseline="0" err="1">
                <a:ln>
                  <a:noFill/>
                </a:ln>
                <a:solidFill>
                  <a:schemeClr val="accent1"/>
                </a:solidFill>
                <a:effectLst/>
                <a:latin typeface="Trebuchet MS" panose="020B0603020202020204" pitchFamily="34" charset="0"/>
              </a:rPr>
              <a:t>Altares</a:t>
            </a:r>
            <a:endParaRPr kumimoji="0" lang="en-GB" sz="900" b="0" i="1" u="none" strike="noStrike" cap="none" normalizeH="0" baseline="0">
              <a:ln>
                <a:noFill/>
              </a:ln>
              <a:solidFill>
                <a:schemeClr val="accent1"/>
              </a:solidFill>
              <a:effectLst/>
              <a:latin typeface="Trebuchet MS" panose="020B0603020202020204" pitchFamily="34" charset="0"/>
            </a:endParaRPr>
          </a:p>
        </p:txBody>
      </p:sp>
      <p:sp>
        <p:nvSpPr>
          <p:cNvPr id="133" name="Rectangle 132">
            <a:extLst>
              <a:ext uri="{FF2B5EF4-FFF2-40B4-BE49-F238E27FC236}">
                <a16:creationId xmlns:a16="http://schemas.microsoft.com/office/drawing/2014/main" id="{6A336E35-1326-4CFE-9C2E-9C3078D1D378}"/>
              </a:ext>
            </a:extLst>
          </p:cNvPr>
          <p:cNvSpPr/>
          <p:nvPr/>
        </p:nvSpPr>
        <p:spPr bwMode="auto">
          <a:xfrm>
            <a:off x="150966" y="3679635"/>
            <a:ext cx="2891531" cy="252449"/>
          </a:xfrm>
          <a:prstGeom prst="rect">
            <a:avLst/>
          </a:prstGeom>
        </p:spPr>
        <p:txBody>
          <a:bodyPr wrap="square" anchor="ctr">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dirty="0">
                <a:ln>
                  <a:noFill/>
                </a:ln>
                <a:effectLst/>
                <a:uLnTx/>
                <a:uFillTx/>
                <a:latin typeface="Trebuchet MS" panose="020B0603020202020204" pitchFamily="34" charset="0"/>
                <a:ea typeface="+mn-ea"/>
                <a:cs typeface="Arial" pitchFamily="34" charset="0"/>
              </a:rPr>
              <a:t>B2B marketing estimated revenue in France &amp; Benelux, €m, 2017-2023F</a:t>
            </a:r>
          </a:p>
        </p:txBody>
      </p:sp>
      <p:cxnSp>
        <p:nvCxnSpPr>
          <p:cNvPr id="134" name="Straight Connector 133">
            <a:extLst>
              <a:ext uri="{FF2B5EF4-FFF2-40B4-BE49-F238E27FC236}">
                <a16:creationId xmlns:a16="http://schemas.microsoft.com/office/drawing/2014/main" id="{E47CE5EB-D652-4FC1-BCC2-B64071EFBAAB}"/>
              </a:ext>
            </a:extLst>
          </p:cNvPr>
          <p:cNvCxnSpPr>
            <a:cxnSpLocks/>
          </p:cNvCxnSpPr>
          <p:nvPr>
            <p:custDataLst>
              <p:tags r:id="rId3"/>
            </p:custDataLst>
          </p:nvPr>
        </p:nvCxnSpPr>
        <p:spPr bwMode="auto">
          <a:xfrm flipV="1">
            <a:off x="191700" y="4575886"/>
            <a:ext cx="763263" cy="210703"/>
          </a:xfrm>
          <a:prstGeom prst="line">
            <a:avLst/>
          </a:prstGeom>
          <a:solidFill>
            <a:schemeClr val="accent1"/>
          </a:solidFill>
          <a:ln w="9525" cap="flat" cmpd="sng" algn="ctr">
            <a:solidFill>
              <a:schemeClr val="tx1"/>
            </a:solidFill>
            <a:prstDash val="dash"/>
            <a:round/>
            <a:headEnd type="none" w="med" len="med"/>
            <a:tailEnd type="triangle"/>
          </a:ln>
          <a:effectLst/>
        </p:spPr>
      </p:cxnSp>
      <p:pic>
        <p:nvPicPr>
          <p:cNvPr id="157" name="Picture 14" descr="new-logo-soms-VF">
            <a:extLst>
              <a:ext uri="{FF2B5EF4-FFF2-40B4-BE49-F238E27FC236}">
                <a16:creationId xmlns:a16="http://schemas.microsoft.com/office/drawing/2014/main" id="{FA5E3907-70C3-469A-9C4E-3CB7EF25BB75}"/>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5401104" y="3098113"/>
            <a:ext cx="491769" cy="230371"/>
          </a:xfrm>
          <a:prstGeom prst="rect">
            <a:avLst/>
          </a:prstGeom>
          <a:noFill/>
          <a:extLst>
            <a:ext uri="{909E8E84-426E-40DD-AFC4-6F175D3DCCD1}">
              <a14:hiddenFill xmlns:a14="http://schemas.microsoft.com/office/drawing/2010/main">
                <a:solidFill>
                  <a:srgbClr val="FFFFFF"/>
                </a:solidFill>
              </a14:hiddenFill>
            </a:ext>
          </a:extLst>
        </p:spPr>
      </p:pic>
      <p:sp>
        <p:nvSpPr>
          <p:cNvPr id="148" name="Rectangle 147">
            <a:extLst>
              <a:ext uri="{FF2B5EF4-FFF2-40B4-BE49-F238E27FC236}">
                <a16:creationId xmlns:a16="http://schemas.microsoft.com/office/drawing/2014/main" id="{5011469F-E603-48D4-95CD-C40BC5D5174B}"/>
              </a:ext>
            </a:extLst>
          </p:cNvPr>
          <p:cNvSpPr/>
          <p:nvPr/>
        </p:nvSpPr>
        <p:spPr bwMode="auto">
          <a:xfrm>
            <a:off x="3388473" y="3155118"/>
            <a:ext cx="798341" cy="26259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accent1"/>
                </a:solidFill>
                <a:effectLst/>
                <a:latin typeface="Trebuchet MS" panose="020B0603020202020204" pitchFamily="34" charset="0"/>
              </a:rPr>
              <a:t>Connexion to CRM</a:t>
            </a:r>
          </a:p>
        </p:txBody>
      </p:sp>
      <p:cxnSp>
        <p:nvCxnSpPr>
          <p:cNvPr id="149" name="Straight Connector 133">
            <a:extLst>
              <a:ext uri="{FF2B5EF4-FFF2-40B4-BE49-F238E27FC236}">
                <a16:creationId xmlns:a16="http://schemas.microsoft.com/office/drawing/2014/main" id="{69E17FDC-F5DB-46B6-853D-33AA7B51A66D}"/>
              </a:ext>
            </a:extLst>
          </p:cNvPr>
          <p:cNvCxnSpPr>
            <a:cxnSpLocks/>
          </p:cNvCxnSpPr>
          <p:nvPr>
            <p:custDataLst>
              <p:tags r:id="rId4"/>
            </p:custDataLst>
          </p:nvPr>
        </p:nvCxnSpPr>
        <p:spPr bwMode="auto">
          <a:xfrm flipV="1">
            <a:off x="1735755" y="4340899"/>
            <a:ext cx="1193177" cy="251077"/>
          </a:xfrm>
          <a:prstGeom prst="line">
            <a:avLst/>
          </a:prstGeom>
          <a:solidFill>
            <a:schemeClr val="accent1"/>
          </a:solidFill>
          <a:ln w="9525" cap="flat" cmpd="sng" algn="ctr">
            <a:solidFill>
              <a:schemeClr val="tx1"/>
            </a:solidFill>
            <a:prstDash val="dash"/>
            <a:round/>
            <a:headEnd type="none" w="med" len="med"/>
            <a:tailEnd type="triangle"/>
          </a:ln>
          <a:effectLst/>
        </p:spPr>
      </p:cxnSp>
      <p:cxnSp>
        <p:nvCxnSpPr>
          <p:cNvPr id="160" name="Straight Connector 133">
            <a:extLst>
              <a:ext uri="{FF2B5EF4-FFF2-40B4-BE49-F238E27FC236}">
                <a16:creationId xmlns:a16="http://schemas.microsoft.com/office/drawing/2014/main" id="{A62CAE63-F596-44D6-BBB3-889D9E22DA9C}"/>
              </a:ext>
            </a:extLst>
          </p:cNvPr>
          <p:cNvCxnSpPr>
            <a:cxnSpLocks/>
          </p:cNvCxnSpPr>
          <p:nvPr>
            <p:custDataLst>
              <p:tags r:id="rId5"/>
            </p:custDataLst>
          </p:nvPr>
        </p:nvCxnSpPr>
        <p:spPr bwMode="auto">
          <a:xfrm>
            <a:off x="1068881" y="4595719"/>
            <a:ext cx="309706" cy="131708"/>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75" name="Rectangle 174">
            <a:extLst>
              <a:ext uri="{FF2B5EF4-FFF2-40B4-BE49-F238E27FC236}">
                <a16:creationId xmlns:a16="http://schemas.microsoft.com/office/drawing/2014/main" id="{4ECA739E-C5EC-4F8F-AFDB-5D003E186FA1}"/>
              </a:ext>
            </a:extLst>
          </p:cNvPr>
          <p:cNvSpPr/>
          <p:nvPr/>
        </p:nvSpPr>
        <p:spPr bwMode="auto">
          <a:xfrm>
            <a:off x="41114" y="4433228"/>
            <a:ext cx="100652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17-19</a:t>
            </a:r>
            <a:r>
              <a:rPr lang="en-GB" sz="900">
                <a:latin typeface="Trebuchet MS" panose="020B0603020202020204" pitchFamily="34" charset="0"/>
              </a:rPr>
              <a:t>: </a:t>
            </a:r>
            <a:r>
              <a:rPr kumimoji="0" lang="en-GB" sz="900" b="0" i="0" u="none" strike="noStrike" cap="none" normalizeH="0" baseline="0">
                <a:ln>
                  <a:noFill/>
                </a:ln>
                <a:effectLst/>
                <a:latin typeface="Trebuchet MS" panose="020B0603020202020204" pitchFamily="34" charset="0"/>
              </a:rPr>
              <a:t>+8% </a:t>
            </a:r>
          </a:p>
        </p:txBody>
      </p:sp>
      <p:sp>
        <p:nvSpPr>
          <p:cNvPr id="185" name="Rectangle 184">
            <a:extLst>
              <a:ext uri="{FF2B5EF4-FFF2-40B4-BE49-F238E27FC236}">
                <a16:creationId xmlns:a16="http://schemas.microsoft.com/office/drawing/2014/main" id="{BAF4ADB5-A785-4B80-AA5B-13CBEC439088}"/>
              </a:ext>
            </a:extLst>
          </p:cNvPr>
          <p:cNvSpPr/>
          <p:nvPr/>
        </p:nvSpPr>
        <p:spPr bwMode="auto">
          <a:xfrm>
            <a:off x="1797662" y="4221006"/>
            <a:ext cx="100652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21-25</a:t>
            </a:r>
            <a:r>
              <a:rPr lang="en-GB" sz="900">
                <a:latin typeface="Trebuchet MS" panose="020B0603020202020204" pitchFamily="34" charset="0"/>
              </a:rPr>
              <a:t>: +5.3% </a:t>
            </a:r>
            <a:endParaRPr kumimoji="0" lang="en-GB" sz="900" b="0" i="0" u="none" strike="noStrike" cap="none" normalizeH="0" baseline="0">
              <a:ln>
                <a:noFill/>
              </a:ln>
              <a:effectLst/>
              <a:latin typeface="Trebuchet MS" panose="020B0603020202020204" pitchFamily="34" charset="0"/>
            </a:endParaRPr>
          </a:p>
        </p:txBody>
      </p:sp>
      <p:sp>
        <p:nvSpPr>
          <p:cNvPr id="186" name="Rectangle 185">
            <a:extLst>
              <a:ext uri="{FF2B5EF4-FFF2-40B4-BE49-F238E27FC236}">
                <a16:creationId xmlns:a16="http://schemas.microsoft.com/office/drawing/2014/main" id="{27118767-6A91-43DF-A49D-6B1D6195A78A}"/>
              </a:ext>
            </a:extLst>
          </p:cNvPr>
          <p:cNvSpPr/>
          <p:nvPr/>
        </p:nvSpPr>
        <p:spPr bwMode="auto">
          <a:xfrm>
            <a:off x="954351" y="4458472"/>
            <a:ext cx="537144"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10%</a:t>
            </a:r>
            <a:endParaRPr kumimoji="0" lang="en-GB" sz="900" b="0" i="0" u="none" strike="noStrike" cap="none" normalizeH="0" baseline="0">
              <a:ln>
                <a:noFill/>
              </a:ln>
              <a:effectLst/>
              <a:latin typeface="Trebuchet MS" panose="020B0603020202020204" pitchFamily="34" charset="0"/>
            </a:endParaRPr>
          </a:p>
        </p:txBody>
      </p:sp>
      <p:grpSp>
        <p:nvGrpSpPr>
          <p:cNvPr id="187" name="Groupe 186">
            <a:extLst>
              <a:ext uri="{FF2B5EF4-FFF2-40B4-BE49-F238E27FC236}">
                <a16:creationId xmlns:a16="http://schemas.microsoft.com/office/drawing/2014/main" id="{4EACBC6B-6C86-41A3-93F2-3AB4FB50775D}"/>
              </a:ext>
            </a:extLst>
          </p:cNvPr>
          <p:cNvGrpSpPr/>
          <p:nvPr/>
        </p:nvGrpSpPr>
        <p:grpSpPr>
          <a:xfrm>
            <a:off x="893074" y="4202069"/>
            <a:ext cx="940046" cy="242031"/>
            <a:chOff x="1832839" y="2495159"/>
            <a:chExt cx="940046" cy="242031"/>
          </a:xfrm>
        </p:grpSpPr>
        <p:pic>
          <p:nvPicPr>
            <p:cNvPr id="188" name="Graphique 187">
              <a:extLst>
                <a:ext uri="{FF2B5EF4-FFF2-40B4-BE49-F238E27FC236}">
                  <a16:creationId xmlns:a16="http://schemas.microsoft.com/office/drawing/2014/main" id="{F35D39F7-77AE-4BC6-ADFF-FAC617BA7B0B}"/>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1832839" y="2495159"/>
              <a:ext cx="195930" cy="242031"/>
            </a:xfrm>
            <a:prstGeom prst="rect">
              <a:avLst/>
            </a:prstGeom>
          </p:spPr>
        </p:pic>
        <p:sp>
          <p:nvSpPr>
            <p:cNvPr id="189" name="Rectangle 188">
              <a:extLst>
                <a:ext uri="{FF2B5EF4-FFF2-40B4-BE49-F238E27FC236}">
                  <a16:creationId xmlns:a16="http://schemas.microsoft.com/office/drawing/2014/main" id="{2FF413F8-E046-4753-9A86-3993F2413676}"/>
                </a:ext>
              </a:extLst>
            </p:cNvPr>
            <p:cNvSpPr/>
            <p:nvPr/>
          </p:nvSpPr>
          <p:spPr bwMode="auto">
            <a:xfrm>
              <a:off x="1976449" y="2524102"/>
              <a:ext cx="79643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err="1">
                  <a:solidFill>
                    <a:schemeClr val="tx2"/>
                  </a:solidFill>
                  <a:latin typeface="Trebuchet MS" panose="020B0603020202020204" pitchFamily="34" charset="0"/>
                </a:rPr>
                <a:t>Covid</a:t>
              </a:r>
              <a:r>
                <a:rPr lang="en-GB" sz="900" i="1">
                  <a:solidFill>
                    <a:schemeClr val="tx2"/>
                  </a:solidFill>
                  <a:latin typeface="Trebuchet MS" panose="020B0603020202020204" pitchFamily="34" charset="0"/>
                </a:rPr>
                <a:t> impact</a:t>
              </a:r>
              <a:endParaRPr kumimoji="0" lang="en-GB" sz="900" b="0" i="1" u="none" strike="noStrike" cap="none" normalizeH="0" baseline="0">
                <a:ln>
                  <a:noFill/>
                </a:ln>
                <a:solidFill>
                  <a:schemeClr val="tx2"/>
                </a:solidFill>
                <a:effectLst/>
                <a:latin typeface="Trebuchet MS" panose="020B0603020202020204" pitchFamily="34" charset="0"/>
              </a:endParaRPr>
            </a:p>
          </p:txBody>
        </p:sp>
      </p:grpSp>
      <p:cxnSp>
        <p:nvCxnSpPr>
          <p:cNvPr id="21" name="Connecteur : en angle 20">
            <a:extLst>
              <a:ext uri="{FF2B5EF4-FFF2-40B4-BE49-F238E27FC236}">
                <a16:creationId xmlns:a16="http://schemas.microsoft.com/office/drawing/2014/main" id="{9D1C51C8-6755-4B86-9B9B-FE08C6EE4164}"/>
              </a:ext>
            </a:extLst>
          </p:cNvPr>
          <p:cNvCxnSpPr>
            <a:cxnSpLocks/>
            <a:stCxn id="106" idx="3"/>
            <a:endCxn id="97" idx="2"/>
          </p:cNvCxnSpPr>
          <p:nvPr/>
        </p:nvCxnSpPr>
        <p:spPr bwMode="auto">
          <a:xfrm flipV="1">
            <a:off x="3192037" y="2988108"/>
            <a:ext cx="648227" cy="150027"/>
          </a:xfrm>
          <a:prstGeom prst="bentConnector2">
            <a:avLst/>
          </a:prstGeom>
          <a:solidFill>
            <a:schemeClr val="accent1"/>
          </a:solidFill>
          <a:ln w="9525" cap="flat" cmpd="sng" algn="ctr">
            <a:solidFill>
              <a:schemeClr val="accent1"/>
            </a:solidFill>
            <a:prstDash val="solid"/>
            <a:round/>
            <a:headEnd type="diamond" w="med" len="med"/>
            <a:tailEnd type="diamond" w="med" len="med"/>
          </a:ln>
          <a:effectLst/>
        </p:spPr>
      </p:cxnSp>
      <p:grpSp>
        <p:nvGrpSpPr>
          <p:cNvPr id="183" name="Groupe 182">
            <a:extLst>
              <a:ext uri="{FF2B5EF4-FFF2-40B4-BE49-F238E27FC236}">
                <a16:creationId xmlns:a16="http://schemas.microsoft.com/office/drawing/2014/main" id="{874096CC-6785-4D5E-8040-9E4EE5074018}"/>
              </a:ext>
            </a:extLst>
          </p:cNvPr>
          <p:cNvGrpSpPr/>
          <p:nvPr/>
        </p:nvGrpSpPr>
        <p:grpSpPr>
          <a:xfrm>
            <a:off x="8448150" y="-11528"/>
            <a:ext cx="1435548" cy="588143"/>
            <a:chOff x="8448150" y="-11528"/>
            <a:chExt cx="1435548" cy="588143"/>
          </a:xfrm>
        </p:grpSpPr>
        <p:sp>
          <p:nvSpPr>
            <p:cNvPr id="184" name="Rectangle : coins arrondis 199">
              <a:extLst>
                <a:ext uri="{FF2B5EF4-FFF2-40B4-BE49-F238E27FC236}">
                  <a16:creationId xmlns:a16="http://schemas.microsoft.com/office/drawing/2014/main" id="{9CD1FEAE-D0BB-4DE0-B410-386EB2A3175F}"/>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90" name="Rectangle : coins arrondis 200">
              <a:extLst>
                <a:ext uri="{FF2B5EF4-FFF2-40B4-BE49-F238E27FC236}">
                  <a16:creationId xmlns:a16="http://schemas.microsoft.com/office/drawing/2014/main" id="{86B54037-BD5A-472B-BA75-17A10493575E}"/>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91" name="Rectangle : coins arrondis 201">
              <a:extLst>
                <a:ext uri="{FF2B5EF4-FFF2-40B4-BE49-F238E27FC236}">
                  <a16:creationId xmlns:a16="http://schemas.microsoft.com/office/drawing/2014/main" id="{90F040FD-E0C0-4680-85F3-808659D8AD55}"/>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92" name="ZoneTexte 18">
              <a:extLst>
                <a:ext uri="{FF2B5EF4-FFF2-40B4-BE49-F238E27FC236}">
                  <a16:creationId xmlns:a16="http://schemas.microsoft.com/office/drawing/2014/main" id="{D9FAC6A3-1A53-4563-B5D8-8274E2A41AF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93" name="Graphique 128" descr="Jauge">
              <a:extLst>
                <a:ext uri="{FF2B5EF4-FFF2-40B4-BE49-F238E27FC236}">
                  <a16:creationId xmlns:a16="http://schemas.microsoft.com/office/drawing/2014/main" id="{3132B8AC-FD4D-489B-9811-0C4F5612DB8D}"/>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8553764" y="187516"/>
              <a:ext cx="234953" cy="218224"/>
            </a:xfrm>
            <a:prstGeom prst="rect">
              <a:avLst/>
            </a:prstGeom>
            <a:effectLst/>
          </p:spPr>
        </p:pic>
        <p:pic>
          <p:nvPicPr>
            <p:cNvPr id="194" name="Graphique 90" descr="Poignée de main">
              <a:extLst>
                <a:ext uri="{FF2B5EF4-FFF2-40B4-BE49-F238E27FC236}">
                  <a16:creationId xmlns:a16="http://schemas.microsoft.com/office/drawing/2014/main" id="{80267011-877B-4283-A8EA-0895C23C3499}"/>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8960868" y="152880"/>
              <a:ext cx="256313" cy="287496"/>
            </a:xfrm>
            <a:prstGeom prst="rect">
              <a:avLst/>
            </a:prstGeom>
            <a:effectLst/>
          </p:spPr>
        </p:pic>
        <p:pic>
          <p:nvPicPr>
            <p:cNvPr id="195" name="Graphique 74" descr="Mégaphone">
              <a:extLst>
                <a:ext uri="{FF2B5EF4-FFF2-40B4-BE49-F238E27FC236}">
                  <a16:creationId xmlns:a16="http://schemas.microsoft.com/office/drawing/2014/main" id="{F807E1FB-D02D-4BCE-9A57-B92A3F810338}"/>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9389331" y="181519"/>
              <a:ext cx="233011" cy="216420"/>
            </a:xfrm>
            <a:prstGeom prst="rect">
              <a:avLst/>
            </a:prstGeom>
            <a:effectLst/>
          </p:spPr>
        </p:pic>
        <p:pic>
          <p:nvPicPr>
            <p:cNvPr id="196" name="Picture 2" descr="Drapeau France">
              <a:extLst>
                <a:ext uri="{FF2B5EF4-FFF2-40B4-BE49-F238E27FC236}">
                  <a16:creationId xmlns:a16="http://schemas.microsoft.com/office/drawing/2014/main" id="{93F8C8E9-7FAD-478C-B0C0-BDE48046A736}"/>
                </a:ext>
              </a:extLst>
            </p:cNvPr>
            <p:cNvPicPr>
              <a:picLocks noChangeAspect="1" noChangeArrowheads="1"/>
            </p:cNvPicPr>
            <p:nvPr/>
          </p:nvPicPr>
          <p:blipFill rotWithShape="1">
            <a:blip r:embed="rId46">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97" name="Picture 2" descr="5 ft x 3 ft 150 x 90 cm-DRAPEAU BELGE Belgique 100% Polyester ...">
              <a:extLst>
                <a:ext uri="{FF2B5EF4-FFF2-40B4-BE49-F238E27FC236}">
                  <a16:creationId xmlns:a16="http://schemas.microsoft.com/office/drawing/2014/main" id="{354FCE2C-98DC-4C89-B36F-83EF51BEA43A}"/>
                </a:ext>
              </a:extLst>
            </p:cNvPr>
            <p:cNvPicPr>
              <a:picLocks noChangeAspect="1" noChangeArrowheads="1"/>
            </p:cNvPicPr>
            <p:nvPr/>
          </p:nvPicPr>
          <p:blipFill rotWithShape="1">
            <a:blip r:embed="rId47">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98" name="Picture 2 - 1" descr="Drapeau des Pays-Bas — Wikipédia">
              <a:extLst>
                <a:ext uri="{FF2B5EF4-FFF2-40B4-BE49-F238E27FC236}">
                  <a16:creationId xmlns:a16="http://schemas.microsoft.com/office/drawing/2014/main" id="{79B64E26-89E0-4DF4-9AAF-3EC25458A9E2}"/>
                </a:ext>
              </a:extLst>
            </p:cNvPr>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99" name="Picture 2 - 2" descr="Drapeau du Luxembourg">
              <a:extLst>
                <a:ext uri="{FF2B5EF4-FFF2-40B4-BE49-F238E27FC236}">
                  <a16:creationId xmlns:a16="http://schemas.microsoft.com/office/drawing/2014/main" id="{77C343F6-2FFA-4C97-91C6-70B8AA8DB7B3}"/>
                </a:ext>
              </a:extLs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200" name="ZoneTexte 18">
              <a:extLst>
                <a:ext uri="{FF2B5EF4-FFF2-40B4-BE49-F238E27FC236}">
                  <a16:creationId xmlns:a16="http://schemas.microsoft.com/office/drawing/2014/main" id="{5AA11C3C-2AC7-40A8-BA3C-2DAD19415FBE}"/>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2B Marketing</a:t>
              </a:r>
            </a:p>
          </p:txBody>
        </p:sp>
      </p:grpSp>
      <p:cxnSp>
        <p:nvCxnSpPr>
          <p:cNvPr id="140" name="Straight Connector 133">
            <a:extLst>
              <a:ext uri="{FF2B5EF4-FFF2-40B4-BE49-F238E27FC236}">
                <a16:creationId xmlns:a16="http://schemas.microsoft.com/office/drawing/2014/main" id="{D4650B45-7DCF-4FF6-9FF8-745C8031EEA3}"/>
              </a:ext>
            </a:extLst>
          </p:cNvPr>
          <p:cNvCxnSpPr>
            <a:cxnSpLocks/>
          </p:cNvCxnSpPr>
          <p:nvPr>
            <p:custDataLst>
              <p:tags r:id="rId6"/>
            </p:custDataLst>
          </p:nvPr>
        </p:nvCxnSpPr>
        <p:spPr bwMode="auto">
          <a:xfrm flipV="1">
            <a:off x="1407862" y="4591975"/>
            <a:ext cx="313429" cy="135452"/>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41" name="Rectangle 140">
            <a:extLst>
              <a:ext uri="{FF2B5EF4-FFF2-40B4-BE49-F238E27FC236}">
                <a16:creationId xmlns:a16="http://schemas.microsoft.com/office/drawing/2014/main" id="{9801455A-B649-4D11-8AB3-28E4D250358B}"/>
              </a:ext>
            </a:extLst>
          </p:cNvPr>
          <p:cNvSpPr/>
          <p:nvPr/>
        </p:nvSpPr>
        <p:spPr bwMode="auto">
          <a:xfrm>
            <a:off x="1295364" y="4458472"/>
            <a:ext cx="537144"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7%</a:t>
            </a:r>
            <a:endParaRPr kumimoji="0" lang="en-GB" sz="900" b="0" i="0" u="none" strike="noStrike" cap="none" normalizeH="0" baseline="0">
              <a:ln>
                <a:noFill/>
              </a:ln>
              <a:effectLst/>
              <a:latin typeface="Trebuchet MS" panose="020B0603020202020204" pitchFamily="34" charset="0"/>
            </a:endParaRPr>
          </a:p>
        </p:txBody>
      </p:sp>
      <p:sp>
        <p:nvSpPr>
          <p:cNvPr id="2" name="Titre 1">
            <a:extLst>
              <a:ext uri="{FF2B5EF4-FFF2-40B4-BE49-F238E27FC236}">
                <a16:creationId xmlns:a16="http://schemas.microsoft.com/office/drawing/2014/main" id="{7DD4096A-2CFA-41F0-A233-B6A26E14CFA0}"/>
              </a:ext>
            </a:extLst>
          </p:cNvPr>
          <p:cNvSpPr>
            <a:spLocks noGrp="1"/>
          </p:cNvSpPr>
          <p:nvPr>
            <p:ph type="title"/>
          </p:nvPr>
        </p:nvSpPr>
        <p:spPr>
          <a:xfrm>
            <a:off x="165600" y="199554"/>
            <a:ext cx="8524285" cy="580092"/>
          </a:xfrm>
        </p:spPr>
        <p:txBody>
          <a:bodyPr/>
          <a:lstStyle/>
          <a:p>
            <a:r>
              <a:rPr lang="en-GB">
                <a:latin typeface="Trebuchet MS" panose="020B0603020202020204" pitchFamily="34" charset="0"/>
              </a:rPr>
              <a:t>The </a:t>
            </a:r>
            <a:r>
              <a:rPr lang="en-GB">
                <a:solidFill>
                  <a:schemeClr val="tx2"/>
                </a:solidFill>
                <a:latin typeface="Trebuchet MS" panose="020B0603020202020204" pitchFamily="34" charset="0"/>
              </a:rPr>
              <a:t>expanding direct B2B marketing market </a:t>
            </a:r>
            <a:r>
              <a:rPr lang="en-GB">
                <a:latin typeface="Trebuchet MS" panose="020B0603020202020204" pitchFamily="34" charset="0"/>
              </a:rPr>
              <a:t>represents an advantageous </a:t>
            </a:r>
            <a:r>
              <a:rPr lang="en-GB">
                <a:solidFill>
                  <a:schemeClr val="tx2"/>
                </a:solidFill>
                <a:latin typeface="Trebuchet MS" panose="020B0603020202020204" pitchFamily="34" charset="0"/>
              </a:rPr>
              <a:t>playground for BD&amp;A players </a:t>
            </a:r>
            <a:r>
              <a:rPr lang="en-GB">
                <a:latin typeface="Trebuchet MS" panose="020B0603020202020204" pitchFamily="34" charset="0"/>
              </a:rPr>
              <a:t>to leverage their B2B data to enrich, qualify and activate leads for their clients, while facing a </a:t>
            </a:r>
            <a:r>
              <a:rPr lang="en-GB">
                <a:solidFill>
                  <a:schemeClr val="tx2"/>
                </a:solidFill>
                <a:latin typeface="Trebuchet MS" panose="020B0603020202020204" pitchFamily="34" charset="0"/>
              </a:rPr>
              <a:t>fragmented player ecosystem </a:t>
            </a:r>
            <a:r>
              <a:rPr lang="en-GB">
                <a:latin typeface="Trebuchet MS" panose="020B0603020202020204" pitchFamily="34" charset="0"/>
              </a:rPr>
              <a:t>with many pure players</a:t>
            </a:r>
          </a:p>
        </p:txBody>
      </p:sp>
    </p:spTree>
    <p:extLst>
      <p:ext uri="{BB962C8B-B14F-4D97-AF65-F5344CB8AC3E}">
        <p14:creationId xmlns:p14="http://schemas.microsoft.com/office/powerpoint/2010/main" val="2737421190"/>
      </p:ext>
    </p:extLst>
  </p:cSld>
  <p:clrMapOvr>
    <a:masterClrMapping/>
  </p:clrMapOvr>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E02F383C-A186-48FE-AA4E-EDA0729017E6}"/>
              </a:ext>
            </a:extLst>
          </p:cNvPr>
          <p:cNvGraphicFramePr>
            <a:graphicFrameLocks noChangeAspect="1"/>
          </p:cNvGraphicFramePr>
          <p:nvPr>
            <p:custDataLst>
              <p:tags r:id="rId1"/>
            </p:custDataLst>
            <p:extLst>
              <p:ext uri="{D42A27DB-BD31-4B8C-83A1-F6EECF244321}">
                <p14:modId xmlns:p14="http://schemas.microsoft.com/office/powerpoint/2010/main" val="3516848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7" name="Objet 6" hidden="1">
                        <a:extLst>
                          <a:ext uri="{FF2B5EF4-FFF2-40B4-BE49-F238E27FC236}">
                            <a16:creationId xmlns:a16="http://schemas.microsoft.com/office/drawing/2014/main" id="{E02F383C-A186-48FE-AA4E-EDA0729017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86D0C45-F863-4564-B81E-5E87DA640F2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 name="Espace réservé du texte 2">
            <a:extLst>
              <a:ext uri="{FF2B5EF4-FFF2-40B4-BE49-F238E27FC236}">
                <a16:creationId xmlns:a16="http://schemas.microsoft.com/office/drawing/2014/main" id="{A30565E7-8A00-4B9F-A24C-C75F4311A265}"/>
              </a:ext>
            </a:extLst>
          </p:cNvPr>
          <p:cNvSpPr>
            <a:spLocks noGrp="1"/>
          </p:cNvSpPr>
          <p:nvPr>
            <p:ph type="body" sz="quarter" idx="10"/>
          </p:nvPr>
        </p:nvSpPr>
        <p:spPr/>
        <p:txBody>
          <a:bodyPr/>
          <a:lstStyle/>
          <a:p>
            <a:r>
              <a:rPr lang="en-GB"/>
              <a:t>Sources: eleven research and analysis, company data </a:t>
            </a:r>
          </a:p>
        </p:txBody>
      </p:sp>
      <p:cxnSp>
        <p:nvCxnSpPr>
          <p:cNvPr id="4" name="Connecteur droit 208">
            <a:extLst>
              <a:ext uri="{FF2B5EF4-FFF2-40B4-BE49-F238E27FC236}">
                <a16:creationId xmlns:a16="http://schemas.microsoft.com/office/drawing/2014/main" id="{BEC8B89F-7D70-424B-A0E1-99544C2C0D69}"/>
              </a:ext>
            </a:extLst>
          </p:cNvPr>
          <p:cNvCxnSpPr>
            <a:cxnSpLocks/>
          </p:cNvCxnSpPr>
          <p:nvPr/>
        </p:nvCxnSpPr>
        <p:spPr bwMode="auto">
          <a:xfrm>
            <a:off x="384975" y="986602"/>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 name="Rectangle 84">
            <a:extLst>
              <a:ext uri="{FF2B5EF4-FFF2-40B4-BE49-F238E27FC236}">
                <a16:creationId xmlns:a16="http://schemas.microsoft.com/office/drawing/2014/main" id="{B0438645-0459-4ECD-B7E0-DF9EBC7395BB}"/>
              </a:ext>
            </a:extLst>
          </p:cNvPr>
          <p:cNvSpPr/>
          <p:nvPr/>
        </p:nvSpPr>
        <p:spPr bwMode="auto">
          <a:xfrm>
            <a:off x="974640" y="850587"/>
            <a:ext cx="7858125" cy="259809"/>
          </a:xfrm>
          <a:prstGeom prst="rect">
            <a:avLst/>
          </a:prstGeom>
          <a:solidFill>
            <a:schemeClr val="bg1"/>
          </a:solidFill>
        </p:spPr>
        <p:txBody>
          <a:bodyPr wrap="square" rtlCol="0">
            <a:noAutofit/>
          </a:bodyPr>
          <a:lstStyle/>
          <a:p>
            <a:pPr algn="ctr"/>
            <a:r>
              <a:rPr lang="en-GB" sz="1100">
                <a:latin typeface="Trebuchet MS" panose="020B0603020202020204" pitchFamily="34" charset="0"/>
              </a:rPr>
              <a:t>Evolution of the breakdown of </a:t>
            </a:r>
            <a:r>
              <a:rPr lang="en-GB" sz="1100" err="1">
                <a:latin typeface="Trebuchet MS" panose="020B0603020202020204" pitchFamily="34" charset="0"/>
              </a:rPr>
              <a:t>Altares</a:t>
            </a:r>
            <a:r>
              <a:rPr lang="en-GB" sz="1100">
                <a:latin typeface="Trebuchet MS" panose="020B0603020202020204" pitchFamily="34" charset="0"/>
              </a:rPr>
              <a:t>’ billing (FR) and booking (BNL) between D&amp;B products and </a:t>
            </a:r>
            <a:r>
              <a:rPr lang="en-GB" sz="1100" err="1">
                <a:latin typeface="Trebuchet MS" panose="020B0603020202020204" pitchFamily="34" charset="0"/>
              </a:rPr>
              <a:t>Altares</a:t>
            </a:r>
            <a:r>
              <a:rPr lang="en-GB" sz="1100">
                <a:latin typeface="Trebuchet MS" panose="020B0603020202020204" pitchFamily="34" charset="0"/>
              </a:rPr>
              <a:t> products between 2017 and 2019 (€m)</a:t>
            </a:r>
          </a:p>
        </p:txBody>
      </p:sp>
      <p:graphicFrame>
        <p:nvGraphicFramePr>
          <p:cNvPr id="10" name="Graphique 9">
            <a:extLst>
              <a:ext uri="{FF2B5EF4-FFF2-40B4-BE49-F238E27FC236}">
                <a16:creationId xmlns:a16="http://schemas.microsoft.com/office/drawing/2014/main" id="{ADC48F5C-F61A-4A48-9F14-63F8FFC398DF}"/>
              </a:ext>
            </a:extLst>
          </p:cNvPr>
          <p:cNvGraphicFramePr/>
          <p:nvPr>
            <p:extLst>
              <p:ext uri="{D42A27DB-BD31-4B8C-83A1-F6EECF244321}">
                <p14:modId xmlns:p14="http://schemas.microsoft.com/office/powerpoint/2010/main" val="49382772"/>
              </p:ext>
            </p:extLst>
          </p:nvPr>
        </p:nvGraphicFramePr>
        <p:xfrm>
          <a:off x="471056" y="1903935"/>
          <a:ext cx="4017818" cy="2823636"/>
        </p:xfrm>
        <a:graphic>
          <a:graphicData uri="http://schemas.openxmlformats.org/drawingml/2006/chart">
            <c:chart xmlns:c="http://schemas.openxmlformats.org/drawingml/2006/chart" xmlns:r="http://schemas.openxmlformats.org/officeDocument/2006/relationships" r:id="rId7"/>
          </a:graphicData>
        </a:graphic>
      </p:graphicFrame>
      <p:sp>
        <p:nvSpPr>
          <p:cNvPr id="12" name="Rectangle 84">
            <a:extLst>
              <a:ext uri="{FF2B5EF4-FFF2-40B4-BE49-F238E27FC236}">
                <a16:creationId xmlns:a16="http://schemas.microsoft.com/office/drawing/2014/main" id="{0BE17A32-DCC0-46A3-B94F-A99E8551A4DD}"/>
              </a:ext>
            </a:extLst>
          </p:cNvPr>
          <p:cNvSpPr/>
          <p:nvPr/>
        </p:nvSpPr>
        <p:spPr bwMode="auto">
          <a:xfrm>
            <a:off x="384975" y="1263158"/>
            <a:ext cx="856771" cy="259809"/>
          </a:xfrm>
          <a:prstGeom prst="rect">
            <a:avLst/>
          </a:prstGeom>
          <a:solidFill>
            <a:schemeClr val="bg1"/>
          </a:solidFill>
        </p:spPr>
        <p:txBody>
          <a:bodyPr wrap="square" rtlCol="0">
            <a:noAutofit/>
          </a:bodyPr>
          <a:lstStyle/>
          <a:p>
            <a:pPr algn="ctr"/>
            <a:r>
              <a:rPr lang="en-GB" sz="1100">
                <a:solidFill>
                  <a:schemeClr val="tx2"/>
                </a:solidFill>
                <a:latin typeface="Trebuchet MS" panose="020B0603020202020204" pitchFamily="34" charset="0"/>
              </a:rPr>
              <a:t>France</a:t>
            </a:r>
          </a:p>
        </p:txBody>
      </p:sp>
      <p:sp>
        <p:nvSpPr>
          <p:cNvPr id="13" name="Rectangle 84">
            <a:extLst>
              <a:ext uri="{FF2B5EF4-FFF2-40B4-BE49-F238E27FC236}">
                <a16:creationId xmlns:a16="http://schemas.microsoft.com/office/drawing/2014/main" id="{A6142095-256A-4286-92BB-6D3696A23E27}"/>
              </a:ext>
            </a:extLst>
          </p:cNvPr>
          <p:cNvSpPr/>
          <p:nvPr/>
        </p:nvSpPr>
        <p:spPr bwMode="auto">
          <a:xfrm>
            <a:off x="6195295" y="1263158"/>
            <a:ext cx="856771" cy="259809"/>
          </a:xfrm>
          <a:prstGeom prst="rect">
            <a:avLst/>
          </a:prstGeom>
          <a:solidFill>
            <a:schemeClr val="bg1"/>
          </a:solidFill>
        </p:spPr>
        <p:txBody>
          <a:bodyPr wrap="square" rtlCol="0">
            <a:noAutofit/>
          </a:bodyPr>
          <a:lstStyle/>
          <a:p>
            <a:pPr algn="ctr"/>
            <a:r>
              <a:rPr lang="en-GB" sz="1100">
                <a:solidFill>
                  <a:schemeClr val="tx2"/>
                </a:solidFill>
                <a:latin typeface="Trebuchet MS" panose="020B0603020202020204" pitchFamily="34" charset="0"/>
              </a:rPr>
              <a:t>Benelux </a:t>
            </a:r>
          </a:p>
        </p:txBody>
      </p:sp>
      <p:sp>
        <p:nvSpPr>
          <p:cNvPr id="16" name="Rectangle 15">
            <a:extLst>
              <a:ext uri="{FF2B5EF4-FFF2-40B4-BE49-F238E27FC236}">
                <a16:creationId xmlns:a16="http://schemas.microsoft.com/office/drawing/2014/main" id="{C9AD994F-37E1-40C0-AABC-8E79E97B3A25}"/>
              </a:ext>
            </a:extLst>
          </p:cNvPr>
          <p:cNvSpPr/>
          <p:nvPr/>
        </p:nvSpPr>
        <p:spPr bwMode="auto">
          <a:xfrm>
            <a:off x="322616" y="5006759"/>
            <a:ext cx="9382984" cy="1384803"/>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marL="171450" lvl="1" indent="-171450">
              <a:spcBef>
                <a:spcPts val="600"/>
              </a:spcBef>
              <a:buClr>
                <a:schemeClr val="tx1"/>
              </a:buClr>
              <a:buFont typeface="Arial" panose="020B0604020202020204" pitchFamily="34" charset="0"/>
              <a:buChar char="•"/>
            </a:pPr>
            <a:r>
              <a:rPr lang="en-GB" sz="1000">
                <a:latin typeface="Trebuchet MS" panose="020B0603020202020204" pitchFamily="34" charset="0"/>
              </a:rPr>
              <a:t>The contract with D&amp;B has been renewed until 2031. </a:t>
            </a:r>
            <a:r>
              <a:rPr lang="en-GB" sz="1000">
                <a:solidFill>
                  <a:schemeClr val="tx2"/>
                </a:solidFill>
                <a:latin typeface="Trebuchet MS" panose="020B0603020202020204" pitchFamily="34" charset="0"/>
              </a:rPr>
              <a:t>D&amp;B's share of </a:t>
            </a:r>
            <a:r>
              <a:rPr lang="en-GB" sz="1000" err="1">
                <a:solidFill>
                  <a:schemeClr val="tx2"/>
                </a:solidFill>
                <a:latin typeface="Trebuchet MS" panose="020B0603020202020204" pitchFamily="34" charset="0"/>
              </a:rPr>
              <a:t>Altares</a:t>
            </a:r>
            <a:r>
              <a:rPr lang="en-GB" sz="1000">
                <a:solidFill>
                  <a:schemeClr val="tx2"/>
                </a:solidFill>
                <a:latin typeface="Trebuchet MS" panose="020B0603020202020204" pitchFamily="34" charset="0"/>
              </a:rPr>
              <a:t>’ booking </a:t>
            </a:r>
            <a:r>
              <a:rPr lang="en-GB" sz="1000">
                <a:latin typeface="Trebuchet MS" panose="020B0603020202020204" pitchFamily="34" charset="0"/>
              </a:rPr>
              <a:t>is therefore </a:t>
            </a:r>
            <a:r>
              <a:rPr lang="en-GB" sz="1000">
                <a:solidFill>
                  <a:schemeClr val="tx2"/>
                </a:solidFill>
                <a:latin typeface="Trebuchet MS" panose="020B0603020202020204" pitchFamily="34" charset="0"/>
              </a:rPr>
              <a:t>guaranteed until 2031</a:t>
            </a:r>
          </a:p>
          <a:p>
            <a:pPr marL="171450" lvl="1" indent="-171450">
              <a:spcBef>
                <a:spcPts val="600"/>
              </a:spcBef>
              <a:buClr>
                <a:schemeClr val="tx1"/>
              </a:buClr>
              <a:buFont typeface="Arial" panose="020B0604020202020204" pitchFamily="34" charset="0"/>
              <a:buChar char="•"/>
            </a:pPr>
            <a:r>
              <a:rPr lang="en-GB" sz="1000">
                <a:latin typeface="Trebuchet MS" panose="020B0603020202020204" pitchFamily="34" charset="0"/>
              </a:rPr>
              <a:t>Dependence on D&amp;B remains asymmetrical. While D&amp;B products account for almost 50% of </a:t>
            </a:r>
            <a:r>
              <a:rPr lang="en-GB" sz="1000" err="1">
                <a:latin typeface="Trebuchet MS" panose="020B0603020202020204" pitchFamily="34" charset="0"/>
              </a:rPr>
              <a:t>Altares</a:t>
            </a:r>
            <a:r>
              <a:rPr lang="en-GB" sz="1000">
                <a:latin typeface="Trebuchet MS" panose="020B0603020202020204" pitchFamily="34" charset="0"/>
              </a:rPr>
              <a:t>’ French booking, </a:t>
            </a:r>
            <a:r>
              <a:rPr lang="en-GB" sz="1000" err="1">
                <a:latin typeface="Trebuchet MS" panose="020B0603020202020204" pitchFamily="34" charset="0"/>
              </a:rPr>
              <a:t>Altares</a:t>
            </a:r>
            <a:r>
              <a:rPr lang="en-GB" sz="1000">
                <a:latin typeface="Trebuchet MS" panose="020B0603020202020204" pitchFamily="34" charset="0"/>
              </a:rPr>
              <a:t> only represents around ~20% of D&amp;B WWN turnover</a:t>
            </a:r>
          </a:p>
          <a:p>
            <a:pPr marL="171450" lvl="1" indent="-171450">
              <a:spcBef>
                <a:spcPts val="600"/>
              </a:spcBef>
              <a:buClr>
                <a:schemeClr val="tx1"/>
              </a:buClr>
              <a:buFont typeface="Arial" panose="020B0604020202020204" pitchFamily="34" charset="0"/>
              <a:buChar char="•"/>
            </a:pPr>
            <a:r>
              <a:rPr lang="en-GB" sz="1000">
                <a:latin typeface="Trebuchet MS" panose="020B0603020202020204" pitchFamily="34" charset="0"/>
              </a:rPr>
              <a:t>However, </a:t>
            </a:r>
            <a:r>
              <a:rPr lang="en-GB" sz="1000" err="1">
                <a:latin typeface="Trebuchet MS" panose="020B0603020202020204" pitchFamily="34" charset="0"/>
              </a:rPr>
              <a:t>Altares</a:t>
            </a:r>
            <a:r>
              <a:rPr lang="en-GB" sz="1000">
                <a:latin typeface="Trebuchet MS" panose="020B0603020202020204" pitchFamily="34" charset="0"/>
              </a:rPr>
              <a:t> benefits from a </a:t>
            </a:r>
            <a:r>
              <a:rPr lang="en-GB" sz="1000">
                <a:solidFill>
                  <a:schemeClr val="tx2"/>
                </a:solidFill>
                <a:latin typeface="Trebuchet MS" panose="020B0603020202020204" pitchFamily="34" charset="0"/>
              </a:rPr>
              <a:t>“good franchisee” image </a:t>
            </a:r>
            <a:r>
              <a:rPr lang="en-GB" sz="1000">
                <a:latin typeface="Trebuchet MS" panose="020B0603020202020204" pitchFamily="34" charset="0"/>
              </a:rPr>
              <a:t>and was therefore the first to be able to deploy the new D&amp;B products (i.e. </a:t>
            </a:r>
            <a:r>
              <a:rPr lang="en-GB" sz="1000" err="1">
                <a:latin typeface="Trebuchet MS" panose="020B0603020202020204" pitchFamily="34" charset="0"/>
              </a:rPr>
              <a:t>Datablocks</a:t>
            </a:r>
            <a:r>
              <a:rPr lang="en-GB" sz="1000">
                <a:latin typeface="Trebuchet MS" panose="020B0603020202020204" pitchFamily="34" charset="0"/>
              </a:rPr>
              <a:t> in Direct+ API) after the United States and Canada</a:t>
            </a:r>
          </a:p>
          <a:p>
            <a:pPr marL="171450" lvl="1" indent="-171450">
              <a:spcBef>
                <a:spcPts val="600"/>
              </a:spcBef>
              <a:buClr>
                <a:schemeClr val="tx1"/>
              </a:buClr>
              <a:buFont typeface="Arial" panose="020B0604020202020204" pitchFamily="34" charset="0"/>
              <a:buChar char="•"/>
            </a:pPr>
            <a:r>
              <a:rPr lang="en-GB" sz="1000">
                <a:latin typeface="Trebuchet MS" panose="020B0603020202020204" pitchFamily="34" charset="0"/>
              </a:rPr>
              <a:t>Moreover, it would be very </a:t>
            </a:r>
            <a:r>
              <a:rPr lang="en-GB" sz="1000">
                <a:solidFill>
                  <a:schemeClr val="tx2"/>
                </a:solidFill>
                <a:latin typeface="Trebuchet MS" panose="020B0603020202020204" pitchFamily="34" charset="0"/>
              </a:rPr>
              <a:t>difficult</a:t>
            </a:r>
            <a:r>
              <a:rPr lang="en-GB" sz="1000">
                <a:latin typeface="Trebuchet MS" panose="020B0603020202020204" pitchFamily="34" charset="0"/>
              </a:rPr>
              <a:t> and </a:t>
            </a:r>
            <a:r>
              <a:rPr lang="en-GB" sz="1000">
                <a:solidFill>
                  <a:schemeClr val="tx2"/>
                </a:solidFill>
                <a:latin typeface="Trebuchet MS" panose="020B0603020202020204" pitchFamily="34" charset="0"/>
              </a:rPr>
              <a:t>expensive</a:t>
            </a:r>
            <a:r>
              <a:rPr lang="en-GB" sz="1000">
                <a:latin typeface="Trebuchet MS" panose="020B0603020202020204" pitchFamily="34" charset="0"/>
              </a:rPr>
              <a:t> for D&amp;B to </a:t>
            </a:r>
            <a:r>
              <a:rPr lang="en-GB" sz="1000">
                <a:solidFill>
                  <a:schemeClr val="tx2"/>
                </a:solidFill>
                <a:latin typeface="Trebuchet MS" panose="020B0603020202020204" pitchFamily="34" charset="0"/>
              </a:rPr>
              <a:t>find</a:t>
            </a:r>
            <a:r>
              <a:rPr lang="en-GB" sz="1000">
                <a:latin typeface="Trebuchet MS" panose="020B0603020202020204" pitchFamily="34" charset="0"/>
              </a:rPr>
              <a:t> </a:t>
            </a:r>
            <a:r>
              <a:rPr lang="en-GB" sz="1000">
                <a:solidFill>
                  <a:schemeClr val="tx2"/>
                </a:solidFill>
                <a:latin typeface="Trebuchet MS" panose="020B0603020202020204" pitchFamily="34" charset="0"/>
              </a:rPr>
              <a:t>another</a:t>
            </a:r>
            <a:r>
              <a:rPr lang="en-GB" sz="1000">
                <a:latin typeface="Trebuchet MS" panose="020B0603020202020204" pitchFamily="34" charset="0"/>
              </a:rPr>
              <a:t> </a:t>
            </a:r>
            <a:r>
              <a:rPr lang="en-GB" sz="1000">
                <a:solidFill>
                  <a:schemeClr val="tx2"/>
                </a:solidFill>
                <a:latin typeface="Trebuchet MS" panose="020B0603020202020204" pitchFamily="34" charset="0"/>
              </a:rPr>
              <a:t>partner</a:t>
            </a:r>
            <a:r>
              <a:rPr lang="en-GB" sz="1000">
                <a:latin typeface="Trebuchet MS" panose="020B0603020202020204" pitchFamily="34" charset="0"/>
              </a:rPr>
              <a:t> due to entry costs and high risk with all their customers worldwide if they need to find the right player and ensure that it is able to source all the data they need with the expected level of quality</a:t>
            </a:r>
          </a:p>
          <a:p>
            <a:pPr marL="171450" lvl="1" indent="-171450">
              <a:spcBef>
                <a:spcPts val="600"/>
              </a:spcBef>
              <a:buClr>
                <a:schemeClr val="tx1"/>
              </a:buClr>
              <a:buFont typeface="Arial" panose="020B0604020202020204" pitchFamily="34" charset="0"/>
              <a:buChar char="•"/>
            </a:pPr>
            <a:endParaRPr lang="en-GB" sz="1000">
              <a:latin typeface="Trebuchet MS" panose="020B0603020202020204" pitchFamily="34" charset="0"/>
            </a:endParaRPr>
          </a:p>
        </p:txBody>
      </p:sp>
      <p:sp>
        <p:nvSpPr>
          <p:cNvPr id="2" name="Titre 1">
            <a:extLst>
              <a:ext uri="{FF2B5EF4-FFF2-40B4-BE49-F238E27FC236}">
                <a16:creationId xmlns:a16="http://schemas.microsoft.com/office/drawing/2014/main" id="{C82BF096-DA84-4662-8A17-E3FB9A227051}"/>
              </a:ext>
            </a:extLst>
          </p:cNvPr>
          <p:cNvSpPr>
            <a:spLocks noGrp="1"/>
          </p:cNvSpPr>
          <p:nvPr>
            <p:ph type="title"/>
          </p:nvPr>
        </p:nvSpPr>
        <p:spPr>
          <a:xfrm>
            <a:off x="165600" y="147600"/>
            <a:ext cx="8148042" cy="684000"/>
          </a:xfrm>
        </p:spPr>
        <p:txBody>
          <a:bodyPr/>
          <a:lstStyle/>
          <a:p>
            <a:r>
              <a:rPr lang="en-GB">
                <a:latin typeface="Trebuchet MS" panose="020B0603020202020204" pitchFamily="34" charset="0"/>
              </a:rPr>
              <a:t>Since </a:t>
            </a:r>
            <a:r>
              <a:rPr lang="en-GB">
                <a:solidFill>
                  <a:schemeClr val="tx2"/>
                </a:solidFill>
                <a:latin typeface="Trebuchet MS" panose="020B0603020202020204" pitchFamily="34" charset="0"/>
              </a:rPr>
              <a:t>D&amp;B Benelux acquisition in 2017</a:t>
            </a:r>
            <a:r>
              <a:rPr lang="en-GB">
                <a:latin typeface="Trebuchet MS" panose="020B0603020202020204" pitchFamily="34" charset="0"/>
              </a:rPr>
              <a:t>, </a:t>
            </a:r>
            <a:r>
              <a:rPr lang="en-GB" err="1">
                <a:latin typeface="Trebuchet MS" panose="020B0603020202020204" pitchFamily="34" charset="0"/>
              </a:rPr>
              <a:t>Altares</a:t>
            </a:r>
            <a:r>
              <a:rPr lang="en-GB">
                <a:latin typeface="Trebuchet MS" panose="020B0603020202020204" pitchFamily="34" charset="0"/>
              </a:rPr>
              <a:t> has </a:t>
            </a:r>
            <a:r>
              <a:rPr lang="en-GB">
                <a:solidFill>
                  <a:schemeClr val="tx2"/>
                </a:solidFill>
                <a:latin typeface="Trebuchet MS" panose="020B0603020202020204" pitchFamily="34" charset="0"/>
              </a:rPr>
              <a:t>benefit from D&amp;B’ incomes </a:t>
            </a:r>
            <a:r>
              <a:rPr lang="en-GB">
                <a:latin typeface="Trebuchet MS" panose="020B0603020202020204" pitchFamily="34" charset="0"/>
              </a:rPr>
              <a:t>and progressively </a:t>
            </a:r>
            <a:r>
              <a:rPr lang="en-GB">
                <a:solidFill>
                  <a:schemeClr val="tx2"/>
                </a:solidFill>
                <a:latin typeface="Trebuchet MS" panose="020B0603020202020204" pitchFamily="34" charset="0"/>
              </a:rPr>
              <a:t>deployed its proprietary products in Benelux</a:t>
            </a:r>
          </a:p>
        </p:txBody>
      </p:sp>
      <p:graphicFrame>
        <p:nvGraphicFramePr>
          <p:cNvPr id="14" name="Graphique 13">
            <a:extLst>
              <a:ext uri="{FF2B5EF4-FFF2-40B4-BE49-F238E27FC236}">
                <a16:creationId xmlns:a16="http://schemas.microsoft.com/office/drawing/2014/main" id="{464F0FA0-7131-473E-9919-D7BD92E5DF72}"/>
              </a:ext>
            </a:extLst>
          </p:cNvPr>
          <p:cNvGraphicFramePr/>
          <p:nvPr>
            <p:extLst>
              <p:ext uri="{D42A27DB-BD31-4B8C-83A1-F6EECF244321}">
                <p14:modId xmlns:p14="http://schemas.microsoft.com/office/powerpoint/2010/main" val="882139227"/>
              </p:ext>
            </p:extLst>
          </p:nvPr>
        </p:nvGraphicFramePr>
        <p:xfrm>
          <a:off x="5417128" y="1903935"/>
          <a:ext cx="4017818" cy="2823636"/>
        </p:xfrm>
        <a:graphic>
          <a:graphicData uri="http://schemas.openxmlformats.org/drawingml/2006/chart">
            <c:chart xmlns:c="http://schemas.openxmlformats.org/drawingml/2006/chart" xmlns:r="http://schemas.openxmlformats.org/officeDocument/2006/relationships" r:id="rId8"/>
          </a:graphicData>
        </a:graphic>
      </p:graphicFrame>
      <p:cxnSp>
        <p:nvCxnSpPr>
          <p:cNvPr id="19" name="Straight Connector 18">
            <a:extLst>
              <a:ext uri="{FF2B5EF4-FFF2-40B4-BE49-F238E27FC236}">
                <a16:creationId xmlns:a16="http://schemas.microsoft.com/office/drawing/2014/main" id="{D3A4EA3E-F642-419E-992F-246D3BB0490C}"/>
              </a:ext>
            </a:extLst>
          </p:cNvPr>
          <p:cNvCxnSpPr>
            <a:cxnSpLocks/>
          </p:cNvCxnSpPr>
          <p:nvPr/>
        </p:nvCxnSpPr>
        <p:spPr bwMode="auto">
          <a:xfrm>
            <a:off x="5924060" y="4774419"/>
            <a:ext cx="207891" cy="0"/>
          </a:xfrm>
          <a:prstGeom prst="line">
            <a:avLst/>
          </a:prstGeom>
          <a:solidFill>
            <a:schemeClr val="bg1"/>
          </a:solidFill>
          <a:ln w="28575" cap="flat" cmpd="sng" algn="ctr">
            <a:solidFill>
              <a:schemeClr val="accent1"/>
            </a:solidFill>
            <a:prstDash val="solid"/>
            <a:round/>
            <a:headEnd type="none" w="med" len="med"/>
            <a:tailEnd type="none" w="med" len="med"/>
          </a:ln>
          <a:effectLst/>
        </p:spPr>
      </p:cxnSp>
      <p:sp>
        <p:nvSpPr>
          <p:cNvPr id="20" name="TextBox 19">
            <a:extLst>
              <a:ext uri="{FF2B5EF4-FFF2-40B4-BE49-F238E27FC236}">
                <a16:creationId xmlns:a16="http://schemas.microsoft.com/office/drawing/2014/main" id="{ABF82138-59A4-4409-BE06-F13E939FC40E}"/>
              </a:ext>
            </a:extLst>
          </p:cNvPr>
          <p:cNvSpPr txBox="1"/>
          <p:nvPr/>
        </p:nvSpPr>
        <p:spPr>
          <a:xfrm>
            <a:off x="6379599" y="4697475"/>
            <a:ext cx="2411976" cy="153888"/>
          </a:xfrm>
          <a:prstGeom prst="rect">
            <a:avLst/>
          </a:prstGeom>
          <a:noFill/>
        </p:spPr>
        <p:txBody>
          <a:bodyPr wrap="square" lIns="0" tIns="0" rIns="0" bIns="0" rtlCol="0">
            <a:spAutoFit/>
          </a:bodyPr>
          <a:lstStyle/>
          <a:p>
            <a:r>
              <a:rPr lang="en-GB" sz="1000">
                <a:solidFill>
                  <a:srgbClr val="9F9F9F"/>
                </a:solidFill>
                <a:latin typeface="Trebuchet MS" panose="020B0603020202020204" pitchFamily="34" charset="0"/>
              </a:rPr>
              <a:t>Share of </a:t>
            </a:r>
            <a:r>
              <a:rPr lang="en-GB" sz="1000" err="1">
                <a:solidFill>
                  <a:srgbClr val="9F9F9F"/>
                </a:solidFill>
                <a:latin typeface="Trebuchet MS" panose="020B0603020202020204" pitchFamily="34" charset="0"/>
              </a:rPr>
              <a:t>Altares</a:t>
            </a:r>
            <a:r>
              <a:rPr lang="en-GB" sz="1000">
                <a:solidFill>
                  <a:srgbClr val="9F9F9F"/>
                </a:solidFill>
                <a:latin typeface="Trebuchet MS" panose="020B0603020202020204" pitchFamily="34" charset="0"/>
              </a:rPr>
              <a:t>’ product in total booking</a:t>
            </a:r>
          </a:p>
        </p:txBody>
      </p:sp>
      <p:cxnSp>
        <p:nvCxnSpPr>
          <p:cNvPr id="21" name="Straight Connector 20">
            <a:extLst>
              <a:ext uri="{FF2B5EF4-FFF2-40B4-BE49-F238E27FC236}">
                <a16:creationId xmlns:a16="http://schemas.microsoft.com/office/drawing/2014/main" id="{242F64A5-F468-4080-B76A-BB9839F415C5}"/>
              </a:ext>
            </a:extLst>
          </p:cNvPr>
          <p:cNvCxnSpPr>
            <a:cxnSpLocks/>
          </p:cNvCxnSpPr>
          <p:nvPr/>
        </p:nvCxnSpPr>
        <p:spPr bwMode="auto">
          <a:xfrm>
            <a:off x="862390" y="4774419"/>
            <a:ext cx="207891" cy="0"/>
          </a:xfrm>
          <a:prstGeom prst="line">
            <a:avLst/>
          </a:prstGeom>
          <a:solidFill>
            <a:schemeClr val="bg1"/>
          </a:solidFill>
          <a:ln w="28575" cap="flat" cmpd="sng" algn="ctr">
            <a:solidFill>
              <a:schemeClr val="accent1"/>
            </a:solidFill>
            <a:prstDash val="solid"/>
            <a:round/>
            <a:headEnd type="none" w="med" len="med"/>
            <a:tailEnd type="none" w="med" len="med"/>
          </a:ln>
          <a:effectLst/>
        </p:spPr>
      </p:cxnSp>
      <p:sp>
        <p:nvSpPr>
          <p:cNvPr id="22" name="TextBox 21">
            <a:extLst>
              <a:ext uri="{FF2B5EF4-FFF2-40B4-BE49-F238E27FC236}">
                <a16:creationId xmlns:a16="http://schemas.microsoft.com/office/drawing/2014/main" id="{734CC09B-33E0-426B-ABDD-A149E0104DCC}"/>
              </a:ext>
            </a:extLst>
          </p:cNvPr>
          <p:cNvSpPr txBox="1"/>
          <p:nvPr/>
        </p:nvSpPr>
        <p:spPr>
          <a:xfrm>
            <a:off x="1317929" y="4697475"/>
            <a:ext cx="2411976" cy="153888"/>
          </a:xfrm>
          <a:prstGeom prst="rect">
            <a:avLst/>
          </a:prstGeom>
          <a:noFill/>
        </p:spPr>
        <p:txBody>
          <a:bodyPr wrap="square" lIns="0" tIns="0" rIns="0" bIns="0" rtlCol="0">
            <a:spAutoFit/>
          </a:bodyPr>
          <a:lstStyle/>
          <a:p>
            <a:r>
              <a:rPr lang="en-GB" sz="1000">
                <a:solidFill>
                  <a:srgbClr val="9F9F9F"/>
                </a:solidFill>
                <a:latin typeface="Trebuchet MS" panose="020B0603020202020204" pitchFamily="34" charset="0"/>
              </a:rPr>
              <a:t>Share of </a:t>
            </a:r>
            <a:r>
              <a:rPr lang="en-GB" sz="1000" err="1">
                <a:solidFill>
                  <a:srgbClr val="9F9F9F"/>
                </a:solidFill>
                <a:latin typeface="Trebuchet MS" panose="020B0603020202020204" pitchFamily="34" charset="0"/>
              </a:rPr>
              <a:t>Altares</a:t>
            </a:r>
            <a:r>
              <a:rPr lang="en-GB" sz="1000">
                <a:solidFill>
                  <a:srgbClr val="9F9F9F"/>
                </a:solidFill>
                <a:latin typeface="Trebuchet MS" panose="020B0603020202020204" pitchFamily="34" charset="0"/>
              </a:rPr>
              <a:t>’ product in total billing</a:t>
            </a:r>
          </a:p>
        </p:txBody>
      </p:sp>
      <p:sp>
        <p:nvSpPr>
          <p:cNvPr id="23" name="Bulle narrative : rectangle 3">
            <a:extLst>
              <a:ext uri="{FF2B5EF4-FFF2-40B4-BE49-F238E27FC236}">
                <a16:creationId xmlns:a16="http://schemas.microsoft.com/office/drawing/2014/main" id="{5A4AB492-2DDB-4919-AED4-F744A0629B47}"/>
              </a:ext>
            </a:extLst>
          </p:cNvPr>
          <p:cNvSpPr/>
          <p:nvPr/>
        </p:nvSpPr>
        <p:spPr bwMode="auto">
          <a:xfrm>
            <a:off x="1487178" y="1236002"/>
            <a:ext cx="2366976" cy="684122"/>
          </a:xfrm>
          <a:prstGeom prst="wedgeRectCallout">
            <a:avLst>
              <a:gd name="adj1" fmla="val 29328"/>
              <a:gd name="adj2" fmla="val 86425"/>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effectLst/>
                <a:latin typeface="Trebuchet MS" panose="020B0603020202020204" pitchFamily="34" charset="0"/>
              </a:rPr>
              <a:t>The </a:t>
            </a:r>
            <a:r>
              <a:rPr kumimoji="0" lang="en-GB" sz="1000" b="0" i="0" u="none" strike="noStrike" cap="none" normalizeH="0" baseline="0">
                <a:ln>
                  <a:noFill/>
                </a:ln>
                <a:solidFill>
                  <a:schemeClr val="tx2"/>
                </a:solidFill>
                <a:effectLst/>
                <a:latin typeface="Trebuchet MS" panose="020B0603020202020204" pitchFamily="34" charset="0"/>
              </a:rPr>
              <a:t>share of </a:t>
            </a:r>
            <a:r>
              <a:rPr kumimoji="0" lang="en-GB" sz="1000" b="0" i="0" u="none" strike="noStrike" cap="none" normalizeH="0" baseline="0" err="1">
                <a:ln>
                  <a:noFill/>
                </a:ln>
                <a:solidFill>
                  <a:schemeClr val="tx2"/>
                </a:solidFill>
                <a:effectLst/>
                <a:latin typeface="Trebuchet MS" panose="020B0603020202020204" pitchFamily="34" charset="0"/>
              </a:rPr>
              <a:t>Altares</a:t>
            </a:r>
            <a:r>
              <a:rPr kumimoji="0" lang="en-GB" sz="1000" b="0" i="0" u="none" strike="noStrike" cap="none" normalizeH="0" baseline="0">
                <a:ln>
                  <a:noFill/>
                </a:ln>
                <a:solidFill>
                  <a:schemeClr val="tx2"/>
                </a:solidFill>
                <a:effectLst/>
                <a:latin typeface="Trebuchet MS" panose="020B0603020202020204" pitchFamily="34" charset="0"/>
              </a:rPr>
              <a:t>’ product </a:t>
            </a:r>
            <a:r>
              <a:rPr kumimoji="0" lang="en-GB" sz="1000" b="0" i="0" u="none" strike="noStrike" cap="none" normalizeH="0" baseline="0">
                <a:ln>
                  <a:noFill/>
                </a:ln>
                <a:effectLst/>
                <a:latin typeface="Trebuchet MS" panose="020B0603020202020204" pitchFamily="34" charset="0"/>
              </a:rPr>
              <a:t>in total booking has </a:t>
            </a:r>
            <a:r>
              <a:rPr kumimoji="0" lang="en-GB" sz="1000" b="0" i="0" u="none" strike="noStrike" cap="none" normalizeH="0" baseline="0">
                <a:ln>
                  <a:noFill/>
                </a:ln>
                <a:solidFill>
                  <a:schemeClr val="tx2"/>
                </a:solidFill>
                <a:effectLst/>
                <a:latin typeface="Trebuchet MS" panose="020B0603020202020204" pitchFamily="34" charset="0"/>
              </a:rPr>
              <a:t>slightly decreased </a:t>
            </a:r>
            <a:r>
              <a:rPr kumimoji="0" lang="en-GB" sz="1000" b="0" i="0" u="none" strike="noStrike" cap="none" normalizeH="0" baseline="0">
                <a:ln>
                  <a:noFill/>
                </a:ln>
                <a:effectLst/>
                <a:latin typeface="Trebuchet MS" panose="020B0603020202020204" pitchFamily="34" charset="0"/>
              </a:rPr>
              <a:t>due to the increase of </a:t>
            </a:r>
            <a:r>
              <a:rPr kumimoji="0" lang="en-GB" sz="1000" b="0" i="0" u="none" strike="noStrike" cap="none" normalizeH="0" baseline="0">
                <a:ln>
                  <a:noFill/>
                </a:ln>
                <a:solidFill>
                  <a:schemeClr val="tx2"/>
                </a:solidFill>
                <a:effectLst/>
                <a:latin typeface="Trebuchet MS" panose="020B0603020202020204" pitchFamily="34" charset="0"/>
              </a:rPr>
              <a:t>D&amp;BI incomes </a:t>
            </a:r>
            <a:r>
              <a:rPr kumimoji="0" lang="en-GB" sz="1000" b="0" i="0" u="none" strike="noStrike" cap="none" normalizeH="0" baseline="0">
                <a:ln>
                  <a:noFill/>
                </a:ln>
                <a:effectLst/>
                <a:latin typeface="Trebuchet MS" panose="020B0603020202020204" pitchFamily="34" charset="0"/>
              </a:rPr>
              <a:t>after </a:t>
            </a:r>
            <a:r>
              <a:rPr kumimoji="0" lang="en-GB" sz="1000" b="0" i="0" u="none" strike="noStrike" cap="none" normalizeH="0" baseline="0">
                <a:ln>
                  <a:noFill/>
                </a:ln>
                <a:solidFill>
                  <a:schemeClr val="tx2"/>
                </a:solidFill>
                <a:effectLst/>
                <a:latin typeface="Trebuchet MS" panose="020B0603020202020204" pitchFamily="34" charset="0"/>
              </a:rPr>
              <a:t>contract renegotiation</a:t>
            </a:r>
            <a:endParaRPr kumimoji="0" lang="en-GB" sz="700" b="0" i="0" u="none" strike="noStrike" cap="none" normalizeH="0" baseline="0">
              <a:ln>
                <a:noFill/>
              </a:ln>
              <a:solidFill>
                <a:schemeClr val="tx2"/>
              </a:solidFill>
              <a:effectLst/>
              <a:latin typeface="Trebuchet MS" panose="020B0603020202020204" pitchFamily="34" charset="0"/>
            </a:endParaRPr>
          </a:p>
        </p:txBody>
      </p:sp>
      <p:grpSp>
        <p:nvGrpSpPr>
          <p:cNvPr id="25" name="Groupe 66">
            <a:extLst>
              <a:ext uri="{FF2B5EF4-FFF2-40B4-BE49-F238E27FC236}">
                <a16:creationId xmlns:a16="http://schemas.microsoft.com/office/drawing/2014/main" id="{D00B2FA3-50BB-44D5-85F9-239DCF1B55F2}"/>
              </a:ext>
            </a:extLst>
          </p:cNvPr>
          <p:cNvGrpSpPr/>
          <p:nvPr/>
        </p:nvGrpSpPr>
        <p:grpSpPr>
          <a:xfrm>
            <a:off x="8448150" y="-11528"/>
            <a:ext cx="1435548" cy="588143"/>
            <a:chOff x="8448150" y="-11528"/>
            <a:chExt cx="1435548" cy="588143"/>
          </a:xfrm>
        </p:grpSpPr>
        <p:sp>
          <p:nvSpPr>
            <p:cNvPr id="26" name="Rectangle : coins arrondis 199">
              <a:extLst>
                <a:ext uri="{FF2B5EF4-FFF2-40B4-BE49-F238E27FC236}">
                  <a16:creationId xmlns:a16="http://schemas.microsoft.com/office/drawing/2014/main" id="{42731F53-8AFE-4A0C-BE5E-7E54D03B3B02}"/>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7" name="Rectangle : coins arrondis 200">
              <a:extLst>
                <a:ext uri="{FF2B5EF4-FFF2-40B4-BE49-F238E27FC236}">
                  <a16:creationId xmlns:a16="http://schemas.microsoft.com/office/drawing/2014/main" id="{1327F9BC-2F06-4886-BD0C-DBCA76F3B06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8" name="Rectangle : coins arrondis 201">
              <a:extLst>
                <a:ext uri="{FF2B5EF4-FFF2-40B4-BE49-F238E27FC236}">
                  <a16:creationId xmlns:a16="http://schemas.microsoft.com/office/drawing/2014/main" id="{8CB67FDC-C627-40DE-9A86-78B71DDB68B1}"/>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9" name="ZoneTexte 18">
              <a:extLst>
                <a:ext uri="{FF2B5EF4-FFF2-40B4-BE49-F238E27FC236}">
                  <a16:creationId xmlns:a16="http://schemas.microsoft.com/office/drawing/2014/main" id="{4D29975B-E616-48DB-AD9D-46FD4E9567C6}"/>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Partnership with D&amp;B</a:t>
              </a:r>
            </a:p>
          </p:txBody>
        </p:sp>
        <p:pic>
          <p:nvPicPr>
            <p:cNvPr id="30" name="Graphique 128" descr="Jauge">
              <a:extLst>
                <a:ext uri="{FF2B5EF4-FFF2-40B4-BE49-F238E27FC236}">
                  <a16:creationId xmlns:a16="http://schemas.microsoft.com/office/drawing/2014/main" id="{7D405159-63BB-4E04-9754-9F97088D16E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53764" y="187516"/>
              <a:ext cx="234953" cy="218224"/>
            </a:xfrm>
            <a:prstGeom prst="rect">
              <a:avLst/>
            </a:prstGeom>
            <a:effectLst/>
          </p:spPr>
        </p:pic>
        <p:pic>
          <p:nvPicPr>
            <p:cNvPr id="31" name="Graphique 90" descr="Poignée de main">
              <a:extLst>
                <a:ext uri="{FF2B5EF4-FFF2-40B4-BE49-F238E27FC236}">
                  <a16:creationId xmlns:a16="http://schemas.microsoft.com/office/drawing/2014/main" id="{FD947602-4B33-454A-A163-2024106E4BA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60868" y="152880"/>
              <a:ext cx="256313" cy="287496"/>
            </a:xfrm>
            <a:prstGeom prst="rect">
              <a:avLst/>
            </a:prstGeom>
            <a:effectLst/>
          </p:spPr>
        </p:pic>
        <p:pic>
          <p:nvPicPr>
            <p:cNvPr id="32" name="Graphique 96" descr="Mégaphone">
              <a:extLst>
                <a:ext uri="{FF2B5EF4-FFF2-40B4-BE49-F238E27FC236}">
                  <a16:creationId xmlns:a16="http://schemas.microsoft.com/office/drawing/2014/main" id="{1D35B170-4791-4D59-A915-BEF42D81C73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389331" y="181519"/>
              <a:ext cx="233011" cy="216420"/>
            </a:xfrm>
            <a:prstGeom prst="rect">
              <a:avLst/>
            </a:prstGeom>
            <a:effectLst/>
          </p:spPr>
        </p:pic>
        <p:pic>
          <p:nvPicPr>
            <p:cNvPr id="33" name="Picture 2" descr="Drapeau France">
              <a:extLst>
                <a:ext uri="{FF2B5EF4-FFF2-40B4-BE49-F238E27FC236}">
                  <a16:creationId xmlns:a16="http://schemas.microsoft.com/office/drawing/2014/main" id="{0161DA9D-3606-4F5E-A81A-6AA206D7A08B}"/>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34" name="Picture 2" descr="5 ft x 3 ft 150 x 90 cm-DRAPEAU BELGE Belgique 100% Polyester ...">
              <a:extLst>
                <a:ext uri="{FF2B5EF4-FFF2-40B4-BE49-F238E27FC236}">
                  <a16:creationId xmlns:a16="http://schemas.microsoft.com/office/drawing/2014/main" id="{5B277F30-DB9E-4583-907E-7F091F6A12D8}"/>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35" name="Picture 2 - 1" descr="Drapeau des Pays-Bas — Wikipédia">
              <a:extLst>
                <a:ext uri="{FF2B5EF4-FFF2-40B4-BE49-F238E27FC236}">
                  <a16:creationId xmlns:a16="http://schemas.microsoft.com/office/drawing/2014/main" id="{9B33913C-B3DB-4C18-88AA-C7B76C0F827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36" name="Picture 2 - 2" descr="Drapeau du Luxembourg">
              <a:extLst>
                <a:ext uri="{FF2B5EF4-FFF2-40B4-BE49-F238E27FC236}">
                  <a16:creationId xmlns:a16="http://schemas.microsoft.com/office/drawing/2014/main" id="{7EA8676A-0D43-4C12-8275-02EC33870C22}"/>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37" name="ZoneTexte 18">
              <a:extLst>
                <a:ext uri="{FF2B5EF4-FFF2-40B4-BE49-F238E27FC236}">
                  <a16:creationId xmlns:a16="http://schemas.microsoft.com/office/drawing/2014/main" id="{1E91BBB2-87FF-4FB9-A62E-560F49A8F3EE}"/>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pic>
        <p:nvPicPr>
          <p:cNvPr id="38" name="Picture 2" descr="Drapeau France">
            <a:extLst>
              <a:ext uri="{FF2B5EF4-FFF2-40B4-BE49-F238E27FC236}">
                <a16:creationId xmlns:a16="http://schemas.microsoft.com/office/drawing/2014/main" id="{17483B67-2E8B-4C4C-8513-34B02D70B222}"/>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17006" b="16757"/>
          <a:stretch/>
        </p:blipFill>
        <p:spPr bwMode="auto">
          <a:xfrm>
            <a:off x="336461" y="1330368"/>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39" name="Picture 2" descr="5 ft x 3 ft 150 x 90 cm-DRAPEAU BELGE Belgique 100% Polyester ...">
            <a:extLst>
              <a:ext uri="{FF2B5EF4-FFF2-40B4-BE49-F238E27FC236}">
                <a16:creationId xmlns:a16="http://schemas.microsoft.com/office/drawing/2014/main" id="{C0ACF373-948B-48E1-92B4-CC3050E24181}"/>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3973"/>
          <a:stretch/>
        </p:blipFill>
        <p:spPr bwMode="auto">
          <a:xfrm>
            <a:off x="5808970" y="1330368"/>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0" name="Picture 2 - 1" descr="Drapeau des Pays-Bas — Wikipédia">
            <a:extLst>
              <a:ext uri="{FF2B5EF4-FFF2-40B4-BE49-F238E27FC236}">
                <a16:creationId xmlns:a16="http://schemas.microsoft.com/office/drawing/2014/main" id="{06908B59-C0C0-43FB-8D42-770FD9285FA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602647" y="1330368"/>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41" name="Picture 2 - 2" descr="Drapeau du Luxembourg">
            <a:extLst>
              <a:ext uri="{FF2B5EF4-FFF2-40B4-BE49-F238E27FC236}">
                <a16:creationId xmlns:a16="http://schemas.microsoft.com/office/drawing/2014/main" id="{B5062A96-9721-4E85-B232-F979319441C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015293" y="1330368"/>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45" name="Rectangle 84">
            <a:extLst>
              <a:ext uri="{FF2B5EF4-FFF2-40B4-BE49-F238E27FC236}">
                <a16:creationId xmlns:a16="http://schemas.microsoft.com/office/drawing/2014/main" id="{B9E71345-06FC-400C-B353-9E3647CF9667}"/>
              </a:ext>
            </a:extLst>
          </p:cNvPr>
          <p:cNvSpPr/>
          <p:nvPr/>
        </p:nvSpPr>
        <p:spPr bwMode="auto">
          <a:xfrm>
            <a:off x="4150703" y="4742521"/>
            <a:ext cx="1585526" cy="259809"/>
          </a:xfrm>
          <a:prstGeom prst="rect">
            <a:avLst/>
          </a:prstGeom>
          <a:solidFill>
            <a:schemeClr val="bg1"/>
          </a:solidFill>
        </p:spPr>
        <p:txBody>
          <a:bodyPr wrap="square" rtlCol="0">
            <a:noAutofit/>
          </a:bodyPr>
          <a:lstStyle/>
          <a:p>
            <a:pPr algn="ctr"/>
            <a:r>
              <a:rPr lang="en-GB" sz="1100">
                <a:latin typeface="Trebuchet MS" panose="020B0603020202020204" pitchFamily="34" charset="0"/>
              </a:rPr>
              <a:t>D&amp;B partnership</a:t>
            </a:r>
          </a:p>
        </p:txBody>
      </p:sp>
    </p:spTree>
    <p:extLst>
      <p:ext uri="{BB962C8B-B14F-4D97-AF65-F5344CB8AC3E}">
        <p14:creationId xmlns:p14="http://schemas.microsoft.com/office/powerpoint/2010/main" val="3310560167"/>
      </p:ext>
    </p:extLst>
  </p:cSld>
  <p:clrMapOvr>
    <a:masterClrMapping/>
  </p:clrMapOvr>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t 15" hidden="1">
            <a:extLst>
              <a:ext uri="{FF2B5EF4-FFF2-40B4-BE49-F238E27FC236}">
                <a16:creationId xmlns:a16="http://schemas.microsoft.com/office/drawing/2014/main" id="{68A01562-D3FB-4847-9E12-F9246CE9B8EE}"/>
              </a:ext>
            </a:extLst>
          </p:cNvPr>
          <p:cNvGraphicFramePr>
            <a:graphicFrameLocks noChangeAspect="1"/>
          </p:cNvGraphicFramePr>
          <p:nvPr>
            <p:custDataLst>
              <p:tags r:id="rId1"/>
            </p:custDataLst>
            <p:extLst>
              <p:ext uri="{D42A27DB-BD31-4B8C-83A1-F6EECF244321}">
                <p14:modId xmlns:p14="http://schemas.microsoft.com/office/powerpoint/2010/main" val="3787254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16" name="Objet 15" hidden="1">
                        <a:extLst>
                          <a:ext uri="{FF2B5EF4-FFF2-40B4-BE49-F238E27FC236}">
                            <a16:creationId xmlns:a16="http://schemas.microsoft.com/office/drawing/2014/main" id="{68A01562-D3FB-4847-9E12-F9246CE9B8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29740822-2334-4A1F-9668-C865153B707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6EB17B4B-0D19-44DF-A703-BDA07818B1EB}"/>
              </a:ext>
            </a:extLst>
          </p:cNvPr>
          <p:cNvSpPr>
            <a:spLocks noGrp="1"/>
          </p:cNvSpPr>
          <p:nvPr>
            <p:ph type="title"/>
          </p:nvPr>
        </p:nvSpPr>
        <p:spPr>
          <a:xfrm>
            <a:off x="165599" y="147600"/>
            <a:ext cx="8388155" cy="684000"/>
          </a:xfrm>
          <a:noFill/>
          <a:ln>
            <a:noFill/>
          </a:ln>
        </p:spPr>
        <p:txBody>
          <a:bodyPr/>
          <a:lstStyle/>
          <a:p>
            <a:r>
              <a:rPr lang="en-GB">
                <a:latin typeface="Trebuchet MS" panose="020B0603020202020204" pitchFamily="34" charset="0"/>
              </a:rPr>
              <a:t>Despite </a:t>
            </a:r>
            <a:r>
              <a:rPr lang="en-GB">
                <a:solidFill>
                  <a:schemeClr val="tx2"/>
                </a:solidFill>
                <a:latin typeface="Trebuchet MS" panose="020B0603020202020204" pitchFamily="34" charset="0"/>
              </a:rPr>
              <a:t>D&amp;B Credit has the highest booking </a:t>
            </a:r>
            <a:r>
              <a:rPr lang="en-GB">
                <a:latin typeface="Trebuchet MS" panose="020B0603020202020204" pitchFamily="34" charset="0"/>
              </a:rPr>
              <a:t>of the group, </a:t>
            </a:r>
            <a:r>
              <a:rPr lang="en-GB" err="1">
                <a:latin typeface="Trebuchet MS" panose="020B0603020202020204" pitchFamily="34" charset="0"/>
              </a:rPr>
              <a:t>Altares</a:t>
            </a:r>
            <a:r>
              <a:rPr lang="en-GB">
                <a:latin typeface="Trebuchet MS" panose="020B0603020202020204" pitchFamily="34" charset="0"/>
              </a:rPr>
              <a:t> has succeeded in </a:t>
            </a:r>
            <a:r>
              <a:rPr lang="en-GB">
                <a:solidFill>
                  <a:schemeClr val="tx2"/>
                </a:solidFill>
                <a:latin typeface="Trebuchet MS" panose="020B0603020202020204" pitchFamily="34" charset="0"/>
              </a:rPr>
              <a:t>developing its proprietary activity in Benelux</a:t>
            </a:r>
            <a:r>
              <a:rPr lang="en-GB">
                <a:latin typeface="Trebuchet MS" panose="020B0603020202020204" pitchFamily="34" charset="0"/>
              </a:rPr>
              <a:t> thanks to efficient </a:t>
            </a:r>
            <a:r>
              <a:rPr lang="en-GB">
                <a:solidFill>
                  <a:schemeClr val="tx2"/>
                </a:solidFill>
                <a:latin typeface="Trebuchet MS" panose="020B0603020202020204" pitchFamily="34" charset="0"/>
              </a:rPr>
              <a:t>integration</a:t>
            </a:r>
            <a:r>
              <a:rPr lang="en-GB">
                <a:latin typeface="Trebuchet MS" panose="020B0603020202020204" pitchFamily="34" charset="0"/>
              </a:rPr>
              <a:t> of the two geographies at a group level</a:t>
            </a:r>
            <a:endParaRPr lang="en-GB">
              <a:solidFill>
                <a:schemeClr val="tx2"/>
              </a:solidFill>
              <a:latin typeface="Trebuchet MS" panose="020B0603020202020204" pitchFamily="34" charset="0"/>
            </a:endParaRPr>
          </a:p>
        </p:txBody>
      </p:sp>
      <p:sp>
        <p:nvSpPr>
          <p:cNvPr id="3" name="Text Placeholder 2">
            <a:extLst>
              <a:ext uri="{FF2B5EF4-FFF2-40B4-BE49-F238E27FC236}">
                <a16:creationId xmlns:a16="http://schemas.microsoft.com/office/drawing/2014/main" id="{723315E1-5AE5-48C1-A11B-8649A58B6F87}"/>
              </a:ext>
            </a:extLst>
          </p:cNvPr>
          <p:cNvSpPr>
            <a:spLocks noGrp="1"/>
          </p:cNvSpPr>
          <p:nvPr>
            <p:ph type="body" sz="quarter" idx="10"/>
          </p:nvPr>
        </p:nvSpPr>
        <p:spPr/>
        <p:txBody>
          <a:bodyPr/>
          <a:lstStyle/>
          <a:p>
            <a:r>
              <a:rPr lang="en-GB"/>
              <a:t>Sources: eleven research &amp; analysis, company data</a:t>
            </a:r>
          </a:p>
          <a:p>
            <a:r>
              <a:rPr lang="en-GB"/>
              <a:t>* </a:t>
            </a:r>
            <a:r>
              <a:rPr lang="en-GB" b="1"/>
              <a:t>D&amp;B I: </a:t>
            </a:r>
            <a:r>
              <a:rPr lang="en-GB"/>
              <a:t>contains all indirect incomes from D&amp;B partnership, </a:t>
            </a:r>
            <a:r>
              <a:rPr lang="en-GB" b="1"/>
              <a:t>Other: </a:t>
            </a:r>
            <a:r>
              <a:rPr lang="en-GB"/>
              <a:t>booking coming from other tailored services and </a:t>
            </a:r>
            <a:r>
              <a:rPr lang="en-GB" err="1"/>
              <a:t>datascience</a:t>
            </a:r>
            <a:endParaRPr lang="en-GB" b="1"/>
          </a:p>
          <a:p>
            <a:endParaRPr lang="en-GB">
              <a:highlight>
                <a:srgbClr val="FFFF00"/>
              </a:highlight>
            </a:endParaRPr>
          </a:p>
        </p:txBody>
      </p:sp>
      <p:cxnSp>
        <p:nvCxnSpPr>
          <p:cNvPr id="148" name="Connecteur droit 208">
            <a:extLst>
              <a:ext uri="{FF2B5EF4-FFF2-40B4-BE49-F238E27FC236}">
                <a16:creationId xmlns:a16="http://schemas.microsoft.com/office/drawing/2014/main" id="{1E66E1A4-E5B2-42E1-AF6E-7BBC70D83A31}"/>
              </a:ext>
            </a:extLst>
          </p:cNvPr>
          <p:cNvCxnSpPr>
            <a:cxnSpLocks/>
          </p:cNvCxnSpPr>
          <p:nvPr/>
        </p:nvCxnSpPr>
        <p:spPr bwMode="auto">
          <a:xfrm>
            <a:off x="444580" y="1063329"/>
            <a:ext cx="43165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50" name="Rectangle 84">
            <a:extLst>
              <a:ext uri="{FF2B5EF4-FFF2-40B4-BE49-F238E27FC236}">
                <a16:creationId xmlns:a16="http://schemas.microsoft.com/office/drawing/2014/main" id="{4419582F-3374-424F-93D6-8D01FF1BC35E}"/>
              </a:ext>
            </a:extLst>
          </p:cNvPr>
          <p:cNvSpPr/>
          <p:nvPr/>
        </p:nvSpPr>
        <p:spPr bwMode="auto">
          <a:xfrm>
            <a:off x="1294480" y="941682"/>
            <a:ext cx="2616733" cy="243294"/>
          </a:xfrm>
          <a:prstGeom prst="rect">
            <a:avLst/>
          </a:prstGeom>
          <a:solidFill>
            <a:schemeClr val="bg1"/>
          </a:solidFill>
        </p:spPr>
        <p:txBody>
          <a:bodyPr wrap="square" rtlCol="0">
            <a:noAutofit/>
          </a:bodyPr>
          <a:lstStyle/>
          <a:p>
            <a:pPr algn="ctr"/>
            <a:r>
              <a:rPr lang="en-GB" sz="1100" err="1">
                <a:latin typeface="+mj-lt"/>
              </a:rPr>
              <a:t>Altares</a:t>
            </a:r>
            <a:r>
              <a:rPr lang="en-GB" sz="1100">
                <a:latin typeface="+mj-lt"/>
              </a:rPr>
              <a:t>’ booking split per geography per product, in €m (2019)</a:t>
            </a:r>
          </a:p>
        </p:txBody>
      </p:sp>
      <p:sp>
        <p:nvSpPr>
          <p:cNvPr id="43" name="Rectangle 84">
            <a:extLst>
              <a:ext uri="{FF2B5EF4-FFF2-40B4-BE49-F238E27FC236}">
                <a16:creationId xmlns:a16="http://schemas.microsoft.com/office/drawing/2014/main" id="{64BE7AC9-8330-4CE6-A709-685DE3E1F37A}"/>
              </a:ext>
            </a:extLst>
          </p:cNvPr>
          <p:cNvSpPr/>
          <p:nvPr/>
        </p:nvSpPr>
        <p:spPr bwMode="auto">
          <a:xfrm>
            <a:off x="648188" y="5635286"/>
            <a:ext cx="1415765" cy="263061"/>
          </a:xfrm>
          <a:prstGeom prst="rect">
            <a:avLst/>
          </a:prstGeom>
          <a:noFill/>
        </p:spPr>
        <p:txBody>
          <a:bodyPr wrap="square" rtlCol="0" anchor="ctr">
            <a:noAutofit/>
          </a:bodyPr>
          <a:lstStyle/>
          <a:p>
            <a:pPr algn="ctr"/>
            <a:r>
              <a:rPr lang="en-GB" sz="1100" i="1">
                <a:latin typeface="+mj-lt"/>
              </a:rPr>
              <a:t>France </a:t>
            </a:r>
          </a:p>
          <a:p>
            <a:pPr algn="ctr"/>
            <a:r>
              <a:rPr lang="en-GB" sz="1100" i="1">
                <a:latin typeface="+mj-lt"/>
              </a:rPr>
              <a:t>Total ~ 55m€</a:t>
            </a:r>
          </a:p>
        </p:txBody>
      </p:sp>
      <p:pic>
        <p:nvPicPr>
          <p:cNvPr id="5" name="Picture 2" descr="Drapeau France">
            <a:extLst>
              <a:ext uri="{FF2B5EF4-FFF2-40B4-BE49-F238E27FC236}">
                <a16:creationId xmlns:a16="http://schemas.microsoft.com/office/drawing/2014/main" id="{C04394C1-9CEF-4DE9-89A3-F89278EA2C7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7006" b="16757"/>
          <a:stretch/>
        </p:blipFill>
        <p:spPr bwMode="auto">
          <a:xfrm>
            <a:off x="1163027" y="5987177"/>
            <a:ext cx="407919" cy="245885"/>
          </a:xfrm>
          <a:prstGeom prst="roundRect">
            <a:avLst/>
          </a:prstGeom>
          <a:noFill/>
          <a:extLst>
            <a:ext uri="{909E8E84-426E-40DD-AFC4-6F175D3DCCD1}">
              <a14:hiddenFill xmlns:a14="http://schemas.microsoft.com/office/drawing/2010/main">
                <a:solidFill>
                  <a:srgbClr val="FFFFFF"/>
                </a:solidFill>
              </a14:hiddenFill>
            </a:ext>
          </a:extLst>
        </p:spPr>
      </p:pic>
      <p:grpSp>
        <p:nvGrpSpPr>
          <p:cNvPr id="19" name="Groupe 18">
            <a:extLst>
              <a:ext uri="{FF2B5EF4-FFF2-40B4-BE49-F238E27FC236}">
                <a16:creationId xmlns:a16="http://schemas.microsoft.com/office/drawing/2014/main" id="{E9B9CADB-C6D4-431F-B130-152DDC6C5226}"/>
              </a:ext>
            </a:extLst>
          </p:cNvPr>
          <p:cNvGrpSpPr/>
          <p:nvPr/>
        </p:nvGrpSpPr>
        <p:grpSpPr>
          <a:xfrm>
            <a:off x="3073928" y="5663508"/>
            <a:ext cx="1557782" cy="597776"/>
            <a:chOff x="586597" y="5663508"/>
            <a:chExt cx="1557782" cy="597776"/>
          </a:xfrm>
        </p:grpSpPr>
        <p:sp>
          <p:nvSpPr>
            <p:cNvPr id="44" name="Rectangle 84">
              <a:extLst>
                <a:ext uri="{FF2B5EF4-FFF2-40B4-BE49-F238E27FC236}">
                  <a16:creationId xmlns:a16="http://schemas.microsoft.com/office/drawing/2014/main" id="{FE004F25-AEC9-4EAE-BE03-2E19BEDBA7BB}"/>
                </a:ext>
              </a:extLst>
            </p:cNvPr>
            <p:cNvSpPr/>
            <p:nvPr/>
          </p:nvSpPr>
          <p:spPr bwMode="auto">
            <a:xfrm>
              <a:off x="586597" y="5663508"/>
              <a:ext cx="1415765" cy="263061"/>
            </a:xfrm>
            <a:prstGeom prst="rect">
              <a:avLst/>
            </a:prstGeom>
            <a:noFill/>
          </p:spPr>
          <p:txBody>
            <a:bodyPr wrap="square" rtlCol="0" anchor="ctr">
              <a:noAutofit/>
            </a:bodyPr>
            <a:lstStyle/>
            <a:p>
              <a:pPr algn="ctr"/>
              <a:r>
                <a:rPr lang="en-GB" sz="1100" i="1">
                  <a:latin typeface="+mj-lt"/>
                </a:rPr>
                <a:t>Benelux</a:t>
              </a:r>
            </a:p>
            <a:p>
              <a:pPr algn="ctr"/>
              <a:r>
                <a:rPr lang="en-GB" sz="1100" i="1">
                  <a:latin typeface="+mj-lt"/>
                </a:rPr>
                <a:t>Total ~ 54m€</a:t>
              </a:r>
            </a:p>
            <a:p>
              <a:pPr algn="ctr"/>
              <a:endParaRPr lang="en-GB" sz="1100" i="1">
                <a:latin typeface="+mj-lt"/>
              </a:endParaRPr>
            </a:p>
          </p:txBody>
        </p:sp>
        <p:pic>
          <p:nvPicPr>
            <p:cNvPr id="9" name="Picture 2 - 1" descr="Drapeau des Pays-Bas — Wikipédia">
              <a:extLst>
                <a:ext uri="{FF2B5EF4-FFF2-40B4-BE49-F238E27FC236}">
                  <a16:creationId xmlns:a16="http://schemas.microsoft.com/office/drawing/2014/main" id="{E9F6C10D-5D05-4452-B9EE-D016932F7EC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36461" y="6015399"/>
              <a:ext cx="407918"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10" name="Picture 2" descr="5 ft x 3 ft 150 x 90 cm-DRAPEAU BELGE Belgique 100% Polyester ...">
              <a:extLst>
                <a:ext uri="{FF2B5EF4-FFF2-40B4-BE49-F238E27FC236}">
                  <a16:creationId xmlns:a16="http://schemas.microsoft.com/office/drawing/2014/main" id="{899E833E-6896-4765-A123-1FA4DE2D30AA}"/>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1161529" y="6015399"/>
              <a:ext cx="407923"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11" name="Picture 10" descr="A picture containing bird&#10;&#10;Description automatically generated">
              <a:extLst>
                <a:ext uri="{FF2B5EF4-FFF2-40B4-BE49-F238E27FC236}">
                  <a16:creationId xmlns:a16="http://schemas.microsoft.com/office/drawing/2014/main" id="{34405026-F55E-49C9-885D-052A7BD0C4C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6597" y="6015646"/>
              <a:ext cx="407923" cy="245391"/>
            </a:xfrm>
            <a:prstGeom prst="roundRect">
              <a:avLst/>
            </a:prstGeom>
            <a:noFill/>
          </p:spPr>
        </p:pic>
      </p:grpSp>
      <p:graphicFrame>
        <p:nvGraphicFramePr>
          <p:cNvPr id="18" name="Chart 17">
            <a:extLst>
              <a:ext uri="{FF2B5EF4-FFF2-40B4-BE49-F238E27FC236}">
                <a16:creationId xmlns:a16="http://schemas.microsoft.com/office/drawing/2014/main" id="{12454C16-4629-404E-B240-983BE8FC04B3}"/>
              </a:ext>
            </a:extLst>
          </p:cNvPr>
          <p:cNvGraphicFramePr/>
          <p:nvPr>
            <p:extLst>
              <p:ext uri="{D42A27DB-BD31-4B8C-83A1-F6EECF244321}">
                <p14:modId xmlns:p14="http://schemas.microsoft.com/office/powerpoint/2010/main" val="2224288728"/>
              </p:ext>
            </p:extLst>
          </p:nvPr>
        </p:nvGraphicFramePr>
        <p:xfrm>
          <a:off x="384975" y="1648117"/>
          <a:ext cx="4411776" cy="3897807"/>
        </p:xfrm>
        <a:graphic>
          <a:graphicData uri="http://schemas.openxmlformats.org/drawingml/2006/chart">
            <c:chart xmlns:c="http://schemas.openxmlformats.org/drawingml/2006/chart" xmlns:r="http://schemas.openxmlformats.org/officeDocument/2006/relationships" r:id="rId11"/>
          </a:graphicData>
        </a:graphic>
      </p:graphicFrame>
      <p:grpSp>
        <p:nvGrpSpPr>
          <p:cNvPr id="26" name="Group 25">
            <a:extLst>
              <a:ext uri="{FF2B5EF4-FFF2-40B4-BE49-F238E27FC236}">
                <a16:creationId xmlns:a16="http://schemas.microsoft.com/office/drawing/2014/main" id="{1FEF349C-77A6-43AA-AC8F-4A198E937476}"/>
              </a:ext>
            </a:extLst>
          </p:cNvPr>
          <p:cNvGrpSpPr/>
          <p:nvPr/>
        </p:nvGrpSpPr>
        <p:grpSpPr>
          <a:xfrm>
            <a:off x="5001849" y="1184976"/>
            <a:ext cx="123183" cy="5009758"/>
            <a:chOff x="4881073" y="1185385"/>
            <a:chExt cx="123183" cy="5009758"/>
          </a:xfrm>
        </p:grpSpPr>
        <p:sp>
          <p:nvSpPr>
            <p:cNvPr id="46" name="Triangle isocèle 45">
              <a:extLst>
                <a:ext uri="{FF2B5EF4-FFF2-40B4-BE49-F238E27FC236}">
                  <a16:creationId xmlns:a16="http://schemas.microsoft.com/office/drawing/2014/main" id="{5CE6F3E9-3644-4F5A-8A9D-E886FB62D360}"/>
                </a:ext>
              </a:extLst>
            </p:cNvPr>
            <p:cNvSpPr/>
            <p:nvPr/>
          </p:nvSpPr>
          <p:spPr bwMode="auto">
            <a:xfrm rot="5400000">
              <a:off x="4669713" y="3478985"/>
              <a:ext cx="545903" cy="12318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47" name="Connecteur droit 46">
              <a:extLst>
                <a:ext uri="{FF2B5EF4-FFF2-40B4-BE49-F238E27FC236}">
                  <a16:creationId xmlns:a16="http://schemas.microsoft.com/office/drawing/2014/main" id="{2BC5CCB0-1C5D-4639-A5E7-40EAC03D9932}"/>
                </a:ext>
              </a:extLst>
            </p:cNvPr>
            <p:cNvCxnSpPr>
              <a:cxnSpLocks/>
            </p:cNvCxnSpPr>
            <p:nvPr/>
          </p:nvCxnSpPr>
          <p:spPr bwMode="auto">
            <a:xfrm>
              <a:off x="4881073" y="1185385"/>
              <a:ext cx="0" cy="5009758"/>
            </a:xfrm>
            <a:prstGeom prst="line">
              <a:avLst/>
            </a:prstGeom>
            <a:solidFill>
              <a:schemeClr val="accent1"/>
            </a:solidFill>
            <a:ln w="9525" cap="flat" cmpd="sng" algn="ctr">
              <a:solidFill>
                <a:schemeClr val="tx2"/>
              </a:solidFill>
              <a:prstDash val="solid"/>
              <a:round/>
              <a:headEnd type="none" w="med" len="med"/>
              <a:tailEnd type="none" w="med" len="med"/>
            </a:ln>
            <a:effectLst/>
          </p:spPr>
        </p:cxnSp>
      </p:grpSp>
      <p:sp>
        <p:nvSpPr>
          <p:cNvPr id="38" name="France" descr="{&quot;Key&quot;:&quot;france&quot;,&quot;Name&quot;:&quot;France&quot;,&quot;Value&quot;:1.0,&quot;Formula&quot;:&quot;&quot;,&quot;Text&quot;:&quot;&quot;,&quot;OfficeApplication&quot;:1,&quot;HasValue&quot;:true}">
            <a:extLst>
              <a:ext uri="{FF2B5EF4-FFF2-40B4-BE49-F238E27FC236}">
                <a16:creationId xmlns:a16="http://schemas.microsoft.com/office/drawing/2014/main" id="{FA04BB3E-857A-4A65-9D81-5022729BFE0D}"/>
              </a:ext>
            </a:extLst>
          </p:cNvPr>
          <p:cNvSpPr>
            <a:spLocks/>
          </p:cNvSpPr>
          <p:nvPr/>
        </p:nvSpPr>
        <p:spPr bwMode="auto">
          <a:xfrm rot="120000">
            <a:off x="5326714" y="2307318"/>
            <a:ext cx="3337883" cy="3359606"/>
          </a:xfrm>
          <a:custGeom>
            <a:avLst/>
            <a:gdLst>
              <a:gd name="T0" fmla="*/ 395 w 461"/>
              <a:gd name="T1" fmla="*/ 87 h 464"/>
              <a:gd name="T2" fmla="*/ 358 w 461"/>
              <a:gd name="T3" fmla="*/ 80 h 464"/>
              <a:gd name="T4" fmla="*/ 345 w 461"/>
              <a:gd name="T5" fmla="*/ 55 h 464"/>
              <a:gd name="T6" fmla="*/ 323 w 461"/>
              <a:gd name="T7" fmla="*/ 51 h 464"/>
              <a:gd name="T8" fmla="*/ 293 w 461"/>
              <a:gd name="T9" fmla="*/ 32 h 464"/>
              <a:gd name="T10" fmla="*/ 271 w 461"/>
              <a:gd name="T11" fmla="*/ 0 h 464"/>
              <a:gd name="T12" fmla="*/ 230 w 461"/>
              <a:gd name="T13" fmla="*/ 44 h 464"/>
              <a:gd name="T14" fmla="*/ 192 w 461"/>
              <a:gd name="T15" fmla="*/ 72 h 464"/>
              <a:gd name="T16" fmla="*/ 192 w 461"/>
              <a:gd name="T17" fmla="*/ 92 h 464"/>
              <a:gd name="T18" fmla="*/ 157 w 461"/>
              <a:gd name="T19" fmla="*/ 102 h 464"/>
              <a:gd name="T20" fmla="*/ 127 w 461"/>
              <a:gd name="T21" fmla="*/ 82 h 464"/>
              <a:gd name="T22" fmla="*/ 108 w 461"/>
              <a:gd name="T23" fmla="*/ 98 h 464"/>
              <a:gd name="T24" fmla="*/ 122 w 461"/>
              <a:gd name="T25" fmla="*/ 137 h 464"/>
              <a:gd name="T26" fmla="*/ 101 w 461"/>
              <a:gd name="T27" fmla="*/ 137 h 464"/>
              <a:gd name="T28" fmla="*/ 51 w 461"/>
              <a:gd name="T29" fmla="*/ 129 h 464"/>
              <a:gd name="T30" fmla="*/ 28 w 461"/>
              <a:gd name="T31" fmla="*/ 137 h 464"/>
              <a:gd name="T32" fmla="*/ 13 w 461"/>
              <a:gd name="T33" fmla="*/ 153 h 464"/>
              <a:gd name="T34" fmla="*/ 12 w 461"/>
              <a:gd name="T35" fmla="*/ 164 h 464"/>
              <a:gd name="T36" fmla="*/ 15 w 461"/>
              <a:gd name="T37" fmla="*/ 177 h 464"/>
              <a:gd name="T38" fmla="*/ 50 w 461"/>
              <a:gd name="T39" fmla="*/ 188 h 464"/>
              <a:gd name="T40" fmla="*/ 74 w 461"/>
              <a:gd name="T41" fmla="*/ 197 h 464"/>
              <a:gd name="T42" fmla="*/ 84 w 461"/>
              <a:gd name="T43" fmla="*/ 211 h 464"/>
              <a:gd name="T44" fmla="*/ 98 w 461"/>
              <a:gd name="T45" fmla="*/ 221 h 464"/>
              <a:gd name="T46" fmla="*/ 102 w 461"/>
              <a:gd name="T47" fmla="*/ 241 h 464"/>
              <a:gd name="T48" fmla="*/ 134 w 461"/>
              <a:gd name="T49" fmla="*/ 265 h 464"/>
              <a:gd name="T50" fmla="*/ 134 w 461"/>
              <a:gd name="T51" fmla="*/ 298 h 464"/>
              <a:gd name="T52" fmla="*/ 136 w 461"/>
              <a:gd name="T53" fmla="*/ 304 h 464"/>
              <a:gd name="T54" fmla="*/ 134 w 461"/>
              <a:gd name="T55" fmla="*/ 344 h 464"/>
              <a:gd name="T56" fmla="*/ 123 w 461"/>
              <a:gd name="T57" fmla="*/ 402 h 464"/>
              <a:gd name="T58" fmla="*/ 122 w 461"/>
              <a:gd name="T59" fmla="*/ 428 h 464"/>
              <a:gd name="T60" fmla="*/ 178 w 461"/>
              <a:gd name="T61" fmla="*/ 449 h 464"/>
              <a:gd name="T62" fmla="*/ 211 w 461"/>
              <a:gd name="T63" fmla="*/ 446 h 464"/>
              <a:gd name="T64" fmla="*/ 245 w 461"/>
              <a:gd name="T65" fmla="*/ 464 h 464"/>
              <a:gd name="T66" fmla="*/ 284 w 461"/>
              <a:gd name="T67" fmla="*/ 442 h 464"/>
              <a:gd name="T68" fmla="*/ 307 w 461"/>
              <a:gd name="T69" fmla="*/ 413 h 464"/>
              <a:gd name="T70" fmla="*/ 334 w 461"/>
              <a:gd name="T71" fmla="*/ 409 h 464"/>
              <a:gd name="T72" fmla="*/ 349 w 461"/>
              <a:gd name="T73" fmla="*/ 413 h 464"/>
              <a:gd name="T74" fmla="*/ 368 w 461"/>
              <a:gd name="T75" fmla="*/ 419 h 464"/>
              <a:gd name="T76" fmla="*/ 410 w 461"/>
              <a:gd name="T77" fmla="*/ 420 h 464"/>
              <a:gd name="T78" fmla="*/ 429 w 461"/>
              <a:gd name="T79" fmla="*/ 401 h 464"/>
              <a:gd name="T80" fmla="*/ 445 w 461"/>
              <a:gd name="T81" fmla="*/ 383 h 464"/>
              <a:gd name="T82" fmla="*/ 419 w 461"/>
              <a:gd name="T83" fmla="*/ 357 h 464"/>
              <a:gd name="T84" fmla="*/ 413 w 461"/>
              <a:gd name="T85" fmla="*/ 334 h 464"/>
              <a:gd name="T86" fmla="*/ 424 w 461"/>
              <a:gd name="T87" fmla="*/ 310 h 464"/>
              <a:gd name="T88" fmla="*/ 421 w 461"/>
              <a:gd name="T89" fmla="*/ 278 h 464"/>
              <a:gd name="T90" fmla="*/ 401 w 461"/>
              <a:gd name="T91" fmla="*/ 257 h 464"/>
              <a:gd name="T92" fmla="*/ 390 w 461"/>
              <a:gd name="T93" fmla="*/ 246 h 464"/>
              <a:gd name="T94" fmla="*/ 402 w 461"/>
              <a:gd name="T95" fmla="*/ 229 h 464"/>
              <a:gd name="T96" fmla="*/ 434 w 461"/>
              <a:gd name="T97" fmla="*/ 199 h 464"/>
              <a:gd name="T98" fmla="*/ 441 w 461"/>
              <a:gd name="T99" fmla="*/ 166 h 464"/>
              <a:gd name="T100" fmla="*/ 452 w 461"/>
              <a:gd name="T101" fmla="*/ 115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 h="464">
                <a:moveTo>
                  <a:pt x="425" y="107"/>
                </a:moveTo>
                <a:lnTo>
                  <a:pt x="413" y="106"/>
                </a:lnTo>
                <a:lnTo>
                  <a:pt x="408" y="98"/>
                </a:lnTo>
                <a:lnTo>
                  <a:pt x="404" y="94"/>
                </a:lnTo>
                <a:lnTo>
                  <a:pt x="395" y="87"/>
                </a:lnTo>
                <a:lnTo>
                  <a:pt x="388" y="87"/>
                </a:lnTo>
                <a:lnTo>
                  <a:pt x="377" y="84"/>
                </a:lnTo>
                <a:lnTo>
                  <a:pt x="371" y="85"/>
                </a:lnTo>
                <a:lnTo>
                  <a:pt x="363" y="84"/>
                </a:lnTo>
                <a:lnTo>
                  <a:pt x="358" y="80"/>
                </a:lnTo>
                <a:lnTo>
                  <a:pt x="350" y="75"/>
                </a:lnTo>
                <a:lnTo>
                  <a:pt x="352" y="71"/>
                </a:lnTo>
                <a:lnTo>
                  <a:pt x="349" y="70"/>
                </a:lnTo>
                <a:lnTo>
                  <a:pt x="349" y="55"/>
                </a:lnTo>
                <a:lnTo>
                  <a:pt x="345" y="55"/>
                </a:lnTo>
                <a:lnTo>
                  <a:pt x="340" y="60"/>
                </a:lnTo>
                <a:lnTo>
                  <a:pt x="338" y="64"/>
                </a:lnTo>
                <a:lnTo>
                  <a:pt x="331" y="64"/>
                </a:lnTo>
                <a:lnTo>
                  <a:pt x="325" y="62"/>
                </a:lnTo>
                <a:lnTo>
                  <a:pt x="323" y="51"/>
                </a:lnTo>
                <a:lnTo>
                  <a:pt x="322" y="46"/>
                </a:lnTo>
                <a:lnTo>
                  <a:pt x="317" y="42"/>
                </a:lnTo>
                <a:lnTo>
                  <a:pt x="310" y="39"/>
                </a:lnTo>
                <a:lnTo>
                  <a:pt x="300" y="34"/>
                </a:lnTo>
                <a:lnTo>
                  <a:pt x="293" y="32"/>
                </a:lnTo>
                <a:lnTo>
                  <a:pt x="288" y="19"/>
                </a:lnTo>
                <a:lnTo>
                  <a:pt x="280" y="21"/>
                </a:lnTo>
                <a:lnTo>
                  <a:pt x="272" y="17"/>
                </a:lnTo>
                <a:lnTo>
                  <a:pt x="271" y="11"/>
                </a:lnTo>
                <a:lnTo>
                  <a:pt x="271" y="0"/>
                </a:lnTo>
                <a:lnTo>
                  <a:pt x="268" y="2"/>
                </a:lnTo>
                <a:lnTo>
                  <a:pt x="253" y="4"/>
                </a:lnTo>
                <a:lnTo>
                  <a:pt x="236" y="11"/>
                </a:lnTo>
                <a:lnTo>
                  <a:pt x="232" y="24"/>
                </a:lnTo>
                <a:lnTo>
                  <a:pt x="230" y="44"/>
                </a:lnTo>
                <a:lnTo>
                  <a:pt x="232" y="46"/>
                </a:lnTo>
                <a:lnTo>
                  <a:pt x="231" y="51"/>
                </a:lnTo>
                <a:lnTo>
                  <a:pt x="223" y="59"/>
                </a:lnTo>
                <a:lnTo>
                  <a:pt x="214" y="65"/>
                </a:lnTo>
                <a:lnTo>
                  <a:pt x="192" y="72"/>
                </a:lnTo>
                <a:lnTo>
                  <a:pt x="182" y="79"/>
                </a:lnTo>
                <a:lnTo>
                  <a:pt x="178" y="87"/>
                </a:lnTo>
                <a:lnTo>
                  <a:pt x="178" y="91"/>
                </a:lnTo>
                <a:lnTo>
                  <a:pt x="188" y="91"/>
                </a:lnTo>
                <a:lnTo>
                  <a:pt x="192" y="92"/>
                </a:lnTo>
                <a:lnTo>
                  <a:pt x="191" y="94"/>
                </a:lnTo>
                <a:lnTo>
                  <a:pt x="177" y="96"/>
                </a:lnTo>
                <a:lnTo>
                  <a:pt x="170" y="101"/>
                </a:lnTo>
                <a:lnTo>
                  <a:pt x="165" y="102"/>
                </a:lnTo>
                <a:lnTo>
                  <a:pt x="157" y="102"/>
                </a:lnTo>
                <a:lnTo>
                  <a:pt x="148" y="99"/>
                </a:lnTo>
                <a:lnTo>
                  <a:pt x="137" y="98"/>
                </a:lnTo>
                <a:lnTo>
                  <a:pt x="134" y="98"/>
                </a:lnTo>
                <a:lnTo>
                  <a:pt x="126" y="87"/>
                </a:lnTo>
                <a:lnTo>
                  <a:pt x="127" y="82"/>
                </a:lnTo>
                <a:lnTo>
                  <a:pt x="124" y="81"/>
                </a:lnTo>
                <a:lnTo>
                  <a:pt x="111" y="82"/>
                </a:lnTo>
                <a:lnTo>
                  <a:pt x="104" y="80"/>
                </a:lnTo>
                <a:lnTo>
                  <a:pt x="105" y="93"/>
                </a:lnTo>
                <a:lnTo>
                  <a:pt x="108" y="98"/>
                </a:lnTo>
                <a:lnTo>
                  <a:pt x="112" y="102"/>
                </a:lnTo>
                <a:lnTo>
                  <a:pt x="115" y="117"/>
                </a:lnTo>
                <a:lnTo>
                  <a:pt x="115" y="126"/>
                </a:lnTo>
                <a:lnTo>
                  <a:pt x="118" y="133"/>
                </a:lnTo>
                <a:lnTo>
                  <a:pt x="122" y="137"/>
                </a:lnTo>
                <a:lnTo>
                  <a:pt x="119" y="139"/>
                </a:lnTo>
                <a:lnTo>
                  <a:pt x="111" y="140"/>
                </a:lnTo>
                <a:lnTo>
                  <a:pt x="109" y="137"/>
                </a:lnTo>
                <a:lnTo>
                  <a:pt x="107" y="136"/>
                </a:lnTo>
                <a:lnTo>
                  <a:pt x="101" y="137"/>
                </a:lnTo>
                <a:lnTo>
                  <a:pt x="96" y="139"/>
                </a:lnTo>
                <a:lnTo>
                  <a:pt x="90" y="139"/>
                </a:lnTo>
                <a:lnTo>
                  <a:pt x="78" y="142"/>
                </a:lnTo>
                <a:lnTo>
                  <a:pt x="62" y="128"/>
                </a:lnTo>
                <a:lnTo>
                  <a:pt x="51" y="129"/>
                </a:lnTo>
                <a:lnTo>
                  <a:pt x="47" y="128"/>
                </a:lnTo>
                <a:lnTo>
                  <a:pt x="44" y="130"/>
                </a:lnTo>
                <a:lnTo>
                  <a:pt x="43" y="133"/>
                </a:lnTo>
                <a:lnTo>
                  <a:pt x="33" y="137"/>
                </a:lnTo>
                <a:lnTo>
                  <a:pt x="28" y="137"/>
                </a:lnTo>
                <a:lnTo>
                  <a:pt x="17" y="139"/>
                </a:lnTo>
                <a:lnTo>
                  <a:pt x="2" y="145"/>
                </a:lnTo>
                <a:lnTo>
                  <a:pt x="0" y="152"/>
                </a:lnTo>
                <a:lnTo>
                  <a:pt x="0" y="155"/>
                </a:lnTo>
                <a:lnTo>
                  <a:pt x="13" y="153"/>
                </a:lnTo>
                <a:lnTo>
                  <a:pt x="12" y="156"/>
                </a:lnTo>
                <a:lnTo>
                  <a:pt x="9" y="157"/>
                </a:lnTo>
                <a:lnTo>
                  <a:pt x="6" y="161"/>
                </a:lnTo>
                <a:lnTo>
                  <a:pt x="7" y="164"/>
                </a:lnTo>
                <a:lnTo>
                  <a:pt x="12" y="164"/>
                </a:lnTo>
                <a:lnTo>
                  <a:pt x="19" y="163"/>
                </a:lnTo>
                <a:lnTo>
                  <a:pt x="17" y="168"/>
                </a:lnTo>
                <a:lnTo>
                  <a:pt x="3" y="171"/>
                </a:lnTo>
                <a:lnTo>
                  <a:pt x="7" y="174"/>
                </a:lnTo>
                <a:lnTo>
                  <a:pt x="15" y="177"/>
                </a:lnTo>
                <a:lnTo>
                  <a:pt x="15" y="184"/>
                </a:lnTo>
                <a:lnTo>
                  <a:pt x="23" y="185"/>
                </a:lnTo>
                <a:lnTo>
                  <a:pt x="23" y="182"/>
                </a:lnTo>
                <a:lnTo>
                  <a:pt x="29" y="180"/>
                </a:lnTo>
                <a:lnTo>
                  <a:pt x="50" y="188"/>
                </a:lnTo>
                <a:lnTo>
                  <a:pt x="55" y="193"/>
                </a:lnTo>
                <a:lnTo>
                  <a:pt x="57" y="197"/>
                </a:lnTo>
                <a:lnTo>
                  <a:pt x="60" y="198"/>
                </a:lnTo>
                <a:lnTo>
                  <a:pt x="69" y="195"/>
                </a:lnTo>
                <a:lnTo>
                  <a:pt x="74" y="197"/>
                </a:lnTo>
                <a:lnTo>
                  <a:pt x="70" y="199"/>
                </a:lnTo>
                <a:lnTo>
                  <a:pt x="78" y="201"/>
                </a:lnTo>
                <a:lnTo>
                  <a:pt x="82" y="199"/>
                </a:lnTo>
                <a:lnTo>
                  <a:pt x="85" y="200"/>
                </a:lnTo>
                <a:lnTo>
                  <a:pt x="84" y="211"/>
                </a:lnTo>
                <a:lnTo>
                  <a:pt x="92" y="213"/>
                </a:lnTo>
                <a:lnTo>
                  <a:pt x="102" y="211"/>
                </a:lnTo>
                <a:lnTo>
                  <a:pt x="109" y="213"/>
                </a:lnTo>
                <a:lnTo>
                  <a:pt x="98" y="218"/>
                </a:lnTo>
                <a:lnTo>
                  <a:pt x="98" y="221"/>
                </a:lnTo>
                <a:lnTo>
                  <a:pt x="102" y="226"/>
                </a:lnTo>
                <a:lnTo>
                  <a:pt x="100" y="231"/>
                </a:lnTo>
                <a:lnTo>
                  <a:pt x="96" y="228"/>
                </a:lnTo>
                <a:lnTo>
                  <a:pt x="96" y="233"/>
                </a:lnTo>
                <a:lnTo>
                  <a:pt x="102" y="241"/>
                </a:lnTo>
                <a:lnTo>
                  <a:pt x="107" y="247"/>
                </a:lnTo>
                <a:lnTo>
                  <a:pt x="109" y="253"/>
                </a:lnTo>
                <a:lnTo>
                  <a:pt x="116" y="258"/>
                </a:lnTo>
                <a:lnTo>
                  <a:pt x="125" y="263"/>
                </a:lnTo>
                <a:lnTo>
                  <a:pt x="134" y="265"/>
                </a:lnTo>
                <a:lnTo>
                  <a:pt x="133" y="270"/>
                </a:lnTo>
                <a:lnTo>
                  <a:pt x="135" y="276"/>
                </a:lnTo>
                <a:lnTo>
                  <a:pt x="135" y="285"/>
                </a:lnTo>
                <a:lnTo>
                  <a:pt x="132" y="291"/>
                </a:lnTo>
                <a:lnTo>
                  <a:pt x="134" y="298"/>
                </a:lnTo>
                <a:lnTo>
                  <a:pt x="141" y="302"/>
                </a:lnTo>
                <a:lnTo>
                  <a:pt x="146" y="310"/>
                </a:lnTo>
                <a:lnTo>
                  <a:pt x="148" y="318"/>
                </a:lnTo>
                <a:lnTo>
                  <a:pt x="146" y="315"/>
                </a:lnTo>
                <a:lnTo>
                  <a:pt x="136" y="304"/>
                </a:lnTo>
                <a:lnTo>
                  <a:pt x="135" y="310"/>
                </a:lnTo>
                <a:lnTo>
                  <a:pt x="134" y="321"/>
                </a:lnTo>
                <a:lnTo>
                  <a:pt x="132" y="343"/>
                </a:lnTo>
                <a:lnTo>
                  <a:pt x="131" y="349"/>
                </a:lnTo>
                <a:lnTo>
                  <a:pt x="134" y="344"/>
                </a:lnTo>
                <a:lnTo>
                  <a:pt x="136" y="348"/>
                </a:lnTo>
                <a:lnTo>
                  <a:pt x="135" y="350"/>
                </a:lnTo>
                <a:lnTo>
                  <a:pt x="131" y="355"/>
                </a:lnTo>
                <a:lnTo>
                  <a:pt x="131" y="362"/>
                </a:lnTo>
                <a:lnTo>
                  <a:pt x="123" y="402"/>
                </a:lnTo>
                <a:lnTo>
                  <a:pt x="120" y="409"/>
                </a:lnTo>
                <a:lnTo>
                  <a:pt x="113" y="414"/>
                </a:lnTo>
                <a:lnTo>
                  <a:pt x="107" y="413"/>
                </a:lnTo>
                <a:lnTo>
                  <a:pt x="108" y="416"/>
                </a:lnTo>
                <a:lnTo>
                  <a:pt x="122" y="428"/>
                </a:lnTo>
                <a:lnTo>
                  <a:pt x="129" y="431"/>
                </a:lnTo>
                <a:lnTo>
                  <a:pt x="135" y="432"/>
                </a:lnTo>
                <a:lnTo>
                  <a:pt x="143" y="437"/>
                </a:lnTo>
                <a:lnTo>
                  <a:pt x="147" y="441"/>
                </a:lnTo>
                <a:lnTo>
                  <a:pt x="178" y="449"/>
                </a:lnTo>
                <a:lnTo>
                  <a:pt x="188" y="450"/>
                </a:lnTo>
                <a:lnTo>
                  <a:pt x="192" y="449"/>
                </a:lnTo>
                <a:lnTo>
                  <a:pt x="199" y="444"/>
                </a:lnTo>
                <a:lnTo>
                  <a:pt x="205" y="443"/>
                </a:lnTo>
                <a:lnTo>
                  <a:pt x="211" y="446"/>
                </a:lnTo>
                <a:lnTo>
                  <a:pt x="220" y="452"/>
                </a:lnTo>
                <a:lnTo>
                  <a:pt x="230" y="453"/>
                </a:lnTo>
                <a:lnTo>
                  <a:pt x="233" y="456"/>
                </a:lnTo>
                <a:lnTo>
                  <a:pt x="239" y="462"/>
                </a:lnTo>
                <a:lnTo>
                  <a:pt x="245" y="464"/>
                </a:lnTo>
                <a:lnTo>
                  <a:pt x="264" y="462"/>
                </a:lnTo>
                <a:lnTo>
                  <a:pt x="272" y="461"/>
                </a:lnTo>
                <a:lnTo>
                  <a:pt x="281" y="461"/>
                </a:lnTo>
                <a:lnTo>
                  <a:pt x="287" y="461"/>
                </a:lnTo>
                <a:lnTo>
                  <a:pt x="284" y="442"/>
                </a:lnTo>
                <a:lnTo>
                  <a:pt x="282" y="439"/>
                </a:lnTo>
                <a:lnTo>
                  <a:pt x="283" y="429"/>
                </a:lnTo>
                <a:lnTo>
                  <a:pt x="288" y="423"/>
                </a:lnTo>
                <a:lnTo>
                  <a:pt x="301" y="417"/>
                </a:lnTo>
                <a:lnTo>
                  <a:pt x="307" y="413"/>
                </a:lnTo>
                <a:lnTo>
                  <a:pt x="311" y="408"/>
                </a:lnTo>
                <a:lnTo>
                  <a:pt x="317" y="405"/>
                </a:lnTo>
                <a:lnTo>
                  <a:pt x="321" y="405"/>
                </a:lnTo>
                <a:lnTo>
                  <a:pt x="323" y="407"/>
                </a:lnTo>
                <a:lnTo>
                  <a:pt x="334" y="409"/>
                </a:lnTo>
                <a:lnTo>
                  <a:pt x="335" y="410"/>
                </a:lnTo>
                <a:lnTo>
                  <a:pt x="337" y="413"/>
                </a:lnTo>
                <a:lnTo>
                  <a:pt x="340" y="413"/>
                </a:lnTo>
                <a:lnTo>
                  <a:pt x="348" y="415"/>
                </a:lnTo>
                <a:lnTo>
                  <a:pt x="349" y="413"/>
                </a:lnTo>
                <a:lnTo>
                  <a:pt x="356" y="413"/>
                </a:lnTo>
                <a:lnTo>
                  <a:pt x="358" y="414"/>
                </a:lnTo>
                <a:lnTo>
                  <a:pt x="362" y="414"/>
                </a:lnTo>
                <a:lnTo>
                  <a:pt x="367" y="416"/>
                </a:lnTo>
                <a:lnTo>
                  <a:pt x="368" y="419"/>
                </a:lnTo>
                <a:lnTo>
                  <a:pt x="370" y="420"/>
                </a:lnTo>
                <a:lnTo>
                  <a:pt x="378" y="420"/>
                </a:lnTo>
                <a:lnTo>
                  <a:pt x="383" y="426"/>
                </a:lnTo>
                <a:lnTo>
                  <a:pt x="394" y="427"/>
                </a:lnTo>
                <a:lnTo>
                  <a:pt x="410" y="420"/>
                </a:lnTo>
                <a:lnTo>
                  <a:pt x="412" y="418"/>
                </a:lnTo>
                <a:lnTo>
                  <a:pt x="412" y="414"/>
                </a:lnTo>
                <a:lnTo>
                  <a:pt x="417" y="409"/>
                </a:lnTo>
                <a:lnTo>
                  <a:pt x="425" y="403"/>
                </a:lnTo>
                <a:lnTo>
                  <a:pt x="429" y="401"/>
                </a:lnTo>
                <a:lnTo>
                  <a:pt x="430" y="397"/>
                </a:lnTo>
                <a:lnTo>
                  <a:pt x="442" y="391"/>
                </a:lnTo>
                <a:lnTo>
                  <a:pt x="444" y="390"/>
                </a:lnTo>
                <a:lnTo>
                  <a:pt x="442" y="387"/>
                </a:lnTo>
                <a:lnTo>
                  <a:pt x="445" y="383"/>
                </a:lnTo>
                <a:lnTo>
                  <a:pt x="445" y="378"/>
                </a:lnTo>
                <a:lnTo>
                  <a:pt x="442" y="372"/>
                </a:lnTo>
                <a:lnTo>
                  <a:pt x="426" y="370"/>
                </a:lnTo>
                <a:lnTo>
                  <a:pt x="422" y="364"/>
                </a:lnTo>
                <a:lnTo>
                  <a:pt x="419" y="357"/>
                </a:lnTo>
                <a:lnTo>
                  <a:pt x="419" y="350"/>
                </a:lnTo>
                <a:lnTo>
                  <a:pt x="421" y="344"/>
                </a:lnTo>
                <a:lnTo>
                  <a:pt x="421" y="338"/>
                </a:lnTo>
                <a:lnTo>
                  <a:pt x="415" y="336"/>
                </a:lnTo>
                <a:lnTo>
                  <a:pt x="413" y="334"/>
                </a:lnTo>
                <a:lnTo>
                  <a:pt x="413" y="331"/>
                </a:lnTo>
                <a:lnTo>
                  <a:pt x="414" y="325"/>
                </a:lnTo>
                <a:lnTo>
                  <a:pt x="417" y="321"/>
                </a:lnTo>
                <a:lnTo>
                  <a:pt x="425" y="315"/>
                </a:lnTo>
                <a:lnTo>
                  <a:pt x="424" y="310"/>
                </a:lnTo>
                <a:lnTo>
                  <a:pt x="416" y="292"/>
                </a:lnTo>
                <a:lnTo>
                  <a:pt x="415" y="289"/>
                </a:lnTo>
                <a:lnTo>
                  <a:pt x="416" y="286"/>
                </a:lnTo>
                <a:lnTo>
                  <a:pt x="423" y="285"/>
                </a:lnTo>
                <a:lnTo>
                  <a:pt x="421" y="278"/>
                </a:lnTo>
                <a:lnTo>
                  <a:pt x="416" y="277"/>
                </a:lnTo>
                <a:lnTo>
                  <a:pt x="414" y="269"/>
                </a:lnTo>
                <a:lnTo>
                  <a:pt x="414" y="258"/>
                </a:lnTo>
                <a:lnTo>
                  <a:pt x="412" y="257"/>
                </a:lnTo>
                <a:lnTo>
                  <a:pt x="401" y="257"/>
                </a:lnTo>
                <a:lnTo>
                  <a:pt x="393" y="268"/>
                </a:lnTo>
                <a:lnTo>
                  <a:pt x="389" y="271"/>
                </a:lnTo>
                <a:lnTo>
                  <a:pt x="387" y="269"/>
                </a:lnTo>
                <a:lnTo>
                  <a:pt x="388" y="255"/>
                </a:lnTo>
                <a:lnTo>
                  <a:pt x="390" y="246"/>
                </a:lnTo>
                <a:lnTo>
                  <a:pt x="392" y="244"/>
                </a:lnTo>
                <a:lnTo>
                  <a:pt x="395" y="240"/>
                </a:lnTo>
                <a:lnTo>
                  <a:pt x="400" y="237"/>
                </a:lnTo>
                <a:lnTo>
                  <a:pt x="401" y="235"/>
                </a:lnTo>
                <a:lnTo>
                  <a:pt x="402" y="229"/>
                </a:lnTo>
                <a:lnTo>
                  <a:pt x="406" y="222"/>
                </a:lnTo>
                <a:lnTo>
                  <a:pt x="422" y="206"/>
                </a:lnTo>
                <a:lnTo>
                  <a:pt x="419" y="202"/>
                </a:lnTo>
                <a:lnTo>
                  <a:pt x="422" y="198"/>
                </a:lnTo>
                <a:lnTo>
                  <a:pt x="434" y="199"/>
                </a:lnTo>
                <a:lnTo>
                  <a:pt x="438" y="197"/>
                </a:lnTo>
                <a:lnTo>
                  <a:pt x="442" y="193"/>
                </a:lnTo>
                <a:lnTo>
                  <a:pt x="441" y="190"/>
                </a:lnTo>
                <a:lnTo>
                  <a:pt x="440" y="185"/>
                </a:lnTo>
                <a:lnTo>
                  <a:pt x="441" y="166"/>
                </a:lnTo>
                <a:lnTo>
                  <a:pt x="446" y="150"/>
                </a:lnTo>
                <a:lnTo>
                  <a:pt x="448" y="142"/>
                </a:lnTo>
                <a:lnTo>
                  <a:pt x="459" y="127"/>
                </a:lnTo>
                <a:lnTo>
                  <a:pt x="461" y="119"/>
                </a:lnTo>
                <a:lnTo>
                  <a:pt x="452" y="115"/>
                </a:lnTo>
                <a:lnTo>
                  <a:pt x="425" y="107"/>
                </a:lnTo>
                <a:close/>
              </a:path>
            </a:pathLst>
          </a:custGeom>
          <a:solidFill>
            <a:schemeClr val="bg1">
              <a:lumMod val="85000"/>
            </a:schemeClr>
          </a:solidFill>
          <a:ln w="6350" cap="flat">
            <a:solidFill>
              <a:schemeClr val="bg1"/>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2" name="Group 21">
            <a:extLst>
              <a:ext uri="{FF2B5EF4-FFF2-40B4-BE49-F238E27FC236}">
                <a16:creationId xmlns:a16="http://schemas.microsoft.com/office/drawing/2014/main" id="{4242E891-11E6-4F0A-96E2-F3F8CADC81F9}"/>
              </a:ext>
            </a:extLst>
          </p:cNvPr>
          <p:cNvGrpSpPr/>
          <p:nvPr/>
        </p:nvGrpSpPr>
        <p:grpSpPr>
          <a:xfrm>
            <a:off x="7369240" y="1486564"/>
            <a:ext cx="1085923" cy="1536105"/>
            <a:chOff x="2455486" y="1398240"/>
            <a:chExt cx="1085923" cy="1536105"/>
          </a:xfrm>
          <a:solidFill>
            <a:schemeClr val="accent1">
              <a:lumMod val="20000"/>
              <a:lumOff val="80000"/>
            </a:schemeClr>
          </a:solidFill>
        </p:grpSpPr>
        <p:sp>
          <p:nvSpPr>
            <p:cNvPr id="39" name="Belgium" descr="{&quot;Key&quot;:&quot;belgium&quot;,&quot;Name&quot;:&quot;Belgium&quot;,&quot;Value&quot;:1.0,&quot;Formula&quot;:&quot;&quot;,&quot;Text&quot;:&quot;&quot;,&quot;OfficeApplication&quot;:1,&quot;HasValue&quot;:true}">
              <a:extLst>
                <a:ext uri="{FF2B5EF4-FFF2-40B4-BE49-F238E27FC236}">
                  <a16:creationId xmlns:a16="http://schemas.microsoft.com/office/drawing/2014/main" id="{67858A9A-4E3A-4B15-BAF5-9FE624237CB0}"/>
                </a:ext>
              </a:extLst>
            </p:cNvPr>
            <p:cNvSpPr>
              <a:spLocks/>
            </p:cNvSpPr>
            <p:nvPr/>
          </p:nvSpPr>
          <p:spPr bwMode="auto">
            <a:xfrm>
              <a:off x="2455486" y="2111754"/>
              <a:ext cx="870432" cy="804416"/>
            </a:xfrm>
            <a:custGeom>
              <a:avLst/>
              <a:gdLst>
                <a:gd name="T0" fmla="*/ 146 w 182"/>
                <a:gd name="T1" fmla="*/ 154 h 156"/>
                <a:gd name="T2" fmla="*/ 140 w 182"/>
                <a:gd name="T3" fmla="*/ 153 h 156"/>
                <a:gd name="T4" fmla="*/ 129 w 182"/>
                <a:gd name="T5" fmla="*/ 154 h 156"/>
                <a:gd name="T6" fmla="*/ 127 w 182"/>
                <a:gd name="T7" fmla="*/ 146 h 156"/>
                <a:gd name="T8" fmla="*/ 121 w 182"/>
                <a:gd name="T9" fmla="*/ 144 h 156"/>
                <a:gd name="T10" fmla="*/ 123 w 182"/>
                <a:gd name="T11" fmla="*/ 142 h 156"/>
                <a:gd name="T12" fmla="*/ 121 w 182"/>
                <a:gd name="T13" fmla="*/ 139 h 156"/>
                <a:gd name="T14" fmla="*/ 118 w 182"/>
                <a:gd name="T15" fmla="*/ 140 h 156"/>
                <a:gd name="T16" fmla="*/ 113 w 182"/>
                <a:gd name="T17" fmla="*/ 133 h 156"/>
                <a:gd name="T18" fmla="*/ 101 w 182"/>
                <a:gd name="T19" fmla="*/ 130 h 156"/>
                <a:gd name="T20" fmla="*/ 103 w 182"/>
                <a:gd name="T21" fmla="*/ 122 h 156"/>
                <a:gd name="T22" fmla="*/ 99 w 182"/>
                <a:gd name="T23" fmla="*/ 116 h 156"/>
                <a:gd name="T24" fmla="*/ 102 w 182"/>
                <a:gd name="T25" fmla="*/ 109 h 156"/>
                <a:gd name="T26" fmla="*/ 104 w 182"/>
                <a:gd name="T27" fmla="*/ 105 h 156"/>
                <a:gd name="T28" fmla="*/ 93 w 182"/>
                <a:gd name="T29" fmla="*/ 115 h 156"/>
                <a:gd name="T30" fmla="*/ 68 w 182"/>
                <a:gd name="T31" fmla="*/ 114 h 156"/>
                <a:gd name="T32" fmla="*/ 73 w 182"/>
                <a:gd name="T33" fmla="*/ 107 h 156"/>
                <a:gd name="T34" fmla="*/ 69 w 182"/>
                <a:gd name="T35" fmla="*/ 103 h 156"/>
                <a:gd name="T36" fmla="*/ 73 w 182"/>
                <a:gd name="T37" fmla="*/ 93 h 156"/>
                <a:gd name="T38" fmla="*/ 48 w 182"/>
                <a:gd name="T39" fmla="*/ 85 h 156"/>
                <a:gd name="T40" fmla="*/ 48 w 182"/>
                <a:gd name="T41" fmla="*/ 77 h 156"/>
                <a:gd name="T42" fmla="*/ 31 w 182"/>
                <a:gd name="T43" fmla="*/ 69 h 156"/>
                <a:gd name="T44" fmla="*/ 24 w 182"/>
                <a:gd name="T45" fmla="*/ 49 h 156"/>
                <a:gd name="T46" fmla="*/ 14 w 182"/>
                <a:gd name="T47" fmla="*/ 55 h 156"/>
                <a:gd name="T48" fmla="*/ 0 w 182"/>
                <a:gd name="T49" fmla="*/ 26 h 156"/>
                <a:gd name="T50" fmla="*/ 0 w 182"/>
                <a:gd name="T51" fmla="*/ 25 h 156"/>
                <a:gd name="T52" fmla="*/ 39 w 182"/>
                <a:gd name="T53" fmla="*/ 6 h 156"/>
                <a:gd name="T54" fmla="*/ 40 w 182"/>
                <a:gd name="T55" fmla="*/ 8 h 156"/>
                <a:gd name="T56" fmla="*/ 60 w 182"/>
                <a:gd name="T57" fmla="*/ 17 h 156"/>
                <a:gd name="T58" fmla="*/ 60 w 182"/>
                <a:gd name="T59" fmla="*/ 21 h 156"/>
                <a:gd name="T60" fmla="*/ 76 w 182"/>
                <a:gd name="T61" fmla="*/ 14 h 156"/>
                <a:gd name="T62" fmla="*/ 84 w 182"/>
                <a:gd name="T63" fmla="*/ 19 h 156"/>
                <a:gd name="T64" fmla="*/ 84 w 182"/>
                <a:gd name="T65" fmla="*/ 13 h 156"/>
                <a:gd name="T66" fmla="*/ 89 w 182"/>
                <a:gd name="T67" fmla="*/ 13 h 156"/>
                <a:gd name="T68" fmla="*/ 96 w 182"/>
                <a:gd name="T69" fmla="*/ 4 h 156"/>
                <a:gd name="T70" fmla="*/ 95 w 182"/>
                <a:gd name="T71" fmla="*/ 8 h 156"/>
                <a:gd name="T72" fmla="*/ 109 w 182"/>
                <a:gd name="T73" fmla="*/ 4 h 156"/>
                <a:gd name="T74" fmla="*/ 106 w 182"/>
                <a:gd name="T75" fmla="*/ 10 h 156"/>
                <a:gd name="T76" fmla="*/ 118 w 182"/>
                <a:gd name="T77" fmla="*/ 6 h 156"/>
                <a:gd name="T78" fmla="*/ 126 w 182"/>
                <a:gd name="T79" fmla="*/ 23 h 156"/>
                <a:gd name="T80" fmla="*/ 155 w 182"/>
                <a:gd name="T81" fmla="*/ 33 h 156"/>
                <a:gd name="T82" fmla="*/ 152 w 182"/>
                <a:gd name="T83" fmla="*/ 37 h 156"/>
                <a:gd name="T84" fmla="*/ 147 w 182"/>
                <a:gd name="T85" fmla="*/ 46 h 156"/>
                <a:gd name="T86" fmla="*/ 149 w 182"/>
                <a:gd name="T87" fmla="*/ 48 h 156"/>
                <a:gd name="T88" fmla="*/ 146 w 182"/>
                <a:gd name="T89" fmla="*/ 53 h 156"/>
                <a:gd name="T90" fmla="*/ 160 w 182"/>
                <a:gd name="T91" fmla="*/ 63 h 156"/>
                <a:gd name="T92" fmla="*/ 161 w 182"/>
                <a:gd name="T93" fmla="*/ 63 h 156"/>
                <a:gd name="T94" fmla="*/ 167 w 182"/>
                <a:gd name="T95" fmla="*/ 73 h 156"/>
                <a:gd name="T96" fmla="*/ 172 w 182"/>
                <a:gd name="T97" fmla="*/ 74 h 156"/>
                <a:gd name="T98" fmla="*/ 168 w 182"/>
                <a:gd name="T99" fmla="*/ 81 h 156"/>
                <a:gd name="T100" fmla="*/ 176 w 182"/>
                <a:gd name="T101" fmla="*/ 86 h 156"/>
                <a:gd name="T102" fmla="*/ 163 w 182"/>
                <a:gd name="T103" fmla="*/ 109 h 156"/>
                <a:gd name="T104" fmla="*/ 143 w 182"/>
                <a:gd name="T105" fmla="*/ 126 h 156"/>
                <a:gd name="T106" fmla="*/ 146 w 182"/>
                <a:gd name="T107" fmla="*/ 152 h 156"/>
                <a:gd name="T108" fmla="*/ 146 w 182"/>
                <a:gd name="T109" fmla="*/ 15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2" h="156">
                  <a:moveTo>
                    <a:pt x="146" y="154"/>
                  </a:moveTo>
                  <a:cubicBezTo>
                    <a:pt x="144" y="153"/>
                    <a:pt x="142" y="153"/>
                    <a:pt x="140" y="153"/>
                  </a:cubicBezTo>
                  <a:cubicBezTo>
                    <a:pt x="136" y="152"/>
                    <a:pt x="133" y="156"/>
                    <a:pt x="129" y="154"/>
                  </a:cubicBezTo>
                  <a:cubicBezTo>
                    <a:pt x="126" y="153"/>
                    <a:pt x="129" y="148"/>
                    <a:pt x="127" y="146"/>
                  </a:cubicBezTo>
                  <a:cubicBezTo>
                    <a:pt x="126" y="144"/>
                    <a:pt x="123" y="145"/>
                    <a:pt x="121" y="144"/>
                  </a:cubicBezTo>
                  <a:cubicBezTo>
                    <a:pt x="121" y="144"/>
                    <a:pt x="123" y="142"/>
                    <a:pt x="123" y="142"/>
                  </a:cubicBezTo>
                  <a:cubicBezTo>
                    <a:pt x="123" y="141"/>
                    <a:pt x="122" y="140"/>
                    <a:pt x="121" y="139"/>
                  </a:cubicBezTo>
                  <a:cubicBezTo>
                    <a:pt x="120" y="139"/>
                    <a:pt x="118" y="141"/>
                    <a:pt x="118" y="140"/>
                  </a:cubicBezTo>
                  <a:cubicBezTo>
                    <a:pt x="116" y="139"/>
                    <a:pt x="115" y="135"/>
                    <a:pt x="113" y="133"/>
                  </a:cubicBezTo>
                  <a:cubicBezTo>
                    <a:pt x="109" y="132"/>
                    <a:pt x="103" y="133"/>
                    <a:pt x="101" y="130"/>
                  </a:cubicBezTo>
                  <a:cubicBezTo>
                    <a:pt x="99" y="128"/>
                    <a:pt x="103" y="124"/>
                    <a:pt x="103" y="122"/>
                  </a:cubicBezTo>
                  <a:cubicBezTo>
                    <a:pt x="103" y="119"/>
                    <a:pt x="99" y="119"/>
                    <a:pt x="99" y="116"/>
                  </a:cubicBezTo>
                  <a:cubicBezTo>
                    <a:pt x="99" y="114"/>
                    <a:pt x="101" y="111"/>
                    <a:pt x="102" y="109"/>
                  </a:cubicBezTo>
                  <a:cubicBezTo>
                    <a:pt x="103" y="107"/>
                    <a:pt x="105" y="106"/>
                    <a:pt x="104" y="105"/>
                  </a:cubicBezTo>
                  <a:cubicBezTo>
                    <a:pt x="100" y="101"/>
                    <a:pt x="97" y="111"/>
                    <a:pt x="93" y="115"/>
                  </a:cubicBezTo>
                  <a:cubicBezTo>
                    <a:pt x="85" y="122"/>
                    <a:pt x="66" y="118"/>
                    <a:pt x="68" y="114"/>
                  </a:cubicBezTo>
                  <a:cubicBezTo>
                    <a:pt x="70" y="111"/>
                    <a:pt x="73" y="110"/>
                    <a:pt x="73" y="107"/>
                  </a:cubicBezTo>
                  <a:cubicBezTo>
                    <a:pt x="73" y="105"/>
                    <a:pt x="68" y="105"/>
                    <a:pt x="69" y="103"/>
                  </a:cubicBezTo>
                  <a:cubicBezTo>
                    <a:pt x="69" y="99"/>
                    <a:pt x="73" y="97"/>
                    <a:pt x="73" y="93"/>
                  </a:cubicBezTo>
                  <a:cubicBezTo>
                    <a:pt x="72" y="84"/>
                    <a:pt x="49" y="89"/>
                    <a:pt x="48" y="85"/>
                  </a:cubicBezTo>
                  <a:cubicBezTo>
                    <a:pt x="47" y="83"/>
                    <a:pt x="49" y="80"/>
                    <a:pt x="48" y="77"/>
                  </a:cubicBezTo>
                  <a:cubicBezTo>
                    <a:pt x="47" y="68"/>
                    <a:pt x="34" y="77"/>
                    <a:pt x="31" y="69"/>
                  </a:cubicBezTo>
                  <a:cubicBezTo>
                    <a:pt x="28" y="65"/>
                    <a:pt x="32" y="52"/>
                    <a:pt x="24" y="49"/>
                  </a:cubicBezTo>
                  <a:cubicBezTo>
                    <a:pt x="21" y="47"/>
                    <a:pt x="18" y="55"/>
                    <a:pt x="14" y="55"/>
                  </a:cubicBezTo>
                  <a:cubicBezTo>
                    <a:pt x="1" y="55"/>
                    <a:pt x="1" y="34"/>
                    <a:pt x="0" y="26"/>
                  </a:cubicBezTo>
                  <a:cubicBezTo>
                    <a:pt x="0" y="25"/>
                    <a:pt x="0" y="25"/>
                    <a:pt x="0" y="25"/>
                  </a:cubicBezTo>
                  <a:cubicBezTo>
                    <a:pt x="10" y="23"/>
                    <a:pt x="26" y="10"/>
                    <a:pt x="39" y="6"/>
                  </a:cubicBezTo>
                  <a:cubicBezTo>
                    <a:pt x="40" y="8"/>
                    <a:pt x="40" y="8"/>
                    <a:pt x="40" y="8"/>
                  </a:cubicBezTo>
                  <a:cubicBezTo>
                    <a:pt x="39" y="23"/>
                    <a:pt x="51" y="13"/>
                    <a:pt x="60" y="17"/>
                  </a:cubicBezTo>
                  <a:cubicBezTo>
                    <a:pt x="61" y="18"/>
                    <a:pt x="58" y="20"/>
                    <a:pt x="60" y="21"/>
                  </a:cubicBezTo>
                  <a:cubicBezTo>
                    <a:pt x="66" y="26"/>
                    <a:pt x="72" y="18"/>
                    <a:pt x="76" y="14"/>
                  </a:cubicBezTo>
                  <a:cubicBezTo>
                    <a:pt x="80" y="17"/>
                    <a:pt x="83" y="19"/>
                    <a:pt x="84" y="19"/>
                  </a:cubicBezTo>
                  <a:cubicBezTo>
                    <a:pt x="86" y="17"/>
                    <a:pt x="86" y="15"/>
                    <a:pt x="84" y="13"/>
                  </a:cubicBezTo>
                  <a:cubicBezTo>
                    <a:pt x="86" y="13"/>
                    <a:pt x="87" y="14"/>
                    <a:pt x="89" y="13"/>
                  </a:cubicBezTo>
                  <a:cubicBezTo>
                    <a:pt x="93" y="13"/>
                    <a:pt x="82" y="0"/>
                    <a:pt x="96" y="4"/>
                  </a:cubicBezTo>
                  <a:cubicBezTo>
                    <a:pt x="97" y="4"/>
                    <a:pt x="95" y="7"/>
                    <a:pt x="95" y="8"/>
                  </a:cubicBezTo>
                  <a:cubicBezTo>
                    <a:pt x="102" y="13"/>
                    <a:pt x="104" y="0"/>
                    <a:pt x="109" y="4"/>
                  </a:cubicBezTo>
                  <a:cubicBezTo>
                    <a:pt x="110" y="6"/>
                    <a:pt x="104" y="9"/>
                    <a:pt x="106" y="10"/>
                  </a:cubicBezTo>
                  <a:cubicBezTo>
                    <a:pt x="119" y="17"/>
                    <a:pt x="108" y="8"/>
                    <a:pt x="118" y="6"/>
                  </a:cubicBezTo>
                  <a:cubicBezTo>
                    <a:pt x="119" y="6"/>
                    <a:pt x="122" y="22"/>
                    <a:pt x="126" y="23"/>
                  </a:cubicBezTo>
                  <a:cubicBezTo>
                    <a:pt x="135" y="24"/>
                    <a:pt x="147" y="24"/>
                    <a:pt x="155" y="33"/>
                  </a:cubicBezTo>
                  <a:cubicBezTo>
                    <a:pt x="155" y="34"/>
                    <a:pt x="152" y="36"/>
                    <a:pt x="152" y="37"/>
                  </a:cubicBezTo>
                  <a:cubicBezTo>
                    <a:pt x="151" y="40"/>
                    <a:pt x="148" y="43"/>
                    <a:pt x="147" y="46"/>
                  </a:cubicBezTo>
                  <a:cubicBezTo>
                    <a:pt x="147" y="47"/>
                    <a:pt x="150" y="47"/>
                    <a:pt x="149" y="48"/>
                  </a:cubicBezTo>
                  <a:cubicBezTo>
                    <a:pt x="149" y="50"/>
                    <a:pt x="146" y="50"/>
                    <a:pt x="146" y="53"/>
                  </a:cubicBezTo>
                  <a:cubicBezTo>
                    <a:pt x="142" y="67"/>
                    <a:pt x="151" y="63"/>
                    <a:pt x="160" y="63"/>
                  </a:cubicBezTo>
                  <a:cubicBezTo>
                    <a:pt x="161" y="63"/>
                    <a:pt x="161" y="63"/>
                    <a:pt x="161" y="63"/>
                  </a:cubicBezTo>
                  <a:cubicBezTo>
                    <a:pt x="163" y="67"/>
                    <a:pt x="166" y="73"/>
                    <a:pt x="167" y="73"/>
                  </a:cubicBezTo>
                  <a:cubicBezTo>
                    <a:pt x="168" y="75"/>
                    <a:pt x="172" y="72"/>
                    <a:pt x="172" y="74"/>
                  </a:cubicBezTo>
                  <a:cubicBezTo>
                    <a:pt x="172" y="76"/>
                    <a:pt x="168" y="79"/>
                    <a:pt x="168" y="81"/>
                  </a:cubicBezTo>
                  <a:cubicBezTo>
                    <a:pt x="169" y="84"/>
                    <a:pt x="174" y="84"/>
                    <a:pt x="176" y="86"/>
                  </a:cubicBezTo>
                  <a:cubicBezTo>
                    <a:pt x="182" y="97"/>
                    <a:pt x="167" y="98"/>
                    <a:pt x="163" y="109"/>
                  </a:cubicBezTo>
                  <a:cubicBezTo>
                    <a:pt x="157" y="98"/>
                    <a:pt x="146" y="119"/>
                    <a:pt x="143" y="126"/>
                  </a:cubicBezTo>
                  <a:cubicBezTo>
                    <a:pt x="142" y="131"/>
                    <a:pt x="159" y="153"/>
                    <a:pt x="146" y="152"/>
                  </a:cubicBezTo>
                  <a:lnTo>
                    <a:pt x="146" y="154"/>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Luxembourg" descr="{&quot;Key&quot;:&quot;luxembourg&quot;,&quot;Name&quot;:&quot;Luxembourg&quot;,&quot;Value&quot;:1.0,&quot;Formula&quot;:&quot;&quot;,&quot;Text&quot;:&quot;&quot;,&quot;OfficeApplication&quot;:1,&quot;HasValue&quot;:true}">
              <a:extLst>
                <a:ext uri="{FF2B5EF4-FFF2-40B4-BE49-F238E27FC236}">
                  <a16:creationId xmlns:a16="http://schemas.microsoft.com/office/drawing/2014/main" id="{7620B728-18BC-40A1-9FEB-D3B86A3670CE}"/>
                </a:ext>
              </a:extLst>
            </p:cNvPr>
            <p:cNvSpPr>
              <a:spLocks/>
            </p:cNvSpPr>
            <p:nvPr/>
          </p:nvSpPr>
          <p:spPr bwMode="auto">
            <a:xfrm>
              <a:off x="3135771" y="2616217"/>
              <a:ext cx="223945" cy="318128"/>
            </a:xfrm>
            <a:custGeom>
              <a:avLst/>
              <a:gdLst>
                <a:gd name="T0" fmla="*/ 30 w 47"/>
                <a:gd name="T1" fmla="*/ 61 h 62"/>
                <a:gd name="T2" fmla="*/ 20 w 47"/>
                <a:gd name="T3" fmla="*/ 59 h 62"/>
                <a:gd name="T4" fmla="*/ 11 w 47"/>
                <a:gd name="T5" fmla="*/ 61 h 62"/>
                <a:gd name="T6" fmla="*/ 11 w 47"/>
                <a:gd name="T7" fmla="*/ 59 h 62"/>
                <a:gd name="T8" fmla="*/ 4 w 47"/>
                <a:gd name="T9" fmla="*/ 56 h 62"/>
                <a:gd name="T10" fmla="*/ 4 w 47"/>
                <a:gd name="T11" fmla="*/ 54 h 62"/>
                <a:gd name="T12" fmla="*/ 1 w 47"/>
                <a:gd name="T13" fmla="*/ 28 h 62"/>
                <a:gd name="T14" fmla="*/ 21 w 47"/>
                <a:gd name="T15" fmla="*/ 11 h 62"/>
                <a:gd name="T16" fmla="*/ 21 w 47"/>
                <a:gd name="T17" fmla="*/ 21 h 62"/>
                <a:gd name="T18" fmla="*/ 39 w 47"/>
                <a:gd name="T19" fmla="*/ 36 h 62"/>
                <a:gd name="T20" fmla="*/ 30 w 47"/>
                <a:gd name="T21"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 h="62">
                  <a:moveTo>
                    <a:pt x="30" y="61"/>
                  </a:moveTo>
                  <a:cubicBezTo>
                    <a:pt x="27" y="60"/>
                    <a:pt x="24" y="59"/>
                    <a:pt x="20" y="59"/>
                  </a:cubicBezTo>
                  <a:cubicBezTo>
                    <a:pt x="18" y="59"/>
                    <a:pt x="15" y="61"/>
                    <a:pt x="11" y="61"/>
                  </a:cubicBezTo>
                  <a:cubicBezTo>
                    <a:pt x="11" y="62"/>
                    <a:pt x="11" y="60"/>
                    <a:pt x="11" y="59"/>
                  </a:cubicBezTo>
                  <a:cubicBezTo>
                    <a:pt x="9" y="58"/>
                    <a:pt x="6" y="57"/>
                    <a:pt x="4" y="56"/>
                  </a:cubicBezTo>
                  <a:cubicBezTo>
                    <a:pt x="4" y="54"/>
                    <a:pt x="4" y="54"/>
                    <a:pt x="4" y="54"/>
                  </a:cubicBezTo>
                  <a:cubicBezTo>
                    <a:pt x="17" y="55"/>
                    <a:pt x="0" y="33"/>
                    <a:pt x="1" y="28"/>
                  </a:cubicBezTo>
                  <a:cubicBezTo>
                    <a:pt x="4" y="21"/>
                    <a:pt x="15" y="0"/>
                    <a:pt x="21" y="11"/>
                  </a:cubicBezTo>
                  <a:cubicBezTo>
                    <a:pt x="20" y="14"/>
                    <a:pt x="20" y="17"/>
                    <a:pt x="21" y="21"/>
                  </a:cubicBezTo>
                  <a:cubicBezTo>
                    <a:pt x="24" y="33"/>
                    <a:pt x="37" y="34"/>
                    <a:pt x="39" y="36"/>
                  </a:cubicBezTo>
                  <a:cubicBezTo>
                    <a:pt x="47" y="46"/>
                    <a:pt x="24" y="50"/>
                    <a:pt x="30" y="61"/>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Netherlands" descr="{&quot;Key&quot;:&quot;netherlands&quot;,&quot;Name&quot;:&quot;Netherlands&quot;,&quot;Value&quot;:1.0,&quot;Formula&quot;:&quot;&quot;,&quot;Text&quot;:&quot;&quot;,&quot;OfficeApplication&quot;:1,&quot;HasValue&quot;:true}">
              <a:extLst>
                <a:ext uri="{FF2B5EF4-FFF2-40B4-BE49-F238E27FC236}">
                  <a16:creationId xmlns:a16="http://schemas.microsoft.com/office/drawing/2014/main" id="{F32ACA1B-03A2-43D4-A78F-06FA908FB099}"/>
                </a:ext>
              </a:extLst>
            </p:cNvPr>
            <p:cNvSpPr>
              <a:spLocks noEditPoints="1"/>
            </p:cNvSpPr>
            <p:nvPr/>
          </p:nvSpPr>
          <p:spPr bwMode="auto">
            <a:xfrm>
              <a:off x="2641401" y="1398240"/>
              <a:ext cx="900008" cy="1058917"/>
            </a:xfrm>
            <a:custGeom>
              <a:avLst/>
              <a:gdLst>
                <a:gd name="T0" fmla="*/ 90 w 188"/>
                <a:gd name="T1" fmla="*/ 35 h 206"/>
                <a:gd name="T2" fmla="*/ 88 w 188"/>
                <a:gd name="T3" fmla="*/ 58 h 206"/>
                <a:gd name="T4" fmla="*/ 83 w 188"/>
                <a:gd name="T5" fmla="*/ 76 h 206"/>
                <a:gd name="T6" fmla="*/ 116 w 188"/>
                <a:gd name="T7" fmla="*/ 61 h 206"/>
                <a:gd name="T8" fmla="*/ 120 w 188"/>
                <a:gd name="T9" fmla="*/ 44 h 206"/>
                <a:gd name="T10" fmla="*/ 107 w 188"/>
                <a:gd name="T11" fmla="*/ 29 h 206"/>
                <a:gd name="T12" fmla="*/ 101 w 188"/>
                <a:gd name="T13" fmla="*/ 28 h 206"/>
                <a:gd name="T14" fmla="*/ 77 w 188"/>
                <a:gd name="T15" fmla="*/ 34 h 206"/>
                <a:gd name="T16" fmla="*/ 65 w 188"/>
                <a:gd name="T17" fmla="*/ 70 h 206"/>
                <a:gd name="T18" fmla="*/ 41 w 188"/>
                <a:gd name="T19" fmla="*/ 103 h 206"/>
                <a:gd name="T20" fmla="*/ 37 w 188"/>
                <a:gd name="T21" fmla="*/ 116 h 206"/>
                <a:gd name="T22" fmla="*/ 31 w 188"/>
                <a:gd name="T23" fmla="*/ 132 h 206"/>
                <a:gd name="T24" fmla="*/ 42 w 188"/>
                <a:gd name="T25" fmla="*/ 135 h 206"/>
                <a:gd name="T26" fmla="*/ 44 w 188"/>
                <a:gd name="T27" fmla="*/ 142 h 206"/>
                <a:gd name="T28" fmla="*/ 5 w 188"/>
                <a:gd name="T29" fmla="*/ 135 h 206"/>
                <a:gd name="T30" fmla="*/ 28 w 188"/>
                <a:gd name="T31" fmla="*/ 143 h 206"/>
                <a:gd name="T32" fmla="*/ 43 w 188"/>
                <a:gd name="T33" fmla="*/ 147 h 206"/>
                <a:gd name="T34" fmla="*/ 50 w 188"/>
                <a:gd name="T35" fmla="*/ 152 h 206"/>
                <a:gd name="T36" fmla="*/ 56 w 188"/>
                <a:gd name="T37" fmla="*/ 147 h 206"/>
                <a:gd name="T38" fmla="*/ 67 w 188"/>
                <a:gd name="T39" fmla="*/ 149 h 206"/>
                <a:gd name="T40" fmla="*/ 87 w 188"/>
                <a:gd name="T41" fmla="*/ 162 h 206"/>
                <a:gd name="T42" fmla="*/ 113 w 188"/>
                <a:gd name="T43" fmla="*/ 176 h 206"/>
                <a:gd name="T44" fmla="*/ 110 w 188"/>
                <a:gd name="T45" fmla="*/ 187 h 206"/>
                <a:gd name="T46" fmla="*/ 121 w 188"/>
                <a:gd name="T47" fmla="*/ 202 h 206"/>
                <a:gd name="T48" fmla="*/ 120 w 188"/>
                <a:gd name="T49" fmla="*/ 198 h 206"/>
                <a:gd name="T50" fmla="*/ 116 w 188"/>
                <a:gd name="T51" fmla="*/ 180 h 206"/>
                <a:gd name="T52" fmla="*/ 130 w 188"/>
                <a:gd name="T53" fmla="*/ 172 h 206"/>
                <a:gd name="T54" fmla="*/ 133 w 188"/>
                <a:gd name="T55" fmla="*/ 157 h 206"/>
                <a:gd name="T56" fmla="*/ 123 w 188"/>
                <a:gd name="T57" fmla="*/ 125 h 206"/>
                <a:gd name="T58" fmla="*/ 133 w 188"/>
                <a:gd name="T59" fmla="*/ 121 h 206"/>
                <a:gd name="T60" fmla="*/ 143 w 188"/>
                <a:gd name="T61" fmla="*/ 122 h 206"/>
                <a:gd name="T62" fmla="*/ 158 w 188"/>
                <a:gd name="T63" fmla="*/ 106 h 206"/>
                <a:gd name="T64" fmla="*/ 159 w 188"/>
                <a:gd name="T65" fmla="*/ 70 h 206"/>
                <a:gd name="T66" fmla="*/ 161 w 188"/>
                <a:gd name="T67" fmla="*/ 64 h 206"/>
                <a:gd name="T68" fmla="*/ 175 w 188"/>
                <a:gd name="T69" fmla="*/ 65 h 206"/>
                <a:gd name="T70" fmla="*/ 187 w 188"/>
                <a:gd name="T71" fmla="*/ 20 h 206"/>
                <a:gd name="T72" fmla="*/ 107 w 188"/>
                <a:gd name="T73" fmla="*/ 18 h 206"/>
                <a:gd name="T74" fmla="*/ 1 w 188"/>
                <a:gd name="T75" fmla="*/ 147 h 206"/>
                <a:gd name="T76" fmla="*/ 21 w 188"/>
                <a:gd name="T77" fmla="*/ 160 h 206"/>
                <a:gd name="T78" fmla="*/ 30 w 188"/>
                <a:gd name="T79" fmla="*/ 147 h 206"/>
                <a:gd name="T80" fmla="*/ 9 w 188"/>
                <a:gd name="T81" fmla="*/ 145 h 206"/>
                <a:gd name="T82" fmla="*/ 1 w 188"/>
                <a:gd name="T83" fmla="*/ 14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8" h="206">
                  <a:moveTo>
                    <a:pt x="100" y="27"/>
                  </a:moveTo>
                  <a:cubicBezTo>
                    <a:pt x="90" y="35"/>
                    <a:pt x="90" y="35"/>
                    <a:pt x="90" y="35"/>
                  </a:cubicBezTo>
                  <a:cubicBezTo>
                    <a:pt x="84" y="55"/>
                    <a:pt x="109" y="46"/>
                    <a:pt x="100" y="52"/>
                  </a:cubicBezTo>
                  <a:cubicBezTo>
                    <a:pt x="96" y="55"/>
                    <a:pt x="90" y="54"/>
                    <a:pt x="88" y="58"/>
                  </a:cubicBezTo>
                  <a:cubicBezTo>
                    <a:pt x="85" y="62"/>
                    <a:pt x="94" y="66"/>
                    <a:pt x="91" y="69"/>
                  </a:cubicBezTo>
                  <a:cubicBezTo>
                    <a:pt x="89" y="71"/>
                    <a:pt x="82" y="74"/>
                    <a:pt x="83" y="76"/>
                  </a:cubicBezTo>
                  <a:cubicBezTo>
                    <a:pt x="90" y="79"/>
                    <a:pt x="90" y="79"/>
                    <a:pt x="90" y="79"/>
                  </a:cubicBezTo>
                  <a:cubicBezTo>
                    <a:pt x="94" y="79"/>
                    <a:pt x="106" y="56"/>
                    <a:pt x="116" y="61"/>
                  </a:cubicBezTo>
                  <a:cubicBezTo>
                    <a:pt x="119" y="63"/>
                    <a:pt x="114" y="60"/>
                    <a:pt x="113" y="56"/>
                  </a:cubicBezTo>
                  <a:cubicBezTo>
                    <a:pt x="112" y="52"/>
                    <a:pt x="121" y="48"/>
                    <a:pt x="120" y="44"/>
                  </a:cubicBezTo>
                  <a:cubicBezTo>
                    <a:pt x="117" y="39"/>
                    <a:pt x="104" y="46"/>
                    <a:pt x="104" y="40"/>
                  </a:cubicBezTo>
                  <a:cubicBezTo>
                    <a:pt x="104" y="36"/>
                    <a:pt x="107" y="33"/>
                    <a:pt x="107" y="29"/>
                  </a:cubicBezTo>
                  <a:cubicBezTo>
                    <a:pt x="107" y="28"/>
                    <a:pt x="106" y="27"/>
                    <a:pt x="105" y="26"/>
                  </a:cubicBezTo>
                  <a:cubicBezTo>
                    <a:pt x="105" y="25"/>
                    <a:pt x="98" y="31"/>
                    <a:pt x="101" y="28"/>
                  </a:cubicBezTo>
                  <a:cubicBezTo>
                    <a:pt x="90" y="35"/>
                    <a:pt x="90" y="35"/>
                    <a:pt x="90" y="35"/>
                  </a:cubicBezTo>
                  <a:cubicBezTo>
                    <a:pt x="86" y="36"/>
                    <a:pt x="81" y="34"/>
                    <a:pt x="77" y="34"/>
                  </a:cubicBezTo>
                  <a:cubicBezTo>
                    <a:pt x="75" y="34"/>
                    <a:pt x="74" y="33"/>
                    <a:pt x="73" y="34"/>
                  </a:cubicBezTo>
                  <a:cubicBezTo>
                    <a:pt x="66" y="43"/>
                    <a:pt x="68" y="61"/>
                    <a:pt x="65" y="70"/>
                  </a:cubicBezTo>
                  <a:cubicBezTo>
                    <a:pt x="61" y="79"/>
                    <a:pt x="54" y="89"/>
                    <a:pt x="48" y="95"/>
                  </a:cubicBezTo>
                  <a:cubicBezTo>
                    <a:pt x="46" y="98"/>
                    <a:pt x="44" y="102"/>
                    <a:pt x="41" y="103"/>
                  </a:cubicBezTo>
                  <a:cubicBezTo>
                    <a:pt x="40" y="104"/>
                    <a:pt x="36" y="102"/>
                    <a:pt x="35" y="104"/>
                  </a:cubicBezTo>
                  <a:cubicBezTo>
                    <a:pt x="34" y="108"/>
                    <a:pt x="39" y="112"/>
                    <a:pt x="37" y="116"/>
                  </a:cubicBezTo>
                  <a:cubicBezTo>
                    <a:pt x="32" y="125"/>
                    <a:pt x="14" y="120"/>
                    <a:pt x="18" y="122"/>
                  </a:cubicBezTo>
                  <a:cubicBezTo>
                    <a:pt x="23" y="125"/>
                    <a:pt x="26" y="129"/>
                    <a:pt x="31" y="132"/>
                  </a:cubicBezTo>
                  <a:cubicBezTo>
                    <a:pt x="34" y="132"/>
                    <a:pt x="36" y="129"/>
                    <a:pt x="37" y="129"/>
                  </a:cubicBezTo>
                  <a:cubicBezTo>
                    <a:pt x="40" y="130"/>
                    <a:pt x="44" y="133"/>
                    <a:pt x="42" y="135"/>
                  </a:cubicBezTo>
                  <a:cubicBezTo>
                    <a:pt x="39" y="137"/>
                    <a:pt x="32" y="130"/>
                    <a:pt x="32" y="134"/>
                  </a:cubicBezTo>
                  <a:cubicBezTo>
                    <a:pt x="32" y="139"/>
                    <a:pt x="47" y="138"/>
                    <a:pt x="44" y="142"/>
                  </a:cubicBezTo>
                  <a:cubicBezTo>
                    <a:pt x="36" y="154"/>
                    <a:pt x="28" y="133"/>
                    <a:pt x="24" y="132"/>
                  </a:cubicBezTo>
                  <a:cubicBezTo>
                    <a:pt x="14" y="129"/>
                    <a:pt x="4" y="131"/>
                    <a:pt x="5" y="135"/>
                  </a:cubicBezTo>
                  <a:cubicBezTo>
                    <a:pt x="5" y="136"/>
                    <a:pt x="23" y="147"/>
                    <a:pt x="26" y="147"/>
                  </a:cubicBezTo>
                  <a:cubicBezTo>
                    <a:pt x="27" y="147"/>
                    <a:pt x="27" y="145"/>
                    <a:pt x="28" y="143"/>
                  </a:cubicBezTo>
                  <a:cubicBezTo>
                    <a:pt x="30" y="142"/>
                    <a:pt x="32" y="146"/>
                    <a:pt x="35" y="146"/>
                  </a:cubicBezTo>
                  <a:cubicBezTo>
                    <a:pt x="37" y="147"/>
                    <a:pt x="40" y="145"/>
                    <a:pt x="43" y="147"/>
                  </a:cubicBezTo>
                  <a:cubicBezTo>
                    <a:pt x="44" y="149"/>
                    <a:pt x="45" y="150"/>
                    <a:pt x="45" y="152"/>
                  </a:cubicBezTo>
                  <a:cubicBezTo>
                    <a:pt x="47" y="152"/>
                    <a:pt x="48" y="153"/>
                    <a:pt x="50" y="152"/>
                  </a:cubicBezTo>
                  <a:cubicBezTo>
                    <a:pt x="54" y="152"/>
                    <a:pt x="43" y="139"/>
                    <a:pt x="57" y="143"/>
                  </a:cubicBezTo>
                  <a:cubicBezTo>
                    <a:pt x="58" y="143"/>
                    <a:pt x="56" y="146"/>
                    <a:pt x="56" y="147"/>
                  </a:cubicBezTo>
                  <a:cubicBezTo>
                    <a:pt x="63" y="152"/>
                    <a:pt x="65" y="139"/>
                    <a:pt x="70" y="143"/>
                  </a:cubicBezTo>
                  <a:cubicBezTo>
                    <a:pt x="71" y="145"/>
                    <a:pt x="65" y="148"/>
                    <a:pt x="67" y="149"/>
                  </a:cubicBezTo>
                  <a:cubicBezTo>
                    <a:pt x="80" y="156"/>
                    <a:pt x="69" y="147"/>
                    <a:pt x="79" y="145"/>
                  </a:cubicBezTo>
                  <a:cubicBezTo>
                    <a:pt x="80" y="145"/>
                    <a:pt x="83" y="161"/>
                    <a:pt x="87" y="162"/>
                  </a:cubicBezTo>
                  <a:cubicBezTo>
                    <a:pt x="96" y="163"/>
                    <a:pt x="108" y="163"/>
                    <a:pt x="116" y="172"/>
                  </a:cubicBezTo>
                  <a:cubicBezTo>
                    <a:pt x="116" y="173"/>
                    <a:pt x="113" y="175"/>
                    <a:pt x="113" y="176"/>
                  </a:cubicBezTo>
                  <a:cubicBezTo>
                    <a:pt x="112" y="179"/>
                    <a:pt x="109" y="182"/>
                    <a:pt x="108" y="185"/>
                  </a:cubicBezTo>
                  <a:cubicBezTo>
                    <a:pt x="108" y="186"/>
                    <a:pt x="111" y="186"/>
                    <a:pt x="110" y="187"/>
                  </a:cubicBezTo>
                  <a:cubicBezTo>
                    <a:pt x="110" y="189"/>
                    <a:pt x="107" y="189"/>
                    <a:pt x="107" y="192"/>
                  </a:cubicBezTo>
                  <a:cubicBezTo>
                    <a:pt x="103" y="206"/>
                    <a:pt x="112" y="202"/>
                    <a:pt x="121" y="202"/>
                  </a:cubicBezTo>
                  <a:cubicBezTo>
                    <a:pt x="122" y="202"/>
                    <a:pt x="122" y="202"/>
                    <a:pt x="122" y="202"/>
                  </a:cubicBezTo>
                  <a:cubicBezTo>
                    <a:pt x="121" y="201"/>
                    <a:pt x="120" y="199"/>
                    <a:pt x="120" y="198"/>
                  </a:cubicBezTo>
                  <a:cubicBezTo>
                    <a:pt x="121" y="196"/>
                    <a:pt x="125" y="196"/>
                    <a:pt x="125" y="194"/>
                  </a:cubicBezTo>
                  <a:cubicBezTo>
                    <a:pt x="127" y="184"/>
                    <a:pt x="110" y="181"/>
                    <a:pt x="116" y="180"/>
                  </a:cubicBezTo>
                  <a:cubicBezTo>
                    <a:pt x="117" y="179"/>
                    <a:pt x="118" y="181"/>
                    <a:pt x="120" y="181"/>
                  </a:cubicBezTo>
                  <a:cubicBezTo>
                    <a:pt x="130" y="172"/>
                    <a:pt x="130" y="172"/>
                    <a:pt x="130" y="172"/>
                  </a:cubicBezTo>
                  <a:cubicBezTo>
                    <a:pt x="131" y="169"/>
                    <a:pt x="123" y="172"/>
                    <a:pt x="126" y="168"/>
                  </a:cubicBezTo>
                  <a:cubicBezTo>
                    <a:pt x="127" y="164"/>
                    <a:pt x="131" y="161"/>
                    <a:pt x="133" y="157"/>
                  </a:cubicBezTo>
                  <a:cubicBezTo>
                    <a:pt x="138" y="145"/>
                    <a:pt x="126" y="136"/>
                    <a:pt x="122" y="129"/>
                  </a:cubicBezTo>
                  <a:cubicBezTo>
                    <a:pt x="122" y="128"/>
                    <a:pt x="123" y="126"/>
                    <a:pt x="123" y="125"/>
                  </a:cubicBezTo>
                  <a:cubicBezTo>
                    <a:pt x="123" y="124"/>
                    <a:pt x="122" y="122"/>
                    <a:pt x="123" y="122"/>
                  </a:cubicBezTo>
                  <a:cubicBezTo>
                    <a:pt x="126" y="120"/>
                    <a:pt x="130" y="122"/>
                    <a:pt x="133" y="121"/>
                  </a:cubicBezTo>
                  <a:cubicBezTo>
                    <a:pt x="134" y="120"/>
                    <a:pt x="132" y="117"/>
                    <a:pt x="133" y="117"/>
                  </a:cubicBezTo>
                  <a:cubicBezTo>
                    <a:pt x="137" y="119"/>
                    <a:pt x="139" y="122"/>
                    <a:pt x="143" y="122"/>
                  </a:cubicBezTo>
                  <a:cubicBezTo>
                    <a:pt x="147" y="123"/>
                    <a:pt x="162" y="118"/>
                    <a:pt x="164" y="114"/>
                  </a:cubicBezTo>
                  <a:cubicBezTo>
                    <a:pt x="165" y="110"/>
                    <a:pt x="153" y="109"/>
                    <a:pt x="158" y="106"/>
                  </a:cubicBezTo>
                  <a:cubicBezTo>
                    <a:pt x="167" y="100"/>
                    <a:pt x="178" y="98"/>
                    <a:pt x="176" y="83"/>
                  </a:cubicBezTo>
                  <a:cubicBezTo>
                    <a:pt x="175" y="76"/>
                    <a:pt x="154" y="79"/>
                    <a:pt x="159" y="70"/>
                  </a:cubicBezTo>
                  <a:cubicBezTo>
                    <a:pt x="160" y="69"/>
                    <a:pt x="163" y="70"/>
                    <a:pt x="163" y="69"/>
                  </a:cubicBezTo>
                  <a:cubicBezTo>
                    <a:pt x="163" y="68"/>
                    <a:pt x="160" y="66"/>
                    <a:pt x="161" y="64"/>
                  </a:cubicBezTo>
                  <a:cubicBezTo>
                    <a:pt x="161" y="63"/>
                    <a:pt x="163" y="63"/>
                    <a:pt x="164" y="63"/>
                  </a:cubicBezTo>
                  <a:cubicBezTo>
                    <a:pt x="168" y="63"/>
                    <a:pt x="171" y="65"/>
                    <a:pt x="175" y="65"/>
                  </a:cubicBezTo>
                  <a:cubicBezTo>
                    <a:pt x="180" y="65"/>
                    <a:pt x="176" y="56"/>
                    <a:pt x="177" y="51"/>
                  </a:cubicBezTo>
                  <a:cubicBezTo>
                    <a:pt x="178" y="47"/>
                    <a:pt x="188" y="29"/>
                    <a:pt x="187" y="20"/>
                  </a:cubicBezTo>
                  <a:cubicBezTo>
                    <a:pt x="176" y="25"/>
                    <a:pt x="174" y="4"/>
                    <a:pt x="165" y="2"/>
                  </a:cubicBezTo>
                  <a:cubicBezTo>
                    <a:pt x="156" y="0"/>
                    <a:pt x="112" y="10"/>
                    <a:pt x="107" y="18"/>
                  </a:cubicBezTo>
                  <a:cubicBezTo>
                    <a:pt x="104" y="21"/>
                    <a:pt x="103" y="25"/>
                    <a:pt x="100" y="27"/>
                  </a:cubicBezTo>
                  <a:close/>
                  <a:moveTo>
                    <a:pt x="1" y="147"/>
                  </a:moveTo>
                  <a:cubicBezTo>
                    <a:pt x="0" y="162"/>
                    <a:pt x="12" y="152"/>
                    <a:pt x="21" y="156"/>
                  </a:cubicBezTo>
                  <a:cubicBezTo>
                    <a:pt x="22" y="157"/>
                    <a:pt x="19" y="159"/>
                    <a:pt x="21" y="160"/>
                  </a:cubicBezTo>
                  <a:cubicBezTo>
                    <a:pt x="27" y="165"/>
                    <a:pt x="33" y="157"/>
                    <a:pt x="37" y="153"/>
                  </a:cubicBezTo>
                  <a:cubicBezTo>
                    <a:pt x="35" y="150"/>
                    <a:pt x="31" y="148"/>
                    <a:pt x="30" y="147"/>
                  </a:cubicBezTo>
                  <a:cubicBezTo>
                    <a:pt x="27" y="147"/>
                    <a:pt x="27" y="152"/>
                    <a:pt x="24" y="152"/>
                  </a:cubicBezTo>
                  <a:cubicBezTo>
                    <a:pt x="14" y="152"/>
                    <a:pt x="21" y="146"/>
                    <a:pt x="9" y="145"/>
                  </a:cubicBezTo>
                  <a:cubicBezTo>
                    <a:pt x="6" y="144"/>
                    <a:pt x="4" y="144"/>
                    <a:pt x="0" y="145"/>
                  </a:cubicBezTo>
                  <a:lnTo>
                    <a:pt x="1" y="147"/>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144" name="Connecteur droit 208">
            <a:extLst>
              <a:ext uri="{FF2B5EF4-FFF2-40B4-BE49-F238E27FC236}">
                <a16:creationId xmlns:a16="http://schemas.microsoft.com/office/drawing/2014/main" id="{9FA18470-5180-40B5-9101-E3A9B2190059}"/>
              </a:ext>
            </a:extLst>
          </p:cNvPr>
          <p:cNvCxnSpPr>
            <a:cxnSpLocks/>
          </p:cNvCxnSpPr>
          <p:nvPr/>
        </p:nvCxnSpPr>
        <p:spPr bwMode="auto">
          <a:xfrm>
            <a:off x="5298729" y="1061526"/>
            <a:ext cx="43165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46" name="Rectangle 84">
            <a:extLst>
              <a:ext uri="{FF2B5EF4-FFF2-40B4-BE49-F238E27FC236}">
                <a16:creationId xmlns:a16="http://schemas.microsoft.com/office/drawing/2014/main" id="{057919CB-A81F-4326-B8E9-4ADC2470AE35}"/>
              </a:ext>
            </a:extLst>
          </p:cNvPr>
          <p:cNvSpPr/>
          <p:nvPr/>
        </p:nvSpPr>
        <p:spPr bwMode="auto">
          <a:xfrm>
            <a:off x="5790529" y="849343"/>
            <a:ext cx="3332933" cy="424367"/>
          </a:xfrm>
          <a:prstGeom prst="rect">
            <a:avLst/>
          </a:prstGeom>
          <a:solidFill>
            <a:schemeClr val="bg1"/>
          </a:solidFill>
        </p:spPr>
        <p:txBody>
          <a:bodyPr wrap="square" rtlCol="0">
            <a:noAutofit/>
          </a:bodyPr>
          <a:lstStyle/>
          <a:p>
            <a:pPr algn="ctr"/>
            <a:r>
              <a:rPr lang="en-GB" sz="1100">
                <a:latin typeface="Trebuchet MS" panose="020B0603020202020204" pitchFamily="34" charset="0"/>
              </a:rPr>
              <a:t>Geographical repartition of bookings generated by </a:t>
            </a:r>
            <a:r>
              <a:rPr lang="en-GB" sz="1100" err="1">
                <a:latin typeface="Trebuchet MS" panose="020B0603020202020204" pitchFamily="34" charset="0"/>
              </a:rPr>
              <a:t>Altares</a:t>
            </a:r>
            <a:r>
              <a:rPr lang="en-GB" sz="1100">
                <a:latin typeface="Trebuchet MS" panose="020B0603020202020204" pitchFamily="34" charset="0"/>
              </a:rPr>
              <a:t>' and D&amp;B’s products In France and Benelux</a:t>
            </a:r>
          </a:p>
        </p:txBody>
      </p:sp>
      <p:graphicFrame>
        <p:nvGraphicFramePr>
          <p:cNvPr id="12" name="Chart 11">
            <a:extLst>
              <a:ext uri="{FF2B5EF4-FFF2-40B4-BE49-F238E27FC236}">
                <a16:creationId xmlns:a16="http://schemas.microsoft.com/office/drawing/2014/main" id="{B53B2C45-7DAF-4D88-9157-D8000FC7D0FA}"/>
              </a:ext>
            </a:extLst>
          </p:cNvPr>
          <p:cNvGraphicFramePr/>
          <p:nvPr>
            <p:extLst>
              <p:ext uri="{D42A27DB-BD31-4B8C-83A1-F6EECF244321}">
                <p14:modId xmlns:p14="http://schemas.microsoft.com/office/powerpoint/2010/main" val="355853826"/>
              </p:ext>
            </p:extLst>
          </p:nvPr>
        </p:nvGraphicFramePr>
        <p:xfrm>
          <a:off x="6151140" y="3123142"/>
          <a:ext cx="2265492" cy="1707035"/>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3" name="Chart 12">
            <a:extLst>
              <a:ext uri="{FF2B5EF4-FFF2-40B4-BE49-F238E27FC236}">
                <a16:creationId xmlns:a16="http://schemas.microsoft.com/office/drawing/2014/main" id="{88FAFAE8-F712-44E2-87D4-61D792D8DBE9}"/>
              </a:ext>
            </a:extLst>
          </p:cNvPr>
          <p:cNvGraphicFramePr/>
          <p:nvPr>
            <p:extLst>
              <p:ext uri="{D42A27DB-BD31-4B8C-83A1-F6EECF244321}">
                <p14:modId xmlns:p14="http://schemas.microsoft.com/office/powerpoint/2010/main" val="124019502"/>
              </p:ext>
            </p:extLst>
          </p:nvPr>
        </p:nvGraphicFramePr>
        <p:xfrm>
          <a:off x="7322417" y="1521787"/>
          <a:ext cx="2265492" cy="1707035"/>
        </p:xfrm>
        <a:graphic>
          <a:graphicData uri="http://schemas.openxmlformats.org/drawingml/2006/chart">
            <c:chart xmlns:c="http://schemas.openxmlformats.org/drawingml/2006/chart" xmlns:r="http://schemas.openxmlformats.org/officeDocument/2006/relationships" r:id="rId13"/>
          </a:graphicData>
        </a:graphic>
      </p:graphicFrame>
      <p:grpSp>
        <p:nvGrpSpPr>
          <p:cNvPr id="17" name="Group 16">
            <a:extLst>
              <a:ext uri="{FF2B5EF4-FFF2-40B4-BE49-F238E27FC236}">
                <a16:creationId xmlns:a16="http://schemas.microsoft.com/office/drawing/2014/main" id="{453B69C6-8D1E-4441-982B-507B1F6F60B2}"/>
              </a:ext>
            </a:extLst>
          </p:cNvPr>
          <p:cNvGrpSpPr/>
          <p:nvPr/>
        </p:nvGrpSpPr>
        <p:grpSpPr>
          <a:xfrm>
            <a:off x="5334788" y="5843574"/>
            <a:ext cx="4244413" cy="553998"/>
            <a:chOff x="5796211" y="5843574"/>
            <a:chExt cx="4244413" cy="553998"/>
          </a:xfrm>
        </p:grpSpPr>
        <p:grpSp>
          <p:nvGrpSpPr>
            <p:cNvPr id="6" name="Group 5">
              <a:extLst>
                <a:ext uri="{FF2B5EF4-FFF2-40B4-BE49-F238E27FC236}">
                  <a16:creationId xmlns:a16="http://schemas.microsoft.com/office/drawing/2014/main" id="{0CDD1610-E05D-474A-9FB4-7EFA6F17CDB8}"/>
                </a:ext>
              </a:extLst>
            </p:cNvPr>
            <p:cNvGrpSpPr/>
            <p:nvPr/>
          </p:nvGrpSpPr>
          <p:grpSpPr>
            <a:xfrm>
              <a:off x="5796211" y="5843574"/>
              <a:ext cx="1390755" cy="553998"/>
              <a:chOff x="7258279" y="5843574"/>
              <a:chExt cx="1390755" cy="553998"/>
            </a:xfrm>
          </p:grpSpPr>
          <p:sp>
            <p:nvSpPr>
              <p:cNvPr id="37" name="TextBox 36">
                <a:extLst>
                  <a:ext uri="{FF2B5EF4-FFF2-40B4-BE49-F238E27FC236}">
                    <a16:creationId xmlns:a16="http://schemas.microsoft.com/office/drawing/2014/main" id="{AC67A62A-C519-4E8A-9475-AA59086A370D}"/>
                  </a:ext>
                </a:extLst>
              </p:cNvPr>
              <p:cNvSpPr txBox="1"/>
              <p:nvPr/>
            </p:nvSpPr>
            <p:spPr>
              <a:xfrm>
                <a:off x="7406092" y="5843574"/>
                <a:ext cx="1242942" cy="553998"/>
              </a:xfrm>
              <a:prstGeom prst="rect">
                <a:avLst/>
              </a:prstGeom>
              <a:noFill/>
            </p:spPr>
            <p:txBody>
              <a:bodyPr wrap="square" rtlCol="0">
                <a:spAutoFit/>
              </a:bodyPr>
              <a:lstStyle/>
              <a:p>
                <a:r>
                  <a:rPr lang="en-GB" sz="1000">
                    <a:latin typeface="+mj-lt"/>
                  </a:rPr>
                  <a:t>Bookings from proprietary Altares' solutions</a:t>
                </a:r>
              </a:p>
            </p:txBody>
          </p:sp>
          <p:sp>
            <p:nvSpPr>
              <p:cNvPr id="35" name="Rectangle 34">
                <a:extLst>
                  <a:ext uri="{FF2B5EF4-FFF2-40B4-BE49-F238E27FC236}">
                    <a16:creationId xmlns:a16="http://schemas.microsoft.com/office/drawing/2014/main" id="{70CA4EA1-5902-4787-9E50-2D1A87FE75E3}"/>
                  </a:ext>
                </a:extLst>
              </p:cNvPr>
              <p:cNvSpPr/>
              <p:nvPr/>
            </p:nvSpPr>
            <p:spPr bwMode="auto">
              <a:xfrm>
                <a:off x="7258279" y="5979323"/>
                <a:ext cx="144000" cy="1440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grpSp>
          <p:nvGrpSpPr>
            <p:cNvPr id="4" name="Group 3">
              <a:extLst>
                <a:ext uri="{FF2B5EF4-FFF2-40B4-BE49-F238E27FC236}">
                  <a16:creationId xmlns:a16="http://schemas.microsoft.com/office/drawing/2014/main" id="{E767557B-5B2F-40D0-8163-219A84DD5C01}"/>
                </a:ext>
              </a:extLst>
            </p:cNvPr>
            <p:cNvGrpSpPr/>
            <p:nvPr/>
          </p:nvGrpSpPr>
          <p:grpSpPr>
            <a:xfrm>
              <a:off x="7224946" y="5843574"/>
              <a:ext cx="1386942" cy="415498"/>
              <a:chOff x="5805264" y="5843574"/>
              <a:chExt cx="1386942" cy="415498"/>
            </a:xfrm>
          </p:grpSpPr>
          <p:sp>
            <p:nvSpPr>
              <p:cNvPr id="7" name="Rectangle 6">
                <a:extLst>
                  <a:ext uri="{FF2B5EF4-FFF2-40B4-BE49-F238E27FC236}">
                    <a16:creationId xmlns:a16="http://schemas.microsoft.com/office/drawing/2014/main" id="{BA95E53C-27B7-4E74-AEE1-B5550F2E1C25}"/>
                  </a:ext>
                </a:extLst>
              </p:cNvPr>
              <p:cNvSpPr/>
              <p:nvPr/>
            </p:nvSpPr>
            <p:spPr bwMode="auto">
              <a:xfrm>
                <a:off x="5805264" y="5979323"/>
                <a:ext cx="144000" cy="14400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8" name="TextBox 7">
                <a:extLst>
                  <a:ext uri="{FF2B5EF4-FFF2-40B4-BE49-F238E27FC236}">
                    <a16:creationId xmlns:a16="http://schemas.microsoft.com/office/drawing/2014/main" id="{2A7C7C8E-3CA9-414B-9ED6-2BCDFE172FE4}"/>
                  </a:ext>
                </a:extLst>
              </p:cNvPr>
              <p:cNvSpPr txBox="1"/>
              <p:nvPr/>
            </p:nvSpPr>
            <p:spPr>
              <a:xfrm>
                <a:off x="5949264" y="5843574"/>
                <a:ext cx="1242942" cy="415498"/>
              </a:xfrm>
              <a:prstGeom prst="rect">
                <a:avLst/>
              </a:prstGeom>
              <a:noFill/>
            </p:spPr>
            <p:txBody>
              <a:bodyPr wrap="square" rtlCol="0">
                <a:spAutoFit/>
              </a:bodyPr>
              <a:lstStyle/>
              <a:p>
                <a:r>
                  <a:rPr lang="en-GB" sz="1000">
                    <a:latin typeface="+mj-lt"/>
                  </a:rPr>
                  <a:t>Bookings from D&amp;B products</a:t>
                </a:r>
              </a:p>
            </p:txBody>
          </p:sp>
        </p:grpSp>
        <p:grpSp>
          <p:nvGrpSpPr>
            <p:cNvPr id="15" name="Group 14">
              <a:extLst>
                <a:ext uri="{FF2B5EF4-FFF2-40B4-BE49-F238E27FC236}">
                  <a16:creationId xmlns:a16="http://schemas.microsoft.com/office/drawing/2014/main" id="{C5EBE051-454F-44DE-9567-A99E4E1537F1}"/>
                </a:ext>
              </a:extLst>
            </p:cNvPr>
            <p:cNvGrpSpPr/>
            <p:nvPr/>
          </p:nvGrpSpPr>
          <p:grpSpPr>
            <a:xfrm>
              <a:off x="8649869" y="5843574"/>
              <a:ext cx="1390755" cy="553998"/>
              <a:chOff x="8658922" y="5843574"/>
              <a:chExt cx="1390755" cy="553998"/>
            </a:xfrm>
          </p:grpSpPr>
          <p:sp>
            <p:nvSpPr>
              <p:cNvPr id="45" name="TextBox 44">
                <a:extLst>
                  <a:ext uri="{FF2B5EF4-FFF2-40B4-BE49-F238E27FC236}">
                    <a16:creationId xmlns:a16="http://schemas.microsoft.com/office/drawing/2014/main" id="{04DEF87C-6063-4038-9A7F-E4B59E5EB3F3}"/>
                  </a:ext>
                </a:extLst>
              </p:cNvPr>
              <p:cNvSpPr txBox="1"/>
              <p:nvPr/>
            </p:nvSpPr>
            <p:spPr>
              <a:xfrm>
                <a:off x="8806735" y="5843574"/>
                <a:ext cx="1242942" cy="553998"/>
              </a:xfrm>
              <a:prstGeom prst="rect">
                <a:avLst/>
              </a:prstGeom>
              <a:noFill/>
            </p:spPr>
            <p:txBody>
              <a:bodyPr wrap="square" rtlCol="0">
                <a:spAutoFit/>
              </a:bodyPr>
              <a:lstStyle/>
              <a:p>
                <a:r>
                  <a:rPr lang="en-GB" sz="1000">
                    <a:latin typeface="+mj-lt"/>
                  </a:rPr>
                  <a:t>Indirect bookings from D&amp;B partnership</a:t>
                </a:r>
              </a:p>
            </p:txBody>
          </p:sp>
          <p:sp>
            <p:nvSpPr>
              <p:cNvPr id="48" name="Rectangle 47">
                <a:extLst>
                  <a:ext uri="{FF2B5EF4-FFF2-40B4-BE49-F238E27FC236}">
                    <a16:creationId xmlns:a16="http://schemas.microsoft.com/office/drawing/2014/main" id="{1EBFCDDD-65DC-44D3-BAEB-2E0814BECF50}"/>
                  </a:ext>
                </a:extLst>
              </p:cNvPr>
              <p:cNvSpPr/>
              <p:nvPr/>
            </p:nvSpPr>
            <p:spPr bwMode="auto">
              <a:xfrm>
                <a:off x="8658922" y="5979323"/>
                <a:ext cx="144000" cy="144000"/>
              </a:xfrm>
              <a:prstGeom prst="rect">
                <a:avLst/>
              </a:prstGeom>
              <a:solidFill>
                <a:srgbClr val="D2EBD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grpSp>
      <p:grpSp>
        <p:nvGrpSpPr>
          <p:cNvPr id="40" name="Groupe 66">
            <a:extLst>
              <a:ext uri="{FF2B5EF4-FFF2-40B4-BE49-F238E27FC236}">
                <a16:creationId xmlns:a16="http://schemas.microsoft.com/office/drawing/2014/main" id="{2DB9606E-1769-49B3-ACF3-E184037D76DC}"/>
              </a:ext>
            </a:extLst>
          </p:cNvPr>
          <p:cNvGrpSpPr/>
          <p:nvPr/>
        </p:nvGrpSpPr>
        <p:grpSpPr>
          <a:xfrm>
            <a:off x="8448150" y="-11528"/>
            <a:ext cx="1435548" cy="588143"/>
            <a:chOff x="8448150" y="-11528"/>
            <a:chExt cx="1435548" cy="588143"/>
          </a:xfrm>
        </p:grpSpPr>
        <p:sp>
          <p:nvSpPr>
            <p:cNvPr id="49" name="Rectangle : coins arrondis 199">
              <a:extLst>
                <a:ext uri="{FF2B5EF4-FFF2-40B4-BE49-F238E27FC236}">
                  <a16:creationId xmlns:a16="http://schemas.microsoft.com/office/drawing/2014/main" id="{42E6D15E-BAB1-4986-B61C-95C228E968D5}"/>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0" name="Rectangle : coins arrondis 200">
              <a:extLst>
                <a:ext uri="{FF2B5EF4-FFF2-40B4-BE49-F238E27FC236}">
                  <a16:creationId xmlns:a16="http://schemas.microsoft.com/office/drawing/2014/main" id="{F222F7DC-FB00-4FE0-AB94-7EDAF143DFF7}"/>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1" name="Rectangle : coins arrondis 201">
              <a:extLst>
                <a:ext uri="{FF2B5EF4-FFF2-40B4-BE49-F238E27FC236}">
                  <a16:creationId xmlns:a16="http://schemas.microsoft.com/office/drawing/2014/main" id="{4E4651A2-C83A-4045-8852-29F63F5D318A}"/>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2" name="ZoneTexte 18">
              <a:extLst>
                <a:ext uri="{FF2B5EF4-FFF2-40B4-BE49-F238E27FC236}">
                  <a16:creationId xmlns:a16="http://schemas.microsoft.com/office/drawing/2014/main" id="{0C23DE27-FD8B-44E8-9A7A-481303891D4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Partnership with D&amp;B</a:t>
              </a:r>
            </a:p>
          </p:txBody>
        </p:sp>
        <p:pic>
          <p:nvPicPr>
            <p:cNvPr id="53" name="Graphique 128" descr="Jauge">
              <a:extLst>
                <a:ext uri="{FF2B5EF4-FFF2-40B4-BE49-F238E27FC236}">
                  <a16:creationId xmlns:a16="http://schemas.microsoft.com/office/drawing/2014/main" id="{1825AF2D-C4B4-4F6E-8654-157C0949D6C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553764" y="187516"/>
              <a:ext cx="234953" cy="218224"/>
            </a:xfrm>
            <a:prstGeom prst="rect">
              <a:avLst/>
            </a:prstGeom>
            <a:effectLst/>
          </p:spPr>
        </p:pic>
        <p:pic>
          <p:nvPicPr>
            <p:cNvPr id="54" name="Graphique 90" descr="Poignée de main">
              <a:extLst>
                <a:ext uri="{FF2B5EF4-FFF2-40B4-BE49-F238E27FC236}">
                  <a16:creationId xmlns:a16="http://schemas.microsoft.com/office/drawing/2014/main" id="{06C4C044-341B-438B-BDD9-357761E2BC1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960868" y="152880"/>
              <a:ext cx="256313" cy="287496"/>
            </a:xfrm>
            <a:prstGeom prst="rect">
              <a:avLst/>
            </a:prstGeom>
            <a:effectLst/>
          </p:spPr>
        </p:pic>
        <p:pic>
          <p:nvPicPr>
            <p:cNvPr id="55" name="Graphique 96" descr="Mégaphone">
              <a:extLst>
                <a:ext uri="{FF2B5EF4-FFF2-40B4-BE49-F238E27FC236}">
                  <a16:creationId xmlns:a16="http://schemas.microsoft.com/office/drawing/2014/main" id="{3F763544-750A-44DF-A0C2-11896ED1BE5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389331" y="181519"/>
              <a:ext cx="233011" cy="216420"/>
            </a:xfrm>
            <a:prstGeom prst="rect">
              <a:avLst/>
            </a:prstGeom>
            <a:effectLst/>
          </p:spPr>
        </p:pic>
        <p:pic>
          <p:nvPicPr>
            <p:cNvPr id="56" name="Picture 2" descr="Drapeau France">
              <a:extLst>
                <a:ext uri="{FF2B5EF4-FFF2-40B4-BE49-F238E27FC236}">
                  <a16:creationId xmlns:a16="http://schemas.microsoft.com/office/drawing/2014/main" id="{E3C08B83-B275-4198-A71B-35E66737F07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7" name="Picture 2" descr="5 ft x 3 ft 150 x 90 cm-DRAPEAU BELGE Belgique 100% Polyester ...">
              <a:extLst>
                <a:ext uri="{FF2B5EF4-FFF2-40B4-BE49-F238E27FC236}">
                  <a16:creationId xmlns:a16="http://schemas.microsoft.com/office/drawing/2014/main" id="{77AB31A2-3523-48E0-B273-B11ED267421D}"/>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8" name="Picture 2 - 1" descr="Drapeau des Pays-Bas — Wikipédia">
              <a:extLst>
                <a:ext uri="{FF2B5EF4-FFF2-40B4-BE49-F238E27FC236}">
                  <a16:creationId xmlns:a16="http://schemas.microsoft.com/office/drawing/2014/main" id="{278E2904-A528-4A66-A902-6CCB76D7C30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9" name="Picture 2 - 2" descr="Drapeau du Luxembourg">
              <a:extLst>
                <a:ext uri="{FF2B5EF4-FFF2-40B4-BE49-F238E27FC236}">
                  <a16:creationId xmlns:a16="http://schemas.microsoft.com/office/drawing/2014/main" id="{8D822E7B-6F8E-4E6A-B119-62A44E1EFF10}"/>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0" name="ZoneTexte 18">
              <a:extLst>
                <a:ext uri="{FF2B5EF4-FFF2-40B4-BE49-F238E27FC236}">
                  <a16:creationId xmlns:a16="http://schemas.microsoft.com/office/drawing/2014/main" id="{C1658B74-71F3-4E31-982A-835165331380}"/>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spTree>
    <p:extLst>
      <p:ext uri="{BB962C8B-B14F-4D97-AF65-F5344CB8AC3E}">
        <p14:creationId xmlns:p14="http://schemas.microsoft.com/office/powerpoint/2010/main" val="292603242"/>
      </p:ext>
    </p:extLst>
  </p:cSld>
  <p:clrMapOvr>
    <a:masterClrMapping/>
  </p:clrMapOvr>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E96EA93-E714-4D0F-A1A8-2AAA5188B475}"/>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4E9DE99D-BD68-42FE-9B3C-2293D0C1089E}"/>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BC317995-D852-4549-AC70-AA5A11CAFAFC}"/>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indent="-228600">
              <a:spcBef>
                <a:spcPts val="600"/>
              </a:spcBef>
              <a:buAutoNum type="arabicPeriod"/>
            </a:pPr>
            <a:r>
              <a:rPr lang="en-GB" sz="1200">
                <a:latin typeface="Trebuchet MS" panose="020B0603020202020204" pitchFamily="34" charset="0"/>
              </a:rPr>
              <a:t>Overview of </a:t>
            </a:r>
            <a:r>
              <a:rPr lang="en-GB" sz="1200" err="1">
                <a:latin typeface="Trebuchet MS" panose="020B0603020202020204" pitchFamily="34" charset="0"/>
              </a:rPr>
              <a:t>Altares</a:t>
            </a:r>
            <a:r>
              <a:rPr lang="en-GB" sz="1200">
                <a:latin typeface="Trebuchet MS" panose="020B0603020202020204" pitchFamily="34" charset="0"/>
              </a:rPr>
              <a:t>’ core assets</a:t>
            </a:r>
          </a:p>
          <a:p>
            <a:pPr marL="228600" indent="-228600">
              <a:spcBef>
                <a:spcPts val="600"/>
              </a:spcBef>
              <a:buAutoNum type="arabicPeriod"/>
            </a:pPr>
            <a:r>
              <a:rPr lang="en-GB" sz="1200" err="1">
                <a:latin typeface="Trebuchet MS" panose="020B0603020202020204" pitchFamily="34" charset="0"/>
              </a:rPr>
              <a:t>Altares</a:t>
            </a:r>
            <a:r>
              <a:rPr lang="en-GB" sz="1200">
                <a:latin typeface="Trebuchet MS" panose="020B0603020202020204" pitchFamily="34" charset="0"/>
              </a:rPr>
              <a:t>' offer and value proposition</a:t>
            </a:r>
          </a:p>
          <a:p>
            <a:pPr marL="685800" lvl="1" indent="-228600">
              <a:spcBef>
                <a:spcPts val="600"/>
              </a:spcBef>
              <a:buAutoNum type="romanLcPeriod"/>
            </a:pPr>
            <a:r>
              <a:rPr lang="en-GB" sz="1200" err="1">
                <a:latin typeface="Trebuchet MS" panose="020B0603020202020204" pitchFamily="34" charset="0"/>
              </a:rPr>
              <a:t>Altares</a:t>
            </a:r>
            <a:r>
              <a:rPr lang="en-GB" sz="1200">
                <a:latin typeface="Trebuchet MS" panose="020B0603020202020204" pitchFamily="34" charset="0"/>
              </a:rPr>
              <a:t>’ comprehensive offer</a:t>
            </a:r>
          </a:p>
          <a:p>
            <a:pPr marL="685800" lvl="1" indent="-228600">
              <a:spcBef>
                <a:spcPts val="600"/>
              </a:spcBef>
              <a:buAutoNum type="romanLcPeriod"/>
            </a:pPr>
            <a:r>
              <a:rPr lang="en-GB" sz="1200" err="1">
                <a:latin typeface="Trebuchet MS" panose="020B0603020202020204" pitchFamily="34" charset="0"/>
              </a:rPr>
              <a:t>Altares</a:t>
            </a:r>
            <a:r>
              <a:rPr lang="en-GB" sz="1200">
                <a:latin typeface="Trebuchet MS" panose="020B0603020202020204" pitchFamily="34" charset="0"/>
              </a:rPr>
              <a:t>’ premium value proposition </a:t>
            </a: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loyal, resilient and diversified client base</a:t>
            </a:r>
          </a:p>
          <a:p>
            <a:pPr marL="285750" indent="-285750">
              <a:spcBef>
                <a:spcPts val="600"/>
              </a:spcBef>
              <a:buFont typeface="+mj-lt"/>
              <a:buAutoNum type="arabicPeriod"/>
            </a:pPr>
            <a:r>
              <a:rPr kumimoji="0" lang="en-GB" sz="1200" b="0" i="0" u="none" strike="noStrike" kern="1200" cap="none" spc="0" normalizeH="0" baseline="0" noProof="0" err="1">
                <a:ln>
                  <a:noFill/>
                </a:ln>
                <a:effectLst/>
                <a:uLnTx/>
                <a:uFillTx/>
                <a:latin typeface="Trebuchet MS" panose="020B0603020202020204" pitchFamily="34" charset="0"/>
                <a:ea typeface="+mn-ea"/>
                <a:cs typeface="Arial" pitchFamily="34" charset="0"/>
              </a:rPr>
              <a:t>Altares</a:t>
            </a:r>
            <a:r>
              <a:rPr kumimoji="0" lang="en-GB" sz="1200" b="0" i="0" u="none" strike="noStrike" kern="1200" cap="none" spc="0" normalizeH="0" baseline="0" noProof="0">
                <a:ln>
                  <a:noFill/>
                </a:ln>
                <a:effectLst/>
                <a:uLnTx/>
                <a:uFillTx/>
                <a:latin typeface="Trebuchet MS" panose="020B0603020202020204" pitchFamily="34" charset="0"/>
                <a:ea typeface="+mn-ea"/>
                <a:cs typeface="Arial" pitchFamily="34" charset="0"/>
              </a:rPr>
              <a:t>’ structuring partnership with Dun &amp; Bradstreet</a:t>
            </a:r>
          </a:p>
          <a:p>
            <a:pPr marL="285750" indent="-285750">
              <a:spcBef>
                <a:spcPts val="600"/>
              </a:spcBef>
              <a:buFont typeface="+mj-lt"/>
              <a:buAutoNum type="arabicPeriod"/>
            </a:pPr>
            <a:r>
              <a:rPr lang="en-GB" sz="1200" err="1">
                <a:solidFill>
                  <a:schemeClr val="tx2"/>
                </a:solidFill>
                <a:latin typeface="Trebuchet MS" panose="020B0603020202020204" pitchFamily="34" charset="0"/>
              </a:rPr>
              <a:t>Altares</a:t>
            </a:r>
            <a:r>
              <a:rPr lang="en-GB" sz="1200">
                <a:solidFill>
                  <a:schemeClr val="tx2"/>
                </a:solidFill>
                <a:latin typeface="Trebuchet MS" panose="020B0603020202020204" pitchFamily="34" charset="0"/>
              </a:rPr>
              <a:t>’ high-quality comprehensive data collection</a:t>
            </a:r>
            <a:endParaRPr kumimoji="0" lang="en-GB" sz="1200" b="0"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endParaRP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fine-tuned operating model</a:t>
            </a:r>
          </a:p>
        </p:txBody>
      </p:sp>
      <p:sp>
        <p:nvSpPr>
          <p:cNvPr id="5" name="Chevron">
            <a:extLst>
              <a:ext uri="{FF2B5EF4-FFF2-40B4-BE49-F238E27FC236}">
                <a16:creationId xmlns:a16="http://schemas.microsoft.com/office/drawing/2014/main" id="{19C7AF68-ADEF-46DC-A209-2CDD74387B37}"/>
              </a:ext>
            </a:extLst>
          </p:cNvPr>
          <p:cNvSpPr/>
          <p:nvPr/>
        </p:nvSpPr>
        <p:spPr bwMode="auto">
          <a:xfrm>
            <a:off x="1418399" y="2685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 name="Section">
            <a:extLst>
              <a:ext uri="{FF2B5EF4-FFF2-40B4-BE49-F238E27FC236}">
                <a16:creationId xmlns:a16="http://schemas.microsoft.com/office/drawing/2014/main" id="{636E6D9A-2F3C-453B-9C0F-03B146337E4D}"/>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3</a:t>
            </a:r>
          </a:p>
        </p:txBody>
      </p:sp>
      <p:sp>
        <p:nvSpPr>
          <p:cNvPr id="7" name="Isosceles Triangle">
            <a:extLst>
              <a:ext uri="{FF2B5EF4-FFF2-40B4-BE49-F238E27FC236}">
                <a16:creationId xmlns:a16="http://schemas.microsoft.com/office/drawing/2014/main" id="{35B018B4-1C0B-4268-97EF-91968283E178}"/>
              </a:ext>
            </a:extLst>
          </p:cNvPr>
          <p:cNvSpPr/>
          <p:nvPr/>
        </p:nvSpPr>
        <p:spPr bwMode="auto">
          <a:xfrm rot="5400000">
            <a:off x="5731200" y="2791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 name="Arrow: Pentagon">
            <a:extLst>
              <a:ext uri="{FF2B5EF4-FFF2-40B4-BE49-F238E27FC236}">
                <a16:creationId xmlns:a16="http://schemas.microsoft.com/office/drawing/2014/main" id="{BB2B3506-6FB0-43BF-87F5-4D1B9CF036EE}"/>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9" name="Oval">
            <a:extLst>
              <a:ext uri="{FF2B5EF4-FFF2-40B4-BE49-F238E27FC236}">
                <a16:creationId xmlns:a16="http://schemas.microsoft.com/office/drawing/2014/main" id="{7DEB9686-3DB8-45FE-B044-4DBC103B2B19}"/>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10" name="Arrow: Pentagon">
            <a:extLst>
              <a:ext uri="{FF2B5EF4-FFF2-40B4-BE49-F238E27FC236}">
                <a16:creationId xmlns:a16="http://schemas.microsoft.com/office/drawing/2014/main" id="{A5B43BBA-3D09-4869-98D2-FF82F11FB12C}"/>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11" name="Oval">
            <a:extLst>
              <a:ext uri="{FF2B5EF4-FFF2-40B4-BE49-F238E27FC236}">
                <a16:creationId xmlns:a16="http://schemas.microsoft.com/office/drawing/2014/main" id="{21DD2EBB-895D-441C-8259-48FB7099B6AF}"/>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13" name="Arrow: Pentagon">
            <a:extLst>
              <a:ext uri="{FF2B5EF4-FFF2-40B4-BE49-F238E27FC236}">
                <a16:creationId xmlns:a16="http://schemas.microsoft.com/office/drawing/2014/main" id="{8BC56806-2FAF-4220-BCBF-4329770B04DA}"/>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14" name="Arrow: Pentagon">
            <a:extLst>
              <a:ext uri="{FF2B5EF4-FFF2-40B4-BE49-F238E27FC236}">
                <a16:creationId xmlns:a16="http://schemas.microsoft.com/office/drawing/2014/main" id="{992D38D8-FC13-4704-8AFB-613A1DAA517D}"/>
              </a:ext>
            </a:extLst>
          </p:cNvPr>
          <p:cNvSpPr/>
          <p:nvPr/>
        </p:nvSpPr>
        <p:spPr bwMode="auto">
          <a:xfrm>
            <a:off x="1641598" y="2685599"/>
            <a:ext cx="4319993"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value proposition &amp; core assets</a:t>
            </a:r>
          </a:p>
        </p:txBody>
      </p:sp>
      <p:sp>
        <p:nvSpPr>
          <p:cNvPr id="15" name="Oval">
            <a:extLst>
              <a:ext uri="{FF2B5EF4-FFF2-40B4-BE49-F238E27FC236}">
                <a16:creationId xmlns:a16="http://schemas.microsoft.com/office/drawing/2014/main" id="{046FE342-697D-4FAE-9D4D-E872089C594F}"/>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16" name="Arrow: Pentagon">
            <a:extLst>
              <a:ext uri="{FF2B5EF4-FFF2-40B4-BE49-F238E27FC236}">
                <a16:creationId xmlns:a16="http://schemas.microsoft.com/office/drawing/2014/main" id="{A108A5D9-4615-4283-B0C8-7FC20442A32B}"/>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17" name="Oval">
            <a:extLst>
              <a:ext uri="{FF2B5EF4-FFF2-40B4-BE49-F238E27FC236}">
                <a16:creationId xmlns:a16="http://schemas.microsoft.com/office/drawing/2014/main" id="{CC63A37C-4C12-4F92-AEE5-27541AC98845}"/>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39" name="Oval">
            <a:extLst>
              <a:ext uri="{FF2B5EF4-FFF2-40B4-BE49-F238E27FC236}">
                <a16:creationId xmlns:a16="http://schemas.microsoft.com/office/drawing/2014/main" id="{430F223D-4FD0-4946-BFDC-24228E4F0165}"/>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2696763137"/>
      </p:ext>
    </p:extLst>
  </p:cSld>
  <p:clrMapOvr>
    <a:masterClrMapping/>
  </p:clrMapOvr>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E4214D1-7771-4E07-BC5D-F7799787D2A0}"/>
              </a:ext>
            </a:extLst>
          </p:cNvPr>
          <p:cNvSpPr>
            <a:spLocks noGrp="1"/>
          </p:cNvSpPr>
          <p:nvPr>
            <p:ph type="body" sz="quarter" idx="10"/>
          </p:nvPr>
        </p:nvSpPr>
        <p:spPr>
          <a:xfrm>
            <a:off x="1315274" y="6580025"/>
            <a:ext cx="1793934" cy="252000"/>
          </a:xfrm>
        </p:spPr>
        <p:txBody>
          <a:bodyPr/>
          <a:lstStyle/>
          <a:p>
            <a:r>
              <a:rPr lang="en-GB" sz="800" i="1" kern="0"/>
              <a:t>Sources: eleven research &amp; analysis, company data</a:t>
            </a:r>
          </a:p>
          <a:p>
            <a:endParaRPr lang="en-GB"/>
          </a:p>
        </p:txBody>
      </p:sp>
      <p:sp>
        <p:nvSpPr>
          <p:cNvPr id="68" name="Titre 2">
            <a:extLst>
              <a:ext uri="{FF2B5EF4-FFF2-40B4-BE49-F238E27FC236}">
                <a16:creationId xmlns:a16="http://schemas.microsoft.com/office/drawing/2014/main" id="{1770A98C-779B-4DA7-A16E-099ABB896E95}"/>
              </a:ext>
            </a:extLst>
          </p:cNvPr>
          <p:cNvSpPr txBox="1">
            <a:spLocks/>
          </p:cNvSpPr>
          <p:nvPr/>
        </p:nvSpPr>
        <p:spPr>
          <a:xfrm>
            <a:off x="165600" y="147600"/>
            <a:ext cx="8219380" cy="684000"/>
          </a:xfrm>
          <a:prstGeom prst="rect">
            <a:avLst/>
          </a:prstGeom>
        </p:spPr>
        <p:txBody>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err="1">
                <a:latin typeface="Trebuchet MS" panose="020B0603020202020204" pitchFamily="34" charset="0"/>
              </a:rPr>
              <a:t>Altares</a:t>
            </a:r>
            <a:r>
              <a:rPr lang="en-GB">
                <a:latin typeface="Trebuchet MS" panose="020B0603020202020204" pitchFamily="34" charset="0"/>
              </a:rPr>
              <a:t> has built a </a:t>
            </a:r>
            <a:r>
              <a:rPr lang="en-GB">
                <a:solidFill>
                  <a:schemeClr val="tx2"/>
                </a:solidFill>
                <a:latin typeface="Trebuchet MS" panose="020B0603020202020204" pitchFamily="34" charset="0"/>
              </a:rPr>
              <a:t>strong database</a:t>
            </a:r>
            <a:r>
              <a:rPr lang="en-GB">
                <a:latin typeface="Trebuchet MS" panose="020B0603020202020204" pitchFamily="34" charset="0"/>
              </a:rPr>
              <a:t> with a combination of </a:t>
            </a:r>
            <a:r>
              <a:rPr lang="en-GB">
                <a:solidFill>
                  <a:schemeClr val="tx2"/>
                </a:solidFill>
                <a:latin typeface="Trebuchet MS" panose="020B0603020202020204" pitchFamily="34" charset="0"/>
              </a:rPr>
              <a:t>public</a:t>
            </a:r>
            <a:r>
              <a:rPr lang="en-GB">
                <a:latin typeface="Trebuchet MS" panose="020B0603020202020204" pitchFamily="34" charset="0"/>
              </a:rPr>
              <a:t> and </a:t>
            </a:r>
            <a:r>
              <a:rPr lang="en-GB">
                <a:solidFill>
                  <a:schemeClr val="tx2"/>
                </a:solidFill>
                <a:latin typeface="Trebuchet MS" panose="020B0603020202020204" pitchFamily="34" charset="0"/>
              </a:rPr>
              <a:t>private local and international data</a:t>
            </a:r>
            <a:r>
              <a:rPr lang="en-GB">
                <a:latin typeface="Trebuchet MS" panose="020B0603020202020204" pitchFamily="34" charset="0"/>
              </a:rPr>
              <a:t>, enriching its </a:t>
            </a:r>
            <a:r>
              <a:rPr lang="en-GB">
                <a:solidFill>
                  <a:schemeClr val="tx2"/>
                </a:solidFill>
                <a:latin typeface="Trebuchet MS" panose="020B0603020202020204" pitchFamily="34" charset="0"/>
              </a:rPr>
              <a:t>30-year historical database </a:t>
            </a:r>
            <a:r>
              <a:rPr lang="en-GB">
                <a:latin typeface="Trebuchet MS" panose="020B0603020202020204" pitchFamily="34" charset="0"/>
              </a:rPr>
              <a:t>with the gradual </a:t>
            </a:r>
            <a:r>
              <a:rPr lang="en-GB">
                <a:solidFill>
                  <a:schemeClr val="tx2"/>
                </a:solidFill>
                <a:latin typeface="Trebuchet MS" panose="020B0603020202020204" pitchFamily="34" charset="0"/>
              </a:rPr>
              <a:t>integration of digital data</a:t>
            </a:r>
            <a:endParaRPr lang="en-GB" kern="0">
              <a:solidFill>
                <a:schemeClr val="tx2"/>
              </a:solidFill>
              <a:latin typeface="Trebuchet MS" panose="020B0603020202020204" pitchFamily="34" charset="0"/>
            </a:endParaRPr>
          </a:p>
        </p:txBody>
      </p:sp>
      <p:cxnSp>
        <p:nvCxnSpPr>
          <p:cNvPr id="52" name="Connecteur droit 4">
            <a:extLst>
              <a:ext uri="{FF2B5EF4-FFF2-40B4-BE49-F238E27FC236}">
                <a16:creationId xmlns:a16="http://schemas.microsoft.com/office/drawing/2014/main" id="{9681B4BC-5EF5-42BA-9CA4-4CB7E1159B20}"/>
              </a:ext>
            </a:extLst>
          </p:cNvPr>
          <p:cNvCxnSpPr>
            <a:cxnSpLocks/>
          </p:cNvCxnSpPr>
          <p:nvPr/>
        </p:nvCxnSpPr>
        <p:spPr bwMode="auto">
          <a:xfrm>
            <a:off x="165600" y="965923"/>
            <a:ext cx="9400627"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4" name="TextBox 30">
            <a:extLst>
              <a:ext uri="{FF2B5EF4-FFF2-40B4-BE49-F238E27FC236}">
                <a16:creationId xmlns:a16="http://schemas.microsoft.com/office/drawing/2014/main" id="{DB99D8C6-041B-45E4-957B-E14F254E1B7B}"/>
              </a:ext>
            </a:extLst>
          </p:cNvPr>
          <p:cNvSpPr txBox="1"/>
          <p:nvPr/>
        </p:nvSpPr>
        <p:spPr>
          <a:xfrm>
            <a:off x="3129058" y="862048"/>
            <a:ext cx="3473710" cy="261610"/>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100">
                <a:latin typeface="Trebuchet MS" panose="020B0603020202020204" pitchFamily="34" charset="0"/>
              </a:rPr>
              <a:t>Main sources of data collected by </a:t>
            </a:r>
            <a:r>
              <a:rPr lang="en-GB" sz="1100" err="1">
                <a:latin typeface="Trebuchet MS" panose="020B0603020202020204" pitchFamily="34" charset="0"/>
              </a:rPr>
              <a:t>Altares</a:t>
            </a:r>
            <a:r>
              <a:rPr lang="en-GB" sz="1100">
                <a:latin typeface="Trebuchet MS" panose="020B0603020202020204" pitchFamily="34" charset="0"/>
              </a:rPr>
              <a:t> as a group</a:t>
            </a:r>
            <a:endParaRPr kumimoji="0" lang="en-GB" sz="1100" b="0" u="none" strike="noStrike" kern="1200" cap="none" spc="0" normalizeH="0" baseline="0" noProof="0">
              <a:ln>
                <a:noFill/>
              </a:ln>
              <a:effectLst/>
              <a:uLnTx/>
              <a:uFillTx/>
              <a:latin typeface="Trebuchet MS" panose="020B0603020202020204" pitchFamily="34" charset="0"/>
            </a:endParaRPr>
          </a:p>
        </p:txBody>
      </p:sp>
      <p:sp>
        <p:nvSpPr>
          <p:cNvPr id="17" name="Rectangle 16">
            <a:extLst>
              <a:ext uri="{FF2B5EF4-FFF2-40B4-BE49-F238E27FC236}">
                <a16:creationId xmlns:a16="http://schemas.microsoft.com/office/drawing/2014/main" id="{11BCC358-44A3-47CD-B5C9-F22FF68DE752}"/>
              </a:ext>
            </a:extLst>
          </p:cNvPr>
          <p:cNvSpPr/>
          <p:nvPr/>
        </p:nvSpPr>
        <p:spPr bwMode="auto">
          <a:xfrm>
            <a:off x="437165" y="1537867"/>
            <a:ext cx="3645601" cy="314390"/>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anose="020B0603020202020204" pitchFamily="34" charset="0"/>
              </a:rPr>
              <a:t>Public data</a:t>
            </a:r>
          </a:p>
        </p:txBody>
      </p:sp>
      <p:sp>
        <p:nvSpPr>
          <p:cNvPr id="27" name="Rectangle 26">
            <a:extLst>
              <a:ext uri="{FF2B5EF4-FFF2-40B4-BE49-F238E27FC236}">
                <a16:creationId xmlns:a16="http://schemas.microsoft.com/office/drawing/2014/main" id="{159864DC-EA0B-4068-86F3-B47547FE393F}"/>
              </a:ext>
            </a:extLst>
          </p:cNvPr>
          <p:cNvSpPr/>
          <p:nvPr/>
        </p:nvSpPr>
        <p:spPr bwMode="auto">
          <a:xfrm>
            <a:off x="437164" y="1912667"/>
            <a:ext cx="1756219" cy="176782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Annual public balance sheet and financial statements</a:t>
            </a: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p:txBody>
      </p:sp>
      <p:sp>
        <p:nvSpPr>
          <p:cNvPr id="29" name="Rectangle 28">
            <a:extLst>
              <a:ext uri="{FF2B5EF4-FFF2-40B4-BE49-F238E27FC236}">
                <a16:creationId xmlns:a16="http://schemas.microsoft.com/office/drawing/2014/main" id="{8498E60A-EAC8-4991-9952-617BA0E7C5D0}"/>
              </a:ext>
            </a:extLst>
          </p:cNvPr>
          <p:cNvSpPr/>
          <p:nvPr/>
        </p:nvSpPr>
        <p:spPr bwMode="auto">
          <a:xfrm>
            <a:off x="7891690" y="1912667"/>
            <a:ext cx="1642228" cy="374490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92075" algn="ctr"/>
            <a:r>
              <a:rPr lang="en-GB" sz="800">
                <a:latin typeface="Trebuchet MS" panose="020B0603020202020204" pitchFamily="34" charset="0"/>
              </a:rPr>
              <a:t>Financial and legal data on foreign companies collected in the D&amp;B’s </a:t>
            </a:r>
            <a:r>
              <a:rPr lang="en-GB" sz="800" b="1" err="1">
                <a:latin typeface="Trebuchet MS" panose="020B0603020202020204" pitchFamily="34" charset="0"/>
              </a:rPr>
              <a:t>Worldbase</a:t>
            </a:r>
            <a:endParaRPr lang="en-GB" sz="800" b="1">
              <a:latin typeface="Trebuchet MS" panose="020B0603020202020204" pitchFamily="34" charset="0"/>
            </a:endParaRPr>
          </a:p>
          <a:p>
            <a:pPr marL="92075" algn="ctr"/>
            <a:endParaRPr lang="en-GB" sz="800" b="1">
              <a:latin typeface="Trebuchet MS" panose="020B0603020202020204" pitchFamily="34" charset="0"/>
            </a:endParaRPr>
          </a:p>
          <a:p>
            <a:pPr marL="92075" algn="ctr"/>
            <a:endParaRPr lang="en-GB" sz="800" b="1">
              <a:latin typeface="Trebuchet MS" panose="020B0603020202020204" pitchFamily="34" charset="0"/>
            </a:endParaRPr>
          </a:p>
        </p:txBody>
      </p:sp>
      <p:sp>
        <p:nvSpPr>
          <p:cNvPr id="36" name="Rectangle 35">
            <a:extLst>
              <a:ext uri="{FF2B5EF4-FFF2-40B4-BE49-F238E27FC236}">
                <a16:creationId xmlns:a16="http://schemas.microsoft.com/office/drawing/2014/main" id="{4FA262C4-955D-4BB9-87C5-B822B8AD7468}"/>
              </a:ext>
            </a:extLst>
          </p:cNvPr>
          <p:cNvSpPr/>
          <p:nvPr/>
        </p:nvSpPr>
        <p:spPr bwMode="auto">
          <a:xfrm>
            <a:off x="437166" y="1153009"/>
            <a:ext cx="7372862" cy="309275"/>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anose="020B0603020202020204" pitchFamily="34" charset="0"/>
              </a:rPr>
              <a:t>Local Data </a:t>
            </a:r>
          </a:p>
        </p:txBody>
      </p:sp>
      <p:sp>
        <p:nvSpPr>
          <p:cNvPr id="37" name="Rectangle 36">
            <a:extLst>
              <a:ext uri="{FF2B5EF4-FFF2-40B4-BE49-F238E27FC236}">
                <a16:creationId xmlns:a16="http://schemas.microsoft.com/office/drawing/2014/main" id="{F32F97E2-630A-4A39-8336-ABDBD511CB05}"/>
              </a:ext>
            </a:extLst>
          </p:cNvPr>
          <p:cNvSpPr/>
          <p:nvPr/>
        </p:nvSpPr>
        <p:spPr bwMode="auto">
          <a:xfrm>
            <a:off x="7891690" y="1153009"/>
            <a:ext cx="1642228" cy="307776"/>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anose="020B0603020202020204" pitchFamily="34" charset="0"/>
              </a:rPr>
              <a:t>International Data</a:t>
            </a:r>
          </a:p>
        </p:txBody>
      </p:sp>
      <p:sp>
        <p:nvSpPr>
          <p:cNvPr id="60" name="Rectangle 59">
            <a:extLst>
              <a:ext uri="{FF2B5EF4-FFF2-40B4-BE49-F238E27FC236}">
                <a16:creationId xmlns:a16="http://schemas.microsoft.com/office/drawing/2014/main" id="{4D60C521-BF19-476B-8345-6F39D13972FD}"/>
              </a:ext>
            </a:extLst>
          </p:cNvPr>
          <p:cNvSpPr/>
          <p:nvPr/>
        </p:nvSpPr>
        <p:spPr bwMode="auto">
          <a:xfrm>
            <a:off x="8189296" y="2642613"/>
            <a:ext cx="1047015" cy="2384770"/>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700">
                <a:latin typeface="Trebuchet MS" panose="020B0603020202020204" pitchFamily="34" charset="0"/>
              </a:rPr>
              <a:t>DUNS number referential</a:t>
            </a:r>
          </a:p>
          <a:p>
            <a:pPr marL="90488" indent="-90488">
              <a:buFont typeface="Wingdings" panose="05000000000000000000" pitchFamily="2" charset="2"/>
              <a:buChar char="ü"/>
            </a:pPr>
            <a:endParaRPr lang="en-GB" sz="700">
              <a:latin typeface="Trebuchet MS" panose="020B0603020202020204" pitchFamily="34" charset="0"/>
            </a:endParaRPr>
          </a:p>
          <a:p>
            <a:pPr marL="90488" indent="-90488">
              <a:buFont typeface="Wingdings" panose="05000000000000000000" pitchFamily="2" charset="2"/>
              <a:buChar char="ü"/>
            </a:pPr>
            <a:r>
              <a:rPr lang="en-GB" sz="700">
                <a:latin typeface="Trebuchet MS" panose="020B0603020202020204" pitchFamily="34" charset="0"/>
              </a:rPr>
              <a:t>3.6bn balance sheet items</a:t>
            </a:r>
          </a:p>
          <a:p>
            <a:pPr marL="90488" indent="-90488">
              <a:buFont typeface="Wingdings" panose="05000000000000000000" pitchFamily="2" charset="2"/>
              <a:buChar char="ü"/>
            </a:pPr>
            <a:endParaRPr lang="en-GB" sz="700">
              <a:latin typeface="Trebuchet MS" panose="020B0603020202020204" pitchFamily="34" charset="0"/>
            </a:endParaRPr>
          </a:p>
          <a:p>
            <a:pPr marL="90488" indent="-90488">
              <a:buFont typeface="Wingdings" panose="05000000000000000000" pitchFamily="2" charset="2"/>
              <a:buChar char="ü"/>
            </a:pPr>
            <a:r>
              <a:rPr lang="en-GB" sz="700">
                <a:latin typeface="Trebuchet MS" panose="020B0603020202020204" pitchFamily="34" charset="0"/>
              </a:rPr>
              <a:t>500k daily updates </a:t>
            </a:r>
          </a:p>
          <a:p>
            <a:pPr marL="90488" indent="-90488">
              <a:buFont typeface="Wingdings" panose="05000000000000000000" pitchFamily="2" charset="2"/>
              <a:buChar char="ü"/>
            </a:pPr>
            <a:endParaRPr lang="en-GB" sz="700">
              <a:latin typeface="Trebuchet MS" panose="020B0603020202020204" pitchFamily="34" charset="0"/>
            </a:endParaRPr>
          </a:p>
          <a:p>
            <a:pPr marL="90488" indent="-90488">
              <a:buFont typeface="Wingdings" panose="05000000000000000000" pitchFamily="2" charset="2"/>
              <a:buChar char="ü"/>
            </a:pPr>
            <a:r>
              <a:rPr lang="en-GB" sz="700">
                <a:latin typeface="Trebuchet MS" panose="020B0603020202020204" pitchFamily="34" charset="0"/>
              </a:rPr>
              <a:t>280m companies</a:t>
            </a:r>
          </a:p>
          <a:p>
            <a:pPr marL="90488" indent="-90488">
              <a:buFont typeface="Wingdings" panose="05000000000000000000" pitchFamily="2" charset="2"/>
              <a:buChar char="ü"/>
            </a:pPr>
            <a:endParaRPr lang="en-GB" sz="700">
              <a:latin typeface="Trebuchet MS" panose="020B0603020202020204" pitchFamily="34" charset="0"/>
            </a:endParaRPr>
          </a:p>
          <a:p>
            <a:pPr marL="90488" indent="-90488">
              <a:buFont typeface="Wingdings" panose="05000000000000000000" pitchFamily="2" charset="2"/>
              <a:buChar char="ü"/>
            </a:pPr>
            <a:r>
              <a:rPr lang="en-GB" sz="700">
                <a:latin typeface="Trebuchet MS" panose="020B0603020202020204" pitchFamily="34" charset="0"/>
              </a:rPr>
              <a:t>228m decision-makers</a:t>
            </a:r>
          </a:p>
          <a:p>
            <a:pPr marL="90488" indent="-90488">
              <a:buFont typeface="Wingdings" panose="05000000000000000000" pitchFamily="2" charset="2"/>
              <a:buChar char="ü"/>
            </a:pPr>
            <a:endParaRPr lang="en-GB" sz="700">
              <a:latin typeface="Trebuchet MS" panose="020B0603020202020204" pitchFamily="34" charset="0"/>
            </a:endParaRPr>
          </a:p>
          <a:p>
            <a:pPr marL="90488" indent="-90488">
              <a:buFont typeface="Wingdings" panose="05000000000000000000" pitchFamily="2" charset="2"/>
              <a:buChar char="ü"/>
            </a:pPr>
            <a:r>
              <a:rPr lang="en-GB" sz="700">
                <a:latin typeface="Trebuchet MS" panose="020B0603020202020204" pitchFamily="34" charset="0"/>
              </a:rPr>
              <a:t>18m financial relationship</a:t>
            </a:r>
          </a:p>
          <a:p>
            <a:pPr marL="90488" indent="-90488">
              <a:buFont typeface="Wingdings" panose="05000000000000000000" pitchFamily="2" charset="2"/>
              <a:buChar char="ü"/>
            </a:pPr>
            <a:endParaRPr lang="en-GB" sz="700">
              <a:latin typeface="Trebuchet MS" panose="020B0603020202020204" pitchFamily="34" charset="0"/>
            </a:endParaRPr>
          </a:p>
          <a:p>
            <a:pPr marL="90488" indent="-90488">
              <a:buFont typeface="Wingdings" panose="05000000000000000000" pitchFamily="2" charset="2"/>
              <a:buChar char="ü"/>
            </a:pPr>
            <a:r>
              <a:rPr lang="en-GB" sz="700">
                <a:latin typeface="Trebuchet MS" panose="020B0603020202020204" pitchFamily="34" charset="0"/>
              </a:rPr>
              <a:t>210k capital links</a:t>
            </a:r>
          </a:p>
          <a:p>
            <a:pPr marL="90488" indent="-90488">
              <a:buFont typeface="Wingdings" panose="05000000000000000000" pitchFamily="2" charset="2"/>
              <a:buChar char="ü"/>
            </a:pPr>
            <a:endParaRPr lang="en-GB" sz="700">
              <a:latin typeface="Trebuchet MS" panose="020B0603020202020204" pitchFamily="34" charset="0"/>
            </a:endParaRPr>
          </a:p>
          <a:p>
            <a:pPr marL="90488" indent="-90488">
              <a:buFont typeface="Wingdings" panose="05000000000000000000" pitchFamily="2" charset="2"/>
              <a:buChar char="ü"/>
            </a:pPr>
            <a:endParaRPr lang="en-GB" sz="700">
              <a:latin typeface="Trebuchet MS" panose="020B0603020202020204" pitchFamily="34" charset="0"/>
            </a:endParaRPr>
          </a:p>
        </p:txBody>
      </p:sp>
      <p:sp>
        <p:nvSpPr>
          <p:cNvPr id="61" name="Rectangle 60">
            <a:extLst>
              <a:ext uri="{FF2B5EF4-FFF2-40B4-BE49-F238E27FC236}">
                <a16:creationId xmlns:a16="http://schemas.microsoft.com/office/drawing/2014/main" id="{ECCE6F0A-B3BC-449A-BF39-8245DC454AED}"/>
              </a:ext>
            </a:extLst>
          </p:cNvPr>
          <p:cNvSpPr/>
          <p:nvPr/>
        </p:nvSpPr>
        <p:spPr bwMode="auto">
          <a:xfrm>
            <a:off x="3182750" y="6591876"/>
            <a:ext cx="695946" cy="178397"/>
          </a:xfrm>
          <a:prstGeom prst="rect">
            <a:avLst/>
          </a:prstGeom>
          <a:solidFill>
            <a:schemeClr val="bg1">
              <a:lumMod val="95000"/>
            </a:schemeClr>
          </a:solidFill>
          <a:ln w="3175" cap="flat" cmpd="sng" algn="ctr">
            <a:solidFill>
              <a:schemeClr val="tx1"/>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92075"/>
            <a:r>
              <a:rPr lang="en-GB" sz="800">
                <a:latin typeface="Trebuchet MS" panose="020B0603020202020204" pitchFamily="34" charset="0"/>
              </a:rPr>
              <a:t>Non digital </a:t>
            </a:r>
          </a:p>
        </p:txBody>
      </p:sp>
      <p:sp>
        <p:nvSpPr>
          <p:cNvPr id="62" name="Rectangle 61">
            <a:extLst>
              <a:ext uri="{FF2B5EF4-FFF2-40B4-BE49-F238E27FC236}">
                <a16:creationId xmlns:a16="http://schemas.microsoft.com/office/drawing/2014/main" id="{96A1092C-4F9C-483E-AB0F-D098493D9D68}"/>
              </a:ext>
            </a:extLst>
          </p:cNvPr>
          <p:cNvSpPr/>
          <p:nvPr/>
        </p:nvSpPr>
        <p:spPr bwMode="auto">
          <a:xfrm>
            <a:off x="4169896" y="6591876"/>
            <a:ext cx="695946" cy="178397"/>
          </a:xfrm>
          <a:prstGeom prst="rect">
            <a:avLst/>
          </a:prstGeom>
          <a:solidFill>
            <a:schemeClr val="accent1">
              <a:lumMod val="20000"/>
              <a:lumOff val="80000"/>
            </a:schemeClr>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r>
              <a:rPr lang="en-GB" sz="800">
                <a:latin typeface="Trebuchet MS" panose="020B0603020202020204" pitchFamily="34" charset="0"/>
              </a:rPr>
              <a:t>Digital</a:t>
            </a:r>
          </a:p>
        </p:txBody>
      </p:sp>
      <p:sp>
        <p:nvSpPr>
          <p:cNvPr id="70" name="Rectangle 69">
            <a:extLst>
              <a:ext uri="{FF2B5EF4-FFF2-40B4-BE49-F238E27FC236}">
                <a16:creationId xmlns:a16="http://schemas.microsoft.com/office/drawing/2014/main" id="{AF2F52C0-3579-4060-BB08-F2EA8D5991F8}"/>
              </a:ext>
            </a:extLst>
          </p:cNvPr>
          <p:cNvSpPr/>
          <p:nvPr/>
        </p:nvSpPr>
        <p:spPr bwMode="auto">
          <a:xfrm>
            <a:off x="2286469" y="3769387"/>
            <a:ext cx="1793934" cy="150319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Open data </a:t>
            </a:r>
          </a:p>
          <a:p>
            <a:pPr marL="92075" algn="ctr"/>
            <a:endParaRPr lang="en-GB" sz="900">
              <a:latin typeface="Trebuchet MS" panose="020B0603020202020204" pitchFamily="34" charset="0"/>
            </a:endParaRPr>
          </a:p>
        </p:txBody>
      </p:sp>
      <p:sp>
        <p:nvSpPr>
          <p:cNvPr id="94" name="TextBox 31">
            <a:extLst>
              <a:ext uri="{FF2B5EF4-FFF2-40B4-BE49-F238E27FC236}">
                <a16:creationId xmlns:a16="http://schemas.microsoft.com/office/drawing/2014/main" id="{C3927848-C102-4E73-9613-3A8B07EA7FCF}"/>
              </a:ext>
            </a:extLst>
          </p:cNvPr>
          <p:cNvSpPr txBox="1"/>
          <p:nvPr/>
        </p:nvSpPr>
        <p:spPr>
          <a:xfrm>
            <a:off x="6223671" y="6503560"/>
            <a:ext cx="730224" cy="369332"/>
          </a:xfrm>
          <a:prstGeom prst="rect">
            <a:avLst/>
          </a:prstGeom>
          <a:noFill/>
        </p:spPr>
        <p:txBody>
          <a:bodyPr wrap="square" rtlCol="0">
            <a:spAutoFit/>
          </a:bodyPr>
          <a:lstStyle/>
          <a:p>
            <a:pPr algn="r"/>
            <a:r>
              <a:rPr lang="en-GB" sz="900" b="1" i="1">
                <a:solidFill>
                  <a:schemeClr val="bg2">
                    <a:lumMod val="75000"/>
                  </a:schemeClr>
                </a:solidFill>
                <a:latin typeface="Trebuchet MS" panose="020B0603020202020204" pitchFamily="34" charset="0"/>
              </a:rPr>
              <a:t>Cold</a:t>
            </a:r>
          </a:p>
          <a:p>
            <a:pPr algn="r"/>
            <a:r>
              <a:rPr lang="en-GB" sz="900" b="1" i="1">
                <a:solidFill>
                  <a:schemeClr val="bg2">
                    <a:lumMod val="75000"/>
                  </a:schemeClr>
                </a:solidFill>
                <a:latin typeface="Trebuchet MS" panose="020B0603020202020204" pitchFamily="34" charset="0"/>
              </a:rPr>
              <a:t> (1 year)</a:t>
            </a:r>
          </a:p>
        </p:txBody>
      </p:sp>
      <p:sp>
        <p:nvSpPr>
          <p:cNvPr id="96" name="TextBox 37">
            <a:extLst>
              <a:ext uri="{FF2B5EF4-FFF2-40B4-BE49-F238E27FC236}">
                <a16:creationId xmlns:a16="http://schemas.microsoft.com/office/drawing/2014/main" id="{D06DF8DB-4D1A-48B9-91E2-8EF6E090FF25}"/>
              </a:ext>
            </a:extLst>
          </p:cNvPr>
          <p:cNvSpPr txBox="1"/>
          <p:nvPr/>
        </p:nvSpPr>
        <p:spPr>
          <a:xfrm>
            <a:off x="7429654" y="6513238"/>
            <a:ext cx="1256646" cy="369332"/>
          </a:xfrm>
          <a:prstGeom prst="rect">
            <a:avLst/>
          </a:prstGeom>
          <a:noFill/>
        </p:spPr>
        <p:txBody>
          <a:bodyPr wrap="square" rtlCol="0">
            <a:spAutoFit/>
          </a:bodyPr>
          <a:lstStyle/>
          <a:p>
            <a:r>
              <a:rPr lang="en-GB" sz="900" b="1" i="1">
                <a:solidFill>
                  <a:srgbClr val="144E1C"/>
                </a:solidFill>
                <a:latin typeface="Trebuchet MS" panose="020B0603020202020204" pitchFamily="34" charset="0"/>
              </a:rPr>
              <a:t>Hot </a:t>
            </a:r>
          </a:p>
          <a:p>
            <a:r>
              <a:rPr lang="en-GB" sz="900" b="1" i="1">
                <a:solidFill>
                  <a:srgbClr val="144E1C"/>
                </a:solidFill>
                <a:latin typeface="Trebuchet MS" panose="020B0603020202020204" pitchFamily="34" charset="0"/>
              </a:rPr>
              <a:t>(real time data)</a:t>
            </a:r>
          </a:p>
        </p:txBody>
      </p:sp>
      <p:sp>
        <p:nvSpPr>
          <p:cNvPr id="105" name="TextBox 104">
            <a:extLst>
              <a:ext uri="{FF2B5EF4-FFF2-40B4-BE49-F238E27FC236}">
                <a16:creationId xmlns:a16="http://schemas.microsoft.com/office/drawing/2014/main" id="{8728A2CB-73FC-4BBC-8B7C-6D931CA150C2}"/>
              </a:ext>
            </a:extLst>
          </p:cNvPr>
          <p:cNvSpPr txBox="1"/>
          <p:nvPr/>
        </p:nvSpPr>
        <p:spPr>
          <a:xfrm>
            <a:off x="5143485" y="6503560"/>
            <a:ext cx="1285629" cy="369332"/>
          </a:xfrm>
          <a:prstGeom prst="rect">
            <a:avLst/>
          </a:prstGeom>
          <a:noFill/>
        </p:spPr>
        <p:txBody>
          <a:bodyPr wrap="square" rtlCol="0">
            <a:spAutoFit/>
          </a:bodyPr>
          <a:lstStyle/>
          <a:p>
            <a:r>
              <a:rPr lang="en-GB" sz="900" b="1" i="1">
                <a:latin typeface="Trebuchet MS" panose="020B0603020202020204" pitchFamily="34" charset="0"/>
              </a:rPr>
              <a:t>Immediacy of data availability: </a:t>
            </a:r>
          </a:p>
        </p:txBody>
      </p:sp>
      <p:sp>
        <p:nvSpPr>
          <p:cNvPr id="106" name="Rectangle 105">
            <a:extLst>
              <a:ext uri="{FF2B5EF4-FFF2-40B4-BE49-F238E27FC236}">
                <a16:creationId xmlns:a16="http://schemas.microsoft.com/office/drawing/2014/main" id="{BB695926-BC3D-4D95-B217-C6830B16E018}"/>
              </a:ext>
            </a:extLst>
          </p:cNvPr>
          <p:cNvSpPr/>
          <p:nvPr/>
        </p:nvSpPr>
        <p:spPr bwMode="auto">
          <a:xfrm>
            <a:off x="2288832" y="1912667"/>
            <a:ext cx="1793934" cy="176782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Legal notices</a:t>
            </a: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p:txBody>
      </p:sp>
      <p:sp>
        <p:nvSpPr>
          <p:cNvPr id="108" name="Rectangle 107">
            <a:extLst>
              <a:ext uri="{FF2B5EF4-FFF2-40B4-BE49-F238E27FC236}">
                <a16:creationId xmlns:a16="http://schemas.microsoft.com/office/drawing/2014/main" id="{1A024317-E5CB-4A6C-B5AA-788A0030A231}"/>
              </a:ext>
            </a:extLst>
          </p:cNvPr>
          <p:cNvSpPr/>
          <p:nvPr/>
        </p:nvSpPr>
        <p:spPr bwMode="auto">
          <a:xfrm>
            <a:off x="3250603" y="2365352"/>
            <a:ext cx="720947" cy="883993"/>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91440" tIns="108000" rIns="36000" bIns="45720" numCol="1" rtlCol="0" anchor="t" anchorCtr="0" compatLnSpc="1">
            <a:prstTxWarp prst="textNoShape">
              <a:avLst/>
            </a:prstTxWarp>
          </a:bodyPr>
          <a:lstStyle/>
          <a:p>
            <a:pPr marL="90488" indent="-90488">
              <a:buFont typeface="Wingdings" panose="05000000000000000000" pitchFamily="2" charset="2"/>
              <a:buChar char="ü"/>
            </a:pPr>
            <a:r>
              <a:rPr lang="en-GB" sz="700">
                <a:latin typeface="Trebuchet MS" panose="020B0603020202020204" pitchFamily="34" charset="0"/>
              </a:rPr>
              <a:t>Companies followed by National Bank of Belgium</a:t>
            </a:r>
          </a:p>
        </p:txBody>
      </p:sp>
      <p:sp>
        <p:nvSpPr>
          <p:cNvPr id="109" name="Rectangle 108">
            <a:extLst>
              <a:ext uri="{FF2B5EF4-FFF2-40B4-BE49-F238E27FC236}">
                <a16:creationId xmlns:a16="http://schemas.microsoft.com/office/drawing/2014/main" id="{0ADE005E-7DA3-4B62-BD77-B4857A2695B6}"/>
              </a:ext>
            </a:extLst>
          </p:cNvPr>
          <p:cNvSpPr/>
          <p:nvPr/>
        </p:nvSpPr>
        <p:spPr bwMode="auto">
          <a:xfrm>
            <a:off x="2400049" y="2365352"/>
            <a:ext cx="720947" cy="883993"/>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900" b="1">
                <a:latin typeface="Trebuchet MS" panose="020B0603020202020204" pitchFamily="34" charset="0"/>
              </a:rPr>
              <a:t>150k</a:t>
            </a:r>
            <a:r>
              <a:rPr lang="en-GB" sz="700">
                <a:latin typeface="Trebuchet MS" panose="020B0603020202020204" pitchFamily="34" charset="0"/>
              </a:rPr>
              <a:t> companies followed by URSAF</a:t>
            </a:r>
          </a:p>
        </p:txBody>
      </p:sp>
      <p:pic>
        <p:nvPicPr>
          <p:cNvPr id="110" name="Picture 2" descr="Drapeau France">
            <a:extLst>
              <a:ext uri="{FF2B5EF4-FFF2-40B4-BE49-F238E27FC236}">
                <a16:creationId xmlns:a16="http://schemas.microsoft.com/office/drawing/2014/main" id="{B30DEB7B-44D4-4BBB-A4DD-ED359E8BFC6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7006" b="16757"/>
          <a:stretch/>
        </p:blipFill>
        <p:spPr bwMode="auto">
          <a:xfrm>
            <a:off x="2658198" y="2308043"/>
            <a:ext cx="157269" cy="94798"/>
          </a:xfrm>
          <a:prstGeom prst="roundRect">
            <a:avLst/>
          </a:prstGeom>
          <a:noFill/>
          <a:extLst>
            <a:ext uri="{909E8E84-426E-40DD-AFC4-6F175D3DCCD1}">
              <a14:hiddenFill xmlns:a14="http://schemas.microsoft.com/office/drawing/2010/main">
                <a:solidFill>
                  <a:srgbClr val="FFFFFF"/>
                </a:solidFill>
              </a14:hiddenFill>
            </a:ext>
          </a:extLst>
        </p:spPr>
      </p:pic>
      <p:pic>
        <p:nvPicPr>
          <p:cNvPr id="111" name="Picture 2 - 1" descr="Drapeau des Pays-Bas — Wikipédia">
            <a:extLst>
              <a:ext uri="{FF2B5EF4-FFF2-40B4-BE49-F238E27FC236}">
                <a16:creationId xmlns:a16="http://schemas.microsoft.com/office/drawing/2014/main" id="{4B8A401F-8DCB-415D-8583-842A1787988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36396" y="2308301"/>
            <a:ext cx="158400" cy="95481"/>
          </a:xfrm>
          <a:prstGeom prst="roundRect">
            <a:avLst/>
          </a:prstGeom>
          <a:noFill/>
          <a:extLst>
            <a:ext uri="{909E8E84-426E-40DD-AFC4-6F175D3DCCD1}">
              <a14:hiddenFill xmlns:a14="http://schemas.microsoft.com/office/drawing/2010/main">
                <a:solidFill>
                  <a:srgbClr val="FFFFFF"/>
                </a:solidFill>
              </a14:hiddenFill>
            </a:ext>
          </a:extLst>
        </p:spPr>
      </p:pic>
      <p:pic>
        <p:nvPicPr>
          <p:cNvPr id="112" name="Picture 2" descr="5 ft x 3 ft 150 x 90 cm-DRAPEAU BELGE Belgique 100% Polyester ...">
            <a:extLst>
              <a:ext uri="{FF2B5EF4-FFF2-40B4-BE49-F238E27FC236}">
                <a16:creationId xmlns:a16="http://schemas.microsoft.com/office/drawing/2014/main" id="{A89BBF47-CF26-4EEC-8327-A33E6F12247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73"/>
          <a:stretch/>
        </p:blipFill>
        <p:spPr bwMode="auto">
          <a:xfrm>
            <a:off x="3723486" y="2308043"/>
            <a:ext cx="158400" cy="95479"/>
          </a:xfrm>
          <a:prstGeom prst="roundRect">
            <a:avLst/>
          </a:prstGeom>
          <a:noFill/>
          <a:extLst>
            <a:ext uri="{909E8E84-426E-40DD-AFC4-6F175D3DCCD1}">
              <a14:hiddenFill xmlns:a14="http://schemas.microsoft.com/office/drawing/2010/main">
                <a:solidFill>
                  <a:srgbClr val="FFFFFF"/>
                </a:solidFill>
              </a14:hiddenFill>
            </a:ext>
          </a:extLst>
        </p:spPr>
      </p:pic>
      <p:pic>
        <p:nvPicPr>
          <p:cNvPr id="113" name="Picture 5" descr="A picture containing bird&#10;&#10;Description automatically generated">
            <a:extLst>
              <a:ext uri="{FF2B5EF4-FFF2-40B4-BE49-F238E27FC236}">
                <a16:creationId xmlns:a16="http://schemas.microsoft.com/office/drawing/2014/main" id="{D54FF160-28CB-48F7-8B92-A813B611CF6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29941" y="2308493"/>
            <a:ext cx="158400" cy="95287"/>
          </a:xfrm>
          <a:prstGeom prst="roundRect">
            <a:avLst/>
          </a:prstGeom>
          <a:noFill/>
        </p:spPr>
      </p:pic>
      <p:sp>
        <p:nvSpPr>
          <p:cNvPr id="116" name="Rectangle 115">
            <a:extLst>
              <a:ext uri="{FF2B5EF4-FFF2-40B4-BE49-F238E27FC236}">
                <a16:creationId xmlns:a16="http://schemas.microsoft.com/office/drawing/2014/main" id="{2957C457-E5FD-4666-836C-2C4D084BD7EE}"/>
              </a:ext>
            </a:extLst>
          </p:cNvPr>
          <p:cNvSpPr/>
          <p:nvPr/>
        </p:nvSpPr>
        <p:spPr bwMode="auto">
          <a:xfrm>
            <a:off x="434801" y="3771178"/>
            <a:ext cx="1756220" cy="15014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Public studies</a:t>
            </a: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p:txBody>
      </p:sp>
      <p:grpSp>
        <p:nvGrpSpPr>
          <p:cNvPr id="117" name="Group 116">
            <a:extLst>
              <a:ext uri="{FF2B5EF4-FFF2-40B4-BE49-F238E27FC236}">
                <a16:creationId xmlns:a16="http://schemas.microsoft.com/office/drawing/2014/main" id="{5A4843D2-6770-43FF-B8F6-59329C37D188}"/>
              </a:ext>
            </a:extLst>
          </p:cNvPr>
          <p:cNvGrpSpPr/>
          <p:nvPr/>
        </p:nvGrpSpPr>
        <p:grpSpPr>
          <a:xfrm>
            <a:off x="527161" y="4069181"/>
            <a:ext cx="1571501" cy="816162"/>
            <a:chOff x="380219" y="2348073"/>
            <a:chExt cx="1571501" cy="816162"/>
          </a:xfrm>
        </p:grpSpPr>
        <p:sp>
          <p:nvSpPr>
            <p:cNvPr id="118" name="Rectangle 117">
              <a:extLst>
                <a:ext uri="{FF2B5EF4-FFF2-40B4-BE49-F238E27FC236}">
                  <a16:creationId xmlns:a16="http://schemas.microsoft.com/office/drawing/2014/main" id="{BE5112EF-9C80-4795-B1CA-6B2198E29942}"/>
                </a:ext>
              </a:extLst>
            </p:cNvPr>
            <p:cNvSpPr/>
            <p:nvPr/>
          </p:nvSpPr>
          <p:spPr bwMode="auto">
            <a:xfrm>
              <a:off x="1230773" y="2405383"/>
              <a:ext cx="720947" cy="758852"/>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0" bIns="45720" numCol="1" rtlCol="0" anchor="t" anchorCtr="0" compatLnSpc="1">
              <a:prstTxWarp prst="textNoShape">
                <a:avLst/>
              </a:prstTxWarp>
            </a:bodyPr>
            <a:lstStyle/>
            <a:p>
              <a:pPr marL="90488" indent="-90488">
                <a:buFont typeface="Wingdings" panose="05000000000000000000" pitchFamily="2" charset="2"/>
                <a:buChar char="ü"/>
              </a:pPr>
              <a:r>
                <a:rPr lang="en-GB" sz="700">
                  <a:latin typeface="+mj-lt"/>
                </a:rPr>
                <a:t>KBO     entries</a:t>
              </a:r>
            </a:p>
            <a:p>
              <a:pPr marL="90488" indent="-90488">
                <a:buFont typeface="Wingdings" panose="05000000000000000000" pitchFamily="2" charset="2"/>
                <a:buChar char="ü"/>
              </a:pPr>
              <a:endParaRPr lang="en-GB" sz="700">
                <a:latin typeface="+mj-lt"/>
              </a:endParaRPr>
            </a:p>
          </p:txBody>
        </p:sp>
        <p:sp>
          <p:nvSpPr>
            <p:cNvPr id="119" name="Rectangle 118">
              <a:extLst>
                <a:ext uri="{FF2B5EF4-FFF2-40B4-BE49-F238E27FC236}">
                  <a16:creationId xmlns:a16="http://schemas.microsoft.com/office/drawing/2014/main" id="{61B78ADB-3FB7-4B1B-AB00-8BC2206CBA75}"/>
                </a:ext>
              </a:extLst>
            </p:cNvPr>
            <p:cNvSpPr/>
            <p:nvPr/>
          </p:nvSpPr>
          <p:spPr bwMode="auto">
            <a:xfrm>
              <a:off x="380219" y="2405383"/>
              <a:ext cx="720947" cy="758852"/>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0" bIns="45720" numCol="1" rtlCol="0" anchor="t" anchorCtr="0" compatLnSpc="1">
              <a:prstTxWarp prst="textNoShape">
                <a:avLst/>
              </a:prstTxWarp>
            </a:bodyPr>
            <a:lstStyle/>
            <a:p>
              <a:pPr marL="90488" indent="-90488">
                <a:buFont typeface="Wingdings" panose="05000000000000000000" pitchFamily="2" charset="2"/>
                <a:buChar char="ü"/>
              </a:pPr>
              <a:r>
                <a:rPr lang="en-GB" sz="900" b="1">
                  <a:latin typeface="+mj-lt"/>
                </a:rPr>
                <a:t>15m</a:t>
              </a:r>
              <a:r>
                <a:rPr lang="en-GB" sz="700">
                  <a:latin typeface="+mj-lt"/>
                </a:rPr>
                <a:t> businesses in SIREN database (RNCS &amp; INSEE)</a:t>
              </a:r>
            </a:p>
          </p:txBody>
        </p:sp>
        <p:pic>
          <p:nvPicPr>
            <p:cNvPr id="120" name="Picture 2" descr="Drapeau France">
              <a:extLst>
                <a:ext uri="{FF2B5EF4-FFF2-40B4-BE49-F238E27FC236}">
                  <a16:creationId xmlns:a16="http://schemas.microsoft.com/office/drawing/2014/main" id="{2F1C72FF-1B2E-4A69-A1C1-5972F286F91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7006" b="16757"/>
            <a:stretch/>
          </p:blipFill>
          <p:spPr bwMode="auto">
            <a:xfrm>
              <a:off x="638368" y="2348073"/>
              <a:ext cx="157269" cy="94798"/>
            </a:xfrm>
            <a:prstGeom prst="roundRect">
              <a:avLst/>
            </a:prstGeom>
            <a:noFill/>
            <a:extLst>
              <a:ext uri="{909E8E84-426E-40DD-AFC4-6F175D3DCCD1}">
                <a14:hiddenFill xmlns:a14="http://schemas.microsoft.com/office/drawing/2010/main">
                  <a:solidFill>
                    <a:srgbClr val="FFFFFF"/>
                  </a:solidFill>
                </a14:hiddenFill>
              </a:ext>
            </a:extLst>
          </p:spPr>
        </p:pic>
        <p:pic>
          <p:nvPicPr>
            <p:cNvPr id="121" name="Picture 2 - 1" descr="Drapeau des Pays-Bas — Wikipédia">
              <a:extLst>
                <a:ext uri="{FF2B5EF4-FFF2-40B4-BE49-F238E27FC236}">
                  <a16:creationId xmlns:a16="http://schemas.microsoft.com/office/drawing/2014/main" id="{9545C201-C109-44FA-AD07-B1DD4F4572F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16566" y="2348331"/>
              <a:ext cx="158400" cy="95481"/>
            </a:xfrm>
            <a:prstGeom prst="roundRect">
              <a:avLst/>
            </a:prstGeom>
            <a:noFill/>
            <a:extLst>
              <a:ext uri="{909E8E84-426E-40DD-AFC4-6F175D3DCCD1}">
                <a14:hiddenFill xmlns:a14="http://schemas.microsoft.com/office/drawing/2010/main">
                  <a:solidFill>
                    <a:srgbClr val="FFFFFF"/>
                  </a:solidFill>
                </a14:hiddenFill>
              </a:ext>
            </a:extLst>
          </p:spPr>
        </p:pic>
        <p:pic>
          <p:nvPicPr>
            <p:cNvPr id="122" name="Picture 2" descr="5 ft x 3 ft 150 x 90 cm-DRAPEAU BELGE Belgique 100% Polyester ...">
              <a:extLst>
                <a:ext uri="{FF2B5EF4-FFF2-40B4-BE49-F238E27FC236}">
                  <a16:creationId xmlns:a16="http://schemas.microsoft.com/office/drawing/2014/main" id="{CDFB76B6-3DFE-49CB-A469-6CEEC2DAA15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73"/>
            <a:stretch/>
          </p:blipFill>
          <p:spPr bwMode="auto">
            <a:xfrm>
              <a:off x="1703656" y="2348073"/>
              <a:ext cx="158400" cy="95479"/>
            </a:xfrm>
            <a:prstGeom prst="roundRect">
              <a:avLst/>
            </a:prstGeom>
            <a:noFill/>
            <a:extLst>
              <a:ext uri="{909E8E84-426E-40DD-AFC4-6F175D3DCCD1}">
                <a14:hiddenFill xmlns:a14="http://schemas.microsoft.com/office/drawing/2010/main">
                  <a:solidFill>
                    <a:srgbClr val="FFFFFF"/>
                  </a:solidFill>
                </a14:hiddenFill>
              </a:ext>
            </a:extLst>
          </p:spPr>
        </p:pic>
        <p:pic>
          <p:nvPicPr>
            <p:cNvPr id="123" name="Picture 5" descr="A picture containing bird&#10;&#10;Description automatically generated">
              <a:extLst>
                <a:ext uri="{FF2B5EF4-FFF2-40B4-BE49-F238E27FC236}">
                  <a16:creationId xmlns:a16="http://schemas.microsoft.com/office/drawing/2014/main" id="{B61A5160-9FE4-4345-86FF-101FC925C74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10111" y="2348523"/>
              <a:ext cx="158400" cy="95287"/>
            </a:xfrm>
            <a:prstGeom prst="roundRect">
              <a:avLst/>
            </a:prstGeom>
            <a:noFill/>
          </p:spPr>
        </p:pic>
      </p:grpSp>
      <p:sp>
        <p:nvSpPr>
          <p:cNvPr id="130" name="Rectangle 129">
            <a:extLst>
              <a:ext uri="{FF2B5EF4-FFF2-40B4-BE49-F238E27FC236}">
                <a16:creationId xmlns:a16="http://schemas.microsoft.com/office/drawing/2014/main" id="{E4C3F168-14E4-4051-A814-436B1C949552}"/>
              </a:ext>
            </a:extLst>
          </p:cNvPr>
          <p:cNvSpPr/>
          <p:nvPr/>
        </p:nvSpPr>
        <p:spPr bwMode="auto">
          <a:xfrm>
            <a:off x="2514118" y="4259839"/>
            <a:ext cx="1338637" cy="492701"/>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4.2M </a:t>
            </a:r>
            <a:r>
              <a:rPr lang="en-GB" sz="700" b="1">
                <a:solidFill>
                  <a:schemeClr val="accent1"/>
                </a:solidFill>
                <a:latin typeface="Trebuchet MS" panose="020B0603020202020204" pitchFamily="34" charset="0"/>
              </a:rPr>
              <a:t>registered trademarks, patents (INPI)…</a:t>
            </a:r>
            <a:endParaRPr lang="en-GB" sz="700">
              <a:solidFill>
                <a:schemeClr val="accent1"/>
              </a:solidFill>
              <a:latin typeface="Trebuchet MS" panose="020B0603020202020204" pitchFamily="34" charset="0"/>
            </a:endParaRPr>
          </a:p>
        </p:txBody>
      </p:sp>
      <p:sp>
        <p:nvSpPr>
          <p:cNvPr id="131" name="Rectangle 130">
            <a:extLst>
              <a:ext uri="{FF2B5EF4-FFF2-40B4-BE49-F238E27FC236}">
                <a16:creationId xmlns:a16="http://schemas.microsoft.com/office/drawing/2014/main" id="{0BB71EAB-42B6-4237-AA89-7B0865EAA3D1}"/>
              </a:ext>
            </a:extLst>
          </p:cNvPr>
          <p:cNvSpPr/>
          <p:nvPr/>
        </p:nvSpPr>
        <p:spPr bwMode="auto">
          <a:xfrm>
            <a:off x="4164427" y="1537867"/>
            <a:ext cx="3645601" cy="314390"/>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anose="020B0603020202020204" pitchFamily="34" charset="0"/>
              </a:rPr>
              <a:t>Private data</a:t>
            </a:r>
          </a:p>
        </p:txBody>
      </p:sp>
      <p:sp>
        <p:nvSpPr>
          <p:cNvPr id="134" name="Rectangle 133">
            <a:extLst>
              <a:ext uri="{FF2B5EF4-FFF2-40B4-BE49-F238E27FC236}">
                <a16:creationId xmlns:a16="http://schemas.microsoft.com/office/drawing/2014/main" id="{0DFD5874-3A3C-49D8-993F-89298D6CAE18}"/>
              </a:ext>
            </a:extLst>
          </p:cNvPr>
          <p:cNvSpPr/>
          <p:nvPr/>
        </p:nvSpPr>
        <p:spPr bwMode="auto">
          <a:xfrm>
            <a:off x="4164844" y="1912667"/>
            <a:ext cx="1793934" cy="79525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Inter-company payment data</a:t>
            </a:r>
          </a:p>
          <a:p>
            <a:pPr marL="92075" algn="ctr"/>
            <a:r>
              <a:rPr lang="en-GB" sz="900">
                <a:latin typeface="Trebuchet MS" panose="020B0603020202020204" pitchFamily="34" charset="0"/>
              </a:rPr>
              <a:t>(calculation basis for </a:t>
            </a:r>
            <a:r>
              <a:rPr lang="en-GB" sz="900" b="1" err="1">
                <a:latin typeface="Trebuchet MS" panose="020B0603020202020204" pitchFamily="34" charset="0"/>
              </a:rPr>
              <a:t>Paydex</a:t>
            </a:r>
            <a:r>
              <a:rPr lang="en-GB" sz="900">
                <a:latin typeface="Trebuchet MS" panose="020B0603020202020204" pitchFamily="34" charset="0"/>
              </a:rPr>
              <a:t>)</a:t>
            </a: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p:txBody>
      </p:sp>
      <p:sp>
        <p:nvSpPr>
          <p:cNvPr id="144" name="Rectangle 143">
            <a:extLst>
              <a:ext uri="{FF2B5EF4-FFF2-40B4-BE49-F238E27FC236}">
                <a16:creationId xmlns:a16="http://schemas.microsoft.com/office/drawing/2014/main" id="{063A763C-A22F-4791-9CEE-DF455F14D20C}"/>
              </a:ext>
            </a:extLst>
          </p:cNvPr>
          <p:cNvSpPr/>
          <p:nvPr/>
        </p:nvSpPr>
        <p:spPr bwMode="auto">
          <a:xfrm>
            <a:off x="6017170" y="1912668"/>
            <a:ext cx="1793934" cy="7952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Capital links data </a:t>
            </a: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p:txBody>
      </p:sp>
      <p:sp>
        <p:nvSpPr>
          <p:cNvPr id="147" name="Rectangle 146">
            <a:extLst>
              <a:ext uri="{FF2B5EF4-FFF2-40B4-BE49-F238E27FC236}">
                <a16:creationId xmlns:a16="http://schemas.microsoft.com/office/drawing/2014/main" id="{3625998B-987A-4189-B483-E3892FE3D70D}"/>
              </a:ext>
            </a:extLst>
          </p:cNvPr>
          <p:cNvSpPr/>
          <p:nvPr/>
        </p:nvSpPr>
        <p:spPr bwMode="auto">
          <a:xfrm>
            <a:off x="4164844" y="2768328"/>
            <a:ext cx="1793934" cy="1090492"/>
          </a:xfrm>
          <a:prstGeom prst="rect">
            <a:avLst/>
          </a:prstGeom>
          <a:solidFill>
            <a:srgbClr val="C6E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URLs &amp; emails</a:t>
            </a:r>
          </a:p>
        </p:txBody>
      </p:sp>
      <p:sp>
        <p:nvSpPr>
          <p:cNvPr id="149" name="Rectangle 148">
            <a:extLst>
              <a:ext uri="{FF2B5EF4-FFF2-40B4-BE49-F238E27FC236}">
                <a16:creationId xmlns:a16="http://schemas.microsoft.com/office/drawing/2014/main" id="{2DB4DB07-64D9-48B5-B11A-548686B37AA4}"/>
              </a:ext>
            </a:extLst>
          </p:cNvPr>
          <p:cNvSpPr/>
          <p:nvPr/>
        </p:nvSpPr>
        <p:spPr bwMode="auto">
          <a:xfrm>
            <a:off x="4280972" y="2985710"/>
            <a:ext cx="1619751" cy="498885"/>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1.8M </a:t>
            </a:r>
            <a:r>
              <a:rPr lang="en-GB" sz="700" b="1">
                <a:solidFill>
                  <a:schemeClr val="accent1"/>
                </a:solidFill>
                <a:latin typeface="Trebuchet MS" panose="020B0603020202020204" pitchFamily="34" charset="0"/>
              </a:rPr>
              <a:t>websites</a:t>
            </a:r>
          </a:p>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2.5M </a:t>
            </a:r>
            <a:r>
              <a:rPr lang="en-GB" sz="700" b="1">
                <a:solidFill>
                  <a:schemeClr val="accent1"/>
                </a:solidFill>
                <a:latin typeface="Trebuchet MS" panose="020B0603020202020204" pitchFamily="34" charset="0"/>
              </a:rPr>
              <a:t>emails</a:t>
            </a:r>
            <a:endParaRPr lang="en-GB" sz="700">
              <a:solidFill>
                <a:schemeClr val="accent1"/>
              </a:solidFill>
              <a:latin typeface="Trebuchet MS" panose="020B0603020202020204" pitchFamily="34" charset="0"/>
            </a:endParaRPr>
          </a:p>
        </p:txBody>
      </p:sp>
      <p:sp>
        <p:nvSpPr>
          <p:cNvPr id="162" name="Rectangle 161">
            <a:extLst>
              <a:ext uri="{FF2B5EF4-FFF2-40B4-BE49-F238E27FC236}">
                <a16:creationId xmlns:a16="http://schemas.microsoft.com/office/drawing/2014/main" id="{384CF509-9117-4C41-988C-8D5CE02B7006}"/>
              </a:ext>
            </a:extLst>
          </p:cNvPr>
          <p:cNvSpPr/>
          <p:nvPr/>
        </p:nvSpPr>
        <p:spPr bwMode="auto">
          <a:xfrm>
            <a:off x="4164844" y="3914501"/>
            <a:ext cx="1793934" cy="1090492"/>
          </a:xfrm>
          <a:prstGeom prst="rect">
            <a:avLst/>
          </a:prstGeom>
          <a:solidFill>
            <a:srgbClr val="C6E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Online </a:t>
            </a:r>
            <a:r>
              <a:rPr lang="en-GB" sz="900" err="1">
                <a:latin typeface="Trebuchet MS" panose="020B0603020202020204" pitchFamily="34" charset="0"/>
              </a:rPr>
              <a:t>behavioral</a:t>
            </a:r>
            <a:r>
              <a:rPr lang="en-GB" sz="900">
                <a:latin typeface="Trebuchet MS" panose="020B0603020202020204" pitchFamily="34" charset="0"/>
              </a:rPr>
              <a:t> data</a:t>
            </a:r>
          </a:p>
        </p:txBody>
      </p:sp>
      <p:sp>
        <p:nvSpPr>
          <p:cNvPr id="163" name="Rectangle 162">
            <a:extLst>
              <a:ext uri="{FF2B5EF4-FFF2-40B4-BE49-F238E27FC236}">
                <a16:creationId xmlns:a16="http://schemas.microsoft.com/office/drawing/2014/main" id="{D00E5A24-FB5E-4D29-8AE6-F4405252F070}"/>
              </a:ext>
            </a:extLst>
          </p:cNvPr>
          <p:cNvSpPr/>
          <p:nvPr/>
        </p:nvSpPr>
        <p:spPr bwMode="auto">
          <a:xfrm>
            <a:off x="4280972" y="4131883"/>
            <a:ext cx="1619751" cy="498885"/>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500k </a:t>
            </a:r>
            <a:r>
              <a:rPr lang="en-GB" sz="700" b="1">
                <a:solidFill>
                  <a:schemeClr val="accent1"/>
                </a:solidFill>
                <a:latin typeface="Trebuchet MS" panose="020B0603020202020204" pitchFamily="34" charset="0"/>
              </a:rPr>
              <a:t>clicks tracked/year</a:t>
            </a:r>
            <a:endParaRPr lang="en-GB" sz="900" b="1">
              <a:solidFill>
                <a:schemeClr val="accent1"/>
              </a:solidFill>
              <a:latin typeface="Trebuchet MS" panose="020B0603020202020204" pitchFamily="34" charset="0"/>
            </a:endParaRPr>
          </a:p>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3.2M </a:t>
            </a:r>
            <a:r>
              <a:rPr lang="en-GB" sz="700" b="1">
                <a:solidFill>
                  <a:schemeClr val="accent1"/>
                </a:solidFill>
                <a:latin typeface="Trebuchet MS" panose="020B0603020202020204" pitchFamily="34" charset="0"/>
              </a:rPr>
              <a:t>de cookies</a:t>
            </a:r>
            <a:endParaRPr lang="en-GB" sz="700">
              <a:solidFill>
                <a:schemeClr val="accent1"/>
              </a:solidFill>
              <a:latin typeface="Trebuchet MS" panose="020B0603020202020204" pitchFamily="34" charset="0"/>
            </a:endParaRPr>
          </a:p>
        </p:txBody>
      </p:sp>
      <p:sp>
        <p:nvSpPr>
          <p:cNvPr id="158" name="Rectangle 157">
            <a:extLst>
              <a:ext uri="{FF2B5EF4-FFF2-40B4-BE49-F238E27FC236}">
                <a16:creationId xmlns:a16="http://schemas.microsoft.com/office/drawing/2014/main" id="{2038E0A1-6462-4761-A752-52389C04277C}"/>
              </a:ext>
            </a:extLst>
          </p:cNvPr>
          <p:cNvSpPr/>
          <p:nvPr/>
        </p:nvSpPr>
        <p:spPr bwMode="auto">
          <a:xfrm>
            <a:off x="6013315" y="2768328"/>
            <a:ext cx="1793934" cy="1090492"/>
          </a:xfrm>
          <a:prstGeom prst="rect">
            <a:avLst/>
          </a:prstGeom>
          <a:solidFill>
            <a:srgbClr val="C6E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Private balance sheet</a:t>
            </a:r>
          </a:p>
        </p:txBody>
      </p:sp>
      <p:sp>
        <p:nvSpPr>
          <p:cNvPr id="166" name="Rectangle 165">
            <a:extLst>
              <a:ext uri="{FF2B5EF4-FFF2-40B4-BE49-F238E27FC236}">
                <a16:creationId xmlns:a16="http://schemas.microsoft.com/office/drawing/2014/main" id="{AA11BD11-3D19-43C4-81A6-527012E2767B}"/>
              </a:ext>
            </a:extLst>
          </p:cNvPr>
          <p:cNvSpPr/>
          <p:nvPr/>
        </p:nvSpPr>
        <p:spPr bwMode="auto">
          <a:xfrm>
            <a:off x="6017170" y="3914501"/>
            <a:ext cx="1793934" cy="1090492"/>
          </a:xfrm>
          <a:prstGeom prst="rect">
            <a:avLst/>
          </a:prstGeom>
          <a:solidFill>
            <a:srgbClr val="C6E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Scrapped data</a:t>
            </a:r>
          </a:p>
        </p:txBody>
      </p:sp>
      <p:sp>
        <p:nvSpPr>
          <p:cNvPr id="167" name="Rectangle 166">
            <a:extLst>
              <a:ext uri="{FF2B5EF4-FFF2-40B4-BE49-F238E27FC236}">
                <a16:creationId xmlns:a16="http://schemas.microsoft.com/office/drawing/2014/main" id="{60BAFCF4-6A2E-4F06-B654-028F361B4F48}"/>
              </a:ext>
            </a:extLst>
          </p:cNvPr>
          <p:cNvSpPr/>
          <p:nvPr/>
        </p:nvSpPr>
        <p:spPr bwMode="auto">
          <a:xfrm>
            <a:off x="6133298" y="4131883"/>
            <a:ext cx="1619751" cy="498885"/>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72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15m</a:t>
            </a:r>
            <a:r>
              <a:rPr lang="en-GB" sz="700">
                <a:solidFill>
                  <a:schemeClr val="accent1"/>
                </a:solidFill>
                <a:latin typeface="Trebuchet MS" panose="020B0603020202020204" pitchFamily="34" charset="0"/>
              </a:rPr>
              <a:t> keywords</a:t>
            </a:r>
          </a:p>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700k</a:t>
            </a:r>
            <a:r>
              <a:rPr lang="en-GB" sz="700">
                <a:solidFill>
                  <a:schemeClr val="accent1"/>
                </a:solidFill>
                <a:latin typeface="Trebuchet MS" panose="020B0603020202020204" pitchFamily="34" charset="0"/>
              </a:rPr>
              <a:t> logos</a:t>
            </a:r>
          </a:p>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700k</a:t>
            </a:r>
            <a:r>
              <a:rPr lang="en-GB" sz="700">
                <a:solidFill>
                  <a:schemeClr val="accent1"/>
                </a:solidFill>
                <a:latin typeface="Trebuchet MS" panose="020B0603020202020204" pitchFamily="34" charset="0"/>
              </a:rPr>
              <a:t> social network accounts</a:t>
            </a:r>
          </a:p>
        </p:txBody>
      </p:sp>
      <p:sp>
        <p:nvSpPr>
          <p:cNvPr id="171" name="Rectangle 170">
            <a:extLst>
              <a:ext uri="{FF2B5EF4-FFF2-40B4-BE49-F238E27FC236}">
                <a16:creationId xmlns:a16="http://schemas.microsoft.com/office/drawing/2014/main" id="{077582C5-FFC2-461F-AF7E-43238EE7202A}"/>
              </a:ext>
            </a:extLst>
          </p:cNvPr>
          <p:cNvSpPr/>
          <p:nvPr/>
        </p:nvSpPr>
        <p:spPr bwMode="auto">
          <a:xfrm>
            <a:off x="4164844" y="5060674"/>
            <a:ext cx="1793934" cy="1090492"/>
          </a:xfrm>
          <a:prstGeom prst="rect">
            <a:avLst/>
          </a:prstGeom>
          <a:solidFill>
            <a:srgbClr val="C6E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Crowdsourcing</a:t>
            </a:r>
          </a:p>
        </p:txBody>
      </p:sp>
      <p:sp>
        <p:nvSpPr>
          <p:cNvPr id="172" name="Rectangle 171">
            <a:extLst>
              <a:ext uri="{FF2B5EF4-FFF2-40B4-BE49-F238E27FC236}">
                <a16:creationId xmlns:a16="http://schemas.microsoft.com/office/drawing/2014/main" id="{527E59E7-DEB4-4C34-8E80-7ADE5C34C712}"/>
              </a:ext>
            </a:extLst>
          </p:cNvPr>
          <p:cNvSpPr/>
          <p:nvPr/>
        </p:nvSpPr>
        <p:spPr bwMode="auto">
          <a:xfrm>
            <a:off x="4280972" y="5278056"/>
            <a:ext cx="1619751" cy="498885"/>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4k</a:t>
            </a:r>
            <a:r>
              <a:rPr lang="en-GB" sz="700">
                <a:solidFill>
                  <a:schemeClr val="accent1"/>
                </a:solidFill>
                <a:latin typeface="Trebuchet MS" panose="020B0603020202020204" pitchFamily="34" charset="0"/>
              </a:rPr>
              <a:t> products</a:t>
            </a:r>
          </a:p>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10k</a:t>
            </a:r>
            <a:r>
              <a:rPr lang="en-GB" sz="700">
                <a:solidFill>
                  <a:schemeClr val="accent1"/>
                </a:solidFill>
                <a:latin typeface="Trebuchet MS" panose="020B0603020202020204" pitchFamily="34" charset="0"/>
              </a:rPr>
              <a:t> companies’ profiles</a:t>
            </a:r>
          </a:p>
        </p:txBody>
      </p:sp>
      <p:sp>
        <p:nvSpPr>
          <p:cNvPr id="175" name="Rectangle 174">
            <a:extLst>
              <a:ext uri="{FF2B5EF4-FFF2-40B4-BE49-F238E27FC236}">
                <a16:creationId xmlns:a16="http://schemas.microsoft.com/office/drawing/2014/main" id="{55B5E42C-D7A3-4942-8ECE-F2B76ED8565C}"/>
              </a:ext>
            </a:extLst>
          </p:cNvPr>
          <p:cNvSpPr/>
          <p:nvPr/>
        </p:nvSpPr>
        <p:spPr bwMode="auto">
          <a:xfrm>
            <a:off x="6017170" y="5060674"/>
            <a:ext cx="1793934" cy="1090492"/>
          </a:xfrm>
          <a:prstGeom prst="rect">
            <a:avLst/>
          </a:prstGeom>
          <a:solidFill>
            <a:srgbClr val="C6E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NLP extracted data</a:t>
            </a:r>
          </a:p>
        </p:txBody>
      </p:sp>
      <p:sp>
        <p:nvSpPr>
          <p:cNvPr id="176" name="Rectangle 175">
            <a:extLst>
              <a:ext uri="{FF2B5EF4-FFF2-40B4-BE49-F238E27FC236}">
                <a16:creationId xmlns:a16="http://schemas.microsoft.com/office/drawing/2014/main" id="{68D19AF5-4D7A-4401-8C86-56F8674948CB}"/>
              </a:ext>
            </a:extLst>
          </p:cNvPr>
          <p:cNvSpPr/>
          <p:nvPr/>
        </p:nvSpPr>
        <p:spPr bwMode="auto">
          <a:xfrm>
            <a:off x="6133298" y="5278056"/>
            <a:ext cx="1619751" cy="498885"/>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531</a:t>
            </a:r>
            <a:r>
              <a:rPr lang="en-GB" sz="700">
                <a:solidFill>
                  <a:schemeClr val="accent1"/>
                </a:solidFill>
                <a:latin typeface="Trebuchet MS" panose="020B0603020202020204" pitchFamily="34" charset="0"/>
              </a:rPr>
              <a:t> French newspapers </a:t>
            </a:r>
            <a:r>
              <a:rPr lang="en-GB" sz="700" err="1">
                <a:solidFill>
                  <a:schemeClr val="accent1"/>
                </a:solidFill>
                <a:latin typeface="Trebuchet MS" panose="020B0603020202020204" pitchFamily="34" charset="0"/>
              </a:rPr>
              <a:t>analyzed</a:t>
            </a:r>
            <a:endParaRPr lang="en-GB" sz="700">
              <a:solidFill>
                <a:schemeClr val="accent1"/>
              </a:solidFill>
              <a:latin typeface="Trebuchet MS" panose="020B0603020202020204" pitchFamily="34" charset="0"/>
            </a:endParaRPr>
          </a:p>
          <a:p>
            <a:pPr marL="90488" indent="-90488">
              <a:buFont typeface="Wingdings" panose="05000000000000000000" pitchFamily="2" charset="2"/>
              <a:buChar char="ü"/>
            </a:pPr>
            <a:r>
              <a:rPr lang="en-GB" sz="700">
                <a:solidFill>
                  <a:schemeClr val="accent1"/>
                </a:solidFill>
                <a:latin typeface="Trebuchet MS" panose="020B0603020202020204" pitchFamily="34" charset="0"/>
              </a:rPr>
              <a:t>… </a:t>
            </a:r>
          </a:p>
        </p:txBody>
      </p:sp>
      <p:pic>
        <p:nvPicPr>
          <p:cNvPr id="184" name="Picture 2" descr="Drapeau France">
            <a:extLst>
              <a:ext uri="{FF2B5EF4-FFF2-40B4-BE49-F238E27FC236}">
                <a16:creationId xmlns:a16="http://schemas.microsoft.com/office/drawing/2014/main" id="{8AD3C5D8-1F24-452F-A75C-172EAF3B1C3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7006" b="16757"/>
          <a:stretch/>
        </p:blipFill>
        <p:spPr bwMode="auto">
          <a:xfrm>
            <a:off x="4825181" y="1289131"/>
            <a:ext cx="157269" cy="94798"/>
          </a:xfrm>
          <a:prstGeom prst="roundRect">
            <a:avLst/>
          </a:prstGeom>
          <a:noFill/>
          <a:extLst>
            <a:ext uri="{909E8E84-426E-40DD-AFC4-6F175D3DCCD1}">
              <a14:hiddenFill xmlns:a14="http://schemas.microsoft.com/office/drawing/2010/main">
                <a:solidFill>
                  <a:srgbClr val="FFFFFF"/>
                </a:solidFill>
              </a14:hiddenFill>
            </a:ext>
          </a:extLst>
        </p:spPr>
      </p:pic>
      <p:pic>
        <p:nvPicPr>
          <p:cNvPr id="185" name="Picture 2 - 1" descr="Drapeau des Pays-Bas — Wikipédia">
            <a:extLst>
              <a:ext uri="{FF2B5EF4-FFF2-40B4-BE49-F238E27FC236}">
                <a16:creationId xmlns:a16="http://schemas.microsoft.com/office/drawing/2014/main" id="{EC6AA66B-D2C8-4326-9A5A-4D048BF67C6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77798" y="1278961"/>
            <a:ext cx="158400" cy="95481"/>
          </a:xfrm>
          <a:prstGeom prst="roundRect">
            <a:avLst/>
          </a:prstGeom>
          <a:noFill/>
          <a:extLst>
            <a:ext uri="{909E8E84-426E-40DD-AFC4-6F175D3DCCD1}">
              <a14:hiddenFill xmlns:a14="http://schemas.microsoft.com/office/drawing/2010/main">
                <a:solidFill>
                  <a:srgbClr val="FFFFFF"/>
                </a:solidFill>
              </a14:hiddenFill>
            </a:ext>
          </a:extLst>
        </p:spPr>
      </p:pic>
      <p:pic>
        <p:nvPicPr>
          <p:cNvPr id="186" name="Picture 2" descr="5 ft x 3 ft 150 x 90 cm-DRAPEAU BELGE Belgique 100% Polyester ...">
            <a:extLst>
              <a:ext uri="{FF2B5EF4-FFF2-40B4-BE49-F238E27FC236}">
                <a16:creationId xmlns:a16="http://schemas.microsoft.com/office/drawing/2014/main" id="{1E32D61B-5B3C-495E-A348-28A3A932C99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73"/>
          <a:stretch/>
        </p:blipFill>
        <p:spPr bwMode="auto">
          <a:xfrm>
            <a:off x="5664888" y="1278703"/>
            <a:ext cx="158400" cy="95479"/>
          </a:xfrm>
          <a:prstGeom prst="roundRect">
            <a:avLst/>
          </a:prstGeom>
          <a:noFill/>
          <a:extLst>
            <a:ext uri="{909E8E84-426E-40DD-AFC4-6F175D3DCCD1}">
              <a14:hiddenFill xmlns:a14="http://schemas.microsoft.com/office/drawing/2010/main">
                <a:solidFill>
                  <a:srgbClr val="FFFFFF"/>
                </a:solidFill>
              </a14:hiddenFill>
            </a:ext>
          </a:extLst>
        </p:spPr>
      </p:pic>
      <p:pic>
        <p:nvPicPr>
          <p:cNvPr id="187" name="Picture 5" descr="A picture containing bird&#10;&#10;Description automatically generated">
            <a:extLst>
              <a:ext uri="{FF2B5EF4-FFF2-40B4-BE49-F238E27FC236}">
                <a16:creationId xmlns:a16="http://schemas.microsoft.com/office/drawing/2014/main" id="{400AEF5B-0658-4298-8E53-9B09E458EA1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71343" y="1279153"/>
            <a:ext cx="158400" cy="95287"/>
          </a:xfrm>
          <a:prstGeom prst="roundRect">
            <a:avLst/>
          </a:prstGeom>
          <a:noFill/>
        </p:spPr>
      </p:pic>
      <p:pic>
        <p:nvPicPr>
          <p:cNvPr id="189" name="Picture 2" descr="Dun &amp; Bradstreet - Bâtir des relations">
            <a:extLst>
              <a:ext uri="{FF2B5EF4-FFF2-40B4-BE49-F238E27FC236}">
                <a16:creationId xmlns:a16="http://schemas.microsoft.com/office/drawing/2014/main" id="{056649D4-EE05-40DC-897B-E599064AA24F}"/>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84293" y="2402841"/>
            <a:ext cx="1100840" cy="161007"/>
          </a:xfrm>
          <a:prstGeom prst="rect">
            <a:avLst/>
          </a:prstGeom>
          <a:noFill/>
          <a:extLst>
            <a:ext uri="{909E8E84-426E-40DD-AFC4-6F175D3DCCD1}">
              <a14:hiddenFill xmlns:a14="http://schemas.microsoft.com/office/drawing/2010/main">
                <a:solidFill>
                  <a:srgbClr val="FFFFFF"/>
                </a:solidFill>
              </a14:hiddenFill>
            </a:ext>
          </a:extLst>
        </p:spPr>
      </p:pic>
      <p:sp>
        <p:nvSpPr>
          <p:cNvPr id="190" name="TextBox 30">
            <a:extLst>
              <a:ext uri="{FF2B5EF4-FFF2-40B4-BE49-F238E27FC236}">
                <a16:creationId xmlns:a16="http://schemas.microsoft.com/office/drawing/2014/main" id="{A591974C-B5DD-4FC3-B44C-AA9ADCC0AE3F}"/>
              </a:ext>
            </a:extLst>
          </p:cNvPr>
          <p:cNvSpPr txBox="1"/>
          <p:nvPr/>
        </p:nvSpPr>
        <p:spPr>
          <a:xfrm>
            <a:off x="5714739" y="1172065"/>
            <a:ext cx="374319" cy="307777"/>
          </a:xfrm>
          <a:prstGeom prst="rect">
            <a:avLst/>
          </a:prstGeom>
          <a:no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b="1" u="none" strike="noStrike" kern="1200" cap="none" spc="0" normalizeH="0" baseline="0" noProof="0">
                <a:ln>
                  <a:noFill/>
                </a:ln>
                <a:solidFill>
                  <a:schemeClr val="tx2"/>
                </a:solidFill>
                <a:effectLst/>
                <a:uLnTx/>
                <a:uFillTx/>
                <a:latin typeface="Trebuchet MS" panose="020B0603020202020204" pitchFamily="34" charset="0"/>
              </a:rPr>
              <a:t>)</a:t>
            </a:r>
          </a:p>
        </p:txBody>
      </p:sp>
      <p:sp>
        <p:nvSpPr>
          <p:cNvPr id="191" name="TextBox 30">
            <a:extLst>
              <a:ext uri="{FF2B5EF4-FFF2-40B4-BE49-F238E27FC236}">
                <a16:creationId xmlns:a16="http://schemas.microsoft.com/office/drawing/2014/main" id="{77B68D21-48B3-4693-8E90-368BBBFFCDD5}"/>
              </a:ext>
            </a:extLst>
          </p:cNvPr>
          <p:cNvSpPr txBox="1"/>
          <p:nvPr/>
        </p:nvSpPr>
        <p:spPr>
          <a:xfrm>
            <a:off x="4568133" y="1172240"/>
            <a:ext cx="374319" cy="307777"/>
          </a:xfrm>
          <a:prstGeom prst="rect">
            <a:avLst/>
          </a:prstGeom>
          <a:no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b="1">
                <a:solidFill>
                  <a:schemeClr val="tx2"/>
                </a:solidFill>
                <a:latin typeface="Trebuchet MS" panose="020B0603020202020204" pitchFamily="34" charset="0"/>
              </a:rPr>
              <a:t>(</a:t>
            </a:r>
            <a:endParaRPr kumimoji="0" lang="en-GB" b="1" u="none" strike="noStrike" kern="1200" cap="none" spc="0" normalizeH="0" baseline="0" noProof="0">
              <a:ln>
                <a:noFill/>
              </a:ln>
              <a:solidFill>
                <a:schemeClr val="tx2"/>
              </a:solidFill>
              <a:effectLst/>
              <a:uLnTx/>
              <a:uFillTx/>
              <a:latin typeface="Trebuchet MS" panose="020B0603020202020204" pitchFamily="34" charset="0"/>
            </a:endParaRPr>
          </a:p>
        </p:txBody>
      </p:sp>
      <p:pic>
        <p:nvPicPr>
          <p:cNvPr id="5" name="Picture 2" descr="5 ft x 3 ft 150 x 90 cm-DRAPEAU BELGE Belgique 100% Polyester ...">
            <a:extLst>
              <a:ext uri="{FF2B5EF4-FFF2-40B4-BE49-F238E27FC236}">
                <a16:creationId xmlns:a16="http://schemas.microsoft.com/office/drawing/2014/main" id="{73358F6B-76B0-4849-928F-59ED12BF4D3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73"/>
          <a:stretch/>
        </p:blipFill>
        <p:spPr bwMode="auto">
          <a:xfrm>
            <a:off x="1876964" y="4288538"/>
            <a:ext cx="158400" cy="95479"/>
          </a:xfrm>
          <a:prstGeom prst="round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C3CC68C2-735B-4B14-A431-6FA744E9B543}"/>
              </a:ext>
            </a:extLst>
          </p:cNvPr>
          <p:cNvGrpSpPr/>
          <p:nvPr/>
        </p:nvGrpSpPr>
        <p:grpSpPr>
          <a:xfrm>
            <a:off x="1380077" y="2365352"/>
            <a:ext cx="720947" cy="883993"/>
            <a:chOff x="1223374" y="2405383"/>
            <a:chExt cx="720947" cy="758852"/>
          </a:xfrm>
        </p:grpSpPr>
        <p:sp>
          <p:nvSpPr>
            <p:cNvPr id="6" name="Rectangle 5">
              <a:extLst>
                <a:ext uri="{FF2B5EF4-FFF2-40B4-BE49-F238E27FC236}">
                  <a16:creationId xmlns:a16="http://schemas.microsoft.com/office/drawing/2014/main" id="{7412C1B7-0580-4F47-B11A-13E77C8C86AE}"/>
                </a:ext>
              </a:extLst>
            </p:cNvPr>
            <p:cNvSpPr/>
            <p:nvPr/>
          </p:nvSpPr>
          <p:spPr bwMode="auto">
            <a:xfrm>
              <a:off x="1223374" y="2405383"/>
              <a:ext cx="720947" cy="758852"/>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91440" tIns="108000" rIns="91440" bIns="45720" numCol="1" rtlCol="0" anchor="t" anchorCtr="0" compatLnSpc="1">
              <a:prstTxWarp prst="textNoShape">
                <a:avLst/>
              </a:prstTxWarp>
            </a:bodyPr>
            <a:lstStyle/>
            <a:p>
              <a:pPr marL="90488" indent="-90488">
                <a:buFont typeface="Wingdings" panose="05000000000000000000" pitchFamily="2" charset="2"/>
                <a:buChar char="ü"/>
              </a:pPr>
              <a:r>
                <a:rPr lang="en-GB" sz="700">
                  <a:latin typeface="+mj-lt"/>
                </a:rPr>
                <a:t>National bank of Belgium </a:t>
              </a:r>
              <a:r>
                <a:rPr lang="en-GB" sz="700" err="1">
                  <a:latin typeface="+mj-lt"/>
                </a:rPr>
                <a:t>infos</a:t>
              </a:r>
              <a:endParaRPr lang="en-GB" sz="700">
                <a:latin typeface="+mj-lt"/>
              </a:endParaRPr>
            </a:p>
          </p:txBody>
        </p:sp>
        <p:pic>
          <p:nvPicPr>
            <p:cNvPr id="49" name="Picture 2" descr="5 ft x 3 ft 150 x 90 cm-DRAPEAU BELGE Belgique 100% Polyester ...">
              <a:extLst>
                <a:ext uri="{FF2B5EF4-FFF2-40B4-BE49-F238E27FC236}">
                  <a16:creationId xmlns:a16="http://schemas.microsoft.com/office/drawing/2014/main" id="{074D0833-1889-41BF-BF91-C8D9192629B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73"/>
            <a:stretch/>
          </p:blipFill>
          <p:spPr bwMode="auto">
            <a:xfrm>
              <a:off x="1745371" y="2706523"/>
              <a:ext cx="158400" cy="95479"/>
            </a:xfrm>
            <a:prstGeom prst="roundRect">
              <a:avLst/>
            </a:prstGeom>
            <a:noFill/>
            <a:extLst>
              <a:ext uri="{909E8E84-426E-40DD-AFC4-6F175D3DCCD1}">
                <a14:hiddenFill xmlns:a14="http://schemas.microsoft.com/office/drawing/2010/main">
                  <a:solidFill>
                    <a:srgbClr val="FFFFFF"/>
                  </a:solidFill>
                </a14:hiddenFill>
              </a:ext>
            </a:extLst>
          </p:spPr>
        </p:pic>
      </p:grpSp>
      <p:sp>
        <p:nvSpPr>
          <p:cNvPr id="40" name="Rectangle 39">
            <a:extLst>
              <a:ext uri="{FF2B5EF4-FFF2-40B4-BE49-F238E27FC236}">
                <a16:creationId xmlns:a16="http://schemas.microsoft.com/office/drawing/2014/main" id="{5C39529E-BD96-439E-A347-B1ADD2F77294}"/>
              </a:ext>
            </a:extLst>
          </p:cNvPr>
          <p:cNvSpPr/>
          <p:nvPr/>
        </p:nvSpPr>
        <p:spPr bwMode="auto">
          <a:xfrm>
            <a:off x="529523" y="2365352"/>
            <a:ext cx="720947" cy="883993"/>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900" b="1">
                <a:latin typeface="Trebuchet MS" panose="020B0603020202020204" pitchFamily="34" charset="0"/>
              </a:rPr>
              <a:t>15m</a:t>
            </a:r>
            <a:r>
              <a:rPr lang="en-GB" sz="700">
                <a:latin typeface="Trebuchet MS" panose="020B0603020202020204" pitchFamily="34" charset="0"/>
              </a:rPr>
              <a:t> annual statements</a:t>
            </a:r>
          </a:p>
          <a:p>
            <a:pPr marL="90488" indent="-90488">
              <a:buFont typeface="Wingdings" panose="05000000000000000000" pitchFamily="2" charset="2"/>
              <a:buChar char="ü"/>
            </a:pPr>
            <a:r>
              <a:rPr lang="en-GB" sz="900" b="1">
                <a:latin typeface="Trebuchet MS" panose="020B0603020202020204" pitchFamily="34" charset="0"/>
              </a:rPr>
              <a:t>10m</a:t>
            </a:r>
            <a:r>
              <a:rPr lang="en-GB" sz="700">
                <a:latin typeface="Trebuchet MS" panose="020B0603020202020204" pitchFamily="34" charset="0"/>
              </a:rPr>
              <a:t> </a:t>
            </a:r>
            <a:r>
              <a:rPr lang="en-GB" sz="700" err="1">
                <a:latin typeface="Trebuchet MS" panose="020B0603020202020204" pitchFamily="34" charset="0"/>
              </a:rPr>
              <a:t>Bodacc</a:t>
            </a:r>
            <a:r>
              <a:rPr lang="en-GB" sz="700">
                <a:latin typeface="Trebuchet MS" panose="020B0603020202020204" pitchFamily="34" charset="0"/>
              </a:rPr>
              <a:t> entries</a:t>
            </a:r>
          </a:p>
        </p:txBody>
      </p:sp>
      <p:pic>
        <p:nvPicPr>
          <p:cNvPr id="47" name="Picture 2" descr="Drapeau France">
            <a:extLst>
              <a:ext uri="{FF2B5EF4-FFF2-40B4-BE49-F238E27FC236}">
                <a16:creationId xmlns:a16="http://schemas.microsoft.com/office/drawing/2014/main" id="{1B03E7F2-6209-43E6-BBDE-4DFEA2CAF23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7006" b="16757"/>
          <a:stretch/>
        </p:blipFill>
        <p:spPr bwMode="auto">
          <a:xfrm>
            <a:off x="787672" y="2308043"/>
            <a:ext cx="157269" cy="94798"/>
          </a:xfrm>
          <a:prstGeom prst="round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47CC47C4-57C7-4602-B148-F02DE24D337B}"/>
              </a:ext>
            </a:extLst>
          </p:cNvPr>
          <p:cNvGrpSpPr/>
          <p:nvPr/>
        </p:nvGrpSpPr>
        <p:grpSpPr>
          <a:xfrm>
            <a:off x="1465870" y="2307362"/>
            <a:ext cx="553713" cy="96420"/>
            <a:chOff x="1309167" y="2347392"/>
            <a:chExt cx="553713" cy="96420"/>
          </a:xfrm>
        </p:grpSpPr>
        <p:pic>
          <p:nvPicPr>
            <p:cNvPr id="48" name="Picture 2 - 1" descr="Drapeau des Pays-Bas — Wikipédia">
              <a:extLst>
                <a:ext uri="{FF2B5EF4-FFF2-40B4-BE49-F238E27FC236}">
                  <a16:creationId xmlns:a16="http://schemas.microsoft.com/office/drawing/2014/main" id="{C5E1184A-8C29-427B-9737-8946744ECC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167" y="2348331"/>
              <a:ext cx="158400" cy="95481"/>
            </a:xfrm>
            <a:prstGeom prst="roundRect">
              <a:avLst/>
            </a:prstGeom>
            <a:noFill/>
            <a:extLst>
              <a:ext uri="{909E8E84-426E-40DD-AFC4-6F175D3DCCD1}">
                <a14:hiddenFill xmlns:a14="http://schemas.microsoft.com/office/drawing/2010/main">
                  <a:solidFill>
                    <a:srgbClr val="FFFFFF"/>
                  </a:solidFill>
                </a14:hiddenFill>
              </a:ext>
            </a:extLst>
          </p:spPr>
        </p:pic>
        <p:pic>
          <p:nvPicPr>
            <p:cNvPr id="50" name="Picture 5" descr="A picture containing bird&#10;&#10;Description automatically generated">
              <a:extLst>
                <a:ext uri="{FF2B5EF4-FFF2-40B4-BE49-F238E27FC236}">
                  <a16:creationId xmlns:a16="http://schemas.microsoft.com/office/drawing/2014/main" id="{5F9A7136-B08A-4508-895F-5243022D01D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02712" y="2348523"/>
              <a:ext cx="158400" cy="95287"/>
            </a:xfrm>
            <a:prstGeom prst="roundRect">
              <a:avLst/>
            </a:prstGeom>
            <a:noFill/>
          </p:spPr>
        </p:pic>
        <p:pic>
          <p:nvPicPr>
            <p:cNvPr id="7" name="Picture 2" descr="5 ft x 3 ft 150 x 90 cm-DRAPEAU BELGE Belgique 100% Polyester ...">
              <a:extLst>
                <a:ext uri="{FF2B5EF4-FFF2-40B4-BE49-F238E27FC236}">
                  <a16:creationId xmlns:a16="http://schemas.microsoft.com/office/drawing/2014/main" id="{48285DA2-E6EE-40A6-851D-1DA3A815DDC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73"/>
            <a:stretch/>
          </p:blipFill>
          <p:spPr bwMode="auto">
            <a:xfrm>
              <a:off x="1704480" y="2347392"/>
              <a:ext cx="158400" cy="95479"/>
            </a:xfrm>
            <a:prstGeom prst="roundRect">
              <a:avLst/>
            </a:prstGeom>
            <a:noFill/>
            <a:extLst>
              <a:ext uri="{909E8E84-426E-40DD-AFC4-6F175D3DCCD1}">
                <a14:hiddenFill xmlns:a14="http://schemas.microsoft.com/office/drawing/2010/main">
                  <a:solidFill>
                    <a:srgbClr val="FFFFFF"/>
                  </a:solidFill>
                </a14:hiddenFill>
              </a:ext>
            </a:extLst>
          </p:spPr>
        </p:pic>
      </p:grpSp>
      <p:sp>
        <p:nvSpPr>
          <p:cNvPr id="13" name="Rectangle 12">
            <a:extLst>
              <a:ext uri="{FF2B5EF4-FFF2-40B4-BE49-F238E27FC236}">
                <a16:creationId xmlns:a16="http://schemas.microsoft.com/office/drawing/2014/main" id="{7A5DA037-A089-4823-9AD6-5C686579B915}"/>
              </a:ext>
            </a:extLst>
          </p:cNvPr>
          <p:cNvSpPr/>
          <p:nvPr/>
        </p:nvSpPr>
        <p:spPr bwMode="auto">
          <a:xfrm>
            <a:off x="6129443" y="2985710"/>
            <a:ext cx="1619751" cy="498885"/>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700">
                <a:solidFill>
                  <a:schemeClr val="accent1"/>
                </a:solidFill>
                <a:latin typeface="Trebuchet MS" panose="020B0603020202020204" pitchFamily="34" charset="0"/>
              </a:rPr>
              <a:t>Collected through manageo.fr</a:t>
            </a:r>
          </a:p>
          <a:p>
            <a:pPr marL="90488" indent="-90488">
              <a:buFont typeface="Wingdings" panose="05000000000000000000" pitchFamily="2" charset="2"/>
              <a:buChar char="ü"/>
            </a:pPr>
            <a:r>
              <a:rPr lang="en-GB" sz="700">
                <a:solidFill>
                  <a:schemeClr val="accent1"/>
                </a:solidFill>
                <a:latin typeface="Trebuchet MS" panose="020B0603020202020204" pitchFamily="34" charset="0"/>
              </a:rPr>
              <a:t>Through </a:t>
            </a:r>
            <a:r>
              <a:rPr lang="en-GB" sz="700" err="1">
                <a:solidFill>
                  <a:schemeClr val="accent1"/>
                </a:solidFill>
                <a:latin typeface="Trebuchet MS" panose="020B0603020202020204" pitchFamily="34" charset="0"/>
              </a:rPr>
              <a:t>Powerlinx</a:t>
            </a:r>
            <a:endParaRPr lang="en-GB" sz="700">
              <a:solidFill>
                <a:schemeClr val="accent1"/>
              </a:solidFill>
              <a:latin typeface="Trebuchet MS" panose="020B0603020202020204" pitchFamily="34" charset="0"/>
            </a:endParaRPr>
          </a:p>
        </p:txBody>
      </p:sp>
      <p:sp>
        <p:nvSpPr>
          <p:cNvPr id="103" name="Rectangle 102">
            <a:extLst>
              <a:ext uri="{FF2B5EF4-FFF2-40B4-BE49-F238E27FC236}">
                <a16:creationId xmlns:a16="http://schemas.microsoft.com/office/drawing/2014/main" id="{0F7BE15B-8307-4576-BDC6-0E26042C98AA}"/>
              </a:ext>
            </a:extLst>
          </p:cNvPr>
          <p:cNvSpPr/>
          <p:nvPr/>
        </p:nvSpPr>
        <p:spPr bwMode="auto">
          <a:xfrm>
            <a:off x="7891690" y="1537867"/>
            <a:ext cx="1642228" cy="314390"/>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anose="020B0603020202020204" pitchFamily="34" charset="0"/>
              </a:rPr>
              <a:t>Private data</a:t>
            </a:r>
          </a:p>
        </p:txBody>
      </p:sp>
      <p:pic>
        <p:nvPicPr>
          <p:cNvPr id="101" name="Graphic 64" descr="Database">
            <a:extLst>
              <a:ext uri="{FF2B5EF4-FFF2-40B4-BE49-F238E27FC236}">
                <a16:creationId xmlns:a16="http://schemas.microsoft.com/office/drawing/2014/main" id="{8EDD3A34-471C-4D45-8EE1-3D2397DB10F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437327" y="1190021"/>
            <a:ext cx="243006" cy="243006"/>
          </a:xfrm>
          <a:prstGeom prst="rect">
            <a:avLst/>
          </a:prstGeom>
        </p:spPr>
      </p:pic>
      <p:grpSp>
        <p:nvGrpSpPr>
          <p:cNvPr id="19" name="Groupe 18">
            <a:extLst>
              <a:ext uri="{FF2B5EF4-FFF2-40B4-BE49-F238E27FC236}">
                <a16:creationId xmlns:a16="http://schemas.microsoft.com/office/drawing/2014/main" id="{CCB1BCA8-AB4F-4171-9A2F-0A2C97A59028}"/>
              </a:ext>
            </a:extLst>
          </p:cNvPr>
          <p:cNvGrpSpPr/>
          <p:nvPr/>
        </p:nvGrpSpPr>
        <p:grpSpPr>
          <a:xfrm>
            <a:off x="6900119" y="6591876"/>
            <a:ext cx="591606" cy="186820"/>
            <a:chOff x="6900119" y="6591876"/>
            <a:chExt cx="591606" cy="186820"/>
          </a:xfrm>
        </p:grpSpPr>
        <p:grpSp>
          <p:nvGrpSpPr>
            <p:cNvPr id="18" name="Groupe 17">
              <a:extLst>
                <a:ext uri="{FF2B5EF4-FFF2-40B4-BE49-F238E27FC236}">
                  <a16:creationId xmlns:a16="http://schemas.microsoft.com/office/drawing/2014/main" id="{47072D5A-182F-4439-8F11-565283CB912F}"/>
                </a:ext>
              </a:extLst>
            </p:cNvPr>
            <p:cNvGrpSpPr/>
            <p:nvPr/>
          </p:nvGrpSpPr>
          <p:grpSpPr>
            <a:xfrm>
              <a:off x="6900119" y="6591876"/>
              <a:ext cx="591606" cy="186820"/>
              <a:chOff x="6900119" y="6591876"/>
              <a:chExt cx="591606" cy="186820"/>
            </a:xfrm>
          </p:grpSpPr>
          <p:sp>
            <p:nvSpPr>
              <p:cNvPr id="133" name="Rectangle 132">
                <a:extLst>
                  <a:ext uri="{FF2B5EF4-FFF2-40B4-BE49-F238E27FC236}">
                    <a16:creationId xmlns:a16="http://schemas.microsoft.com/office/drawing/2014/main" id="{49A3CCB2-4414-4471-BD6C-B5905C4480C4}"/>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5" name="Ellipse 134">
                <a:extLst>
                  <a:ext uri="{FF2B5EF4-FFF2-40B4-BE49-F238E27FC236}">
                    <a16:creationId xmlns:a16="http://schemas.microsoft.com/office/drawing/2014/main" id="{832079E8-C93F-459A-99A1-FA7581F292EC}"/>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39" name="Ellipse 138">
              <a:extLst>
                <a:ext uri="{FF2B5EF4-FFF2-40B4-BE49-F238E27FC236}">
                  <a16:creationId xmlns:a16="http://schemas.microsoft.com/office/drawing/2014/main" id="{DE74DEAF-9149-41F1-A82C-B918B89EC3ED}"/>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1" name="Ellipse 140">
              <a:extLst>
                <a:ext uri="{FF2B5EF4-FFF2-40B4-BE49-F238E27FC236}">
                  <a16:creationId xmlns:a16="http://schemas.microsoft.com/office/drawing/2014/main" id="{5C079020-ED97-4CF2-8D2F-250C67A6C040}"/>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6" name="Groupe 15">
            <a:extLst>
              <a:ext uri="{FF2B5EF4-FFF2-40B4-BE49-F238E27FC236}">
                <a16:creationId xmlns:a16="http://schemas.microsoft.com/office/drawing/2014/main" id="{65506E6B-6CE3-4AD2-A4B4-C6DFB414F360}"/>
              </a:ext>
            </a:extLst>
          </p:cNvPr>
          <p:cNvGrpSpPr/>
          <p:nvPr/>
        </p:nvGrpSpPr>
        <p:grpSpPr>
          <a:xfrm>
            <a:off x="1070056" y="3368405"/>
            <a:ext cx="591606" cy="186820"/>
            <a:chOff x="1072419" y="3184791"/>
            <a:chExt cx="591606" cy="186820"/>
          </a:xfrm>
        </p:grpSpPr>
        <p:sp>
          <p:nvSpPr>
            <p:cNvPr id="143" name="Rectangle 142">
              <a:extLst>
                <a:ext uri="{FF2B5EF4-FFF2-40B4-BE49-F238E27FC236}">
                  <a16:creationId xmlns:a16="http://schemas.microsoft.com/office/drawing/2014/main" id="{0B434DC1-C63D-4ABF-AF5B-EF1AF4792D86}"/>
                </a:ext>
              </a:extLst>
            </p:cNvPr>
            <p:cNvSpPr/>
            <p:nvPr/>
          </p:nvSpPr>
          <p:spPr bwMode="auto">
            <a:xfrm>
              <a:off x="1072419" y="3184791"/>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8" name="Ellipse 147">
              <a:extLst>
                <a:ext uri="{FF2B5EF4-FFF2-40B4-BE49-F238E27FC236}">
                  <a16:creationId xmlns:a16="http://schemas.microsoft.com/office/drawing/2014/main" id="{0780B5D1-5D31-4131-99C1-3E2D69AF6C48}"/>
                </a:ext>
              </a:extLst>
            </p:cNvPr>
            <p:cNvSpPr/>
            <p:nvPr/>
          </p:nvSpPr>
          <p:spPr bwMode="auto">
            <a:xfrm>
              <a:off x="1113116" y="3217098"/>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0" name="Ellipse 149">
              <a:extLst>
                <a:ext uri="{FF2B5EF4-FFF2-40B4-BE49-F238E27FC236}">
                  <a16:creationId xmlns:a16="http://schemas.microsoft.com/office/drawing/2014/main" id="{79AC0A72-7CB8-4552-8F60-EB5033FA6150}"/>
                </a:ext>
              </a:extLst>
            </p:cNvPr>
            <p:cNvSpPr/>
            <p:nvPr/>
          </p:nvSpPr>
          <p:spPr bwMode="auto">
            <a:xfrm>
              <a:off x="1296281" y="3217098"/>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2" name="Ellipse 151">
              <a:extLst>
                <a:ext uri="{FF2B5EF4-FFF2-40B4-BE49-F238E27FC236}">
                  <a16:creationId xmlns:a16="http://schemas.microsoft.com/office/drawing/2014/main" id="{063A43A4-A3A7-4F0A-BA3F-DB49B409C989}"/>
                </a:ext>
              </a:extLst>
            </p:cNvPr>
            <p:cNvSpPr/>
            <p:nvPr/>
          </p:nvSpPr>
          <p:spPr bwMode="auto">
            <a:xfrm>
              <a:off x="1479447" y="3217098"/>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55" name="Rectangle 154">
            <a:extLst>
              <a:ext uri="{FF2B5EF4-FFF2-40B4-BE49-F238E27FC236}">
                <a16:creationId xmlns:a16="http://schemas.microsoft.com/office/drawing/2014/main" id="{973836ED-90F0-4A91-956E-3DE5F7862D20}"/>
              </a:ext>
            </a:extLst>
          </p:cNvPr>
          <p:cNvSpPr/>
          <p:nvPr/>
        </p:nvSpPr>
        <p:spPr bwMode="auto">
          <a:xfrm>
            <a:off x="1070056" y="49950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6" name="Ellipse 155">
            <a:extLst>
              <a:ext uri="{FF2B5EF4-FFF2-40B4-BE49-F238E27FC236}">
                <a16:creationId xmlns:a16="http://schemas.microsoft.com/office/drawing/2014/main" id="{0D55639A-352F-47B7-A7CF-909AD0679791}"/>
              </a:ext>
            </a:extLst>
          </p:cNvPr>
          <p:cNvSpPr/>
          <p:nvPr/>
        </p:nvSpPr>
        <p:spPr bwMode="auto">
          <a:xfrm>
            <a:off x="1110753" y="50273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57" name="Ellipse 156">
            <a:extLst>
              <a:ext uri="{FF2B5EF4-FFF2-40B4-BE49-F238E27FC236}">
                <a16:creationId xmlns:a16="http://schemas.microsoft.com/office/drawing/2014/main" id="{8CB172EC-DCD0-4099-9E91-02BCB429D12F}"/>
              </a:ext>
            </a:extLst>
          </p:cNvPr>
          <p:cNvSpPr/>
          <p:nvPr/>
        </p:nvSpPr>
        <p:spPr bwMode="auto">
          <a:xfrm>
            <a:off x="1293918" y="50273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59" name="Ellipse 158">
            <a:extLst>
              <a:ext uri="{FF2B5EF4-FFF2-40B4-BE49-F238E27FC236}">
                <a16:creationId xmlns:a16="http://schemas.microsoft.com/office/drawing/2014/main" id="{C9D78318-209B-446A-A667-9C1D165C7A00}"/>
              </a:ext>
            </a:extLst>
          </p:cNvPr>
          <p:cNvSpPr/>
          <p:nvPr/>
        </p:nvSpPr>
        <p:spPr bwMode="auto">
          <a:xfrm>
            <a:off x="1477084" y="50273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83" name="Groupe 182">
            <a:extLst>
              <a:ext uri="{FF2B5EF4-FFF2-40B4-BE49-F238E27FC236}">
                <a16:creationId xmlns:a16="http://schemas.microsoft.com/office/drawing/2014/main" id="{19D082A9-A5DA-4E2C-A073-B312AAE1DE03}"/>
              </a:ext>
            </a:extLst>
          </p:cNvPr>
          <p:cNvGrpSpPr/>
          <p:nvPr/>
        </p:nvGrpSpPr>
        <p:grpSpPr>
          <a:xfrm>
            <a:off x="2910830" y="4983381"/>
            <a:ext cx="591606" cy="186820"/>
            <a:chOff x="6900119" y="6591876"/>
            <a:chExt cx="591606" cy="186820"/>
          </a:xfrm>
        </p:grpSpPr>
        <p:grpSp>
          <p:nvGrpSpPr>
            <p:cNvPr id="188" name="Groupe 187">
              <a:extLst>
                <a:ext uri="{FF2B5EF4-FFF2-40B4-BE49-F238E27FC236}">
                  <a16:creationId xmlns:a16="http://schemas.microsoft.com/office/drawing/2014/main" id="{755C897C-B270-4017-9F19-C4CEF9D28AE0}"/>
                </a:ext>
              </a:extLst>
            </p:cNvPr>
            <p:cNvGrpSpPr/>
            <p:nvPr/>
          </p:nvGrpSpPr>
          <p:grpSpPr>
            <a:xfrm>
              <a:off x="6900119" y="6591876"/>
              <a:ext cx="591606" cy="186820"/>
              <a:chOff x="6900119" y="6591876"/>
              <a:chExt cx="591606" cy="186820"/>
            </a:xfrm>
          </p:grpSpPr>
          <p:sp>
            <p:nvSpPr>
              <p:cNvPr id="194" name="Rectangle 193">
                <a:extLst>
                  <a:ext uri="{FF2B5EF4-FFF2-40B4-BE49-F238E27FC236}">
                    <a16:creationId xmlns:a16="http://schemas.microsoft.com/office/drawing/2014/main" id="{A72008A3-170F-48D4-9AA4-E5F82BAED219}"/>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5" name="Ellipse 194">
                <a:extLst>
                  <a:ext uri="{FF2B5EF4-FFF2-40B4-BE49-F238E27FC236}">
                    <a16:creationId xmlns:a16="http://schemas.microsoft.com/office/drawing/2014/main" id="{A9172091-73F7-4DD2-B4E5-9F160BD1A64B}"/>
                  </a:ext>
                </a:extLst>
              </p:cNvPr>
              <p:cNvSpPr/>
              <p:nvPr/>
            </p:nvSpPr>
            <p:spPr bwMode="auto">
              <a:xfrm>
                <a:off x="6940816"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92" name="Ellipse 191">
              <a:extLst>
                <a:ext uri="{FF2B5EF4-FFF2-40B4-BE49-F238E27FC236}">
                  <a16:creationId xmlns:a16="http://schemas.microsoft.com/office/drawing/2014/main" id="{CB7FF3B4-60A9-4901-AA3A-2E513CB9827B}"/>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3" name="Ellipse 192">
              <a:extLst>
                <a:ext uri="{FF2B5EF4-FFF2-40B4-BE49-F238E27FC236}">
                  <a16:creationId xmlns:a16="http://schemas.microsoft.com/office/drawing/2014/main" id="{0220C210-5844-4466-85EC-6879FDCD65DC}"/>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96" name="Groupe 195">
            <a:extLst>
              <a:ext uri="{FF2B5EF4-FFF2-40B4-BE49-F238E27FC236}">
                <a16:creationId xmlns:a16="http://schemas.microsoft.com/office/drawing/2014/main" id="{775EA828-EC11-4A7E-97C1-56FCC25EB782}"/>
              </a:ext>
            </a:extLst>
          </p:cNvPr>
          <p:cNvGrpSpPr/>
          <p:nvPr/>
        </p:nvGrpSpPr>
        <p:grpSpPr>
          <a:xfrm>
            <a:off x="2910830" y="3375537"/>
            <a:ext cx="591606" cy="186820"/>
            <a:chOff x="6900119" y="6591876"/>
            <a:chExt cx="591606" cy="186820"/>
          </a:xfrm>
        </p:grpSpPr>
        <p:grpSp>
          <p:nvGrpSpPr>
            <p:cNvPr id="197" name="Groupe 196">
              <a:extLst>
                <a:ext uri="{FF2B5EF4-FFF2-40B4-BE49-F238E27FC236}">
                  <a16:creationId xmlns:a16="http://schemas.microsoft.com/office/drawing/2014/main" id="{D7153EA4-B1AA-448B-9E93-F32384743378}"/>
                </a:ext>
              </a:extLst>
            </p:cNvPr>
            <p:cNvGrpSpPr/>
            <p:nvPr/>
          </p:nvGrpSpPr>
          <p:grpSpPr>
            <a:xfrm>
              <a:off x="6900119" y="6591876"/>
              <a:ext cx="591606" cy="186820"/>
              <a:chOff x="6900119" y="6591876"/>
              <a:chExt cx="591606" cy="186820"/>
            </a:xfrm>
          </p:grpSpPr>
          <p:sp>
            <p:nvSpPr>
              <p:cNvPr id="200" name="Rectangle 199">
                <a:extLst>
                  <a:ext uri="{FF2B5EF4-FFF2-40B4-BE49-F238E27FC236}">
                    <a16:creationId xmlns:a16="http://schemas.microsoft.com/office/drawing/2014/main" id="{3AEF6046-529A-4F90-969E-5FEEEA6DCD34}"/>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01" name="Ellipse 200">
                <a:extLst>
                  <a:ext uri="{FF2B5EF4-FFF2-40B4-BE49-F238E27FC236}">
                    <a16:creationId xmlns:a16="http://schemas.microsoft.com/office/drawing/2014/main" id="{EA2C586D-1445-42DB-B072-8D6FCBC67B74}"/>
                  </a:ext>
                </a:extLst>
              </p:cNvPr>
              <p:cNvSpPr/>
              <p:nvPr/>
            </p:nvSpPr>
            <p:spPr bwMode="auto">
              <a:xfrm>
                <a:off x="6940816"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98" name="Ellipse 197">
              <a:extLst>
                <a:ext uri="{FF2B5EF4-FFF2-40B4-BE49-F238E27FC236}">
                  <a16:creationId xmlns:a16="http://schemas.microsoft.com/office/drawing/2014/main" id="{82066B8B-044A-480B-BCD1-54F5070C3BD5}"/>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9" name="Ellipse 198">
              <a:extLst>
                <a:ext uri="{FF2B5EF4-FFF2-40B4-BE49-F238E27FC236}">
                  <a16:creationId xmlns:a16="http://schemas.microsoft.com/office/drawing/2014/main" id="{4F6331F9-EA84-4286-921C-3F30FB054D22}"/>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202" name="Groupe 201">
            <a:extLst>
              <a:ext uri="{FF2B5EF4-FFF2-40B4-BE49-F238E27FC236}">
                <a16:creationId xmlns:a16="http://schemas.microsoft.com/office/drawing/2014/main" id="{C9E8E6D3-6C90-4E04-AC24-7DC9D45B6A7F}"/>
              </a:ext>
            </a:extLst>
          </p:cNvPr>
          <p:cNvGrpSpPr/>
          <p:nvPr/>
        </p:nvGrpSpPr>
        <p:grpSpPr>
          <a:xfrm>
            <a:off x="4840487" y="2434276"/>
            <a:ext cx="591606" cy="186820"/>
            <a:chOff x="6900119" y="6591876"/>
            <a:chExt cx="591606" cy="186820"/>
          </a:xfrm>
        </p:grpSpPr>
        <p:grpSp>
          <p:nvGrpSpPr>
            <p:cNvPr id="203" name="Groupe 202">
              <a:extLst>
                <a:ext uri="{FF2B5EF4-FFF2-40B4-BE49-F238E27FC236}">
                  <a16:creationId xmlns:a16="http://schemas.microsoft.com/office/drawing/2014/main" id="{C5E4FAA4-DD47-4AC9-A93C-F51324A0FC56}"/>
                </a:ext>
              </a:extLst>
            </p:cNvPr>
            <p:cNvGrpSpPr/>
            <p:nvPr/>
          </p:nvGrpSpPr>
          <p:grpSpPr>
            <a:xfrm>
              <a:off x="6900119" y="6591876"/>
              <a:ext cx="591606" cy="186820"/>
              <a:chOff x="6900119" y="6591876"/>
              <a:chExt cx="591606" cy="186820"/>
            </a:xfrm>
          </p:grpSpPr>
          <p:sp>
            <p:nvSpPr>
              <p:cNvPr id="206" name="Rectangle 205">
                <a:extLst>
                  <a:ext uri="{FF2B5EF4-FFF2-40B4-BE49-F238E27FC236}">
                    <a16:creationId xmlns:a16="http://schemas.microsoft.com/office/drawing/2014/main" id="{6D018AD1-E6BB-4C96-9788-08CF8A6E1B3D}"/>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07" name="Ellipse 206">
                <a:extLst>
                  <a:ext uri="{FF2B5EF4-FFF2-40B4-BE49-F238E27FC236}">
                    <a16:creationId xmlns:a16="http://schemas.microsoft.com/office/drawing/2014/main" id="{4A24CAFC-C17B-4FD1-8008-4FC648D875E4}"/>
                  </a:ext>
                </a:extLst>
              </p:cNvPr>
              <p:cNvSpPr/>
              <p:nvPr/>
            </p:nvSpPr>
            <p:spPr bwMode="auto">
              <a:xfrm>
                <a:off x="6940816"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204" name="Ellipse 203">
              <a:extLst>
                <a:ext uri="{FF2B5EF4-FFF2-40B4-BE49-F238E27FC236}">
                  <a16:creationId xmlns:a16="http://schemas.microsoft.com/office/drawing/2014/main" id="{E6AE9D58-57C4-44A3-997A-0D12C34FE367}"/>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05" name="Ellipse 204">
              <a:extLst>
                <a:ext uri="{FF2B5EF4-FFF2-40B4-BE49-F238E27FC236}">
                  <a16:creationId xmlns:a16="http://schemas.microsoft.com/office/drawing/2014/main" id="{F0B87B15-2873-445E-8E27-2345A37642ED}"/>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208" name="Groupe 207">
            <a:extLst>
              <a:ext uri="{FF2B5EF4-FFF2-40B4-BE49-F238E27FC236}">
                <a16:creationId xmlns:a16="http://schemas.microsoft.com/office/drawing/2014/main" id="{1615D3B5-8D1F-4018-96F0-3F59AD7C3353}"/>
              </a:ext>
            </a:extLst>
          </p:cNvPr>
          <p:cNvGrpSpPr/>
          <p:nvPr/>
        </p:nvGrpSpPr>
        <p:grpSpPr>
          <a:xfrm>
            <a:off x="4794993" y="3566189"/>
            <a:ext cx="591606" cy="186820"/>
            <a:chOff x="6900119" y="6591876"/>
            <a:chExt cx="591606" cy="186820"/>
          </a:xfrm>
        </p:grpSpPr>
        <p:grpSp>
          <p:nvGrpSpPr>
            <p:cNvPr id="209" name="Groupe 208">
              <a:extLst>
                <a:ext uri="{FF2B5EF4-FFF2-40B4-BE49-F238E27FC236}">
                  <a16:creationId xmlns:a16="http://schemas.microsoft.com/office/drawing/2014/main" id="{AFF8934E-7396-4D14-94D2-21C75A596AC4}"/>
                </a:ext>
              </a:extLst>
            </p:cNvPr>
            <p:cNvGrpSpPr/>
            <p:nvPr/>
          </p:nvGrpSpPr>
          <p:grpSpPr>
            <a:xfrm>
              <a:off x="6900119" y="6591876"/>
              <a:ext cx="591606" cy="186820"/>
              <a:chOff x="6900119" y="6591876"/>
              <a:chExt cx="591606" cy="186820"/>
            </a:xfrm>
          </p:grpSpPr>
          <p:sp>
            <p:nvSpPr>
              <p:cNvPr id="212" name="Rectangle 211">
                <a:extLst>
                  <a:ext uri="{FF2B5EF4-FFF2-40B4-BE49-F238E27FC236}">
                    <a16:creationId xmlns:a16="http://schemas.microsoft.com/office/drawing/2014/main" id="{B6993D88-1715-45A6-AAAC-B7F5A95EDE1C}"/>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3" name="Ellipse 212">
                <a:extLst>
                  <a:ext uri="{FF2B5EF4-FFF2-40B4-BE49-F238E27FC236}">
                    <a16:creationId xmlns:a16="http://schemas.microsoft.com/office/drawing/2014/main" id="{6C2C824A-B919-4713-A057-43BA8714D184}"/>
                  </a:ext>
                </a:extLst>
              </p:cNvPr>
              <p:cNvSpPr/>
              <p:nvPr/>
            </p:nvSpPr>
            <p:spPr bwMode="auto">
              <a:xfrm>
                <a:off x="6940816"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210" name="Ellipse 209">
              <a:extLst>
                <a:ext uri="{FF2B5EF4-FFF2-40B4-BE49-F238E27FC236}">
                  <a16:creationId xmlns:a16="http://schemas.microsoft.com/office/drawing/2014/main" id="{757631BD-A419-422F-8D6D-EBD867D4E566}"/>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1" name="Ellipse 210">
              <a:extLst>
                <a:ext uri="{FF2B5EF4-FFF2-40B4-BE49-F238E27FC236}">
                  <a16:creationId xmlns:a16="http://schemas.microsoft.com/office/drawing/2014/main" id="{3568CAF2-0A89-4329-8CA5-26434CE7B0A6}"/>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214" name="Groupe 213">
            <a:extLst>
              <a:ext uri="{FF2B5EF4-FFF2-40B4-BE49-F238E27FC236}">
                <a16:creationId xmlns:a16="http://schemas.microsoft.com/office/drawing/2014/main" id="{7846F023-36C8-4FE1-81F2-2197F1E71AC7}"/>
              </a:ext>
            </a:extLst>
          </p:cNvPr>
          <p:cNvGrpSpPr/>
          <p:nvPr/>
        </p:nvGrpSpPr>
        <p:grpSpPr>
          <a:xfrm>
            <a:off x="4794993" y="4697657"/>
            <a:ext cx="591606" cy="186820"/>
            <a:chOff x="6900119" y="6591876"/>
            <a:chExt cx="591606" cy="186820"/>
          </a:xfrm>
        </p:grpSpPr>
        <p:grpSp>
          <p:nvGrpSpPr>
            <p:cNvPr id="215" name="Groupe 214">
              <a:extLst>
                <a:ext uri="{FF2B5EF4-FFF2-40B4-BE49-F238E27FC236}">
                  <a16:creationId xmlns:a16="http://schemas.microsoft.com/office/drawing/2014/main" id="{D9B3F317-2FE7-4138-9777-F615CC0E3DBB}"/>
                </a:ext>
              </a:extLst>
            </p:cNvPr>
            <p:cNvGrpSpPr/>
            <p:nvPr/>
          </p:nvGrpSpPr>
          <p:grpSpPr>
            <a:xfrm>
              <a:off x="6900119" y="6591876"/>
              <a:ext cx="591606" cy="186820"/>
              <a:chOff x="6900119" y="6591876"/>
              <a:chExt cx="591606" cy="186820"/>
            </a:xfrm>
          </p:grpSpPr>
          <p:sp>
            <p:nvSpPr>
              <p:cNvPr id="218" name="Rectangle 217">
                <a:extLst>
                  <a:ext uri="{FF2B5EF4-FFF2-40B4-BE49-F238E27FC236}">
                    <a16:creationId xmlns:a16="http://schemas.microsoft.com/office/drawing/2014/main" id="{D35CDA86-568C-4A16-BB3B-A8E6305FB1AB}"/>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9" name="Ellipse 218">
                <a:extLst>
                  <a:ext uri="{FF2B5EF4-FFF2-40B4-BE49-F238E27FC236}">
                    <a16:creationId xmlns:a16="http://schemas.microsoft.com/office/drawing/2014/main" id="{0CF22BFC-0A05-4FB0-A540-40595B4C3CFC}"/>
                  </a:ext>
                </a:extLst>
              </p:cNvPr>
              <p:cNvSpPr/>
              <p:nvPr/>
            </p:nvSpPr>
            <p:spPr bwMode="auto">
              <a:xfrm>
                <a:off x="6940816"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216" name="Ellipse 215">
              <a:extLst>
                <a:ext uri="{FF2B5EF4-FFF2-40B4-BE49-F238E27FC236}">
                  <a16:creationId xmlns:a16="http://schemas.microsoft.com/office/drawing/2014/main" id="{E0100FC4-093F-4A73-8CF0-AB1E8750C053}"/>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7" name="Ellipse 216">
              <a:extLst>
                <a:ext uri="{FF2B5EF4-FFF2-40B4-BE49-F238E27FC236}">
                  <a16:creationId xmlns:a16="http://schemas.microsoft.com/office/drawing/2014/main" id="{1C88502A-9A77-4638-B494-D92EE1ECBC47}"/>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220" name="Groupe 219">
            <a:extLst>
              <a:ext uri="{FF2B5EF4-FFF2-40B4-BE49-F238E27FC236}">
                <a16:creationId xmlns:a16="http://schemas.microsoft.com/office/drawing/2014/main" id="{2CEFA152-7DF4-45F3-8238-65F1A2B7B09C}"/>
              </a:ext>
            </a:extLst>
          </p:cNvPr>
          <p:cNvGrpSpPr/>
          <p:nvPr/>
        </p:nvGrpSpPr>
        <p:grpSpPr>
          <a:xfrm>
            <a:off x="4801977" y="5864550"/>
            <a:ext cx="591606" cy="186820"/>
            <a:chOff x="6900119" y="6591876"/>
            <a:chExt cx="591606" cy="186820"/>
          </a:xfrm>
        </p:grpSpPr>
        <p:grpSp>
          <p:nvGrpSpPr>
            <p:cNvPr id="221" name="Groupe 220">
              <a:extLst>
                <a:ext uri="{FF2B5EF4-FFF2-40B4-BE49-F238E27FC236}">
                  <a16:creationId xmlns:a16="http://schemas.microsoft.com/office/drawing/2014/main" id="{B002847B-CD32-4D17-9F95-36B7324F0EBE}"/>
                </a:ext>
              </a:extLst>
            </p:cNvPr>
            <p:cNvGrpSpPr/>
            <p:nvPr/>
          </p:nvGrpSpPr>
          <p:grpSpPr>
            <a:xfrm>
              <a:off x="6900119" y="6591876"/>
              <a:ext cx="591606" cy="186820"/>
              <a:chOff x="6900119" y="6591876"/>
              <a:chExt cx="591606" cy="186820"/>
            </a:xfrm>
          </p:grpSpPr>
          <p:sp>
            <p:nvSpPr>
              <p:cNvPr id="224" name="Rectangle 223">
                <a:extLst>
                  <a:ext uri="{FF2B5EF4-FFF2-40B4-BE49-F238E27FC236}">
                    <a16:creationId xmlns:a16="http://schemas.microsoft.com/office/drawing/2014/main" id="{07180F53-F90F-4627-AE41-69FE3218C25F}"/>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25" name="Ellipse 224">
                <a:extLst>
                  <a:ext uri="{FF2B5EF4-FFF2-40B4-BE49-F238E27FC236}">
                    <a16:creationId xmlns:a16="http://schemas.microsoft.com/office/drawing/2014/main" id="{03D7E657-8A77-468E-8F69-FCDE65F5CE4B}"/>
                  </a:ext>
                </a:extLst>
              </p:cNvPr>
              <p:cNvSpPr/>
              <p:nvPr/>
            </p:nvSpPr>
            <p:spPr bwMode="auto">
              <a:xfrm>
                <a:off x="6940816"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222" name="Ellipse 221">
              <a:extLst>
                <a:ext uri="{FF2B5EF4-FFF2-40B4-BE49-F238E27FC236}">
                  <a16:creationId xmlns:a16="http://schemas.microsoft.com/office/drawing/2014/main" id="{A631F7ED-2998-49FE-BDEF-B75086267AD4}"/>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23" name="Ellipse 222">
              <a:extLst>
                <a:ext uri="{FF2B5EF4-FFF2-40B4-BE49-F238E27FC236}">
                  <a16:creationId xmlns:a16="http://schemas.microsoft.com/office/drawing/2014/main" id="{210B3EBB-27B9-4E67-9A56-42564A8236EF}"/>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226" name="Groupe 225">
            <a:extLst>
              <a:ext uri="{FF2B5EF4-FFF2-40B4-BE49-F238E27FC236}">
                <a16:creationId xmlns:a16="http://schemas.microsoft.com/office/drawing/2014/main" id="{E328E98D-4C5E-4FFD-9A95-AB93AC22C4D3}"/>
              </a:ext>
            </a:extLst>
          </p:cNvPr>
          <p:cNvGrpSpPr/>
          <p:nvPr/>
        </p:nvGrpSpPr>
        <p:grpSpPr>
          <a:xfrm>
            <a:off x="6614479" y="2432950"/>
            <a:ext cx="591606" cy="186820"/>
            <a:chOff x="6900119" y="6591876"/>
            <a:chExt cx="591606" cy="186820"/>
          </a:xfrm>
        </p:grpSpPr>
        <p:grpSp>
          <p:nvGrpSpPr>
            <p:cNvPr id="227" name="Groupe 226">
              <a:extLst>
                <a:ext uri="{FF2B5EF4-FFF2-40B4-BE49-F238E27FC236}">
                  <a16:creationId xmlns:a16="http://schemas.microsoft.com/office/drawing/2014/main" id="{FAF35B5A-F607-4725-AA08-0456B2C6C837}"/>
                </a:ext>
              </a:extLst>
            </p:cNvPr>
            <p:cNvGrpSpPr/>
            <p:nvPr/>
          </p:nvGrpSpPr>
          <p:grpSpPr>
            <a:xfrm>
              <a:off x="6900119" y="6591876"/>
              <a:ext cx="591606" cy="186820"/>
              <a:chOff x="6900119" y="6591876"/>
              <a:chExt cx="591606" cy="186820"/>
            </a:xfrm>
          </p:grpSpPr>
          <p:sp>
            <p:nvSpPr>
              <p:cNvPr id="230" name="Rectangle 229">
                <a:extLst>
                  <a:ext uri="{FF2B5EF4-FFF2-40B4-BE49-F238E27FC236}">
                    <a16:creationId xmlns:a16="http://schemas.microsoft.com/office/drawing/2014/main" id="{67CE61C5-0E5E-4924-BBE6-4266774F4E86}"/>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31" name="Ellipse 230">
                <a:extLst>
                  <a:ext uri="{FF2B5EF4-FFF2-40B4-BE49-F238E27FC236}">
                    <a16:creationId xmlns:a16="http://schemas.microsoft.com/office/drawing/2014/main" id="{D716C239-C6CE-4888-B386-9C5CF24907A3}"/>
                  </a:ext>
                </a:extLst>
              </p:cNvPr>
              <p:cNvSpPr/>
              <p:nvPr/>
            </p:nvSpPr>
            <p:spPr bwMode="auto">
              <a:xfrm>
                <a:off x="6940816"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228" name="Ellipse 227">
              <a:extLst>
                <a:ext uri="{FF2B5EF4-FFF2-40B4-BE49-F238E27FC236}">
                  <a16:creationId xmlns:a16="http://schemas.microsoft.com/office/drawing/2014/main" id="{33C3EC00-EE18-4830-BEBD-14DEF45FD99B}"/>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29" name="Ellipse 228">
              <a:extLst>
                <a:ext uri="{FF2B5EF4-FFF2-40B4-BE49-F238E27FC236}">
                  <a16:creationId xmlns:a16="http://schemas.microsoft.com/office/drawing/2014/main" id="{7F82A762-DD53-481E-995D-9D60E356E40B}"/>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232" name="Groupe 231">
            <a:extLst>
              <a:ext uri="{FF2B5EF4-FFF2-40B4-BE49-F238E27FC236}">
                <a16:creationId xmlns:a16="http://schemas.microsoft.com/office/drawing/2014/main" id="{849CB0EE-5484-4A62-B0BB-5D02E76E907F}"/>
              </a:ext>
            </a:extLst>
          </p:cNvPr>
          <p:cNvGrpSpPr/>
          <p:nvPr/>
        </p:nvGrpSpPr>
        <p:grpSpPr>
          <a:xfrm>
            <a:off x="6643515" y="3582567"/>
            <a:ext cx="591606" cy="186820"/>
            <a:chOff x="1072419" y="3184791"/>
            <a:chExt cx="591606" cy="186820"/>
          </a:xfrm>
        </p:grpSpPr>
        <p:sp>
          <p:nvSpPr>
            <p:cNvPr id="233" name="Rectangle 232">
              <a:extLst>
                <a:ext uri="{FF2B5EF4-FFF2-40B4-BE49-F238E27FC236}">
                  <a16:creationId xmlns:a16="http://schemas.microsoft.com/office/drawing/2014/main" id="{C7E646AB-6357-464C-9F54-E973C4F33B9D}"/>
                </a:ext>
              </a:extLst>
            </p:cNvPr>
            <p:cNvSpPr/>
            <p:nvPr/>
          </p:nvSpPr>
          <p:spPr bwMode="auto">
            <a:xfrm>
              <a:off x="1072419" y="3184791"/>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34" name="Ellipse 233">
              <a:extLst>
                <a:ext uri="{FF2B5EF4-FFF2-40B4-BE49-F238E27FC236}">
                  <a16:creationId xmlns:a16="http://schemas.microsoft.com/office/drawing/2014/main" id="{73CC463F-435C-4D34-895B-0295DF48AE24}"/>
                </a:ext>
              </a:extLst>
            </p:cNvPr>
            <p:cNvSpPr/>
            <p:nvPr/>
          </p:nvSpPr>
          <p:spPr bwMode="auto">
            <a:xfrm>
              <a:off x="1113116" y="3217098"/>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35" name="Ellipse 234">
              <a:extLst>
                <a:ext uri="{FF2B5EF4-FFF2-40B4-BE49-F238E27FC236}">
                  <a16:creationId xmlns:a16="http://schemas.microsoft.com/office/drawing/2014/main" id="{2B284751-67C6-4E88-B4F2-95A49674D789}"/>
                </a:ext>
              </a:extLst>
            </p:cNvPr>
            <p:cNvSpPr/>
            <p:nvPr/>
          </p:nvSpPr>
          <p:spPr bwMode="auto">
            <a:xfrm>
              <a:off x="1296281" y="3217098"/>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36" name="Ellipse 235">
              <a:extLst>
                <a:ext uri="{FF2B5EF4-FFF2-40B4-BE49-F238E27FC236}">
                  <a16:creationId xmlns:a16="http://schemas.microsoft.com/office/drawing/2014/main" id="{094FAA05-2123-45B7-83EF-68C5EC0F806F}"/>
                </a:ext>
              </a:extLst>
            </p:cNvPr>
            <p:cNvSpPr/>
            <p:nvPr/>
          </p:nvSpPr>
          <p:spPr bwMode="auto">
            <a:xfrm>
              <a:off x="1479447" y="3217098"/>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237" name="Groupe 236">
            <a:extLst>
              <a:ext uri="{FF2B5EF4-FFF2-40B4-BE49-F238E27FC236}">
                <a16:creationId xmlns:a16="http://schemas.microsoft.com/office/drawing/2014/main" id="{6956437A-2038-4624-8FC4-4DFE8933A942}"/>
              </a:ext>
            </a:extLst>
          </p:cNvPr>
          <p:cNvGrpSpPr/>
          <p:nvPr/>
        </p:nvGrpSpPr>
        <p:grpSpPr>
          <a:xfrm>
            <a:off x="6624783" y="4697657"/>
            <a:ext cx="591606" cy="186820"/>
            <a:chOff x="6900119" y="6591876"/>
            <a:chExt cx="591606" cy="186820"/>
          </a:xfrm>
        </p:grpSpPr>
        <p:grpSp>
          <p:nvGrpSpPr>
            <p:cNvPr id="238" name="Groupe 237">
              <a:extLst>
                <a:ext uri="{FF2B5EF4-FFF2-40B4-BE49-F238E27FC236}">
                  <a16:creationId xmlns:a16="http://schemas.microsoft.com/office/drawing/2014/main" id="{CC5E064D-41AB-43E7-8A76-57B066C776CA}"/>
                </a:ext>
              </a:extLst>
            </p:cNvPr>
            <p:cNvGrpSpPr/>
            <p:nvPr/>
          </p:nvGrpSpPr>
          <p:grpSpPr>
            <a:xfrm>
              <a:off x="6900119" y="6591876"/>
              <a:ext cx="591606" cy="186820"/>
              <a:chOff x="6900119" y="6591876"/>
              <a:chExt cx="591606" cy="186820"/>
            </a:xfrm>
          </p:grpSpPr>
          <p:sp>
            <p:nvSpPr>
              <p:cNvPr id="241" name="Rectangle 240">
                <a:extLst>
                  <a:ext uri="{FF2B5EF4-FFF2-40B4-BE49-F238E27FC236}">
                    <a16:creationId xmlns:a16="http://schemas.microsoft.com/office/drawing/2014/main" id="{C69C7835-3E91-4674-BE69-B7759927B0FA}"/>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42" name="Ellipse 241">
                <a:extLst>
                  <a:ext uri="{FF2B5EF4-FFF2-40B4-BE49-F238E27FC236}">
                    <a16:creationId xmlns:a16="http://schemas.microsoft.com/office/drawing/2014/main" id="{2E721903-A310-4576-9CB0-572E1A618E42}"/>
                  </a:ext>
                </a:extLst>
              </p:cNvPr>
              <p:cNvSpPr/>
              <p:nvPr/>
            </p:nvSpPr>
            <p:spPr bwMode="auto">
              <a:xfrm>
                <a:off x="6940816"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239" name="Ellipse 238">
              <a:extLst>
                <a:ext uri="{FF2B5EF4-FFF2-40B4-BE49-F238E27FC236}">
                  <a16:creationId xmlns:a16="http://schemas.microsoft.com/office/drawing/2014/main" id="{52F55D73-FEE6-44A4-8F5E-70C3F7C58E20}"/>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40" name="Ellipse 239">
              <a:extLst>
                <a:ext uri="{FF2B5EF4-FFF2-40B4-BE49-F238E27FC236}">
                  <a16:creationId xmlns:a16="http://schemas.microsoft.com/office/drawing/2014/main" id="{B292F2FD-8DEF-4AFB-A9B1-4CCDA7E8A0DD}"/>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243" name="Groupe 242">
            <a:extLst>
              <a:ext uri="{FF2B5EF4-FFF2-40B4-BE49-F238E27FC236}">
                <a16:creationId xmlns:a16="http://schemas.microsoft.com/office/drawing/2014/main" id="{4CD147C8-6B36-4D0C-9A31-25D619FBEBB1}"/>
              </a:ext>
            </a:extLst>
          </p:cNvPr>
          <p:cNvGrpSpPr/>
          <p:nvPr/>
        </p:nvGrpSpPr>
        <p:grpSpPr>
          <a:xfrm>
            <a:off x="6624783" y="5864550"/>
            <a:ext cx="591606" cy="186820"/>
            <a:chOff x="6900119" y="6591876"/>
            <a:chExt cx="591606" cy="186820"/>
          </a:xfrm>
        </p:grpSpPr>
        <p:grpSp>
          <p:nvGrpSpPr>
            <p:cNvPr id="244" name="Groupe 243">
              <a:extLst>
                <a:ext uri="{FF2B5EF4-FFF2-40B4-BE49-F238E27FC236}">
                  <a16:creationId xmlns:a16="http://schemas.microsoft.com/office/drawing/2014/main" id="{D4BADCE4-24ED-4DF4-A094-6DA52F82AB53}"/>
                </a:ext>
              </a:extLst>
            </p:cNvPr>
            <p:cNvGrpSpPr/>
            <p:nvPr/>
          </p:nvGrpSpPr>
          <p:grpSpPr>
            <a:xfrm>
              <a:off x="6900119" y="6591876"/>
              <a:ext cx="591606" cy="186820"/>
              <a:chOff x="6900119" y="6591876"/>
              <a:chExt cx="591606" cy="186820"/>
            </a:xfrm>
          </p:grpSpPr>
          <p:sp>
            <p:nvSpPr>
              <p:cNvPr id="247" name="Rectangle 246">
                <a:extLst>
                  <a:ext uri="{FF2B5EF4-FFF2-40B4-BE49-F238E27FC236}">
                    <a16:creationId xmlns:a16="http://schemas.microsoft.com/office/drawing/2014/main" id="{88202DEB-C669-4BD7-8304-CD332C99E8A2}"/>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48" name="Ellipse 247">
                <a:extLst>
                  <a:ext uri="{FF2B5EF4-FFF2-40B4-BE49-F238E27FC236}">
                    <a16:creationId xmlns:a16="http://schemas.microsoft.com/office/drawing/2014/main" id="{2E7A169C-DF7F-4AA3-8499-51A2CAABF3F3}"/>
                  </a:ext>
                </a:extLst>
              </p:cNvPr>
              <p:cNvSpPr/>
              <p:nvPr/>
            </p:nvSpPr>
            <p:spPr bwMode="auto">
              <a:xfrm>
                <a:off x="6940816"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245" name="Ellipse 244">
              <a:extLst>
                <a:ext uri="{FF2B5EF4-FFF2-40B4-BE49-F238E27FC236}">
                  <a16:creationId xmlns:a16="http://schemas.microsoft.com/office/drawing/2014/main" id="{54BF5B55-A3EB-4BE0-B09E-19C7F6CBF024}"/>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46" name="Ellipse 245">
              <a:extLst>
                <a:ext uri="{FF2B5EF4-FFF2-40B4-BE49-F238E27FC236}">
                  <a16:creationId xmlns:a16="http://schemas.microsoft.com/office/drawing/2014/main" id="{EFE85D7C-2FDE-455F-89E4-C2D1D738510A}"/>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249" name="Groupe 248">
            <a:extLst>
              <a:ext uri="{FF2B5EF4-FFF2-40B4-BE49-F238E27FC236}">
                <a16:creationId xmlns:a16="http://schemas.microsoft.com/office/drawing/2014/main" id="{3167E514-C15E-41C2-B634-580F7A503E01}"/>
              </a:ext>
            </a:extLst>
          </p:cNvPr>
          <p:cNvGrpSpPr/>
          <p:nvPr/>
        </p:nvGrpSpPr>
        <p:grpSpPr>
          <a:xfrm>
            <a:off x="8389915" y="5272580"/>
            <a:ext cx="591606" cy="186820"/>
            <a:chOff x="6900119" y="6591876"/>
            <a:chExt cx="591606" cy="186820"/>
          </a:xfrm>
        </p:grpSpPr>
        <p:grpSp>
          <p:nvGrpSpPr>
            <p:cNvPr id="250" name="Groupe 249">
              <a:extLst>
                <a:ext uri="{FF2B5EF4-FFF2-40B4-BE49-F238E27FC236}">
                  <a16:creationId xmlns:a16="http://schemas.microsoft.com/office/drawing/2014/main" id="{891012CC-F3A7-4CDB-B4D3-4DFD9FC69944}"/>
                </a:ext>
              </a:extLst>
            </p:cNvPr>
            <p:cNvGrpSpPr/>
            <p:nvPr/>
          </p:nvGrpSpPr>
          <p:grpSpPr>
            <a:xfrm>
              <a:off x="6900119" y="6591876"/>
              <a:ext cx="591606" cy="186820"/>
              <a:chOff x="6900119" y="6591876"/>
              <a:chExt cx="591606" cy="186820"/>
            </a:xfrm>
          </p:grpSpPr>
          <p:sp>
            <p:nvSpPr>
              <p:cNvPr id="253" name="Rectangle 252">
                <a:extLst>
                  <a:ext uri="{FF2B5EF4-FFF2-40B4-BE49-F238E27FC236}">
                    <a16:creationId xmlns:a16="http://schemas.microsoft.com/office/drawing/2014/main" id="{E60E0925-827E-4079-9F82-C57E18F45078}"/>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54" name="Ellipse 253">
                <a:extLst>
                  <a:ext uri="{FF2B5EF4-FFF2-40B4-BE49-F238E27FC236}">
                    <a16:creationId xmlns:a16="http://schemas.microsoft.com/office/drawing/2014/main" id="{6634733F-3059-4D8B-8309-D9D5C11C58F8}"/>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251" name="Ellipse 250">
              <a:extLst>
                <a:ext uri="{FF2B5EF4-FFF2-40B4-BE49-F238E27FC236}">
                  <a16:creationId xmlns:a16="http://schemas.microsoft.com/office/drawing/2014/main" id="{0B9377B6-63FE-405E-9998-B147F17DB251}"/>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52" name="Ellipse 251">
              <a:extLst>
                <a:ext uri="{FF2B5EF4-FFF2-40B4-BE49-F238E27FC236}">
                  <a16:creationId xmlns:a16="http://schemas.microsoft.com/office/drawing/2014/main" id="{E284E687-738C-4F69-A2A0-4894A0FC9FF6}"/>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51" name="TextBox 30">
            <a:extLst>
              <a:ext uri="{FF2B5EF4-FFF2-40B4-BE49-F238E27FC236}">
                <a16:creationId xmlns:a16="http://schemas.microsoft.com/office/drawing/2014/main" id="{50636617-63EE-43C9-88A0-EB97352AF1E8}"/>
              </a:ext>
            </a:extLst>
          </p:cNvPr>
          <p:cNvSpPr txBox="1"/>
          <p:nvPr/>
        </p:nvSpPr>
        <p:spPr>
          <a:xfrm>
            <a:off x="4924424" y="1143109"/>
            <a:ext cx="374319" cy="369332"/>
          </a:xfrm>
          <a:prstGeom prst="rect">
            <a:avLst/>
          </a:prstGeom>
          <a:no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1" u="none" strike="noStrike" kern="1200" cap="none" spc="0" normalizeH="0" baseline="0" noProof="0">
                <a:ln>
                  <a:noFill/>
                </a:ln>
                <a:solidFill>
                  <a:schemeClr val="tx2"/>
                </a:solidFill>
                <a:effectLst/>
                <a:uLnTx/>
                <a:uFillTx/>
                <a:latin typeface="Trebuchet MS" panose="020B0603020202020204" pitchFamily="34" charset="0"/>
              </a:rPr>
              <a:t>+</a:t>
            </a:r>
          </a:p>
        </p:txBody>
      </p:sp>
      <p:grpSp>
        <p:nvGrpSpPr>
          <p:cNvPr id="160" name="Groupe 66">
            <a:extLst>
              <a:ext uri="{FF2B5EF4-FFF2-40B4-BE49-F238E27FC236}">
                <a16:creationId xmlns:a16="http://schemas.microsoft.com/office/drawing/2014/main" id="{4B671368-F460-4A02-970B-608AD5D33346}"/>
              </a:ext>
            </a:extLst>
          </p:cNvPr>
          <p:cNvGrpSpPr/>
          <p:nvPr/>
        </p:nvGrpSpPr>
        <p:grpSpPr>
          <a:xfrm>
            <a:off x="8448150" y="-11528"/>
            <a:ext cx="1435548" cy="588143"/>
            <a:chOff x="8448150" y="-11528"/>
            <a:chExt cx="1435548" cy="588143"/>
          </a:xfrm>
        </p:grpSpPr>
        <p:sp>
          <p:nvSpPr>
            <p:cNvPr id="161" name="Rectangle : coins arrondis 199">
              <a:extLst>
                <a:ext uri="{FF2B5EF4-FFF2-40B4-BE49-F238E27FC236}">
                  <a16:creationId xmlns:a16="http://schemas.microsoft.com/office/drawing/2014/main" id="{B8826D74-AC5C-4127-A964-43D19F90F47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64" name="Rectangle : coins arrondis 200">
              <a:extLst>
                <a:ext uri="{FF2B5EF4-FFF2-40B4-BE49-F238E27FC236}">
                  <a16:creationId xmlns:a16="http://schemas.microsoft.com/office/drawing/2014/main" id="{59401DC1-E292-4BB6-B933-97F17EB3B27D}"/>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65" name="Rectangle : coins arrondis 201">
              <a:extLst>
                <a:ext uri="{FF2B5EF4-FFF2-40B4-BE49-F238E27FC236}">
                  <a16:creationId xmlns:a16="http://schemas.microsoft.com/office/drawing/2014/main" id="{FEF52EFA-B594-4D39-885A-079D90BBB39D}"/>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68" name="ZoneTexte 18">
              <a:extLst>
                <a:ext uri="{FF2B5EF4-FFF2-40B4-BE49-F238E27FC236}">
                  <a16:creationId xmlns:a16="http://schemas.microsoft.com/office/drawing/2014/main" id="{BB67F143-5B3E-4547-8DB5-53D0F45E1036}"/>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Data collection</a:t>
              </a:r>
            </a:p>
          </p:txBody>
        </p:sp>
        <p:pic>
          <p:nvPicPr>
            <p:cNvPr id="169" name="Graphique 128" descr="Jauge">
              <a:extLst>
                <a:ext uri="{FF2B5EF4-FFF2-40B4-BE49-F238E27FC236}">
                  <a16:creationId xmlns:a16="http://schemas.microsoft.com/office/drawing/2014/main" id="{830E5EEF-0C0E-4D96-AFFD-C19AAE34B1D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53764" y="187516"/>
              <a:ext cx="234953" cy="218224"/>
            </a:xfrm>
            <a:prstGeom prst="rect">
              <a:avLst/>
            </a:prstGeom>
            <a:effectLst/>
          </p:spPr>
        </p:pic>
        <p:pic>
          <p:nvPicPr>
            <p:cNvPr id="170" name="Graphique 90" descr="Poignée de main">
              <a:extLst>
                <a:ext uri="{FF2B5EF4-FFF2-40B4-BE49-F238E27FC236}">
                  <a16:creationId xmlns:a16="http://schemas.microsoft.com/office/drawing/2014/main" id="{CB8CF7FF-FE14-4B5A-882D-CEC8D5F3EF2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960868" y="152880"/>
              <a:ext cx="256313" cy="287496"/>
            </a:xfrm>
            <a:prstGeom prst="rect">
              <a:avLst/>
            </a:prstGeom>
            <a:effectLst/>
          </p:spPr>
        </p:pic>
        <p:pic>
          <p:nvPicPr>
            <p:cNvPr id="173" name="Graphique 96" descr="Mégaphone">
              <a:extLst>
                <a:ext uri="{FF2B5EF4-FFF2-40B4-BE49-F238E27FC236}">
                  <a16:creationId xmlns:a16="http://schemas.microsoft.com/office/drawing/2014/main" id="{AEB4A31A-F797-4629-8772-5A2DABF56A4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389331" y="181519"/>
              <a:ext cx="233011" cy="216420"/>
            </a:xfrm>
            <a:prstGeom prst="rect">
              <a:avLst/>
            </a:prstGeom>
            <a:effectLst/>
          </p:spPr>
        </p:pic>
        <p:pic>
          <p:nvPicPr>
            <p:cNvPr id="174" name="Picture 2" descr="Drapeau France">
              <a:extLst>
                <a:ext uri="{FF2B5EF4-FFF2-40B4-BE49-F238E27FC236}">
                  <a16:creationId xmlns:a16="http://schemas.microsoft.com/office/drawing/2014/main" id="{2BA048EA-776F-4942-A48B-D1B7DAAF3E5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77" name="Picture 2" descr="5 ft x 3 ft 150 x 90 cm-DRAPEAU BELGE Belgique 100% Polyester ...">
              <a:extLst>
                <a:ext uri="{FF2B5EF4-FFF2-40B4-BE49-F238E27FC236}">
                  <a16:creationId xmlns:a16="http://schemas.microsoft.com/office/drawing/2014/main" id="{94ABD86C-69B4-43D2-BE18-DA025A57B00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78" name="Picture 2 - 1" descr="Drapeau des Pays-Bas — Wikipédia">
              <a:extLst>
                <a:ext uri="{FF2B5EF4-FFF2-40B4-BE49-F238E27FC236}">
                  <a16:creationId xmlns:a16="http://schemas.microsoft.com/office/drawing/2014/main" id="{A37BD7DB-44EB-4913-B9B4-186D11F60A2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79" name="Picture 2 - 2" descr="Drapeau du Luxembourg">
              <a:extLst>
                <a:ext uri="{FF2B5EF4-FFF2-40B4-BE49-F238E27FC236}">
                  <a16:creationId xmlns:a16="http://schemas.microsoft.com/office/drawing/2014/main" id="{C267CF71-985B-41BD-8E99-6EA9FF268B7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80" name="ZoneTexte 18">
              <a:extLst>
                <a:ext uri="{FF2B5EF4-FFF2-40B4-BE49-F238E27FC236}">
                  <a16:creationId xmlns:a16="http://schemas.microsoft.com/office/drawing/2014/main" id="{50E75FF8-055E-48AD-983E-0A33C4151ED6}"/>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spTree>
    <p:extLst>
      <p:ext uri="{BB962C8B-B14F-4D97-AF65-F5344CB8AC3E}">
        <p14:creationId xmlns:p14="http://schemas.microsoft.com/office/powerpoint/2010/main" val="4135816563"/>
      </p:ext>
    </p:extLst>
  </p:cSld>
  <p:clrMapOvr>
    <a:masterClrMapping/>
  </p:clrMapOvr>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8212627-5361-4779-97DD-C44C125F3414}"/>
              </a:ext>
            </a:extLst>
          </p:cNvPr>
          <p:cNvGraphicFramePr>
            <a:graphicFrameLocks noChangeAspect="1"/>
          </p:cNvGraphicFramePr>
          <p:nvPr>
            <p:custDataLst>
              <p:tags r:id="rId1"/>
            </p:custDataLst>
            <p:extLst>
              <p:ext uri="{D42A27DB-BD31-4B8C-83A1-F6EECF244321}">
                <p14:modId xmlns:p14="http://schemas.microsoft.com/office/powerpoint/2010/main" val="1805945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6" name="Object 5" hidden="1">
                        <a:extLst>
                          <a:ext uri="{FF2B5EF4-FFF2-40B4-BE49-F238E27FC236}">
                            <a16:creationId xmlns:a16="http://schemas.microsoft.com/office/drawing/2014/main" id="{E8212627-5361-4779-97DD-C44C125F34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909CFDC-F399-46F8-BF98-449244D2ECC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FFB9070D-15E7-43C8-B9D1-50EDDE544FB4}"/>
              </a:ext>
            </a:extLst>
          </p:cNvPr>
          <p:cNvSpPr>
            <a:spLocks noGrp="1"/>
          </p:cNvSpPr>
          <p:nvPr>
            <p:ph type="title"/>
          </p:nvPr>
        </p:nvSpPr>
        <p:spPr>
          <a:xfrm>
            <a:off x="165600" y="147600"/>
            <a:ext cx="8301170" cy="684000"/>
          </a:xfrm>
        </p:spPr>
        <p:txBody>
          <a:bodyPr/>
          <a:lstStyle/>
          <a:p>
            <a:r>
              <a:rPr lang="en-GB" err="1">
                <a:latin typeface="Trebuchet MS" panose="020B0603020202020204" pitchFamily="34" charset="0"/>
              </a:rPr>
              <a:t>Altares</a:t>
            </a:r>
            <a:r>
              <a:rPr lang="en-GB">
                <a:latin typeface="Trebuchet MS" panose="020B0603020202020204" pitchFamily="34" charset="0"/>
              </a:rPr>
              <a:t> build its database from </a:t>
            </a:r>
            <a:r>
              <a:rPr lang="en-GB">
                <a:solidFill>
                  <a:schemeClr val="tx2"/>
                </a:solidFill>
                <a:latin typeface="Trebuchet MS" panose="020B0603020202020204" pitchFamily="34" charset="0"/>
              </a:rPr>
              <a:t>different type</a:t>
            </a:r>
            <a:r>
              <a:rPr lang="en-GB">
                <a:latin typeface="Trebuchet MS" panose="020B0603020202020204" pitchFamily="34" charset="0"/>
              </a:rPr>
              <a:t> of information, </a:t>
            </a:r>
            <a:r>
              <a:rPr lang="en-GB">
                <a:solidFill>
                  <a:schemeClr val="tx2"/>
                </a:solidFill>
                <a:latin typeface="Trebuchet MS" panose="020B0603020202020204" pitchFamily="34" charset="0"/>
              </a:rPr>
              <a:t>digital data offering an opportunity </a:t>
            </a:r>
            <a:r>
              <a:rPr lang="en-GB">
                <a:latin typeface="Trebuchet MS" panose="020B0603020202020204" pitchFamily="34" charset="0"/>
              </a:rPr>
              <a:t>to enrich its database automatically and in real time but </a:t>
            </a:r>
            <a:r>
              <a:rPr lang="en-GB">
                <a:solidFill>
                  <a:schemeClr val="tx2"/>
                </a:solidFill>
                <a:latin typeface="Trebuchet MS" panose="020B0603020202020204" pitchFamily="34" charset="0"/>
              </a:rPr>
              <a:t>needing heavy R&amp;D investment</a:t>
            </a:r>
            <a:r>
              <a:rPr lang="en-GB">
                <a:latin typeface="Trebuchet MS" panose="020B0603020202020204" pitchFamily="34" charset="0"/>
              </a:rPr>
              <a:t> for collection and treatment</a:t>
            </a:r>
          </a:p>
        </p:txBody>
      </p:sp>
      <p:sp>
        <p:nvSpPr>
          <p:cNvPr id="3" name="Espace réservé du texte 2">
            <a:extLst>
              <a:ext uri="{FF2B5EF4-FFF2-40B4-BE49-F238E27FC236}">
                <a16:creationId xmlns:a16="http://schemas.microsoft.com/office/drawing/2014/main" id="{482B741C-FCB3-48A9-B9B6-3B637C191E31}"/>
              </a:ext>
            </a:extLst>
          </p:cNvPr>
          <p:cNvSpPr>
            <a:spLocks noGrp="1"/>
          </p:cNvSpPr>
          <p:nvPr>
            <p:ph type="body" sz="quarter" idx="10"/>
          </p:nvPr>
        </p:nvSpPr>
        <p:spPr/>
        <p:txBody>
          <a:bodyPr/>
          <a:lstStyle/>
          <a:p>
            <a:r>
              <a:rPr lang="en-GB" sz="800" i="1" kern="0"/>
              <a:t>Sources: eleven research &amp; analysis, company data, interviews with management</a:t>
            </a:r>
          </a:p>
          <a:p>
            <a:endParaRPr lang="en-GB"/>
          </a:p>
        </p:txBody>
      </p:sp>
      <p:sp>
        <p:nvSpPr>
          <p:cNvPr id="344" name="Rectangle 343">
            <a:extLst>
              <a:ext uri="{FF2B5EF4-FFF2-40B4-BE49-F238E27FC236}">
                <a16:creationId xmlns:a16="http://schemas.microsoft.com/office/drawing/2014/main" id="{939E11FD-0297-48EA-A350-F3AA1CF896CB}"/>
              </a:ext>
            </a:extLst>
          </p:cNvPr>
          <p:cNvSpPr/>
          <p:nvPr/>
        </p:nvSpPr>
        <p:spPr bwMode="auto">
          <a:xfrm>
            <a:off x="6842905" y="6603684"/>
            <a:ext cx="656805" cy="131620"/>
          </a:xfrm>
          <a:prstGeom prst="rect">
            <a:avLst/>
          </a:prstGeom>
          <a:solidFill>
            <a:schemeClr val="bg1">
              <a:lumMod val="95000"/>
            </a:schemeClr>
          </a:solidFill>
          <a:ln w="3175" cap="flat" cmpd="sng" algn="ctr">
            <a:solidFill>
              <a:schemeClr val="tx1"/>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92075"/>
            <a:r>
              <a:rPr lang="en-GB" sz="700">
                <a:latin typeface="Trebuchet MS" panose="020B0603020202020204" pitchFamily="34" charset="0"/>
              </a:rPr>
              <a:t>Non digital </a:t>
            </a:r>
          </a:p>
        </p:txBody>
      </p:sp>
      <p:sp>
        <p:nvSpPr>
          <p:cNvPr id="345" name="Rectangle 344">
            <a:extLst>
              <a:ext uri="{FF2B5EF4-FFF2-40B4-BE49-F238E27FC236}">
                <a16:creationId xmlns:a16="http://schemas.microsoft.com/office/drawing/2014/main" id="{C86909D9-2C01-4262-9C28-A05031A99702}"/>
              </a:ext>
            </a:extLst>
          </p:cNvPr>
          <p:cNvSpPr/>
          <p:nvPr/>
        </p:nvSpPr>
        <p:spPr bwMode="auto">
          <a:xfrm>
            <a:off x="7601078" y="6603684"/>
            <a:ext cx="595804" cy="131620"/>
          </a:xfrm>
          <a:prstGeom prst="rect">
            <a:avLst/>
          </a:prstGeom>
          <a:solidFill>
            <a:srgbClr val="E1F6FF"/>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r>
              <a:rPr lang="en-GB" sz="700">
                <a:latin typeface="Trebuchet MS" panose="020B0603020202020204" pitchFamily="34" charset="0"/>
              </a:rPr>
              <a:t>Digital</a:t>
            </a:r>
          </a:p>
        </p:txBody>
      </p:sp>
      <p:cxnSp>
        <p:nvCxnSpPr>
          <p:cNvPr id="486" name="Straight Connector 485">
            <a:extLst>
              <a:ext uri="{FF2B5EF4-FFF2-40B4-BE49-F238E27FC236}">
                <a16:creationId xmlns:a16="http://schemas.microsoft.com/office/drawing/2014/main" id="{5BE7BB51-C14A-4026-954C-7F42D1745D6B}"/>
              </a:ext>
            </a:extLst>
          </p:cNvPr>
          <p:cNvCxnSpPr>
            <a:cxnSpLocks/>
          </p:cNvCxnSpPr>
          <p:nvPr/>
        </p:nvCxnSpPr>
        <p:spPr bwMode="auto">
          <a:xfrm>
            <a:off x="125575" y="1216372"/>
            <a:ext cx="954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6" name="ZoneTexte 35">
            <a:extLst>
              <a:ext uri="{FF2B5EF4-FFF2-40B4-BE49-F238E27FC236}">
                <a16:creationId xmlns:a16="http://schemas.microsoft.com/office/drawing/2014/main" id="{2B865933-9C53-4835-A7A8-1BDE1C2B3997}"/>
              </a:ext>
            </a:extLst>
          </p:cNvPr>
          <p:cNvSpPr txBox="1"/>
          <p:nvPr/>
        </p:nvSpPr>
        <p:spPr>
          <a:xfrm>
            <a:off x="1045184" y="1131734"/>
            <a:ext cx="763783" cy="169277"/>
          </a:xfrm>
          <a:prstGeom prst="rect">
            <a:avLst/>
          </a:prstGeom>
          <a:solidFill>
            <a:schemeClr val="bg1"/>
          </a:solidFill>
        </p:spPr>
        <p:txBody>
          <a:bodyPr wrap="square" lIns="0" tIns="0" rIns="0" bIns="0" rtlCol="0">
            <a:spAutoFit/>
          </a:bodyPr>
          <a:lstStyle/>
          <a:p>
            <a:pPr algn="ctr"/>
            <a:r>
              <a:rPr lang="en-GB" sz="1100">
                <a:latin typeface="Trebuchet MS" panose="020B0603020202020204" pitchFamily="34" charset="0"/>
              </a:rPr>
              <a:t>Data type </a:t>
            </a:r>
          </a:p>
        </p:txBody>
      </p:sp>
      <p:grpSp>
        <p:nvGrpSpPr>
          <p:cNvPr id="8" name="Group 7">
            <a:extLst>
              <a:ext uri="{FF2B5EF4-FFF2-40B4-BE49-F238E27FC236}">
                <a16:creationId xmlns:a16="http://schemas.microsoft.com/office/drawing/2014/main" id="{7B1C4785-1AD6-47F8-9343-552356098297}"/>
              </a:ext>
            </a:extLst>
          </p:cNvPr>
          <p:cNvGrpSpPr/>
          <p:nvPr/>
        </p:nvGrpSpPr>
        <p:grpSpPr>
          <a:xfrm>
            <a:off x="5337167" y="1535521"/>
            <a:ext cx="1091120" cy="252000"/>
            <a:chOff x="5337167" y="1538103"/>
            <a:chExt cx="1091120" cy="252000"/>
          </a:xfrm>
        </p:grpSpPr>
        <p:grpSp>
          <p:nvGrpSpPr>
            <p:cNvPr id="68" name="Group 9173">
              <a:extLst>
                <a:ext uri="{FF2B5EF4-FFF2-40B4-BE49-F238E27FC236}">
                  <a16:creationId xmlns:a16="http://schemas.microsoft.com/office/drawing/2014/main" id="{6B5526B6-0DFF-4013-BC71-B609D9E25EF6}"/>
                </a:ext>
              </a:extLst>
            </p:cNvPr>
            <p:cNvGrpSpPr>
              <a:grpSpLocks noChangeAspect="1"/>
            </p:cNvGrpSpPr>
            <p:nvPr/>
          </p:nvGrpSpPr>
          <p:grpSpPr>
            <a:xfrm>
              <a:off x="5337167" y="1538103"/>
              <a:ext cx="252000" cy="252000"/>
              <a:chOff x="6242050" y="3001764"/>
              <a:chExt cx="190500" cy="190500"/>
            </a:xfrm>
            <a:solidFill>
              <a:schemeClr val="tx2"/>
            </a:solidFill>
          </p:grpSpPr>
          <p:sp>
            <p:nvSpPr>
              <p:cNvPr id="69" name="Freeform 866">
                <a:extLst>
                  <a:ext uri="{FF2B5EF4-FFF2-40B4-BE49-F238E27FC236}">
                    <a16:creationId xmlns:a16="http://schemas.microsoft.com/office/drawing/2014/main" id="{1F4E2FE9-87C3-4687-9EEF-38B35821166F}"/>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867">
                <a:extLst>
                  <a:ext uri="{FF2B5EF4-FFF2-40B4-BE49-F238E27FC236}">
                    <a16:creationId xmlns:a16="http://schemas.microsoft.com/office/drawing/2014/main" id="{1F75F763-32F5-44A1-BED8-27CA068ABDD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1" name="Group 9173">
              <a:extLst>
                <a:ext uri="{FF2B5EF4-FFF2-40B4-BE49-F238E27FC236}">
                  <a16:creationId xmlns:a16="http://schemas.microsoft.com/office/drawing/2014/main" id="{E6306BB8-EE63-4120-A45C-DF609ADFD4A4}"/>
                </a:ext>
              </a:extLst>
            </p:cNvPr>
            <p:cNvGrpSpPr>
              <a:grpSpLocks noChangeAspect="1"/>
            </p:cNvGrpSpPr>
            <p:nvPr/>
          </p:nvGrpSpPr>
          <p:grpSpPr>
            <a:xfrm>
              <a:off x="5616874" y="1538103"/>
              <a:ext cx="252000" cy="252000"/>
              <a:chOff x="6242050" y="3001764"/>
              <a:chExt cx="190500" cy="190500"/>
            </a:xfrm>
            <a:solidFill>
              <a:schemeClr val="tx2"/>
            </a:solidFill>
          </p:grpSpPr>
          <p:sp>
            <p:nvSpPr>
              <p:cNvPr id="72" name="Freeform 866">
                <a:extLst>
                  <a:ext uri="{FF2B5EF4-FFF2-40B4-BE49-F238E27FC236}">
                    <a16:creationId xmlns:a16="http://schemas.microsoft.com/office/drawing/2014/main" id="{0834F537-BC04-4ED0-9663-CF84333C39E8}"/>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867">
                <a:extLst>
                  <a:ext uri="{FF2B5EF4-FFF2-40B4-BE49-F238E27FC236}">
                    <a16:creationId xmlns:a16="http://schemas.microsoft.com/office/drawing/2014/main" id="{A84173EC-6D95-417E-B92C-D4CC677A9ED1}"/>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7" name="Group 9173">
              <a:extLst>
                <a:ext uri="{FF2B5EF4-FFF2-40B4-BE49-F238E27FC236}">
                  <a16:creationId xmlns:a16="http://schemas.microsoft.com/office/drawing/2014/main" id="{F116D26D-17A0-4643-A62F-057F267B175C}"/>
                </a:ext>
              </a:extLst>
            </p:cNvPr>
            <p:cNvGrpSpPr>
              <a:grpSpLocks noChangeAspect="1"/>
            </p:cNvGrpSpPr>
            <p:nvPr/>
          </p:nvGrpSpPr>
          <p:grpSpPr>
            <a:xfrm>
              <a:off x="5896581" y="1538103"/>
              <a:ext cx="252000" cy="252000"/>
              <a:chOff x="6242050" y="3001764"/>
              <a:chExt cx="190500" cy="190500"/>
            </a:xfrm>
            <a:solidFill>
              <a:schemeClr val="bg2">
                <a:lumMod val="20000"/>
                <a:lumOff val="80000"/>
              </a:schemeClr>
            </a:solidFill>
          </p:grpSpPr>
          <p:sp>
            <p:nvSpPr>
              <p:cNvPr id="103" name="Freeform 866">
                <a:extLst>
                  <a:ext uri="{FF2B5EF4-FFF2-40B4-BE49-F238E27FC236}">
                    <a16:creationId xmlns:a16="http://schemas.microsoft.com/office/drawing/2014/main" id="{42A19666-0EAD-4E27-B4CD-6B2B06A87A80}"/>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867">
                <a:extLst>
                  <a:ext uri="{FF2B5EF4-FFF2-40B4-BE49-F238E27FC236}">
                    <a16:creationId xmlns:a16="http://schemas.microsoft.com/office/drawing/2014/main" id="{43901F98-3329-416D-A01C-B33E835D259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6" name="Group 9173">
              <a:extLst>
                <a:ext uri="{FF2B5EF4-FFF2-40B4-BE49-F238E27FC236}">
                  <a16:creationId xmlns:a16="http://schemas.microsoft.com/office/drawing/2014/main" id="{DE120D45-ACE6-4F47-B72A-8B6CA443FFD3}"/>
                </a:ext>
              </a:extLst>
            </p:cNvPr>
            <p:cNvGrpSpPr>
              <a:grpSpLocks noChangeAspect="1"/>
            </p:cNvGrpSpPr>
            <p:nvPr/>
          </p:nvGrpSpPr>
          <p:grpSpPr>
            <a:xfrm>
              <a:off x="6176287" y="1538103"/>
              <a:ext cx="252000" cy="252000"/>
              <a:chOff x="6242050" y="3001764"/>
              <a:chExt cx="190500" cy="190500"/>
            </a:xfrm>
            <a:solidFill>
              <a:schemeClr val="bg2">
                <a:lumMod val="20000"/>
                <a:lumOff val="80000"/>
              </a:schemeClr>
            </a:solidFill>
          </p:grpSpPr>
          <p:sp>
            <p:nvSpPr>
              <p:cNvPr id="107" name="Freeform 866">
                <a:extLst>
                  <a:ext uri="{FF2B5EF4-FFF2-40B4-BE49-F238E27FC236}">
                    <a16:creationId xmlns:a16="http://schemas.microsoft.com/office/drawing/2014/main" id="{DC4B1DE7-B662-455C-8EFA-77519BF9533C}"/>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Freeform 867">
                <a:extLst>
                  <a:ext uri="{FF2B5EF4-FFF2-40B4-BE49-F238E27FC236}">
                    <a16:creationId xmlns:a16="http://schemas.microsoft.com/office/drawing/2014/main" id="{899CF351-6092-413C-99B9-D5E7C1CD7BAD}"/>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7" name="Group 16">
            <a:extLst>
              <a:ext uri="{FF2B5EF4-FFF2-40B4-BE49-F238E27FC236}">
                <a16:creationId xmlns:a16="http://schemas.microsoft.com/office/drawing/2014/main" id="{7A863744-B772-4B43-AC51-FAE57F39E388}"/>
              </a:ext>
            </a:extLst>
          </p:cNvPr>
          <p:cNvGrpSpPr/>
          <p:nvPr/>
        </p:nvGrpSpPr>
        <p:grpSpPr>
          <a:xfrm>
            <a:off x="5295167" y="5167748"/>
            <a:ext cx="1091120" cy="252000"/>
            <a:chOff x="5295167" y="5167748"/>
            <a:chExt cx="1091120" cy="252000"/>
          </a:xfrm>
        </p:grpSpPr>
        <p:grpSp>
          <p:nvGrpSpPr>
            <p:cNvPr id="193" name="Group 9173">
              <a:extLst>
                <a:ext uri="{FF2B5EF4-FFF2-40B4-BE49-F238E27FC236}">
                  <a16:creationId xmlns:a16="http://schemas.microsoft.com/office/drawing/2014/main" id="{CC926535-D628-4905-AA8D-64A4E5ED66AB}"/>
                </a:ext>
              </a:extLst>
            </p:cNvPr>
            <p:cNvGrpSpPr>
              <a:grpSpLocks noChangeAspect="1"/>
            </p:cNvGrpSpPr>
            <p:nvPr/>
          </p:nvGrpSpPr>
          <p:grpSpPr>
            <a:xfrm>
              <a:off x="5295167" y="5167748"/>
              <a:ext cx="252000" cy="252000"/>
              <a:chOff x="6242050" y="3001764"/>
              <a:chExt cx="190500" cy="190500"/>
            </a:xfrm>
            <a:solidFill>
              <a:schemeClr val="tx2"/>
            </a:solidFill>
          </p:grpSpPr>
          <p:sp>
            <p:nvSpPr>
              <p:cNvPr id="194" name="Freeform 866">
                <a:extLst>
                  <a:ext uri="{FF2B5EF4-FFF2-40B4-BE49-F238E27FC236}">
                    <a16:creationId xmlns:a16="http://schemas.microsoft.com/office/drawing/2014/main" id="{5E44F58C-2B0F-4310-92F6-AF41E2785813}"/>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5" name="Freeform 867">
                <a:extLst>
                  <a:ext uri="{FF2B5EF4-FFF2-40B4-BE49-F238E27FC236}">
                    <a16:creationId xmlns:a16="http://schemas.microsoft.com/office/drawing/2014/main" id="{CC123E08-21DD-4386-8036-226FA14D51BF}"/>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6" name="Group 9173">
              <a:extLst>
                <a:ext uri="{FF2B5EF4-FFF2-40B4-BE49-F238E27FC236}">
                  <a16:creationId xmlns:a16="http://schemas.microsoft.com/office/drawing/2014/main" id="{2B90BF54-41BB-4D4D-A8B6-485C21996D21}"/>
                </a:ext>
              </a:extLst>
            </p:cNvPr>
            <p:cNvGrpSpPr>
              <a:grpSpLocks noChangeAspect="1"/>
            </p:cNvGrpSpPr>
            <p:nvPr/>
          </p:nvGrpSpPr>
          <p:grpSpPr>
            <a:xfrm>
              <a:off x="5574874" y="5167748"/>
              <a:ext cx="252000" cy="252000"/>
              <a:chOff x="6242050" y="3001764"/>
              <a:chExt cx="190500" cy="190500"/>
            </a:xfrm>
            <a:solidFill>
              <a:schemeClr val="tx2"/>
            </a:solidFill>
          </p:grpSpPr>
          <p:sp>
            <p:nvSpPr>
              <p:cNvPr id="197" name="Freeform 866">
                <a:extLst>
                  <a:ext uri="{FF2B5EF4-FFF2-40B4-BE49-F238E27FC236}">
                    <a16:creationId xmlns:a16="http://schemas.microsoft.com/office/drawing/2014/main" id="{5E13CDA9-D3AE-4294-97E8-2994165A875B}"/>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8" name="Freeform 867">
                <a:extLst>
                  <a:ext uri="{FF2B5EF4-FFF2-40B4-BE49-F238E27FC236}">
                    <a16:creationId xmlns:a16="http://schemas.microsoft.com/office/drawing/2014/main" id="{4164B229-5548-46DB-95F8-9A3DB737C621}"/>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9" name="Group 9173">
              <a:extLst>
                <a:ext uri="{FF2B5EF4-FFF2-40B4-BE49-F238E27FC236}">
                  <a16:creationId xmlns:a16="http://schemas.microsoft.com/office/drawing/2014/main" id="{2B23D1D5-B507-4476-904C-5E5269501695}"/>
                </a:ext>
              </a:extLst>
            </p:cNvPr>
            <p:cNvGrpSpPr>
              <a:grpSpLocks noChangeAspect="1"/>
            </p:cNvGrpSpPr>
            <p:nvPr/>
          </p:nvGrpSpPr>
          <p:grpSpPr>
            <a:xfrm>
              <a:off x="5854581" y="5167748"/>
              <a:ext cx="252000" cy="252000"/>
              <a:chOff x="6242050" y="3001764"/>
              <a:chExt cx="190500" cy="190500"/>
            </a:xfrm>
            <a:solidFill>
              <a:schemeClr val="bg2">
                <a:lumMod val="20000"/>
                <a:lumOff val="80000"/>
              </a:schemeClr>
            </a:solidFill>
          </p:grpSpPr>
          <p:sp>
            <p:nvSpPr>
              <p:cNvPr id="200" name="Freeform 866">
                <a:extLst>
                  <a:ext uri="{FF2B5EF4-FFF2-40B4-BE49-F238E27FC236}">
                    <a16:creationId xmlns:a16="http://schemas.microsoft.com/office/drawing/2014/main" id="{2C0A89B0-995C-414A-9F79-96188011A0DF}"/>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1" name="Freeform 867">
                <a:extLst>
                  <a:ext uri="{FF2B5EF4-FFF2-40B4-BE49-F238E27FC236}">
                    <a16:creationId xmlns:a16="http://schemas.microsoft.com/office/drawing/2014/main" id="{9F458735-AA70-4967-9C74-767A67254A5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2" name="Group 9173">
              <a:extLst>
                <a:ext uri="{FF2B5EF4-FFF2-40B4-BE49-F238E27FC236}">
                  <a16:creationId xmlns:a16="http://schemas.microsoft.com/office/drawing/2014/main" id="{C5FF7180-F3B0-4D32-8CDB-D44BA543FE73}"/>
                </a:ext>
              </a:extLst>
            </p:cNvPr>
            <p:cNvGrpSpPr>
              <a:grpSpLocks noChangeAspect="1"/>
            </p:cNvGrpSpPr>
            <p:nvPr/>
          </p:nvGrpSpPr>
          <p:grpSpPr>
            <a:xfrm>
              <a:off x="6134287" y="5167748"/>
              <a:ext cx="252000" cy="252000"/>
              <a:chOff x="6242050" y="3001764"/>
              <a:chExt cx="190500" cy="190500"/>
            </a:xfrm>
            <a:solidFill>
              <a:schemeClr val="bg2">
                <a:lumMod val="20000"/>
                <a:lumOff val="80000"/>
              </a:schemeClr>
            </a:solidFill>
          </p:grpSpPr>
          <p:sp>
            <p:nvSpPr>
              <p:cNvPr id="203" name="Freeform 866">
                <a:extLst>
                  <a:ext uri="{FF2B5EF4-FFF2-40B4-BE49-F238E27FC236}">
                    <a16:creationId xmlns:a16="http://schemas.microsoft.com/office/drawing/2014/main" id="{DDC6C60F-AF3D-4F21-A049-10F3485C3538}"/>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4" name="Freeform 867">
                <a:extLst>
                  <a:ext uri="{FF2B5EF4-FFF2-40B4-BE49-F238E27FC236}">
                    <a16:creationId xmlns:a16="http://schemas.microsoft.com/office/drawing/2014/main" id="{8BC3841C-CBBF-45B9-8F5B-1AC583FC0CE4}"/>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4" name="Group 13">
            <a:extLst>
              <a:ext uri="{FF2B5EF4-FFF2-40B4-BE49-F238E27FC236}">
                <a16:creationId xmlns:a16="http://schemas.microsoft.com/office/drawing/2014/main" id="{55825E6E-52CB-4EEE-8390-DEC526E4AFEE}"/>
              </a:ext>
            </a:extLst>
          </p:cNvPr>
          <p:cNvGrpSpPr/>
          <p:nvPr/>
        </p:nvGrpSpPr>
        <p:grpSpPr>
          <a:xfrm>
            <a:off x="5288751" y="3806444"/>
            <a:ext cx="1091120" cy="252000"/>
            <a:chOff x="5288751" y="3787374"/>
            <a:chExt cx="1091120" cy="252000"/>
          </a:xfrm>
        </p:grpSpPr>
        <p:grpSp>
          <p:nvGrpSpPr>
            <p:cNvPr id="205" name="Group 9173">
              <a:extLst>
                <a:ext uri="{FF2B5EF4-FFF2-40B4-BE49-F238E27FC236}">
                  <a16:creationId xmlns:a16="http://schemas.microsoft.com/office/drawing/2014/main" id="{9D7D49F8-6B49-471F-8412-9A8FCAE6032F}"/>
                </a:ext>
              </a:extLst>
            </p:cNvPr>
            <p:cNvGrpSpPr>
              <a:grpSpLocks noChangeAspect="1"/>
            </p:cNvGrpSpPr>
            <p:nvPr/>
          </p:nvGrpSpPr>
          <p:grpSpPr>
            <a:xfrm>
              <a:off x="5288751" y="3787374"/>
              <a:ext cx="252000" cy="252000"/>
              <a:chOff x="6242050" y="3001764"/>
              <a:chExt cx="190500" cy="190500"/>
            </a:xfrm>
            <a:solidFill>
              <a:schemeClr val="tx2"/>
            </a:solidFill>
          </p:grpSpPr>
          <p:sp>
            <p:nvSpPr>
              <p:cNvPr id="206" name="Freeform 866">
                <a:extLst>
                  <a:ext uri="{FF2B5EF4-FFF2-40B4-BE49-F238E27FC236}">
                    <a16:creationId xmlns:a16="http://schemas.microsoft.com/office/drawing/2014/main" id="{0A8BF6E1-9378-48A0-A477-C1FB6C8A946A}"/>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7" name="Freeform 867">
                <a:extLst>
                  <a:ext uri="{FF2B5EF4-FFF2-40B4-BE49-F238E27FC236}">
                    <a16:creationId xmlns:a16="http://schemas.microsoft.com/office/drawing/2014/main" id="{F70E4254-6E97-4B9C-AA14-ED4FCE86CFAB}"/>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8" name="Group 9173">
              <a:extLst>
                <a:ext uri="{FF2B5EF4-FFF2-40B4-BE49-F238E27FC236}">
                  <a16:creationId xmlns:a16="http://schemas.microsoft.com/office/drawing/2014/main" id="{8D45FE75-BD56-4045-869A-AAA9B10B4627}"/>
                </a:ext>
              </a:extLst>
            </p:cNvPr>
            <p:cNvGrpSpPr>
              <a:grpSpLocks noChangeAspect="1"/>
            </p:cNvGrpSpPr>
            <p:nvPr/>
          </p:nvGrpSpPr>
          <p:grpSpPr>
            <a:xfrm>
              <a:off x="5568458" y="3787374"/>
              <a:ext cx="252000" cy="252000"/>
              <a:chOff x="6242050" y="3001764"/>
              <a:chExt cx="190500" cy="190500"/>
            </a:xfrm>
            <a:solidFill>
              <a:schemeClr val="bg2">
                <a:lumMod val="20000"/>
                <a:lumOff val="80000"/>
              </a:schemeClr>
            </a:solidFill>
          </p:grpSpPr>
          <p:sp>
            <p:nvSpPr>
              <p:cNvPr id="209" name="Freeform 866">
                <a:extLst>
                  <a:ext uri="{FF2B5EF4-FFF2-40B4-BE49-F238E27FC236}">
                    <a16:creationId xmlns:a16="http://schemas.microsoft.com/office/drawing/2014/main" id="{CB12053C-C8D6-4346-B5F9-EB9EDDB2BE24}"/>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0" name="Freeform 867">
                <a:extLst>
                  <a:ext uri="{FF2B5EF4-FFF2-40B4-BE49-F238E27FC236}">
                    <a16:creationId xmlns:a16="http://schemas.microsoft.com/office/drawing/2014/main" id="{76CB555B-23F5-4C76-A07A-4D8EFD3E8366}"/>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11" name="Group 9173">
              <a:extLst>
                <a:ext uri="{FF2B5EF4-FFF2-40B4-BE49-F238E27FC236}">
                  <a16:creationId xmlns:a16="http://schemas.microsoft.com/office/drawing/2014/main" id="{81EBCAAB-705D-4E7C-878C-B26ED43425AF}"/>
                </a:ext>
              </a:extLst>
            </p:cNvPr>
            <p:cNvGrpSpPr>
              <a:grpSpLocks noChangeAspect="1"/>
            </p:cNvGrpSpPr>
            <p:nvPr/>
          </p:nvGrpSpPr>
          <p:grpSpPr>
            <a:xfrm>
              <a:off x="5848165" y="3787374"/>
              <a:ext cx="252000" cy="252000"/>
              <a:chOff x="6242050" y="3001764"/>
              <a:chExt cx="190500" cy="190500"/>
            </a:xfrm>
            <a:solidFill>
              <a:schemeClr val="bg2">
                <a:lumMod val="20000"/>
                <a:lumOff val="80000"/>
              </a:schemeClr>
            </a:solidFill>
          </p:grpSpPr>
          <p:sp>
            <p:nvSpPr>
              <p:cNvPr id="212" name="Freeform 866">
                <a:extLst>
                  <a:ext uri="{FF2B5EF4-FFF2-40B4-BE49-F238E27FC236}">
                    <a16:creationId xmlns:a16="http://schemas.microsoft.com/office/drawing/2014/main" id="{6728CE07-83DF-4CF8-8385-302033652D40}"/>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3" name="Freeform 867">
                <a:extLst>
                  <a:ext uri="{FF2B5EF4-FFF2-40B4-BE49-F238E27FC236}">
                    <a16:creationId xmlns:a16="http://schemas.microsoft.com/office/drawing/2014/main" id="{C84ADD3F-89BB-46DE-9EC1-75C0DA712E1C}"/>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14" name="Group 9173">
              <a:extLst>
                <a:ext uri="{FF2B5EF4-FFF2-40B4-BE49-F238E27FC236}">
                  <a16:creationId xmlns:a16="http://schemas.microsoft.com/office/drawing/2014/main" id="{61049D82-A59F-493F-A151-789486418453}"/>
                </a:ext>
              </a:extLst>
            </p:cNvPr>
            <p:cNvGrpSpPr>
              <a:grpSpLocks noChangeAspect="1"/>
            </p:cNvGrpSpPr>
            <p:nvPr/>
          </p:nvGrpSpPr>
          <p:grpSpPr>
            <a:xfrm>
              <a:off x="6127871" y="3787374"/>
              <a:ext cx="252000" cy="252000"/>
              <a:chOff x="6242050" y="3001764"/>
              <a:chExt cx="190500" cy="190500"/>
            </a:xfrm>
            <a:solidFill>
              <a:schemeClr val="bg2">
                <a:lumMod val="20000"/>
                <a:lumOff val="80000"/>
              </a:schemeClr>
            </a:solidFill>
          </p:grpSpPr>
          <p:sp>
            <p:nvSpPr>
              <p:cNvPr id="215" name="Freeform 866">
                <a:extLst>
                  <a:ext uri="{FF2B5EF4-FFF2-40B4-BE49-F238E27FC236}">
                    <a16:creationId xmlns:a16="http://schemas.microsoft.com/office/drawing/2014/main" id="{B26628B4-5F14-4F33-8C3D-EF8F40798781}"/>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6" name="Freeform 867">
                <a:extLst>
                  <a:ext uri="{FF2B5EF4-FFF2-40B4-BE49-F238E27FC236}">
                    <a16:creationId xmlns:a16="http://schemas.microsoft.com/office/drawing/2014/main" id="{6860D7B7-DA60-49A8-9974-A9659C02DA14}"/>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0" name="Group 9">
            <a:extLst>
              <a:ext uri="{FF2B5EF4-FFF2-40B4-BE49-F238E27FC236}">
                <a16:creationId xmlns:a16="http://schemas.microsoft.com/office/drawing/2014/main" id="{7C9D99CD-F78E-4F41-89F2-8707C7A35232}"/>
              </a:ext>
            </a:extLst>
          </p:cNvPr>
          <p:cNvGrpSpPr/>
          <p:nvPr/>
        </p:nvGrpSpPr>
        <p:grpSpPr>
          <a:xfrm>
            <a:off x="5337167" y="1978782"/>
            <a:ext cx="1091120" cy="252000"/>
            <a:chOff x="5337167" y="1967047"/>
            <a:chExt cx="1091120" cy="252000"/>
          </a:xfrm>
        </p:grpSpPr>
        <p:grpSp>
          <p:nvGrpSpPr>
            <p:cNvPr id="109" name="Group 9173">
              <a:extLst>
                <a:ext uri="{FF2B5EF4-FFF2-40B4-BE49-F238E27FC236}">
                  <a16:creationId xmlns:a16="http://schemas.microsoft.com/office/drawing/2014/main" id="{409DF485-FD37-4C5A-9EF5-8B3EC75E97D9}"/>
                </a:ext>
              </a:extLst>
            </p:cNvPr>
            <p:cNvGrpSpPr>
              <a:grpSpLocks noChangeAspect="1"/>
            </p:cNvGrpSpPr>
            <p:nvPr/>
          </p:nvGrpSpPr>
          <p:grpSpPr>
            <a:xfrm>
              <a:off x="5337167" y="1967047"/>
              <a:ext cx="252000" cy="252000"/>
              <a:chOff x="6242050" y="3001764"/>
              <a:chExt cx="190500" cy="190500"/>
            </a:xfrm>
            <a:solidFill>
              <a:schemeClr val="tx2"/>
            </a:solidFill>
          </p:grpSpPr>
          <p:sp>
            <p:nvSpPr>
              <p:cNvPr id="110" name="Freeform 866">
                <a:extLst>
                  <a:ext uri="{FF2B5EF4-FFF2-40B4-BE49-F238E27FC236}">
                    <a16:creationId xmlns:a16="http://schemas.microsoft.com/office/drawing/2014/main" id="{510879C8-13FD-4D55-93F7-C7C998A1241B}"/>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867">
                <a:extLst>
                  <a:ext uri="{FF2B5EF4-FFF2-40B4-BE49-F238E27FC236}">
                    <a16:creationId xmlns:a16="http://schemas.microsoft.com/office/drawing/2014/main" id="{8A4E5D74-927C-4578-A5B9-D12AF584A0D9}"/>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2" name="Group 9173">
              <a:extLst>
                <a:ext uri="{FF2B5EF4-FFF2-40B4-BE49-F238E27FC236}">
                  <a16:creationId xmlns:a16="http://schemas.microsoft.com/office/drawing/2014/main" id="{2E4C0424-FE11-412B-8807-874FF0270D99}"/>
                </a:ext>
              </a:extLst>
            </p:cNvPr>
            <p:cNvGrpSpPr>
              <a:grpSpLocks noChangeAspect="1"/>
            </p:cNvGrpSpPr>
            <p:nvPr/>
          </p:nvGrpSpPr>
          <p:grpSpPr>
            <a:xfrm>
              <a:off x="5616874" y="1967047"/>
              <a:ext cx="252000" cy="252000"/>
              <a:chOff x="6242050" y="3001764"/>
              <a:chExt cx="190500" cy="190500"/>
            </a:xfrm>
            <a:solidFill>
              <a:schemeClr val="tx2"/>
            </a:solidFill>
          </p:grpSpPr>
          <p:sp>
            <p:nvSpPr>
              <p:cNvPr id="113" name="Freeform 866">
                <a:extLst>
                  <a:ext uri="{FF2B5EF4-FFF2-40B4-BE49-F238E27FC236}">
                    <a16:creationId xmlns:a16="http://schemas.microsoft.com/office/drawing/2014/main" id="{26C2F425-0125-4DDD-9E19-0D7174F8EFCF}"/>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867">
                <a:extLst>
                  <a:ext uri="{FF2B5EF4-FFF2-40B4-BE49-F238E27FC236}">
                    <a16:creationId xmlns:a16="http://schemas.microsoft.com/office/drawing/2014/main" id="{89FE35E3-B4A2-4AE9-A21B-B0E38594911F}"/>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5" name="Group 9173">
              <a:extLst>
                <a:ext uri="{FF2B5EF4-FFF2-40B4-BE49-F238E27FC236}">
                  <a16:creationId xmlns:a16="http://schemas.microsoft.com/office/drawing/2014/main" id="{F22A0B43-CC8F-465A-8AA2-1CFD75C036B6}"/>
                </a:ext>
              </a:extLst>
            </p:cNvPr>
            <p:cNvGrpSpPr>
              <a:grpSpLocks noChangeAspect="1"/>
            </p:cNvGrpSpPr>
            <p:nvPr/>
          </p:nvGrpSpPr>
          <p:grpSpPr>
            <a:xfrm>
              <a:off x="5896581" y="1967047"/>
              <a:ext cx="252000" cy="252000"/>
              <a:chOff x="6242050" y="3001764"/>
              <a:chExt cx="190500" cy="190500"/>
            </a:xfrm>
            <a:solidFill>
              <a:schemeClr val="bg2">
                <a:lumMod val="20000"/>
                <a:lumOff val="80000"/>
              </a:schemeClr>
            </a:solidFill>
          </p:grpSpPr>
          <p:sp>
            <p:nvSpPr>
              <p:cNvPr id="116" name="Freeform 866">
                <a:extLst>
                  <a:ext uri="{FF2B5EF4-FFF2-40B4-BE49-F238E27FC236}">
                    <a16:creationId xmlns:a16="http://schemas.microsoft.com/office/drawing/2014/main" id="{87439211-65DD-4492-B828-7DA6B16C96DE}"/>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867">
                <a:extLst>
                  <a:ext uri="{FF2B5EF4-FFF2-40B4-BE49-F238E27FC236}">
                    <a16:creationId xmlns:a16="http://schemas.microsoft.com/office/drawing/2014/main" id="{5D41E7EA-B6C3-454B-84C4-652461493F92}"/>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8" name="Group 9173">
              <a:extLst>
                <a:ext uri="{FF2B5EF4-FFF2-40B4-BE49-F238E27FC236}">
                  <a16:creationId xmlns:a16="http://schemas.microsoft.com/office/drawing/2014/main" id="{9FC51D40-3891-46A1-9010-ACAC9200E007}"/>
                </a:ext>
              </a:extLst>
            </p:cNvPr>
            <p:cNvGrpSpPr>
              <a:grpSpLocks noChangeAspect="1"/>
            </p:cNvGrpSpPr>
            <p:nvPr/>
          </p:nvGrpSpPr>
          <p:grpSpPr>
            <a:xfrm>
              <a:off x="6176287" y="1967047"/>
              <a:ext cx="252000" cy="252000"/>
              <a:chOff x="6242050" y="3001764"/>
              <a:chExt cx="190500" cy="190500"/>
            </a:xfrm>
            <a:solidFill>
              <a:schemeClr val="bg2">
                <a:lumMod val="20000"/>
                <a:lumOff val="80000"/>
              </a:schemeClr>
            </a:solidFill>
          </p:grpSpPr>
          <p:sp>
            <p:nvSpPr>
              <p:cNvPr id="119" name="Freeform 866">
                <a:extLst>
                  <a:ext uri="{FF2B5EF4-FFF2-40B4-BE49-F238E27FC236}">
                    <a16:creationId xmlns:a16="http://schemas.microsoft.com/office/drawing/2014/main" id="{3E8C4A42-E72B-42D3-996A-5EF398C30CD0}"/>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Freeform 867">
                <a:extLst>
                  <a:ext uri="{FF2B5EF4-FFF2-40B4-BE49-F238E27FC236}">
                    <a16:creationId xmlns:a16="http://schemas.microsoft.com/office/drawing/2014/main" id="{08CC92D7-05F0-4C08-915F-FFACEA8EF411}"/>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3" name="Group 12">
            <a:extLst>
              <a:ext uri="{FF2B5EF4-FFF2-40B4-BE49-F238E27FC236}">
                <a16:creationId xmlns:a16="http://schemas.microsoft.com/office/drawing/2014/main" id="{0A498A70-C3AD-405D-9282-72DAF34E4FB2}"/>
              </a:ext>
            </a:extLst>
          </p:cNvPr>
          <p:cNvGrpSpPr/>
          <p:nvPr/>
        </p:nvGrpSpPr>
        <p:grpSpPr>
          <a:xfrm>
            <a:off x="5304845" y="3352665"/>
            <a:ext cx="1091120" cy="252000"/>
            <a:chOff x="5304845" y="3360584"/>
            <a:chExt cx="1091120" cy="252000"/>
          </a:xfrm>
        </p:grpSpPr>
        <p:grpSp>
          <p:nvGrpSpPr>
            <p:cNvPr id="157" name="Group 9173">
              <a:extLst>
                <a:ext uri="{FF2B5EF4-FFF2-40B4-BE49-F238E27FC236}">
                  <a16:creationId xmlns:a16="http://schemas.microsoft.com/office/drawing/2014/main" id="{7C05F3B9-64BF-43C5-80CD-5D6C0E4454CB}"/>
                </a:ext>
              </a:extLst>
            </p:cNvPr>
            <p:cNvGrpSpPr>
              <a:grpSpLocks noChangeAspect="1"/>
            </p:cNvGrpSpPr>
            <p:nvPr/>
          </p:nvGrpSpPr>
          <p:grpSpPr>
            <a:xfrm>
              <a:off x="5304845" y="3360584"/>
              <a:ext cx="252000" cy="252000"/>
              <a:chOff x="6242050" y="3001764"/>
              <a:chExt cx="190500" cy="190500"/>
            </a:xfrm>
            <a:solidFill>
              <a:schemeClr val="tx2"/>
            </a:solidFill>
          </p:grpSpPr>
          <p:sp>
            <p:nvSpPr>
              <p:cNvPr id="158" name="Freeform 866">
                <a:extLst>
                  <a:ext uri="{FF2B5EF4-FFF2-40B4-BE49-F238E27FC236}">
                    <a16:creationId xmlns:a16="http://schemas.microsoft.com/office/drawing/2014/main" id="{0447C118-F87D-469B-A44C-561CCA4A2B09}"/>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9" name="Freeform 867">
                <a:extLst>
                  <a:ext uri="{FF2B5EF4-FFF2-40B4-BE49-F238E27FC236}">
                    <a16:creationId xmlns:a16="http://schemas.microsoft.com/office/drawing/2014/main" id="{D6284410-77AD-4A9F-B38D-FE78DB6990AB}"/>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60" name="Group 9173">
              <a:extLst>
                <a:ext uri="{FF2B5EF4-FFF2-40B4-BE49-F238E27FC236}">
                  <a16:creationId xmlns:a16="http://schemas.microsoft.com/office/drawing/2014/main" id="{F9817EF3-78B5-4C27-99EA-45CB1C65D4D4}"/>
                </a:ext>
              </a:extLst>
            </p:cNvPr>
            <p:cNvGrpSpPr>
              <a:grpSpLocks noChangeAspect="1"/>
            </p:cNvGrpSpPr>
            <p:nvPr/>
          </p:nvGrpSpPr>
          <p:grpSpPr>
            <a:xfrm>
              <a:off x="5584552" y="3360584"/>
              <a:ext cx="252000" cy="252000"/>
              <a:chOff x="6242050" y="3001764"/>
              <a:chExt cx="190500" cy="190500"/>
            </a:xfrm>
            <a:solidFill>
              <a:schemeClr val="tx2"/>
            </a:solidFill>
          </p:grpSpPr>
          <p:sp>
            <p:nvSpPr>
              <p:cNvPr id="161" name="Freeform 866">
                <a:extLst>
                  <a:ext uri="{FF2B5EF4-FFF2-40B4-BE49-F238E27FC236}">
                    <a16:creationId xmlns:a16="http://schemas.microsoft.com/office/drawing/2014/main" id="{B963F3FE-DB65-4373-A508-1DCFB22191FE}"/>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2" name="Freeform 867">
                <a:extLst>
                  <a:ext uri="{FF2B5EF4-FFF2-40B4-BE49-F238E27FC236}">
                    <a16:creationId xmlns:a16="http://schemas.microsoft.com/office/drawing/2014/main" id="{A4F3124E-CBA1-420E-8997-8AD3DA11FAA4}"/>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63" name="Group 9173">
              <a:extLst>
                <a:ext uri="{FF2B5EF4-FFF2-40B4-BE49-F238E27FC236}">
                  <a16:creationId xmlns:a16="http://schemas.microsoft.com/office/drawing/2014/main" id="{0A20A25D-E745-4700-B1BA-262F82E815DB}"/>
                </a:ext>
              </a:extLst>
            </p:cNvPr>
            <p:cNvGrpSpPr>
              <a:grpSpLocks noChangeAspect="1"/>
            </p:cNvGrpSpPr>
            <p:nvPr/>
          </p:nvGrpSpPr>
          <p:grpSpPr>
            <a:xfrm>
              <a:off x="5864259" y="3360584"/>
              <a:ext cx="252000" cy="252000"/>
              <a:chOff x="6242050" y="3001764"/>
              <a:chExt cx="190500" cy="190500"/>
            </a:xfrm>
            <a:solidFill>
              <a:schemeClr val="tx2"/>
            </a:solidFill>
          </p:grpSpPr>
          <p:sp>
            <p:nvSpPr>
              <p:cNvPr id="164" name="Freeform 866">
                <a:extLst>
                  <a:ext uri="{FF2B5EF4-FFF2-40B4-BE49-F238E27FC236}">
                    <a16:creationId xmlns:a16="http://schemas.microsoft.com/office/drawing/2014/main" id="{71A9E43F-B0FB-4F7A-BD75-DB00E4127852}"/>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5" name="Freeform 867">
                <a:extLst>
                  <a:ext uri="{FF2B5EF4-FFF2-40B4-BE49-F238E27FC236}">
                    <a16:creationId xmlns:a16="http://schemas.microsoft.com/office/drawing/2014/main" id="{EFC1CF44-3F67-40A6-8DA8-BF1ABEC6C357}"/>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66" name="Group 9173">
              <a:extLst>
                <a:ext uri="{FF2B5EF4-FFF2-40B4-BE49-F238E27FC236}">
                  <a16:creationId xmlns:a16="http://schemas.microsoft.com/office/drawing/2014/main" id="{814CEDB0-9464-4487-A72F-8FAB291703F2}"/>
                </a:ext>
              </a:extLst>
            </p:cNvPr>
            <p:cNvGrpSpPr>
              <a:grpSpLocks noChangeAspect="1"/>
            </p:cNvGrpSpPr>
            <p:nvPr/>
          </p:nvGrpSpPr>
          <p:grpSpPr>
            <a:xfrm>
              <a:off x="6143965" y="3360584"/>
              <a:ext cx="252000" cy="252000"/>
              <a:chOff x="6242050" y="3001764"/>
              <a:chExt cx="190500" cy="190500"/>
            </a:xfrm>
            <a:solidFill>
              <a:schemeClr val="bg2">
                <a:lumMod val="20000"/>
                <a:lumOff val="80000"/>
              </a:schemeClr>
            </a:solidFill>
          </p:grpSpPr>
          <p:sp>
            <p:nvSpPr>
              <p:cNvPr id="167" name="Freeform 866">
                <a:extLst>
                  <a:ext uri="{FF2B5EF4-FFF2-40B4-BE49-F238E27FC236}">
                    <a16:creationId xmlns:a16="http://schemas.microsoft.com/office/drawing/2014/main" id="{F1879A6C-A635-4545-8AF0-4AD7F6C3D28E}"/>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8" name="Freeform 867">
                <a:extLst>
                  <a:ext uri="{FF2B5EF4-FFF2-40B4-BE49-F238E27FC236}">
                    <a16:creationId xmlns:a16="http://schemas.microsoft.com/office/drawing/2014/main" id="{2509A03B-A5A7-431C-8AAC-E9C1182A73BC}"/>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1" name="Group 10">
            <a:extLst>
              <a:ext uri="{FF2B5EF4-FFF2-40B4-BE49-F238E27FC236}">
                <a16:creationId xmlns:a16="http://schemas.microsoft.com/office/drawing/2014/main" id="{FB9C05BE-3027-4BFD-87DD-1F673F28FD5A}"/>
              </a:ext>
            </a:extLst>
          </p:cNvPr>
          <p:cNvGrpSpPr/>
          <p:nvPr/>
        </p:nvGrpSpPr>
        <p:grpSpPr>
          <a:xfrm>
            <a:off x="5317947" y="2441425"/>
            <a:ext cx="1091120" cy="252000"/>
            <a:chOff x="5317947" y="2441425"/>
            <a:chExt cx="1091120" cy="252000"/>
          </a:xfrm>
        </p:grpSpPr>
        <p:grpSp>
          <p:nvGrpSpPr>
            <p:cNvPr id="121" name="Group 9173">
              <a:extLst>
                <a:ext uri="{FF2B5EF4-FFF2-40B4-BE49-F238E27FC236}">
                  <a16:creationId xmlns:a16="http://schemas.microsoft.com/office/drawing/2014/main" id="{73FCA1BF-8B84-4782-9B86-FD6102536FA0}"/>
                </a:ext>
              </a:extLst>
            </p:cNvPr>
            <p:cNvGrpSpPr>
              <a:grpSpLocks noChangeAspect="1"/>
            </p:cNvGrpSpPr>
            <p:nvPr/>
          </p:nvGrpSpPr>
          <p:grpSpPr>
            <a:xfrm>
              <a:off x="5317947" y="2441425"/>
              <a:ext cx="252000" cy="252000"/>
              <a:chOff x="6242050" y="3001764"/>
              <a:chExt cx="190500" cy="190500"/>
            </a:xfrm>
            <a:solidFill>
              <a:schemeClr val="tx2"/>
            </a:solidFill>
          </p:grpSpPr>
          <p:sp>
            <p:nvSpPr>
              <p:cNvPr id="122" name="Freeform 866">
                <a:extLst>
                  <a:ext uri="{FF2B5EF4-FFF2-40B4-BE49-F238E27FC236}">
                    <a16:creationId xmlns:a16="http://schemas.microsoft.com/office/drawing/2014/main" id="{E8BC2C02-774F-4A5F-BD73-6EC0DF5BD375}"/>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867">
                <a:extLst>
                  <a:ext uri="{FF2B5EF4-FFF2-40B4-BE49-F238E27FC236}">
                    <a16:creationId xmlns:a16="http://schemas.microsoft.com/office/drawing/2014/main" id="{946AB976-5B96-40BE-8317-698C6C9FB235}"/>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4" name="Group 9173">
              <a:extLst>
                <a:ext uri="{FF2B5EF4-FFF2-40B4-BE49-F238E27FC236}">
                  <a16:creationId xmlns:a16="http://schemas.microsoft.com/office/drawing/2014/main" id="{3689D583-DDC1-499E-8FFE-AF5091D15478}"/>
                </a:ext>
              </a:extLst>
            </p:cNvPr>
            <p:cNvGrpSpPr>
              <a:grpSpLocks noChangeAspect="1"/>
            </p:cNvGrpSpPr>
            <p:nvPr/>
          </p:nvGrpSpPr>
          <p:grpSpPr>
            <a:xfrm>
              <a:off x="5597654" y="2441425"/>
              <a:ext cx="252000" cy="252000"/>
              <a:chOff x="6242050" y="3001764"/>
              <a:chExt cx="190500" cy="190500"/>
            </a:xfrm>
            <a:solidFill>
              <a:schemeClr val="bg2">
                <a:lumMod val="20000"/>
                <a:lumOff val="80000"/>
              </a:schemeClr>
            </a:solidFill>
          </p:grpSpPr>
          <p:sp>
            <p:nvSpPr>
              <p:cNvPr id="125" name="Freeform 866">
                <a:extLst>
                  <a:ext uri="{FF2B5EF4-FFF2-40B4-BE49-F238E27FC236}">
                    <a16:creationId xmlns:a16="http://schemas.microsoft.com/office/drawing/2014/main" id="{4EB25BF5-6173-405D-BE13-EBC4EFDA24C4}"/>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867">
                <a:extLst>
                  <a:ext uri="{FF2B5EF4-FFF2-40B4-BE49-F238E27FC236}">
                    <a16:creationId xmlns:a16="http://schemas.microsoft.com/office/drawing/2014/main" id="{C8E90EB0-7C9E-4318-BE60-620C5B8E3952}"/>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7" name="Group 9173">
              <a:extLst>
                <a:ext uri="{FF2B5EF4-FFF2-40B4-BE49-F238E27FC236}">
                  <a16:creationId xmlns:a16="http://schemas.microsoft.com/office/drawing/2014/main" id="{BC6CE3A9-AC1A-4743-A530-1E6ECEA18620}"/>
                </a:ext>
              </a:extLst>
            </p:cNvPr>
            <p:cNvGrpSpPr>
              <a:grpSpLocks noChangeAspect="1"/>
            </p:cNvGrpSpPr>
            <p:nvPr/>
          </p:nvGrpSpPr>
          <p:grpSpPr>
            <a:xfrm>
              <a:off x="5877361" y="2441425"/>
              <a:ext cx="252000" cy="252000"/>
              <a:chOff x="6242050" y="3001764"/>
              <a:chExt cx="190500" cy="190500"/>
            </a:xfrm>
            <a:solidFill>
              <a:schemeClr val="bg2">
                <a:lumMod val="20000"/>
                <a:lumOff val="80000"/>
              </a:schemeClr>
            </a:solidFill>
          </p:grpSpPr>
          <p:sp>
            <p:nvSpPr>
              <p:cNvPr id="128" name="Freeform 866">
                <a:extLst>
                  <a:ext uri="{FF2B5EF4-FFF2-40B4-BE49-F238E27FC236}">
                    <a16:creationId xmlns:a16="http://schemas.microsoft.com/office/drawing/2014/main" id="{C3A0D2C9-B811-4A8F-94E1-7467773B251D}"/>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867">
                <a:extLst>
                  <a:ext uri="{FF2B5EF4-FFF2-40B4-BE49-F238E27FC236}">
                    <a16:creationId xmlns:a16="http://schemas.microsoft.com/office/drawing/2014/main" id="{FA92CCA7-71C3-45F4-B271-B655F2504DB3}"/>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0" name="Group 9173">
              <a:extLst>
                <a:ext uri="{FF2B5EF4-FFF2-40B4-BE49-F238E27FC236}">
                  <a16:creationId xmlns:a16="http://schemas.microsoft.com/office/drawing/2014/main" id="{AC9341CB-1373-45D2-9257-7B2615443552}"/>
                </a:ext>
              </a:extLst>
            </p:cNvPr>
            <p:cNvGrpSpPr>
              <a:grpSpLocks noChangeAspect="1"/>
            </p:cNvGrpSpPr>
            <p:nvPr/>
          </p:nvGrpSpPr>
          <p:grpSpPr>
            <a:xfrm>
              <a:off x="6157067" y="2441425"/>
              <a:ext cx="252000" cy="252000"/>
              <a:chOff x="6242050" y="3001764"/>
              <a:chExt cx="190500" cy="190500"/>
            </a:xfrm>
            <a:solidFill>
              <a:schemeClr val="bg2">
                <a:lumMod val="20000"/>
                <a:lumOff val="80000"/>
              </a:schemeClr>
            </a:solidFill>
          </p:grpSpPr>
          <p:sp>
            <p:nvSpPr>
              <p:cNvPr id="131" name="Freeform 866">
                <a:extLst>
                  <a:ext uri="{FF2B5EF4-FFF2-40B4-BE49-F238E27FC236}">
                    <a16:creationId xmlns:a16="http://schemas.microsoft.com/office/drawing/2014/main" id="{FC9796A5-3E7C-4377-9018-D961B8B1222D}"/>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867">
                <a:extLst>
                  <a:ext uri="{FF2B5EF4-FFF2-40B4-BE49-F238E27FC236}">
                    <a16:creationId xmlns:a16="http://schemas.microsoft.com/office/drawing/2014/main" id="{3D03BFAD-1211-4513-832B-60B844622BF2}"/>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2" name="Group 11">
            <a:extLst>
              <a:ext uri="{FF2B5EF4-FFF2-40B4-BE49-F238E27FC236}">
                <a16:creationId xmlns:a16="http://schemas.microsoft.com/office/drawing/2014/main" id="{2248BF7C-4EAB-465B-A4C2-278B8C19C82C}"/>
              </a:ext>
            </a:extLst>
          </p:cNvPr>
          <p:cNvGrpSpPr/>
          <p:nvPr/>
        </p:nvGrpSpPr>
        <p:grpSpPr>
          <a:xfrm>
            <a:off x="5322725" y="2842680"/>
            <a:ext cx="1234252" cy="400110"/>
            <a:chOff x="5322725" y="2842680"/>
            <a:chExt cx="1234252" cy="400110"/>
          </a:xfrm>
        </p:grpSpPr>
        <p:grpSp>
          <p:nvGrpSpPr>
            <p:cNvPr id="133" name="Group 9173">
              <a:extLst>
                <a:ext uri="{FF2B5EF4-FFF2-40B4-BE49-F238E27FC236}">
                  <a16:creationId xmlns:a16="http://schemas.microsoft.com/office/drawing/2014/main" id="{8EB73515-8A8E-4AC5-B3B6-096D31AA70C9}"/>
                </a:ext>
              </a:extLst>
            </p:cNvPr>
            <p:cNvGrpSpPr>
              <a:grpSpLocks noChangeAspect="1"/>
            </p:cNvGrpSpPr>
            <p:nvPr/>
          </p:nvGrpSpPr>
          <p:grpSpPr>
            <a:xfrm>
              <a:off x="5340600" y="2922123"/>
              <a:ext cx="252000" cy="252000"/>
              <a:chOff x="6242050" y="3001764"/>
              <a:chExt cx="190500" cy="190500"/>
            </a:xfrm>
            <a:solidFill>
              <a:schemeClr val="bg2">
                <a:lumMod val="20000"/>
                <a:lumOff val="80000"/>
              </a:schemeClr>
            </a:solidFill>
          </p:grpSpPr>
          <p:sp>
            <p:nvSpPr>
              <p:cNvPr id="134" name="Freeform 866">
                <a:extLst>
                  <a:ext uri="{FF2B5EF4-FFF2-40B4-BE49-F238E27FC236}">
                    <a16:creationId xmlns:a16="http://schemas.microsoft.com/office/drawing/2014/main" id="{6C3A74E2-AFE9-4298-991D-EDA9F1D7F1CE}"/>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 name="Freeform 867">
                <a:extLst>
                  <a:ext uri="{FF2B5EF4-FFF2-40B4-BE49-F238E27FC236}">
                    <a16:creationId xmlns:a16="http://schemas.microsoft.com/office/drawing/2014/main" id="{DC63FA02-3F5E-4CF7-8A6E-71A43E6953B2}"/>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6" name="Group 9173">
              <a:extLst>
                <a:ext uri="{FF2B5EF4-FFF2-40B4-BE49-F238E27FC236}">
                  <a16:creationId xmlns:a16="http://schemas.microsoft.com/office/drawing/2014/main" id="{6ED84F91-862F-4E74-89A0-53BC48B55221}"/>
                </a:ext>
              </a:extLst>
            </p:cNvPr>
            <p:cNvGrpSpPr>
              <a:grpSpLocks noChangeAspect="1"/>
            </p:cNvGrpSpPr>
            <p:nvPr/>
          </p:nvGrpSpPr>
          <p:grpSpPr>
            <a:xfrm>
              <a:off x="5620307" y="2922123"/>
              <a:ext cx="252000" cy="252000"/>
              <a:chOff x="6242050" y="3001764"/>
              <a:chExt cx="190500" cy="190500"/>
            </a:xfrm>
            <a:solidFill>
              <a:schemeClr val="bg2">
                <a:lumMod val="20000"/>
                <a:lumOff val="80000"/>
              </a:schemeClr>
            </a:solidFill>
          </p:grpSpPr>
          <p:sp>
            <p:nvSpPr>
              <p:cNvPr id="137" name="Freeform 866">
                <a:extLst>
                  <a:ext uri="{FF2B5EF4-FFF2-40B4-BE49-F238E27FC236}">
                    <a16:creationId xmlns:a16="http://schemas.microsoft.com/office/drawing/2014/main" id="{11484E15-8486-433C-B3A0-8B04EFD0E942}"/>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 name="Freeform 867">
                <a:extLst>
                  <a:ext uri="{FF2B5EF4-FFF2-40B4-BE49-F238E27FC236}">
                    <a16:creationId xmlns:a16="http://schemas.microsoft.com/office/drawing/2014/main" id="{DDB06EAC-E66E-474F-B8A7-EE5979748601}"/>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9" name="Group 9173">
              <a:extLst>
                <a:ext uri="{FF2B5EF4-FFF2-40B4-BE49-F238E27FC236}">
                  <a16:creationId xmlns:a16="http://schemas.microsoft.com/office/drawing/2014/main" id="{41314907-E163-49CB-8B2C-2D105B54D54A}"/>
                </a:ext>
              </a:extLst>
            </p:cNvPr>
            <p:cNvGrpSpPr>
              <a:grpSpLocks noChangeAspect="1"/>
            </p:cNvGrpSpPr>
            <p:nvPr/>
          </p:nvGrpSpPr>
          <p:grpSpPr>
            <a:xfrm>
              <a:off x="5900014" y="2922123"/>
              <a:ext cx="252000" cy="252000"/>
              <a:chOff x="6242050" y="3001764"/>
              <a:chExt cx="190500" cy="190500"/>
            </a:xfrm>
            <a:solidFill>
              <a:schemeClr val="bg2">
                <a:lumMod val="20000"/>
                <a:lumOff val="80000"/>
              </a:schemeClr>
            </a:solidFill>
          </p:grpSpPr>
          <p:sp>
            <p:nvSpPr>
              <p:cNvPr id="140" name="Freeform 866">
                <a:extLst>
                  <a:ext uri="{FF2B5EF4-FFF2-40B4-BE49-F238E27FC236}">
                    <a16:creationId xmlns:a16="http://schemas.microsoft.com/office/drawing/2014/main" id="{E084B1C2-4681-4EFE-B8BD-279224491F96}"/>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 name="Freeform 867">
                <a:extLst>
                  <a:ext uri="{FF2B5EF4-FFF2-40B4-BE49-F238E27FC236}">
                    <a16:creationId xmlns:a16="http://schemas.microsoft.com/office/drawing/2014/main" id="{5D8ABB87-9893-4AC9-B590-57ED171AFCE4}"/>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2" name="Group 9173">
              <a:extLst>
                <a:ext uri="{FF2B5EF4-FFF2-40B4-BE49-F238E27FC236}">
                  <a16:creationId xmlns:a16="http://schemas.microsoft.com/office/drawing/2014/main" id="{018AF17D-DD3E-4430-89EC-DA54A6907496}"/>
                </a:ext>
              </a:extLst>
            </p:cNvPr>
            <p:cNvGrpSpPr>
              <a:grpSpLocks noChangeAspect="1"/>
            </p:cNvGrpSpPr>
            <p:nvPr/>
          </p:nvGrpSpPr>
          <p:grpSpPr>
            <a:xfrm>
              <a:off x="6179720" y="2922123"/>
              <a:ext cx="252000" cy="252000"/>
              <a:chOff x="6242050" y="3001764"/>
              <a:chExt cx="190500" cy="190500"/>
            </a:xfrm>
            <a:solidFill>
              <a:schemeClr val="bg2">
                <a:lumMod val="20000"/>
                <a:lumOff val="80000"/>
              </a:schemeClr>
            </a:solidFill>
          </p:grpSpPr>
          <p:sp>
            <p:nvSpPr>
              <p:cNvPr id="143" name="Freeform 866">
                <a:extLst>
                  <a:ext uri="{FF2B5EF4-FFF2-40B4-BE49-F238E27FC236}">
                    <a16:creationId xmlns:a16="http://schemas.microsoft.com/office/drawing/2014/main" id="{1EEE45D8-330E-4EAF-A9A5-B966352FDC8E}"/>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Freeform 867">
                <a:extLst>
                  <a:ext uri="{FF2B5EF4-FFF2-40B4-BE49-F238E27FC236}">
                    <a16:creationId xmlns:a16="http://schemas.microsoft.com/office/drawing/2014/main" id="{F60C7646-5C89-4C42-BA87-2E0E6F50437B}"/>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9" name="Rectangle 338">
              <a:extLst>
                <a:ext uri="{FF2B5EF4-FFF2-40B4-BE49-F238E27FC236}">
                  <a16:creationId xmlns:a16="http://schemas.microsoft.com/office/drawing/2014/main" id="{B416571C-6CC0-4AD0-9B65-CD3E27D3C84A}"/>
                </a:ext>
              </a:extLst>
            </p:cNvPr>
            <p:cNvSpPr/>
            <p:nvPr/>
          </p:nvSpPr>
          <p:spPr>
            <a:xfrm>
              <a:off x="5322725" y="2842680"/>
              <a:ext cx="1234252" cy="400110"/>
            </a:xfrm>
            <a:prstGeom prst="rect">
              <a:avLst/>
            </a:prstGeom>
          </p:spPr>
          <p:txBody>
            <a:bodyPr wrap="square">
              <a:spAutoFit/>
            </a:bodyPr>
            <a:lstStyle/>
            <a:p>
              <a:pPr algn="ctr"/>
              <a:r>
                <a:rPr lang="en-GB" sz="1000" b="1">
                  <a:latin typeface="Trebuchet MS" panose="020B0603020202020204" pitchFamily="34" charset="0"/>
                </a:rPr>
                <a:t>« Give-to-Take » mechanism</a:t>
              </a:r>
              <a:endParaRPr lang="en-GB" sz="1000">
                <a:latin typeface="Trebuchet MS" panose="020B0603020202020204" pitchFamily="34" charset="0"/>
              </a:endParaRPr>
            </a:p>
          </p:txBody>
        </p:sp>
      </p:grpSp>
      <p:grpSp>
        <p:nvGrpSpPr>
          <p:cNvPr id="15" name="Group 14">
            <a:extLst>
              <a:ext uri="{FF2B5EF4-FFF2-40B4-BE49-F238E27FC236}">
                <a16:creationId xmlns:a16="http://schemas.microsoft.com/office/drawing/2014/main" id="{4E765ADA-9F9B-4A20-9065-E9B62FEA151C}"/>
              </a:ext>
            </a:extLst>
          </p:cNvPr>
          <p:cNvGrpSpPr/>
          <p:nvPr/>
        </p:nvGrpSpPr>
        <p:grpSpPr>
          <a:xfrm>
            <a:off x="5303045" y="4259735"/>
            <a:ext cx="1091120" cy="252000"/>
            <a:chOff x="5303045" y="4246249"/>
            <a:chExt cx="1091120" cy="252000"/>
          </a:xfrm>
        </p:grpSpPr>
        <p:grpSp>
          <p:nvGrpSpPr>
            <p:cNvPr id="347" name="Group 9173">
              <a:extLst>
                <a:ext uri="{FF2B5EF4-FFF2-40B4-BE49-F238E27FC236}">
                  <a16:creationId xmlns:a16="http://schemas.microsoft.com/office/drawing/2014/main" id="{38A0F738-942F-4F5E-B192-3ADF96F36B32}"/>
                </a:ext>
              </a:extLst>
            </p:cNvPr>
            <p:cNvGrpSpPr>
              <a:grpSpLocks noChangeAspect="1"/>
            </p:cNvGrpSpPr>
            <p:nvPr/>
          </p:nvGrpSpPr>
          <p:grpSpPr>
            <a:xfrm>
              <a:off x="5303045" y="4246249"/>
              <a:ext cx="252000" cy="252000"/>
              <a:chOff x="6242050" y="3001764"/>
              <a:chExt cx="190500" cy="190500"/>
            </a:xfrm>
            <a:solidFill>
              <a:schemeClr val="tx2"/>
            </a:solidFill>
          </p:grpSpPr>
          <p:sp>
            <p:nvSpPr>
              <p:cNvPr id="369" name="Freeform 866">
                <a:extLst>
                  <a:ext uri="{FF2B5EF4-FFF2-40B4-BE49-F238E27FC236}">
                    <a16:creationId xmlns:a16="http://schemas.microsoft.com/office/drawing/2014/main" id="{FDC11CB9-673E-439B-9B04-0B2C115D6CD4}"/>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0" name="Freeform 867">
                <a:extLst>
                  <a:ext uri="{FF2B5EF4-FFF2-40B4-BE49-F238E27FC236}">
                    <a16:creationId xmlns:a16="http://schemas.microsoft.com/office/drawing/2014/main" id="{8E96E7B5-0CF1-4DD7-A183-B77B13A26B90}"/>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48" name="Group 9173">
              <a:extLst>
                <a:ext uri="{FF2B5EF4-FFF2-40B4-BE49-F238E27FC236}">
                  <a16:creationId xmlns:a16="http://schemas.microsoft.com/office/drawing/2014/main" id="{7FFDBA82-23C2-4D2D-B9B5-DB7E5ACA66B8}"/>
                </a:ext>
              </a:extLst>
            </p:cNvPr>
            <p:cNvGrpSpPr>
              <a:grpSpLocks noChangeAspect="1"/>
            </p:cNvGrpSpPr>
            <p:nvPr/>
          </p:nvGrpSpPr>
          <p:grpSpPr>
            <a:xfrm>
              <a:off x="5582752" y="4246249"/>
              <a:ext cx="252000" cy="252000"/>
              <a:chOff x="6242050" y="3001764"/>
              <a:chExt cx="190500" cy="190500"/>
            </a:xfrm>
            <a:solidFill>
              <a:schemeClr val="bg2">
                <a:lumMod val="20000"/>
                <a:lumOff val="80000"/>
              </a:schemeClr>
            </a:solidFill>
          </p:grpSpPr>
          <p:sp>
            <p:nvSpPr>
              <p:cNvPr id="367" name="Freeform 866">
                <a:extLst>
                  <a:ext uri="{FF2B5EF4-FFF2-40B4-BE49-F238E27FC236}">
                    <a16:creationId xmlns:a16="http://schemas.microsoft.com/office/drawing/2014/main" id="{5F797CB9-3DC2-4FD7-A547-8247B843B81F}"/>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8" name="Freeform 867">
                <a:extLst>
                  <a:ext uri="{FF2B5EF4-FFF2-40B4-BE49-F238E27FC236}">
                    <a16:creationId xmlns:a16="http://schemas.microsoft.com/office/drawing/2014/main" id="{26EA1C22-931F-43E3-9876-BD8F1484B145}"/>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49" name="Group 9173">
              <a:extLst>
                <a:ext uri="{FF2B5EF4-FFF2-40B4-BE49-F238E27FC236}">
                  <a16:creationId xmlns:a16="http://schemas.microsoft.com/office/drawing/2014/main" id="{C4093191-F329-4206-AC6B-AAB71991DC04}"/>
                </a:ext>
              </a:extLst>
            </p:cNvPr>
            <p:cNvGrpSpPr>
              <a:grpSpLocks noChangeAspect="1"/>
            </p:cNvGrpSpPr>
            <p:nvPr/>
          </p:nvGrpSpPr>
          <p:grpSpPr>
            <a:xfrm>
              <a:off x="5862459" y="4246249"/>
              <a:ext cx="252000" cy="252000"/>
              <a:chOff x="6242050" y="3001764"/>
              <a:chExt cx="190500" cy="190500"/>
            </a:xfrm>
            <a:solidFill>
              <a:schemeClr val="bg2">
                <a:lumMod val="20000"/>
                <a:lumOff val="80000"/>
              </a:schemeClr>
            </a:solidFill>
          </p:grpSpPr>
          <p:sp>
            <p:nvSpPr>
              <p:cNvPr id="365" name="Freeform 866">
                <a:extLst>
                  <a:ext uri="{FF2B5EF4-FFF2-40B4-BE49-F238E27FC236}">
                    <a16:creationId xmlns:a16="http://schemas.microsoft.com/office/drawing/2014/main" id="{03AD06A5-FE7E-4614-93FC-3CBCA76170CB}"/>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6" name="Freeform 867">
                <a:extLst>
                  <a:ext uri="{FF2B5EF4-FFF2-40B4-BE49-F238E27FC236}">
                    <a16:creationId xmlns:a16="http://schemas.microsoft.com/office/drawing/2014/main" id="{203A6949-BBDD-4A8C-B61D-D27910C90D7E}"/>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50" name="Group 9173">
              <a:extLst>
                <a:ext uri="{FF2B5EF4-FFF2-40B4-BE49-F238E27FC236}">
                  <a16:creationId xmlns:a16="http://schemas.microsoft.com/office/drawing/2014/main" id="{B43B16A9-ECE2-4681-BEA3-F26A9688C4D3}"/>
                </a:ext>
              </a:extLst>
            </p:cNvPr>
            <p:cNvGrpSpPr>
              <a:grpSpLocks noChangeAspect="1"/>
            </p:cNvGrpSpPr>
            <p:nvPr/>
          </p:nvGrpSpPr>
          <p:grpSpPr>
            <a:xfrm>
              <a:off x="6142165" y="4246249"/>
              <a:ext cx="252000" cy="252000"/>
              <a:chOff x="6242050" y="3001764"/>
              <a:chExt cx="190500" cy="190500"/>
            </a:xfrm>
            <a:solidFill>
              <a:schemeClr val="bg2">
                <a:lumMod val="20000"/>
                <a:lumOff val="80000"/>
              </a:schemeClr>
            </a:solidFill>
          </p:grpSpPr>
          <p:sp>
            <p:nvSpPr>
              <p:cNvPr id="363" name="Freeform 866">
                <a:extLst>
                  <a:ext uri="{FF2B5EF4-FFF2-40B4-BE49-F238E27FC236}">
                    <a16:creationId xmlns:a16="http://schemas.microsoft.com/office/drawing/2014/main" id="{8B0B5ECA-D519-4DAE-850B-1BE690EC5C22}"/>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4" name="Freeform 867">
                <a:extLst>
                  <a:ext uri="{FF2B5EF4-FFF2-40B4-BE49-F238E27FC236}">
                    <a16:creationId xmlns:a16="http://schemas.microsoft.com/office/drawing/2014/main" id="{F0EEF845-8E31-42AA-B8E2-38F0BB90EF52}"/>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9" name="Group 8">
            <a:extLst>
              <a:ext uri="{FF2B5EF4-FFF2-40B4-BE49-F238E27FC236}">
                <a16:creationId xmlns:a16="http://schemas.microsoft.com/office/drawing/2014/main" id="{D5759D79-C318-4D95-AB0C-7575308BA1E9}"/>
              </a:ext>
            </a:extLst>
          </p:cNvPr>
          <p:cNvGrpSpPr/>
          <p:nvPr/>
        </p:nvGrpSpPr>
        <p:grpSpPr>
          <a:xfrm>
            <a:off x="6843621" y="1535521"/>
            <a:ext cx="1091120" cy="252000"/>
            <a:chOff x="6843621" y="1538103"/>
            <a:chExt cx="1091120" cy="252000"/>
          </a:xfrm>
        </p:grpSpPr>
        <p:grpSp>
          <p:nvGrpSpPr>
            <p:cNvPr id="217" name="Group 9173">
              <a:extLst>
                <a:ext uri="{FF2B5EF4-FFF2-40B4-BE49-F238E27FC236}">
                  <a16:creationId xmlns:a16="http://schemas.microsoft.com/office/drawing/2014/main" id="{6E39CA84-D469-4B02-AD6D-75D65F01B38C}"/>
                </a:ext>
              </a:extLst>
            </p:cNvPr>
            <p:cNvGrpSpPr>
              <a:grpSpLocks noChangeAspect="1"/>
            </p:cNvGrpSpPr>
            <p:nvPr/>
          </p:nvGrpSpPr>
          <p:grpSpPr>
            <a:xfrm>
              <a:off x="6843621" y="1538103"/>
              <a:ext cx="252000" cy="252000"/>
              <a:chOff x="6242050" y="3001764"/>
              <a:chExt cx="190500" cy="190500"/>
            </a:xfrm>
            <a:solidFill>
              <a:schemeClr val="tx2"/>
            </a:solidFill>
          </p:grpSpPr>
          <p:sp>
            <p:nvSpPr>
              <p:cNvPr id="218" name="Freeform 866">
                <a:extLst>
                  <a:ext uri="{FF2B5EF4-FFF2-40B4-BE49-F238E27FC236}">
                    <a16:creationId xmlns:a16="http://schemas.microsoft.com/office/drawing/2014/main" id="{41050FB5-5962-4DDA-9FAB-D4B022CA95AC}"/>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9" name="Freeform 867">
                <a:extLst>
                  <a:ext uri="{FF2B5EF4-FFF2-40B4-BE49-F238E27FC236}">
                    <a16:creationId xmlns:a16="http://schemas.microsoft.com/office/drawing/2014/main" id="{2B58B61D-CCF3-4F74-9212-64A7C75FB960}"/>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0" name="Group 9173">
              <a:extLst>
                <a:ext uri="{FF2B5EF4-FFF2-40B4-BE49-F238E27FC236}">
                  <a16:creationId xmlns:a16="http://schemas.microsoft.com/office/drawing/2014/main" id="{D6883D64-65EF-4920-AD42-CF539633A3C7}"/>
                </a:ext>
              </a:extLst>
            </p:cNvPr>
            <p:cNvGrpSpPr>
              <a:grpSpLocks noChangeAspect="1"/>
            </p:cNvGrpSpPr>
            <p:nvPr/>
          </p:nvGrpSpPr>
          <p:grpSpPr>
            <a:xfrm>
              <a:off x="7123328" y="1538103"/>
              <a:ext cx="252000" cy="252000"/>
              <a:chOff x="6242050" y="3001764"/>
              <a:chExt cx="190500" cy="190500"/>
            </a:xfrm>
            <a:solidFill>
              <a:schemeClr val="bg2">
                <a:lumMod val="20000"/>
                <a:lumOff val="80000"/>
              </a:schemeClr>
            </a:solidFill>
          </p:grpSpPr>
          <p:sp>
            <p:nvSpPr>
              <p:cNvPr id="221" name="Freeform 866">
                <a:extLst>
                  <a:ext uri="{FF2B5EF4-FFF2-40B4-BE49-F238E27FC236}">
                    <a16:creationId xmlns:a16="http://schemas.microsoft.com/office/drawing/2014/main" id="{89C3E5DD-369F-4D33-9D9B-CD813D3751A4}"/>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2" name="Freeform 867">
                <a:extLst>
                  <a:ext uri="{FF2B5EF4-FFF2-40B4-BE49-F238E27FC236}">
                    <a16:creationId xmlns:a16="http://schemas.microsoft.com/office/drawing/2014/main" id="{56FF54E1-D1DB-4F45-A7F8-58B481F114E5}"/>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3" name="Group 9173">
              <a:extLst>
                <a:ext uri="{FF2B5EF4-FFF2-40B4-BE49-F238E27FC236}">
                  <a16:creationId xmlns:a16="http://schemas.microsoft.com/office/drawing/2014/main" id="{925AEA25-E288-489F-ADFD-685FA3CAECED}"/>
                </a:ext>
              </a:extLst>
            </p:cNvPr>
            <p:cNvGrpSpPr>
              <a:grpSpLocks noChangeAspect="1"/>
            </p:cNvGrpSpPr>
            <p:nvPr/>
          </p:nvGrpSpPr>
          <p:grpSpPr>
            <a:xfrm>
              <a:off x="7403035" y="1538103"/>
              <a:ext cx="252000" cy="252000"/>
              <a:chOff x="6242050" y="3001764"/>
              <a:chExt cx="190500" cy="190500"/>
            </a:xfrm>
            <a:solidFill>
              <a:schemeClr val="bg2">
                <a:lumMod val="20000"/>
                <a:lumOff val="80000"/>
              </a:schemeClr>
            </a:solidFill>
          </p:grpSpPr>
          <p:sp>
            <p:nvSpPr>
              <p:cNvPr id="224" name="Freeform 866">
                <a:extLst>
                  <a:ext uri="{FF2B5EF4-FFF2-40B4-BE49-F238E27FC236}">
                    <a16:creationId xmlns:a16="http://schemas.microsoft.com/office/drawing/2014/main" id="{DB2C9C48-D16A-4E08-99D1-8F7759394662}"/>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5" name="Freeform 867">
                <a:extLst>
                  <a:ext uri="{FF2B5EF4-FFF2-40B4-BE49-F238E27FC236}">
                    <a16:creationId xmlns:a16="http://schemas.microsoft.com/office/drawing/2014/main" id="{495AB94C-3E3A-43BB-AC0B-EB8A1F161E53}"/>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6" name="Group 9173">
              <a:extLst>
                <a:ext uri="{FF2B5EF4-FFF2-40B4-BE49-F238E27FC236}">
                  <a16:creationId xmlns:a16="http://schemas.microsoft.com/office/drawing/2014/main" id="{FCAC4A2B-3A08-40EE-B4BE-61B5AD9470B3}"/>
                </a:ext>
              </a:extLst>
            </p:cNvPr>
            <p:cNvGrpSpPr>
              <a:grpSpLocks noChangeAspect="1"/>
            </p:cNvGrpSpPr>
            <p:nvPr/>
          </p:nvGrpSpPr>
          <p:grpSpPr>
            <a:xfrm>
              <a:off x="7682741" y="1538103"/>
              <a:ext cx="252000" cy="252000"/>
              <a:chOff x="6242050" y="3001764"/>
              <a:chExt cx="190500" cy="190500"/>
            </a:xfrm>
            <a:solidFill>
              <a:schemeClr val="bg2">
                <a:lumMod val="20000"/>
                <a:lumOff val="80000"/>
              </a:schemeClr>
            </a:solidFill>
          </p:grpSpPr>
          <p:sp>
            <p:nvSpPr>
              <p:cNvPr id="227" name="Freeform 866">
                <a:extLst>
                  <a:ext uri="{FF2B5EF4-FFF2-40B4-BE49-F238E27FC236}">
                    <a16:creationId xmlns:a16="http://schemas.microsoft.com/office/drawing/2014/main" id="{126AA2E6-223B-438F-A81F-D506B0D2A3A1}"/>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8" name="Freeform 867">
                <a:extLst>
                  <a:ext uri="{FF2B5EF4-FFF2-40B4-BE49-F238E27FC236}">
                    <a16:creationId xmlns:a16="http://schemas.microsoft.com/office/drawing/2014/main" id="{094F1EEA-4A82-4889-B586-2482F583E671}"/>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7" name="Group 26">
            <a:extLst>
              <a:ext uri="{FF2B5EF4-FFF2-40B4-BE49-F238E27FC236}">
                <a16:creationId xmlns:a16="http://schemas.microsoft.com/office/drawing/2014/main" id="{CA03D06F-7835-4203-B22E-312A62EDF36A}"/>
              </a:ext>
            </a:extLst>
          </p:cNvPr>
          <p:cNvGrpSpPr/>
          <p:nvPr/>
        </p:nvGrpSpPr>
        <p:grpSpPr>
          <a:xfrm>
            <a:off x="6847054" y="2916735"/>
            <a:ext cx="1091120" cy="252000"/>
            <a:chOff x="6847054" y="2922123"/>
            <a:chExt cx="1091120" cy="252000"/>
          </a:xfrm>
        </p:grpSpPr>
        <p:grpSp>
          <p:nvGrpSpPr>
            <p:cNvPr id="253" name="Group 9173">
              <a:extLst>
                <a:ext uri="{FF2B5EF4-FFF2-40B4-BE49-F238E27FC236}">
                  <a16:creationId xmlns:a16="http://schemas.microsoft.com/office/drawing/2014/main" id="{BEC26DF9-9623-4A4C-81FB-26ADB5835A93}"/>
                </a:ext>
              </a:extLst>
            </p:cNvPr>
            <p:cNvGrpSpPr>
              <a:grpSpLocks noChangeAspect="1"/>
            </p:cNvGrpSpPr>
            <p:nvPr/>
          </p:nvGrpSpPr>
          <p:grpSpPr>
            <a:xfrm>
              <a:off x="6847054" y="2922123"/>
              <a:ext cx="252000" cy="252000"/>
              <a:chOff x="6242050" y="3001764"/>
              <a:chExt cx="190500" cy="190500"/>
            </a:xfrm>
            <a:solidFill>
              <a:schemeClr val="tx2"/>
            </a:solidFill>
          </p:grpSpPr>
          <p:sp>
            <p:nvSpPr>
              <p:cNvPr id="254" name="Freeform 866">
                <a:extLst>
                  <a:ext uri="{FF2B5EF4-FFF2-40B4-BE49-F238E27FC236}">
                    <a16:creationId xmlns:a16="http://schemas.microsoft.com/office/drawing/2014/main" id="{90068BA2-4CEB-470E-9F7D-6A2C589B31C6}"/>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5" name="Freeform 867">
                <a:extLst>
                  <a:ext uri="{FF2B5EF4-FFF2-40B4-BE49-F238E27FC236}">
                    <a16:creationId xmlns:a16="http://schemas.microsoft.com/office/drawing/2014/main" id="{72FD3BF7-C74D-4381-91C7-C059EDC0FDC0}"/>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6" name="Group 9173">
              <a:extLst>
                <a:ext uri="{FF2B5EF4-FFF2-40B4-BE49-F238E27FC236}">
                  <a16:creationId xmlns:a16="http://schemas.microsoft.com/office/drawing/2014/main" id="{9189BEAE-D7BA-45CF-B39E-77288E398216}"/>
                </a:ext>
              </a:extLst>
            </p:cNvPr>
            <p:cNvGrpSpPr>
              <a:grpSpLocks noChangeAspect="1"/>
            </p:cNvGrpSpPr>
            <p:nvPr/>
          </p:nvGrpSpPr>
          <p:grpSpPr>
            <a:xfrm>
              <a:off x="7126761" y="2922123"/>
              <a:ext cx="252000" cy="252000"/>
              <a:chOff x="6242050" y="3001764"/>
              <a:chExt cx="190500" cy="190500"/>
            </a:xfrm>
            <a:solidFill>
              <a:schemeClr val="tx2"/>
            </a:solidFill>
          </p:grpSpPr>
          <p:sp>
            <p:nvSpPr>
              <p:cNvPr id="257" name="Freeform 866">
                <a:extLst>
                  <a:ext uri="{FF2B5EF4-FFF2-40B4-BE49-F238E27FC236}">
                    <a16:creationId xmlns:a16="http://schemas.microsoft.com/office/drawing/2014/main" id="{307D3B45-7C46-4776-9659-C9F197D79C09}"/>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8" name="Freeform 867">
                <a:extLst>
                  <a:ext uri="{FF2B5EF4-FFF2-40B4-BE49-F238E27FC236}">
                    <a16:creationId xmlns:a16="http://schemas.microsoft.com/office/drawing/2014/main" id="{6F3A0083-305C-4AAD-B739-E673625FD7B4}"/>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9" name="Group 9173">
              <a:extLst>
                <a:ext uri="{FF2B5EF4-FFF2-40B4-BE49-F238E27FC236}">
                  <a16:creationId xmlns:a16="http://schemas.microsoft.com/office/drawing/2014/main" id="{04F2439C-880B-471A-A9A6-A57DDAD5C6AC}"/>
                </a:ext>
              </a:extLst>
            </p:cNvPr>
            <p:cNvGrpSpPr>
              <a:grpSpLocks noChangeAspect="1"/>
            </p:cNvGrpSpPr>
            <p:nvPr/>
          </p:nvGrpSpPr>
          <p:grpSpPr>
            <a:xfrm>
              <a:off x="7406468" y="2922123"/>
              <a:ext cx="252000" cy="252000"/>
              <a:chOff x="6242050" y="3001764"/>
              <a:chExt cx="190500" cy="190500"/>
            </a:xfrm>
            <a:solidFill>
              <a:schemeClr val="bg2">
                <a:lumMod val="20000"/>
                <a:lumOff val="80000"/>
              </a:schemeClr>
            </a:solidFill>
          </p:grpSpPr>
          <p:sp>
            <p:nvSpPr>
              <p:cNvPr id="260" name="Freeform 866">
                <a:extLst>
                  <a:ext uri="{FF2B5EF4-FFF2-40B4-BE49-F238E27FC236}">
                    <a16:creationId xmlns:a16="http://schemas.microsoft.com/office/drawing/2014/main" id="{CA111613-F602-4894-BC08-5856D0A1426C}"/>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1" name="Freeform 867">
                <a:extLst>
                  <a:ext uri="{FF2B5EF4-FFF2-40B4-BE49-F238E27FC236}">
                    <a16:creationId xmlns:a16="http://schemas.microsoft.com/office/drawing/2014/main" id="{F0E6DA4A-7456-4D72-8D61-940B29851A5E}"/>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62" name="Group 9173">
              <a:extLst>
                <a:ext uri="{FF2B5EF4-FFF2-40B4-BE49-F238E27FC236}">
                  <a16:creationId xmlns:a16="http://schemas.microsoft.com/office/drawing/2014/main" id="{E8CC660D-CAD3-49D1-9458-328F3A86D10F}"/>
                </a:ext>
              </a:extLst>
            </p:cNvPr>
            <p:cNvGrpSpPr>
              <a:grpSpLocks noChangeAspect="1"/>
            </p:cNvGrpSpPr>
            <p:nvPr/>
          </p:nvGrpSpPr>
          <p:grpSpPr>
            <a:xfrm>
              <a:off x="7686174" y="2922123"/>
              <a:ext cx="252000" cy="252000"/>
              <a:chOff x="6242050" y="3001764"/>
              <a:chExt cx="190500" cy="190500"/>
            </a:xfrm>
            <a:solidFill>
              <a:schemeClr val="bg2">
                <a:lumMod val="20000"/>
                <a:lumOff val="80000"/>
              </a:schemeClr>
            </a:solidFill>
          </p:grpSpPr>
          <p:sp>
            <p:nvSpPr>
              <p:cNvPr id="263" name="Freeform 866">
                <a:extLst>
                  <a:ext uri="{FF2B5EF4-FFF2-40B4-BE49-F238E27FC236}">
                    <a16:creationId xmlns:a16="http://schemas.microsoft.com/office/drawing/2014/main" id="{9DEB2D1B-66AF-4F1D-985B-21558CA2AD18}"/>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4" name="Freeform 867">
                <a:extLst>
                  <a:ext uri="{FF2B5EF4-FFF2-40B4-BE49-F238E27FC236}">
                    <a16:creationId xmlns:a16="http://schemas.microsoft.com/office/drawing/2014/main" id="{805F6042-219A-4E83-8E2F-66A76207F8F9}"/>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2" name="Group 21">
            <a:extLst>
              <a:ext uri="{FF2B5EF4-FFF2-40B4-BE49-F238E27FC236}">
                <a16:creationId xmlns:a16="http://schemas.microsoft.com/office/drawing/2014/main" id="{068453BE-55A9-44FA-A4B7-5CE95B255CC0}"/>
              </a:ext>
            </a:extLst>
          </p:cNvPr>
          <p:cNvGrpSpPr/>
          <p:nvPr/>
        </p:nvGrpSpPr>
        <p:grpSpPr>
          <a:xfrm>
            <a:off x="6801621" y="5167748"/>
            <a:ext cx="1091120" cy="252000"/>
            <a:chOff x="6801621" y="5167748"/>
            <a:chExt cx="1091120" cy="252000"/>
          </a:xfrm>
        </p:grpSpPr>
        <p:grpSp>
          <p:nvGrpSpPr>
            <p:cNvPr id="313" name="Group 9173">
              <a:extLst>
                <a:ext uri="{FF2B5EF4-FFF2-40B4-BE49-F238E27FC236}">
                  <a16:creationId xmlns:a16="http://schemas.microsoft.com/office/drawing/2014/main" id="{780254ED-5AC6-416A-86A2-9795D6FD1310}"/>
                </a:ext>
              </a:extLst>
            </p:cNvPr>
            <p:cNvGrpSpPr>
              <a:grpSpLocks noChangeAspect="1"/>
            </p:cNvGrpSpPr>
            <p:nvPr/>
          </p:nvGrpSpPr>
          <p:grpSpPr>
            <a:xfrm>
              <a:off x="6801621" y="5167748"/>
              <a:ext cx="252000" cy="252000"/>
              <a:chOff x="6242050" y="3001764"/>
              <a:chExt cx="190500" cy="190500"/>
            </a:xfrm>
            <a:solidFill>
              <a:schemeClr val="tx2"/>
            </a:solidFill>
          </p:grpSpPr>
          <p:sp>
            <p:nvSpPr>
              <p:cNvPr id="314" name="Freeform 866">
                <a:extLst>
                  <a:ext uri="{FF2B5EF4-FFF2-40B4-BE49-F238E27FC236}">
                    <a16:creationId xmlns:a16="http://schemas.microsoft.com/office/drawing/2014/main" id="{3DC2A8DE-38FB-4EEE-9F07-26CA95FCE016}"/>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5" name="Freeform 867">
                <a:extLst>
                  <a:ext uri="{FF2B5EF4-FFF2-40B4-BE49-F238E27FC236}">
                    <a16:creationId xmlns:a16="http://schemas.microsoft.com/office/drawing/2014/main" id="{A2FC5834-4744-4DDF-8C2B-15C1EC847FD2}"/>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6" name="Group 9173">
              <a:extLst>
                <a:ext uri="{FF2B5EF4-FFF2-40B4-BE49-F238E27FC236}">
                  <a16:creationId xmlns:a16="http://schemas.microsoft.com/office/drawing/2014/main" id="{29362786-9370-4543-B92B-8CE82665B948}"/>
                </a:ext>
              </a:extLst>
            </p:cNvPr>
            <p:cNvGrpSpPr>
              <a:grpSpLocks noChangeAspect="1"/>
            </p:cNvGrpSpPr>
            <p:nvPr/>
          </p:nvGrpSpPr>
          <p:grpSpPr>
            <a:xfrm>
              <a:off x="7081328" y="5167748"/>
              <a:ext cx="252000" cy="252000"/>
              <a:chOff x="6242050" y="3001764"/>
              <a:chExt cx="190500" cy="190500"/>
            </a:xfrm>
            <a:solidFill>
              <a:schemeClr val="tx2"/>
            </a:solidFill>
          </p:grpSpPr>
          <p:sp>
            <p:nvSpPr>
              <p:cNvPr id="317" name="Freeform 866">
                <a:extLst>
                  <a:ext uri="{FF2B5EF4-FFF2-40B4-BE49-F238E27FC236}">
                    <a16:creationId xmlns:a16="http://schemas.microsoft.com/office/drawing/2014/main" id="{63697864-2897-4A63-B747-C2D18B6E1E6A}"/>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8" name="Freeform 867">
                <a:extLst>
                  <a:ext uri="{FF2B5EF4-FFF2-40B4-BE49-F238E27FC236}">
                    <a16:creationId xmlns:a16="http://schemas.microsoft.com/office/drawing/2014/main" id="{F7379B06-9588-4D15-9FC2-3D5A5FF50C47}"/>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9" name="Group 9173">
              <a:extLst>
                <a:ext uri="{FF2B5EF4-FFF2-40B4-BE49-F238E27FC236}">
                  <a16:creationId xmlns:a16="http://schemas.microsoft.com/office/drawing/2014/main" id="{FE90AF79-57D6-46FF-BE36-B6514F988339}"/>
                </a:ext>
              </a:extLst>
            </p:cNvPr>
            <p:cNvGrpSpPr>
              <a:grpSpLocks noChangeAspect="1"/>
            </p:cNvGrpSpPr>
            <p:nvPr/>
          </p:nvGrpSpPr>
          <p:grpSpPr>
            <a:xfrm>
              <a:off x="7361035" y="5167748"/>
              <a:ext cx="252000" cy="252000"/>
              <a:chOff x="6242050" y="3001764"/>
              <a:chExt cx="190500" cy="190500"/>
            </a:xfrm>
            <a:solidFill>
              <a:schemeClr val="tx2"/>
            </a:solidFill>
          </p:grpSpPr>
          <p:sp>
            <p:nvSpPr>
              <p:cNvPr id="320" name="Freeform 866">
                <a:extLst>
                  <a:ext uri="{FF2B5EF4-FFF2-40B4-BE49-F238E27FC236}">
                    <a16:creationId xmlns:a16="http://schemas.microsoft.com/office/drawing/2014/main" id="{F77DE3EF-1456-4645-BACF-4BEFB05F7BF4}"/>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1" name="Freeform 867">
                <a:extLst>
                  <a:ext uri="{FF2B5EF4-FFF2-40B4-BE49-F238E27FC236}">
                    <a16:creationId xmlns:a16="http://schemas.microsoft.com/office/drawing/2014/main" id="{B994CD87-CD15-41BA-A66C-F42D049E02BD}"/>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22" name="Group 9173">
              <a:extLst>
                <a:ext uri="{FF2B5EF4-FFF2-40B4-BE49-F238E27FC236}">
                  <a16:creationId xmlns:a16="http://schemas.microsoft.com/office/drawing/2014/main" id="{005F89AB-4B63-4135-A63C-A9CC66BE0401}"/>
                </a:ext>
              </a:extLst>
            </p:cNvPr>
            <p:cNvGrpSpPr>
              <a:grpSpLocks noChangeAspect="1"/>
            </p:cNvGrpSpPr>
            <p:nvPr/>
          </p:nvGrpSpPr>
          <p:grpSpPr>
            <a:xfrm>
              <a:off x="7640741" y="5167748"/>
              <a:ext cx="252000" cy="252000"/>
              <a:chOff x="6242050" y="3001764"/>
              <a:chExt cx="190500" cy="190500"/>
            </a:xfrm>
            <a:solidFill>
              <a:schemeClr val="bg2">
                <a:lumMod val="20000"/>
                <a:lumOff val="80000"/>
              </a:schemeClr>
            </a:solidFill>
          </p:grpSpPr>
          <p:sp>
            <p:nvSpPr>
              <p:cNvPr id="323" name="Freeform 866">
                <a:extLst>
                  <a:ext uri="{FF2B5EF4-FFF2-40B4-BE49-F238E27FC236}">
                    <a16:creationId xmlns:a16="http://schemas.microsoft.com/office/drawing/2014/main" id="{0E18B640-016F-445F-853E-E78BEEB9E231}"/>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4" name="Freeform 867">
                <a:extLst>
                  <a:ext uri="{FF2B5EF4-FFF2-40B4-BE49-F238E27FC236}">
                    <a16:creationId xmlns:a16="http://schemas.microsoft.com/office/drawing/2014/main" id="{B99F0E86-29DE-4746-BBAC-3F191A76728C}"/>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5" name="Group 24">
            <a:extLst>
              <a:ext uri="{FF2B5EF4-FFF2-40B4-BE49-F238E27FC236}">
                <a16:creationId xmlns:a16="http://schemas.microsoft.com/office/drawing/2014/main" id="{5CAC41E0-22BC-4112-BAD4-61E6B6A38D01}"/>
              </a:ext>
            </a:extLst>
          </p:cNvPr>
          <p:cNvGrpSpPr/>
          <p:nvPr/>
        </p:nvGrpSpPr>
        <p:grpSpPr>
          <a:xfrm>
            <a:off x="6795205" y="3806444"/>
            <a:ext cx="1091120" cy="252000"/>
            <a:chOff x="6795205" y="3787374"/>
            <a:chExt cx="1091120" cy="252000"/>
          </a:xfrm>
        </p:grpSpPr>
        <p:grpSp>
          <p:nvGrpSpPr>
            <p:cNvPr id="325" name="Group 9173">
              <a:extLst>
                <a:ext uri="{FF2B5EF4-FFF2-40B4-BE49-F238E27FC236}">
                  <a16:creationId xmlns:a16="http://schemas.microsoft.com/office/drawing/2014/main" id="{FB732BDE-D1D3-4037-9F58-F26FE577BD60}"/>
                </a:ext>
              </a:extLst>
            </p:cNvPr>
            <p:cNvGrpSpPr>
              <a:grpSpLocks noChangeAspect="1"/>
            </p:cNvGrpSpPr>
            <p:nvPr/>
          </p:nvGrpSpPr>
          <p:grpSpPr>
            <a:xfrm>
              <a:off x="6795205" y="3787374"/>
              <a:ext cx="252000" cy="252000"/>
              <a:chOff x="6242050" y="3001764"/>
              <a:chExt cx="190500" cy="190500"/>
            </a:xfrm>
            <a:solidFill>
              <a:schemeClr val="tx2"/>
            </a:solidFill>
          </p:grpSpPr>
          <p:sp>
            <p:nvSpPr>
              <p:cNvPr id="326" name="Freeform 866">
                <a:extLst>
                  <a:ext uri="{FF2B5EF4-FFF2-40B4-BE49-F238E27FC236}">
                    <a16:creationId xmlns:a16="http://schemas.microsoft.com/office/drawing/2014/main" id="{1DD2752F-D101-4A0D-BEDE-84BF203C2740}"/>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7" name="Freeform 867">
                <a:extLst>
                  <a:ext uri="{FF2B5EF4-FFF2-40B4-BE49-F238E27FC236}">
                    <a16:creationId xmlns:a16="http://schemas.microsoft.com/office/drawing/2014/main" id="{3FF5748D-8E73-4F04-BDEC-6F48A9AFD6A6}"/>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28" name="Group 9173">
              <a:extLst>
                <a:ext uri="{FF2B5EF4-FFF2-40B4-BE49-F238E27FC236}">
                  <a16:creationId xmlns:a16="http://schemas.microsoft.com/office/drawing/2014/main" id="{9B2EF454-DEDC-4885-B0AF-F81B1B5BCC3F}"/>
                </a:ext>
              </a:extLst>
            </p:cNvPr>
            <p:cNvGrpSpPr>
              <a:grpSpLocks noChangeAspect="1"/>
            </p:cNvGrpSpPr>
            <p:nvPr/>
          </p:nvGrpSpPr>
          <p:grpSpPr>
            <a:xfrm>
              <a:off x="7074912" y="3787374"/>
              <a:ext cx="252000" cy="252000"/>
              <a:chOff x="6242050" y="3001764"/>
              <a:chExt cx="190500" cy="190500"/>
            </a:xfrm>
            <a:solidFill>
              <a:schemeClr val="tx2"/>
            </a:solidFill>
          </p:grpSpPr>
          <p:sp>
            <p:nvSpPr>
              <p:cNvPr id="329" name="Freeform 866">
                <a:extLst>
                  <a:ext uri="{FF2B5EF4-FFF2-40B4-BE49-F238E27FC236}">
                    <a16:creationId xmlns:a16="http://schemas.microsoft.com/office/drawing/2014/main" id="{1A8B2A2E-0125-455C-9E89-76329C544ECC}"/>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0" name="Freeform 867">
                <a:extLst>
                  <a:ext uri="{FF2B5EF4-FFF2-40B4-BE49-F238E27FC236}">
                    <a16:creationId xmlns:a16="http://schemas.microsoft.com/office/drawing/2014/main" id="{53E88764-4A35-4263-965F-4F353EAF85E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1" name="Group 9173">
              <a:extLst>
                <a:ext uri="{FF2B5EF4-FFF2-40B4-BE49-F238E27FC236}">
                  <a16:creationId xmlns:a16="http://schemas.microsoft.com/office/drawing/2014/main" id="{E63E8927-3766-42E4-A4DF-A70E92386FAC}"/>
                </a:ext>
              </a:extLst>
            </p:cNvPr>
            <p:cNvGrpSpPr>
              <a:grpSpLocks noChangeAspect="1"/>
            </p:cNvGrpSpPr>
            <p:nvPr/>
          </p:nvGrpSpPr>
          <p:grpSpPr>
            <a:xfrm>
              <a:off x="7354619" y="3787374"/>
              <a:ext cx="252000" cy="252000"/>
              <a:chOff x="6242050" y="3001764"/>
              <a:chExt cx="190500" cy="190500"/>
            </a:xfrm>
            <a:solidFill>
              <a:schemeClr val="tx2"/>
            </a:solidFill>
          </p:grpSpPr>
          <p:sp>
            <p:nvSpPr>
              <p:cNvPr id="332" name="Freeform 866">
                <a:extLst>
                  <a:ext uri="{FF2B5EF4-FFF2-40B4-BE49-F238E27FC236}">
                    <a16:creationId xmlns:a16="http://schemas.microsoft.com/office/drawing/2014/main" id="{39151A5A-5BF6-47FC-8F64-1508A59D2F31}"/>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3" name="Freeform 867">
                <a:extLst>
                  <a:ext uri="{FF2B5EF4-FFF2-40B4-BE49-F238E27FC236}">
                    <a16:creationId xmlns:a16="http://schemas.microsoft.com/office/drawing/2014/main" id="{A57A1463-7614-4389-B0A4-33002348A782}"/>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4" name="Group 9173">
              <a:extLst>
                <a:ext uri="{FF2B5EF4-FFF2-40B4-BE49-F238E27FC236}">
                  <a16:creationId xmlns:a16="http://schemas.microsoft.com/office/drawing/2014/main" id="{E3A833E0-CE71-4A57-9420-D6D103B6D812}"/>
                </a:ext>
              </a:extLst>
            </p:cNvPr>
            <p:cNvGrpSpPr>
              <a:grpSpLocks noChangeAspect="1"/>
            </p:cNvGrpSpPr>
            <p:nvPr/>
          </p:nvGrpSpPr>
          <p:grpSpPr>
            <a:xfrm>
              <a:off x="7634325" y="3787374"/>
              <a:ext cx="252000" cy="252000"/>
              <a:chOff x="6242050" y="3001764"/>
              <a:chExt cx="190500" cy="190500"/>
            </a:xfrm>
            <a:solidFill>
              <a:schemeClr val="bg2">
                <a:lumMod val="20000"/>
                <a:lumOff val="80000"/>
              </a:schemeClr>
            </a:solidFill>
          </p:grpSpPr>
          <p:sp>
            <p:nvSpPr>
              <p:cNvPr id="335" name="Freeform 866">
                <a:extLst>
                  <a:ext uri="{FF2B5EF4-FFF2-40B4-BE49-F238E27FC236}">
                    <a16:creationId xmlns:a16="http://schemas.microsoft.com/office/drawing/2014/main" id="{3B5600E8-D38B-46DE-B25A-46BE2ADC2823}"/>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6" name="Freeform 867">
                <a:extLst>
                  <a:ext uri="{FF2B5EF4-FFF2-40B4-BE49-F238E27FC236}">
                    <a16:creationId xmlns:a16="http://schemas.microsoft.com/office/drawing/2014/main" id="{D31EB198-5D3B-4C3C-B8A3-C3BE1EE88715}"/>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9" name="Group 28">
            <a:extLst>
              <a:ext uri="{FF2B5EF4-FFF2-40B4-BE49-F238E27FC236}">
                <a16:creationId xmlns:a16="http://schemas.microsoft.com/office/drawing/2014/main" id="{09885D74-74DB-44EB-85B1-19CA78F8FFC2}"/>
              </a:ext>
            </a:extLst>
          </p:cNvPr>
          <p:cNvGrpSpPr/>
          <p:nvPr/>
        </p:nvGrpSpPr>
        <p:grpSpPr>
          <a:xfrm>
            <a:off x="6800887" y="1923905"/>
            <a:ext cx="1173323" cy="361754"/>
            <a:chOff x="6800887" y="1910900"/>
            <a:chExt cx="1173323" cy="361754"/>
          </a:xfrm>
        </p:grpSpPr>
        <p:grpSp>
          <p:nvGrpSpPr>
            <p:cNvPr id="229" name="Group 9173">
              <a:extLst>
                <a:ext uri="{FF2B5EF4-FFF2-40B4-BE49-F238E27FC236}">
                  <a16:creationId xmlns:a16="http://schemas.microsoft.com/office/drawing/2014/main" id="{5CAD8B28-BA22-4BDB-A9A1-DBFCE388E4FE}"/>
                </a:ext>
              </a:extLst>
            </p:cNvPr>
            <p:cNvGrpSpPr>
              <a:grpSpLocks noChangeAspect="1"/>
            </p:cNvGrpSpPr>
            <p:nvPr/>
          </p:nvGrpSpPr>
          <p:grpSpPr>
            <a:xfrm>
              <a:off x="6843621" y="1967047"/>
              <a:ext cx="252000" cy="252000"/>
              <a:chOff x="6242050" y="3001764"/>
              <a:chExt cx="190500" cy="190500"/>
            </a:xfrm>
            <a:solidFill>
              <a:schemeClr val="tx2"/>
            </a:solidFill>
          </p:grpSpPr>
          <p:sp>
            <p:nvSpPr>
              <p:cNvPr id="230" name="Freeform 866">
                <a:extLst>
                  <a:ext uri="{FF2B5EF4-FFF2-40B4-BE49-F238E27FC236}">
                    <a16:creationId xmlns:a16="http://schemas.microsoft.com/office/drawing/2014/main" id="{A335D446-4525-4DE7-B3E0-82B23701A29A}"/>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1" name="Freeform 867">
                <a:extLst>
                  <a:ext uri="{FF2B5EF4-FFF2-40B4-BE49-F238E27FC236}">
                    <a16:creationId xmlns:a16="http://schemas.microsoft.com/office/drawing/2014/main" id="{3796981F-D110-415F-BADE-1DA2242CC994}"/>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2" name="Group 9173">
              <a:extLst>
                <a:ext uri="{FF2B5EF4-FFF2-40B4-BE49-F238E27FC236}">
                  <a16:creationId xmlns:a16="http://schemas.microsoft.com/office/drawing/2014/main" id="{ED63F912-080F-4BEF-AAFE-5D006C77DAAB}"/>
                </a:ext>
              </a:extLst>
            </p:cNvPr>
            <p:cNvGrpSpPr>
              <a:grpSpLocks noChangeAspect="1"/>
            </p:cNvGrpSpPr>
            <p:nvPr/>
          </p:nvGrpSpPr>
          <p:grpSpPr>
            <a:xfrm>
              <a:off x="7123328" y="1967047"/>
              <a:ext cx="252000" cy="252000"/>
              <a:chOff x="6242050" y="3001764"/>
              <a:chExt cx="190500" cy="190500"/>
            </a:xfrm>
            <a:solidFill>
              <a:schemeClr val="tx2"/>
            </a:solidFill>
          </p:grpSpPr>
          <p:sp>
            <p:nvSpPr>
              <p:cNvPr id="233" name="Freeform 866">
                <a:extLst>
                  <a:ext uri="{FF2B5EF4-FFF2-40B4-BE49-F238E27FC236}">
                    <a16:creationId xmlns:a16="http://schemas.microsoft.com/office/drawing/2014/main" id="{2A743EB2-35C0-4AB6-81E5-DE499C3CC83E}"/>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4" name="Freeform 867">
                <a:extLst>
                  <a:ext uri="{FF2B5EF4-FFF2-40B4-BE49-F238E27FC236}">
                    <a16:creationId xmlns:a16="http://schemas.microsoft.com/office/drawing/2014/main" id="{450DF001-A32C-4F4D-99FF-46687225D485}"/>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5" name="Group 9173">
              <a:extLst>
                <a:ext uri="{FF2B5EF4-FFF2-40B4-BE49-F238E27FC236}">
                  <a16:creationId xmlns:a16="http://schemas.microsoft.com/office/drawing/2014/main" id="{E905461E-3A36-4F57-A708-0F58943DF25B}"/>
                </a:ext>
              </a:extLst>
            </p:cNvPr>
            <p:cNvGrpSpPr>
              <a:grpSpLocks noChangeAspect="1"/>
            </p:cNvGrpSpPr>
            <p:nvPr/>
          </p:nvGrpSpPr>
          <p:grpSpPr>
            <a:xfrm>
              <a:off x="7403035" y="1967047"/>
              <a:ext cx="252000" cy="252000"/>
              <a:chOff x="6242050" y="3001764"/>
              <a:chExt cx="190500" cy="190500"/>
            </a:xfrm>
            <a:solidFill>
              <a:schemeClr val="tx2"/>
            </a:solidFill>
          </p:grpSpPr>
          <p:sp>
            <p:nvSpPr>
              <p:cNvPr id="236" name="Freeform 866">
                <a:extLst>
                  <a:ext uri="{FF2B5EF4-FFF2-40B4-BE49-F238E27FC236}">
                    <a16:creationId xmlns:a16="http://schemas.microsoft.com/office/drawing/2014/main" id="{FFC444A5-A925-4CDD-B676-82397CD78C72}"/>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7" name="Freeform 867">
                <a:extLst>
                  <a:ext uri="{FF2B5EF4-FFF2-40B4-BE49-F238E27FC236}">
                    <a16:creationId xmlns:a16="http://schemas.microsoft.com/office/drawing/2014/main" id="{6D635555-BA4A-487F-91A1-2FF92FDFCEBC}"/>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8" name="Group 9173">
              <a:extLst>
                <a:ext uri="{FF2B5EF4-FFF2-40B4-BE49-F238E27FC236}">
                  <a16:creationId xmlns:a16="http://schemas.microsoft.com/office/drawing/2014/main" id="{AA056216-2A45-47B5-BA2B-258E40822B30}"/>
                </a:ext>
              </a:extLst>
            </p:cNvPr>
            <p:cNvGrpSpPr>
              <a:grpSpLocks noChangeAspect="1"/>
            </p:cNvGrpSpPr>
            <p:nvPr/>
          </p:nvGrpSpPr>
          <p:grpSpPr>
            <a:xfrm>
              <a:off x="7682741" y="1967047"/>
              <a:ext cx="252000" cy="252000"/>
              <a:chOff x="6242050" y="3001764"/>
              <a:chExt cx="190500" cy="190500"/>
            </a:xfrm>
            <a:solidFill>
              <a:schemeClr val="tx2"/>
            </a:solidFill>
          </p:grpSpPr>
          <p:sp>
            <p:nvSpPr>
              <p:cNvPr id="239" name="Freeform 866">
                <a:extLst>
                  <a:ext uri="{FF2B5EF4-FFF2-40B4-BE49-F238E27FC236}">
                    <a16:creationId xmlns:a16="http://schemas.microsoft.com/office/drawing/2014/main" id="{E789C74D-9526-476F-BE5C-F23BB0B2C3DE}"/>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0" name="Freeform 867">
                <a:extLst>
                  <a:ext uri="{FF2B5EF4-FFF2-40B4-BE49-F238E27FC236}">
                    <a16:creationId xmlns:a16="http://schemas.microsoft.com/office/drawing/2014/main" id="{0233416C-8A62-4D98-BA68-E7C20D277023}"/>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7" name="Rectangle : coins arrondis 5">
              <a:extLst>
                <a:ext uri="{FF2B5EF4-FFF2-40B4-BE49-F238E27FC236}">
                  <a16:creationId xmlns:a16="http://schemas.microsoft.com/office/drawing/2014/main" id="{D92A8063-8FED-4A60-BB58-D8B3BAEA5253}"/>
                </a:ext>
              </a:extLst>
            </p:cNvPr>
            <p:cNvSpPr/>
            <p:nvPr/>
          </p:nvSpPr>
          <p:spPr bwMode="auto">
            <a:xfrm>
              <a:off x="6800887" y="1910900"/>
              <a:ext cx="1173323" cy="361754"/>
            </a:xfrm>
            <a:prstGeom prst="roundRect">
              <a:avLst/>
            </a:prstGeom>
            <a:no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grpSp>
      <p:grpSp>
        <p:nvGrpSpPr>
          <p:cNvPr id="26" name="Group 25">
            <a:extLst>
              <a:ext uri="{FF2B5EF4-FFF2-40B4-BE49-F238E27FC236}">
                <a16:creationId xmlns:a16="http://schemas.microsoft.com/office/drawing/2014/main" id="{6F6A2FC5-545E-419D-8488-D950DE6F3915}"/>
              </a:ext>
            </a:extLst>
          </p:cNvPr>
          <p:cNvGrpSpPr/>
          <p:nvPr/>
        </p:nvGrpSpPr>
        <p:grpSpPr>
          <a:xfrm>
            <a:off x="6768565" y="3297788"/>
            <a:ext cx="1173323" cy="361754"/>
            <a:chOff x="6768565" y="3293626"/>
            <a:chExt cx="1173323" cy="361754"/>
          </a:xfrm>
        </p:grpSpPr>
        <p:grpSp>
          <p:nvGrpSpPr>
            <p:cNvPr id="277" name="Group 9173">
              <a:extLst>
                <a:ext uri="{FF2B5EF4-FFF2-40B4-BE49-F238E27FC236}">
                  <a16:creationId xmlns:a16="http://schemas.microsoft.com/office/drawing/2014/main" id="{C7CF713C-AB71-45A3-8B50-73707705981D}"/>
                </a:ext>
              </a:extLst>
            </p:cNvPr>
            <p:cNvGrpSpPr>
              <a:grpSpLocks noChangeAspect="1"/>
            </p:cNvGrpSpPr>
            <p:nvPr/>
          </p:nvGrpSpPr>
          <p:grpSpPr>
            <a:xfrm>
              <a:off x="6811299" y="3360584"/>
              <a:ext cx="252000" cy="252000"/>
              <a:chOff x="6242050" y="3001764"/>
              <a:chExt cx="190500" cy="190500"/>
            </a:xfrm>
            <a:solidFill>
              <a:schemeClr val="tx2"/>
            </a:solidFill>
          </p:grpSpPr>
          <p:sp>
            <p:nvSpPr>
              <p:cNvPr id="278" name="Freeform 866">
                <a:extLst>
                  <a:ext uri="{FF2B5EF4-FFF2-40B4-BE49-F238E27FC236}">
                    <a16:creationId xmlns:a16="http://schemas.microsoft.com/office/drawing/2014/main" id="{483485FC-3EE4-48A2-A1D7-BE7F6AB29A70}"/>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9" name="Freeform 867">
                <a:extLst>
                  <a:ext uri="{FF2B5EF4-FFF2-40B4-BE49-F238E27FC236}">
                    <a16:creationId xmlns:a16="http://schemas.microsoft.com/office/drawing/2014/main" id="{E714BB51-C5A3-47B3-93F1-EB8313920D51}"/>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0" name="Group 9173">
              <a:extLst>
                <a:ext uri="{FF2B5EF4-FFF2-40B4-BE49-F238E27FC236}">
                  <a16:creationId xmlns:a16="http://schemas.microsoft.com/office/drawing/2014/main" id="{03336337-FCC5-4B87-9202-40888547E3FB}"/>
                </a:ext>
              </a:extLst>
            </p:cNvPr>
            <p:cNvGrpSpPr>
              <a:grpSpLocks noChangeAspect="1"/>
            </p:cNvGrpSpPr>
            <p:nvPr/>
          </p:nvGrpSpPr>
          <p:grpSpPr>
            <a:xfrm>
              <a:off x="7091006" y="3360584"/>
              <a:ext cx="252000" cy="252000"/>
              <a:chOff x="6242050" y="3001764"/>
              <a:chExt cx="190500" cy="190500"/>
            </a:xfrm>
            <a:solidFill>
              <a:schemeClr val="tx2"/>
            </a:solidFill>
          </p:grpSpPr>
          <p:sp>
            <p:nvSpPr>
              <p:cNvPr id="281" name="Freeform 866">
                <a:extLst>
                  <a:ext uri="{FF2B5EF4-FFF2-40B4-BE49-F238E27FC236}">
                    <a16:creationId xmlns:a16="http://schemas.microsoft.com/office/drawing/2014/main" id="{0FD3F7ED-D692-4405-9EA3-7E89C1A43B1D}"/>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2" name="Freeform 867">
                <a:extLst>
                  <a:ext uri="{FF2B5EF4-FFF2-40B4-BE49-F238E27FC236}">
                    <a16:creationId xmlns:a16="http://schemas.microsoft.com/office/drawing/2014/main" id="{227E7669-C379-4F20-B7C7-183972FDF89F}"/>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3" name="Group 9173">
              <a:extLst>
                <a:ext uri="{FF2B5EF4-FFF2-40B4-BE49-F238E27FC236}">
                  <a16:creationId xmlns:a16="http://schemas.microsoft.com/office/drawing/2014/main" id="{B916BD74-C70E-4EB6-B81A-9F71B46E9743}"/>
                </a:ext>
              </a:extLst>
            </p:cNvPr>
            <p:cNvGrpSpPr>
              <a:grpSpLocks noChangeAspect="1"/>
            </p:cNvGrpSpPr>
            <p:nvPr/>
          </p:nvGrpSpPr>
          <p:grpSpPr>
            <a:xfrm>
              <a:off x="7370713" y="3360584"/>
              <a:ext cx="252000" cy="252000"/>
              <a:chOff x="6242050" y="3001764"/>
              <a:chExt cx="190500" cy="190500"/>
            </a:xfrm>
            <a:solidFill>
              <a:schemeClr val="tx2"/>
            </a:solidFill>
          </p:grpSpPr>
          <p:sp>
            <p:nvSpPr>
              <p:cNvPr id="284" name="Freeform 866">
                <a:extLst>
                  <a:ext uri="{FF2B5EF4-FFF2-40B4-BE49-F238E27FC236}">
                    <a16:creationId xmlns:a16="http://schemas.microsoft.com/office/drawing/2014/main" id="{D797A3E7-6A29-4E3D-884D-B70AD1C70A98}"/>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5" name="Freeform 867">
                <a:extLst>
                  <a:ext uri="{FF2B5EF4-FFF2-40B4-BE49-F238E27FC236}">
                    <a16:creationId xmlns:a16="http://schemas.microsoft.com/office/drawing/2014/main" id="{7E79EC7C-8C22-4C6B-B72D-36544D85E0F8}"/>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6" name="Group 9173">
              <a:extLst>
                <a:ext uri="{FF2B5EF4-FFF2-40B4-BE49-F238E27FC236}">
                  <a16:creationId xmlns:a16="http://schemas.microsoft.com/office/drawing/2014/main" id="{6BDEB531-742A-4A68-8F2B-46CF39D123C7}"/>
                </a:ext>
              </a:extLst>
            </p:cNvPr>
            <p:cNvGrpSpPr>
              <a:grpSpLocks noChangeAspect="1"/>
            </p:cNvGrpSpPr>
            <p:nvPr/>
          </p:nvGrpSpPr>
          <p:grpSpPr>
            <a:xfrm>
              <a:off x="7650419" y="3360584"/>
              <a:ext cx="252000" cy="252000"/>
              <a:chOff x="6242050" y="3001764"/>
              <a:chExt cx="190500" cy="190500"/>
            </a:xfrm>
            <a:solidFill>
              <a:schemeClr val="tx2"/>
            </a:solidFill>
          </p:grpSpPr>
          <p:sp>
            <p:nvSpPr>
              <p:cNvPr id="287" name="Freeform 866">
                <a:extLst>
                  <a:ext uri="{FF2B5EF4-FFF2-40B4-BE49-F238E27FC236}">
                    <a16:creationId xmlns:a16="http://schemas.microsoft.com/office/drawing/2014/main" id="{8DE5AB34-9F93-409B-8E86-B1EF48DF3EFB}"/>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8" name="Freeform 867">
                <a:extLst>
                  <a:ext uri="{FF2B5EF4-FFF2-40B4-BE49-F238E27FC236}">
                    <a16:creationId xmlns:a16="http://schemas.microsoft.com/office/drawing/2014/main" id="{A7DE9273-768B-4515-9C2D-446C3031E0DC}"/>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8" name="Rectangle : coins arrondis 5">
              <a:extLst>
                <a:ext uri="{FF2B5EF4-FFF2-40B4-BE49-F238E27FC236}">
                  <a16:creationId xmlns:a16="http://schemas.microsoft.com/office/drawing/2014/main" id="{C0DD8353-65C9-4830-AAAA-F311A877CC16}"/>
                </a:ext>
              </a:extLst>
            </p:cNvPr>
            <p:cNvSpPr/>
            <p:nvPr/>
          </p:nvSpPr>
          <p:spPr bwMode="auto">
            <a:xfrm>
              <a:off x="6768565" y="3293626"/>
              <a:ext cx="1173323" cy="361754"/>
            </a:xfrm>
            <a:prstGeom prst="roundRect">
              <a:avLst/>
            </a:prstGeom>
            <a:no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grpSp>
      <p:grpSp>
        <p:nvGrpSpPr>
          <p:cNvPr id="28" name="Group 27">
            <a:extLst>
              <a:ext uri="{FF2B5EF4-FFF2-40B4-BE49-F238E27FC236}">
                <a16:creationId xmlns:a16="http://schemas.microsoft.com/office/drawing/2014/main" id="{68EC22AB-3D41-4BD2-92A2-B7D02FD6A98F}"/>
              </a:ext>
            </a:extLst>
          </p:cNvPr>
          <p:cNvGrpSpPr/>
          <p:nvPr/>
        </p:nvGrpSpPr>
        <p:grpSpPr>
          <a:xfrm>
            <a:off x="6781667" y="2388463"/>
            <a:ext cx="1173323" cy="361754"/>
            <a:chOff x="6781667" y="2390438"/>
            <a:chExt cx="1173323" cy="361754"/>
          </a:xfrm>
        </p:grpSpPr>
        <p:grpSp>
          <p:nvGrpSpPr>
            <p:cNvPr id="241" name="Group 9173">
              <a:extLst>
                <a:ext uri="{FF2B5EF4-FFF2-40B4-BE49-F238E27FC236}">
                  <a16:creationId xmlns:a16="http://schemas.microsoft.com/office/drawing/2014/main" id="{D0E573E7-010E-41F1-AF05-5B5049385CF5}"/>
                </a:ext>
              </a:extLst>
            </p:cNvPr>
            <p:cNvGrpSpPr>
              <a:grpSpLocks noChangeAspect="1"/>
            </p:cNvGrpSpPr>
            <p:nvPr/>
          </p:nvGrpSpPr>
          <p:grpSpPr>
            <a:xfrm>
              <a:off x="6824401" y="2441425"/>
              <a:ext cx="252000" cy="252000"/>
              <a:chOff x="6242050" y="3001764"/>
              <a:chExt cx="190500" cy="190500"/>
            </a:xfrm>
            <a:solidFill>
              <a:schemeClr val="tx2"/>
            </a:solidFill>
          </p:grpSpPr>
          <p:sp>
            <p:nvSpPr>
              <p:cNvPr id="242" name="Freeform 866">
                <a:extLst>
                  <a:ext uri="{FF2B5EF4-FFF2-40B4-BE49-F238E27FC236}">
                    <a16:creationId xmlns:a16="http://schemas.microsoft.com/office/drawing/2014/main" id="{A4CA2BDE-7355-4F51-85BE-291A7240B00B}"/>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3" name="Freeform 867">
                <a:extLst>
                  <a:ext uri="{FF2B5EF4-FFF2-40B4-BE49-F238E27FC236}">
                    <a16:creationId xmlns:a16="http://schemas.microsoft.com/office/drawing/2014/main" id="{A61BCE3C-7994-4A77-85C0-0A7A522728B8}"/>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44" name="Group 9173">
              <a:extLst>
                <a:ext uri="{FF2B5EF4-FFF2-40B4-BE49-F238E27FC236}">
                  <a16:creationId xmlns:a16="http://schemas.microsoft.com/office/drawing/2014/main" id="{B2909597-A8BB-4163-BE09-97EE5A975F01}"/>
                </a:ext>
              </a:extLst>
            </p:cNvPr>
            <p:cNvGrpSpPr>
              <a:grpSpLocks noChangeAspect="1"/>
            </p:cNvGrpSpPr>
            <p:nvPr/>
          </p:nvGrpSpPr>
          <p:grpSpPr>
            <a:xfrm>
              <a:off x="7104108" y="2441425"/>
              <a:ext cx="252000" cy="252000"/>
              <a:chOff x="6242050" y="3001764"/>
              <a:chExt cx="190500" cy="190500"/>
            </a:xfrm>
            <a:solidFill>
              <a:schemeClr val="tx2"/>
            </a:solidFill>
          </p:grpSpPr>
          <p:sp>
            <p:nvSpPr>
              <p:cNvPr id="245" name="Freeform 866">
                <a:extLst>
                  <a:ext uri="{FF2B5EF4-FFF2-40B4-BE49-F238E27FC236}">
                    <a16:creationId xmlns:a16="http://schemas.microsoft.com/office/drawing/2014/main" id="{EBCD9A7A-64A7-43F6-A043-EFDDA4AA9B96}"/>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6" name="Freeform 867">
                <a:extLst>
                  <a:ext uri="{FF2B5EF4-FFF2-40B4-BE49-F238E27FC236}">
                    <a16:creationId xmlns:a16="http://schemas.microsoft.com/office/drawing/2014/main" id="{9A6B4D6C-FAB2-4412-81CD-CE20862639E2}"/>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47" name="Group 9173">
              <a:extLst>
                <a:ext uri="{FF2B5EF4-FFF2-40B4-BE49-F238E27FC236}">
                  <a16:creationId xmlns:a16="http://schemas.microsoft.com/office/drawing/2014/main" id="{81BDFFB1-0420-494C-8EBB-D6D115FFAFAB}"/>
                </a:ext>
              </a:extLst>
            </p:cNvPr>
            <p:cNvGrpSpPr>
              <a:grpSpLocks noChangeAspect="1"/>
            </p:cNvGrpSpPr>
            <p:nvPr/>
          </p:nvGrpSpPr>
          <p:grpSpPr>
            <a:xfrm>
              <a:off x="7383815" y="2441425"/>
              <a:ext cx="252000" cy="252000"/>
              <a:chOff x="6242050" y="3001764"/>
              <a:chExt cx="190500" cy="190500"/>
            </a:xfrm>
            <a:solidFill>
              <a:schemeClr val="tx2"/>
            </a:solidFill>
          </p:grpSpPr>
          <p:sp>
            <p:nvSpPr>
              <p:cNvPr id="248" name="Freeform 866">
                <a:extLst>
                  <a:ext uri="{FF2B5EF4-FFF2-40B4-BE49-F238E27FC236}">
                    <a16:creationId xmlns:a16="http://schemas.microsoft.com/office/drawing/2014/main" id="{3A2876F8-7903-41BE-A3CC-079C1D81C787}"/>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9" name="Freeform 867">
                <a:extLst>
                  <a:ext uri="{FF2B5EF4-FFF2-40B4-BE49-F238E27FC236}">
                    <a16:creationId xmlns:a16="http://schemas.microsoft.com/office/drawing/2014/main" id="{90A9ABB9-A778-433A-B071-87D653F89BB5}"/>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0" name="Group 9173">
              <a:extLst>
                <a:ext uri="{FF2B5EF4-FFF2-40B4-BE49-F238E27FC236}">
                  <a16:creationId xmlns:a16="http://schemas.microsoft.com/office/drawing/2014/main" id="{067A896B-683B-4B9C-A746-0E09B65FF221}"/>
                </a:ext>
              </a:extLst>
            </p:cNvPr>
            <p:cNvGrpSpPr>
              <a:grpSpLocks noChangeAspect="1"/>
            </p:cNvGrpSpPr>
            <p:nvPr/>
          </p:nvGrpSpPr>
          <p:grpSpPr>
            <a:xfrm>
              <a:off x="7663521" y="2441425"/>
              <a:ext cx="252000" cy="252000"/>
              <a:chOff x="6242050" y="3001764"/>
              <a:chExt cx="190500" cy="190500"/>
            </a:xfrm>
            <a:solidFill>
              <a:schemeClr val="tx2"/>
            </a:solidFill>
          </p:grpSpPr>
          <p:sp>
            <p:nvSpPr>
              <p:cNvPr id="251" name="Freeform 866">
                <a:extLst>
                  <a:ext uri="{FF2B5EF4-FFF2-40B4-BE49-F238E27FC236}">
                    <a16:creationId xmlns:a16="http://schemas.microsoft.com/office/drawing/2014/main" id="{82439C98-D51B-48F7-A3B8-8D64461A8621}"/>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2" name="Freeform 867">
                <a:extLst>
                  <a:ext uri="{FF2B5EF4-FFF2-40B4-BE49-F238E27FC236}">
                    <a16:creationId xmlns:a16="http://schemas.microsoft.com/office/drawing/2014/main" id="{EF95A53C-0026-45B5-B4C9-84810A5DDE2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40" name="Rectangle : coins arrondis 5">
              <a:extLst>
                <a:ext uri="{FF2B5EF4-FFF2-40B4-BE49-F238E27FC236}">
                  <a16:creationId xmlns:a16="http://schemas.microsoft.com/office/drawing/2014/main" id="{F00163A5-232E-4628-A076-9DEBEE30F6AA}"/>
                </a:ext>
              </a:extLst>
            </p:cNvPr>
            <p:cNvSpPr/>
            <p:nvPr/>
          </p:nvSpPr>
          <p:spPr bwMode="auto">
            <a:xfrm>
              <a:off x="6781667" y="2390438"/>
              <a:ext cx="1173323" cy="361754"/>
            </a:xfrm>
            <a:prstGeom prst="roundRect">
              <a:avLst/>
            </a:prstGeom>
            <a:no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grpSp>
      <p:grpSp>
        <p:nvGrpSpPr>
          <p:cNvPr id="24" name="Group 23">
            <a:extLst>
              <a:ext uri="{FF2B5EF4-FFF2-40B4-BE49-F238E27FC236}">
                <a16:creationId xmlns:a16="http://schemas.microsoft.com/office/drawing/2014/main" id="{085E82E8-EB11-4996-AAC1-FE3B07CD4128}"/>
              </a:ext>
            </a:extLst>
          </p:cNvPr>
          <p:cNvGrpSpPr/>
          <p:nvPr/>
        </p:nvGrpSpPr>
        <p:grpSpPr>
          <a:xfrm>
            <a:off x="6809499" y="4259735"/>
            <a:ext cx="1091120" cy="252000"/>
            <a:chOff x="6809499" y="4246249"/>
            <a:chExt cx="1091120" cy="252000"/>
          </a:xfrm>
        </p:grpSpPr>
        <p:grpSp>
          <p:nvGrpSpPr>
            <p:cNvPr id="351" name="Group 9173">
              <a:extLst>
                <a:ext uri="{FF2B5EF4-FFF2-40B4-BE49-F238E27FC236}">
                  <a16:creationId xmlns:a16="http://schemas.microsoft.com/office/drawing/2014/main" id="{EAD5C2E6-0195-4794-AEDE-6981815A1670}"/>
                </a:ext>
              </a:extLst>
            </p:cNvPr>
            <p:cNvGrpSpPr>
              <a:grpSpLocks noChangeAspect="1"/>
            </p:cNvGrpSpPr>
            <p:nvPr/>
          </p:nvGrpSpPr>
          <p:grpSpPr>
            <a:xfrm>
              <a:off x="6809499" y="4246249"/>
              <a:ext cx="252000" cy="252000"/>
              <a:chOff x="6242050" y="3001764"/>
              <a:chExt cx="190500" cy="190500"/>
            </a:xfrm>
            <a:solidFill>
              <a:schemeClr val="tx2"/>
            </a:solidFill>
          </p:grpSpPr>
          <p:sp>
            <p:nvSpPr>
              <p:cNvPr id="361" name="Freeform 866">
                <a:extLst>
                  <a:ext uri="{FF2B5EF4-FFF2-40B4-BE49-F238E27FC236}">
                    <a16:creationId xmlns:a16="http://schemas.microsoft.com/office/drawing/2014/main" id="{71BC63EF-A907-48B4-8355-1722DB88CAF1}"/>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2" name="Freeform 867">
                <a:extLst>
                  <a:ext uri="{FF2B5EF4-FFF2-40B4-BE49-F238E27FC236}">
                    <a16:creationId xmlns:a16="http://schemas.microsoft.com/office/drawing/2014/main" id="{6711FA54-67C5-4357-AE8C-4B5E73B314DB}"/>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52" name="Group 9173">
              <a:extLst>
                <a:ext uri="{FF2B5EF4-FFF2-40B4-BE49-F238E27FC236}">
                  <a16:creationId xmlns:a16="http://schemas.microsoft.com/office/drawing/2014/main" id="{E3EBE413-0C36-41D7-A021-E473476DBFC5}"/>
                </a:ext>
              </a:extLst>
            </p:cNvPr>
            <p:cNvGrpSpPr>
              <a:grpSpLocks noChangeAspect="1"/>
            </p:cNvGrpSpPr>
            <p:nvPr/>
          </p:nvGrpSpPr>
          <p:grpSpPr>
            <a:xfrm>
              <a:off x="7089206" y="4246249"/>
              <a:ext cx="252000" cy="252000"/>
              <a:chOff x="6242050" y="3001764"/>
              <a:chExt cx="190500" cy="190500"/>
            </a:xfrm>
            <a:solidFill>
              <a:schemeClr val="tx2"/>
            </a:solidFill>
          </p:grpSpPr>
          <p:sp>
            <p:nvSpPr>
              <p:cNvPr id="359" name="Freeform 866">
                <a:extLst>
                  <a:ext uri="{FF2B5EF4-FFF2-40B4-BE49-F238E27FC236}">
                    <a16:creationId xmlns:a16="http://schemas.microsoft.com/office/drawing/2014/main" id="{E3D7D255-47E7-4F55-B5DD-6CBCC07333FF}"/>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0" name="Freeform 867">
                <a:extLst>
                  <a:ext uri="{FF2B5EF4-FFF2-40B4-BE49-F238E27FC236}">
                    <a16:creationId xmlns:a16="http://schemas.microsoft.com/office/drawing/2014/main" id="{13E9BBE6-F681-4A58-976C-FB30302B5071}"/>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53" name="Group 9173">
              <a:extLst>
                <a:ext uri="{FF2B5EF4-FFF2-40B4-BE49-F238E27FC236}">
                  <a16:creationId xmlns:a16="http://schemas.microsoft.com/office/drawing/2014/main" id="{73870F4D-BC44-4099-820B-678B2B1A4B4F}"/>
                </a:ext>
              </a:extLst>
            </p:cNvPr>
            <p:cNvGrpSpPr>
              <a:grpSpLocks noChangeAspect="1"/>
            </p:cNvGrpSpPr>
            <p:nvPr/>
          </p:nvGrpSpPr>
          <p:grpSpPr>
            <a:xfrm>
              <a:off x="7368913" y="4246249"/>
              <a:ext cx="252000" cy="252000"/>
              <a:chOff x="6242050" y="3001764"/>
              <a:chExt cx="190500" cy="190500"/>
            </a:xfrm>
            <a:solidFill>
              <a:schemeClr val="tx2"/>
            </a:solidFill>
          </p:grpSpPr>
          <p:sp>
            <p:nvSpPr>
              <p:cNvPr id="357" name="Freeform 866">
                <a:extLst>
                  <a:ext uri="{FF2B5EF4-FFF2-40B4-BE49-F238E27FC236}">
                    <a16:creationId xmlns:a16="http://schemas.microsoft.com/office/drawing/2014/main" id="{468DE0A7-FF25-485B-84CC-F2370D26A002}"/>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8" name="Freeform 867">
                <a:extLst>
                  <a:ext uri="{FF2B5EF4-FFF2-40B4-BE49-F238E27FC236}">
                    <a16:creationId xmlns:a16="http://schemas.microsoft.com/office/drawing/2014/main" id="{FFC70E7B-CBC5-4A69-BB7C-1886DDDEF396}"/>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54" name="Group 9173">
              <a:extLst>
                <a:ext uri="{FF2B5EF4-FFF2-40B4-BE49-F238E27FC236}">
                  <a16:creationId xmlns:a16="http://schemas.microsoft.com/office/drawing/2014/main" id="{4473B3F9-3071-4252-BD1F-8EDDEB57CB24}"/>
                </a:ext>
              </a:extLst>
            </p:cNvPr>
            <p:cNvGrpSpPr>
              <a:grpSpLocks noChangeAspect="1"/>
            </p:cNvGrpSpPr>
            <p:nvPr/>
          </p:nvGrpSpPr>
          <p:grpSpPr>
            <a:xfrm>
              <a:off x="7648619" y="4246249"/>
              <a:ext cx="252000" cy="252000"/>
              <a:chOff x="6242050" y="3001764"/>
              <a:chExt cx="190500" cy="190500"/>
            </a:xfrm>
            <a:solidFill>
              <a:schemeClr val="bg2">
                <a:lumMod val="20000"/>
                <a:lumOff val="80000"/>
              </a:schemeClr>
            </a:solidFill>
          </p:grpSpPr>
          <p:sp>
            <p:nvSpPr>
              <p:cNvPr id="355" name="Freeform 866">
                <a:extLst>
                  <a:ext uri="{FF2B5EF4-FFF2-40B4-BE49-F238E27FC236}">
                    <a16:creationId xmlns:a16="http://schemas.microsoft.com/office/drawing/2014/main" id="{6B6C55A1-EDC8-4D2E-8C05-E02739FCF8D3}"/>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6" name="Freeform 867">
                <a:extLst>
                  <a:ext uri="{FF2B5EF4-FFF2-40B4-BE49-F238E27FC236}">
                    <a16:creationId xmlns:a16="http://schemas.microsoft.com/office/drawing/2014/main" id="{B8793654-9A37-4145-AECF-FDB31746F05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8" name="Group 17">
            <a:extLst>
              <a:ext uri="{FF2B5EF4-FFF2-40B4-BE49-F238E27FC236}">
                <a16:creationId xmlns:a16="http://schemas.microsoft.com/office/drawing/2014/main" id="{13623FF0-35AB-4357-8ECB-6D781F29C5CA}"/>
              </a:ext>
            </a:extLst>
          </p:cNvPr>
          <p:cNvGrpSpPr/>
          <p:nvPr/>
        </p:nvGrpSpPr>
        <p:grpSpPr>
          <a:xfrm>
            <a:off x="5295167" y="5622793"/>
            <a:ext cx="1091120" cy="252000"/>
            <a:chOff x="5295167" y="5655571"/>
            <a:chExt cx="1091120" cy="252000"/>
          </a:xfrm>
        </p:grpSpPr>
        <p:grpSp>
          <p:nvGrpSpPr>
            <p:cNvPr id="372" name="Group 9173">
              <a:extLst>
                <a:ext uri="{FF2B5EF4-FFF2-40B4-BE49-F238E27FC236}">
                  <a16:creationId xmlns:a16="http://schemas.microsoft.com/office/drawing/2014/main" id="{07BCB0E6-9942-4E80-93DA-BB70C0BF6691}"/>
                </a:ext>
              </a:extLst>
            </p:cNvPr>
            <p:cNvGrpSpPr>
              <a:grpSpLocks noChangeAspect="1"/>
            </p:cNvGrpSpPr>
            <p:nvPr/>
          </p:nvGrpSpPr>
          <p:grpSpPr>
            <a:xfrm>
              <a:off x="5295167" y="5655571"/>
              <a:ext cx="252000" cy="252000"/>
              <a:chOff x="6242050" y="3001764"/>
              <a:chExt cx="190500" cy="190500"/>
            </a:xfrm>
            <a:solidFill>
              <a:schemeClr val="tx2"/>
            </a:solidFill>
          </p:grpSpPr>
          <p:sp>
            <p:nvSpPr>
              <p:cNvPr id="394" name="Freeform 866">
                <a:extLst>
                  <a:ext uri="{FF2B5EF4-FFF2-40B4-BE49-F238E27FC236}">
                    <a16:creationId xmlns:a16="http://schemas.microsoft.com/office/drawing/2014/main" id="{6425908C-BBC8-41A5-B007-C52699ADBDE7}"/>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5" name="Freeform 867">
                <a:extLst>
                  <a:ext uri="{FF2B5EF4-FFF2-40B4-BE49-F238E27FC236}">
                    <a16:creationId xmlns:a16="http://schemas.microsoft.com/office/drawing/2014/main" id="{A2029F7C-1648-4972-B44E-7FE049967A0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3" name="Group 9173">
              <a:extLst>
                <a:ext uri="{FF2B5EF4-FFF2-40B4-BE49-F238E27FC236}">
                  <a16:creationId xmlns:a16="http://schemas.microsoft.com/office/drawing/2014/main" id="{263D5DDE-DB99-465D-A9BE-C58CE42F122E}"/>
                </a:ext>
              </a:extLst>
            </p:cNvPr>
            <p:cNvGrpSpPr>
              <a:grpSpLocks noChangeAspect="1"/>
            </p:cNvGrpSpPr>
            <p:nvPr/>
          </p:nvGrpSpPr>
          <p:grpSpPr>
            <a:xfrm>
              <a:off x="5574874" y="5655571"/>
              <a:ext cx="252000" cy="252000"/>
              <a:chOff x="6242050" y="3001764"/>
              <a:chExt cx="190500" cy="190500"/>
            </a:xfrm>
            <a:solidFill>
              <a:schemeClr val="tx2"/>
            </a:solidFill>
          </p:grpSpPr>
          <p:sp>
            <p:nvSpPr>
              <p:cNvPr id="392" name="Freeform 866">
                <a:extLst>
                  <a:ext uri="{FF2B5EF4-FFF2-40B4-BE49-F238E27FC236}">
                    <a16:creationId xmlns:a16="http://schemas.microsoft.com/office/drawing/2014/main" id="{21C8C54E-32F9-4C9D-8FBB-BFBF05961EDF}"/>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3" name="Freeform 867">
                <a:extLst>
                  <a:ext uri="{FF2B5EF4-FFF2-40B4-BE49-F238E27FC236}">
                    <a16:creationId xmlns:a16="http://schemas.microsoft.com/office/drawing/2014/main" id="{55594F15-F167-44E6-98BC-E4D273F4E555}"/>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4" name="Group 9173">
              <a:extLst>
                <a:ext uri="{FF2B5EF4-FFF2-40B4-BE49-F238E27FC236}">
                  <a16:creationId xmlns:a16="http://schemas.microsoft.com/office/drawing/2014/main" id="{64DB1431-0B14-4516-A202-83BD474D32C3}"/>
                </a:ext>
              </a:extLst>
            </p:cNvPr>
            <p:cNvGrpSpPr>
              <a:grpSpLocks noChangeAspect="1"/>
            </p:cNvGrpSpPr>
            <p:nvPr/>
          </p:nvGrpSpPr>
          <p:grpSpPr>
            <a:xfrm>
              <a:off x="5854581" y="5655571"/>
              <a:ext cx="252000" cy="252000"/>
              <a:chOff x="6242050" y="3001764"/>
              <a:chExt cx="190500" cy="190500"/>
            </a:xfrm>
            <a:solidFill>
              <a:schemeClr val="bg2">
                <a:lumMod val="20000"/>
                <a:lumOff val="80000"/>
              </a:schemeClr>
            </a:solidFill>
          </p:grpSpPr>
          <p:sp>
            <p:nvSpPr>
              <p:cNvPr id="390" name="Freeform 866">
                <a:extLst>
                  <a:ext uri="{FF2B5EF4-FFF2-40B4-BE49-F238E27FC236}">
                    <a16:creationId xmlns:a16="http://schemas.microsoft.com/office/drawing/2014/main" id="{626AD6F5-A1DB-4AD2-969E-FF2E72904470}"/>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1" name="Freeform 867">
                <a:extLst>
                  <a:ext uri="{FF2B5EF4-FFF2-40B4-BE49-F238E27FC236}">
                    <a16:creationId xmlns:a16="http://schemas.microsoft.com/office/drawing/2014/main" id="{D8642493-7F82-4ACC-8F90-79015209711E}"/>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5" name="Group 9173">
              <a:extLst>
                <a:ext uri="{FF2B5EF4-FFF2-40B4-BE49-F238E27FC236}">
                  <a16:creationId xmlns:a16="http://schemas.microsoft.com/office/drawing/2014/main" id="{5D444495-1FB9-43DF-9D98-7C6D003BAD27}"/>
                </a:ext>
              </a:extLst>
            </p:cNvPr>
            <p:cNvGrpSpPr>
              <a:grpSpLocks noChangeAspect="1"/>
            </p:cNvGrpSpPr>
            <p:nvPr/>
          </p:nvGrpSpPr>
          <p:grpSpPr>
            <a:xfrm>
              <a:off x="6134287" y="5655571"/>
              <a:ext cx="252000" cy="252000"/>
              <a:chOff x="6242050" y="3001764"/>
              <a:chExt cx="190500" cy="190500"/>
            </a:xfrm>
            <a:solidFill>
              <a:schemeClr val="bg2">
                <a:lumMod val="20000"/>
                <a:lumOff val="80000"/>
              </a:schemeClr>
            </a:solidFill>
          </p:grpSpPr>
          <p:sp>
            <p:nvSpPr>
              <p:cNvPr id="388" name="Freeform 866">
                <a:extLst>
                  <a:ext uri="{FF2B5EF4-FFF2-40B4-BE49-F238E27FC236}">
                    <a16:creationId xmlns:a16="http://schemas.microsoft.com/office/drawing/2014/main" id="{D33EDF5C-AF32-46F1-9D63-935AED25A976}"/>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9" name="Freeform 867">
                <a:extLst>
                  <a:ext uri="{FF2B5EF4-FFF2-40B4-BE49-F238E27FC236}">
                    <a16:creationId xmlns:a16="http://schemas.microsoft.com/office/drawing/2014/main" id="{C5A8308F-73BD-459E-ACC9-8BCFDF851121}"/>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1" name="Group 20">
            <a:extLst>
              <a:ext uri="{FF2B5EF4-FFF2-40B4-BE49-F238E27FC236}">
                <a16:creationId xmlns:a16="http://schemas.microsoft.com/office/drawing/2014/main" id="{D633401F-9E40-4B17-8997-4A3CEDAF9EB4}"/>
              </a:ext>
            </a:extLst>
          </p:cNvPr>
          <p:cNvGrpSpPr/>
          <p:nvPr/>
        </p:nvGrpSpPr>
        <p:grpSpPr>
          <a:xfrm>
            <a:off x="6801621" y="5622793"/>
            <a:ext cx="1091120" cy="252000"/>
            <a:chOff x="6801621" y="5655571"/>
            <a:chExt cx="1091120" cy="252000"/>
          </a:xfrm>
        </p:grpSpPr>
        <p:grpSp>
          <p:nvGrpSpPr>
            <p:cNvPr id="376" name="Group 9173">
              <a:extLst>
                <a:ext uri="{FF2B5EF4-FFF2-40B4-BE49-F238E27FC236}">
                  <a16:creationId xmlns:a16="http://schemas.microsoft.com/office/drawing/2014/main" id="{E4FCF523-AB1A-4A35-A51F-27F8F983A678}"/>
                </a:ext>
              </a:extLst>
            </p:cNvPr>
            <p:cNvGrpSpPr>
              <a:grpSpLocks noChangeAspect="1"/>
            </p:cNvGrpSpPr>
            <p:nvPr/>
          </p:nvGrpSpPr>
          <p:grpSpPr>
            <a:xfrm>
              <a:off x="6801621" y="5655571"/>
              <a:ext cx="252000" cy="252000"/>
              <a:chOff x="6242050" y="3001764"/>
              <a:chExt cx="190500" cy="190500"/>
            </a:xfrm>
            <a:solidFill>
              <a:schemeClr val="tx2"/>
            </a:solidFill>
          </p:grpSpPr>
          <p:sp>
            <p:nvSpPr>
              <p:cNvPr id="386" name="Freeform 866">
                <a:extLst>
                  <a:ext uri="{FF2B5EF4-FFF2-40B4-BE49-F238E27FC236}">
                    <a16:creationId xmlns:a16="http://schemas.microsoft.com/office/drawing/2014/main" id="{3A0604DC-1751-42E4-BA0C-2409E136FFF9}"/>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7" name="Freeform 867">
                <a:extLst>
                  <a:ext uri="{FF2B5EF4-FFF2-40B4-BE49-F238E27FC236}">
                    <a16:creationId xmlns:a16="http://schemas.microsoft.com/office/drawing/2014/main" id="{14B0A3B2-49DB-47A6-B83D-6036D5C83CDD}"/>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7" name="Group 9173">
              <a:extLst>
                <a:ext uri="{FF2B5EF4-FFF2-40B4-BE49-F238E27FC236}">
                  <a16:creationId xmlns:a16="http://schemas.microsoft.com/office/drawing/2014/main" id="{01E1CDCD-9209-45FF-8AC0-D601264638FB}"/>
                </a:ext>
              </a:extLst>
            </p:cNvPr>
            <p:cNvGrpSpPr>
              <a:grpSpLocks noChangeAspect="1"/>
            </p:cNvGrpSpPr>
            <p:nvPr/>
          </p:nvGrpSpPr>
          <p:grpSpPr>
            <a:xfrm>
              <a:off x="7081328" y="5655571"/>
              <a:ext cx="252000" cy="252000"/>
              <a:chOff x="6242050" y="3001764"/>
              <a:chExt cx="190500" cy="190500"/>
            </a:xfrm>
            <a:solidFill>
              <a:schemeClr val="tx2"/>
            </a:solidFill>
          </p:grpSpPr>
          <p:sp>
            <p:nvSpPr>
              <p:cNvPr id="384" name="Freeform 866">
                <a:extLst>
                  <a:ext uri="{FF2B5EF4-FFF2-40B4-BE49-F238E27FC236}">
                    <a16:creationId xmlns:a16="http://schemas.microsoft.com/office/drawing/2014/main" id="{4DCFB0F6-15B0-4ED2-B8CC-1D97E42F3372}"/>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5" name="Freeform 867">
                <a:extLst>
                  <a:ext uri="{FF2B5EF4-FFF2-40B4-BE49-F238E27FC236}">
                    <a16:creationId xmlns:a16="http://schemas.microsoft.com/office/drawing/2014/main" id="{3528DC5C-6EF2-48FF-AC4B-6CF7655BC919}"/>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8" name="Group 9173">
              <a:extLst>
                <a:ext uri="{FF2B5EF4-FFF2-40B4-BE49-F238E27FC236}">
                  <a16:creationId xmlns:a16="http://schemas.microsoft.com/office/drawing/2014/main" id="{366AEBDB-F85B-4761-99AC-35A833550623}"/>
                </a:ext>
              </a:extLst>
            </p:cNvPr>
            <p:cNvGrpSpPr>
              <a:grpSpLocks noChangeAspect="1"/>
            </p:cNvGrpSpPr>
            <p:nvPr/>
          </p:nvGrpSpPr>
          <p:grpSpPr>
            <a:xfrm>
              <a:off x="7361035" y="5655571"/>
              <a:ext cx="252000" cy="252000"/>
              <a:chOff x="6242050" y="3001764"/>
              <a:chExt cx="190500" cy="190500"/>
            </a:xfrm>
            <a:solidFill>
              <a:schemeClr val="tx2"/>
            </a:solidFill>
          </p:grpSpPr>
          <p:sp>
            <p:nvSpPr>
              <p:cNvPr id="382" name="Freeform 866">
                <a:extLst>
                  <a:ext uri="{FF2B5EF4-FFF2-40B4-BE49-F238E27FC236}">
                    <a16:creationId xmlns:a16="http://schemas.microsoft.com/office/drawing/2014/main" id="{B84ADDEE-29D0-4540-9E1D-187ABA00B291}"/>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3" name="Freeform 867">
                <a:extLst>
                  <a:ext uri="{FF2B5EF4-FFF2-40B4-BE49-F238E27FC236}">
                    <a16:creationId xmlns:a16="http://schemas.microsoft.com/office/drawing/2014/main" id="{F6CF1EA9-9D36-4BCB-8B44-C92D308F65F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9" name="Group 9173">
              <a:extLst>
                <a:ext uri="{FF2B5EF4-FFF2-40B4-BE49-F238E27FC236}">
                  <a16:creationId xmlns:a16="http://schemas.microsoft.com/office/drawing/2014/main" id="{376C98ED-3056-48FB-9EA2-818B17C3BF3C}"/>
                </a:ext>
              </a:extLst>
            </p:cNvPr>
            <p:cNvGrpSpPr>
              <a:grpSpLocks noChangeAspect="1"/>
            </p:cNvGrpSpPr>
            <p:nvPr/>
          </p:nvGrpSpPr>
          <p:grpSpPr>
            <a:xfrm>
              <a:off x="7640741" y="5655571"/>
              <a:ext cx="252000" cy="252000"/>
              <a:chOff x="6242050" y="3001764"/>
              <a:chExt cx="190500" cy="190500"/>
            </a:xfrm>
            <a:solidFill>
              <a:schemeClr val="bg2">
                <a:lumMod val="20000"/>
                <a:lumOff val="80000"/>
              </a:schemeClr>
            </a:solidFill>
          </p:grpSpPr>
          <p:sp>
            <p:nvSpPr>
              <p:cNvPr id="380" name="Freeform 866">
                <a:extLst>
                  <a:ext uri="{FF2B5EF4-FFF2-40B4-BE49-F238E27FC236}">
                    <a16:creationId xmlns:a16="http://schemas.microsoft.com/office/drawing/2014/main" id="{5FFEE172-C451-43BA-A1A3-1702CC16D8E1}"/>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1" name="Freeform 867">
                <a:extLst>
                  <a:ext uri="{FF2B5EF4-FFF2-40B4-BE49-F238E27FC236}">
                    <a16:creationId xmlns:a16="http://schemas.microsoft.com/office/drawing/2014/main" id="{1F405468-1033-4A4B-9C9B-49838F198FFC}"/>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396" name="Rectangle 395">
            <a:extLst>
              <a:ext uri="{FF2B5EF4-FFF2-40B4-BE49-F238E27FC236}">
                <a16:creationId xmlns:a16="http://schemas.microsoft.com/office/drawing/2014/main" id="{75A990C6-B585-4BD5-9D0A-BDC8074A4DFD}"/>
              </a:ext>
            </a:extLst>
          </p:cNvPr>
          <p:cNvSpPr/>
          <p:nvPr/>
        </p:nvSpPr>
        <p:spPr bwMode="auto">
          <a:xfrm>
            <a:off x="8138262" y="1924782"/>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92075"/>
            <a:r>
              <a:rPr lang="en-GB" sz="900">
                <a:latin typeface="Trebuchet MS" panose="020B0603020202020204" pitchFamily="34" charset="0"/>
              </a:rPr>
              <a:t>Collected manually by subcontractors</a:t>
            </a:r>
          </a:p>
        </p:txBody>
      </p:sp>
      <p:sp>
        <p:nvSpPr>
          <p:cNvPr id="399" name="Rectangle 398">
            <a:extLst>
              <a:ext uri="{FF2B5EF4-FFF2-40B4-BE49-F238E27FC236}">
                <a16:creationId xmlns:a16="http://schemas.microsoft.com/office/drawing/2014/main" id="{CDF9B842-E289-458D-8BC3-A36BE3F9AB37}"/>
              </a:ext>
            </a:extLst>
          </p:cNvPr>
          <p:cNvSpPr/>
          <p:nvPr/>
        </p:nvSpPr>
        <p:spPr bwMode="auto">
          <a:xfrm>
            <a:off x="8149576" y="3298665"/>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171450" indent="-171450">
              <a:buFont typeface="Arial" panose="020B0604020202020204" pitchFamily="34" charset="0"/>
              <a:buChar char="•"/>
            </a:pPr>
            <a:r>
              <a:rPr lang="en-GB" sz="900">
                <a:latin typeface="Trebuchet MS" pitchFamily="34" charset="0"/>
              </a:rPr>
              <a:t>Buying of court status</a:t>
            </a:r>
          </a:p>
          <a:p>
            <a:pPr marL="171450" indent="-171450">
              <a:buFont typeface="Arial" panose="020B0604020202020204" pitchFamily="34" charset="0"/>
              <a:buChar char="•"/>
            </a:pPr>
            <a:r>
              <a:rPr lang="en-GB" sz="900">
                <a:latin typeface="Trebuchet MS" pitchFamily="34" charset="0"/>
              </a:rPr>
              <a:t>Manual collection of annual reports</a:t>
            </a:r>
          </a:p>
        </p:txBody>
      </p:sp>
      <p:grpSp>
        <p:nvGrpSpPr>
          <p:cNvPr id="16" name="Group 15">
            <a:extLst>
              <a:ext uri="{FF2B5EF4-FFF2-40B4-BE49-F238E27FC236}">
                <a16:creationId xmlns:a16="http://schemas.microsoft.com/office/drawing/2014/main" id="{21FA8A99-385D-4791-A7CE-D3B172FB2FD4}"/>
              </a:ext>
            </a:extLst>
          </p:cNvPr>
          <p:cNvGrpSpPr/>
          <p:nvPr/>
        </p:nvGrpSpPr>
        <p:grpSpPr>
          <a:xfrm>
            <a:off x="5295167" y="4712089"/>
            <a:ext cx="1091120" cy="252000"/>
            <a:chOff x="5295167" y="4659070"/>
            <a:chExt cx="1091120" cy="252000"/>
          </a:xfrm>
        </p:grpSpPr>
        <p:sp>
          <p:nvSpPr>
            <p:cNvPr id="458" name="Freeform 866">
              <a:extLst>
                <a:ext uri="{FF2B5EF4-FFF2-40B4-BE49-F238E27FC236}">
                  <a16:creationId xmlns:a16="http://schemas.microsoft.com/office/drawing/2014/main" id="{49144765-7ECB-4B6A-9AD6-EC22643999BD}"/>
                </a:ext>
              </a:extLst>
            </p:cNvPr>
            <p:cNvSpPr>
              <a:spLocks noEditPoints="1"/>
            </p:cNvSpPr>
            <p:nvPr/>
          </p:nvSpPr>
          <p:spPr bwMode="auto">
            <a:xfrm>
              <a:off x="5295167" y="4659070"/>
              <a:ext cx="252000" cy="2520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9" name="Freeform 867">
              <a:extLst>
                <a:ext uri="{FF2B5EF4-FFF2-40B4-BE49-F238E27FC236}">
                  <a16:creationId xmlns:a16="http://schemas.microsoft.com/office/drawing/2014/main" id="{307E1F90-00AA-4028-8264-FCF59822404D}"/>
                </a:ext>
              </a:extLst>
            </p:cNvPr>
            <p:cNvSpPr>
              <a:spLocks/>
            </p:cNvSpPr>
            <p:nvPr/>
          </p:nvSpPr>
          <p:spPr bwMode="auto">
            <a:xfrm>
              <a:off x="5362367" y="4709470"/>
              <a:ext cx="100800" cy="1512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0" name="Freeform 866">
              <a:extLst>
                <a:ext uri="{FF2B5EF4-FFF2-40B4-BE49-F238E27FC236}">
                  <a16:creationId xmlns:a16="http://schemas.microsoft.com/office/drawing/2014/main" id="{7E055DCF-B109-4F55-B178-1EBD1CDD5A26}"/>
                </a:ext>
              </a:extLst>
            </p:cNvPr>
            <p:cNvSpPr>
              <a:spLocks noEditPoints="1"/>
            </p:cNvSpPr>
            <p:nvPr/>
          </p:nvSpPr>
          <p:spPr bwMode="auto">
            <a:xfrm>
              <a:off x="5574874" y="4659070"/>
              <a:ext cx="252000" cy="2520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1" name="Freeform 867">
              <a:extLst>
                <a:ext uri="{FF2B5EF4-FFF2-40B4-BE49-F238E27FC236}">
                  <a16:creationId xmlns:a16="http://schemas.microsoft.com/office/drawing/2014/main" id="{379DE9E5-0E1C-41AA-A94D-41E35D8283C1}"/>
                </a:ext>
              </a:extLst>
            </p:cNvPr>
            <p:cNvSpPr>
              <a:spLocks/>
            </p:cNvSpPr>
            <p:nvPr/>
          </p:nvSpPr>
          <p:spPr bwMode="auto">
            <a:xfrm>
              <a:off x="5642074" y="4709470"/>
              <a:ext cx="100800" cy="1512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2" name="Freeform 866">
              <a:extLst>
                <a:ext uri="{FF2B5EF4-FFF2-40B4-BE49-F238E27FC236}">
                  <a16:creationId xmlns:a16="http://schemas.microsoft.com/office/drawing/2014/main" id="{40F2D452-87F5-4262-8EC0-8ED9992B7D31}"/>
                </a:ext>
              </a:extLst>
            </p:cNvPr>
            <p:cNvSpPr>
              <a:spLocks noEditPoints="1"/>
            </p:cNvSpPr>
            <p:nvPr/>
          </p:nvSpPr>
          <p:spPr bwMode="auto">
            <a:xfrm>
              <a:off x="5854581" y="4659070"/>
              <a:ext cx="252000" cy="2520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solidFill>
              <a:schemeClr val="bg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3" name="Freeform 867">
              <a:extLst>
                <a:ext uri="{FF2B5EF4-FFF2-40B4-BE49-F238E27FC236}">
                  <a16:creationId xmlns:a16="http://schemas.microsoft.com/office/drawing/2014/main" id="{CC5AAF2A-3992-4580-BD4A-57DC84AF7F2C}"/>
                </a:ext>
              </a:extLst>
            </p:cNvPr>
            <p:cNvSpPr>
              <a:spLocks/>
            </p:cNvSpPr>
            <p:nvPr/>
          </p:nvSpPr>
          <p:spPr bwMode="auto">
            <a:xfrm>
              <a:off x="5921781" y="4709470"/>
              <a:ext cx="100800" cy="1512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solidFill>
              <a:schemeClr val="bg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4" name="Freeform 866">
              <a:extLst>
                <a:ext uri="{FF2B5EF4-FFF2-40B4-BE49-F238E27FC236}">
                  <a16:creationId xmlns:a16="http://schemas.microsoft.com/office/drawing/2014/main" id="{46FC20C1-A783-4C75-9A5D-E85142F6E706}"/>
                </a:ext>
              </a:extLst>
            </p:cNvPr>
            <p:cNvSpPr>
              <a:spLocks noEditPoints="1"/>
            </p:cNvSpPr>
            <p:nvPr/>
          </p:nvSpPr>
          <p:spPr bwMode="auto">
            <a:xfrm>
              <a:off x="6134287" y="4659070"/>
              <a:ext cx="252000" cy="2520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solidFill>
              <a:schemeClr val="bg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5" name="Freeform 867">
              <a:extLst>
                <a:ext uri="{FF2B5EF4-FFF2-40B4-BE49-F238E27FC236}">
                  <a16:creationId xmlns:a16="http://schemas.microsoft.com/office/drawing/2014/main" id="{D1D43C28-88AD-4DC5-9B49-749F49A11BDA}"/>
                </a:ext>
              </a:extLst>
            </p:cNvPr>
            <p:cNvSpPr>
              <a:spLocks/>
            </p:cNvSpPr>
            <p:nvPr/>
          </p:nvSpPr>
          <p:spPr bwMode="auto">
            <a:xfrm>
              <a:off x="6201487" y="4709470"/>
              <a:ext cx="100800" cy="1512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solidFill>
              <a:schemeClr val="bg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 name="Group 22">
            <a:extLst>
              <a:ext uri="{FF2B5EF4-FFF2-40B4-BE49-F238E27FC236}">
                <a16:creationId xmlns:a16="http://schemas.microsoft.com/office/drawing/2014/main" id="{9C16CEEA-9A6C-4181-8C60-9A711BD8F477}"/>
              </a:ext>
            </a:extLst>
          </p:cNvPr>
          <p:cNvGrpSpPr/>
          <p:nvPr/>
        </p:nvGrpSpPr>
        <p:grpSpPr>
          <a:xfrm>
            <a:off x="6801621" y="4712089"/>
            <a:ext cx="1091120" cy="252000"/>
            <a:chOff x="6801621" y="4659070"/>
            <a:chExt cx="1091120" cy="252000"/>
          </a:xfrm>
        </p:grpSpPr>
        <p:grpSp>
          <p:nvGrpSpPr>
            <p:cNvPr id="466" name="Group 9173">
              <a:extLst>
                <a:ext uri="{FF2B5EF4-FFF2-40B4-BE49-F238E27FC236}">
                  <a16:creationId xmlns:a16="http://schemas.microsoft.com/office/drawing/2014/main" id="{57A441DD-28FE-4628-B148-B733B700F1B8}"/>
                </a:ext>
              </a:extLst>
            </p:cNvPr>
            <p:cNvGrpSpPr>
              <a:grpSpLocks noChangeAspect="1"/>
            </p:cNvGrpSpPr>
            <p:nvPr/>
          </p:nvGrpSpPr>
          <p:grpSpPr>
            <a:xfrm>
              <a:off x="6801621" y="4659070"/>
              <a:ext cx="252000" cy="252000"/>
              <a:chOff x="6242050" y="3001764"/>
              <a:chExt cx="190500" cy="190500"/>
            </a:xfrm>
            <a:solidFill>
              <a:schemeClr val="tx2"/>
            </a:solidFill>
          </p:grpSpPr>
          <p:sp>
            <p:nvSpPr>
              <p:cNvPr id="476" name="Freeform 866">
                <a:extLst>
                  <a:ext uri="{FF2B5EF4-FFF2-40B4-BE49-F238E27FC236}">
                    <a16:creationId xmlns:a16="http://schemas.microsoft.com/office/drawing/2014/main" id="{7D4C5672-796F-4308-BDA7-BC3C78CB2542}"/>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7" name="Freeform 867">
                <a:extLst>
                  <a:ext uri="{FF2B5EF4-FFF2-40B4-BE49-F238E27FC236}">
                    <a16:creationId xmlns:a16="http://schemas.microsoft.com/office/drawing/2014/main" id="{B1724811-D32B-4464-88C2-4C2DE9F4FDCB}"/>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67" name="Group 9173">
              <a:extLst>
                <a:ext uri="{FF2B5EF4-FFF2-40B4-BE49-F238E27FC236}">
                  <a16:creationId xmlns:a16="http://schemas.microsoft.com/office/drawing/2014/main" id="{49A81ABC-8587-4EE5-81E7-F5D6C54B6026}"/>
                </a:ext>
              </a:extLst>
            </p:cNvPr>
            <p:cNvGrpSpPr>
              <a:grpSpLocks noChangeAspect="1"/>
            </p:cNvGrpSpPr>
            <p:nvPr/>
          </p:nvGrpSpPr>
          <p:grpSpPr>
            <a:xfrm>
              <a:off x="7081328" y="4659070"/>
              <a:ext cx="252000" cy="252000"/>
              <a:chOff x="6242050" y="3001764"/>
              <a:chExt cx="190500" cy="190500"/>
            </a:xfrm>
            <a:solidFill>
              <a:schemeClr val="tx2"/>
            </a:solidFill>
          </p:grpSpPr>
          <p:sp>
            <p:nvSpPr>
              <p:cNvPr id="474" name="Freeform 866">
                <a:extLst>
                  <a:ext uri="{FF2B5EF4-FFF2-40B4-BE49-F238E27FC236}">
                    <a16:creationId xmlns:a16="http://schemas.microsoft.com/office/drawing/2014/main" id="{A28AAD37-D66F-4D0F-B380-665204CFC2A5}"/>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5" name="Freeform 867">
                <a:extLst>
                  <a:ext uri="{FF2B5EF4-FFF2-40B4-BE49-F238E27FC236}">
                    <a16:creationId xmlns:a16="http://schemas.microsoft.com/office/drawing/2014/main" id="{5803ECB6-716B-4541-9CFF-F8F05B87024B}"/>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68" name="Group 9173">
              <a:extLst>
                <a:ext uri="{FF2B5EF4-FFF2-40B4-BE49-F238E27FC236}">
                  <a16:creationId xmlns:a16="http://schemas.microsoft.com/office/drawing/2014/main" id="{115CCFDD-5071-47F4-B1A7-07D8D3216E30}"/>
                </a:ext>
              </a:extLst>
            </p:cNvPr>
            <p:cNvGrpSpPr>
              <a:grpSpLocks noChangeAspect="1"/>
            </p:cNvGrpSpPr>
            <p:nvPr/>
          </p:nvGrpSpPr>
          <p:grpSpPr>
            <a:xfrm>
              <a:off x="7361035" y="4659070"/>
              <a:ext cx="252000" cy="252000"/>
              <a:chOff x="6242050" y="3001764"/>
              <a:chExt cx="190500" cy="190500"/>
            </a:xfrm>
            <a:solidFill>
              <a:schemeClr val="bg2">
                <a:lumMod val="20000"/>
                <a:lumOff val="80000"/>
              </a:schemeClr>
            </a:solidFill>
          </p:grpSpPr>
          <p:sp>
            <p:nvSpPr>
              <p:cNvPr id="472" name="Freeform 866">
                <a:extLst>
                  <a:ext uri="{FF2B5EF4-FFF2-40B4-BE49-F238E27FC236}">
                    <a16:creationId xmlns:a16="http://schemas.microsoft.com/office/drawing/2014/main" id="{FE5AA98D-143D-4452-ACD1-AB18432D32C3}"/>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3" name="Freeform 867">
                <a:extLst>
                  <a:ext uri="{FF2B5EF4-FFF2-40B4-BE49-F238E27FC236}">
                    <a16:creationId xmlns:a16="http://schemas.microsoft.com/office/drawing/2014/main" id="{C03565B7-2731-4649-95A2-29B9BCF71FA4}"/>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69" name="Group 9173">
              <a:extLst>
                <a:ext uri="{FF2B5EF4-FFF2-40B4-BE49-F238E27FC236}">
                  <a16:creationId xmlns:a16="http://schemas.microsoft.com/office/drawing/2014/main" id="{BBAB07D5-02A6-4C14-9DF0-9E0C85F2AD30}"/>
                </a:ext>
              </a:extLst>
            </p:cNvPr>
            <p:cNvGrpSpPr>
              <a:grpSpLocks noChangeAspect="1"/>
            </p:cNvGrpSpPr>
            <p:nvPr/>
          </p:nvGrpSpPr>
          <p:grpSpPr>
            <a:xfrm>
              <a:off x="7640741" y="4659070"/>
              <a:ext cx="252000" cy="252000"/>
              <a:chOff x="6242050" y="3001764"/>
              <a:chExt cx="190500" cy="190500"/>
            </a:xfrm>
            <a:solidFill>
              <a:schemeClr val="bg2">
                <a:lumMod val="20000"/>
                <a:lumOff val="80000"/>
              </a:schemeClr>
            </a:solidFill>
          </p:grpSpPr>
          <p:sp>
            <p:nvSpPr>
              <p:cNvPr id="470" name="Freeform 866">
                <a:extLst>
                  <a:ext uri="{FF2B5EF4-FFF2-40B4-BE49-F238E27FC236}">
                    <a16:creationId xmlns:a16="http://schemas.microsoft.com/office/drawing/2014/main" id="{D7820BBA-B0B9-49AD-A565-75327E184F76}"/>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1" name="Freeform 867">
                <a:extLst>
                  <a:ext uri="{FF2B5EF4-FFF2-40B4-BE49-F238E27FC236}">
                    <a16:creationId xmlns:a16="http://schemas.microsoft.com/office/drawing/2014/main" id="{ACD180C4-2D15-43AA-B04D-38E09AF629BD}"/>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479" name="ZoneTexte 35">
            <a:extLst>
              <a:ext uri="{FF2B5EF4-FFF2-40B4-BE49-F238E27FC236}">
                <a16:creationId xmlns:a16="http://schemas.microsoft.com/office/drawing/2014/main" id="{E66FDF61-D25C-4CCC-ADA2-B8BFE9294ECC}"/>
              </a:ext>
            </a:extLst>
          </p:cNvPr>
          <p:cNvSpPr txBox="1"/>
          <p:nvPr/>
        </p:nvSpPr>
        <p:spPr>
          <a:xfrm>
            <a:off x="3296098" y="1047095"/>
            <a:ext cx="694347" cy="338554"/>
          </a:xfrm>
          <a:prstGeom prst="rect">
            <a:avLst/>
          </a:prstGeom>
          <a:solidFill>
            <a:schemeClr val="bg1"/>
          </a:solidFill>
        </p:spPr>
        <p:txBody>
          <a:bodyPr wrap="square" lIns="0" tIns="0" rIns="0" bIns="0" rtlCol="0">
            <a:spAutoFit/>
          </a:bodyPr>
          <a:lstStyle/>
          <a:p>
            <a:pPr algn="ctr"/>
            <a:r>
              <a:rPr lang="en-GB" sz="1100">
                <a:latin typeface="Trebuchet MS" panose="020B0603020202020204" pitchFamily="34" charset="0"/>
              </a:rPr>
              <a:t>Collection </a:t>
            </a:r>
          </a:p>
          <a:p>
            <a:pPr algn="ctr"/>
            <a:r>
              <a:rPr lang="en-GB" sz="1100">
                <a:latin typeface="Trebuchet MS" panose="020B0603020202020204" pitchFamily="34" charset="0"/>
              </a:rPr>
              <a:t>frequency</a:t>
            </a:r>
          </a:p>
        </p:txBody>
      </p:sp>
      <p:sp>
        <p:nvSpPr>
          <p:cNvPr id="480" name="ZoneTexte 35">
            <a:extLst>
              <a:ext uri="{FF2B5EF4-FFF2-40B4-BE49-F238E27FC236}">
                <a16:creationId xmlns:a16="http://schemas.microsoft.com/office/drawing/2014/main" id="{3A97D2E6-0FCF-4836-B99B-EEAEEEBC1A8A}"/>
              </a:ext>
            </a:extLst>
          </p:cNvPr>
          <p:cNvSpPr txBox="1"/>
          <p:nvPr/>
        </p:nvSpPr>
        <p:spPr>
          <a:xfrm>
            <a:off x="4220838" y="1047095"/>
            <a:ext cx="765581" cy="338554"/>
          </a:xfrm>
          <a:prstGeom prst="rect">
            <a:avLst/>
          </a:prstGeom>
          <a:solidFill>
            <a:schemeClr val="bg1"/>
          </a:solidFill>
        </p:spPr>
        <p:txBody>
          <a:bodyPr wrap="square" lIns="0" tIns="0" rIns="0" bIns="0" rtlCol="0">
            <a:spAutoFit/>
          </a:bodyPr>
          <a:lstStyle/>
          <a:p>
            <a:pPr algn="ctr"/>
            <a:r>
              <a:rPr lang="en-GB" sz="1100">
                <a:latin typeface="Trebuchet MS" panose="020B0603020202020204" pitchFamily="34" charset="0"/>
              </a:rPr>
              <a:t>Collection </a:t>
            </a:r>
          </a:p>
          <a:p>
            <a:pPr algn="ctr"/>
            <a:r>
              <a:rPr lang="en-GB" sz="1100">
                <a:latin typeface="Trebuchet MS" panose="020B0603020202020204" pitchFamily="34" charset="0"/>
              </a:rPr>
              <a:t>mode</a:t>
            </a:r>
          </a:p>
        </p:txBody>
      </p:sp>
      <p:sp>
        <p:nvSpPr>
          <p:cNvPr id="482" name="ZoneTexte 35">
            <a:extLst>
              <a:ext uri="{FF2B5EF4-FFF2-40B4-BE49-F238E27FC236}">
                <a16:creationId xmlns:a16="http://schemas.microsoft.com/office/drawing/2014/main" id="{64A6ED82-7562-44BC-811B-6123F21E9BF3}"/>
              </a:ext>
            </a:extLst>
          </p:cNvPr>
          <p:cNvSpPr txBox="1"/>
          <p:nvPr/>
        </p:nvSpPr>
        <p:spPr>
          <a:xfrm>
            <a:off x="5613944" y="1047095"/>
            <a:ext cx="651814" cy="338554"/>
          </a:xfrm>
          <a:prstGeom prst="rect">
            <a:avLst/>
          </a:prstGeom>
          <a:solidFill>
            <a:schemeClr val="bg1"/>
          </a:solidFill>
        </p:spPr>
        <p:txBody>
          <a:bodyPr wrap="square" lIns="0" tIns="0" rIns="0" bIns="0" rtlCol="0">
            <a:spAutoFit/>
          </a:bodyPr>
          <a:lstStyle/>
          <a:p>
            <a:pPr algn="ctr"/>
            <a:r>
              <a:rPr lang="en-GB" sz="1100">
                <a:latin typeface="Trebuchet MS" panose="020B0603020202020204" pitchFamily="34" charset="0"/>
              </a:rPr>
              <a:t>Collection </a:t>
            </a:r>
          </a:p>
          <a:p>
            <a:pPr algn="ctr"/>
            <a:r>
              <a:rPr lang="en-GB" sz="1100">
                <a:latin typeface="Trebuchet MS" panose="020B0603020202020204" pitchFamily="34" charset="0"/>
              </a:rPr>
              <a:t>cost</a:t>
            </a:r>
          </a:p>
        </p:txBody>
      </p:sp>
      <p:sp>
        <p:nvSpPr>
          <p:cNvPr id="483" name="ZoneTexte 35">
            <a:extLst>
              <a:ext uri="{FF2B5EF4-FFF2-40B4-BE49-F238E27FC236}">
                <a16:creationId xmlns:a16="http://schemas.microsoft.com/office/drawing/2014/main" id="{0951197D-A2D2-4832-B3D6-5DC7B5F98EB0}"/>
              </a:ext>
            </a:extLst>
          </p:cNvPr>
          <p:cNvSpPr txBox="1"/>
          <p:nvPr/>
        </p:nvSpPr>
        <p:spPr>
          <a:xfrm>
            <a:off x="7005251" y="1047095"/>
            <a:ext cx="726155" cy="338554"/>
          </a:xfrm>
          <a:prstGeom prst="rect">
            <a:avLst/>
          </a:prstGeom>
          <a:solidFill>
            <a:schemeClr val="bg1"/>
          </a:solidFill>
        </p:spPr>
        <p:txBody>
          <a:bodyPr wrap="square" lIns="0" tIns="0" rIns="0" bIns="0" rtlCol="0">
            <a:spAutoFit/>
          </a:bodyPr>
          <a:lstStyle/>
          <a:p>
            <a:pPr algn="ctr"/>
            <a:r>
              <a:rPr lang="en-GB" sz="1100">
                <a:latin typeface="Trebuchet MS" panose="020B0603020202020204" pitchFamily="34" charset="0"/>
              </a:rPr>
              <a:t>Treatment </a:t>
            </a:r>
          </a:p>
          <a:p>
            <a:pPr algn="ctr"/>
            <a:r>
              <a:rPr lang="en-GB" sz="1100">
                <a:latin typeface="Trebuchet MS" panose="020B0603020202020204" pitchFamily="34" charset="0"/>
              </a:rPr>
              <a:t>cost</a:t>
            </a:r>
          </a:p>
        </p:txBody>
      </p:sp>
      <p:sp>
        <p:nvSpPr>
          <p:cNvPr id="484" name="ZoneTexte 35">
            <a:extLst>
              <a:ext uri="{FF2B5EF4-FFF2-40B4-BE49-F238E27FC236}">
                <a16:creationId xmlns:a16="http://schemas.microsoft.com/office/drawing/2014/main" id="{F7DFFBDB-8D07-409D-9D6E-3AC0E8FE6220}"/>
              </a:ext>
            </a:extLst>
          </p:cNvPr>
          <p:cNvSpPr txBox="1"/>
          <p:nvPr/>
        </p:nvSpPr>
        <p:spPr>
          <a:xfrm>
            <a:off x="8572526" y="1110559"/>
            <a:ext cx="762271" cy="169277"/>
          </a:xfrm>
          <a:prstGeom prst="rect">
            <a:avLst/>
          </a:prstGeom>
          <a:solidFill>
            <a:schemeClr val="bg1"/>
          </a:solidFill>
        </p:spPr>
        <p:txBody>
          <a:bodyPr wrap="square" lIns="0" tIns="0" rIns="0" bIns="0" rtlCol="0">
            <a:spAutoFit/>
          </a:bodyPr>
          <a:lstStyle/>
          <a:p>
            <a:pPr algn="ctr"/>
            <a:r>
              <a:rPr lang="en-GB" sz="1100">
                <a:latin typeface="Trebuchet MS" panose="020B0603020202020204" pitchFamily="34" charset="0"/>
              </a:rPr>
              <a:t>Details</a:t>
            </a:r>
          </a:p>
        </p:txBody>
      </p:sp>
      <p:grpSp>
        <p:nvGrpSpPr>
          <p:cNvPr id="19" name="Group 18">
            <a:extLst>
              <a:ext uri="{FF2B5EF4-FFF2-40B4-BE49-F238E27FC236}">
                <a16:creationId xmlns:a16="http://schemas.microsoft.com/office/drawing/2014/main" id="{60BAA9B3-A7E1-4026-B586-3992BA17F20E}"/>
              </a:ext>
            </a:extLst>
          </p:cNvPr>
          <p:cNvGrpSpPr/>
          <p:nvPr/>
        </p:nvGrpSpPr>
        <p:grpSpPr>
          <a:xfrm>
            <a:off x="5295167" y="6072687"/>
            <a:ext cx="1091120" cy="252000"/>
            <a:chOff x="5295167" y="6176741"/>
            <a:chExt cx="1091120" cy="252000"/>
          </a:xfrm>
        </p:grpSpPr>
        <p:grpSp>
          <p:nvGrpSpPr>
            <p:cNvPr id="489" name="Group 9173">
              <a:extLst>
                <a:ext uri="{FF2B5EF4-FFF2-40B4-BE49-F238E27FC236}">
                  <a16:creationId xmlns:a16="http://schemas.microsoft.com/office/drawing/2014/main" id="{E994A576-E0B6-4497-BE22-8FAE4CC9AA14}"/>
                </a:ext>
              </a:extLst>
            </p:cNvPr>
            <p:cNvGrpSpPr>
              <a:grpSpLocks noChangeAspect="1"/>
            </p:cNvGrpSpPr>
            <p:nvPr/>
          </p:nvGrpSpPr>
          <p:grpSpPr>
            <a:xfrm>
              <a:off x="5295167" y="6176741"/>
              <a:ext cx="252000" cy="252000"/>
              <a:chOff x="6242050" y="3001764"/>
              <a:chExt cx="190500" cy="190500"/>
            </a:xfrm>
            <a:solidFill>
              <a:schemeClr val="tx2"/>
            </a:solidFill>
          </p:grpSpPr>
          <p:sp>
            <p:nvSpPr>
              <p:cNvPr id="511" name="Freeform 866">
                <a:extLst>
                  <a:ext uri="{FF2B5EF4-FFF2-40B4-BE49-F238E27FC236}">
                    <a16:creationId xmlns:a16="http://schemas.microsoft.com/office/drawing/2014/main" id="{AEED4B5C-854D-4084-9E44-2ED0A946525B}"/>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2" name="Freeform 867">
                <a:extLst>
                  <a:ext uri="{FF2B5EF4-FFF2-40B4-BE49-F238E27FC236}">
                    <a16:creationId xmlns:a16="http://schemas.microsoft.com/office/drawing/2014/main" id="{88C88A68-F20E-4FC7-8494-D31AB9D3C7A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90" name="Group 9173">
              <a:extLst>
                <a:ext uri="{FF2B5EF4-FFF2-40B4-BE49-F238E27FC236}">
                  <a16:creationId xmlns:a16="http://schemas.microsoft.com/office/drawing/2014/main" id="{DA07B9CD-C6C5-43B2-95A0-BD72B4ED6750}"/>
                </a:ext>
              </a:extLst>
            </p:cNvPr>
            <p:cNvGrpSpPr>
              <a:grpSpLocks noChangeAspect="1"/>
            </p:cNvGrpSpPr>
            <p:nvPr/>
          </p:nvGrpSpPr>
          <p:grpSpPr>
            <a:xfrm>
              <a:off x="5574874" y="6176741"/>
              <a:ext cx="252000" cy="252000"/>
              <a:chOff x="6242050" y="3001764"/>
              <a:chExt cx="190500" cy="190500"/>
            </a:xfrm>
            <a:solidFill>
              <a:schemeClr val="tx2"/>
            </a:solidFill>
          </p:grpSpPr>
          <p:sp>
            <p:nvSpPr>
              <p:cNvPr id="509" name="Freeform 866">
                <a:extLst>
                  <a:ext uri="{FF2B5EF4-FFF2-40B4-BE49-F238E27FC236}">
                    <a16:creationId xmlns:a16="http://schemas.microsoft.com/office/drawing/2014/main" id="{14B66983-0CB1-484D-8A56-9FA61248A673}"/>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0" name="Freeform 867">
                <a:extLst>
                  <a:ext uri="{FF2B5EF4-FFF2-40B4-BE49-F238E27FC236}">
                    <a16:creationId xmlns:a16="http://schemas.microsoft.com/office/drawing/2014/main" id="{1EF2A998-C0C3-4C8E-947C-533EE810403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91" name="Group 9173">
              <a:extLst>
                <a:ext uri="{FF2B5EF4-FFF2-40B4-BE49-F238E27FC236}">
                  <a16:creationId xmlns:a16="http://schemas.microsoft.com/office/drawing/2014/main" id="{39DD96E3-C527-4FB0-AB9A-BD25E0F4455E}"/>
                </a:ext>
              </a:extLst>
            </p:cNvPr>
            <p:cNvGrpSpPr>
              <a:grpSpLocks noChangeAspect="1"/>
            </p:cNvGrpSpPr>
            <p:nvPr/>
          </p:nvGrpSpPr>
          <p:grpSpPr>
            <a:xfrm>
              <a:off x="5854581" y="6176741"/>
              <a:ext cx="252000" cy="252000"/>
              <a:chOff x="6242050" y="3001764"/>
              <a:chExt cx="190500" cy="190500"/>
            </a:xfrm>
            <a:solidFill>
              <a:schemeClr val="tx2"/>
            </a:solidFill>
          </p:grpSpPr>
          <p:sp>
            <p:nvSpPr>
              <p:cNvPr id="507" name="Freeform 866">
                <a:extLst>
                  <a:ext uri="{FF2B5EF4-FFF2-40B4-BE49-F238E27FC236}">
                    <a16:creationId xmlns:a16="http://schemas.microsoft.com/office/drawing/2014/main" id="{53FBA5C9-CD53-437A-93ED-CB293A9B94F4}"/>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8" name="Freeform 867">
                <a:extLst>
                  <a:ext uri="{FF2B5EF4-FFF2-40B4-BE49-F238E27FC236}">
                    <a16:creationId xmlns:a16="http://schemas.microsoft.com/office/drawing/2014/main" id="{1D690F5E-E071-406A-A84B-2A0A20BE9D37}"/>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92" name="Group 9173">
              <a:extLst>
                <a:ext uri="{FF2B5EF4-FFF2-40B4-BE49-F238E27FC236}">
                  <a16:creationId xmlns:a16="http://schemas.microsoft.com/office/drawing/2014/main" id="{998EF7B9-016A-4333-B0B0-673E77F9A43F}"/>
                </a:ext>
              </a:extLst>
            </p:cNvPr>
            <p:cNvGrpSpPr>
              <a:grpSpLocks noChangeAspect="1"/>
            </p:cNvGrpSpPr>
            <p:nvPr/>
          </p:nvGrpSpPr>
          <p:grpSpPr>
            <a:xfrm>
              <a:off x="6134287" y="6176741"/>
              <a:ext cx="252000" cy="252000"/>
              <a:chOff x="6242050" y="3001764"/>
              <a:chExt cx="190500" cy="190500"/>
            </a:xfrm>
            <a:solidFill>
              <a:schemeClr val="bg2">
                <a:lumMod val="20000"/>
                <a:lumOff val="80000"/>
              </a:schemeClr>
            </a:solidFill>
          </p:grpSpPr>
          <p:sp>
            <p:nvSpPr>
              <p:cNvPr id="505" name="Freeform 866">
                <a:extLst>
                  <a:ext uri="{FF2B5EF4-FFF2-40B4-BE49-F238E27FC236}">
                    <a16:creationId xmlns:a16="http://schemas.microsoft.com/office/drawing/2014/main" id="{18ACF3FB-20B7-4A52-9C10-C2CBF82E13AD}"/>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6" name="Freeform 867">
                <a:extLst>
                  <a:ext uri="{FF2B5EF4-FFF2-40B4-BE49-F238E27FC236}">
                    <a16:creationId xmlns:a16="http://schemas.microsoft.com/office/drawing/2014/main" id="{C8CFA6AF-9D1D-4FA1-9C83-3A169C4FE4D0}"/>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0" name="Group 19">
            <a:extLst>
              <a:ext uri="{FF2B5EF4-FFF2-40B4-BE49-F238E27FC236}">
                <a16:creationId xmlns:a16="http://schemas.microsoft.com/office/drawing/2014/main" id="{76E422B8-AFDB-46D7-947A-46ED23511D5D}"/>
              </a:ext>
            </a:extLst>
          </p:cNvPr>
          <p:cNvGrpSpPr/>
          <p:nvPr/>
        </p:nvGrpSpPr>
        <p:grpSpPr>
          <a:xfrm>
            <a:off x="6801621" y="6072687"/>
            <a:ext cx="1091120" cy="252000"/>
            <a:chOff x="6801621" y="6176741"/>
            <a:chExt cx="1091120" cy="252000"/>
          </a:xfrm>
        </p:grpSpPr>
        <p:grpSp>
          <p:nvGrpSpPr>
            <p:cNvPr id="493" name="Group 9173">
              <a:extLst>
                <a:ext uri="{FF2B5EF4-FFF2-40B4-BE49-F238E27FC236}">
                  <a16:creationId xmlns:a16="http://schemas.microsoft.com/office/drawing/2014/main" id="{B84C26BE-9013-4677-9661-7FD0EBDCEBC7}"/>
                </a:ext>
              </a:extLst>
            </p:cNvPr>
            <p:cNvGrpSpPr>
              <a:grpSpLocks noChangeAspect="1"/>
            </p:cNvGrpSpPr>
            <p:nvPr/>
          </p:nvGrpSpPr>
          <p:grpSpPr>
            <a:xfrm>
              <a:off x="6801621" y="6176741"/>
              <a:ext cx="252000" cy="252000"/>
              <a:chOff x="6242050" y="3001764"/>
              <a:chExt cx="190500" cy="190500"/>
            </a:xfrm>
            <a:solidFill>
              <a:schemeClr val="tx2"/>
            </a:solidFill>
          </p:grpSpPr>
          <p:sp>
            <p:nvSpPr>
              <p:cNvPr id="503" name="Freeform 866">
                <a:extLst>
                  <a:ext uri="{FF2B5EF4-FFF2-40B4-BE49-F238E27FC236}">
                    <a16:creationId xmlns:a16="http://schemas.microsoft.com/office/drawing/2014/main" id="{B580B4DF-6182-4547-8270-B00C863BCE46}"/>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4" name="Freeform 867">
                <a:extLst>
                  <a:ext uri="{FF2B5EF4-FFF2-40B4-BE49-F238E27FC236}">
                    <a16:creationId xmlns:a16="http://schemas.microsoft.com/office/drawing/2014/main" id="{CC5939E7-55CB-4745-8465-56E936256668}"/>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94" name="Group 9173">
              <a:extLst>
                <a:ext uri="{FF2B5EF4-FFF2-40B4-BE49-F238E27FC236}">
                  <a16:creationId xmlns:a16="http://schemas.microsoft.com/office/drawing/2014/main" id="{BD3CD7F5-7CA6-42D6-8E95-EA00E3F4A4A2}"/>
                </a:ext>
              </a:extLst>
            </p:cNvPr>
            <p:cNvGrpSpPr>
              <a:grpSpLocks noChangeAspect="1"/>
            </p:cNvGrpSpPr>
            <p:nvPr/>
          </p:nvGrpSpPr>
          <p:grpSpPr>
            <a:xfrm>
              <a:off x="7081328" y="6176741"/>
              <a:ext cx="252000" cy="252000"/>
              <a:chOff x="6242050" y="3001764"/>
              <a:chExt cx="190500" cy="190500"/>
            </a:xfrm>
            <a:solidFill>
              <a:schemeClr val="tx2"/>
            </a:solidFill>
          </p:grpSpPr>
          <p:sp>
            <p:nvSpPr>
              <p:cNvPr id="501" name="Freeform 866">
                <a:extLst>
                  <a:ext uri="{FF2B5EF4-FFF2-40B4-BE49-F238E27FC236}">
                    <a16:creationId xmlns:a16="http://schemas.microsoft.com/office/drawing/2014/main" id="{342C638E-2FE3-460B-B07B-616D68EB6CE0}"/>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2" name="Freeform 867">
                <a:extLst>
                  <a:ext uri="{FF2B5EF4-FFF2-40B4-BE49-F238E27FC236}">
                    <a16:creationId xmlns:a16="http://schemas.microsoft.com/office/drawing/2014/main" id="{027B8409-DDB0-4E85-9BCB-33F7E60C7470}"/>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95" name="Group 9173">
              <a:extLst>
                <a:ext uri="{FF2B5EF4-FFF2-40B4-BE49-F238E27FC236}">
                  <a16:creationId xmlns:a16="http://schemas.microsoft.com/office/drawing/2014/main" id="{8F4C6C67-B20C-4ED1-AAA4-48C4E7544E2A}"/>
                </a:ext>
              </a:extLst>
            </p:cNvPr>
            <p:cNvGrpSpPr>
              <a:grpSpLocks noChangeAspect="1"/>
            </p:cNvGrpSpPr>
            <p:nvPr/>
          </p:nvGrpSpPr>
          <p:grpSpPr>
            <a:xfrm>
              <a:off x="7361035" y="6176741"/>
              <a:ext cx="252000" cy="252000"/>
              <a:chOff x="6242050" y="3001764"/>
              <a:chExt cx="190500" cy="190500"/>
            </a:xfrm>
            <a:solidFill>
              <a:schemeClr val="tx2"/>
            </a:solidFill>
          </p:grpSpPr>
          <p:sp>
            <p:nvSpPr>
              <p:cNvPr id="499" name="Freeform 866">
                <a:extLst>
                  <a:ext uri="{FF2B5EF4-FFF2-40B4-BE49-F238E27FC236}">
                    <a16:creationId xmlns:a16="http://schemas.microsoft.com/office/drawing/2014/main" id="{522EDBE7-2B93-4047-85C7-B4C963EA1C13}"/>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0" name="Freeform 867">
                <a:extLst>
                  <a:ext uri="{FF2B5EF4-FFF2-40B4-BE49-F238E27FC236}">
                    <a16:creationId xmlns:a16="http://schemas.microsoft.com/office/drawing/2014/main" id="{C1AFE578-CE38-4A7C-AFC7-E8E7EC537D3D}"/>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96" name="Group 9173">
              <a:extLst>
                <a:ext uri="{FF2B5EF4-FFF2-40B4-BE49-F238E27FC236}">
                  <a16:creationId xmlns:a16="http://schemas.microsoft.com/office/drawing/2014/main" id="{ABB1071A-A969-4134-A84C-E28E4EF5C235}"/>
                </a:ext>
              </a:extLst>
            </p:cNvPr>
            <p:cNvGrpSpPr>
              <a:grpSpLocks noChangeAspect="1"/>
            </p:cNvGrpSpPr>
            <p:nvPr/>
          </p:nvGrpSpPr>
          <p:grpSpPr>
            <a:xfrm>
              <a:off x="7640741" y="6176741"/>
              <a:ext cx="252000" cy="252000"/>
              <a:chOff x="6242050" y="3001764"/>
              <a:chExt cx="190500" cy="190500"/>
            </a:xfrm>
            <a:solidFill>
              <a:schemeClr val="bg2">
                <a:lumMod val="20000"/>
                <a:lumOff val="80000"/>
              </a:schemeClr>
            </a:solidFill>
          </p:grpSpPr>
          <p:sp>
            <p:nvSpPr>
              <p:cNvPr id="497" name="Freeform 866">
                <a:extLst>
                  <a:ext uri="{FF2B5EF4-FFF2-40B4-BE49-F238E27FC236}">
                    <a16:creationId xmlns:a16="http://schemas.microsoft.com/office/drawing/2014/main" id="{A40E572F-3FE7-4AAA-B20A-B93494924915}"/>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8" name="Freeform 867">
                <a:extLst>
                  <a:ext uri="{FF2B5EF4-FFF2-40B4-BE49-F238E27FC236}">
                    <a16:creationId xmlns:a16="http://schemas.microsoft.com/office/drawing/2014/main" id="{E6B89087-1805-4EAE-A65F-45CB479382DB}"/>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478" name="Rectangle 477">
            <a:extLst>
              <a:ext uri="{FF2B5EF4-FFF2-40B4-BE49-F238E27FC236}">
                <a16:creationId xmlns:a16="http://schemas.microsoft.com/office/drawing/2014/main" id="{2087F00B-8F21-427E-B337-8505BDE6796E}"/>
              </a:ext>
            </a:extLst>
          </p:cNvPr>
          <p:cNvSpPr/>
          <p:nvPr/>
        </p:nvSpPr>
        <p:spPr bwMode="auto">
          <a:xfrm>
            <a:off x="134081" y="1487618"/>
            <a:ext cx="725708" cy="4890724"/>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r>
              <a:rPr lang="en-GB" sz="1000">
                <a:latin typeface="Trebuchet MS" panose="020B0603020202020204" pitchFamily="34" charset="0"/>
              </a:rPr>
              <a:t>Local Data </a:t>
            </a:r>
          </a:p>
        </p:txBody>
      </p:sp>
      <p:grpSp>
        <p:nvGrpSpPr>
          <p:cNvPr id="31" name="Group 30">
            <a:extLst>
              <a:ext uri="{FF2B5EF4-FFF2-40B4-BE49-F238E27FC236}">
                <a16:creationId xmlns:a16="http://schemas.microsoft.com/office/drawing/2014/main" id="{38C74B80-6A35-4CF3-A93E-A9D7BCB15B69}"/>
              </a:ext>
            </a:extLst>
          </p:cNvPr>
          <p:cNvGrpSpPr/>
          <p:nvPr/>
        </p:nvGrpSpPr>
        <p:grpSpPr>
          <a:xfrm>
            <a:off x="944611" y="1487617"/>
            <a:ext cx="483189" cy="4890724"/>
            <a:chOff x="931228" y="1487617"/>
            <a:chExt cx="483189" cy="4890724"/>
          </a:xfrm>
        </p:grpSpPr>
        <p:sp>
          <p:nvSpPr>
            <p:cNvPr id="456" name="Rectangle 455">
              <a:extLst>
                <a:ext uri="{FF2B5EF4-FFF2-40B4-BE49-F238E27FC236}">
                  <a16:creationId xmlns:a16="http://schemas.microsoft.com/office/drawing/2014/main" id="{0E2BEB82-7732-49A8-9BC5-188D43BD5EE0}"/>
                </a:ext>
              </a:extLst>
            </p:cNvPr>
            <p:cNvSpPr/>
            <p:nvPr/>
          </p:nvSpPr>
          <p:spPr bwMode="auto">
            <a:xfrm>
              <a:off x="938829" y="1487617"/>
              <a:ext cx="475588" cy="1264813"/>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r>
                <a:rPr lang="en-GB" sz="1000">
                  <a:solidFill>
                    <a:schemeClr val="tx2"/>
                  </a:solidFill>
                  <a:latin typeface="Trebuchet MS" panose="020B0603020202020204" pitchFamily="34" charset="0"/>
                </a:rPr>
                <a:t>Public data</a:t>
              </a:r>
            </a:p>
          </p:txBody>
        </p:sp>
        <p:sp>
          <p:nvSpPr>
            <p:cNvPr id="488" name="Rectangle 487">
              <a:extLst>
                <a:ext uri="{FF2B5EF4-FFF2-40B4-BE49-F238E27FC236}">
                  <a16:creationId xmlns:a16="http://schemas.microsoft.com/office/drawing/2014/main" id="{F5DA31B9-E782-48BE-B385-DF7CFDE13C45}"/>
                </a:ext>
              </a:extLst>
            </p:cNvPr>
            <p:cNvSpPr/>
            <p:nvPr/>
          </p:nvSpPr>
          <p:spPr bwMode="auto">
            <a:xfrm>
              <a:off x="931228" y="2855977"/>
              <a:ext cx="482465" cy="3522364"/>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r>
                <a:rPr lang="en-GB" sz="1000">
                  <a:solidFill>
                    <a:schemeClr val="tx2"/>
                  </a:solidFill>
                  <a:latin typeface="Trebuchet MS" panose="020B0603020202020204" pitchFamily="34" charset="0"/>
                </a:rPr>
                <a:t>Private data</a:t>
              </a:r>
            </a:p>
          </p:txBody>
        </p:sp>
      </p:grpSp>
      <p:grpSp>
        <p:nvGrpSpPr>
          <p:cNvPr id="30" name="Group 29">
            <a:extLst>
              <a:ext uri="{FF2B5EF4-FFF2-40B4-BE49-F238E27FC236}">
                <a16:creationId xmlns:a16="http://schemas.microsoft.com/office/drawing/2014/main" id="{0E5329FC-7FBA-4D1B-B397-A918D77BD91C}"/>
              </a:ext>
            </a:extLst>
          </p:cNvPr>
          <p:cNvGrpSpPr/>
          <p:nvPr/>
        </p:nvGrpSpPr>
        <p:grpSpPr>
          <a:xfrm>
            <a:off x="1512622" y="1481521"/>
            <a:ext cx="1630800" cy="4897166"/>
            <a:chOff x="1465938" y="1481521"/>
            <a:chExt cx="1630800" cy="4897166"/>
          </a:xfrm>
        </p:grpSpPr>
        <p:sp>
          <p:nvSpPr>
            <p:cNvPr id="417" name="Rectangle 416">
              <a:extLst>
                <a:ext uri="{FF2B5EF4-FFF2-40B4-BE49-F238E27FC236}">
                  <a16:creationId xmlns:a16="http://schemas.microsoft.com/office/drawing/2014/main" id="{D8C4D3AC-DD2B-43D0-B3D7-FE90A568FEBD}"/>
                </a:ext>
              </a:extLst>
            </p:cNvPr>
            <p:cNvSpPr/>
            <p:nvPr/>
          </p:nvSpPr>
          <p:spPr bwMode="auto">
            <a:xfrm>
              <a:off x="1465938" y="3752444"/>
              <a:ext cx="1630800" cy="360000"/>
            </a:xfrm>
            <a:prstGeom prst="rect">
              <a:avLst/>
            </a:prstGeom>
            <a:solidFill>
              <a:srgbClr val="E1F6F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800">
                  <a:latin typeface="Trebuchet MS" panose="020B0603020202020204" pitchFamily="34" charset="0"/>
                </a:rPr>
                <a:t>Open data </a:t>
              </a:r>
            </a:p>
            <a:p>
              <a:pPr marL="92075" algn="ctr"/>
              <a:endParaRPr lang="en-GB" sz="800">
                <a:latin typeface="Trebuchet MS" panose="020B0603020202020204" pitchFamily="34" charset="0"/>
              </a:endParaRPr>
            </a:p>
          </p:txBody>
        </p:sp>
        <p:sp>
          <p:nvSpPr>
            <p:cNvPr id="428" name="Rectangle 427">
              <a:extLst>
                <a:ext uri="{FF2B5EF4-FFF2-40B4-BE49-F238E27FC236}">
                  <a16:creationId xmlns:a16="http://schemas.microsoft.com/office/drawing/2014/main" id="{ED0CBF6E-32E9-4928-B4BA-6D2081E75DBA}"/>
                </a:ext>
              </a:extLst>
            </p:cNvPr>
            <p:cNvSpPr/>
            <p:nvPr/>
          </p:nvSpPr>
          <p:spPr bwMode="auto">
            <a:xfrm>
              <a:off x="1465938" y="4658089"/>
              <a:ext cx="1630800" cy="360000"/>
            </a:xfrm>
            <a:prstGeom prst="rect">
              <a:avLst/>
            </a:prstGeom>
            <a:solidFill>
              <a:srgbClr val="E1F6F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800">
                  <a:latin typeface="Trebuchet MS" panose="020B0603020202020204" pitchFamily="34" charset="0"/>
                </a:rPr>
                <a:t>URLs &amp; emails</a:t>
              </a:r>
            </a:p>
          </p:txBody>
        </p:sp>
        <p:sp>
          <p:nvSpPr>
            <p:cNvPr id="429" name="Rectangle 428">
              <a:extLst>
                <a:ext uri="{FF2B5EF4-FFF2-40B4-BE49-F238E27FC236}">
                  <a16:creationId xmlns:a16="http://schemas.microsoft.com/office/drawing/2014/main" id="{2A76BE75-C149-4C35-AA0A-657E514E2830}"/>
                </a:ext>
              </a:extLst>
            </p:cNvPr>
            <p:cNvSpPr/>
            <p:nvPr/>
          </p:nvSpPr>
          <p:spPr bwMode="auto">
            <a:xfrm>
              <a:off x="1465938" y="4205735"/>
              <a:ext cx="1630800" cy="360000"/>
            </a:xfrm>
            <a:prstGeom prst="rect">
              <a:avLst/>
            </a:prstGeom>
            <a:solidFill>
              <a:srgbClr val="E1F6F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800">
                  <a:latin typeface="Trebuchet MS" panose="020B0603020202020204" pitchFamily="34" charset="0"/>
                </a:rPr>
                <a:t>Online behavioural data</a:t>
              </a:r>
            </a:p>
          </p:txBody>
        </p:sp>
        <p:sp>
          <p:nvSpPr>
            <p:cNvPr id="433" name="Rectangle 432">
              <a:extLst>
                <a:ext uri="{FF2B5EF4-FFF2-40B4-BE49-F238E27FC236}">
                  <a16:creationId xmlns:a16="http://schemas.microsoft.com/office/drawing/2014/main" id="{8F543B20-3A40-49DC-90C4-6BE23528CF23}"/>
                </a:ext>
              </a:extLst>
            </p:cNvPr>
            <p:cNvSpPr/>
            <p:nvPr/>
          </p:nvSpPr>
          <p:spPr bwMode="auto">
            <a:xfrm>
              <a:off x="1465938" y="5568793"/>
              <a:ext cx="1630800" cy="360000"/>
            </a:xfrm>
            <a:prstGeom prst="rect">
              <a:avLst/>
            </a:prstGeom>
            <a:solidFill>
              <a:srgbClr val="E1F6F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800">
                  <a:latin typeface="Trebuchet MS" panose="020B0603020202020204" pitchFamily="34" charset="0"/>
                </a:rPr>
                <a:t>Scrapped data</a:t>
              </a:r>
            </a:p>
          </p:txBody>
        </p:sp>
        <p:sp>
          <p:nvSpPr>
            <p:cNvPr id="436" name="Rectangle 435">
              <a:extLst>
                <a:ext uri="{FF2B5EF4-FFF2-40B4-BE49-F238E27FC236}">
                  <a16:creationId xmlns:a16="http://schemas.microsoft.com/office/drawing/2014/main" id="{D421738F-D3B5-4FBC-B387-9EE3716677CE}"/>
                </a:ext>
              </a:extLst>
            </p:cNvPr>
            <p:cNvSpPr/>
            <p:nvPr/>
          </p:nvSpPr>
          <p:spPr bwMode="auto">
            <a:xfrm>
              <a:off x="1465938" y="5115027"/>
              <a:ext cx="1630800" cy="360000"/>
            </a:xfrm>
            <a:prstGeom prst="rect">
              <a:avLst/>
            </a:prstGeom>
            <a:solidFill>
              <a:srgbClr val="E1F6F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800">
                  <a:latin typeface="Trebuchet MS" panose="020B0603020202020204" pitchFamily="34" charset="0"/>
                </a:rPr>
                <a:t>Crowdsourcing</a:t>
              </a:r>
            </a:p>
          </p:txBody>
        </p:sp>
        <p:sp>
          <p:nvSpPr>
            <p:cNvPr id="437" name="Rectangle 436">
              <a:extLst>
                <a:ext uri="{FF2B5EF4-FFF2-40B4-BE49-F238E27FC236}">
                  <a16:creationId xmlns:a16="http://schemas.microsoft.com/office/drawing/2014/main" id="{6A0530D4-3131-4201-ACE5-FC3C53778284}"/>
                </a:ext>
              </a:extLst>
            </p:cNvPr>
            <p:cNvSpPr/>
            <p:nvPr/>
          </p:nvSpPr>
          <p:spPr bwMode="auto">
            <a:xfrm>
              <a:off x="1465938" y="6018687"/>
              <a:ext cx="1630800" cy="360000"/>
            </a:xfrm>
            <a:prstGeom prst="rect">
              <a:avLst/>
            </a:prstGeom>
            <a:solidFill>
              <a:srgbClr val="E1F6F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800">
                  <a:latin typeface="Trebuchet MS" panose="020B0603020202020204" pitchFamily="34" charset="0"/>
                </a:rPr>
                <a:t>NLP extracted data</a:t>
              </a:r>
            </a:p>
          </p:txBody>
        </p:sp>
        <p:sp>
          <p:nvSpPr>
            <p:cNvPr id="523" name="Rectangle 522">
              <a:extLst>
                <a:ext uri="{FF2B5EF4-FFF2-40B4-BE49-F238E27FC236}">
                  <a16:creationId xmlns:a16="http://schemas.microsoft.com/office/drawing/2014/main" id="{CBD12C94-D37C-46E5-AFF0-654958F05250}"/>
                </a:ext>
              </a:extLst>
            </p:cNvPr>
            <p:cNvSpPr/>
            <p:nvPr/>
          </p:nvSpPr>
          <p:spPr bwMode="auto">
            <a:xfrm>
              <a:off x="1465938" y="1924782"/>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900">
                  <a:latin typeface="Trebuchet MS" panose="020B0603020202020204" pitchFamily="34" charset="0"/>
                </a:rPr>
                <a:t>Legal notices</a:t>
              </a:r>
            </a:p>
          </p:txBody>
        </p:sp>
        <p:sp>
          <p:nvSpPr>
            <p:cNvPr id="524" name="Rectangle 523">
              <a:extLst>
                <a:ext uri="{FF2B5EF4-FFF2-40B4-BE49-F238E27FC236}">
                  <a16:creationId xmlns:a16="http://schemas.microsoft.com/office/drawing/2014/main" id="{DFE39533-6AD2-40E5-A340-4C1C2F5D0486}"/>
                </a:ext>
              </a:extLst>
            </p:cNvPr>
            <p:cNvSpPr/>
            <p:nvPr/>
          </p:nvSpPr>
          <p:spPr bwMode="auto">
            <a:xfrm>
              <a:off x="1465938" y="1481521"/>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900">
                  <a:latin typeface="Trebuchet MS" panose="020B0603020202020204" pitchFamily="34" charset="0"/>
                </a:rPr>
                <a:t>Annual balance sheet and financial statements</a:t>
              </a:r>
            </a:p>
          </p:txBody>
        </p:sp>
        <p:sp>
          <p:nvSpPr>
            <p:cNvPr id="525" name="Rectangle 524">
              <a:extLst>
                <a:ext uri="{FF2B5EF4-FFF2-40B4-BE49-F238E27FC236}">
                  <a16:creationId xmlns:a16="http://schemas.microsoft.com/office/drawing/2014/main" id="{2AEE2631-3121-4AFB-B2F1-9A3FA003FCF6}"/>
                </a:ext>
              </a:extLst>
            </p:cNvPr>
            <p:cNvSpPr/>
            <p:nvPr/>
          </p:nvSpPr>
          <p:spPr bwMode="auto">
            <a:xfrm>
              <a:off x="1465938" y="3298665"/>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900">
                  <a:latin typeface="Trebuchet MS" panose="020B0603020202020204" pitchFamily="34" charset="0"/>
                </a:rPr>
                <a:t>Capital links data</a:t>
              </a:r>
            </a:p>
          </p:txBody>
        </p:sp>
        <p:sp>
          <p:nvSpPr>
            <p:cNvPr id="527" name="Rectangle 526">
              <a:extLst>
                <a:ext uri="{FF2B5EF4-FFF2-40B4-BE49-F238E27FC236}">
                  <a16:creationId xmlns:a16="http://schemas.microsoft.com/office/drawing/2014/main" id="{94CC20E3-0602-4457-AD74-6389814F549E}"/>
                </a:ext>
              </a:extLst>
            </p:cNvPr>
            <p:cNvSpPr/>
            <p:nvPr/>
          </p:nvSpPr>
          <p:spPr bwMode="auto">
            <a:xfrm>
              <a:off x="1465938" y="2862735"/>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900">
                  <a:latin typeface="Trebuchet MS" panose="020B0603020202020204" pitchFamily="34" charset="0"/>
                </a:rPr>
                <a:t>Inter-company payment data</a:t>
              </a:r>
            </a:p>
          </p:txBody>
        </p:sp>
        <p:sp>
          <p:nvSpPr>
            <p:cNvPr id="528" name="Rectangle 527">
              <a:extLst>
                <a:ext uri="{FF2B5EF4-FFF2-40B4-BE49-F238E27FC236}">
                  <a16:creationId xmlns:a16="http://schemas.microsoft.com/office/drawing/2014/main" id="{92E19E51-4E9B-4F9E-9CDC-25DC72955983}"/>
                </a:ext>
              </a:extLst>
            </p:cNvPr>
            <p:cNvSpPr/>
            <p:nvPr/>
          </p:nvSpPr>
          <p:spPr bwMode="auto">
            <a:xfrm>
              <a:off x="1465938" y="2392430"/>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900">
                  <a:latin typeface="Trebuchet MS" panose="020B0603020202020204" pitchFamily="34" charset="0"/>
                </a:rPr>
                <a:t>Public studies (e.g. INSEE...)</a:t>
              </a:r>
            </a:p>
          </p:txBody>
        </p:sp>
      </p:grpSp>
      <p:grpSp>
        <p:nvGrpSpPr>
          <p:cNvPr id="32" name="Group 31">
            <a:extLst>
              <a:ext uri="{FF2B5EF4-FFF2-40B4-BE49-F238E27FC236}">
                <a16:creationId xmlns:a16="http://schemas.microsoft.com/office/drawing/2014/main" id="{A519A9C1-16E2-41AF-AC62-079EBD5F2202}"/>
              </a:ext>
            </a:extLst>
          </p:cNvPr>
          <p:cNvGrpSpPr/>
          <p:nvPr/>
        </p:nvGrpSpPr>
        <p:grpSpPr>
          <a:xfrm>
            <a:off x="3228244" y="1499513"/>
            <a:ext cx="838880" cy="4878828"/>
            <a:chOff x="3220192" y="1499513"/>
            <a:chExt cx="838880" cy="4878828"/>
          </a:xfrm>
        </p:grpSpPr>
        <p:sp>
          <p:nvSpPr>
            <p:cNvPr id="535" name="Rectangle 534">
              <a:extLst>
                <a:ext uri="{FF2B5EF4-FFF2-40B4-BE49-F238E27FC236}">
                  <a16:creationId xmlns:a16="http://schemas.microsoft.com/office/drawing/2014/main" id="{98B5983A-1E07-4AB1-A873-8CB5D032C05B}"/>
                </a:ext>
              </a:extLst>
            </p:cNvPr>
            <p:cNvSpPr/>
            <p:nvPr/>
          </p:nvSpPr>
          <p:spPr bwMode="auto">
            <a:xfrm>
              <a:off x="3227470" y="1499513"/>
              <a:ext cx="831602" cy="217106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900">
                  <a:latin typeface="Trebuchet MS" panose="020B0603020202020204" pitchFamily="34" charset="0"/>
                </a:rPr>
                <a:t>Monthly</a:t>
              </a:r>
            </a:p>
            <a:p>
              <a:pPr algn="ctr"/>
              <a:r>
                <a:rPr lang="en-GB" sz="900">
                  <a:latin typeface="Trebuchet MS" panose="020B0603020202020204" pitchFamily="34" charset="0"/>
                </a:rPr>
                <a:t>/yearly</a:t>
              </a:r>
            </a:p>
          </p:txBody>
        </p:sp>
        <p:sp>
          <p:nvSpPr>
            <p:cNvPr id="536" name="Rectangle 535">
              <a:extLst>
                <a:ext uri="{FF2B5EF4-FFF2-40B4-BE49-F238E27FC236}">
                  <a16:creationId xmlns:a16="http://schemas.microsoft.com/office/drawing/2014/main" id="{FCB751B1-E46D-4445-AB80-0090C4EFBCA3}"/>
                </a:ext>
              </a:extLst>
            </p:cNvPr>
            <p:cNvSpPr/>
            <p:nvPr/>
          </p:nvSpPr>
          <p:spPr bwMode="auto">
            <a:xfrm>
              <a:off x="3220192" y="3767696"/>
              <a:ext cx="827641" cy="261064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900">
                  <a:latin typeface="Trebuchet MS" panose="020B0603020202020204" pitchFamily="34" charset="0"/>
                </a:rPr>
                <a:t>Real time data</a:t>
              </a:r>
            </a:p>
          </p:txBody>
        </p:sp>
      </p:grpSp>
      <p:grpSp>
        <p:nvGrpSpPr>
          <p:cNvPr id="33" name="Group 32">
            <a:extLst>
              <a:ext uri="{FF2B5EF4-FFF2-40B4-BE49-F238E27FC236}">
                <a16:creationId xmlns:a16="http://schemas.microsoft.com/office/drawing/2014/main" id="{AA0809A1-83B4-4851-BAFD-97FC06EA257F}"/>
              </a:ext>
            </a:extLst>
          </p:cNvPr>
          <p:cNvGrpSpPr/>
          <p:nvPr/>
        </p:nvGrpSpPr>
        <p:grpSpPr>
          <a:xfrm>
            <a:off x="4151946" y="1484900"/>
            <a:ext cx="899802" cy="4893442"/>
            <a:chOff x="4151946" y="1484900"/>
            <a:chExt cx="899802" cy="4893442"/>
          </a:xfrm>
        </p:grpSpPr>
        <p:sp>
          <p:nvSpPr>
            <p:cNvPr id="537" name="Rectangle 536">
              <a:extLst>
                <a:ext uri="{FF2B5EF4-FFF2-40B4-BE49-F238E27FC236}">
                  <a16:creationId xmlns:a16="http://schemas.microsoft.com/office/drawing/2014/main" id="{C16FDA56-CF60-4076-BCE3-313B4B086374}"/>
                </a:ext>
              </a:extLst>
            </p:cNvPr>
            <p:cNvSpPr/>
            <p:nvPr/>
          </p:nvSpPr>
          <p:spPr bwMode="auto">
            <a:xfrm>
              <a:off x="4155508" y="1484900"/>
              <a:ext cx="896240" cy="217057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900">
                  <a:latin typeface="Trebuchet MS" panose="020B0603020202020204" pitchFamily="34" charset="0"/>
                </a:rPr>
                <a:t>Manually </a:t>
              </a:r>
            </a:p>
          </p:txBody>
        </p:sp>
        <p:sp>
          <p:nvSpPr>
            <p:cNvPr id="538" name="Rectangle 537">
              <a:extLst>
                <a:ext uri="{FF2B5EF4-FFF2-40B4-BE49-F238E27FC236}">
                  <a16:creationId xmlns:a16="http://schemas.microsoft.com/office/drawing/2014/main" id="{25708976-A472-48BB-BDD7-30E4DA5B52EF}"/>
                </a:ext>
              </a:extLst>
            </p:cNvPr>
            <p:cNvSpPr/>
            <p:nvPr/>
          </p:nvSpPr>
          <p:spPr bwMode="auto">
            <a:xfrm>
              <a:off x="4151946" y="3753730"/>
              <a:ext cx="899779" cy="26246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900">
                  <a:latin typeface="Trebuchet MS" panose="020B0603020202020204" pitchFamily="34" charset="0"/>
                </a:rPr>
                <a:t>Automatically</a:t>
              </a:r>
            </a:p>
          </p:txBody>
        </p:sp>
      </p:grpSp>
      <p:sp>
        <p:nvSpPr>
          <p:cNvPr id="539" name="Rectangle 538">
            <a:extLst>
              <a:ext uri="{FF2B5EF4-FFF2-40B4-BE49-F238E27FC236}">
                <a16:creationId xmlns:a16="http://schemas.microsoft.com/office/drawing/2014/main" id="{9F32C569-072B-4B70-918E-AE108CDD6CB3}"/>
              </a:ext>
            </a:extLst>
          </p:cNvPr>
          <p:cNvSpPr/>
          <p:nvPr/>
        </p:nvSpPr>
        <p:spPr bwMode="auto">
          <a:xfrm>
            <a:off x="8149576" y="4203976"/>
            <a:ext cx="1630849"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171450" indent="-171450">
              <a:buFont typeface="Arial" panose="020B0604020202020204" pitchFamily="34" charset="0"/>
              <a:buChar char="•"/>
            </a:pPr>
            <a:r>
              <a:rPr lang="en-GB" sz="900">
                <a:latin typeface="Trebuchet MS" pitchFamily="34" charset="0"/>
              </a:rPr>
              <a:t>Buying through brokers</a:t>
            </a:r>
          </a:p>
          <a:p>
            <a:pPr marL="171450" indent="-171450">
              <a:buFont typeface="Arial" panose="020B0604020202020204" pitchFamily="34" charset="0"/>
              <a:buChar char="•"/>
            </a:pPr>
            <a:r>
              <a:rPr lang="en-GB" sz="900">
                <a:latin typeface="Trebuchet MS" pitchFamily="34" charset="0"/>
              </a:rPr>
              <a:t>Obtained through proper websites</a:t>
            </a:r>
          </a:p>
        </p:txBody>
      </p:sp>
      <p:sp>
        <p:nvSpPr>
          <p:cNvPr id="540" name="Rectangle 539">
            <a:extLst>
              <a:ext uri="{FF2B5EF4-FFF2-40B4-BE49-F238E27FC236}">
                <a16:creationId xmlns:a16="http://schemas.microsoft.com/office/drawing/2014/main" id="{5C8FE26D-141E-4278-971B-70DE69E05B23}"/>
              </a:ext>
            </a:extLst>
          </p:cNvPr>
          <p:cNvSpPr/>
          <p:nvPr/>
        </p:nvSpPr>
        <p:spPr bwMode="auto">
          <a:xfrm>
            <a:off x="8149576" y="5115809"/>
            <a:ext cx="1630800" cy="126253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92075"/>
            <a:r>
              <a:rPr lang="en-GB" sz="900">
                <a:latin typeface="Trebuchet MS" panose="020B0603020202020204" pitchFamily="34" charset="0"/>
              </a:rPr>
              <a:t>Scrapping by data scientist teams</a:t>
            </a:r>
          </a:p>
        </p:txBody>
      </p:sp>
      <p:sp>
        <p:nvSpPr>
          <p:cNvPr id="541" name="Rectangle 540">
            <a:extLst>
              <a:ext uri="{FF2B5EF4-FFF2-40B4-BE49-F238E27FC236}">
                <a16:creationId xmlns:a16="http://schemas.microsoft.com/office/drawing/2014/main" id="{A2E29586-A937-4E99-836A-96C8F997A16F}"/>
              </a:ext>
            </a:extLst>
          </p:cNvPr>
          <p:cNvSpPr/>
          <p:nvPr/>
        </p:nvSpPr>
        <p:spPr bwMode="auto">
          <a:xfrm>
            <a:off x="8149576" y="4658089"/>
            <a:ext cx="1630849"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92075"/>
            <a:r>
              <a:rPr lang="en-GB" sz="900">
                <a:latin typeface="Trebuchet MS" panose="020B0603020202020204" pitchFamily="34" charset="0"/>
              </a:rPr>
              <a:t>Buying decision maker phone number and mails through partnership</a:t>
            </a:r>
          </a:p>
        </p:txBody>
      </p:sp>
      <p:sp>
        <p:nvSpPr>
          <p:cNvPr id="542" name="Rectangle 541">
            <a:extLst>
              <a:ext uri="{FF2B5EF4-FFF2-40B4-BE49-F238E27FC236}">
                <a16:creationId xmlns:a16="http://schemas.microsoft.com/office/drawing/2014/main" id="{3C925D3F-1A2D-42C3-A312-A405CE60A0B2}"/>
              </a:ext>
            </a:extLst>
          </p:cNvPr>
          <p:cNvSpPr/>
          <p:nvPr/>
        </p:nvSpPr>
        <p:spPr bwMode="auto">
          <a:xfrm>
            <a:off x="8149576" y="3752444"/>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92075"/>
            <a:r>
              <a:rPr lang="en-GB" sz="900">
                <a:latin typeface="Trebuchet MS" panose="020B0603020202020204" pitchFamily="34" charset="0"/>
              </a:rPr>
              <a:t>Open Data is very developed in Belgium</a:t>
            </a:r>
          </a:p>
        </p:txBody>
      </p:sp>
      <p:sp>
        <p:nvSpPr>
          <p:cNvPr id="305" name="Rectangle 304">
            <a:extLst>
              <a:ext uri="{FF2B5EF4-FFF2-40B4-BE49-F238E27FC236}">
                <a16:creationId xmlns:a16="http://schemas.microsoft.com/office/drawing/2014/main" id="{7580BC31-E4D0-4130-80DE-55A9148AAB71}"/>
              </a:ext>
            </a:extLst>
          </p:cNvPr>
          <p:cNvSpPr/>
          <p:nvPr/>
        </p:nvSpPr>
        <p:spPr bwMode="auto">
          <a:xfrm>
            <a:off x="8138262" y="1481521"/>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92075"/>
            <a:r>
              <a:rPr lang="en-GB" sz="900">
                <a:latin typeface="Trebuchet MS" panose="020B0603020202020204" pitchFamily="34" charset="0"/>
              </a:rPr>
              <a:t>Balance sheet are treated by third party</a:t>
            </a:r>
          </a:p>
        </p:txBody>
      </p:sp>
      <p:grpSp>
        <p:nvGrpSpPr>
          <p:cNvPr id="310" name="Groupe 66">
            <a:extLst>
              <a:ext uri="{FF2B5EF4-FFF2-40B4-BE49-F238E27FC236}">
                <a16:creationId xmlns:a16="http://schemas.microsoft.com/office/drawing/2014/main" id="{686D38EC-5852-4455-80BD-3D2E8B22CA60}"/>
              </a:ext>
            </a:extLst>
          </p:cNvPr>
          <p:cNvGrpSpPr/>
          <p:nvPr/>
        </p:nvGrpSpPr>
        <p:grpSpPr>
          <a:xfrm>
            <a:off x="8448150" y="-11528"/>
            <a:ext cx="1435548" cy="588143"/>
            <a:chOff x="8448150" y="-11528"/>
            <a:chExt cx="1435548" cy="588143"/>
          </a:xfrm>
        </p:grpSpPr>
        <p:sp>
          <p:nvSpPr>
            <p:cNvPr id="311" name="Rectangle : coins arrondis 199">
              <a:extLst>
                <a:ext uri="{FF2B5EF4-FFF2-40B4-BE49-F238E27FC236}">
                  <a16:creationId xmlns:a16="http://schemas.microsoft.com/office/drawing/2014/main" id="{CE1DFB3C-B81E-4B73-A37E-1F29C3E4B112}"/>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12" name="Rectangle : coins arrondis 200">
              <a:extLst>
                <a:ext uri="{FF2B5EF4-FFF2-40B4-BE49-F238E27FC236}">
                  <a16:creationId xmlns:a16="http://schemas.microsoft.com/office/drawing/2014/main" id="{6AB0FC31-D3D7-4F81-964B-DD4836964B42}"/>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41" name="Rectangle : coins arrondis 201">
              <a:extLst>
                <a:ext uri="{FF2B5EF4-FFF2-40B4-BE49-F238E27FC236}">
                  <a16:creationId xmlns:a16="http://schemas.microsoft.com/office/drawing/2014/main" id="{DFF377D2-801C-4F60-A943-DF87ED3974D6}"/>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42" name="ZoneTexte 18">
              <a:extLst>
                <a:ext uri="{FF2B5EF4-FFF2-40B4-BE49-F238E27FC236}">
                  <a16:creationId xmlns:a16="http://schemas.microsoft.com/office/drawing/2014/main" id="{400928E0-4635-4A42-826E-5152B40347C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Data collection</a:t>
              </a:r>
            </a:p>
          </p:txBody>
        </p:sp>
        <p:pic>
          <p:nvPicPr>
            <p:cNvPr id="343" name="Graphique 128" descr="Jauge">
              <a:extLst>
                <a:ext uri="{FF2B5EF4-FFF2-40B4-BE49-F238E27FC236}">
                  <a16:creationId xmlns:a16="http://schemas.microsoft.com/office/drawing/2014/main" id="{D66CDADA-2617-4853-9D1D-A0413A6C10A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346" name="Graphique 90" descr="Poignée de main">
              <a:extLst>
                <a:ext uri="{FF2B5EF4-FFF2-40B4-BE49-F238E27FC236}">
                  <a16:creationId xmlns:a16="http://schemas.microsoft.com/office/drawing/2014/main" id="{B0921BF2-5E23-4A74-AFAD-41B18764604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371" name="Graphique 96" descr="Mégaphone">
              <a:extLst>
                <a:ext uri="{FF2B5EF4-FFF2-40B4-BE49-F238E27FC236}">
                  <a16:creationId xmlns:a16="http://schemas.microsoft.com/office/drawing/2014/main" id="{415DA866-00C4-460C-A566-9EDDE48D735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397" name="Picture 2" descr="Drapeau France">
              <a:extLst>
                <a:ext uri="{FF2B5EF4-FFF2-40B4-BE49-F238E27FC236}">
                  <a16:creationId xmlns:a16="http://schemas.microsoft.com/office/drawing/2014/main" id="{55F7450F-A1DB-4478-9423-9FD5A90FE1BF}"/>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398" name="Picture 2" descr="5 ft x 3 ft 150 x 90 cm-DRAPEAU BELGE Belgique 100% Polyester ...">
              <a:extLst>
                <a:ext uri="{FF2B5EF4-FFF2-40B4-BE49-F238E27FC236}">
                  <a16:creationId xmlns:a16="http://schemas.microsoft.com/office/drawing/2014/main" id="{8B8177B1-ED62-4416-9DF4-4EF279DD8DC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00" name="Picture 2 - 1" descr="Drapeau des Pays-Bas — Wikipédia">
              <a:extLst>
                <a:ext uri="{FF2B5EF4-FFF2-40B4-BE49-F238E27FC236}">
                  <a16:creationId xmlns:a16="http://schemas.microsoft.com/office/drawing/2014/main" id="{6BE09448-93F1-4FB9-8E68-C2B2DFA9718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402" name="Picture 2 - 2" descr="Drapeau du Luxembourg">
              <a:extLst>
                <a:ext uri="{FF2B5EF4-FFF2-40B4-BE49-F238E27FC236}">
                  <a16:creationId xmlns:a16="http://schemas.microsoft.com/office/drawing/2014/main" id="{57B2FD02-C188-412D-AF7C-6E3B8DEEC30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403" name="ZoneTexte 18">
              <a:extLst>
                <a:ext uri="{FF2B5EF4-FFF2-40B4-BE49-F238E27FC236}">
                  <a16:creationId xmlns:a16="http://schemas.microsoft.com/office/drawing/2014/main" id="{832C0768-D5D0-4207-83BD-0D22C0E3DB54}"/>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sp>
        <p:nvSpPr>
          <p:cNvPr id="406" name="Rectangle 405">
            <a:extLst>
              <a:ext uri="{FF2B5EF4-FFF2-40B4-BE49-F238E27FC236}">
                <a16:creationId xmlns:a16="http://schemas.microsoft.com/office/drawing/2014/main" id="{B560D811-A723-444E-916B-52497B036858}"/>
              </a:ext>
            </a:extLst>
          </p:cNvPr>
          <p:cNvSpPr/>
          <p:nvPr/>
        </p:nvSpPr>
        <p:spPr bwMode="auto">
          <a:xfrm>
            <a:off x="8138262" y="2838339"/>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92075"/>
            <a:r>
              <a:rPr lang="en-GB" sz="900">
                <a:latin typeface="Trebuchet MS" panose="020B0603020202020204" pitchFamily="34" charset="0"/>
              </a:rPr>
              <a:t>DUNTRADE program (</a:t>
            </a:r>
            <a:r>
              <a:rPr lang="en-GB" sz="900" err="1">
                <a:latin typeface="Trebuchet MS" panose="020B0603020202020204" pitchFamily="34" charset="0"/>
              </a:rPr>
              <a:t>Paydex</a:t>
            </a:r>
            <a:r>
              <a:rPr lang="en-GB" sz="900">
                <a:latin typeface="Trebuchet MS" panose="020B0603020202020204" pitchFamily="34" charset="0"/>
              </a:rPr>
              <a:t>)</a:t>
            </a:r>
          </a:p>
        </p:txBody>
      </p:sp>
    </p:spTree>
    <p:extLst>
      <p:ext uri="{BB962C8B-B14F-4D97-AF65-F5344CB8AC3E}">
        <p14:creationId xmlns:p14="http://schemas.microsoft.com/office/powerpoint/2010/main" val="441395905"/>
      </p:ext>
    </p:extLst>
  </p:cSld>
  <p:clrMapOvr>
    <a:masterClrMapping/>
  </p:clrMapOvr>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1D7497B-87AA-4412-B006-3D0CFEE9B51C}"/>
              </a:ext>
            </a:extLst>
          </p:cNvPr>
          <p:cNvGraphicFramePr>
            <a:graphicFrameLocks noChangeAspect="1"/>
          </p:cNvGraphicFramePr>
          <p:nvPr>
            <p:custDataLst>
              <p:tags r:id="rId1"/>
            </p:custDataLst>
            <p:extLst>
              <p:ext uri="{D42A27DB-BD31-4B8C-83A1-F6EECF244321}">
                <p14:modId xmlns:p14="http://schemas.microsoft.com/office/powerpoint/2010/main" val="3906811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9" name="Object 8" hidden="1">
                        <a:extLst>
                          <a:ext uri="{FF2B5EF4-FFF2-40B4-BE49-F238E27FC236}">
                            <a16:creationId xmlns:a16="http://schemas.microsoft.com/office/drawing/2014/main" id="{C1D7497B-87AA-4412-B006-3D0CFEE9B5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B6E85AE-BA00-478C-8758-6A1D12D075B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495526B1-1EF6-4E52-B234-E40EFAA8255F}"/>
              </a:ext>
            </a:extLst>
          </p:cNvPr>
          <p:cNvSpPr>
            <a:spLocks noGrp="1"/>
          </p:cNvSpPr>
          <p:nvPr>
            <p:ph type="title"/>
          </p:nvPr>
        </p:nvSpPr>
        <p:spPr>
          <a:xfrm>
            <a:off x="165600" y="147600"/>
            <a:ext cx="8281274" cy="684000"/>
          </a:xfrm>
        </p:spPr>
        <p:txBody>
          <a:bodyPr/>
          <a:lstStyle/>
          <a:p>
            <a:r>
              <a:rPr lang="en-GB" err="1">
                <a:solidFill>
                  <a:schemeClr val="tx2"/>
                </a:solidFill>
                <a:latin typeface="Trebuchet MS" panose="020B0603020202020204" pitchFamily="34" charset="0"/>
              </a:rPr>
              <a:t>Paydex</a:t>
            </a:r>
            <a:r>
              <a:rPr lang="en-GB">
                <a:latin typeface="Trebuchet MS" panose="020B0603020202020204" pitchFamily="34" charset="0"/>
              </a:rPr>
              <a:t>, Altares’ score to predict companies’ </a:t>
            </a:r>
            <a:r>
              <a:rPr lang="en-GB">
                <a:solidFill>
                  <a:schemeClr val="tx2"/>
                </a:solidFill>
                <a:latin typeface="Trebuchet MS" panose="020B0603020202020204" pitchFamily="34" charset="0"/>
              </a:rPr>
              <a:t>insolvency risk </a:t>
            </a:r>
            <a:r>
              <a:rPr lang="en-GB">
                <a:latin typeface="Trebuchet MS" panose="020B0603020202020204" pitchFamily="34" charset="0"/>
              </a:rPr>
              <a:t>is a very </a:t>
            </a:r>
            <a:r>
              <a:rPr lang="en-GB">
                <a:solidFill>
                  <a:schemeClr val="tx2"/>
                </a:solidFill>
                <a:latin typeface="Trebuchet MS" panose="020B0603020202020204" pitchFamily="34" charset="0"/>
              </a:rPr>
              <a:t>high value-added asset </a:t>
            </a:r>
            <a:r>
              <a:rPr lang="en-GB">
                <a:latin typeface="Trebuchet MS" panose="020B0603020202020204" pitchFamily="34" charset="0"/>
              </a:rPr>
              <a:t>since it is based on very </a:t>
            </a:r>
            <a:r>
              <a:rPr lang="en-GB">
                <a:solidFill>
                  <a:schemeClr val="tx2"/>
                </a:solidFill>
                <a:latin typeface="Trebuchet MS" panose="020B0603020202020204" pitchFamily="34" charset="0"/>
              </a:rPr>
              <a:t>“hot” </a:t>
            </a:r>
            <a:r>
              <a:rPr lang="en-GB">
                <a:latin typeface="Trebuchet MS" panose="020B0603020202020204" pitchFamily="34" charset="0"/>
              </a:rPr>
              <a:t>and</a:t>
            </a:r>
            <a:r>
              <a:rPr lang="en-GB">
                <a:solidFill>
                  <a:schemeClr val="tx2"/>
                </a:solidFill>
                <a:latin typeface="Trebuchet MS" panose="020B0603020202020204" pitchFamily="34" charset="0"/>
              </a:rPr>
              <a:t> hard-to-get i</a:t>
            </a:r>
            <a:r>
              <a:rPr lang="en-GB" sz="1600">
                <a:solidFill>
                  <a:schemeClr val="tx2"/>
                </a:solidFill>
                <a:latin typeface="Trebuchet MS" panose="020B0603020202020204" pitchFamily="34" charset="0"/>
              </a:rPr>
              <a:t>nter-company payment data</a:t>
            </a:r>
            <a:endParaRPr lang="en-GB">
              <a:latin typeface="Trebuchet MS" panose="020B0603020202020204" pitchFamily="34" charset="0"/>
            </a:endParaRPr>
          </a:p>
        </p:txBody>
      </p:sp>
      <p:sp>
        <p:nvSpPr>
          <p:cNvPr id="3" name="Text Placeholder 2">
            <a:extLst>
              <a:ext uri="{FF2B5EF4-FFF2-40B4-BE49-F238E27FC236}">
                <a16:creationId xmlns:a16="http://schemas.microsoft.com/office/drawing/2014/main" id="{749645C0-D71E-4419-A046-E4F0F7BD4BE9}"/>
              </a:ext>
            </a:extLst>
          </p:cNvPr>
          <p:cNvSpPr>
            <a:spLocks noGrp="1"/>
          </p:cNvSpPr>
          <p:nvPr>
            <p:ph type="body" sz="quarter" idx="10"/>
          </p:nvPr>
        </p:nvSpPr>
        <p:spPr/>
        <p:txBody>
          <a:bodyPr/>
          <a:lstStyle/>
          <a:p>
            <a:r>
              <a:rPr lang="en-GB" sz="800" i="1" kern="0"/>
              <a:t>Sources: eleven research &amp; analysis, company data, interviews with management</a:t>
            </a:r>
          </a:p>
        </p:txBody>
      </p:sp>
      <p:cxnSp>
        <p:nvCxnSpPr>
          <p:cNvPr id="4" name="Connecteur droit 244">
            <a:extLst>
              <a:ext uri="{FF2B5EF4-FFF2-40B4-BE49-F238E27FC236}">
                <a16:creationId xmlns:a16="http://schemas.microsoft.com/office/drawing/2014/main" id="{67AEC905-2EA0-4EA3-8DA3-072FC1CB202B}"/>
              </a:ext>
            </a:extLst>
          </p:cNvPr>
          <p:cNvCxnSpPr>
            <a:cxnSpLocks/>
          </p:cNvCxnSpPr>
          <p:nvPr/>
        </p:nvCxnSpPr>
        <p:spPr bwMode="auto">
          <a:xfrm>
            <a:off x="316226" y="995044"/>
            <a:ext cx="454717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 name="Rectangle 4">
            <a:extLst>
              <a:ext uri="{FF2B5EF4-FFF2-40B4-BE49-F238E27FC236}">
                <a16:creationId xmlns:a16="http://schemas.microsoft.com/office/drawing/2014/main" id="{CAFEC213-0BEB-4B7C-9AA8-7D33A6C5729C}"/>
              </a:ext>
            </a:extLst>
          </p:cNvPr>
          <p:cNvSpPr/>
          <p:nvPr/>
        </p:nvSpPr>
        <p:spPr bwMode="auto">
          <a:xfrm>
            <a:off x="833416" y="900603"/>
            <a:ext cx="3318617" cy="43175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err="1">
                <a:latin typeface="Trebuchet MS" panose="020B0603020202020204" pitchFamily="34" charset="0"/>
              </a:rPr>
              <a:t>Altares</a:t>
            </a:r>
            <a:r>
              <a:rPr lang="en-GB" sz="1100">
                <a:latin typeface="Trebuchet MS" panose="020B0603020202020204" pitchFamily="34" charset="0"/>
              </a:rPr>
              <a:t>' </a:t>
            </a:r>
            <a:r>
              <a:rPr lang="en-GB" sz="1100" b="0" i="0" err="1">
                <a:effectLst/>
                <a:latin typeface="Trebuchet MS" panose="020B0603020202020204" pitchFamily="34" charset="0"/>
              </a:rPr>
              <a:t>Paydex</a:t>
            </a:r>
            <a:r>
              <a:rPr lang="en-GB" sz="1100" b="0" i="0">
                <a:effectLst/>
                <a:latin typeface="Trebuchet MS" panose="020B0603020202020204" pitchFamily="34" charset="0"/>
              </a:rPr>
              <a:t> score statistically measures the promptness of a company’s payments to its suppliers and vendors…</a:t>
            </a:r>
          </a:p>
          <a:p>
            <a:pPr marL="0" marR="0" indent="0" algn="ctr" defTabSz="914400" rtl="0" eaLnBrk="1" fontAlgn="base" latinLnBrk="0" hangingPunct="1">
              <a:lnSpc>
                <a:spcPct val="100000"/>
              </a:lnSpc>
              <a:spcBef>
                <a:spcPct val="0"/>
              </a:spcBef>
              <a:spcAft>
                <a:spcPct val="0"/>
              </a:spcAft>
              <a:buClrTx/>
              <a:buSzTx/>
              <a:buFontTx/>
              <a:buNone/>
              <a:tabLst/>
            </a:pPr>
            <a:r>
              <a:rPr lang="en-GB" sz="1100">
                <a:latin typeface="Trebuchet MS" panose="020B0603020202020204" pitchFamily="34" charset="0"/>
              </a:rPr>
              <a:t> </a:t>
            </a:r>
            <a:endParaRPr kumimoji="0" lang="en-GB" sz="1100" b="0" i="0" u="none" strike="noStrike" cap="none" normalizeH="0" baseline="0">
              <a:ln>
                <a:noFill/>
              </a:ln>
              <a:effectLst/>
              <a:latin typeface="Trebuchet MS" panose="020B0603020202020204" pitchFamily="34" charset="0"/>
            </a:endParaRPr>
          </a:p>
        </p:txBody>
      </p:sp>
      <p:sp>
        <p:nvSpPr>
          <p:cNvPr id="7" name="ZoneTexte 6">
            <a:extLst>
              <a:ext uri="{FF2B5EF4-FFF2-40B4-BE49-F238E27FC236}">
                <a16:creationId xmlns:a16="http://schemas.microsoft.com/office/drawing/2014/main" id="{9F1D5B12-40D5-4CD7-81BA-C240BA3209E7}"/>
              </a:ext>
            </a:extLst>
          </p:cNvPr>
          <p:cNvSpPr txBox="1"/>
          <p:nvPr/>
        </p:nvSpPr>
        <p:spPr>
          <a:xfrm>
            <a:off x="316225" y="1449588"/>
            <a:ext cx="4547175" cy="2092881"/>
          </a:xfrm>
          <a:prstGeom prst="rect">
            <a:avLst/>
          </a:prstGeom>
          <a:noFill/>
        </p:spPr>
        <p:txBody>
          <a:bodyPr wrap="square">
            <a:spAutoFit/>
          </a:bodyPr>
          <a:lstStyle/>
          <a:p>
            <a:pPr marL="171450" indent="-171450" algn="just">
              <a:buFont typeface="Arial" panose="020B0604020202020204" pitchFamily="34" charset="0"/>
              <a:buChar char="•"/>
            </a:pPr>
            <a:r>
              <a:rPr lang="en-GB" sz="1000" b="0" i="0">
                <a:solidFill>
                  <a:srgbClr val="747474"/>
                </a:solidFill>
                <a:effectLst/>
                <a:latin typeface="Trebuchet MS" panose="020B0603020202020204" pitchFamily="34" charset="0"/>
              </a:rPr>
              <a:t>It shows the average number of days’ payment delay, based on a minimum of three trade experiences (from three different suppliers) and presents the payment behaviour (e.g. in advance, with delay…) </a:t>
            </a:r>
          </a:p>
          <a:p>
            <a:pPr marL="171450" indent="-171450" algn="just">
              <a:buFont typeface="Arial" panose="020B0604020202020204" pitchFamily="34" charset="0"/>
              <a:buChar char="•"/>
            </a:pPr>
            <a:endParaRPr lang="en-GB" sz="1000" b="0" i="0">
              <a:solidFill>
                <a:srgbClr val="747474"/>
              </a:solidFill>
              <a:effectLst/>
              <a:latin typeface="Trebuchet MS" panose="020B0603020202020204" pitchFamily="34" charset="0"/>
            </a:endParaRPr>
          </a:p>
          <a:p>
            <a:pPr marL="171450" indent="-171450" algn="just">
              <a:buFont typeface="Arial" panose="020B0604020202020204" pitchFamily="34" charset="0"/>
              <a:buChar char="•"/>
            </a:pPr>
            <a:r>
              <a:rPr lang="en-GB" sz="1000" b="0" i="0">
                <a:solidFill>
                  <a:srgbClr val="747474"/>
                </a:solidFill>
                <a:effectLst/>
                <a:latin typeface="Trebuchet MS" panose="020B0603020202020204" pitchFamily="34" charset="0"/>
              </a:rPr>
              <a:t>A payment experience is a company’s average payment performance with one of its suppliers (who are DunTrade partners), over an 8-month period</a:t>
            </a:r>
          </a:p>
          <a:p>
            <a:pPr marL="171450" indent="-171450" algn="just">
              <a:buFont typeface="Arial" panose="020B0604020202020204" pitchFamily="34" charset="0"/>
              <a:buChar char="•"/>
            </a:pPr>
            <a:endParaRPr lang="en-GB" sz="1000" b="0" i="0">
              <a:solidFill>
                <a:srgbClr val="747474"/>
              </a:solidFill>
              <a:effectLst/>
              <a:latin typeface="Trebuchet MS" panose="020B0603020202020204" pitchFamily="34" charset="0"/>
            </a:endParaRPr>
          </a:p>
          <a:p>
            <a:pPr marL="171450" indent="-171450" algn="just">
              <a:buFont typeface="Arial" panose="020B0604020202020204" pitchFamily="34" charset="0"/>
              <a:buChar char="•"/>
            </a:pPr>
            <a:r>
              <a:rPr lang="en-GB" sz="1000" b="0" i="0">
                <a:solidFill>
                  <a:srgbClr val="747474"/>
                </a:solidFill>
                <a:effectLst/>
                <a:latin typeface="Trebuchet MS" panose="020B0603020202020204" pitchFamily="34" charset="0"/>
              </a:rPr>
              <a:t>The primary objective of the Paydex score is to predict delinquency or default of companies</a:t>
            </a:r>
          </a:p>
          <a:p>
            <a:pPr marL="171450" indent="-171450" algn="just">
              <a:buFont typeface="Arial" panose="020B0604020202020204" pitchFamily="34" charset="0"/>
              <a:buChar char="•"/>
            </a:pPr>
            <a:endParaRPr lang="en-GB" sz="1000" b="0" i="0">
              <a:solidFill>
                <a:srgbClr val="747474"/>
              </a:solidFill>
              <a:effectLst/>
              <a:latin typeface="Trebuchet MS" panose="020B0603020202020204" pitchFamily="34" charset="0"/>
            </a:endParaRPr>
          </a:p>
          <a:p>
            <a:pPr marL="171450" indent="-171450" algn="just">
              <a:buFont typeface="Arial" panose="020B0604020202020204" pitchFamily="34" charset="0"/>
              <a:buChar char="•"/>
            </a:pPr>
            <a:r>
              <a:rPr lang="en-GB" sz="1000" b="0" i="0">
                <a:solidFill>
                  <a:srgbClr val="747474"/>
                </a:solidFill>
                <a:effectLst/>
                <a:latin typeface="Trebuchet MS" panose="020B0603020202020204" pitchFamily="34" charset="0"/>
              </a:rPr>
              <a:t>Apart from assessing risk, this score can help to design the best debt collection or business development strategies</a:t>
            </a:r>
          </a:p>
        </p:txBody>
      </p:sp>
      <p:sp>
        <p:nvSpPr>
          <p:cNvPr id="8" name="ZoneTexte 7">
            <a:extLst>
              <a:ext uri="{FF2B5EF4-FFF2-40B4-BE49-F238E27FC236}">
                <a16:creationId xmlns:a16="http://schemas.microsoft.com/office/drawing/2014/main" id="{6093F9A6-3DB2-451A-BB85-44416A2C98D5}"/>
              </a:ext>
            </a:extLst>
          </p:cNvPr>
          <p:cNvSpPr txBox="1"/>
          <p:nvPr/>
        </p:nvSpPr>
        <p:spPr>
          <a:xfrm>
            <a:off x="316226" y="4266658"/>
            <a:ext cx="4581479" cy="2246769"/>
          </a:xfrm>
          <a:prstGeom prst="rect">
            <a:avLst/>
          </a:prstGeom>
          <a:noFill/>
        </p:spPr>
        <p:txBody>
          <a:bodyPr wrap="square">
            <a:spAutoFit/>
          </a:bodyPr>
          <a:lstStyle/>
          <a:p>
            <a:pPr marL="171450" indent="-171450" algn="just">
              <a:buFont typeface="Arial" panose="020B0604020202020204" pitchFamily="34" charset="0"/>
              <a:buChar char="•"/>
            </a:pPr>
            <a:r>
              <a:rPr lang="en-GB" sz="1000" b="0" i="0" err="1">
                <a:solidFill>
                  <a:srgbClr val="747474"/>
                </a:solidFill>
                <a:effectLst/>
                <a:latin typeface="Trebuchet MS" panose="020B0603020202020204" pitchFamily="34" charset="0"/>
              </a:rPr>
              <a:t>Altares</a:t>
            </a:r>
            <a:r>
              <a:rPr lang="en-GB" sz="1000" b="0" i="0">
                <a:solidFill>
                  <a:srgbClr val="747474"/>
                </a:solidFill>
                <a:effectLst/>
                <a:latin typeface="Trebuchet MS" panose="020B0603020202020204" pitchFamily="34" charset="0"/>
              </a:rPr>
              <a:t> – D&amp;B’s partner in France, Benelux and North Africa – uses </a:t>
            </a:r>
            <a:r>
              <a:rPr lang="en-GB" sz="1000" b="0" i="0" err="1">
                <a:solidFill>
                  <a:schemeClr val="tx2"/>
                </a:solidFill>
                <a:effectLst/>
                <a:latin typeface="Trebuchet MS" panose="020B0603020202020204" pitchFamily="34" charset="0"/>
              </a:rPr>
              <a:t>DunTrade</a:t>
            </a:r>
            <a:r>
              <a:rPr lang="en-GB" sz="1000" b="0" i="0">
                <a:solidFill>
                  <a:srgbClr val="747474"/>
                </a:solidFill>
                <a:effectLst/>
                <a:latin typeface="Trebuchet MS" panose="020B0603020202020204" pitchFamily="34" charset="0"/>
              </a:rPr>
              <a:t> to </a:t>
            </a:r>
            <a:r>
              <a:rPr lang="en-GB" sz="1000" b="0" i="0">
                <a:solidFill>
                  <a:schemeClr val="tx2"/>
                </a:solidFill>
                <a:effectLst/>
                <a:latin typeface="Trebuchet MS" panose="020B0603020202020204" pitchFamily="34" charset="0"/>
              </a:rPr>
              <a:t>enhance its scores </a:t>
            </a:r>
            <a:r>
              <a:rPr lang="en-GB" sz="1000" b="0" i="0">
                <a:solidFill>
                  <a:srgbClr val="747474"/>
                </a:solidFill>
                <a:effectLst/>
                <a:latin typeface="Trebuchet MS" panose="020B0603020202020204" pitchFamily="34" charset="0"/>
              </a:rPr>
              <a:t>and </a:t>
            </a:r>
            <a:r>
              <a:rPr lang="en-GB" sz="1000" b="0" i="0">
                <a:solidFill>
                  <a:schemeClr val="tx2"/>
                </a:solidFill>
                <a:effectLst/>
                <a:latin typeface="Trebuchet MS" panose="020B0603020202020204" pitchFamily="34" charset="0"/>
              </a:rPr>
              <a:t>publish its payment habit analyses</a:t>
            </a:r>
            <a:endParaRPr lang="en-GB" sz="1000" b="0" i="0">
              <a:solidFill>
                <a:srgbClr val="747474"/>
              </a:solidFill>
              <a:effectLst/>
              <a:latin typeface="Trebuchet MS" panose="020B0603020202020204" pitchFamily="34" charset="0"/>
            </a:endParaRPr>
          </a:p>
          <a:p>
            <a:pPr marL="171450" indent="-171450" algn="just">
              <a:buFont typeface="Arial" panose="020B0604020202020204" pitchFamily="34" charset="0"/>
              <a:buChar char="•"/>
            </a:pPr>
            <a:endParaRPr lang="en-GB" sz="1000" b="0" i="0">
              <a:solidFill>
                <a:srgbClr val="747474"/>
              </a:solidFill>
              <a:effectLst/>
              <a:latin typeface="Trebuchet MS" panose="020B0603020202020204" pitchFamily="34" charset="0"/>
            </a:endParaRPr>
          </a:p>
          <a:p>
            <a:pPr marL="171450" indent="-171450" algn="just">
              <a:buFont typeface="Arial" panose="020B0604020202020204" pitchFamily="34" charset="0"/>
              <a:buChar char="•"/>
            </a:pPr>
            <a:r>
              <a:rPr lang="en-GB" sz="1000" b="0" i="0">
                <a:solidFill>
                  <a:srgbClr val="747474"/>
                </a:solidFill>
                <a:effectLst/>
                <a:latin typeface="Trebuchet MS" panose="020B0603020202020204" pitchFamily="34" charset="0"/>
              </a:rPr>
              <a:t>Analysing payment performance can enable enterprises to </a:t>
            </a:r>
            <a:r>
              <a:rPr lang="en-GB" sz="1000" b="0" i="0">
                <a:solidFill>
                  <a:schemeClr val="tx2"/>
                </a:solidFill>
                <a:effectLst/>
                <a:latin typeface="Trebuchet MS" panose="020B0603020202020204" pitchFamily="34" charset="0"/>
              </a:rPr>
              <a:t>assess a company’s insolvency risk </a:t>
            </a:r>
            <a:r>
              <a:rPr lang="en-GB" sz="1000" b="0" i="0">
                <a:solidFill>
                  <a:srgbClr val="747474"/>
                </a:solidFill>
                <a:effectLst/>
                <a:latin typeface="Trebuchet MS" panose="020B0603020202020204" pitchFamily="34" charset="0"/>
              </a:rPr>
              <a:t>(customers or prospects) as 25% of bankruptcies in France are due to payment delays or defaults</a:t>
            </a:r>
          </a:p>
          <a:p>
            <a:pPr marL="171450" indent="-171450" algn="just">
              <a:buFont typeface="Arial" panose="020B0604020202020204" pitchFamily="34" charset="0"/>
              <a:buChar char="•"/>
            </a:pPr>
            <a:endParaRPr lang="en-GB" sz="1000" b="0" i="0">
              <a:solidFill>
                <a:srgbClr val="747474"/>
              </a:solidFill>
              <a:effectLst/>
              <a:latin typeface="Trebuchet MS" panose="020B0603020202020204" pitchFamily="34" charset="0"/>
            </a:endParaRPr>
          </a:p>
          <a:p>
            <a:pPr marL="171450" indent="-171450" algn="just">
              <a:buFont typeface="Arial" panose="020B0604020202020204" pitchFamily="34" charset="0"/>
              <a:buChar char="•"/>
            </a:pPr>
            <a:r>
              <a:rPr lang="en-GB" sz="1000" b="0" i="0">
                <a:solidFill>
                  <a:srgbClr val="747474"/>
                </a:solidFill>
                <a:effectLst/>
                <a:latin typeface="Trebuchet MS" panose="020B0603020202020204" pitchFamily="34" charset="0"/>
              </a:rPr>
              <a:t>The </a:t>
            </a:r>
            <a:r>
              <a:rPr lang="en-GB" sz="1000" b="0" i="0" err="1">
                <a:solidFill>
                  <a:schemeClr val="tx2"/>
                </a:solidFill>
                <a:effectLst/>
                <a:latin typeface="Trebuchet MS" panose="020B0603020202020204" pitchFamily="34" charset="0"/>
              </a:rPr>
              <a:t>Paydex</a:t>
            </a:r>
            <a:r>
              <a:rPr lang="en-GB" sz="1000" b="0" i="0">
                <a:solidFill>
                  <a:schemeClr val="tx2"/>
                </a:solidFill>
                <a:effectLst/>
                <a:latin typeface="Trebuchet MS" panose="020B0603020202020204" pitchFamily="34" charset="0"/>
              </a:rPr>
              <a:t> score </a:t>
            </a:r>
            <a:r>
              <a:rPr lang="en-GB" sz="1000" b="0" i="0">
                <a:solidFill>
                  <a:srgbClr val="747474"/>
                </a:solidFill>
                <a:effectLst/>
                <a:latin typeface="Trebuchet MS" panose="020B0603020202020204" pitchFamily="34" charset="0"/>
              </a:rPr>
              <a:t>is not only useful for predicting bankruptcy:  it can also help businesses </a:t>
            </a:r>
            <a:r>
              <a:rPr lang="en-GB" sz="1000" b="0" i="0">
                <a:solidFill>
                  <a:schemeClr val="tx2"/>
                </a:solidFill>
                <a:effectLst/>
                <a:latin typeface="Trebuchet MS" panose="020B0603020202020204" pitchFamily="34" charset="0"/>
              </a:rPr>
              <a:t>increase their revenue by focusing on clients with a  good payment record</a:t>
            </a:r>
          </a:p>
          <a:p>
            <a:pPr marL="171450" indent="-171450" algn="just">
              <a:buFont typeface="Arial" panose="020B0604020202020204" pitchFamily="34" charset="0"/>
              <a:buChar char="•"/>
            </a:pPr>
            <a:endParaRPr lang="en-GB" sz="1000">
              <a:latin typeface="Trebuchet MS" panose="020B0603020202020204" pitchFamily="34" charset="0"/>
            </a:endParaRPr>
          </a:p>
          <a:p>
            <a:pPr marL="171450" indent="-171450" algn="just">
              <a:buFont typeface="Arial" panose="020B0604020202020204" pitchFamily="34" charset="0"/>
              <a:buChar char="•"/>
            </a:pPr>
            <a:r>
              <a:rPr lang="en-GB" sz="1000">
                <a:latin typeface="Trebuchet MS" panose="020B0603020202020204" pitchFamily="34" charset="0"/>
              </a:rPr>
              <a:t>The </a:t>
            </a:r>
            <a:r>
              <a:rPr lang="en-GB" sz="1000" err="1">
                <a:latin typeface="Trebuchet MS" panose="020B0603020202020204" pitchFamily="34" charset="0"/>
              </a:rPr>
              <a:t>Paydex</a:t>
            </a:r>
            <a:r>
              <a:rPr lang="en-GB" sz="1000">
                <a:latin typeface="Trebuchet MS" panose="020B0603020202020204" pitchFamily="34" charset="0"/>
              </a:rPr>
              <a:t> score is </a:t>
            </a:r>
            <a:r>
              <a:rPr lang="en-GB" sz="1000">
                <a:solidFill>
                  <a:schemeClr val="tx2"/>
                </a:solidFill>
                <a:latin typeface="Trebuchet MS" panose="020B0603020202020204" pitchFamily="34" charset="0"/>
              </a:rPr>
              <a:t>almost impossible to reproduce </a:t>
            </a:r>
            <a:r>
              <a:rPr lang="en-GB" sz="1000">
                <a:latin typeface="Trebuchet MS" panose="020B0603020202020204" pitchFamily="34" charset="0"/>
              </a:rPr>
              <a:t>and give </a:t>
            </a:r>
            <a:r>
              <a:rPr lang="en-GB" sz="1000" err="1">
                <a:latin typeface="Trebuchet MS" panose="020B0603020202020204" pitchFamily="34" charset="0"/>
              </a:rPr>
              <a:t>Altares</a:t>
            </a:r>
            <a:r>
              <a:rPr lang="en-GB" sz="1000">
                <a:latin typeface="Trebuchet MS" panose="020B0603020202020204" pitchFamily="34" charset="0"/>
              </a:rPr>
              <a:t> a </a:t>
            </a:r>
            <a:r>
              <a:rPr lang="en-GB" sz="1000">
                <a:solidFill>
                  <a:schemeClr val="tx2"/>
                </a:solidFill>
                <a:latin typeface="Trebuchet MS" panose="020B0603020202020204" pitchFamily="34" charset="0"/>
              </a:rPr>
              <a:t>powerful edge </a:t>
            </a:r>
            <a:r>
              <a:rPr lang="en-GB" sz="1000">
                <a:latin typeface="Trebuchet MS" panose="020B0603020202020204" pitchFamily="34" charset="0"/>
              </a:rPr>
              <a:t>with its default score calculation compare to competition</a:t>
            </a:r>
          </a:p>
          <a:p>
            <a:pPr marL="171450" indent="-171450" algn="just">
              <a:buFont typeface="Arial" panose="020B0604020202020204" pitchFamily="34" charset="0"/>
              <a:buChar char="•"/>
            </a:pPr>
            <a:endParaRPr lang="en-GB" sz="1000" b="0" i="0">
              <a:solidFill>
                <a:srgbClr val="747474"/>
              </a:solidFill>
              <a:effectLst/>
              <a:latin typeface="Trebuchet MS" panose="020B0603020202020204" pitchFamily="34" charset="0"/>
            </a:endParaRPr>
          </a:p>
        </p:txBody>
      </p:sp>
      <p:cxnSp>
        <p:nvCxnSpPr>
          <p:cNvPr id="16" name="Connecteur droit 244">
            <a:extLst>
              <a:ext uri="{FF2B5EF4-FFF2-40B4-BE49-F238E27FC236}">
                <a16:creationId xmlns:a16="http://schemas.microsoft.com/office/drawing/2014/main" id="{F36395A0-2902-4A70-9562-729C3978101E}"/>
              </a:ext>
            </a:extLst>
          </p:cNvPr>
          <p:cNvCxnSpPr>
            <a:cxnSpLocks/>
          </p:cNvCxnSpPr>
          <p:nvPr/>
        </p:nvCxnSpPr>
        <p:spPr bwMode="auto">
          <a:xfrm>
            <a:off x="5093919" y="995044"/>
            <a:ext cx="454717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4" name="Rectangle 13">
            <a:extLst>
              <a:ext uri="{FF2B5EF4-FFF2-40B4-BE49-F238E27FC236}">
                <a16:creationId xmlns:a16="http://schemas.microsoft.com/office/drawing/2014/main" id="{4C3CBB5F-9FCD-461F-A027-07F7D5248298}"/>
              </a:ext>
            </a:extLst>
          </p:cNvPr>
          <p:cNvSpPr/>
          <p:nvPr/>
        </p:nvSpPr>
        <p:spPr bwMode="auto">
          <a:xfrm>
            <a:off x="5605403" y="858815"/>
            <a:ext cx="3854469" cy="43175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a:latin typeface="Trebuchet MS" panose="020B0603020202020204" pitchFamily="34" charset="0"/>
              </a:rPr>
              <a:t>… based on data coming from accounts receivable information of over 15.000 member companies worldwide</a:t>
            </a:r>
          </a:p>
          <a:p>
            <a:pPr algn="ctr"/>
            <a:r>
              <a:rPr lang="en-GB" sz="1100">
                <a:latin typeface="Trebuchet MS" panose="020B0603020202020204" pitchFamily="34" charset="0"/>
              </a:rPr>
              <a:t> </a:t>
            </a:r>
            <a:endParaRPr kumimoji="0" lang="en-GB" sz="1100" b="0" i="0" u="none" strike="noStrike" cap="none" normalizeH="0" baseline="0">
              <a:ln>
                <a:noFill/>
              </a:ln>
              <a:effectLst/>
              <a:latin typeface="Trebuchet MS" panose="020B0603020202020204" pitchFamily="34" charset="0"/>
            </a:endParaRPr>
          </a:p>
        </p:txBody>
      </p:sp>
      <p:sp>
        <p:nvSpPr>
          <p:cNvPr id="18" name="ZoneTexte 17">
            <a:extLst>
              <a:ext uri="{FF2B5EF4-FFF2-40B4-BE49-F238E27FC236}">
                <a16:creationId xmlns:a16="http://schemas.microsoft.com/office/drawing/2014/main" id="{B3283C3D-BCB0-48FF-AAD7-18F8A57B5158}"/>
              </a:ext>
            </a:extLst>
          </p:cNvPr>
          <p:cNvSpPr txBox="1"/>
          <p:nvPr/>
        </p:nvSpPr>
        <p:spPr>
          <a:xfrm>
            <a:off x="5607714" y="3311636"/>
            <a:ext cx="3854469" cy="261610"/>
          </a:xfrm>
          <a:prstGeom prst="rect">
            <a:avLst/>
          </a:prstGeom>
          <a:noFill/>
        </p:spPr>
        <p:txBody>
          <a:bodyPr wrap="square">
            <a:spAutoFit/>
          </a:bodyPr>
          <a:lstStyle/>
          <a:p>
            <a:pPr algn="ctr"/>
            <a:r>
              <a:rPr lang="en-GB" sz="1100">
                <a:solidFill>
                  <a:srgbClr val="747474"/>
                </a:solidFill>
                <a:latin typeface="Trebuchet MS" panose="020B0603020202020204" pitchFamily="34" charset="0"/>
              </a:rPr>
              <a:t>Illustration of a “Balance </a:t>
            </a:r>
            <a:r>
              <a:rPr lang="en-GB" sz="1100" err="1">
                <a:solidFill>
                  <a:srgbClr val="747474"/>
                </a:solidFill>
                <a:latin typeface="Trebuchet MS" panose="020B0603020202020204" pitchFamily="34" charset="0"/>
              </a:rPr>
              <a:t>agée</a:t>
            </a:r>
            <a:r>
              <a:rPr lang="en-GB" sz="1100">
                <a:solidFill>
                  <a:srgbClr val="747474"/>
                </a:solidFill>
                <a:latin typeface="Trebuchet MS" panose="020B0603020202020204" pitchFamily="34" charset="0"/>
              </a:rPr>
              <a:t>” </a:t>
            </a:r>
            <a:endParaRPr lang="en-GB" sz="1100" b="0" i="0">
              <a:solidFill>
                <a:srgbClr val="747474"/>
              </a:solidFill>
              <a:effectLst/>
              <a:latin typeface="Trebuchet MS" panose="020B0603020202020204" pitchFamily="34" charset="0"/>
            </a:endParaRPr>
          </a:p>
        </p:txBody>
      </p:sp>
      <p:cxnSp>
        <p:nvCxnSpPr>
          <p:cNvPr id="19" name="Connecteur droit 244">
            <a:extLst>
              <a:ext uri="{FF2B5EF4-FFF2-40B4-BE49-F238E27FC236}">
                <a16:creationId xmlns:a16="http://schemas.microsoft.com/office/drawing/2014/main" id="{86D707AA-C970-4786-8FB7-A2F781F3A942}"/>
              </a:ext>
            </a:extLst>
          </p:cNvPr>
          <p:cNvCxnSpPr>
            <a:cxnSpLocks/>
          </p:cNvCxnSpPr>
          <p:nvPr/>
        </p:nvCxnSpPr>
        <p:spPr bwMode="auto">
          <a:xfrm>
            <a:off x="316226" y="3945741"/>
            <a:ext cx="932486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1" name="Rectangle 20">
            <a:extLst>
              <a:ext uri="{FF2B5EF4-FFF2-40B4-BE49-F238E27FC236}">
                <a16:creationId xmlns:a16="http://schemas.microsoft.com/office/drawing/2014/main" id="{7F22CD3E-CB56-4B91-9899-7AB3B25DDACB}"/>
              </a:ext>
            </a:extLst>
          </p:cNvPr>
          <p:cNvSpPr/>
          <p:nvPr/>
        </p:nvSpPr>
        <p:spPr bwMode="auto">
          <a:xfrm>
            <a:off x="2602906" y="3792605"/>
            <a:ext cx="5344667" cy="3568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a:latin typeface="Trebuchet MS" panose="020B0603020202020204" pitchFamily="34" charset="0"/>
              </a:rPr>
              <a:t>And can be used </a:t>
            </a:r>
            <a:r>
              <a:rPr lang="en-GB" sz="1100" b="0" i="0">
                <a:effectLst/>
                <a:latin typeface="Trebuchet MS" panose="020B0603020202020204" pitchFamily="34" charset="0"/>
              </a:rPr>
              <a:t>to calculate other scores such as the failure score, which the customer can use for its decision-making processes</a:t>
            </a:r>
          </a:p>
        </p:txBody>
      </p:sp>
      <p:pic>
        <p:nvPicPr>
          <p:cNvPr id="6146" name="Picture 2" descr="Balance âgée">
            <a:extLst>
              <a:ext uri="{FF2B5EF4-FFF2-40B4-BE49-F238E27FC236}">
                <a16:creationId xmlns:a16="http://schemas.microsoft.com/office/drawing/2014/main" id="{428B4F77-BB9A-4FF8-A367-306F155E172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59641" y="1391608"/>
            <a:ext cx="2867174" cy="1861411"/>
          </a:xfrm>
          <a:prstGeom prst="rect">
            <a:avLst/>
          </a:prstGeom>
          <a:noFill/>
          <a:ln>
            <a:solidFill>
              <a:schemeClr val="bg1">
                <a:lumMod val="8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39" name="Groupe 38">
            <a:extLst>
              <a:ext uri="{FF2B5EF4-FFF2-40B4-BE49-F238E27FC236}">
                <a16:creationId xmlns:a16="http://schemas.microsoft.com/office/drawing/2014/main" id="{E0B719A4-5F71-45BB-A87B-7DF2F19EDED0}"/>
              </a:ext>
            </a:extLst>
          </p:cNvPr>
          <p:cNvGrpSpPr/>
          <p:nvPr/>
        </p:nvGrpSpPr>
        <p:grpSpPr>
          <a:xfrm>
            <a:off x="5697415" y="4318237"/>
            <a:ext cx="3875033" cy="2000649"/>
            <a:chOff x="5197124" y="4397287"/>
            <a:chExt cx="3249750" cy="1684588"/>
          </a:xfrm>
        </p:grpSpPr>
        <p:graphicFrame>
          <p:nvGraphicFramePr>
            <p:cNvPr id="31" name="Graphique 30">
              <a:extLst>
                <a:ext uri="{FF2B5EF4-FFF2-40B4-BE49-F238E27FC236}">
                  <a16:creationId xmlns:a16="http://schemas.microsoft.com/office/drawing/2014/main" id="{55516965-23FE-49B1-9392-F15703E06C3A}"/>
                </a:ext>
              </a:extLst>
            </p:cNvPr>
            <p:cNvGraphicFramePr/>
            <p:nvPr>
              <p:extLst>
                <p:ext uri="{D42A27DB-BD31-4B8C-83A1-F6EECF244321}">
                  <p14:modId xmlns:p14="http://schemas.microsoft.com/office/powerpoint/2010/main" val="38764838"/>
                </p:ext>
              </p:extLst>
            </p:nvPr>
          </p:nvGraphicFramePr>
          <p:xfrm>
            <a:off x="5197124" y="4397287"/>
            <a:ext cx="3198049" cy="1684588"/>
          </p:xfrm>
          <a:graphic>
            <a:graphicData uri="http://schemas.openxmlformats.org/drawingml/2006/chart">
              <c:chart xmlns:c="http://schemas.openxmlformats.org/drawingml/2006/chart" xmlns:r="http://schemas.openxmlformats.org/officeDocument/2006/relationships" r:id="rId8"/>
            </a:graphicData>
          </a:graphic>
        </p:graphicFrame>
        <p:cxnSp>
          <p:nvCxnSpPr>
            <p:cNvPr id="33" name="Connecteur droit avec flèche 32">
              <a:extLst>
                <a:ext uri="{FF2B5EF4-FFF2-40B4-BE49-F238E27FC236}">
                  <a16:creationId xmlns:a16="http://schemas.microsoft.com/office/drawing/2014/main" id="{81BA2344-5333-482D-AFA7-1074FB163EBA}"/>
                </a:ext>
              </a:extLst>
            </p:cNvPr>
            <p:cNvCxnSpPr>
              <a:cxnSpLocks/>
            </p:cNvCxnSpPr>
            <p:nvPr/>
          </p:nvCxnSpPr>
          <p:spPr bwMode="auto">
            <a:xfrm>
              <a:off x="5270406" y="6060098"/>
              <a:ext cx="3176468"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36" name="Connecteur droit avec flèche 35">
              <a:extLst>
                <a:ext uri="{FF2B5EF4-FFF2-40B4-BE49-F238E27FC236}">
                  <a16:creationId xmlns:a16="http://schemas.microsoft.com/office/drawing/2014/main" id="{11EC04FE-1742-4735-8ACA-0965BE4CFF02}"/>
                </a:ext>
              </a:extLst>
            </p:cNvPr>
            <p:cNvCxnSpPr>
              <a:cxnSpLocks/>
            </p:cNvCxnSpPr>
            <p:nvPr/>
          </p:nvCxnSpPr>
          <p:spPr bwMode="auto">
            <a:xfrm flipV="1">
              <a:off x="5270406" y="4626720"/>
              <a:ext cx="0" cy="1433378"/>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grpSp>
      <p:sp>
        <p:nvSpPr>
          <p:cNvPr id="41" name="Rectangle 40">
            <a:extLst>
              <a:ext uri="{FF2B5EF4-FFF2-40B4-BE49-F238E27FC236}">
                <a16:creationId xmlns:a16="http://schemas.microsoft.com/office/drawing/2014/main" id="{419639F0-D4AD-48B6-BAAF-248E0D9E3FB7}"/>
              </a:ext>
            </a:extLst>
          </p:cNvPr>
          <p:cNvSpPr/>
          <p:nvPr/>
        </p:nvSpPr>
        <p:spPr bwMode="auto">
          <a:xfrm>
            <a:off x="5143510" y="4232607"/>
            <a:ext cx="2460597" cy="244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i="1">
                <a:latin typeface="Trebuchet MS" panose="020B0603020202020204" pitchFamily="34" charset="0"/>
              </a:rPr>
              <a:t>Failure Score (inversely proportional to the failure probability) </a:t>
            </a:r>
            <a:endParaRPr lang="en-GB" sz="1000" b="0" i="1">
              <a:effectLst/>
              <a:latin typeface="Trebuchet MS" panose="020B0603020202020204" pitchFamily="34" charset="0"/>
            </a:endParaRPr>
          </a:p>
        </p:txBody>
      </p:sp>
      <p:sp>
        <p:nvSpPr>
          <p:cNvPr id="42" name="Rectangle 41">
            <a:extLst>
              <a:ext uri="{FF2B5EF4-FFF2-40B4-BE49-F238E27FC236}">
                <a16:creationId xmlns:a16="http://schemas.microsoft.com/office/drawing/2014/main" id="{CDBDB0EC-E1C6-4827-8AE1-545CBFC778A4}"/>
              </a:ext>
            </a:extLst>
          </p:cNvPr>
          <p:cNvSpPr/>
          <p:nvPr/>
        </p:nvSpPr>
        <p:spPr bwMode="auto">
          <a:xfrm>
            <a:off x="8909059" y="6259810"/>
            <a:ext cx="1101627" cy="244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i="1">
                <a:latin typeface="Trebuchet MS" panose="020B0603020202020204" pitchFamily="34" charset="0"/>
              </a:rPr>
              <a:t>Time</a:t>
            </a:r>
            <a:endParaRPr lang="en-GB" sz="1100" b="0" i="1">
              <a:effectLst/>
              <a:latin typeface="Trebuchet MS" panose="020B0603020202020204" pitchFamily="34" charset="0"/>
            </a:endParaRPr>
          </a:p>
        </p:txBody>
      </p:sp>
      <p:sp>
        <p:nvSpPr>
          <p:cNvPr id="43" name="Rectangle 42">
            <a:extLst>
              <a:ext uri="{FF2B5EF4-FFF2-40B4-BE49-F238E27FC236}">
                <a16:creationId xmlns:a16="http://schemas.microsoft.com/office/drawing/2014/main" id="{499665C9-2472-4A5A-B24F-169EE4A305B6}"/>
              </a:ext>
            </a:extLst>
          </p:cNvPr>
          <p:cNvSpPr/>
          <p:nvPr/>
        </p:nvSpPr>
        <p:spPr bwMode="auto">
          <a:xfrm>
            <a:off x="6196973" y="4596959"/>
            <a:ext cx="782684" cy="244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1</a:t>
            </a:r>
            <a:r>
              <a:rPr lang="en-GB" sz="800" baseline="30000">
                <a:solidFill>
                  <a:schemeClr val="tx2"/>
                </a:solidFill>
                <a:latin typeface="Trebuchet MS" panose="020B0603020202020204" pitchFamily="34" charset="0"/>
              </a:rPr>
              <a:t>st</a:t>
            </a:r>
            <a:r>
              <a:rPr lang="en-GB" sz="800">
                <a:solidFill>
                  <a:schemeClr val="tx2"/>
                </a:solidFill>
                <a:latin typeface="Trebuchet MS" panose="020B0603020202020204" pitchFamily="34" charset="0"/>
              </a:rPr>
              <a:t> delay</a:t>
            </a:r>
            <a:endParaRPr lang="en-GB" sz="800" b="0">
              <a:solidFill>
                <a:schemeClr val="tx2"/>
              </a:solidFill>
              <a:effectLst/>
              <a:latin typeface="Trebuchet MS" panose="020B0603020202020204" pitchFamily="34" charset="0"/>
            </a:endParaRPr>
          </a:p>
        </p:txBody>
      </p:sp>
      <p:sp>
        <p:nvSpPr>
          <p:cNvPr id="44" name="Rectangle 43">
            <a:extLst>
              <a:ext uri="{FF2B5EF4-FFF2-40B4-BE49-F238E27FC236}">
                <a16:creationId xmlns:a16="http://schemas.microsoft.com/office/drawing/2014/main" id="{A73321B8-C8D5-4F5A-826F-40E2303CDE34}"/>
              </a:ext>
            </a:extLst>
          </p:cNvPr>
          <p:cNvSpPr/>
          <p:nvPr/>
        </p:nvSpPr>
        <p:spPr bwMode="auto">
          <a:xfrm>
            <a:off x="6661274" y="4802142"/>
            <a:ext cx="1005885" cy="244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Repeated late payment</a:t>
            </a:r>
            <a:endParaRPr lang="en-GB" sz="800" b="0">
              <a:solidFill>
                <a:schemeClr val="tx2"/>
              </a:solidFill>
              <a:effectLst/>
              <a:latin typeface="Trebuchet MS" panose="020B0603020202020204" pitchFamily="34" charset="0"/>
            </a:endParaRPr>
          </a:p>
        </p:txBody>
      </p:sp>
      <p:sp>
        <p:nvSpPr>
          <p:cNvPr id="45" name="Rectangle 44">
            <a:extLst>
              <a:ext uri="{FF2B5EF4-FFF2-40B4-BE49-F238E27FC236}">
                <a16:creationId xmlns:a16="http://schemas.microsoft.com/office/drawing/2014/main" id="{7265AB18-14D4-41F6-9C06-79305C1EAC13}"/>
              </a:ext>
            </a:extLst>
          </p:cNvPr>
          <p:cNvSpPr/>
          <p:nvPr/>
        </p:nvSpPr>
        <p:spPr bwMode="auto">
          <a:xfrm>
            <a:off x="7070108" y="5030486"/>
            <a:ext cx="1005885" cy="244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Privileges</a:t>
            </a:r>
            <a:endParaRPr lang="en-GB" sz="800" b="0">
              <a:solidFill>
                <a:schemeClr val="tx2"/>
              </a:solidFill>
              <a:effectLst/>
              <a:latin typeface="Trebuchet MS" panose="020B0603020202020204" pitchFamily="34" charset="0"/>
            </a:endParaRPr>
          </a:p>
        </p:txBody>
      </p:sp>
      <p:sp>
        <p:nvSpPr>
          <p:cNvPr id="46" name="Rectangle 45">
            <a:extLst>
              <a:ext uri="{FF2B5EF4-FFF2-40B4-BE49-F238E27FC236}">
                <a16:creationId xmlns:a16="http://schemas.microsoft.com/office/drawing/2014/main" id="{CBCBE8C9-B114-4AAA-9559-F42B35511F75}"/>
              </a:ext>
            </a:extLst>
          </p:cNvPr>
          <p:cNvSpPr/>
          <p:nvPr/>
        </p:nvSpPr>
        <p:spPr bwMode="auto">
          <a:xfrm>
            <a:off x="7570131" y="5270674"/>
            <a:ext cx="1005885" cy="244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Unpaid debts</a:t>
            </a:r>
            <a:endParaRPr lang="en-GB" sz="800" b="0">
              <a:solidFill>
                <a:schemeClr val="tx2"/>
              </a:solidFill>
              <a:effectLst/>
              <a:latin typeface="Trebuchet MS" panose="020B0603020202020204" pitchFamily="34" charset="0"/>
            </a:endParaRPr>
          </a:p>
        </p:txBody>
      </p:sp>
      <p:sp>
        <p:nvSpPr>
          <p:cNvPr id="47" name="Rectangle 46">
            <a:extLst>
              <a:ext uri="{FF2B5EF4-FFF2-40B4-BE49-F238E27FC236}">
                <a16:creationId xmlns:a16="http://schemas.microsoft.com/office/drawing/2014/main" id="{77C53BBC-7A21-4528-A009-81980579015A}"/>
              </a:ext>
            </a:extLst>
          </p:cNvPr>
          <p:cNvSpPr/>
          <p:nvPr/>
        </p:nvSpPr>
        <p:spPr bwMode="auto">
          <a:xfrm>
            <a:off x="8037522" y="5450469"/>
            <a:ext cx="1005885" cy="244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Suspension of payment</a:t>
            </a:r>
            <a:endParaRPr lang="en-GB" sz="800" b="0">
              <a:solidFill>
                <a:schemeClr val="tx2"/>
              </a:solidFill>
              <a:effectLst/>
              <a:latin typeface="Trebuchet MS" panose="020B0603020202020204" pitchFamily="34" charset="0"/>
            </a:endParaRPr>
          </a:p>
        </p:txBody>
      </p:sp>
      <p:sp>
        <p:nvSpPr>
          <p:cNvPr id="48" name="Rectangle 47">
            <a:extLst>
              <a:ext uri="{FF2B5EF4-FFF2-40B4-BE49-F238E27FC236}">
                <a16:creationId xmlns:a16="http://schemas.microsoft.com/office/drawing/2014/main" id="{45FB1E45-4FE2-4FC5-B9F3-44374C503481}"/>
              </a:ext>
            </a:extLst>
          </p:cNvPr>
          <p:cNvSpPr/>
          <p:nvPr/>
        </p:nvSpPr>
        <p:spPr bwMode="auto">
          <a:xfrm>
            <a:off x="8547090" y="5638346"/>
            <a:ext cx="1005885" cy="244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Filling for bankruptcy</a:t>
            </a:r>
            <a:endParaRPr lang="en-GB" sz="800" b="0">
              <a:solidFill>
                <a:schemeClr val="tx2"/>
              </a:solidFill>
              <a:effectLst/>
              <a:latin typeface="Trebuchet MS" panose="020B0603020202020204" pitchFamily="34" charset="0"/>
            </a:endParaRPr>
          </a:p>
        </p:txBody>
      </p:sp>
      <p:cxnSp>
        <p:nvCxnSpPr>
          <p:cNvPr id="50" name="Connecteur : en angle 49">
            <a:extLst>
              <a:ext uri="{FF2B5EF4-FFF2-40B4-BE49-F238E27FC236}">
                <a16:creationId xmlns:a16="http://schemas.microsoft.com/office/drawing/2014/main" id="{5FFC4CF3-A8CE-4EA1-B525-DCC01F1FA0A5}"/>
              </a:ext>
            </a:extLst>
          </p:cNvPr>
          <p:cNvCxnSpPr>
            <a:cxnSpLocks/>
          </p:cNvCxnSpPr>
          <p:nvPr/>
        </p:nvCxnSpPr>
        <p:spPr bwMode="auto">
          <a:xfrm flipV="1">
            <a:off x="7244862" y="4590717"/>
            <a:ext cx="1004835" cy="940125"/>
          </a:xfrm>
          <a:prstGeom prst="bentConnector3">
            <a:avLst>
              <a:gd name="adj1" fmla="val 50000"/>
            </a:avLst>
          </a:prstGeom>
          <a:solidFill>
            <a:schemeClr val="accent1"/>
          </a:solidFill>
          <a:ln w="9525" cap="flat" cmpd="sng" algn="ctr">
            <a:solidFill>
              <a:schemeClr val="tx1"/>
            </a:solidFill>
            <a:prstDash val="solid"/>
            <a:round/>
            <a:headEnd type="none" w="med" len="med"/>
            <a:tailEnd type="triangle"/>
          </a:ln>
          <a:effectLst/>
        </p:spPr>
      </p:cxnSp>
      <p:sp>
        <p:nvSpPr>
          <p:cNvPr id="54" name="Rectangle 53">
            <a:extLst>
              <a:ext uri="{FF2B5EF4-FFF2-40B4-BE49-F238E27FC236}">
                <a16:creationId xmlns:a16="http://schemas.microsoft.com/office/drawing/2014/main" id="{E861EEC6-182F-4839-BA5A-39F838B09559}"/>
              </a:ext>
            </a:extLst>
          </p:cNvPr>
          <p:cNvSpPr/>
          <p:nvPr/>
        </p:nvSpPr>
        <p:spPr bwMode="auto">
          <a:xfrm>
            <a:off x="8238975" y="4441984"/>
            <a:ext cx="1446578" cy="50362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Decision: The probability of failure becomes 6 times higher for companies with payment delays of 30 to 69 days </a:t>
            </a:r>
          </a:p>
          <a:p>
            <a:pPr algn="ctr"/>
            <a:endParaRPr lang="en-GB" sz="800" b="0">
              <a:solidFill>
                <a:schemeClr val="tx2"/>
              </a:solidFill>
              <a:effectLst/>
              <a:latin typeface="Trebuchet MS" panose="020B0603020202020204" pitchFamily="34" charset="0"/>
            </a:endParaRPr>
          </a:p>
        </p:txBody>
      </p:sp>
      <p:grpSp>
        <p:nvGrpSpPr>
          <p:cNvPr id="32" name="Groupe 66">
            <a:extLst>
              <a:ext uri="{FF2B5EF4-FFF2-40B4-BE49-F238E27FC236}">
                <a16:creationId xmlns:a16="http://schemas.microsoft.com/office/drawing/2014/main" id="{3EA2E85A-EF52-4BE2-A755-86CE55A44846}"/>
              </a:ext>
            </a:extLst>
          </p:cNvPr>
          <p:cNvGrpSpPr/>
          <p:nvPr/>
        </p:nvGrpSpPr>
        <p:grpSpPr>
          <a:xfrm>
            <a:off x="8448150" y="-11528"/>
            <a:ext cx="1435548" cy="588143"/>
            <a:chOff x="8448150" y="-11528"/>
            <a:chExt cx="1435548" cy="588143"/>
          </a:xfrm>
        </p:grpSpPr>
        <p:sp>
          <p:nvSpPr>
            <p:cNvPr id="34" name="Rectangle : coins arrondis 199">
              <a:extLst>
                <a:ext uri="{FF2B5EF4-FFF2-40B4-BE49-F238E27FC236}">
                  <a16:creationId xmlns:a16="http://schemas.microsoft.com/office/drawing/2014/main" id="{910822C5-1E53-480C-B639-86AAE7C9499F}"/>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5" name="Rectangle : coins arrondis 200">
              <a:extLst>
                <a:ext uri="{FF2B5EF4-FFF2-40B4-BE49-F238E27FC236}">
                  <a16:creationId xmlns:a16="http://schemas.microsoft.com/office/drawing/2014/main" id="{A050E8B8-132D-4F34-AE5B-10FC91A1698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7" name="Rectangle : coins arrondis 201">
              <a:extLst>
                <a:ext uri="{FF2B5EF4-FFF2-40B4-BE49-F238E27FC236}">
                  <a16:creationId xmlns:a16="http://schemas.microsoft.com/office/drawing/2014/main" id="{13FC00AE-2580-4BE2-9757-EB8EEDAB65C6}"/>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ZoneTexte 18">
              <a:extLst>
                <a:ext uri="{FF2B5EF4-FFF2-40B4-BE49-F238E27FC236}">
                  <a16:creationId xmlns:a16="http://schemas.microsoft.com/office/drawing/2014/main" id="{1342BD81-47F9-4365-BDAB-01B72C23CFB1}"/>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Data collection</a:t>
              </a:r>
            </a:p>
          </p:txBody>
        </p:sp>
        <p:pic>
          <p:nvPicPr>
            <p:cNvPr id="40" name="Graphique 128" descr="Jauge">
              <a:extLst>
                <a:ext uri="{FF2B5EF4-FFF2-40B4-BE49-F238E27FC236}">
                  <a16:creationId xmlns:a16="http://schemas.microsoft.com/office/drawing/2014/main" id="{A6F78AA4-4B31-410C-A818-CB301E4C6A2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53764" y="187516"/>
              <a:ext cx="234953" cy="218224"/>
            </a:xfrm>
            <a:prstGeom prst="rect">
              <a:avLst/>
            </a:prstGeom>
            <a:effectLst/>
          </p:spPr>
        </p:pic>
        <p:pic>
          <p:nvPicPr>
            <p:cNvPr id="49" name="Graphique 90" descr="Poignée de main">
              <a:extLst>
                <a:ext uri="{FF2B5EF4-FFF2-40B4-BE49-F238E27FC236}">
                  <a16:creationId xmlns:a16="http://schemas.microsoft.com/office/drawing/2014/main" id="{1B718256-31A5-451E-B6AA-9832A4EFFA2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60868" y="152880"/>
              <a:ext cx="256313" cy="287496"/>
            </a:xfrm>
            <a:prstGeom prst="rect">
              <a:avLst/>
            </a:prstGeom>
            <a:effectLst/>
          </p:spPr>
        </p:pic>
        <p:pic>
          <p:nvPicPr>
            <p:cNvPr id="51" name="Graphique 96" descr="Mégaphone">
              <a:extLst>
                <a:ext uri="{FF2B5EF4-FFF2-40B4-BE49-F238E27FC236}">
                  <a16:creationId xmlns:a16="http://schemas.microsoft.com/office/drawing/2014/main" id="{7EE044A3-620D-4B33-A1B0-3E5E0A14510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389331" y="181519"/>
              <a:ext cx="233011" cy="216420"/>
            </a:xfrm>
            <a:prstGeom prst="rect">
              <a:avLst/>
            </a:prstGeom>
            <a:effectLst/>
          </p:spPr>
        </p:pic>
        <p:pic>
          <p:nvPicPr>
            <p:cNvPr id="52" name="Picture 2" descr="Drapeau France">
              <a:extLst>
                <a:ext uri="{FF2B5EF4-FFF2-40B4-BE49-F238E27FC236}">
                  <a16:creationId xmlns:a16="http://schemas.microsoft.com/office/drawing/2014/main" id="{0C7D4D2F-CC8F-4EA2-A0AF-6ACD5600FE41}"/>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3" name="Picture 2" descr="5 ft x 3 ft 150 x 90 cm-DRAPEAU BELGE Belgique 100% Polyester ...">
              <a:extLst>
                <a:ext uri="{FF2B5EF4-FFF2-40B4-BE49-F238E27FC236}">
                  <a16:creationId xmlns:a16="http://schemas.microsoft.com/office/drawing/2014/main" id="{FEB7ABB1-78A1-4A26-9B57-0B271C1CB3E3}"/>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5" name="Picture 2 - 1" descr="Drapeau des Pays-Bas — Wikipédia">
              <a:extLst>
                <a:ext uri="{FF2B5EF4-FFF2-40B4-BE49-F238E27FC236}">
                  <a16:creationId xmlns:a16="http://schemas.microsoft.com/office/drawing/2014/main" id="{71CC6C43-3F81-4EE0-BDEA-2D84768D3D3E}"/>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6" name="Picture 2 - 2" descr="Drapeau du Luxembourg">
              <a:extLst>
                <a:ext uri="{FF2B5EF4-FFF2-40B4-BE49-F238E27FC236}">
                  <a16:creationId xmlns:a16="http://schemas.microsoft.com/office/drawing/2014/main" id="{072571FE-672D-47C3-BBD5-01FEB0789351}"/>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7" name="ZoneTexte 18">
              <a:extLst>
                <a:ext uri="{FF2B5EF4-FFF2-40B4-BE49-F238E27FC236}">
                  <a16:creationId xmlns:a16="http://schemas.microsoft.com/office/drawing/2014/main" id="{E0B1074A-D6D4-4A1A-8DAC-A1EAADC06D96}"/>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spTree>
    <p:extLst>
      <p:ext uri="{BB962C8B-B14F-4D97-AF65-F5344CB8AC3E}">
        <p14:creationId xmlns:p14="http://schemas.microsoft.com/office/powerpoint/2010/main" val="1848653610"/>
      </p:ext>
    </p:extLst>
  </p:cSld>
  <p:clrMapOvr>
    <a:masterClrMapping/>
  </p:clrMapOvr>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E96EA93-E714-4D0F-A1A8-2AAA5188B475}"/>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4E9DE99D-BD68-42FE-9B3C-2293D0C1089E}"/>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BC317995-D852-4549-AC70-AA5A11CAFAFC}"/>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indent="-228600">
              <a:spcBef>
                <a:spcPts val="600"/>
              </a:spcBef>
              <a:buAutoNum type="arabicPeriod"/>
            </a:pPr>
            <a:r>
              <a:rPr lang="en-GB" sz="1200">
                <a:latin typeface="Trebuchet MS" panose="020B0603020202020204" pitchFamily="34" charset="0"/>
              </a:rPr>
              <a:t>Overview of </a:t>
            </a:r>
            <a:r>
              <a:rPr lang="en-GB" sz="1200" err="1">
                <a:latin typeface="Trebuchet MS" panose="020B0603020202020204" pitchFamily="34" charset="0"/>
              </a:rPr>
              <a:t>Altares</a:t>
            </a:r>
            <a:r>
              <a:rPr lang="en-GB" sz="1200">
                <a:latin typeface="Trebuchet MS" panose="020B0603020202020204" pitchFamily="34" charset="0"/>
              </a:rPr>
              <a:t>’ core assets</a:t>
            </a:r>
          </a:p>
          <a:p>
            <a:pPr marL="228600" indent="-228600">
              <a:spcBef>
                <a:spcPts val="600"/>
              </a:spcBef>
              <a:buAutoNum type="arabicPeriod"/>
            </a:pPr>
            <a:r>
              <a:rPr lang="en-GB" sz="1200" err="1">
                <a:latin typeface="Trebuchet MS" panose="020B0603020202020204" pitchFamily="34" charset="0"/>
              </a:rPr>
              <a:t>Altares</a:t>
            </a:r>
            <a:r>
              <a:rPr lang="en-GB" sz="1200">
                <a:latin typeface="Trebuchet MS" panose="020B0603020202020204" pitchFamily="34" charset="0"/>
              </a:rPr>
              <a:t>' offer and value proposition</a:t>
            </a:r>
          </a:p>
          <a:p>
            <a:pPr marL="685800" lvl="1" indent="-228600">
              <a:spcBef>
                <a:spcPts val="600"/>
              </a:spcBef>
              <a:buAutoNum type="romanLcPeriod"/>
            </a:pPr>
            <a:r>
              <a:rPr lang="en-GB" sz="1200" err="1">
                <a:latin typeface="Trebuchet MS" panose="020B0603020202020204" pitchFamily="34" charset="0"/>
              </a:rPr>
              <a:t>Altares</a:t>
            </a:r>
            <a:r>
              <a:rPr lang="en-GB" sz="1200">
                <a:latin typeface="Trebuchet MS" panose="020B0603020202020204" pitchFamily="34" charset="0"/>
              </a:rPr>
              <a:t>’ comprehensive offer</a:t>
            </a:r>
          </a:p>
          <a:p>
            <a:pPr marL="685800" lvl="1" indent="-228600">
              <a:spcBef>
                <a:spcPts val="600"/>
              </a:spcBef>
              <a:buAutoNum type="romanLcPeriod"/>
            </a:pPr>
            <a:r>
              <a:rPr lang="en-GB" sz="1200" err="1">
                <a:latin typeface="Trebuchet MS" panose="020B0603020202020204" pitchFamily="34" charset="0"/>
              </a:rPr>
              <a:t>Altares</a:t>
            </a:r>
            <a:r>
              <a:rPr lang="en-GB" sz="1200">
                <a:latin typeface="Trebuchet MS" panose="020B0603020202020204" pitchFamily="34" charset="0"/>
              </a:rPr>
              <a:t>’ premium value proposition </a:t>
            </a: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loyal, resilient and diversified client base</a:t>
            </a:r>
          </a:p>
          <a:p>
            <a:pPr marL="285750" indent="-285750">
              <a:spcBef>
                <a:spcPts val="600"/>
              </a:spcBef>
              <a:buFont typeface="+mj-lt"/>
              <a:buAutoNum type="arabicPeriod"/>
            </a:pPr>
            <a:r>
              <a:rPr kumimoji="0" lang="en-GB" sz="1200" b="0" i="0" u="none" strike="noStrike" kern="1200" cap="none" spc="0" normalizeH="0" baseline="0" noProof="0" err="1">
                <a:ln>
                  <a:noFill/>
                </a:ln>
                <a:effectLst/>
                <a:uLnTx/>
                <a:uFillTx/>
                <a:latin typeface="Trebuchet MS" panose="020B0603020202020204" pitchFamily="34" charset="0"/>
                <a:ea typeface="+mn-ea"/>
                <a:cs typeface="Arial" pitchFamily="34" charset="0"/>
              </a:rPr>
              <a:t>Altares</a:t>
            </a:r>
            <a:r>
              <a:rPr kumimoji="0" lang="en-GB" sz="1200" b="0" i="0" u="none" strike="noStrike" kern="1200" cap="none" spc="0" normalizeH="0" baseline="0" noProof="0">
                <a:ln>
                  <a:noFill/>
                </a:ln>
                <a:effectLst/>
                <a:uLnTx/>
                <a:uFillTx/>
                <a:latin typeface="Trebuchet MS" panose="020B0603020202020204" pitchFamily="34" charset="0"/>
                <a:ea typeface="+mn-ea"/>
                <a:cs typeface="Arial" pitchFamily="34" charset="0"/>
              </a:rPr>
              <a:t>’ structuring partnership with Dun &amp; Bradstreet</a:t>
            </a: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high-quality comprehensive data collection</a:t>
            </a:r>
            <a:endParaRPr kumimoji="0" lang="en-GB" sz="1200" b="0" i="0" u="none" strike="noStrike" kern="1200" cap="none" spc="0" normalizeH="0" baseline="0" noProof="0">
              <a:ln>
                <a:noFill/>
              </a:ln>
              <a:effectLst/>
              <a:uLnTx/>
              <a:uFillTx/>
              <a:latin typeface="Trebuchet MS" panose="020B0603020202020204" pitchFamily="34" charset="0"/>
              <a:ea typeface="+mn-ea"/>
              <a:cs typeface="Arial" pitchFamily="34" charset="0"/>
            </a:endParaRPr>
          </a:p>
          <a:p>
            <a:pPr marL="285750" indent="-285750">
              <a:spcBef>
                <a:spcPts val="600"/>
              </a:spcBef>
              <a:buFont typeface="+mj-lt"/>
              <a:buAutoNum type="arabicPeriod"/>
            </a:pPr>
            <a:r>
              <a:rPr lang="en-GB" sz="1200" err="1">
                <a:solidFill>
                  <a:schemeClr val="tx2"/>
                </a:solidFill>
                <a:latin typeface="Trebuchet MS" panose="020B0603020202020204" pitchFamily="34" charset="0"/>
              </a:rPr>
              <a:t>Altares</a:t>
            </a:r>
            <a:r>
              <a:rPr lang="en-GB" sz="1200">
                <a:solidFill>
                  <a:schemeClr val="tx2"/>
                </a:solidFill>
                <a:latin typeface="Trebuchet MS" panose="020B0603020202020204" pitchFamily="34" charset="0"/>
              </a:rPr>
              <a:t>’ fine-tuned operating model</a:t>
            </a:r>
          </a:p>
          <a:p>
            <a:pPr marL="742950" lvl="1" indent="-285750">
              <a:buFont typeface="+mj-lt"/>
              <a:buAutoNum type="arabicPeriod"/>
            </a:pPr>
            <a:endParaRPr lang="en-GB" sz="1200">
              <a:solidFill>
                <a:schemeClr val="tx2"/>
              </a:solidFill>
              <a:latin typeface="Trebuchet MS" panose="020B0603020202020204" pitchFamily="34" charset="0"/>
            </a:endParaRPr>
          </a:p>
        </p:txBody>
      </p:sp>
      <p:sp>
        <p:nvSpPr>
          <p:cNvPr id="5" name="Chevron">
            <a:extLst>
              <a:ext uri="{FF2B5EF4-FFF2-40B4-BE49-F238E27FC236}">
                <a16:creationId xmlns:a16="http://schemas.microsoft.com/office/drawing/2014/main" id="{19C7AF68-ADEF-46DC-A209-2CDD74387B37}"/>
              </a:ext>
            </a:extLst>
          </p:cNvPr>
          <p:cNvSpPr/>
          <p:nvPr/>
        </p:nvSpPr>
        <p:spPr bwMode="auto">
          <a:xfrm>
            <a:off x="1418399" y="2685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 name="Section">
            <a:extLst>
              <a:ext uri="{FF2B5EF4-FFF2-40B4-BE49-F238E27FC236}">
                <a16:creationId xmlns:a16="http://schemas.microsoft.com/office/drawing/2014/main" id="{636E6D9A-2F3C-453B-9C0F-03B146337E4D}"/>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3</a:t>
            </a:r>
          </a:p>
        </p:txBody>
      </p:sp>
      <p:sp>
        <p:nvSpPr>
          <p:cNvPr id="7" name="Isosceles Triangle">
            <a:extLst>
              <a:ext uri="{FF2B5EF4-FFF2-40B4-BE49-F238E27FC236}">
                <a16:creationId xmlns:a16="http://schemas.microsoft.com/office/drawing/2014/main" id="{E1CFF86F-7022-4516-956C-B1F99C073008}"/>
              </a:ext>
            </a:extLst>
          </p:cNvPr>
          <p:cNvSpPr/>
          <p:nvPr/>
        </p:nvSpPr>
        <p:spPr bwMode="auto">
          <a:xfrm rot="5400000">
            <a:off x="5731200" y="2791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 name="Arrow: Pentagon">
            <a:extLst>
              <a:ext uri="{FF2B5EF4-FFF2-40B4-BE49-F238E27FC236}">
                <a16:creationId xmlns:a16="http://schemas.microsoft.com/office/drawing/2014/main" id="{002FE19F-1BA3-44C4-81CF-C46030209C00}"/>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9" name="Oval">
            <a:extLst>
              <a:ext uri="{FF2B5EF4-FFF2-40B4-BE49-F238E27FC236}">
                <a16:creationId xmlns:a16="http://schemas.microsoft.com/office/drawing/2014/main" id="{CC623970-C03B-4A87-8B6D-9FDE0FD779B9}"/>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10" name="Arrow: Pentagon">
            <a:extLst>
              <a:ext uri="{FF2B5EF4-FFF2-40B4-BE49-F238E27FC236}">
                <a16:creationId xmlns:a16="http://schemas.microsoft.com/office/drawing/2014/main" id="{2EA6354B-B67D-475E-B834-73408F2726B0}"/>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11" name="Oval">
            <a:extLst>
              <a:ext uri="{FF2B5EF4-FFF2-40B4-BE49-F238E27FC236}">
                <a16:creationId xmlns:a16="http://schemas.microsoft.com/office/drawing/2014/main" id="{BE2F63DA-A9D1-494A-89DF-87E72F8BB4DE}"/>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13" name="Arrow: Pentagon">
            <a:extLst>
              <a:ext uri="{FF2B5EF4-FFF2-40B4-BE49-F238E27FC236}">
                <a16:creationId xmlns:a16="http://schemas.microsoft.com/office/drawing/2014/main" id="{97AB2A97-D7DB-48A8-8E37-2EB5555AB508}"/>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14" name="Arrow: Pentagon">
            <a:extLst>
              <a:ext uri="{FF2B5EF4-FFF2-40B4-BE49-F238E27FC236}">
                <a16:creationId xmlns:a16="http://schemas.microsoft.com/office/drawing/2014/main" id="{2858AD61-9748-480F-BC32-CFF10AC39DAF}"/>
              </a:ext>
            </a:extLst>
          </p:cNvPr>
          <p:cNvSpPr/>
          <p:nvPr/>
        </p:nvSpPr>
        <p:spPr bwMode="auto">
          <a:xfrm>
            <a:off x="1641598" y="2685599"/>
            <a:ext cx="4319993"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value proposition &amp; core assets</a:t>
            </a:r>
          </a:p>
        </p:txBody>
      </p:sp>
      <p:sp>
        <p:nvSpPr>
          <p:cNvPr id="15" name="Oval">
            <a:extLst>
              <a:ext uri="{FF2B5EF4-FFF2-40B4-BE49-F238E27FC236}">
                <a16:creationId xmlns:a16="http://schemas.microsoft.com/office/drawing/2014/main" id="{E57440B6-1B61-485D-A08D-97F0452627D0}"/>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16" name="Arrow: Pentagon">
            <a:extLst>
              <a:ext uri="{FF2B5EF4-FFF2-40B4-BE49-F238E27FC236}">
                <a16:creationId xmlns:a16="http://schemas.microsoft.com/office/drawing/2014/main" id="{93DD2D68-1E2E-4928-A290-1FB15A921A44}"/>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17" name="Oval">
            <a:extLst>
              <a:ext uri="{FF2B5EF4-FFF2-40B4-BE49-F238E27FC236}">
                <a16:creationId xmlns:a16="http://schemas.microsoft.com/office/drawing/2014/main" id="{908695B5-5B9B-4437-A7B8-2C4B4B141CAC}"/>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39" name="Oval">
            <a:extLst>
              <a:ext uri="{FF2B5EF4-FFF2-40B4-BE49-F238E27FC236}">
                <a16:creationId xmlns:a16="http://schemas.microsoft.com/office/drawing/2014/main" id="{7F385779-FD35-4E1A-9FBD-747ABC6202E0}"/>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4050176803"/>
      </p:ext>
    </p:extLst>
  </p:cSld>
  <p:clrMapOvr>
    <a:masterClrMapping/>
  </p:clrMapOvr>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828C13E8-2662-4011-9A21-56DA2CF1D3E7}"/>
              </a:ext>
            </a:extLst>
          </p:cNvPr>
          <p:cNvGraphicFramePr>
            <a:graphicFrameLocks noChangeAspect="1"/>
          </p:cNvGraphicFramePr>
          <p:nvPr>
            <p:custDataLst>
              <p:tags r:id="rId1"/>
            </p:custDataLst>
            <p:extLst>
              <p:ext uri="{D42A27DB-BD31-4B8C-83A1-F6EECF244321}">
                <p14:modId xmlns:p14="http://schemas.microsoft.com/office/powerpoint/2010/main" val="1200335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6" name="Objet 5" hidden="1">
                        <a:extLst>
                          <a:ext uri="{FF2B5EF4-FFF2-40B4-BE49-F238E27FC236}">
                            <a16:creationId xmlns:a16="http://schemas.microsoft.com/office/drawing/2014/main" id="{828C13E8-2662-4011-9A21-56DA2CF1D3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5FAC1FE-105D-44ED-BD39-E0C570F467B1}"/>
              </a:ext>
            </a:extLst>
          </p:cNvPr>
          <p:cNvSpPr>
            <a:spLocks noGrp="1"/>
          </p:cNvSpPr>
          <p:nvPr>
            <p:ph type="body" sz="quarter" idx="10"/>
          </p:nvPr>
        </p:nvSpPr>
        <p:spPr/>
        <p:txBody>
          <a:bodyPr/>
          <a:lstStyle/>
          <a:p>
            <a:r>
              <a:rPr lang="en-GB" sz="800" i="1" kern="0"/>
              <a:t>Sources: eleven research &amp; analysis, company data, interviews with management</a:t>
            </a:r>
          </a:p>
          <a:p>
            <a:endParaRPr lang="en-GB"/>
          </a:p>
        </p:txBody>
      </p:sp>
      <p:sp>
        <p:nvSpPr>
          <p:cNvPr id="5" name="Chevron 69">
            <a:extLst>
              <a:ext uri="{FF2B5EF4-FFF2-40B4-BE49-F238E27FC236}">
                <a16:creationId xmlns:a16="http://schemas.microsoft.com/office/drawing/2014/main" id="{BD4D9CEB-9A7B-4F3F-A149-F19118949764}"/>
              </a:ext>
            </a:extLst>
          </p:cNvPr>
          <p:cNvSpPr>
            <a:spLocks noChangeAspect="1"/>
          </p:cNvSpPr>
          <p:nvPr/>
        </p:nvSpPr>
        <p:spPr bwMode="auto">
          <a:xfrm>
            <a:off x="715327"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Data collection </a:t>
            </a:r>
            <a:r>
              <a:rPr lang="en-GB" sz="700" b="1" i="1">
                <a:solidFill>
                  <a:schemeClr val="bg1"/>
                </a:solidFill>
                <a:latin typeface="Trebuchet MS" panose="020B0603020202020204" pitchFamily="34" charset="0"/>
              </a:rPr>
              <a:t>(structured and non structured data) </a:t>
            </a:r>
            <a:endParaRPr kumimoji="0" lang="en-GB" sz="700" b="1" i="1" u="none" strike="noStrike" kern="1200" cap="none" spc="0" normalizeH="0" baseline="0">
              <a:ln>
                <a:noFill/>
              </a:ln>
              <a:solidFill>
                <a:schemeClr val="bg1"/>
              </a:solidFill>
              <a:effectLst/>
              <a:uLnTx/>
              <a:uFillTx/>
              <a:latin typeface="Trebuchet MS" panose="020B0603020202020204" pitchFamily="34" charset="0"/>
            </a:endParaRPr>
          </a:p>
        </p:txBody>
      </p:sp>
      <p:cxnSp>
        <p:nvCxnSpPr>
          <p:cNvPr id="7" name="Straight Arrow Connector 29">
            <a:extLst>
              <a:ext uri="{FF2B5EF4-FFF2-40B4-BE49-F238E27FC236}">
                <a16:creationId xmlns:a16="http://schemas.microsoft.com/office/drawing/2014/main" id="{D131E4C0-5E18-45FE-828D-C03061A885D5}"/>
              </a:ext>
            </a:extLst>
          </p:cNvPr>
          <p:cNvCxnSpPr>
            <a:cxnSpLocks noChangeAspect="1"/>
          </p:cNvCxnSpPr>
          <p:nvPr/>
        </p:nvCxnSpPr>
        <p:spPr bwMode="auto">
          <a:xfrm flipH="1" flipV="1">
            <a:off x="710271" y="1221908"/>
            <a:ext cx="4513057" cy="132"/>
          </a:xfrm>
          <a:prstGeom prst="straightConnector1">
            <a:avLst/>
          </a:prstGeom>
          <a:solidFill>
            <a:schemeClr val="accent1"/>
          </a:solidFill>
          <a:ln w="9525" cap="flat" cmpd="sng" algn="ctr">
            <a:solidFill>
              <a:schemeClr val="tx2"/>
            </a:solidFill>
            <a:prstDash val="solid"/>
            <a:round/>
            <a:headEnd type="triangle" w="med" len="med"/>
            <a:tailEnd type="triangle" w="med" len="med"/>
          </a:ln>
          <a:effectLst/>
        </p:spPr>
      </p:cxnSp>
      <p:sp>
        <p:nvSpPr>
          <p:cNvPr id="9" name="TextBox 30">
            <a:extLst>
              <a:ext uri="{FF2B5EF4-FFF2-40B4-BE49-F238E27FC236}">
                <a16:creationId xmlns:a16="http://schemas.microsoft.com/office/drawing/2014/main" id="{FEC9CD82-A1E8-44E8-BF26-0737B37710C0}"/>
              </a:ext>
            </a:extLst>
          </p:cNvPr>
          <p:cNvSpPr txBox="1">
            <a:spLocks noChangeAspect="1"/>
          </p:cNvSpPr>
          <p:nvPr/>
        </p:nvSpPr>
        <p:spPr>
          <a:xfrm>
            <a:off x="1263691" y="1070835"/>
            <a:ext cx="2870443"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1"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Upstream : data collect</a:t>
            </a:r>
            <a:r>
              <a:rPr lang="en-GB" sz="1000" i="1">
                <a:solidFill>
                  <a:schemeClr val="tx2"/>
                </a:solidFill>
                <a:latin typeface="Trebuchet MS" panose="020B0603020202020204" pitchFamily="34" charset="0"/>
              </a:rPr>
              <a:t>ion and integration</a:t>
            </a:r>
            <a:endParaRPr kumimoji="0" lang="en-GB" sz="1000" b="0" i="1" u="none" strike="noStrike" kern="1200" cap="none" spc="0" normalizeH="0" baseline="0" noProof="0">
              <a:ln>
                <a:noFill/>
              </a:ln>
              <a:solidFill>
                <a:schemeClr val="tx2"/>
              </a:solidFill>
              <a:effectLst/>
              <a:uLnTx/>
              <a:uFillTx/>
              <a:latin typeface="Trebuchet MS" panose="020B0603020202020204" pitchFamily="34" charset="0"/>
            </a:endParaRPr>
          </a:p>
        </p:txBody>
      </p:sp>
      <p:sp>
        <p:nvSpPr>
          <p:cNvPr id="11" name="Chevron 69">
            <a:extLst>
              <a:ext uri="{FF2B5EF4-FFF2-40B4-BE49-F238E27FC236}">
                <a16:creationId xmlns:a16="http://schemas.microsoft.com/office/drawing/2014/main" id="{942C9FB2-CA58-4F97-837D-171709CD7D9F}"/>
              </a:ext>
            </a:extLst>
          </p:cNvPr>
          <p:cNvSpPr>
            <a:spLocks noChangeAspect="1"/>
          </p:cNvSpPr>
          <p:nvPr/>
        </p:nvSpPr>
        <p:spPr bwMode="auto">
          <a:xfrm>
            <a:off x="2240739"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Data cleansing and processing </a:t>
            </a:r>
            <a:endParaRPr kumimoji="0" lang="en-GB" sz="5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3" name="Chevron 69">
            <a:extLst>
              <a:ext uri="{FF2B5EF4-FFF2-40B4-BE49-F238E27FC236}">
                <a16:creationId xmlns:a16="http://schemas.microsoft.com/office/drawing/2014/main" id="{11A7FBAA-4823-40D6-AD89-D46D0E7CDB42}"/>
              </a:ext>
            </a:extLst>
          </p:cNvPr>
          <p:cNvSpPr>
            <a:spLocks noChangeAspect="1"/>
          </p:cNvSpPr>
          <p:nvPr/>
        </p:nvSpPr>
        <p:spPr bwMode="auto">
          <a:xfrm>
            <a:off x="3766152"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Data storage</a:t>
            </a:r>
            <a:endParaRPr kumimoji="0" lang="en-GB" sz="5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5" name="Chevron 69">
            <a:extLst>
              <a:ext uri="{FF2B5EF4-FFF2-40B4-BE49-F238E27FC236}">
                <a16:creationId xmlns:a16="http://schemas.microsoft.com/office/drawing/2014/main" id="{906C1BBF-D353-4484-AE76-91D64A3C1E08}"/>
              </a:ext>
            </a:extLst>
          </p:cNvPr>
          <p:cNvSpPr>
            <a:spLocks noChangeAspect="1"/>
          </p:cNvSpPr>
          <p:nvPr/>
        </p:nvSpPr>
        <p:spPr bwMode="auto">
          <a:xfrm>
            <a:off x="5291565"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Data a</a:t>
            </a:r>
            <a:r>
              <a:rPr kumimoji="0" lang="en-GB" sz="10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nalysis and enrichment</a:t>
            </a:r>
            <a:endParaRPr kumimoji="0" lang="en-GB" sz="5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7" name="Chevron 69">
            <a:extLst>
              <a:ext uri="{FF2B5EF4-FFF2-40B4-BE49-F238E27FC236}">
                <a16:creationId xmlns:a16="http://schemas.microsoft.com/office/drawing/2014/main" id="{86556B5F-0E08-4E83-B321-6652F2003931}"/>
              </a:ext>
            </a:extLst>
          </p:cNvPr>
          <p:cNvSpPr>
            <a:spLocks noChangeAspect="1"/>
          </p:cNvSpPr>
          <p:nvPr/>
        </p:nvSpPr>
        <p:spPr bwMode="auto">
          <a:xfrm>
            <a:off x="6816978"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Customer Onboarding and success</a:t>
            </a:r>
            <a:endParaRPr kumimoji="0" lang="en-GB" sz="5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9" name="Chevron 69">
            <a:extLst>
              <a:ext uri="{FF2B5EF4-FFF2-40B4-BE49-F238E27FC236}">
                <a16:creationId xmlns:a16="http://schemas.microsoft.com/office/drawing/2014/main" id="{2CDCB718-5E12-493C-95C5-849698C74F40}"/>
              </a:ext>
            </a:extLst>
          </p:cNvPr>
          <p:cNvSpPr>
            <a:spLocks noChangeAspect="1"/>
          </p:cNvSpPr>
          <p:nvPr/>
        </p:nvSpPr>
        <p:spPr bwMode="auto">
          <a:xfrm>
            <a:off x="8342389"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Support </a:t>
            </a:r>
            <a:endParaRPr kumimoji="0" lang="en-GB" sz="5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31" name="Rectangle 30">
            <a:extLst>
              <a:ext uri="{FF2B5EF4-FFF2-40B4-BE49-F238E27FC236}">
                <a16:creationId xmlns:a16="http://schemas.microsoft.com/office/drawing/2014/main" id="{BD681E3B-67F9-4FB6-9653-9774CF585D32}"/>
              </a:ext>
            </a:extLst>
          </p:cNvPr>
          <p:cNvSpPr/>
          <p:nvPr/>
        </p:nvSpPr>
        <p:spPr bwMode="auto">
          <a:xfrm>
            <a:off x="87477" y="1925340"/>
            <a:ext cx="495455" cy="2718607"/>
          </a:xfrm>
          <a:prstGeom prst="rect">
            <a:avLst/>
          </a:prstGeom>
          <a:solidFill>
            <a:schemeClr val="tx2"/>
          </a:solidFill>
          <a:ln w="9525" cap="flat" cmpd="sng" algn="ctr">
            <a:no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bg1"/>
                </a:solidFill>
                <a:effectLst/>
                <a:latin typeface="Trebuchet MS" panose="020B0603020202020204" pitchFamily="34" charset="0"/>
              </a:rPr>
              <a:t>Main tasks</a:t>
            </a:r>
          </a:p>
        </p:txBody>
      </p:sp>
      <p:sp>
        <p:nvSpPr>
          <p:cNvPr id="35" name="Rectangle 34">
            <a:extLst>
              <a:ext uri="{FF2B5EF4-FFF2-40B4-BE49-F238E27FC236}">
                <a16:creationId xmlns:a16="http://schemas.microsoft.com/office/drawing/2014/main" id="{4D37AD63-3908-46F6-A1D3-6ABBFD0BCBC8}"/>
              </a:ext>
            </a:extLst>
          </p:cNvPr>
          <p:cNvSpPr/>
          <p:nvPr/>
        </p:nvSpPr>
        <p:spPr bwMode="auto">
          <a:xfrm>
            <a:off x="97752" y="5489420"/>
            <a:ext cx="485179" cy="928262"/>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i="1">
                <a:solidFill>
                  <a:schemeClr val="bg1"/>
                </a:solidFill>
                <a:latin typeface="Trebuchet MS" panose="020B0603020202020204" pitchFamily="34" charset="0"/>
              </a:rPr>
              <a:t>Skills</a:t>
            </a:r>
            <a:endParaRPr kumimoji="0" lang="en-GB" sz="1000" b="1" i="1" u="none" strike="noStrike" cap="none" normalizeH="0" baseline="0">
              <a:ln>
                <a:noFill/>
              </a:ln>
              <a:solidFill>
                <a:schemeClr val="bg1"/>
              </a:solidFill>
              <a:effectLst/>
              <a:latin typeface="Trebuchet MS" panose="020B0603020202020204" pitchFamily="34" charset="0"/>
            </a:endParaRPr>
          </a:p>
        </p:txBody>
      </p:sp>
      <p:sp>
        <p:nvSpPr>
          <p:cNvPr id="39" name="Rectangle 38">
            <a:extLst>
              <a:ext uri="{FF2B5EF4-FFF2-40B4-BE49-F238E27FC236}">
                <a16:creationId xmlns:a16="http://schemas.microsoft.com/office/drawing/2014/main" id="{90EDF959-1E0C-45B8-BDAA-CC120CC3685E}"/>
              </a:ext>
            </a:extLst>
          </p:cNvPr>
          <p:cNvSpPr/>
          <p:nvPr/>
        </p:nvSpPr>
        <p:spPr bwMode="auto">
          <a:xfrm>
            <a:off x="5272160" y="1927498"/>
            <a:ext cx="1408839" cy="2697836"/>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t" anchorCtr="0" compatLnSpc="1">
            <a:prstTxWarp prst="textNoShape">
              <a:avLst/>
            </a:prstTxWarp>
          </a:bodyPr>
          <a:lstStyle/>
          <a:p>
            <a:pPr marL="36000" algn="ctr">
              <a:spcBef>
                <a:spcPts val="600"/>
              </a:spcBef>
            </a:pPr>
            <a:r>
              <a:rPr lang="en-GB" sz="1000" b="1">
                <a:latin typeface="Trebuchet MS" panose="020B0603020202020204" pitchFamily="34" charset="0"/>
              </a:rPr>
              <a:t>Meet clients needs: </a:t>
            </a:r>
          </a:p>
          <a:p>
            <a:pPr marL="207450" indent="-171450">
              <a:spcBef>
                <a:spcPts val="600"/>
              </a:spcBef>
              <a:buFont typeface="Arial" panose="020B0604020202020204" pitchFamily="34" charset="0"/>
              <a:buChar char="•"/>
            </a:pPr>
            <a:r>
              <a:rPr lang="en-GB" sz="1000">
                <a:latin typeface="Trebuchet MS" pitchFamily="34" charset="0"/>
              </a:rPr>
              <a:t>Building of personalized scoring algorithm</a:t>
            </a:r>
          </a:p>
          <a:p>
            <a:pPr marL="207450" indent="-171450">
              <a:spcBef>
                <a:spcPts val="600"/>
              </a:spcBef>
              <a:buFont typeface="Arial" panose="020B0604020202020204" pitchFamily="34" charset="0"/>
              <a:buChar char="•"/>
            </a:pPr>
            <a:r>
              <a:rPr lang="en-GB" sz="1000">
                <a:latin typeface="Trebuchet MS" pitchFamily="34" charset="0"/>
              </a:rPr>
              <a:t>Choosing relevant data</a:t>
            </a:r>
          </a:p>
          <a:p>
            <a:pPr marL="207450" indent="-171450">
              <a:spcBef>
                <a:spcPts val="600"/>
              </a:spcBef>
              <a:buFont typeface="Arial" panose="020B0604020202020204" pitchFamily="34" charset="0"/>
              <a:buChar char="•"/>
            </a:pPr>
            <a:r>
              <a:rPr lang="en-GB" sz="1000" err="1">
                <a:latin typeface="Trebuchet MS" panose="020B0603020202020204" pitchFamily="34" charset="0"/>
              </a:rPr>
              <a:t>Modeling</a:t>
            </a:r>
            <a:r>
              <a:rPr lang="en-GB" sz="1000">
                <a:latin typeface="Trebuchet MS" pitchFamily="34" charset="0"/>
              </a:rPr>
              <a:t> of clients’ use cases</a:t>
            </a:r>
          </a:p>
          <a:p>
            <a:pPr marL="207450" indent="-171450">
              <a:spcBef>
                <a:spcPts val="600"/>
              </a:spcBef>
              <a:buFont typeface="Arial" panose="020B0604020202020204" pitchFamily="34" charset="0"/>
              <a:buChar char="•"/>
            </a:pPr>
            <a:r>
              <a:rPr lang="en-GB" sz="1000">
                <a:latin typeface="Trebuchet MS" pitchFamily="34" charset="0"/>
              </a:rPr>
              <a:t>Visualization frameworks</a:t>
            </a:r>
          </a:p>
          <a:p>
            <a:pPr marL="36000">
              <a:spcBef>
                <a:spcPts val="600"/>
              </a:spcBef>
            </a:pPr>
            <a:endParaRPr lang="en-GB" sz="1000">
              <a:latin typeface="Trebuchet MS" pitchFamily="34" charset="0"/>
            </a:endParaRPr>
          </a:p>
        </p:txBody>
      </p:sp>
      <p:sp>
        <p:nvSpPr>
          <p:cNvPr id="41" name="Rectangle 40">
            <a:extLst>
              <a:ext uri="{FF2B5EF4-FFF2-40B4-BE49-F238E27FC236}">
                <a16:creationId xmlns:a16="http://schemas.microsoft.com/office/drawing/2014/main" id="{10658D78-6860-4DF2-80E0-41E3D236205C}"/>
              </a:ext>
            </a:extLst>
          </p:cNvPr>
          <p:cNvSpPr/>
          <p:nvPr/>
        </p:nvSpPr>
        <p:spPr bwMode="auto">
          <a:xfrm>
            <a:off x="690865" y="1929409"/>
            <a:ext cx="1408839" cy="2698162"/>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t" anchorCtr="0" compatLnSpc="1">
            <a:prstTxWarp prst="textNoShape">
              <a:avLst/>
            </a:prstTxWarp>
          </a:bodyPr>
          <a:lstStyle/>
          <a:p>
            <a:pPr marL="36000" algn="ctr">
              <a:spcBef>
                <a:spcPts val="600"/>
              </a:spcBef>
            </a:pPr>
            <a:r>
              <a:rPr lang="en-GB" sz="1000" b="1">
                <a:latin typeface="Trebuchet MS" panose="020B0603020202020204" pitchFamily="34" charset="0"/>
              </a:rPr>
              <a:t>Collect data through different sources: </a:t>
            </a:r>
          </a:p>
          <a:p>
            <a:pPr marL="207450" indent="-171450">
              <a:spcBef>
                <a:spcPts val="600"/>
              </a:spcBef>
              <a:buFont typeface="Arial" panose="020B0604020202020204" pitchFamily="34" charset="0"/>
              <a:buChar char="•"/>
            </a:pPr>
            <a:r>
              <a:rPr lang="en-GB" sz="1000">
                <a:latin typeface="Trebuchet MS" pitchFamily="34" charset="0"/>
              </a:rPr>
              <a:t>Official documents reading</a:t>
            </a:r>
          </a:p>
          <a:p>
            <a:pPr marL="207450" indent="-171450">
              <a:spcBef>
                <a:spcPts val="600"/>
              </a:spcBef>
              <a:buFont typeface="Arial" panose="020B0604020202020204" pitchFamily="34" charset="0"/>
              <a:buChar char="•"/>
            </a:pPr>
            <a:r>
              <a:rPr lang="en-GB" sz="1000">
                <a:latin typeface="Trebuchet MS" pitchFamily="34" charset="0"/>
              </a:rPr>
              <a:t>Buying through partnership and broker</a:t>
            </a:r>
          </a:p>
          <a:p>
            <a:pPr marL="207450" indent="-171450">
              <a:spcBef>
                <a:spcPts val="600"/>
              </a:spcBef>
              <a:buFont typeface="Arial" panose="020B0604020202020204" pitchFamily="34" charset="0"/>
              <a:buChar char="•"/>
            </a:pPr>
            <a:r>
              <a:rPr lang="en-GB" sz="1000">
                <a:latin typeface="Trebuchet MS" pitchFamily="34" charset="0"/>
              </a:rPr>
              <a:t>Scrapping</a:t>
            </a:r>
          </a:p>
          <a:p>
            <a:pPr marL="207450" indent="-171450">
              <a:spcBef>
                <a:spcPts val="600"/>
              </a:spcBef>
              <a:buFont typeface="Arial" panose="020B0604020202020204" pitchFamily="34" charset="0"/>
              <a:buChar char="•"/>
            </a:pPr>
            <a:r>
              <a:rPr lang="en-GB" sz="1000">
                <a:latin typeface="Trebuchet MS" pitchFamily="34" charset="0"/>
              </a:rPr>
              <a:t>NLP</a:t>
            </a:r>
          </a:p>
          <a:p>
            <a:pPr marL="207450" indent="-171450">
              <a:spcBef>
                <a:spcPts val="600"/>
              </a:spcBef>
              <a:buFont typeface="Arial" panose="020B0604020202020204" pitchFamily="34" charset="0"/>
              <a:buChar char="•"/>
            </a:pPr>
            <a:r>
              <a:rPr lang="en-GB" sz="1000">
                <a:latin typeface="Trebuchet MS" pitchFamily="34" charset="0"/>
              </a:rPr>
              <a:t>…</a:t>
            </a:r>
          </a:p>
        </p:txBody>
      </p:sp>
      <p:sp>
        <p:nvSpPr>
          <p:cNvPr id="43" name="Rectangle 42">
            <a:extLst>
              <a:ext uri="{FF2B5EF4-FFF2-40B4-BE49-F238E27FC236}">
                <a16:creationId xmlns:a16="http://schemas.microsoft.com/office/drawing/2014/main" id="{4EC8AAB4-5E1F-4F3C-BD2C-73662AF47A14}"/>
              </a:ext>
            </a:extLst>
          </p:cNvPr>
          <p:cNvSpPr/>
          <p:nvPr/>
        </p:nvSpPr>
        <p:spPr bwMode="auto">
          <a:xfrm>
            <a:off x="8322983" y="1927498"/>
            <a:ext cx="1408839" cy="2697836"/>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t" anchorCtr="0" compatLnSpc="1">
            <a:prstTxWarp prst="textNoShape">
              <a:avLst/>
            </a:prstTxWarp>
          </a:bodyPr>
          <a:lstStyle/>
          <a:p>
            <a:pPr marL="36000" algn="ctr">
              <a:spcBef>
                <a:spcPts val="600"/>
              </a:spcBef>
            </a:pPr>
            <a:r>
              <a:rPr lang="en-GB" sz="1000" b="1">
                <a:latin typeface="Trebuchet MS" pitchFamily="34" charset="0"/>
              </a:rPr>
              <a:t>Aftersales support</a:t>
            </a:r>
          </a:p>
          <a:p>
            <a:pPr marL="36000" algn="ctr">
              <a:spcBef>
                <a:spcPts val="600"/>
              </a:spcBef>
            </a:pPr>
            <a:endParaRPr lang="en-GB" sz="1000" b="1">
              <a:latin typeface="Trebuchet MS" pitchFamily="34" charset="0"/>
            </a:endParaRPr>
          </a:p>
        </p:txBody>
      </p:sp>
      <p:sp>
        <p:nvSpPr>
          <p:cNvPr id="45" name="Rectangle 44">
            <a:extLst>
              <a:ext uri="{FF2B5EF4-FFF2-40B4-BE49-F238E27FC236}">
                <a16:creationId xmlns:a16="http://schemas.microsoft.com/office/drawing/2014/main" id="{92A62A43-C145-441E-831F-E734AC9B5717}"/>
              </a:ext>
            </a:extLst>
          </p:cNvPr>
          <p:cNvSpPr/>
          <p:nvPr/>
        </p:nvSpPr>
        <p:spPr bwMode="auto">
          <a:xfrm>
            <a:off x="2221334" y="1927498"/>
            <a:ext cx="1403285" cy="2697836"/>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t" anchorCtr="0" compatLnSpc="1">
            <a:prstTxWarp prst="textNoShape">
              <a:avLst/>
            </a:prstTxWarp>
          </a:bodyPr>
          <a:lstStyle/>
          <a:p>
            <a:pPr marL="36000" algn="ctr">
              <a:spcBef>
                <a:spcPts val="600"/>
              </a:spcBef>
            </a:pPr>
            <a:r>
              <a:rPr lang="en-GB" sz="1000" b="1">
                <a:latin typeface="Trebuchet MS" panose="020B0603020202020204" pitchFamily="34" charset="0"/>
              </a:rPr>
              <a:t>Ensure data quality through DQM processes: </a:t>
            </a:r>
          </a:p>
          <a:p>
            <a:pPr marL="207450" indent="-171450">
              <a:spcBef>
                <a:spcPts val="600"/>
              </a:spcBef>
              <a:buFont typeface="Arial" panose="020B0604020202020204" pitchFamily="34" charset="0"/>
              <a:buChar char="•"/>
            </a:pPr>
            <a:r>
              <a:rPr lang="en-GB" sz="1000">
                <a:latin typeface="Trebuchet MS" pitchFamily="34" charset="0"/>
              </a:rPr>
              <a:t>Matching</a:t>
            </a:r>
          </a:p>
          <a:p>
            <a:pPr marL="207450" indent="-171450">
              <a:spcBef>
                <a:spcPts val="600"/>
              </a:spcBef>
              <a:buFont typeface="Arial" panose="020B0604020202020204" pitchFamily="34" charset="0"/>
              <a:buChar char="•"/>
            </a:pPr>
            <a:r>
              <a:rPr lang="en-GB" sz="1000">
                <a:latin typeface="Trebuchet MS" pitchFamily="34" charset="0"/>
              </a:rPr>
              <a:t>Cleansing and uniformization of data</a:t>
            </a:r>
          </a:p>
          <a:p>
            <a:pPr marL="207450" indent="-171450">
              <a:spcBef>
                <a:spcPts val="600"/>
              </a:spcBef>
              <a:buFont typeface="Arial" panose="020B0604020202020204" pitchFamily="34" charset="0"/>
              <a:buChar char="•"/>
            </a:pPr>
            <a:r>
              <a:rPr lang="en-GB" sz="1000">
                <a:latin typeface="Trebuchet MS" pitchFamily="34" charset="0"/>
              </a:rPr>
              <a:t>Automatic and manual correction</a:t>
            </a:r>
          </a:p>
          <a:p>
            <a:pPr marL="207450" indent="-171450">
              <a:spcBef>
                <a:spcPts val="600"/>
              </a:spcBef>
              <a:buFont typeface="Arial" panose="020B0604020202020204" pitchFamily="34" charset="0"/>
              <a:buChar char="•"/>
            </a:pPr>
            <a:r>
              <a:rPr lang="en-GB" sz="1000">
                <a:latin typeface="Trebuchet MS" pitchFamily="34" charset="0"/>
              </a:rPr>
              <a:t>Quality control</a:t>
            </a:r>
          </a:p>
          <a:p>
            <a:pPr marL="207450" indent="-171450">
              <a:spcBef>
                <a:spcPts val="600"/>
              </a:spcBef>
              <a:buFont typeface="Arial" panose="020B0604020202020204" pitchFamily="34" charset="0"/>
              <a:buChar char="•"/>
            </a:pPr>
            <a:r>
              <a:rPr lang="en-GB" sz="1000">
                <a:latin typeface="Trebuchet MS" pitchFamily="34" charset="0"/>
              </a:rPr>
              <a:t>…</a:t>
            </a:r>
          </a:p>
        </p:txBody>
      </p:sp>
      <p:sp>
        <p:nvSpPr>
          <p:cNvPr id="24" name="Rectangle 23">
            <a:extLst>
              <a:ext uri="{FF2B5EF4-FFF2-40B4-BE49-F238E27FC236}">
                <a16:creationId xmlns:a16="http://schemas.microsoft.com/office/drawing/2014/main" id="{DC86C118-5062-4F87-A7BC-ED683854571A}"/>
              </a:ext>
            </a:extLst>
          </p:cNvPr>
          <p:cNvSpPr/>
          <p:nvPr/>
        </p:nvSpPr>
        <p:spPr bwMode="auto">
          <a:xfrm>
            <a:off x="6797571" y="1927498"/>
            <a:ext cx="1408839" cy="2697836"/>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t" anchorCtr="0" compatLnSpc="1">
            <a:prstTxWarp prst="textNoShape">
              <a:avLst/>
            </a:prstTxWarp>
          </a:bodyPr>
          <a:lstStyle/>
          <a:p>
            <a:pPr marL="36000" algn="ctr">
              <a:spcBef>
                <a:spcPts val="600"/>
              </a:spcBef>
            </a:pPr>
            <a:r>
              <a:rPr lang="en-GB" sz="1000" b="1">
                <a:latin typeface="Trebuchet MS" panose="020B0603020202020204" pitchFamily="34" charset="0"/>
              </a:rPr>
              <a:t>Ensure delivery of the solution</a:t>
            </a:r>
          </a:p>
          <a:p>
            <a:pPr marL="207450" indent="-171450">
              <a:spcBef>
                <a:spcPts val="600"/>
              </a:spcBef>
              <a:buFont typeface="Arial" panose="020B0604020202020204" pitchFamily="34" charset="0"/>
              <a:buChar char="•"/>
            </a:pPr>
            <a:r>
              <a:rPr lang="en-GB" sz="1000">
                <a:latin typeface="Trebuchet MS" panose="020B0603020202020204" pitchFamily="34" charset="0"/>
              </a:rPr>
              <a:t>Different levels of onboarding depending on the level of complexity/personalization of the product</a:t>
            </a:r>
          </a:p>
          <a:p>
            <a:pPr marL="263525" lvl="1" indent="-84138">
              <a:spcBef>
                <a:spcPts val="0"/>
              </a:spcBef>
              <a:buFont typeface="Courier New" panose="02070309020205020404" pitchFamily="49" charset="0"/>
              <a:buChar char="o"/>
            </a:pPr>
            <a:r>
              <a:rPr lang="en-GB" sz="1000">
                <a:solidFill>
                  <a:schemeClr val="tx2"/>
                </a:solidFill>
                <a:latin typeface="Trebuchet MS" panose="020B0603020202020204" pitchFamily="34" charset="0"/>
              </a:rPr>
              <a:t>Level 1 </a:t>
            </a:r>
            <a:r>
              <a:rPr lang="en-GB" sz="1000">
                <a:latin typeface="Trebuchet MS" panose="020B0603020202020204" pitchFamily="34" charset="0"/>
              </a:rPr>
              <a:t>(platform)</a:t>
            </a:r>
          </a:p>
          <a:p>
            <a:pPr marL="263525" lvl="1" indent="-84138">
              <a:spcBef>
                <a:spcPts val="0"/>
              </a:spcBef>
              <a:buFont typeface="Courier New" panose="02070309020205020404" pitchFamily="49" charset="0"/>
              <a:buChar char="o"/>
            </a:pPr>
            <a:r>
              <a:rPr lang="en-GB" sz="1000">
                <a:solidFill>
                  <a:schemeClr val="tx2"/>
                </a:solidFill>
                <a:latin typeface="Trebuchet MS" panose="020B0603020202020204" pitchFamily="34" charset="0"/>
              </a:rPr>
              <a:t>Level 2 </a:t>
            </a:r>
            <a:r>
              <a:rPr lang="en-GB" sz="1000">
                <a:latin typeface="Trebuchet MS" panose="020B0603020202020204" pitchFamily="34" charset="0"/>
              </a:rPr>
              <a:t>(Batch)</a:t>
            </a:r>
          </a:p>
          <a:p>
            <a:pPr marL="263525" lvl="1" indent="-84138">
              <a:spcBef>
                <a:spcPts val="0"/>
              </a:spcBef>
              <a:buFont typeface="Courier New" panose="02070309020205020404" pitchFamily="49" charset="0"/>
              <a:buChar char="o"/>
            </a:pPr>
            <a:r>
              <a:rPr lang="en-GB" sz="1000">
                <a:solidFill>
                  <a:schemeClr val="tx2"/>
                </a:solidFill>
                <a:latin typeface="Trebuchet MS" panose="020B0603020202020204" pitchFamily="34" charset="0"/>
              </a:rPr>
              <a:t>Level 3</a:t>
            </a:r>
            <a:r>
              <a:rPr lang="en-GB" sz="1000">
                <a:latin typeface="Trebuchet MS" panose="020B0603020202020204" pitchFamily="34" charset="0"/>
              </a:rPr>
              <a:t> (API) (professional services involved deploy solutions at clients )</a:t>
            </a:r>
          </a:p>
        </p:txBody>
      </p:sp>
      <p:sp>
        <p:nvSpPr>
          <p:cNvPr id="29" name="Rectangle 28">
            <a:extLst>
              <a:ext uri="{FF2B5EF4-FFF2-40B4-BE49-F238E27FC236}">
                <a16:creationId xmlns:a16="http://schemas.microsoft.com/office/drawing/2014/main" id="{3969BBAF-5B8D-45D0-9251-529419E278E6}"/>
              </a:ext>
            </a:extLst>
          </p:cNvPr>
          <p:cNvSpPr/>
          <p:nvPr/>
        </p:nvSpPr>
        <p:spPr bwMode="auto">
          <a:xfrm>
            <a:off x="87476" y="4730494"/>
            <a:ext cx="495455" cy="672382"/>
          </a:xfrm>
          <a:prstGeom prst="rect">
            <a:avLst/>
          </a:prstGeom>
          <a:solidFill>
            <a:schemeClr val="tx2"/>
          </a:solidFill>
          <a:ln w="9525" cap="flat" cmpd="sng" algn="ctr">
            <a:no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algn="ctr"/>
            <a:r>
              <a:rPr lang="en-GB" sz="1000" b="1" i="1">
                <a:solidFill>
                  <a:schemeClr val="bg1"/>
                </a:solidFill>
                <a:latin typeface="Trebuchet MS" panose="020B0603020202020204" pitchFamily="34" charset="0"/>
              </a:rPr>
              <a:t>Tools &amp; partners</a:t>
            </a:r>
          </a:p>
        </p:txBody>
      </p:sp>
      <p:sp>
        <p:nvSpPr>
          <p:cNvPr id="32" name="Title 1">
            <a:extLst>
              <a:ext uri="{FF2B5EF4-FFF2-40B4-BE49-F238E27FC236}">
                <a16:creationId xmlns:a16="http://schemas.microsoft.com/office/drawing/2014/main" id="{D5C5C981-D95A-4008-8124-B1C7433D105A}"/>
              </a:ext>
            </a:extLst>
          </p:cNvPr>
          <p:cNvSpPr txBox="1">
            <a:spLocks/>
          </p:cNvSpPr>
          <p:nvPr/>
        </p:nvSpPr>
        <p:spPr bwMode="auto">
          <a:xfrm>
            <a:off x="165601" y="147600"/>
            <a:ext cx="8008900" cy="68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kern="0" dirty="0" err="1">
                <a:latin typeface="Trebuchet MS" panose="020B0603020202020204" pitchFamily="34" charset="0"/>
              </a:rPr>
              <a:t>Altares</a:t>
            </a:r>
            <a:r>
              <a:rPr lang="en-GB" kern="0" dirty="0">
                <a:latin typeface="Trebuchet MS" panose="020B0603020202020204" pitchFamily="34" charset="0"/>
              </a:rPr>
              <a:t> “</a:t>
            </a:r>
            <a:r>
              <a:rPr lang="en-GB" kern="0" dirty="0">
                <a:solidFill>
                  <a:schemeClr val="tx2"/>
                </a:solidFill>
                <a:latin typeface="Trebuchet MS" panose="020B0603020202020204" pitchFamily="34" charset="0"/>
              </a:rPr>
              <a:t>data factory</a:t>
            </a:r>
            <a:r>
              <a:rPr lang="en-GB" kern="0" dirty="0">
                <a:latin typeface="Trebuchet MS" panose="020B0603020202020204" pitchFamily="34" charset="0"/>
              </a:rPr>
              <a:t>” is </a:t>
            </a:r>
            <a:r>
              <a:rPr lang="en-GB" sz="1600" dirty="0">
                <a:latin typeface="Trebuchet MS" panose="020B0603020202020204" pitchFamily="34" charset="0"/>
              </a:rPr>
              <a:t>a </a:t>
            </a:r>
            <a:r>
              <a:rPr lang="en-GB" sz="1600" dirty="0">
                <a:solidFill>
                  <a:schemeClr val="tx2"/>
                </a:solidFill>
                <a:latin typeface="Trebuchet MS" panose="020B0603020202020204" pitchFamily="34" charset="0"/>
              </a:rPr>
              <a:t>fine-tuned operating model</a:t>
            </a:r>
            <a:r>
              <a:rPr lang="en-GB" kern="0" dirty="0">
                <a:latin typeface="Trebuchet MS" panose="020B0603020202020204" pitchFamily="34" charset="0"/>
              </a:rPr>
              <a:t> split into six main steps </a:t>
            </a:r>
            <a:r>
              <a:rPr lang="en-GB" sz="1600" dirty="0">
                <a:latin typeface="Trebuchet MS" pitchFamily="34" charset="0"/>
              </a:rPr>
              <a:t>from data </a:t>
            </a:r>
            <a:r>
              <a:rPr lang="en-GB" sz="1600" dirty="0">
                <a:solidFill>
                  <a:schemeClr val="tx2"/>
                </a:solidFill>
                <a:latin typeface="Trebuchet MS" pitchFamily="34" charset="0"/>
              </a:rPr>
              <a:t>collection</a:t>
            </a:r>
            <a:r>
              <a:rPr lang="en-GB" sz="1600" dirty="0">
                <a:latin typeface="Trebuchet MS" pitchFamily="34" charset="0"/>
              </a:rPr>
              <a:t> &amp; </a:t>
            </a:r>
            <a:r>
              <a:rPr lang="en-GB" sz="1600" dirty="0">
                <a:solidFill>
                  <a:schemeClr val="tx2"/>
                </a:solidFill>
                <a:latin typeface="Trebuchet MS" pitchFamily="34" charset="0"/>
              </a:rPr>
              <a:t>integration</a:t>
            </a:r>
            <a:r>
              <a:rPr lang="en-GB" sz="1600" dirty="0">
                <a:latin typeface="Trebuchet MS" pitchFamily="34" charset="0"/>
              </a:rPr>
              <a:t> to data </a:t>
            </a:r>
            <a:r>
              <a:rPr lang="en-GB" sz="1600" dirty="0">
                <a:solidFill>
                  <a:schemeClr val="tx2"/>
                </a:solidFill>
                <a:latin typeface="Trebuchet MS" pitchFamily="34" charset="0"/>
              </a:rPr>
              <a:t>analysis</a:t>
            </a:r>
            <a:r>
              <a:rPr lang="en-GB" sz="1600" dirty="0">
                <a:latin typeface="Trebuchet MS" pitchFamily="34" charset="0"/>
              </a:rPr>
              <a:t> &amp; </a:t>
            </a:r>
            <a:r>
              <a:rPr lang="en-GB" sz="1600" dirty="0">
                <a:solidFill>
                  <a:schemeClr val="tx2"/>
                </a:solidFill>
                <a:latin typeface="Trebuchet MS" pitchFamily="34" charset="0"/>
              </a:rPr>
              <a:t>workflow integration</a:t>
            </a:r>
            <a:endParaRPr lang="en-GB" kern="0" dirty="0">
              <a:solidFill>
                <a:schemeClr val="tx2"/>
              </a:solidFill>
              <a:latin typeface="Trebuchet MS" panose="020B0603020202020204" pitchFamily="34" charset="0"/>
            </a:endParaRPr>
          </a:p>
        </p:txBody>
      </p:sp>
      <p:cxnSp>
        <p:nvCxnSpPr>
          <p:cNvPr id="34" name="Connecteur droit 4">
            <a:extLst>
              <a:ext uri="{FF2B5EF4-FFF2-40B4-BE49-F238E27FC236}">
                <a16:creationId xmlns:a16="http://schemas.microsoft.com/office/drawing/2014/main" id="{1DEF9CF9-A949-4C75-A7F4-7B4EB818B026}"/>
              </a:ext>
            </a:extLst>
          </p:cNvPr>
          <p:cNvCxnSpPr>
            <a:cxnSpLocks/>
          </p:cNvCxnSpPr>
          <p:nvPr/>
        </p:nvCxnSpPr>
        <p:spPr bwMode="auto">
          <a:xfrm>
            <a:off x="165600" y="965923"/>
            <a:ext cx="9400627"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6" name="TextBox 30">
            <a:extLst>
              <a:ext uri="{FF2B5EF4-FFF2-40B4-BE49-F238E27FC236}">
                <a16:creationId xmlns:a16="http://schemas.microsoft.com/office/drawing/2014/main" id="{8E59EF33-6DF9-4921-8DA6-83E49BDB1715}"/>
              </a:ext>
            </a:extLst>
          </p:cNvPr>
          <p:cNvSpPr txBox="1"/>
          <p:nvPr/>
        </p:nvSpPr>
        <p:spPr>
          <a:xfrm>
            <a:off x="2870172" y="847291"/>
            <a:ext cx="4202616" cy="253916"/>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50">
                <a:latin typeface="Trebuchet MS" panose="020B0603020202020204" pitchFamily="34" charset="0"/>
              </a:rPr>
              <a:t>Synthetic View of </a:t>
            </a:r>
            <a:r>
              <a:rPr lang="en-GB" sz="1050" err="1">
                <a:latin typeface="Trebuchet MS" panose="020B0603020202020204" pitchFamily="34" charset="0"/>
              </a:rPr>
              <a:t>Altares</a:t>
            </a:r>
            <a:r>
              <a:rPr lang="en-GB" sz="1050">
                <a:latin typeface="Trebuchet MS" panose="020B0603020202020204" pitchFamily="34" charset="0"/>
              </a:rPr>
              <a:t>' day to day operations in France (“Run”) </a:t>
            </a:r>
            <a:endParaRPr kumimoji="0" lang="en-GB" sz="1050" b="0" u="none" strike="noStrike" kern="1200" cap="none" spc="0" normalizeH="0" baseline="0" noProof="0">
              <a:ln>
                <a:noFill/>
              </a:ln>
              <a:effectLst/>
              <a:uLnTx/>
              <a:uFillTx/>
              <a:latin typeface="Trebuchet MS" panose="020B0603020202020204" pitchFamily="34" charset="0"/>
            </a:endParaRPr>
          </a:p>
        </p:txBody>
      </p:sp>
      <p:sp>
        <p:nvSpPr>
          <p:cNvPr id="12" name="Freeform 5">
            <a:extLst>
              <a:ext uri="{FF2B5EF4-FFF2-40B4-BE49-F238E27FC236}">
                <a16:creationId xmlns:a16="http://schemas.microsoft.com/office/drawing/2014/main" id="{3B7319CF-17B0-4391-8CD9-3C5FDEA5AA76}"/>
              </a:ext>
            </a:extLst>
          </p:cNvPr>
          <p:cNvSpPr>
            <a:spLocks noEditPoints="1"/>
          </p:cNvSpPr>
          <p:nvPr/>
        </p:nvSpPr>
        <p:spPr bwMode="auto">
          <a:xfrm>
            <a:off x="4215161" y="2938791"/>
            <a:ext cx="554180" cy="749444"/>
          </a:xfrm>
          <a:custGeom>
            <a:avLst/>
            <a:gdLst>
              <a:gd name="T0" fmla="*/ 48 w 52"/>
              <a:gd name="T1" fmla="*/ 5 h 64"/>
              <a:gd name="T2" fmla="*/ 26 w 52"/>
              <a:gd name="T3" fmla="*/ 0 h 64"/>
              <a:gd name="T4" fmla="*/ 4 w 52"/>
              <a:gd name="T5" fmla="*/ 5 h 64"/>
              <a:gd name="T6" fmla="*/ 0 w 52"/>
              <a:gd name="T7" fmla="*/ 10 h 64"/>
              <a:gd name="T8" fmla="*/ 0 w 52"/>
              <a:gd name="T9" fmla="*/ 54 h 64"/>
              <a:gd name="T10" fmla="*/ 4 w 52"/>
              <a:gd name="T11" fmla="*/ 59 h 64"/>
              <a:gd name="T12" fmla="*/ 26 w 52"/>
              <a:gd name="T13" fmla="*/ 64 h 64"/>
              <a:gd name="T14" fmla="*/ 48 w 52"/>
              <a:gd name="T15" fmla="*/ 59 h 64"/>
              <a:gd name="T16" fmla="*/ 52 w 52"/>
              <a:gd name="T17" fmla="*/ 54 h 64"/>
              <a:gd name="T18" fmla="*/ 52 w 52"/>
              <a:gd name="T19" fmla="*/ 10 h 64"/>
              <a:gd name="T20" fmla="*/ 48 w 52"/>
              <a:gd name="T21" fmla="*/ 5 h 64"/>
              <a:gd name="T22" fmla="*/ 48 w 52"/>
              <a:gd name="T23" fmla="*/ 54 h 64"/>
              <a:gd name="T24" fmla="*/ 26 w 52"/>
              <a:gd name="T25" fmla="*/ 60 h 64"/>
              <a:gd name="T26" fmla="*/ 4 w 52"/>
              <a:gd name="T27" fmla="*/ 54 h 64"/>
              <a:gd name="T28" fmla="*/ 4 w 52"/>
              <a:gd name="T29" fmla="*/ 43 h 64"/>
              <a:gd name="T30" fmla="*/ 26 w 52"/>
              <a:gd name="T31" fmla="*/ 48 h 64"/>
              <a:gd name="T32" fmla="*/ 48 w 52"/>
              <a:gd name="T33" fmla="*/ 43 h 64"/>
              <a:gd name="T34" fmla="*/ 48 w 52"/>
              <a:gd name="T35" fmla="*/ 54 h 64"/>
              <a:gd name="T36" fmla="*/ 48 w 52"/>
              <a:gd name="T37" fmla="*/ 38 h 64"/>
              <a:gd name="T38" fmla="*/ 26 w 52"/>
              <a:gd name="T39" fmla="*/ 44 h 64"/>
              <a:gd name="T40" fmla="*/ 4 w 52"/>
              <a:gd name="T41" fmla="*/ 38 h 64"/>
              <a:gd name="T42" fmla="*/ 4 w 52"/>
              <a:gd name="T43" fmla="*/ 29 h 64"/>
              <a:gd name="T44" fmla="*/ 26 w 52"/>
              <a:gd name="T45" fmla="*/ 34 h 64"/>
              <a:gd name="T46" fmla="*/ 48 w 52"/>
              <a:gd name="T47" fmla="*/ 29 h 64"/>
              <a:gd name="T48" fmla="*/ 48 w 52"/>
              <a:gd name="T49" fmla="*/ 38 h 64"/>
              <a:gd name="T50" fmla="*/ 48 w 52"/>
              <a:gd name="T51" fmla="*/ 24 h 64"/>
              <a:gd name="T52" fmla="*/ 26 w 52"/>
              <a:gd name="T53" fmla="*/ 30 h 64"/>
              <a:gd name="T54" fmla="*/ 4 w 52"/>
              <a:gd name="T55" fmla="*/ 24 h 64"/>
              <a:gd name="T56" fmla="*/ 4 w 52"/>
              <a:gd name="T57" fmla="*/ 15 h 64"/>
              <a:gd name="T58" fmla="*/ 26 w 52"/>
              <a:gd name="T59" fmla="*/ 20 h 64"/>
              <a:gd name="T60" fmla="*/ 48 w 52"/>
              <a:gd name="T61" fmla="*/ 15 h 64"/>
              <a:gd name="T62" fmla="*/ 48 w 52"/>
              <a:gd name="T63" fmla="*/ 24 h 64"/>
              <a:gd name="T64" fmla="*/ 26 w 52"/>
              <a:gd name="T65" fmla="*/ 16 h 64"/>
              <a:gd name="T66" fmla="*/ 4 w 52"/>
              <a:gd name="T67" fmla="*/ 10 h 64"/>
              <a:gd name="T68" fmla="*/ 26 w 52"/>
              <a:gd name="T69" fmla="*/ 4 h 64"/>
              <a:gd name="T70" fmla="*/ 48 w 52"/>
              <a:gd name="T71" fmla="*/ 10 h 64"/>
              <a:gd name="T72" fmla="*/ 26 w 52"/>
              <a:gd name="T7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48" y="5"/>
                </a:moveTo>
                <a:cubicBezTo>
                  <a:pt x="44" y="2"/>
                  <a:pt x="36" y="0"/>
                  <a:pt x="26" y="0"/>
                </a:cubicBezTo>
                <a:cubicBezTo>
                  <a:pt x="17" y="0"/>
                  <a:pt x="9" y="2"/>
                  <a:pt x="4" y="5"/>
                </a:cubicBezTo>
                <a:cubicBezTo>
                  <a:pt x="2" y="6"/>
                  <a:pt x="0" y="8"/>
                  <a:pt x="0" y="10"/>
                </a:cubicBezTo>
                <a:cubicBezTo>
                  <a:pt x="0" y="54"/>
                  <a:pt x="0" y="54"/>
                  <a:pt x="0" y="54"/>
                </a:cubicBezTo>
                <a:cubicBezTo>
                  <a:pt x="0" y="56"/>
                  <a:pt x="2" y="58"/>
                  <a:pt x="4" y="59"/>
                </a:cubicBezTo>
                <a:cubicBezTo>
                  <a:pt x="9" y="62"/>
                  <a:pt x="17" y="64"/>
                  <a:pt x="26" y="64"/>
                </a:cubicBezTo>
                <a:cubicBezTo>
                  <a:pt x="36" y="64"/>
                  <a:pt x="44" y="62"/>
                  <a:pt x="48" y="59"/>
                </a:cubicBezTo>
                <a:cubicBezTo>
                  <a:pt x="51" y="58"/>
                  <a:pt x="52" y="56"/>
                  <a:pt x="52" y="54"/>
                </a:cubicBezTo>
                <a:cubicBezTo>
                  <a:pt x="52" y="10"/>
                  <a:pt x="52" y="10"/>
                  <a:pt x="52" y="10"/>
                </a:cubicBezTo>
                <a:cubicBezTo>
                  <a:pt x="52" y="8"/>
                  <a:pt x="51" y="6"/>
                  <a:pt x="48" y="5"/>
                </a:cubicBezTo>
                <a:close/>
                <a:moveTo>
                  <a:pt x="48" y="54"/>
                </a:moveTo>
                <a:cubicBezTo>
                  <a:pt x="48" y="56"/>
                  <a:pt x="40" y="60"/>
                  <a:pt x="26" y="60"/>
                </a:cubicBezTo>
                <a:cubicBezTo>
                  <a:pt x="13" y="60"/>
                  <a:pt x="5" y="56"/>
                  <a:pt x="4" y="54"/>
                </a:cubicBezTo>
                <a:cubicBezTo>
                  <a:pt x="4" y="43"/>
                  <a:pt x="4" y="43"/>
                  <a:pt x="4" y="43"/>
                </a:cubicBezTo>
                <a:cubicBezTo>
                  <a:pt x="9" y="46"/>
                  <a:pt x="17" y="48"/>
                  <a:pt x="26" y="48"/>
                </a:cubicBezTo>
                <a:cubicBezTo>
                  <a:pt x="36" y="48"/>
                  <a:pt x="44" y="46"/>
                  <a:pt x="48" y="43"/>
                </a:cubicBezTo>
                <a:lnTo>
                  <a:pt x="48" y="54"/>
                </a:lnTo>
                <a:close/>
                <a:moveTo>
                  <a:pt x="48" y="38"/>
                </a:moveTo>
                <a:cubicBezTo>
                  <a:pt x="48" y="40"/>
                  <a:pt x="40" y="44"/>
                  <a:pt x="26" y="44"/>
                </a:cubicBezTo>
                <a:cubicBezTo>
                  <a:pt x="13" y="44"/>
                  <a:pt x="5" y="40"/>
                  <a:pt x="4" y="38"/>
                </a:cubicBezTo>
                <a:cubicBezTo>
                  <a:pt x="4" y="29"/>
                  <a:pt x="4" y="29"/>
                  <a:pt x="4" y="29"/>
                </a:cubicBezTo>
                <a:cubicBezTo>
                  <a:pt x="9" y="32"/>
                  <a:pt x="17" y="34"/>
                  <a:pt x="26" y="34"/>
                </a:cubicBezTo>
                <a:cubicBezTo>
                  <a:pt x="36" y="34"/>
                  <a:pt x="44" y="32"/>
                  <a:pt x="48" y="29"/>
                </a:cubicBezTo>
                <a:lnTo>
                  <a:pt x="48" y="38"/>
                </a:lnTo>
                <a:close/>
                <a:moveTo>
                  <a:pt x="48" y="24"/>
                </a:moveTo>
                <a:cubicBezTo>
                  <a:pt x="48" y="26"/>
                  <a:pt x="40" y="30"/>
                  <a:pt x="26" y="30"/>
                </a:cubicBezTo>
                <a:cubicBezTo>
                  <a:pt x="13" y="30"/>
                  <a:pt x="5" y="26"/>
                  <a:pt x="4" y="24"/>
                </a:cubicBezTo>
                <a:cubicBezTo>
                  <a:pt x="4" y="15"/>
                  <a:pt x="4" y="15"/>
                  <a:pt x="4" y="15"/>
                </a:cubicBezTo>
                <a:cubicBezTo>
                  <a:pt x="9" y="18"/>
                  <a:pt x="17" y="20"/>
                  <a:pt x="26" y="20"/>
                </a:cubicBezTo>
                <a:cubicBezTo>
                  <a:pt x="36" y="20"/>
                  <a:pt x="44" y="18"/>
                  <a:pt x="48" y="15"/>
                </a:cubicBezTo>
                <a:lnTo>
                  <a:pt x="48" y="24"/>
                </a:ln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6" name="Triangle isocèle 15">
            <a:extLst>
              <a:ext uri="{FF2B5EF4-FFF2-40B4-BE49-F238E27FC236}">
                <a16:creationId xmlns:a16="http://schemas.microsoft.com/office/drawing/2014/main" id="{A7427E5D-747E-47A8-BE07-BC14B638989E}"/>
              </a:ext>
            </a:extLst>
          </p:cNvPr>
          <p:cNvSpPr/>
          <p:nvPr/>
        </p:nvSpPr>
        <p:spPr bwMode="auto">
          <a:xfrm rot="5400000">
            <a:off x="3553577" y="3239844"/>
            <a:ext cx="749445" cy="203938"/>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solidFill>
                <a:schemeClr val="tx2"/>
              </a:solidFill>
              <a:effectLst/>
              <a:latin typeface="Trebuchet MS" pitchFamily="34" charset="0"/>
            </a:endParaRPr>
          </a:p>
        </p:txBody>
      </p:sp>
      <p:sp>
        <p:nvSpPr>
          <p:cNvPr id="37" name="Triangle isocèle 36">
            <a:extLst>
              <a:ext uri="{FF2B5EF4-FFF2-40B4-BE49-F238E27FC236}">
                <a16:creationId xmlns:a16="http://schemas.microsoft.com/office/drawing/2014/main" id="{50671509-22A9-4428-BF48-2EAF061D08D9}"/>
              </a:ext>
            </a:extLst>
          </p:cNvPr>
          <p:cNvSpPr/>
          <p:nvPr/>
        </p:nvSpPr>
        <p:spPr bwMode="auto">
          <a:xfrm rot="5400000">
            <a:off x="4698299" y="3239844"/>
            <a:ext cx="749445" cy="203938"/>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solidFill>
                <a:schemeClr val="tx2"/>
              </a:solidFill>
              <a:effectLst/>
              <a:latin typeface="Trebuchet MS" pitchFamily="34" charset="0"/>
            </a:endParaRPr>
          </a:p>
        </p:txBody>
      </p:sp>
      <p:sp>
        <p:nvSpPr>
          <p:cNvPr id="18" name="Rectangle 17">
            <a:extLst>
              <a:ext uri="{FF2B5EF4-FFF2-40B4-BE49-F238E27FC236}">
                <a16:creationId xmlns:a16="http://schemas.microsoft.com/office/drawing/2014/main" id="{AD517DD4-4B3F-441F-A63C-D7501D212AB8}"/>
              </a:ext>
            </a:extLst>
          </p:cNvPr>
          <p:cNvSpPr/>
          <p:nvPr/>
        </p:nvSpPr>
        <p:spPr bwMode="auto">
          <a:xfrm>
            <a:off x="690865" y="4730494"/>
            <a:ext cx="9060361" cy="672381"/>
          </a:xfrm>
          <a:prstGeom prst="rect">
            <a:avLst/>
          </a:prstGeom>
          <a:no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51" name="Straight Arrow Connector 29">
            <a:extLst>
              <a:ext uri="{FF2B5EF4-FFF2-40B4-BE49-F238E27FC236}">
                <a16:creationId xmlns:a16="http://schemas.microsoft.com/office/drawing/2014/main" id="{129CED51-B0DA-4A37-AD2C-E0B5E8B3535D}"/>
              </a:ext>
            </a:extLst>
          </p:cNvPr>
          <p:cNvCxnSpPr>
            <a:cxnSpLocks noChangeAspect="1"/>
          </p:cNvCxnSpPr>
          <p:nvPr/>
        </p:nvCxnSpPr>
        <p:spPr bwMode="auto">
          <a:xfrm flipH="1" flipV="1">
            <a:off x="5291565" y="1221908"/>
            <a:ext cx="4513057" cy="132"/>
          </a:xfrm>
          <a:prstGeom prst="straightConnector1">
            <a:avLst/>
          </a:prstGeom>
          <a:solidFill>
            <a:schemeClr val="accent1"/>
          </a:solidFill>
          <a:ln w="9525" cap="flat" cmpd="sng" algn="ctr">
            <a:solidFill>
              <a:schemeClr val="tx2"/>
            </a:solidFill>
            <a:prstDash val="solid"/>
            <a:round/>
            <a:headEnd type="triangle" w="med" len="med"/>
            <a:tailEnd type="triangle" w="med" len="med"/>
          </a:ln>
          <a:effectLst/>
        </p:spPr>
      </p:cxnSp>
      <p:sp>
        <p:nvSpPr>
          <p:cNvPr id="23" name="TextBox 17">
            <a:extLst>
              <a:ext uri="{FF2B5EF4-FFF2-40B4-BE49-F238E27FC236}">
                <a16:creationId xmlns:a16="http://schemas.microsoft.com/office/drawing/2014/main" id="{FA2EE836-863C-44A9-A66F-C961A59B0D93}"/>
              </a:ext>
            </a:extLst>
          </p:cNvPr>
          <p:cNvSpPr txBox="1">
            <a:spLocks noChangeAspect="1"/>
          </p:cNvSpPr>
          <p:nvPr/>
        </p:nvSpPr>
        <p:spPr>
          <a:xfrm>
            <a:off x="6038639" y="1049859"/>
            <a:ext cx="3364624" cy="246221"/>
          </a:xfrm>
          <a:prstGeom prst="rect">
            <a:avLst/>
          </a:prstGeom>
          <a:solidFill>
            <a:schemeClr val="bg1"/>
          </a:solidFill>
        </p:spPr>
        <p:txBody>
          <a:bodyPr wrap="square" lIns="0" rIns="0" rtlCol="0">
            <a:spAutoFit/>
          </a:bodyPr>
          <a:lstStyle>
            <a:defPPr>
              <a:defRPr lang="en-US"/>
            </a:defPPr>
            <a:lvl1pPr marL="0" marR="0" lvl="0" indent="0" algn="ctr" defTabSz="914400" eaLnBrk="1" latinLnBrk="0" hangingPunct="1">
              <a:lnSpc>
                <a:spcPct val="100000"/>
              </a:lnSpc>
              <a:buClrTx/>
              <a:buSzTx/>
              <a:buFontTx/>
              <a:buNone/>
              <a:tabLst/>
              <a:defRPr kumimoji="0" sz="1000" b="0" i="1" u="none" strike="noStrike" cap="none" spc="0" normalizeH="0" baseline="0">
                <a:ln>
                  <a:noFill/>
                </a:ln>
                <a:solidFill>
                  <a:schemeClr val="tx2"/>
                </a:solidFill>
                <a:effectLst/>
                <a:uLnTx/>
                <a:uFillTx/>
              </a:defRPr>
            </a:lvl1pPr>
          </a:lstStyle>
          <a:p>
            <a:r>
              <a:rPr lang="en-GB" dirty="0">
                <a:latin typeface="Trebuchet MS" panose="020B0603020202020204" pitchFamily="34" charset="0"/>
              </a:rPr>
              <a:t>Downstream : data analysis and workflow integration</a:t>
            </a:r>
          </a:p>
        </p:txBody>
      </p:sp>
      <p:grpSp>
        <p:nvGrpSpPr>
          <p:cNvPr id="2" name="Groupe 1">
            <a:extLst>
              <a:ext uri="{FF2B5EF4-FFF2-40B4-BE49-F238E27FC236}">
                <a16:creationId xmlns:a16="http://schemas.microsoft.com/office/drawing/2014/main" id="{BA7D299C-9FC8-4339-B28F-538CBAF4CA7F}"/>
              </a:ext>
            </a:extLst>
          </p:cNvPr>
          <p:cNvGrpSpPr/>
          <p:nvPr/>
        </p:nvGrpSpPr>
        <p:grpSpPr>
          <a:xfrm>
            <a:off x="713004" y="5539713"/>
            <a:ext cx="9040499" cy="585030"/>
            <a:chOff x="713004" y="5478284"/>
            <a:chExt cx="9040499" cy="939397"/>
          </a:xfrm>
        </p:grpSpPr>
        <p:sp>
          <p:nvSpPr>
            <p:cNvPr id="30" name="Rectangle 29">
              <a:extLst>
                <a:ext uri="{FF2B5EF4-FFF2-40B4-BE49-F238E27FC236}">
                  <a16:creationId xmlns:a16="http://schemas.microsoft.com/office/drawing/2014/main" id="{A9FF6052-D3D4-45E6-B50C-EA1DD321065E}"/>
                </a:ext>
              </a:extLst>
            </p:cNvPr>
            <p:cNvSpPr/>
            <p:nvPr/>
          </p:nvSpPr>
          <p:spPr bwMode="auto">
            <a:xfrm>
              <a:off x="713004" y="5478284"/>
              <a:ext cx="1400166" cy="939397"/>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ctr" anchorCtr="0" compatLnSpc="1">
              <a:prstTxWarp prst="textNoShape">
                <a:avLst/>
              </a:prstTxWarp>
            </a:bodyPr>
            <a:lstStyle/>
            <a:p>
              <a:pPr marL="36000" algn="ctr">
                <a:spcBef>
                  <a:spcPts val="600"/>
                </a:spcBef>
              </a:pPr>
              <a:r>
                <a:rPr lang="en-GB" sz="900">
                  <a:latin typeface="Trebuchet MS" panose="020B0603020202020204" pitchFamily="34" charset="0"/>
                </a:rPr>
                <a:t>Data collection</a:t>
              </a:r>
            </a:p>
          </p:txBody>
        </p:sp>
        <p:sp>
          <p:nvSpPr>
            <p:cNvPr id="48" name="Rectangle 47">
              <a:extLst>
                <a:ext uri="{FF2B5EF4-FFF2-40B4-BE49-F238E27FC236}">
                  <a16:creationId xmlns:a16="http://schemas.microsoft.com/office/drawing/2014/main" id="{41C84F99-D2B2-453B-A94B-19DEF341220C}"/>
                </a:ext>
              </a:extLst>
            </p:cNvPr>
            <p:cNvSpPr/>
            <p:nvPr/>
          </p:nvSpPr>
          <p:spPr bwMode="auto">
            <a:xfrm>
              <a:off x="6811037" y="5988983"/>
              <a:ext cx="1408839" cy="418832"/>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ctr" anchorCtr="0" compatLnSpc="1">
              <a:prstTxWarp prst="textNoShape">
                <a:avLst/>
              </a:prstTxWarp>
            </a:bodyPr>
            <a:lstStyle/>
            <a:p>
              <a:pPr marL="36000" algn="ctr">
                <a:spcBef>
                  <a:spcPts val="0"/>
                </a:spcBef>
              </a:pPr>
              <a:r>
                <a:rPr lang="en-GB" sz="900">
                  <a:latin typeface="Trebuchet MS" pitchFamily="34" charset="0"/>
                </a:rPr>
                <a:t>Fulfilment</a:t>
              </a:r>
            </a:p>
            <a:p>
              <a:pPr marL="36000" algn="ctr">
                <a:spcBef>
                  <a:spcPts val="0"/>
                </a:spcBef>
              </a:pPr>
              <a:endParaRPr lang="en-GB" sz="900">
                <a:latin typeface="Trebuchet MS" pitchFamily="34" charset="0"/>
              </a:endParaRPr>
            </a:p>
          </p:txBody>
        </p:sp>
        <p:sp>
          <p:nvSpPr>
            <p:cNvPr id="50" name="Rectangle 49">
              <a:extLst>
                <a:ext uri="{FF2B5EF4-FFF2-40B4-BE49-F238E27FC236}">
                  <a16:creationId xmlns:a16="http://schemas.microsoft.com/office/drawing/2014/main" id="{13186652-9DAF-4A64-9085-68BFC3BE8D8B}"/>
                </a:ext>
              </a:extLst>
            </p:cNvPr>
            <p:cNvSpPr/>
            <p:nvPr/>
          </p:nvSpPr>
          <p:spPr bwMode="auto">
            <a:xfrm>
              <a:off x="8328232" y="5507638"/>
              <a:ext cx="1425271" cy="384245"/>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ctr" anchorCtr="0" compatLnSpc="1">
              <a:prstTxWarp prst="textNoShape">
                <a:avLst/>
              </a:prstTxWarp>
            </a:bodyPr>
            <a:lstStyle/>
            <a:p>
              <a:pPr marL="36000" algn="ctr">
                <a:spcBef>
                  <a:spcPts val="0"/>
                </a:spcBef>
              </a:pPr>
              <a:r>
                <a:rPr lang="en-GB" sz="900">
                  <a:latin typeface="Trebuchet MS" panose="020B0603020202020204" pitchFamily="34" charset="0"/>
                </a:rPr>
                <a:t>Customer service management</a:t>
              </a:r>
            </a:p>
          </p:txBody>
        </p:sp>
        <p:sp>
          <p:nvSpPr>
            <p:cNvPr id="52" name="Rectangle 51">
              <a:extLst>
                <a:ext uri="{FF2B5EF4-FFF2-40B4-BE49-F238E27FC236}">
                  <a16:creationId xmlns:a16="http://schemas.microsoft.com/office/drawing/2014/main" id="{A990696B-7A82-4127-A89D-A651AE7402AF}"/>
                </a:ext>
              </a:extLst>
            </p:cNvPr>
            <p:cNvSpPr/>
            <p:nvPr/>
          </p:nvSpPr>
          <p:spPr bwMode="auto">
            <a:xfrm>
              <a:off x="6811037" y="5489420"/>
              <a:ext cx="1408839" cy="384245"/>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ctr" anchorCtr="0" compatLnSpc="1">
              <a:prstTxWarp prst="textNoShape">
                <a:avLst/>
              </a:prstTxWarp>
            </a:bodyPr>
            <a:lstStyle/>
            <a:p>
              <a:pPr marL="36000" algn="ctr">
                <a:spcBef>
                  <a:spcPts val="0"/>
                </a:spcBef>
              </a:pPr>
              <a:r>
                <a:rPr lang="en-GB" sz="900">
                  <a:latin typeface="Trebuchet MS" panose="020B0603020202020204" pitchFamily="34" charset="0"/>
                </a:rPr>
                <a:t>Delivery design</a:t>
              </a:r>
            </a:p>
          </p:txBody>
        </p:sp>
        <p:sp>
          <p:nvSpPr>
            <p:cNvPr id="53" name="Rectangle 52">
              <a:extLst>
                <a:ext uri="{FF2B5EF4-FFF2-40B4-BE49-F238E27FC236}">
                  <a16:creationId xmlns:a16="http://schemas.microsoft.com/office/drawing/2014/main" id="{1F807805-9DEE-48DD-8947-D2FA7AA9C818}"/>
                </a:ext>
              </a:extLst>
            </p:cNvPr>
            <p:cNvSpPr/>
            <p:nvPr/>
          </p:nvSpPr>
          <p:spPr bwMode="auto">
            <a:xfrm>
              <a:off x="8339672" y="6006276"/>
              <a:ext cx="1402389" cy="384246"/>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ctr" anchorCtr="0" compatLnSpc="1">
              <a:prstTxWarp prst="textNoShape">
                <a:avLst/>
              </a:prstTxWarp>
            </a:bodyPr>
            <a:lstStyle/>
            <a:p>
              <a:pPr marL="36000" algn="ctr">
                <a:spcBef>
                  <a:spcPts val="0"/>
                </a:spcBef>
              </a:pPr>
              <a:r>
                <a:rPr lang="en-GB" sz="900">
                  <a:latin typeface="Trebuchet MS" panose="020B0603020202020204" pitchFamily="34" charset="0"/>
                </a:rPr>
                <a:t>Customer support</a:t>
              </a:r>
            </a:p>
          </p:txBody>
        </p:sp>
        <p:sp>
          <p:nvSpPr>
            <p:cNvPr id="54" name="Rectangle 53">
              <a:extLst>
                <a:ext uri="{FF2B5EF4-FFF2-40B4-BE49-F238E27FC236}">
                  <a16:creationId xmlns:a16="http://schemas.microsoft.com/office/drawing/2014/main" id="{0CD27E9F-8F59-4A13-B96E-21D8204A8883}"/>
                </a:ext>
              </a:extLst>
            </p:cNvPr>
            <p:cNvSpPr/>
            <p:nvPr/>
          </p:nvSpPr>
          <p:spPr bwMode="auto">
            <a:xfrm>
              <a:off x="2232966" y="5982256"/>
              <a:ext cx="4433024" cy="435425"/>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ctr" anchorCtr="0" compatLnSpc="1">
              <a:prstTxWarp prst="textNoShape">
                <a:avLst/>
              </a:prstTxWarp>
            </a:bodyPr>
            <a:lstStyle/>
            <a:p>
              <a:pPr marL="36000" algn="ctr">
                <a:spcBef>
                  <a:spcPts val="0"/>
                </a:spcBef>
              </a:pPr>
              <a:r>
                <a:rPr lang="en-GB" sz="900">
                  <a:latin typeface="Trebuchet MS" panose="020B0603020202020204" pitchFamily="34" charset="0"/>
                </a:rPr>
                <a:t>Linkage and investigation</a:t>
              </a:r>
            </a:p>
          </p:txBody>
        </p:sp>
        <p:sp>
          <p:nvSpPr>
            <p:cNvPr id="55" name="Rectangle 54">
              <a:extLst>
                <a:ext uri="{FF2B5EF4-FFF2-40B4-BE49-F238E27FC236}">
                  <a16:creationId xmlns:a16="http://schemas.microsoft.com/office/drawing/2014/main" id="{99FD39B7-F80E-40C1-8CA7-76743D45EB97}"/>
                </a:ext>
              </a:extLst>
            </p:cNvPr>
            <p:cNvSpPr/>
            <p:nvPr/>
          </p:nvSpPr>
          <p:spPr bwMode="auto">
            <a:xfrm>
              <a:off x="2232967" y="5490300"/>
              <a:ext cx="1416612" cy="435425"/>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ctr" anchorCtr="0" compatLnSpc="1">
              <a:prstTxWarp prst="textNoShape">
                <a:avLst/>
              </a:prstTxWarp>
            </a:bodyPr>
            <a:lstStyle/>
            <a:p>
              <a:pPr marL="36000" algn="ctr">
                <a:spcBef>
                  <a:spcPts val="0"/>
                </a:spcBef>
              </a:pPr>
              <a:r>
                <a:rPr lang="en-GB" sz="900">
                  <a:latin typeface="Trebuchet MS" panose="020B0603020202020204" pitchFamily="34" charset="0"/>
                </a:rPr>
                <a:t>Data quality</a:t>
              </a:r>
            </a:p>
          </p:txBody>
        </p:sp>
      </p:grpSp>
      <p:sp>
        <p:nvSpPr>
          <p:cNvPr id="56" name="Ellipse 55">
            <a:extLst>
              <a:ext uri="{FF2B5EF4-FFF2-40B4-BE49-F238E27FC236}">
                <a16:creationId xmlns:a16="http://schemas.microsoft.com/office/drawing/2014/main" id="{2A28331C-D569-4F28-8E5F-10A3C6DCEF4B}"/>
              </a:ext>
            </a:extLst>
          </p:cNvPr>
          <p:cNvSpPr/>
          <p:nvPr/>
        </p:nvSpPr>
        <p:spPr bwMode="auto">
          <a:xfrm>
            <a:off x="2736486" y="864275"/>
            <a:ext cx="204787" cy="197764"/>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1"/>
                </a:solidFill>
                <a:effectLst/>
                <a:latin typeface="Trebuchet MS" panose="020B0603020202020204" pitchFamily="34" charset="0"/>
              </a:rPr>
              <a:t>1</a:t>
            </a:r>
          </a:p>
        </p:txBody>
      </p:sp>
      <p:pic>
        <p:nvPicPr>
          <p:cNvPr id="13314" name="Picture 2" descr="Salesforce Official Digital Assets | Brandfolder">
            <a:extLst>
              <a:ext uri="{FF2B5EF4-FFF2-40B4-BE49-F238E27FC236}">
                <a16:creationId xmlns:a16="http://schemas.microsoft.com/office/drawing/2014/main" id="{51712B9C-5B43-481A-AD6F-06213903332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74500" y="4821184"/>
            <a:ext cx="702010" cy="491442"/>
          </a:xfrm>
          <a:prstGeom prst="rect">
            <a:avLst/>
          </a:prstGeom>
          <a:noFill/>
          <a:extLst>
            <a:ext uri="{909E8E84-426E-40DD-AFC4-6F175D3DCCD1}">
              <a14:hiddenFill xmlns:a14="http://schemas.microsoft.com/office/drawing/2010/main">
                <a:solidFill>
                  <a:srgbClr val="FFFFFF"/>
                </a:solidFill>
              </a14:hiddenFill>
            </a:ext>
          </a:extLst>
        </p:spPr>
      </p:pic>
      <p:sp>
        <p:nvSpPr>
          <p:cNvPr id="61" name="Rectangle 60">
            <a:extLst>
              <a:ext uri="{FF2B5EF4-FFF2-40B4-BE49-F238E27FC236}">
                <a16:creationId xmlns:a16="http://schemas.microsoft.com/office/drawing/2014/main" id="{DACF5E46-91EE-43C8-9002-EED3A4C88CF6}"/>
              </a:ext>
            </a:extLst>
          </p:cNvPr>
          <p:cNvSpPr/>
          <p:nvPr/>
        </p:nvSpPr>
        <p:spPr bwMode="auto">
          <a:xfrm>
            <a:off x="1931293" y="4715376"/>
            <a:ext cx="2348737" cy="707886"/>
          </a:xfrm>
          <a:prstGeom prst="rect">
            <a:avLst/>
          </a:prstGeom>
          <a:noFill/>
        </p:spPr>
        <p:txBody>
          <a:bodyPr wrap="square" lIns="0" rIns="0" rtlCol="0">
            <a:spAutoFit/>
          </a:bodyPr>
          <a:lstStyle/>
          <a:p>
            <a:pPr marL="171450" indent="-171450">
              <a:buClr>
                <a:schemeClr val="tx1"/>
              </a:buClr>
              <a:buFont typeface="Arial" panose="020B0604020202020204" pitchFamily="34" charset="0"/>
              <a:buChar char="•"/>
            </a:pPr>
            <a:r>
              <a:rPr lang="en-GB" sz="800" i="1" err="1">
                <a:solidFill>
                  <a:schemeClr val="tx2"/>
                </a:solidFill>
                <a:latin typeface="Trebuchet MS" panose="020B0603020202020204" pitchFamily="34" charset="0"/>
              </a:rPr>
              <a:t>Phoneo</a:t>
            </a:r>
            <a:r>
              <a:rPr lang="en-GB" sz="800" i="1">
                <a:solidFill>
                  <a:schemeClr val="tx2"/>
                </a:solidFill>
                <a:latin typeface="Trebuchet MS" panose="020B0603020202020204" pitchFamily="34" charset="0"/>
              </a:rPr>
              <a:t>: </a:t>
            </a:r>
            <a:r>
              <a:rPr lang="en-GB" sz="800" i="1">
                <a:latin typeface="Trebuchet MS" panose="020B0603020202020204" pitchFamily="34" charset="0"/>
              </a:rPr>
              <a:t>external provider for Pdf reading automation and reading of legal notices </a:t>
            </a:r>
          </a:p>
          <a:p>
            <a:pPr marL="171450" indent="-171450">
              <a:buClr>
                <a:schemeClr val="tx1"/>
              </a:buClr>
              <a:buFont typeface="Arial" panose="020B0604020202020204" pitchFamily="34" charset="0"/>
              <a:buChar char="•"/>
            </a:pPr>
            <a:r>
              <a:rPr lang="en-GB" sz="800" i="1">
                <a:solidFill>
                  <a:schemeClr val="tx2"/>
                </a:solidFill>
                <a:latin typeface="Trebuchet MS" panose="020B0603020202020204" pitchFamily="34" charset="0"/>
              </a:rPr>
              <a:t>Service Point: </a:t>
            </a:r>
            <a:r>
              <a:rPr lang="en-GB" sz="800" i="1">
                <a:latin typeface="Trebuchet MS" panose="020B0603020202020204" pitchFamily="34" charset="0"/>
              </a:rPr>
              <a:t>data cleaning provider in Vietnam and Surinam</a:t>
            </a:r>
          </a:p>
          <a:p>
            <a:pPr marL="171450" indent="-171450">
              <a:buClr>
                <a:schemeClr val="tx1"/>
              </a:buClr>
              <a:buFont typeface="Arial" panose="020B0604020202020204" pitchFamily="34" charset="0"/>
              <a:buChar char="•"/>
            </a:pPr>
            <a:r>
              <a:rPr lang="en-GB" sz="800" i="1">
                <a:solidFill>
                  <a:schemeClr val="tx2"/>
                </a:solidFill>
                <a:latin typeface="Trebuchet MS" panose="020B0603020202020204" pitchFamily="34" charset="0"/>
              </a:rPr>
              <a:t>Local providers: </a:t>
            </a:r>
            <a:r>
              <a:rPr lang="en-GB" sz="800" i="1">
                <a:latin typeface="Trebuchet MS" panose="020B0603020202020204" pitchFamily="34" charset="0"/>
              </a:rPr>
              <a:t>investigation on capital links</a:t>
            </a:r>
          </a:p>
        </p:txBody>
      </p:sp>
      <p:sp>
        <p:nvSpPr>
          <p:cNvPr id="62" name="Rectangle 61">
            <a:extLst>
              <a:ext uri="{FF2B5EF4-FFF2-40B4-BE49-F238E27FC236}">
                <a16:creationId xmlns:a16="http://schemas.microsoft.com/office/drawing/2014/main" id="{31F4C28C-3B5E-4CAF-B677-7D0E199A407F}"/>
              </a:ext>
            </a:extLst>
          </p:cNvPr>
          <p:cNvSpPr/>
          <p:nvPr/>
        </p:nvSpPr>
        <p:spPr bwMode="auto">
          <a:xfrm>
            <a:off x="904712" y="4813586"/>
            <a:ext cx="981144" cy="461665"/>
          </a:xfrm>
          <a:prstGeom prst="rect">
            <a:avLst/>
          </a:prstGeom>
          <a:noFill/>
        </p:spPr>
        <p:txBody>
          <a:bodyPr wrap="square" lIns="0" rIns="0" rtlCol="0">
            <a:spAutoFit/>
          </a:bodyPr>
          <a:lstStyle/>
          <a:p>
            <a:pPr algn="ctr"/>
            <a:r>
              <a:rPr lang="en-GB" sz="800" i="1" err="1">
                <a:latin typeface="Trebuchet MS" panose="020B0603020202020204" pitchFamily="34" charset="0"/>
              </a:rPr>
              <a:t>Altares</a:t>
            </a:r>
            <a:r>
              <a:rPr lang="en-GB" sz="800" i="1">
                <a:latin typeface="Trebuchet MS" panose="020B0603020202020204" pitchFamily="34" charset="0"/>
              </a:rPr>
              <a:t>' proprietary software to collect and treat data </a:t>
            </a:r>
          </a:p>
        </p:txBody>
      </p:sp>
      <p:pic>
        <p:nvPicPr>
          <p:cNvPr id="13316" name="Picture 4" descr="How to Use Microsoft Office Click-to-Run for Office 2010, 2013, and 2016">
            <a:extLst>
              <a:ext uri="{FF2B5EF4-FFF2-40B4-BE49-F238E27FC236}">
                <a16:creationId xmlns:a16="http://schemas.microsoft.com/office/drawing/2014/main" id="{37048FC2-FB0F-4F94-84B7-D6398CC691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09171" y="4789100"/>
            <a:ext cx="1106285" cy="486658"/>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8AB4A578-C2A9-4648-A0CF-B2027FECA5A7}"/>
              </a:ext>
            </a:extLst>
          </p:cNvPr>
          <p:cNvSpPr/>
          <p:nvPr/>
        </p:nvSpPr>
        <p:spPr bwMode="auto">
          <a:xfrm>
            <a:off x="702256" y="6225579"/>
            <a:ext cx="9037578" cy="214480"/>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ctr" anchorCtr="0" compatLnSpc="1">
            <a:prstTxWarp prst="textNoShape">
              <a:avLst/>
            </a:prstTxWarp>
          </a:bodyPr>
          <a:lstStyle/>
          <a:p>
            <a:pPr marL="36000" algn="ctr">
              <a:spcBef>
                <a:spcPts val="600"/>
              </a:spcBef>
            </a:pPr>
            <a:r>
              <a:rPr lang="en-GB" sz="900">
                <a:latin typeface="Trebuchet MS" panose="020B0603020202020204" pitchFamily="34" charset="0"/>
              </a:rPr>
              <a:t>Product Owners, Data scientists, Infrastructure and Network, Engage leader…</a:t>
            </a:r>
          </a:p>
        </p:txBody>
      </p:sp>
      <p:grpSp>
        <p:nvGrpSpPr>
          <p:cNvPr id="49" name="Groupe 66">
            <a:extLst>
              <a:ext uri="{FF2B5EF4-FFF2-40B4-BE49-F238E27FC236}">
                <a16:creationId xmlns:a16="http://schemas.microsoft.com/office/drawing/2014/main" id="{2B7CC391-C8E7-4B64-A7E1-2733AE2DA30D}"/>
              </a:ext>
            </a:extLst>
          </p:cNvPr>
          <p:cNvGrpSpPr/>
          <p:nvPr/>
        </p:nvGrpSpPr>
        <p:grpSpPr>
          <a:xfrm>
            <a:off x="8448150" y="-11528"/>
            <a:ext cx="1435548" cy="588143"/>
            <a:chOff x="8448150" y="-11528"/>
            <a:chExt cx="1435548" cy="588143"/>
          </a:xfrm>
        </p:grpSpPr>
        <p:sp>
          <p:nvSpPr>
            <p:cNvPr id="58" name="Rectangle : coins arrondis 199">
              <a:extLst>
                <a:ext uri="{FF2B5EF4-FFF2-40B4-BE49-F238E27FC236}">
                  <a16:creationId xmlns:a16="http://schemas.microsoft.com/office/drawing/2014/main" id="{4CB1FADE-BAEC-40C2-87D3-38FB21D13F3A}"/>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9" name="Rectangle : coins arrondis 200">
              <a:extLst>
                <a:ext uri="{FF2B5EF4-FFF2-40B4-BE49-F238E27FC236}">
                  <a16:creationId xmlns:a16="http://schemas.microsoft.com/office/drawing/2014/main" id="{83106FD8-DFBB-4321-B98F-6CAF66EFDDD3}"/>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0" name="Rectangle : coins arrondis 201">
              <a:extLst>
                <a:ext uri="{FF2B5EF4-FFF2-40B4-BE49-F238E27FC236}">
                  <a16:creationId xmlns:a16="http://schemas.microsoft.com/office/drawing/2014/main" id="{F87C5D3D-3A2D-4B60-A152-FB78B94952DA}"/>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3" name="ZoneTexte 18">
              <a:extLst>
                <a:ext uri="{FF2B5EF4-FFF2-40B4-BE49-F238E27FC236}">
                  <a16:creationId xmlns:a16="http://schemas.microsoft.com/office/drawing/2014/main" id="{9557465E-1BA8-4DA1-BF34-E237B992E61E}"/>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Operating model</a:t>
              </a:r>
            </a:p>
          </p:txBody>
        </p:sp>
        <p:pic>
          <p:nvPicPr>
            <p:cNvPr id="64" name="Graphique 128" descr="Jauge">
              <a:extLst>
                <a:ext uri="{FF2B5EF4-FFF2-40B4-BE49-F238E27FC236}">
                  <a16:creationId xmlns:a16="http://schemas.microsoft.com/office/drawing/2014/main" id="{559660A6-F801-4B6C-B0A6-AF19CE4B77B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3764" y="187516"/>
              <a:ext cx="234953" cy="218224"/>
            </a:xfrm>
            <a:prstGeom prst="rect">
              <a:avLst/>
            </a:prstGeom>
            <a:effectLst/>
          </p:spPr>
        </p:pic>
        <p:pic>
          <p:nvPicPr>
            <p:cNvPr id="65" name="Graphique 90" descr="Poignée de main">
              <a:extLst>
                <a:ext uri="{FF2B5EF4-FFF2-40B4-BE49-F238E27FC236}">
                  <a16:creationId xmlns:a16="http://schemas.microsoft.com/office/drawing/2014/main" id="{BAA8CFBB-3EB3-4F1D-8C95-876F7E2663F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60868" y="152880"/>
              <a:ext cx="256313" cy="287496"/>
            </a:xfrm>
            <a:prstGeom prst="rect">
              <a:avLst/>
            </a:prstGeom>
            <a:effectLst/>
          </p:spPr>
        </p:pic>
        <p:pic>
          <p:nvPicPr>
            <p:cNvPr id="66" name="Graphique 96" descr="Mégaphone">
              <a:extLst>
                <a:ext uri="{FF2B5EF4-FFF2-40B4-BE49-F238E27FC236}">
                  <a16:creationId xmlns:a16="http://schemas.microsoft.com/office/drawing/2014/main" id="{18D3638F-2CCA-49BF-9DC6-B3830301C0A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89331" y="181519"/>
              <a:ext cx="233011" cy="216420"/>
            </a:xfrm>
            <a:prstGeom prst="rect">
              <a:avLst/>
            </a:prstGeom>
            <a:effectLst/>
          </p:spPr>
        </p:pic>
        <p:pic>
          <p:nvPicPr>
            <p:cNvPr id="67" name="Picture 2" descr="Drapeau France">
              <a:extLst>
                <a:ext uri="{FF2B5EF4-FFF2-40B4-BE49-F238E27FC236}">
                  <a16:creationId xmlns:a16="http://schemas.microsoft.com/office/drawing/2014/main" id="{1411DFCE-B481-4D7D-8F89-6BEAE5116EDF}"/>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8" name="Picture 2" descr="5 ft x 3 ft 150 x 90 cm-DRAPEAU BELGE Belgique 100% Polyester ...">
              <a:extLst>
                <a:ext uri="{FF2B5EF4-FFF2-40B4-BE49-F238E27FC236}">
                  <a16:creationId xmlns:a16="http://schemas.microsoft.com/office/drawing/2014/main" id="{684988D8-0A9F-423A-9B6D-38DE5CF283C7}"/>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9" name="Picture 2 - 1" descr="Drapeau des Pays-Bas — Wikipédia">
              <a:extLst>
                <a:ext uri="{FF2B5EF4-FFF2-40B4-BE49-F238E27FC236}">
                  <a16:creationId xmlns:a16="http://schemas.microsoft.com/office/drawing/2014/main" id="{06D673DC-A0BB-461C-8069-5479E189A13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0" name="Picture 2 - 2" descr="Drapeau du Luxembourg">
              <a:extLst>
                <a:ext uri="{FF2B5EF4-FFF2-40B4-BE49-F238E27FC236}">
                  <a16:creationId xmlns:a16="http://schemas.microsoft.com/office/drawing/2014/main" id="{5CAF9EAA-4D97-4C4B-8BD4-2BEBD00446C0}"/>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71" name="ZoneTexte 18">
              <a:extLst>
                <a:ext uri="{FF2B5EF4-FFF2-40B4-BE49-F238E27FC236}">
                  <a16:creationId xmlns:a16="http://schemas.microsoft.com/office/drawing/2014/main" id="{A9A8EBD5-C9E2-416A-8F37-D00E28C96EC9}"/>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Day-to-day operations</a:t>
              </a:r>
            </a:p>
          </p:txBody>
        </p:sp>
      </p:grpSp>
      <p:sp>
        <p:nvSpPr>
          <p:cNvPr id="73" name="Ellipse 72">
            <a:extLst>
              <a:ext uri="{FF2B5EF4-FFF2-40B4-BE49-F238E27FC236}">
                <a16:creationId xmlns:a16="http://schemas.microsoft.com/office/drawing/2014/main" id="{A08880C2-376B-4709-BD2D-56C2582FD926}"/>
              </a:ext>
            </a:extLst>
          </p:cNvPr>
          <p:cNvSpPr/>
          <p:nvPr/>
        </p:nvSpPr>
        <p:spPr bwMode="auto">
          <a:xfrm>
            <a:off x="8967152" y="531174"/>
            <a:ext cx="204787" cy="197764"/>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1"/>
                </a:solidFill>
                <a:effectLst/>
                <a:latin typeface="Trebuchet MS" panose="020B0603020202020204" pitchFamily="34" charset="0"/>
              </a:rPr>
              <a:t>1</a:t>
            </a:r>
          </a:p>
        </p:txBody>
      </p:sp>
      <p:sp>
        <p:nvSpPr>
          <p:cNvPr id="72" name="Rectangle 71">
            <a:extLst>
              <a:ext uri="{FF2B5EF4-FFF2-40B4-BE49-F238E27FC236}">
                <a16:creationId xmlns:a16="http://schemas.microsoft.com/office/drawing/2014/main" id="{E7525C5E-D822-4DED-9B99-8CB3CCBF4F8A}"/>
              </a:ext>
            </a:extLst>
          </p:cNvPr>
          <p:cNvSpPr/>
          <p:nvPr/>
        </p:nvSpPr>
        <p:spPr bwMode="auto">
          <a:xfrm>
            <a:off x="8831076" y="4715376"/>
            <a:ext cx="735151" cy="461665"/>
          </a:xfrm>
          <a:prstGeom prst="rect">
            <a:avLst/>
          </a:prstGeom>
          <a:noFill/>
        </p:spPr>
        <p:txBody>
          <a:bodyPr wrap="square" lIns="0" rIns="0" rtlCol="0">
            <a:spAutoFit/>
          </a:bodyPr>
          <a:lstStyle/>
          <a:p>
            <a:pPr algn="ctr">
              <a:buClr>
                <a:schemeClr val="tx1"/>
              </a:buClr>
            </a:pPr>
            <a:r>
              <a:rPr lang="en-GB" sz="800" i="1">
                <a:latin typeface="Trebuchet MS" panose="020B0603020202020204" pitchFamily="34" charset="0"/>
              </a:rPr>
              <a:t>Deployed within Engage project</a:t>
            </a:r>
          </a:p>
        </p:txBody>
      </p:sp>
      <p:pic>
        <p:nvPicPr>
          <p:cNvPr id="4" name="Image 3">
            <a:extLst>
              <a:ext uri="{FF2B5EF4-FFF2-40B4-BE49-F238E27FC236}">
                <a16:creationId xmlns:a16="http://schemas.microsoft.com/office/drawing/2014/main" id="{2170F478-70FC-48EB-BB62-3F035A2D4742}"/>
              </a:ext>
            </a:extLst>
          </p:cNvPr>
          <p:cNvPicPr>
            <a:picLocks noChangeAspect="1"/>
          </p:cNvPicPr>
          <p:nvPr/>
        </p:nvPicPr>
        <p:blipFill>
          <a:blip r:embed="rId18"/>
          <a:stretch>
            <a:fillRect/>
          </a:stretch>
        </p:blipFill>
        <p:spPr>
          <a:xfrm>
            <a:off x="9062708" y="5157665"/>
            <a:ext cx="484636" cy="185827"/>
          </a:xfrm>
          <a:prstGeom prst="rect">
            <a:avLst/>
          </a:prstGeom>
        </p:spPr>
      </p:pic>
    </p:spTree>
    <p:extLst>
      <p:ext uri="{BB962C8B-B14F-4D97-AF65-F5344CB8AC3E}">
        <p14:creationId xmlns:p14="http://schemas.microsoft.com/office/powerpoint/2010/main" val="2666686246"/>
      </p:ext>
    </p:extLst>
  </p:cSld>
  <p:clrMapOvr>
    <a:masterClrMapping/>
  </p:clrMapOvr>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13510C07-6812-4ED7-9280-D30CC1F5A4CC}"/>
              </a:ext>
            </a:extLst>
          </p:cNvPr>
          <p:cNvGraphicFramePr>
            <a:graphicFrameLocks noChangeAspect="1"/>
          </p:cNvGraphicFramePr>
          <p:nvPr>
            <p:custDataLst>
              <p:tags r:id="rId1"/>
            </p:custDataLst>
            <p:extLst>
              <p:ext uri="{D42A27DB-BD31-4B8C-83A1-F6EECF244321}">
                <p14:modId xmlns:p14="http://schemas.microsoft.com/office/powerpoint/2010/main" val="22067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6" name="Objet 5" hidden="1">
                        <a:extLst>
                          <a:ext uri="{FF2B5EF4-FFF2-40B4-BE49-F238E27FC236}">
                            <a16:creationId xmlns:a16="http://schemas.microsoft.com/office/drawing/2014/main" id="{13510C07-6812-4ED7-9280-D30CC1F5A4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5FAC1FE-105D-44ED-BD39-E0C570F467B1}"/>
              </a:ext>
            </a:extLst>
          </p:cNvPr>
          <p:cNvSpPr>
            <a:spLocks noGrp="1"/>
          </p:cNvSpPr>
          <p:nvPr>
            <p:ph type="body" sz="quarter" idx="10"/>
          </p:nvPr>
        </p:nvSpPr>
        <p:spPr/>
        <p:txBody>
          <a:bodyPr/>
          <a:lstStyle/>
          <a:p>
            <a:r>
              <a:rPr lang="en-GB" sz="800" i="1" kern="0"/>
              <a:t>Sources: eleven research &amp; analysis, company data, interviews with management</a:t>
            </a:r>
          </a:p>
          <a:p>
            <a:endParaRPr lang="en-GB"/>
          </a:p>
        </p:txBody>
      </p:sp>
      <p:sp>
        <p:nvSpPr>
          <p:cNvPr id="31" name="Rectangle 30">
            <a:extLst>
              <a:ext uri="{FF2B5EF4-FFF2-40B4-BE49-F238E27FC236}">
                <a16:creationId xmlns:a16="http://schemas.microsoft.com/office/drawing/2014/main" id="{BD681E3B-67F9-4FB6-9653-9774CF585D32}"/>
              </a:ext>
            </a:extLst>
          </p:cNvPr>
          <p:cNvSpPr/>
          <p:nvPr/>
        </p:nvSpPr>
        <p:spPr bwMode="auto">
          <a:xfrm>
            <a:off x="87477" y="2551301"/>
            <a:ext cx="495455" cy="2748773"/>
          </a:xfrm>
          <a:prstGeom prst="rect">
            <a:avLst/>
          </a:prstGeom>
          <a:solidFill>
            <a:schemeClr val="tx1"/>
          </a:solidFill>
          <a:ln w="9525" cap="flat" cmpd="sng" algn="ctr">
            <a:no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bg1"/>
                </a:solidFill>
                <a:effectLst/>
                <a:latin typeface="Trebuchet MS" panose="020B0603020202020204" pitchFamily="34" charset="0"/>
              </a:rPr>
              <a:t>Main tasks</a:t>
            </a:r>
          </a:p>
        </p:txBody>
      </p:sp>
      <p:sp>
        <p:nvSpPr>
          <p:cNvPr id="35" name="Rectangle 34">
            <a:extLst>
              <a:ext uri="{FF2B5EF4-FFF2-40B4-BE49-F238E27FC236}">
                <a16:creationId xmlns:a16="http://schemas.microsoft.com/office/drawing/2014/main" id="{4D37AD63-3908-46F6-A1D3-6ABBFD0BCBC8}"/>
              </a:ext>
            </a:extLst>
          </p:cNvPr>
          <p:cNvSpPr/>
          <p:nvPr/>
        </p:nvSpPr>
        <p:spPr bwMode="auto">
          <a:xfrm>
            <a:off x="87476" y="5993725"/>
            <a:ext cx="495455" cy="408106"/>
          </a:xfrm>
          <a:prstGeom prst="rect">
            <a:avLst/>
          </a:prstGeom>
          <a:solidFill>
            <a:schemeClr val="tx1"/>
          </a:solidFill>
          <a:ln w="9525" cap="flat" cmpd="sng" algn="ctr">
            <a:no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i="1">
                <a:solidFill>
                  <a:schemeClr val="bg1"/>
                </a:solidFill>
                <a:latin typeface="Trebuchet MS" panose="020B0603020202020204" pitchFamily="34" charset="0"/>
              </a:rPr>
              <a:t>Skills</a:t>
            </a:r>
            <a:endParaRPr kumimoji="0" lang="en-GB" sz="1000" b="1" i="1" u="none" strike="noStrike" cap="none" normalizeH="0" baseline="0">
              <a:ln>
                <a:noFill/>
              </a:ln>
              <a:solidFill>
                <a:schemeClr val="bg1"/>
              </a:solidFill>
              <a:effectLst/>
              <a:latin typeface="Trebuchet MS" panose="020B0603020202020204" pitchFamily="34" charset="0"/>
            </a:endParaRPr>
          </a:p>
        </p:txBody>
      </p:sp>
      <p:sp>
        <p:nvSpPr>
          <p:cNvPr id="29" name="Rectangle 28">
            <a:extLst>
              <a:ext uri="{FF2B5EF4-FFF2-40B4-BE49-F238E27FC236}">
                <a16:creationId xmlns:a16="http://schemas.microsoft.com/office/drawing/2014/main" id="{3969BBAF-5B8D-45D0-9251-529419E278E6}"/>
              </a:ext>
            </a:extLst>
          </p:cNvPr>
          <p:cNvSpPr/>
          <p:nvPr/>
        </p:nvSpPr>
        <p:spPr bwMode="auto">
          <a:xfrm>
            <a:off x="87476" y="5412766"/>
            <a:ext cx="495455" cy="502989"/>
          </a:xfrm>
          <a:prstGeom prst="rect">
            <a:avLst/>
          </a:prstGeom>
          <a:solidFill>
            <a:schemeClr val="tx1"/>
          </a:solidFill>
          <a:ln w="9525" cap="flat" cmpd="sng" algn="ctr">
            <a:no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algn="ctr"/>
            <a:r>
              <a:rPr lang="en-GB" sz="1000" b="1" i="1">
                <a:solidFill>
                  <a:schemeClr val="bg1"/>
                </a:solidFill>
                <a:latin typeface="Trebuchet MS" panose="020B0603020202020204" pitchFamily="34" charset="0"/>
              </a:rPr>
              <a:t>Tools </a:t>
            </a:r>
          </a:p>
        </p:txBody>
      </p:sp>
      <p:sp>
        <p:nvSpPr>
          <p:cNvPr id="32" name="Title 1">
            <a:extLst>
              <a:ext uri="{FF2B5EF4-FFF2-40B4-BE49-F238E27FC236}">
                <a16:creationId xmlns:a16="http://schemas.microsoft.com/office/drawing/2014/main" id="{D5C5C981-D95A-4008-8124-B1C7433D105A}"/>
              </a:ext>
            </a:extLst>
          </p:cNvPr>
          <p:cNvSpPr txBox="1">
            <a:spLocks/>
          </p:cNvSpPr>
          <p:nvPr/>
        </p:nvSpPr>
        <p:spPr bwMode="auto">
          <a:xfrm>
            <a:off x="165600" y="147600"/>
            <a:ext cx="8388164" cy="68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kern="0">
                <a:latin typeface="Trebuchet MS" panose="020B0603020202020204" pitchFamily="34" charset="0"/>
              </a:rPr>
              <a:t>Furthermore, </a:t>
            </a:r>
            <a:r>
              <a:rPr lang="en-GB" kern="0" err="1">
                <a:latin typeface="Trebuchet MS" panose="020B0603020202020204" pitchFamily="34" charset="0"/>
              </a:rPr>
              <a:t>Altares</a:t>
            </a:r>
            <a:r>
              <a:rPr lang="en-GB" kern="0">
                <a:latin typeface="Trebuchet MS" panose="020B0603020202020204" pitchFamily="34" charset="0"/>
              </a:rPr>
              <a:t>' operations are supported by </a:t>
            </a:r>
            <a:r>
              <a:rPr lang="en-GB" kern="0">
                <a:solidFill>
                  <a:schemeClr val="tx2"/>
                </a:solidFill>
                <a:latin typeface="Trebuchet MS" panose="020B0603020202020204" pitchFamily="34" charset="0"/>
              </a:rPr>
              <a:t>continuous R&amp;D and a strong IT architecture </a:t>
            </a:r>
          </a:p>
          <a:p>
            <a:endParaRPr lang="en-GB" kern="0">
              <a:latin typeface="Trebuchet MS" panose="020B0603020202020204" pitchFamily="34" charset="0"/>
            </a:endParaRPr>
          </a:p>
        </p:txBody>
      </p:sp>
      <p:cxnSp>
        <p:nvCxnSpPr>
          <p:cNvPr id="34" name="Connecteur droit 4">
            <a:extLst>
              <a:ext uri="{FF2B5EF4-FFF2-40B4-BE49-F238E27FC236}">
                <a16:creationId xmlns:a16="http://schemas.microsoft.com/office/drawing/2014/main" id="{1DEF9CF9-A949-4C75-A7F4-7B4EB818B026}"/>
              </a:ext>
            </a:extLst>
          </p:cNvPr>
          <p:cNvCxnSpPr>
            <a:cxnSpLocks/>
          </p:cNvCxnSpPr>
          <p:nvPr/>
        </p:nvCxnSpPr>
        <p:spPr bwMode="auto">
          <a:xfrm>
            <a:off x="165600" y="965923"/>
            <a:ext cx="9400627"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6" name="TextBox 30">
            <a:extLst>
              <a:ext uri="{FF2B5EF4-FFF2-40B4-BE49-F238E27FC236}">
                <a16:creationId xmlns:a16="http://schemas.microsoft.com/office/drawing/2014/main" id="{8E59EF33-6DF9-4921-8DA6-83E49BDB1715}"/>
              </a:ext>
            </a:extLst>
          </p:cNvPr>
          <p:cNvSpPr txBox="1"/>
          <p:nvPr/>
        </p:nvSpPr>
        <p:spPr>
          <a:xfrm>
            <a:off x="3009872" y="847291"/>
            <a:ext cx="4202616" cy="261610"/>
          </a:xfrm>
          <a:prstGeom prst="rect">
            <a:avLst/>
          </a:prstGeom>
          <a:solidFill>
            <a:schemeClr val="bg1"/>
          </a:solidFill>
        </p:spPr>
        <p:txBody>
          <a:bodyPr wrap="square" lIns="0" rIns="0" rtlCol="0">
            <a:spAutoFit/>
          </a:bodyPr>
          <a:lstStyle/>
          <a:p>
            <a:pPr algn="ctr">
              <a:defRPr/>
            </a:pPr>
            <a:r>
              <a:rPr lang="en-GB" sz="1100">
                <a:latin typeface="Trebuchet MS" panose="020B0603020202020204" pitchFamily="34" charset="0"/>
              </a:rPr>
              <a:t>Synthetic View of </a:t>
            </a:r>
            <a:r>
              <a:rPr lang="en-GB" sz="1100" err="1">
                <a:latin typeface="Trebuchet MS" panose="020B0603020202020204" pitchFamily="34" charset="0"/>
              </a:rPr>
              <a:t>Altares</a:t>
            </a:r>
            <a:r>
              <a:rPr lang="en-GB" sz="1100">
                <a:latin typeface="Trebuchet MS" panose="020B0603020202020204" pitchFamily="34" charset="0"/>
              </a:rPr>
              <a:t>’ offer improvement and R&amp;D operations </a:t>
            </a:r>
            <a:endParaRPr kumimoji="0" lang="en-GB" sz="1100" u="none" strike="noStrike" cap="none" normalizeH="0" baseline="0">
              <a:ln>
                <a:noFill/>
              </a:ln>
              <a:effectLst/>
              <a:latin typeface="Trebuchet MS" panose="020B0603020202020204" pitchFamily="34" charset="0"/>
            </a:endParaRPr>
          </a:p>
        </p:txBody>
      </p:sp>
      <p:sp>
        <p:nvSpPr>
          <p:cNvPr id="56" name="Ellipse 55">
            <a:extLst>
              <a:ext uri="{FF2B5EF4-FFF2-40B4-BE49-F238E27FC236}">
                <a16:creationId xmlns:a16="http://schemas.microsoft.com/office/drawing/2014/main" id="{AD323394-4D9A-4950-A9FC-F3B2DF095AEB}"/>
              </a:ext>
            </a:extLst>
          </p:cNvPr>
          <p:cNvSpPr/>
          <p:nvPr/>
        </p:nvSpPr>
        <p:spPr bwMode="auto">
          <a:xfrm>
            <a:off x="2736486" y="864275"/>
            <a:ext cx="204787" cy="197764"/>
          </a:xfrm>
          <a:prstGeom prst="ellips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1"/>
                </a:solidFill>
                <a:effectLst/>
                <a:latin typeface="Trebuchet MS" panose="020B0603020202020204" pitchFamily="34" charset="0"/>
              </a:rPr>
              <a:t>2</a:t>
            </a:r>
          </a:p>
        </p:txBody>
      </p:sp>
      <p:sp>
        <p:nvSpPr>
          <p:cNvPr id="58" name="Chevron 69">
            <a:extLst>
              <a:ext uri="{FF2B5EF4-FFF2-40B4-BE49-F238E27FC236}">
                <a16:creationId xmlns:a16="http://schemas.microsoft.com/office/drawing/2014/main" id="{1EBF2D32-C8E0-4593-AA65-E9E81F71F03B}"/>
              </a:ext>
            </a:extLst>
          </p:cNvPr>
          <p:cNvSpPr/>
          <p:nvPr/>
        </p:nvSpPr>
        <p:spPr bwMode="auto">
          <a:xfrm>
            <a:off x="5291565" y="1934180"/>
            <a:ext cx="1408839" cy="495006"/>
          </a:xfrm>
          <a:prstGeom prst="rect">
            <a:avLst/>
          </a:prstGeom>
          <a:solidFill>
            <a:schemeClr val="tx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1" i="1">
                <a:solidFill>
                  <a:schemeClr val="bg1"/>
                </a:solidFill>
                <a:latin typeface="Trebuchet MS" panose="020B0603020202020204" pitchFamily="34" charset="0"/>
              </a:rPr>
              <a:t>Scoring algorithm improvement </a:t>
            </a:r>
            <a:endParaRPr kumimoji="0" lang="en-GB" sz="4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59" name="Chevron 69">
            <a:extLst>
              <a:ext uri="{FF2B5EF4-FFF2-40B4-BE49-F238E27FC236}">
                <a16:creationId xmlns:a16="http://schemas.microsoft.com/office/drawing/2014/main" id="{F8B715C8-543F-40C3-8FBD-62B981653C48}"/>
              </a:ext>
            </a:extLst>
          </p:cNvPr>
          <p:cNvSpPr/>
          <p:nvPr/>
        </p:nvSpPr>
        <p:spPr bwMode="auto">
          <a:xfrm>
            <a:off x="6816977" y="1934180"/>
            <a:ext cx="1408839" cy="495006"/>
          </a:xfrm>
          <a:prstGeom prst="rect">
            <a:avLst/>
          </a:prstGeom>
          <a:solidFill>
            <a:schemeClr val="tx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1" i="1">
                <a:solidFill>
                  <a:schemeClr val="bg1"/>
                </a:solidFill>
                <a:latin typeface="Trebuchet MS" pitchFamily="34" charset="0"/>
              </a:rPr>
              <a:t>Product IT development</a:t>
            </a:r>
          </a:p>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1" i="1">
                <a:solidFill>
                  <a:schemeClr val="bg1"/>
                </a:solidFill>
                <a:latin typeface="Trebuchet MS" pitchFamily="34" charset="0"/>
              </a:rPr>
              <a:t> </a:t>
            </a:r>
            <a:r>
              <a:rPr lang="en-GB" sz="600" b="1" i="1">
                <a:solidFill>
                  <a:schemeClr val="bg1"/>
                </a:solidFill>
                <a:latin typeface="Trebuchet MS" panose="020B0603020202020204" pitchFamily="34" charset="0"/>
              </a:rPr>
              <a:t>(APIs, connectors, Webservices)</a:t>
            </a:r>
            <a:endParaRPr kumimoji="0" lang="en-GB" sz="6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62" name="Chevron 69">
            <a:extLst>
              <a:ext uri="{FF2B5EF4-FFF2-40B4-BE49-F238E27FC236}">
                <a16:creationId xmlns:a16="http://schemas.microsoft.com/office/drawing/2014/main" id="{EBDB6BD9-12D3-4DC3-91EB-26A7B42C851E}"/>
              </a:ext>
            </a:extLst>
          </p:cNvPr>
          <p:cNvSpPr>
            <a:spLocks noChangeAspect="1"/>
          </p:cNvSpPr>
          <p:nvPr/>
        </p:nvSpPr>
        <p:spPr bwMode="auto">
          <a:xfrm>
            <a:off x="715327"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Data collection </a:t>
            </a:r>
            <a:r>
              <a:rPr lang="en-GB" sz="700" b="1" i="1">
                <a:solidFill>
                  <a:schemeClr val="bg1"/>
                </a:solidFill>
                <a:latin typeface="Trebuchet MS" panose="020B0603020202020204" pitchFamily="34" charset="0"/>
              </a:rPr>
              <a:t>(structured and non structured data) </a:t>
            </a:r>
            <a:endParaRPr kumimoji="0" lang="en-GB" sz="700" b="1" i="1" u="none" strike="noStrike" kern="1200" cap="none" spc="0" normalizeH="0" baseline="0">
              <a:ln>
                <a:noFill/>
              </a:ln>
              <a:solidFill>
                <a:schemeClr val="bg1"/>
              </a:solidFill>
              <a:effectLst/>
              <a:uLnTx/>
              <a:uFillTx/>
              <a:latin typeface="Trebuchet MS" panose="020B0603020202020204" pitchFamily="34" charset="0"/>
            </a:endParaRPr>
          </a:p>
        </p:txBody>
      </p:sp>
      <p:cxnSp>
        <p:nvCxnSpPr>
          <p:cNvPr id="63" name="Straight Arrow Connector 29">
            <a:extLst>
              <a:ext uri="{FF2B5EF4-FFF2-40B4-BE49-F238E27FC236}">
                <a16:creationId xmlns:a16="http://schemas.microsoft.com/office/drawing/2014/main" id="{39DB2EAD-9B1A-406C-8BC0-AC4F46189824}"/>
              </a:ext>
            </a:extLst>
          </p:cNvPr>
          <p:cNvCxnSpPr>
            <a:cxnSpLocks noChangeAspect="1"/>
          </p:cNvCxnSpPr>
          <p:nvPr/>
        </p:nvCxnSpPr>
        <p:spPr bwMode="auto">
          <a:xfrm flipH="1" flipV="1">
            <a:off x="710271" y="1221908"/>
            <a:ext cx="4513057" cy="132"/>
          </a:xfrm>
          <a:prstGeom prst="straightConnector1">
            <a:avLst/>
          </a:prstGeom>
          <a:solidFill>
            <a:schemeClr val="accent1"/>
          </a:solidFill>
          <a:ln w="9525" cap="flat" cmpd="sng" algn="ctr">
            <a:solidFill>
              <a:schemeClr val="tx2"/>
            </a:solidFill>
            <a:prstDash val="solid"/>
            <a:round/>
            <a:headEnd type="triangle" w="med" len="med"/>
            <a:tailEnd type="triangle" w="med" len="med"/>
          </a:ln>
          <a:effectLst/>
        </p:spPr>
      </p:cxnSp>
      <p:sp>
        <p:nvSpPr>
          <p:cNvPr id="64" name="TextBox 30">
            <a:extLst>
              <a:ext uri="{FF2B5EF4-FFF2-40B4-BE49-F238E27FC236}">
                <a16:creationId xmlns:a16="http://schemas.microsoft.com/office/drawing/2014/main" id="{8FBB0BF0-280B-422D-B26D-51F8194B0974}"/>
              </a:ext>
            </a:extLst>
          </p:cNvPr>
          <p:cNvSpPr txBox="1">
            <a:spLocks noChangeAspect="1"/>
          </p:cNvSpPr>
          <p:nvPr/>
        </p:nvSpPr>
        <p:spPr>
          <a:xfrm>
            <a:off x="1263691" y="1070835"/>
            <a:ext cx="2870443"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1"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Upstream : data collect</a:t>
            </a:r>
            <a:r>
              <a:rPr lang="en-GB" sz="1000" i="1">
                <a:solidFill>
                  <a:schemeClr val="tx2"/>
                </a:solidFill>
                <a:latin typeface="Trebuchet MS" panose="020B0603020202020204" pitchFamily="34" charset="0"/>
              </a:rPr>
              <a:t>ion and integration</a:t>
            </a:r>
            <a:endParaRPr kumimoji="0" lang="en-GB" sz="1000" b="0" i="1" u="none" strike="noStrike" kern="1200" cap="none" spc="0" normalizeH="0" baseline="0" noProof="0">
              <a:ln>
                <a:noFill/>
              </a:ln>
              <a:solidFill>
                <a:schemeClr val="tx2"/>
              </a:solidFill>
              <a:effectLst/>
              <a:uLnTx/>
              <a:uFillTx/>
              <a:latin typeface="Trebuchet MS" panose="020B0603020202020204" pitchFamily="34" charset="0"/>
            </a:endParaRPr>
          </a:p>
        </p:txBody>
      </p:sp>
      <p:sp>
        <p:nvSpPr>
          <p:cNvPr id="65" name="Chevron 69">
            <a:extLst>
              <a:ext uri="{FF2B5EF4-FFF2-40B4-BE49-F238E27FC236}">
                <a16:creationId xmlns:a16="http://schemas.microsoft.com/office/drawing/2014/main" id="{8DE77F5D-5042-42AB-A898-AA76BB6B9A15}"/>
              </a:ext>
            </a:extLst>
          </p:cNvPr>
          <p:cNvSpPr>
            <a:spLocks noChangeAspect="1"/>
          </p:cNvSpPr>
          <p:nvPr/>
        </p:nvSpPr>
        <p:spPr bwMode="auto">
          <a:xfrm>
            <a:off x="2240739"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Data cleaning and treatment </a:t>
            </a:r>
            <a:endParaRPr kumimoji="0" lang="en-GB" sz="5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66" name="Chevron 69">
            <a:extLst>
              <a:ext uri="{FF2B5EF4-FFF2-40B4-BE49-F238E27FC236}">
                <a16:creationId xmlns:a16="http://schemas.microsoft.com/office/drawing/2014/main" id="{9EA087CE-323A-4971-9D2D-E9C8B3E6028F}"/>
              </a:ext>
            </a:extLst>
          </p:cNvPr>
          <p:cNvSpPr>
            <a:spLocks noChangeAspect="1"/>
          </p:cNvSpPr>
          <p:nvPr/>
        </p:nvSpPr>
        <p:spPr bwMode="auto">
          <a:xfrm>
            <a:off x="3766152"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Data storage</a:t>
            </a:r>
            <a:endParaRPr kumimoji="0" lang="en-GB" sz="5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67" name="Chevron 69">
            <a:extLst>
              <a:ext uri="{FF2B5EF4-FFF2-40B4-BE49-F238E27FC236}">
                <a16:creationId xmlns:a16="http://schemas.microsoft.com/office/drawing/2014/main" id="{02479348-E34D-4051-9373-85B50E6C2D45}"/>
              </a:ext>
            </a:extLst>
          </p:cNvPr>
          <p:cNvSpPr>
            <a:spLocks noChangeAspect="1"/>
          </p:cNvSpPr>
          <p:nvPr/>
        </p:nvSpPr>
        <p:spPr bwMode="auto">
          <a:xfrm>
            <a:off x="5291565"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Data a</a:t>
            </a:r>
            <a:r>
              <a:rPr kumimoji="0" lang="en-GB" sz="10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nalysis and fulfilment</a:t>
            </a:r>
            <a:endParaRPr kumimoji="0" lang="en-GB" sz="5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68" name="Chevron 69">
            <a:extLst>
              <a:ext uri="{FF2B5EF4-FFF2-40B4-BE49-F238E27FC236}">
                <a16:creationId xmlns:a16="http://schemas.microsoft.com/office/drawing/2014/main" id="{29A2AEB2-324A-4E56-B44F-F13D79D4B8B6}"/>
              </a:ext>
            </a:extLst>
          </p:cNvPr>
          <p:cNvSpPr>
            <a:spLocks noChangeAspect="1"/>
          </p:cNvSpPr>
          <p:nvPr/>
        </p:nvSpPr>
        <p:spPr bwMode="auto">
          <a:xfrm>
            <a:off x="6816978"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Customer Onboarding and success</a:t>
            </a:r>
            <a:endParaRPr kumimoji="0" lang="en-GB" sz="5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69" name="Chevron 69">
            <a:extLst>
              <a:ext uri="{FF2B5EF4-FFF2-40B4-BE49-F238E27FC236}">
                <a16:creationId xmlns:a16="http://schemas.microsoft.com/office/drawing/2014/main" id="{891E9C60-8E0C-4B90-A22E-5864D337DE69}"/>
              </a:ext>
            </a:extLst>
          </p:cNvPr>
          <p:cNvSpPr>
            <a:spLocks noChangeAspect="1"/>
          </p:cNvSpPr>
          <p:nvPr/>
        </p:nvSpPr>
        <p:spPr bwMode="auto">
          <a:xfrm>
            <a:off x="8342389"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Sales and support </a:t>
            </a:r>
            <a:endParaRPr kumimoji="0" lang="en-GB" sz="500" b="1" i="1" u="none" strike="noStrike" kern="1200" cap="none" spc="0" normalizeH="0" baseline="0">
              <a:ln>
                <a:noFill/>
              </a:ln>
              <a:solidFill>
                <a:schemeClr val="bg1"/>
              </a:solidFill>
              <a:effectLst/>
              <a:uLnTx/>
              <a:uFillTx/>
              <a:latin typeface="Trebuchet MS" panose="020B0603020202020204" pitchFamily="34" charset="0"/>
            </a:endParaRPr>
          </a:p>
        </p:txBody>
      </p:sp>
      <p:cxnSp>
        <p:nvCxnSpPr>
          <p:cNvPr id="70" name="Straight Arrow Connector 29">
            <a:extLst>
              <a:ext uri="{FF2B5EF4-FFF2-40B4-BE49-F238E27FC236}">
                <a16:creationId xmlns:a16="http://schemas.microsoft.com/office/drawing/2014/main" id="{7132C9CA-DBA3-4554-A0FE-D316979FD040}"/>
              </a:ext>
            </a:extLst>
          </p:cNvPr>
          <p:cNvCxnSpPr>
            <a:cxnSpLocks noChangeAspect="1"/>
          </p:cNvCxnSpPr>
          <p:nvPr/>
        </p:nvCxnSpPr>
        <p:spPr bwMode="auto">
          <a:xfrm flipH="1" flipV="1">
            <a:off x="5291565" y="1221908"/>
            <a:ext cx="4513057" cy="132"/>
          </a:xfrm>
          <a:prstGeom prst="straightConnector1">
            <a:avLst/>
          </a:prstGeom>
          <a:solidFill>
            <a:schemeClr val="accent1"/>
          </a:solidFill>
          <a:ln w="9525" cap="flat" cmpd="sng" algn="ctr">
            <a:solidFill>
              <a:schemeClr val="tx2"/>
            </a:solidFill>
            <a:prstDash val="solid"/>
            <a:round/>
            <a:headEnd type="triangle" w="med" len="med"/>
            <a:tailEnd type="triangle" w="med" len="med"/>
          </a:ln>
          <a:effectLst/>
        </p:spPr>
      </p:cxnSp>
      <p:sp>
        <p:nvSpPr>
          <p:cNvPr id="71" name="TextBox 17">
            <a:extLst>
              <a:ext uri="{FF2B5EF4-FFF2-40B4-BE49-F238E27FC236}">
                <a16:creationId xmlns:a16="http://schemas.microsoft.com/office/drawing/2014/main" id="{C5D5B4D4-837C-4B3D-871C-3EBF04BA617B}"/>
              </a:ext>
            </a:extLst>
          </p:cNvPr>
          <p:cNvSpPr txBox="1">
            <a:spLocks noChangeAspect="1"/>
          </p:cNvSpPr>
          <p:nvPr/>
        </p:nvSpPr>
        <p:spPr>
          <a:xfrm>
            <a:off x="6191577" y="1069864"/>
            <a:ext cx="3058749" cy="246221"/>
          </a:xfrm>
          <a:prstGeom prst="rect">
            <a:avLst/>
          </a:prstGeom>
          <a:solidFill>
            <a:schemeClr val="bg1"/>
          </a:solidFill>
        </p:spPr>
        <p:txBody>
          <a:bodyPr wrap="square" lIns="0" rIns="0" rtlCol="0">
            <a:spAutoFit/>
          </a:bodyPr>
          <a:lstStyle>
            <a:defPPr>
              <a:defRPr lang="en-US"/>
            </a:defPPr>
            <a:lvl1pPr marL="0" marR="0" lvl="0" indent="0" algn="ctr" defTabSz="914400" eaLnBrk="1" latinLnBrk="0" hangingPunct="1">
              <a:lnSpc>
                <a:spcPct val="100000"/>
              </a:lnSpc>
              <a:buClrTx/>
              <a:buSzTx/>
              <a:buFontTx/>
              <a:buNone/>
              <a:tabLst/>
              <a:defRPr kumimoji="0" sz="1000" b="0" i="1" u="none" strike="noStrike" cap="none" spc="0" normalizeH="0" baseline="0">
                <a:ln>
                  <a:noFill/>
                </a:ln>
                <a:solidFill>
                  <a:schemeClr val="tx2"/>
                </a:solidFill>
                <a:effectLst/>
                <a:uLnTx/>
                <a:uFillTx/>
              </a:defRPr>
            </a:lvl1pPr>
          </a:lstStyle>
          <a:p>
            <a:r>
              <a:rPr lang="en-GB">
                <a:latin typeface="Trebuchet MS" panose="020B0603020202020204" pitchFamily="34" charset="0"/>
              </a:rPr>
              <a:t>Downstream : data analysis and offer deployment</a:t>
            </a:r>
          </a:p>
        </p:txBody>
      </p:sp>
      <p:sp>
        <p:nvSpPr>
          <p:cNvPr id="72" name="Chevron 69">
            <a:extLst>
              <a:ext uri="{FF2B5EF4-FFF2-40B4-BE49-F238E27FC236}">
                <a16:creationId xmlns:a16="http://schemas.microsoft.com/office/drawing/2014/main" id="{A95E7921-9C91-4F65-A113-D2A7CF918B51}"/>
              </a:ext>
            </a:extLst>
          </p:cNvPr>
          <p:cNvSpPr/>
          <p:nvPr/>
        </p:nvSpPr>
        <p:spPr bwMode="auto">
          <a:xfrm>
            <a:off x="716251" y="1934179"/>
            <a:ext cx="3043853" cy="495006"/>
          </a:xfrm>
          <a:prstGeom prst="rect">
            <a:avLst/>
          </a:prstGeom>
          <a:solidFill>
            <a:schemeClr val="tx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1" i="1">
                <a:solidFill>
                  <a:schemeClr val="bg1"/>
                </a:solidFill>
                <a:latin typeface="Trebuchet MS" panose="020B0603020202020204" pitchFamily="34" charset="0"/>
              </a:rPr>
              <a:t>R&amp;D on data collection and cleaning</a:t>
            </a:r>
            <a:endParaRPr kumimoji="0" lang="en-GB" sz="4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4" name="Rectangle 3">
            <a:extLst>
              <a:ext uri="{FF2B5EF4-FFF2-40B4-BE49-F238E27FC236}">
                <a16:creationId xmlns:a16="http://schemas.microsoft.com/office/drawing/2014/main" id="{C972A882-EFB1-4267-A60A-9ADCFDF2A870}"/>
              </a:ext>
            </a:extLst>
          </p:cNvPr>
          <p:cNvSpPr/>
          <p:nvPr/>
        </p:nvSpPr>
        <p:spPr bwMode="auto">
          <a:xfrm>
            <a:off x="663447" y="1115832"/>
            <a:ext cx="9136689" cy="818347"/>
          </a:xfrm>
          <a:prstGeom prst="rect">
            <a:avLst/>
          </a:prstGeom>
          <a:solidFill>
            <a:schemeClr val="bg1">
              <a:alpha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4" name="Rectangle 73">
            <a:extLst>
              <a:ext uri="{FF2B5EF4-FFF2-40B4-BE49-F238E27FC236}">
                <a16:creationId xmlns:a16="http://schemas.microsoft.com/office/drawing/2014/main" id="{431A8241-137F-48B9-A302-1A288F4BB765}"/>
              </a:ext>
            </a:extLst>
          </p:cNvPr>
          <p:cNvSpPr/>
          <p:nvPr/>
        </p:nvSpPr>
        <p:spPr bwMode="auto">
          <a:xfrm>
            <a:off x="715327" y="2551300"/>
            <a:ext cx="5977513" cy="2740475"/>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36000" tIns="72000" rIns="72000" bIns="0" numCol="1" rtlCol="0" anchor="t" anchorCtr="0" compatLnSpc="1">
            <a:prstTxWarp prst="textNoShape">
              <a:avLst/>
            </a:prstTxWarp>
          </a:bodyPr>
          <a:lstStyle/>
          <a:p>
            <a:pPr marL="265112" indent="-171450">
              <a:spcBef>
                <a:spcPts val="300"/>
              </a:spcBef>
              <a:buClr>
                <a:schemeClr val="tx1"/>
              </a:buClr>
              <a:buFont typeface="Arial" panose="020B0604020202020204" pitchFamily="34" charset="0"/>
              <a:buChar char="•"/>
            </a:pPr>
            <a:r>
              <a:rPr lang="en-GB" sz="950">
                <a:solidFill>
                  <a:schemeClr val="tx2"/>
                </a:solidFill>
                <a:latin typeface="Trebuchet MS" pitchFamily="34" charset="0"/>
              </a:rPr>
              <a:t>Data Science teams </a:t>
            </a:r>
            <a:r>
              <a:rPr lang="en-GB" sz="950">
                <a:latin typeface="Trebuchet MS" pitchFamily="34" charset="0"/>
              </a:rPr>
              <a:t>in France and Benelux deliver scoring, </a:t>
            </a:r>
            <a:r>
              <a:rPr lang="en-GB" sz="950">
                <a:solidFill>
                  <a:schemeClr val="tx2"/>
                </a:solidFill>
                <a:latin typeface="Trebuchet MS" pitchFamily="34" charset="0"/>
              </a:rPr>
              <a:t>analytics and predictive models projects</a:t>
            </a:r>
          </a:p>
          <a:p>
            <a:pPr marL="265112" indent="-171450">
              <a:spcBef>
                <a:spcPts val="300"/>
              </a:spcBef>
              <a:buClr>
                <a:schemeClr val="tx1"/>
              </a:buClr>
              <a:buFont typeface="Arial" panose="020B0604020202020204" pitchFamily="34" charset="0"/>
              <a:buChar char="•"/>
            </a:pPr>
            <a:r>
              <a:rPr lang="en-GB" sz="950">
                <a:latin typeface="Trebuchet MS" pitchFamily="34" charset="0"/>
              </a:rPr>
              <a:t>It is also specialized in </a:t>
            </a:r>
            <a:r>
              <a:rPr lang="en-GB" sz="950">
                <a:solidFill>
                  <a:schemeClr val="tx2"/>
                </a:solidFill>
                <a:latin typeface="Trebuchet MS" pitchFamily="34" charset="0"/>
              </a:rPr>
              <a:t>Natural language processing (NLP) </a:t>
            </a:r>
            <a:r>
              <a:rPr lang="en-GB" sz="950">
                <a:latin typeface="Trebuchet MS" pitchFamily="34" charset="0"/>
              </a:rPr>
              <a:t>technology used to “read” documents, web sites, press information and to “write” texts added to products and on-line contents</a:t>
            </a:r>
          </a:p>
          <a:p>
            <a:pPr marL="265112" indent="-171450">
              <a:spcBef>
                <a:spcPts val="300"/>
              </a:spcBef>
              <a:buClr>
                <a:schemeClr val="tx1"/>
              </a:buClr>
              <a:buFont typeface="Arial" panose="020B0604020202020204" pitchFamily="34" charset="0"/>
              <a:buChar char="•"/>
            </a:pPr>
            <a:r>
              <a:rPr lang="en-GB" sz="950">
                <a:solidFill>
                  <a:schemeClr val="tx2"/>
                </a:solidFill>
                <a:latin typeface="Trebuchet MS" pitchFamily="34" charset="0"/>
              </a:rPr>
              <a:t>Several technology-based add-ons </a:t>
            </a:r>
            <a:r>
              <a:rPr lang="en-GB" sz="950">
                <a:latin typeface="Trebuchet MS" pitchFamily="34" charset="0"/>
              </a:rPr>
              <a:t>are to be integrated in order to improve products, incl.: </a:t>
            </a:r>
          </a:p>
          <a:p>
            <a:pPr marL="722312" lvl="1" indent="-171450">
              <a:spcBef>
                <a:spcPts val="300"/>
              </a:spcBef>
              <a:buClr>
                <a:schemeClr val="tx1"/>
              </a:buClr>
              <a:buFont typeface="Arial" panose="020B0604020202020204" pitchFamily="34" charset="0"/>
              <a:buChar char="•"/>
            </a:pPr>
            <a:r>
              <a:rPr lang="en-GB" sz="950">
                <a:solidFill>
                  <a:schemeClr val="tx2"/>
                </a:solidFill>
                <a:latin typeface="Trebuchet MS" pitchFamily="34" charset="0"/>
              </a:rPr>
              <a:t>NLP project </a:t>
            </a:r>
            <a:r>
              <a:rPr lang="en-GB" sz="950">
                <a:latin typeface="Trebuchet MS" pitchFamily="34" charset="0"/>
              </a:rPr>
              <a:t>to integrate companies-related news into products</a:t>
            </a:r>
          </a:p>
          <a:p>
            <a:pPr marL="1179512" lvl="2" indent="-171450">
              <a:spcBef>
                <a:spcPts val="300"/>
              </a:spcBef>
              <a:buClr>
                <a:schemeClr val="tx1"/>
              </a:buClr>
              <a:buFont typeface="Courier New" panose="02070309020205020404" pitchFamily="49" charset="0"/>
              <a:buChar char="o"/>
            </a:pPr>
            <a:r>
              <a:rPr lang="en-GB" sz="950">
                <a:latin typeface="Trebuchet MS" pitchFamily="34" charset="0"/>
              </a:rPr>
              <a:t>An ongoing POC will be over end of October 2020 with two next steps: manage the “company matching” and define actions to be activated (e.g. score adjustment, news visualization…)</a:t>
            </a:r>
          </a:p>
          <a:p>
            <a:pPr marL="1179512" lvl="2" indent="-171450">
              <a:spcBef>
                <a:spcPts val="300"/>
              </a:spcBef>
              <a:buClr>
                <a:schemeClr val="tx1"/>
              </a:buClr>
              <a:buFont typeface="Courier New" panose="02070309020205020404" pitchFamily="49" charset="0"/>
              <a:buChar char="o"/>
            </a:pPr>
            <a:r>
              <a:rPr lang="en-GB" sz="950">
                <a:latin typeface="Trebuchet MS" pitchFamily="34" charset="0"/>
              </a:rPr>
              <a:t>The POC has been realized with an external provider with the estimation of the project feasibility and the development timeline (5 to 6 months of development), therefore, the product should be released in Q4 2021</a:t>
            </a:r>
          </a:p>
          <a:p>
            <a:pPr marL="722312" lvl="1" indent="-171450">
              <a:spcBef>
                <a:spcPts val="300"/>
              </a:spcBef>
              <a:buClr>
                <a:schemeClr val="tx1"/>
              </a:buClr>
              <a:buFont typeface="Arial" panose="020B0604020202020204" pitchFamily="34" charset="0"/>
              <a:buChar char="•"/>
            </a:pPr>
            <a:r>
              <a:rPr lang="en-GB" sz="950">
                <a:solidFill>
                  <a:schemeClr val="tx2"/>
                </a:solidFill>
                <a:latin typeface="Trebuchet MS" pitchFamily="34" charset="0"/>
              </a:rPr>
              <a:t>Machine learning project </a:t>
            </a:r>
            <a:r>
              <a:rPr lang="en-GB" sz="950">
                <a:latin typeface="Trebuchet MS" pitchFamily="34" charset="0"/>
              </a:rPr>
              <a:t>of score precision enrichment with clients’ inputs: with the objective to enable Altares’ client to visualize and modify the different elements that constitute their score (e.g. outdated annual balance sheet that can be updated)</a:t>
            </a:r>
          </a:p>
          <a:p>
            <a:pPr marL="722312" lvl="1" indent="-171450">
              <a:spcBef>
                <a:spcPts val="300"/>
              </a:spcBef>
              <a:buClr>
                <a:schemeClr val="tx1"/>
              </a:buClr>
              <a:buFont typeface="Arial" panose="020B0604020202020204" pitchFamily="34" charset="0"/>
              <a:buChar char="•"/>
            </a:pPr>
            <a:r>
              <a:rPr lang="en-GB" sz="950">
                <a:solidFill>
                  <a:schemeClr val="tx2"/>
                </a:solidFill>
                <a:latin typeface="Trebuchet MS" pitchFamily="34" charset="0"/>
              </a:rPr>
              <a:t>Digital identity management with SSO </a:t>
            </a:r>
            <a:r>
              <a:rPr lang="en-GB" sz="950">
                <a:latin typeface="Trebuchet MS" pitchFamily="34" charset="0"/>
              </a:rPr>
              <a:t>(Single Sign-on) allowing client to switch from one product to another (in 2022)</a:t>
            </a:r>
            <a:endParaRPr lang="en-GB" sz="950">
              <a:effectLst/>
              <a:latin typeface="Trebuchet MS" panose="020B0603020202020204" pitchFamily="34" charset="0"/>
              <a:ea typeface="Calibri" panose="020F0502020204030204" pitchFamily="34" charset="0"/>
              <a:cs typeface="Arial" panose="020B0604020202020204" pitchFamily="34" charset="0"/>
            </a:endParaRPr>
          </a:p>
        </p:txBody>
      </p:sp>
      <p:sp>
        <p:nvSpPr>
          <p:cNvPr id="75" name="Rectangle 74">
            <a:extLst>
              <a:ext uri="{FF2B5EF4-FFF2-40B4-BE49-F238E27FC236}">
                <a16:creationId xmlns:a16="http://schemas.microsoft.com/office/drawing/2014/main" id="{18677003-6875-44BC-AFE1-464450D8A415}"/>
              </a:ext>
            </a:extLst>
          </p:cNvPr>
          <p:cNvSpPr/>
          <p:nvPr/>
        </p:nvSpPr>
        <p:spPr bwMode="auto">
          <a:xfrm>
            <a:off x="6816977" y="2551302"/>
            <a:ext cx="1408840" cy="2748772"/>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t" anchorCtr="0" compatLnSpc="1">
            <a:prstTxWarp prst="textNoShape">
              <a:avLst/>
            </a:prstTxWarp>
          </a:bodyPr>
          <a:lstStyle/>
          <a:p>
            <a:pPr marL="207450" indent="-171450">
              <a:spcBef>
                <a:spcPts val="600"/>
              </a:spcBef>
              <a:buFont typeface="Arial" panose="020B0604020202020204" pitchFamily="34" charset="0"/>
              <a:buChar char="•"/>
            </a:pPr>
            <a:r>
              <a:rPr lang="en-GB" sz="1000">
                <a:latin typeface="Trebuchet MS" panose="020B0603020202020204" pitchFamily="34" charset="0"/>
              </a:rPr>
              <a:t>Ongoing development of the </a:t>
            </a:r>
            <a:r>
              <a:rPr lang="en-GB" sz="1000" err="1">
                <a:solidFill>
                  <a:schemeClr val="tx2"/>
                </a:solidFill>
                <a:latin typeface="Trebuchet MS" panose="020B0603020202020204" pitchFamily="34" charset="0"/>
              </a:rPr>
              <a:t>DataHub</a:t>
            </a:r>
            <a:r>
              <a:rPr lang="en-GB" sz="1000">
                <a:latin typeface="Trebuchet MS" panose="020B0603020202020204" pitchFamily="34" charset="0"/>
              </a:rPr>
              <a:t> project with aim to build a </a:t>
            </a:r>
            <a:r>
              <a:rPr lang="en-GB" sz="1000">
                <a:solidFill>
                  <a:schemeClr val="tx2"/>
                </a:solidFill>
                <a:latin typeface="Trebuchet MS" panose="020B0603020202020204" pitchFamily="34" charset="0"/>
              </a:rPr>
              <a:t>unique layer of APIs for the group </a:t>
            </a:r>
            <a:r>
              <a:rPr lang="en-GB" sz="1000">
                <a:latin typeface="Trebuchet MS" pitchFamily="34" charset="0"/>
              </a:rPr>
              <a:t>enabling to do requests in old databases of each product for the group</a:t>
            </a:r>
          </a:p>
          <a:p>
            <a:pPr marL="207450" indent="-171450">
              <a:spcBef>
                <a:spcPts val="600"/>
              </a:spcBef>
              <a:buFont typeface="Arial" panose="020B0604020202020204" pitchFamily="34" charset="0"/>
              <a:buChar char="•"/>
            </a:pPr>
            <a:endParaRPr lang="en-GB" sz="1000">
              <a:latin typeface="Trebuchet MS" pitchFamily="34" charset="0"/>
            </a:endParaRPr>
          </a:p>
        </p:txBody>
      </p:sp>
      <p:sp>
        <p:nvSpPr>
          <p:cNvPr id="76" name="Rectangle 75">
            <a:extLst>
              <a:ext uri="{FF2B5EF4-FFF2-40B4-BE49-F238E27FC236}">
                <a16:creationId xmlns:a16="http://schemas.microsoft.com/office/drawing/2014/main" id="{3D5E5DD9-DCFF-4DD3-96DC-38C13AFDFCA6}"/>
              </a:ext>
            </a:extLst>
          </p:cNvPr>
          <p:cNvSpPr/>
          <p:nvPr/>
        </p:nvSpPr>
        <p:spPr bwMode="auto">
          <a:xfrm>
            <a:off x="713003" y="5993725"/>
            <a:ext cx="9087134" cy="423956"/>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ctr" anchorCtr="0" compatLnSpc="1">
            <a:prstTxWarp prst="textNoShape">
              <a:avLst/>
            </a:prstTxWarp>
          </a:bodyPr>
          <a:lstStyle/>
          <a:p>
            <a:pPr marL="36000" algn="ctr">
              <a:spcBef>
                <a:spcPts val="600"/>
              </a:spcBef>
            </a:pPr>
            <a:r>
              <a:rPr lang="en-GB" sz="900">
                <a:latin typeface="Trebuchet MS" panose="020B0603020202020204" pitchFamily="34" charset="0"/>
              </a:rPr>
              <a:t>Product Owners, Data scientists, Infrastructure and Network, Engage</a:t>
            </a:r>
          </a:p>
        </p:txBody>
      </p:sp>
      <p:sp>
        <p:nvSpPr>
          <p:cNvPr id="41" name="Rectangle 40">
            <a:extLst>
              <a:ext uri="{FF2B5EF4-FFF2-40B4-BE49-F238E27FC236}">
                <a16:creationId xmlns:a16="http://schemas.microsoft.com/office/drawing/2014/main" id="{04DBCB6D-BB0C-4F4D-A08D-A4098ED5CD7F}"/>
              </a:ext>
            </a:extLst>
          </p:cNvPr>
          <p:cNvSpPr/>
          <p:nvPr/>
        </p:nvSpPr>
        <p:spPr bwMode="auto">
          <a:xfrm>
            <a:off x="3822358" y="1929039"/>
            <a:ext cx="1345070" cy="495006"/>
          </a:xfrm>
          <a:prstGeom prst="rect">
            <a:avLst/>
          </a:prstGeom>
          <a:pattFill prst="wdUpDiag">
            <a:fgClr>
              <a:srgbClr val="F2F2F2"/>
            </a:fgClr>
            <a:bgClr>
              <a:schemeClr val="bg1"/>
            </a:bgClr>
          </a:pattFill>
          <a:ln w="3175" cap="flat" cmpd="sng" algn="ctr">
            <a:solidFill>
              <a:srgbClr val="F2F2F2"/>
            </a:solidFill>
            <a:prstDash val="sysDash"/>
            <a:round/>
            <a:headEnd type="none" w="med" len="med"/>
            <a:tailEnd type="none" w="med" len="med"/>
          </a:ln>
          <a:effectLst/>
        </p:spPr>
        <p:txBody>
          <a:bodyPr vert="horz" wrap="square" lIns="0" tIns="72000" rIns="0" bIns="0" numCol="1" rtlCol="0" anchor="t" anchorCtr="0" compatLnSpc="1">
            <a:prstTxWarp prst="textNoShape">
              <a:avLst/>
            </a:prstTxWarp>
          </a:bodyPr>
          <a:lstStyle/>
          <a:p>
            <a:pPr marL="36000" algn="ctr">
              <a:spcBef>
                <a:spcPts val="600"/>
              </a:spcBef>
            </a:pPr>
            <a:endParaRPr lang="en-GB" sz="1000">
              <a:latin typeface="Trebuchet MS" pitchFamily="34" charset="0"/>
            </a:endParaRPr>
          </a:p>
        </p:txBody>
      </p:sp>
      <p:sp>
        <p:nvSpPr>
          <p:cNvPr id="42" name="Rectangle 41">
            <a:extLst>
              <a:ext uri="{FF2B5EF4-FFF2-40B4-BE49-F238E27FC236}">
                <a16:creationId xmlns:a16="http://schemas.microsoft.com/office/drawing/2014/main" id="{D17D0FB7-7A7F-4F6F-9E3E-C4A5C5B0F86C}"/>
              </a:ext>
            </a:extLst>
          </p:cNvPr>
          <p:cNvSpPr/>
          <p:nvPr/>
        </p:nvSpPr>
        <p:spPr bwMode="auto">
          <a:xfrm>
            <a:off x="8349953" y="1938472"/>
            <a:ext cx="1355647" cy="3353303"/>
          </a:xfrm>
          <a:prstGeom prst="rect">
            <a:avLst/>
          </a:prstGeom>
          <a:pattFill prst="wdUpDiag">
            <a:fgClr>
              <a:srgbClr val="F2F2F2"/>
            </a:fgClr>
            <a:bgClr>
              <a:schemeClr val="bg1"/>
            </a:bgClr>
          </a:pattFill>
          <a:ln w="3175" cap="flat" cmpd="sng" algn="ctr">
            <a:solidFill>
              <a:srgbClr val="F2F2F2"/>
            </a:solidFill>
            <a:prstDash val="sysDash"/>
            <a:round/>
            <a:headEnd type="none" w="med" len="med"/>
            <a:tailEnd type="none" w="med" len="med"/>
          </a:ln>
          <a:effectLst/>
        </p:spPr>
        <p:txBody>
          <a:bodyPr vert="horz" wrap="square" lIns="0" tIns="72000" rIns="0" bIns="0" numCol="1" rtlCol="0" anchor="t" anchorCtr="0" compatLnSpc="1">
            <a:prstTxWarp prst="textNoShape">
              <a:avLst/>
            </a:prstTxWarp>
          </a:bodyPr>
          <a:lstStyle/>
          <a:p>
            <a:pPr marL="36000" algn="ctr">
              <a:spcBef>
                <a:spcPts val="600"/>
              </a:spcBef>
            </a:pPr>
            <a:endParaRPr lang="en-GB" sz="1000">
              <a:latin typeface="Trebuchet MS" pitchFamily="34" charset="0"/>
            </a:endParaRPr>
          </a:p>
        </p:txBody>
      </p:sp>
      <p:grpSp>
        <p:nvGrpSpPr>
          <p:cNvPr id="55" name="Groupe 66">
            <a:extLst>
              <a:ext uri="{FF2B5EF4-FFF2-40B4-BE49-F238E27FC236}">
                <a16:creationId xmlns:a16="http://schemas.microsoft.com/office/drawing/2014/main" id="{C6D1ACF4-A0C5-4FF6-B6B4-7905E8531198}"/>
              </a:ext>
            </a:extLst>
          </p:cNvPr>
          <p:cNvGrpSpPr/>
          <p:nvPr/>
        </p:nvGrpSpPr>
        <p:grpSpPr>
          <a:xfrm>
            <a:off x="8448150" y="-11528"/>
            <a:ext cx="1435548" cy="588143"/>
            <a:chOff x="8448150" y="-11528"/>
            <a:chExt cx="1435548" cy="588143"/>
          </a:xfrm>
        </p:grpSpPr>
        <p:sp>
          <p:nvSpPr>
            <p:cNvPr id="57" name="Rectangle : coins arrondis 199">
              <a:extLst>
                <a:ext uri="{FF2B5EF4-FFF2-40B4-BE49-F238E27FC236}">
                  <a16:creationId xmlns:a16="http://schemas.microsoft.com/office/drawing/2014/main" id="{8A6E5F60-0ED7-49A6-B24C-709A88B0073B}"/>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0" name="Rectangle : coins arrondis 200">
              <a:extLst>
                <a:ext uri="{FF2B5EF4-FFF2-40B4-BE49-F238E27FC236}">
                  <a16:creationId xmlns:a16="http://schemas.microsoft.com/office/drawing/2014/main" id="{CBB46A36-3A9A-49C7-9478-092BFCF15184}"/>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1" name="Rectangle : coins arrondis 201">
              <a:extLst>
                <a:ext uri="{FF2B5EF4-FFF2-40B4-BE49-F238E27FC236}">
                  <a16:creationId xmlns:a16="http://schemas.microsoft.com/office/drawing/2014/main" id="{0968D5B8-D409-4D90-973D-2B1657E5C742}"/>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7" name="ZoneTexte 18">
              <a:extLst>
                <a:ext uri="{FF2B5EF4-FFF2-40B4-BE49-F238E27FC236}">
                  <a16:creationId xmlns:a16="http://schemas.microsoft.com/office/drawing/2014/main" id="{7F348EC2-A59C-429D-A016-B09D380CC05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Operating model</a:t>
              </a:r>
            </a:p>
          </p:txBody>
        </p:sp>
        <p:pic>
          <p:nvPicPr>
            <p:cNvPr id="78" name="Graphique 128" descr="Jauge">
              <a:extLst>
                <a:ext uri="{FF2B5EF4-FFF2-40B4-BE49-F238E27FC236}">
                  <a16:creationId xmlns:a16="http://schemas.microsoft.com/office/drawing/2014/main" id="{2C847EDA-5A3E-4645-A54D-989CF0E84FB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53764" y="187516"/>
              <a:ext cx="234953" cy="218224"/>
            </a:xfrm>
            <a:prstGeom prst="rect">
              <a:avLst/>
            </a:prstGeom>
            <a:effectLst/>
          </p:spPr>
        </p:pic>
        <p:pic>
          <p:nvPicPr>
            <p:cNvPr id="79" name="Graphique 90" descr="Poignée de main">
              <a:extLst>
                <a:ext uri="{FF2B5EF4-FFF2-40B4-BE49-F238E27FC236}">
                  <a16:creationId xmlns:a16="http://schemas.microsoft.com/office/drawing/2014/main" id="{AA2BCB7C-B19D-43EE-971A-D1F704FBFAD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60868" y="152880"/>
              <a:ext cx="256313" cy="287496"/>
            </a:xfrm>
            <a:prstGeom prst="rect">
              <a:avLst/>
            </a:prstGeom>
            <a:effectLst/>
          </p:spPr>
        </p:pic>
        <p:pic>
          <p:nvPicPr>
            <p:cNvPr id="80" name="Graphique 96" descr="Mégaphone">
              <a:extLst>
                <a:ext uri="{FF2B5EF4-FFF2-40B4-BE49-F238E27FC236}">
                  <a16:creationId xmlns:a16="http://schemas.microsoft.com/office/drawing/2014/main" id="{86909904-C2DF-4FF5-88C7-5857C85CD59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389331" y="181519"/>
              <a:ext cx="233011" cy="216420"/>
            </a:xfrm>
            <a:prstGeom prst="rect">
              <a:avLst/>
            </a:prstGeom>
            <a:effectLst/>
          </p:spPr>
        </p:pic>
        <p:pic>
          <p:nvPicPr>
            <p:cNvPr id="81" name="Picture 2" descr="Drapeau France">
              <a:extLst>
                <a:ext uri="{FF2B5EF4-FFF2-40B4-BE49-F238E27FC236}">
                  <a16:creationId xmlns:a16="http://schemas.microsoft.com/office/drawing/2014/main" id="{9CC2F564-690F-4352-87F1-5FE5C8BCECC7}"/>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82" name="Picture 2" descr="5 ft x 3 ft 150 x 90 cm-DRAPEAU BELGE Belgique 100% Polyester ...">
              <a:extLst>
                <a:ext uri="{FF2B5EF4-FFF2-40B4-BE49-F238E27FC236}">
                  <a16:creationId xmlns:a16="http://schemas.microsoft.com/office/drawing/2014/main" id="{191FD9C0-C564-45A6-9B5D-2BB5FB863F86}"/>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83" name="Picture 2 - 1" descr="Drapeau des Pays-Bas — Wikipédia">
              <a:extLst>
                <a:ext uri="{FF2B5EF4-FFF2-40B4-BE49-F238E27FC236}">
                  <a16:creationId xmlns:a16="http://schemas.microsoft.com/office/drawing/2014/main" id="{4951F874-8C92-4548-BF51-1CEF9BA663A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4" name="Picture 2 - 2" descr="Drapeau du Luxembourg">
              <a:extLst>
                <a:ext uri="{FF2B5EF4-FFF2-40B4-BE49-F238E27FC236}">
                  <a16:creationId xmlns:a16="http://schemas.microsoft.com/office/drawing/2014/main" id="{B3909326-5FAD-469C-9241-4D578D15964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85" name="ZoneTexte 18">
              <a:extLst>
                <a:ext uri="{FF2B5EF4-FFF2-40B4-BE49-F238E27FC236}">
                  <a16:creationId xmlns:a16="http://schemas.microsoft.com/office/drawing/2014/main" id="{22B92F59-849D-4F1A-A4D6-C13E7D42903A}"/>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R&amp;D operations</a:t>
              </a:r>
            </a:p>
          </p:txBody>
        </p:sp>
      </p:grpSp>
      <p:grpSp>
        <p:nvGrpSpPr>
          <p:cNvPr id="2" name="Groupe 1">
            <a:extLst>
              <a:ext uri="{FF2B5EF4-FFF2-40B4-BE49-F238E27FC236}">
                <a16:creationId xmlns:a16="http://schemas.microsoft.com/office/drawing/2014/main" id="{14E62F9E-B120-4479-8F56-A3224129AE84}"/>
              </a:ext>
            </a:extLst>
          </p:cNvPr>
          <p:cNvGrpSpPr/>
          <p:nvPr/>
        </p:nvGrpSpPr>
        <p:grpSpPr>
          <a:xfrm>
            <a:off x="733337" y="5412768"/>
            <a:ext cx="8996562" cy="502988"/>
            <a:chOff x="690866" y="4580124"/>
            <a:chExt cx="8996562" cy="822752"/>
          </a:xfrm>
        </p:grpSpPr>
        <p:sp>
          <p:nvSpPr>
            <p:cNvPr id="18" name="Rectangle 17">
              <a:extLst>
                <a:ext uri="{FF2B5EF4-FFF2-40B4-BE49-F238E27FC236}">
                  <a16:creationId xmlns:a16="http://schemas.microsoft.com/office/drawing/2014/main" id="{AD517DD4-4B3F-441F-A63C-D7501D212AB8}"/>
                </a:ext>
              </a:extLst>
            </p:cNvPr>
            <p:cNvSpPr/>
            <p:nvPr/>
          </p:nvSpPr>
          <p:spPr bwMode="auto">
            <a:xfrm>
              <a:off x="690866" y="4580124"/>
              <a:ext cx="8996562" cy="822752"/>
            </a:xfrm>
            <a:prstGeom prst="rect">
              <a:avLst/>
            </a:prstGeom>
            <a:no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5" name="Connecteur droit avec flèche 4">
              <a:extLst>
                <a:ext uri="{FF2B5EF4-FFF2-40B4-BE49-F238E27FC236}">
                  <a16:creationId xmlns:a16="http://schemas.microsoft.com/office/drawing/2014/main" id="{0E5427D5-0C70-4DB9-9CDA-BDC5548DDFB3}"/>
                </a:ext>
              </a:extLst>
            </p:cNvPr>
            <p:cNvCxnSpPr/>
            <p:nvPr/>
          </p:nvCxnSpPr>
          <p:spPr bwMode="auto">
            <a:xfrm>
              <a:off x="1117600" y="4991500"/>
              <a:ext cx="8388236" cy="9607"/>
            </a:xfrm>
            <a:prstGeom prst="straightConnector1">
              <a:avLst/>
            </a:prstGeom>
            <a:solidFill>
              <a:schemeClr val="accent1"/>
            </a:solidFill>
            <a:ln w="9525" cap="flat" cmpd="sng" algn="ctr">
              <a:solidFill>
                <a:schemeClr val="tx1">
                  <a:lumMod val="40000"/>
                  <a:lumOff val="60000"/>
                </a:schemeClr>
              </a:solidFill>
              <a:prstDash val="solid"/>
              <a:round/>
              <a:headEnd type="triangle"/>
              <a:tailEnd type="triangle"/>
            </a:ln>
            <a:effectLst/>
          </p:spPr>
        </p:cxnSp>
        <p:sp>
          <p:nvSpPr>
            <p:cNvPr id="7" name="Rectangle 6">
              <a:extLst>
                <a:ext uri="{FF2B5EF4-FFF2-40B4-BE49-F238E27FC236}">
                  <a16:creationId xmlns:a16="http://schemas.microsoft.com/office/drawing/2014/main" id="{F948CFB7-77ED-4E01-BCDF-90661556509B}"/>
                </a:ext>
              </a:extLst>
            </p:cNvPr>
            <p:cNvSpPr/>
            <p:nvPr/>
          </p:nvSpPr>
          <p:spPr bwMode="auto">
            <a:xfrm>
              <a:off x="3448910" y="4662020"/>
              <a:ext cx="3685309" cy="65896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64514" name="Picture 2">
              <a:extLst>
                <a:ext uri="{FF2B5EF4-FFF2-40B4-BE49-F238E27FC236}">
                  <a16:creationId xmlns:a16="http://schemas.microsoft.com/office/drawing/2014/main" id="{FDEF1DED-4AC7-4AD5-88D0-5286446970E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517911" y="4728475"/>
              <a:ext cx="494113" cy="572425"/>
            </a:xfrm>
            <a:prstGeom prst="rect">
              <a:avLst/>
            </a:prstGeom>
            <a:noFill/>
            <a:extLst>
              <a:ext uri="{909E8E84-426E-40DD-AFC4-6F175D3DCCD1}">
                <a14:hiddenFill xmlns:a14="http://schemas.microsoft.com/office/drawing/2010/main">
                  <a:solidFill>
                    <a:srgbClr val="FFFFFF"/>
                  </a:solidFill>
                </a14:hiddenFill>
              </a:ext>
            </a:extLst>
          </p:spPr>
        </p:pic>
        <p:pic>
          <p:nvPicPr>
            <p:cNvPr id="64516" name="Picture 4" descr="R (langage) — Wikipédia">
              <a:extLst>
                <a:ext uri="{FF2B5EF4-FFF2-40B4-BE49-F238E27FC236}">
                  <a16:creationId xmlns:a16="http://schemas.microsoft.com/office/drawing/2014/main" id="{FA7BC0C7-328D-48C9-A761-FF01042A2F9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100049" y="4811354"/>
              <a:ext cx="503373" cy="390856"/>
            </a:xfrm>
            <a:prstGeom prst="rect">
              <a:avLst/>
            </a:prstGeom>
            <a:noFill/>
            <a:extLst>
              <a:ext uri="{909E8E84-426E-40DD-AFC4-6F175D3DCCD1}">
                <a14:hiddenFill xmlns:a14="http://schemas.microsoft.com/office/drawing/2010/main">
                  <a:solidFill>
                    <a:srgbClr val="FFFFFF"/>
                  </a:solidFill>
                </a14:hiddenFill>
              </a:ext>
            </a:extLst>
          </p:spPr>
        </p:pic>
        <p:pic>
          <p:nvPicPr>
            <p:cNvPr id="64518" name="Picture 6" descr="Welcome to Python.org">
              <a:extLst>
                <a:ext uri="{FF2B5EF4-FFF2-40B4-BE49-F238E27FC236}">
                  <a16:creationId xmlns:a16="http://schemas.microsoft.com/office/drawing/2014/main" id="{F088D384-B12D-465D-8C47-EE5B6B624E3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316766" y="4768432"/>
              <a:ext cx="1700565" cy="532467"/>
            </a:xfrm>
            <a:prstGeom prst="rect">
              <a:avLst/>
            </a:prstGeom>
            <a:noFill/>
            <a:extLst>
              <a:ext uri="{909E8E84-426E-40DD-AFC4-6F175D3DCCD1}">
                <a14:hiddenFill xmlns:a14="http://schemas.microsoft.com/office/drawing/2010/main">
                  <a:solidFill>
                    <a:srgbClr val="FFFFFF"/>
                  </a:solidFill>
                </a14:hiddenFill>
              </a:ext>
            </a:extLst>
          </p:spPr>
        </p:pic>
      </p:grpSp>
      <p:sp>
        <p:nvSpPr>
          <p:cNvPr id="54" name="Freeform 9">
            <a:extLst>
              <a:ext uri="{FF2B5EF4-FFF2-40B4-BE49-F238E27FC236}">
                <a16:creationId xmlns:a16="http://schemas.microsoft.com/office/drawing/2014/main" id="{AFBB1141-244C-4BDE-A215-A180F50E3514}"/>
              </a:ext>
            </a:extLst>
          </p:cNvPr>
          <p:cNvSpPr>
            <a:spLocks noEditPoints="1"/>
          </p:cNvSpPr>
          <p:nvPr/>
        </p:nvSpPr>
        <p:spPr bwMode="auto">
          <a:xfrm>
            <a:off x="7362247" y="4273557"/>
            <a:ext cx="224594" cy="245165"/>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73" name="Espace réservé du texte 2">
            <a:extLst>
              <a:ext uri="{FF2B5EF4-FFF2-40B4-BE49-F238E27FC236}">
                <a16:creationId xmlns:a16="http://schemas.microsoft.com/office/drawing/2014/main" id="{1AB544B2-4AD6-4684-B7C0-2871808BB76D}"/>
              </a:ext>
            </a:extLst>
          </p:cNvPr>
          <p:cNvSpPr txBox="1">
            <a:spLocks/>
          </p:cNvSpPr>
          <p:nvPr/>
        </p:nvSpPr>
        <p:spPr>
          <a:xfrm>
            <a:off x="7412343" y="4486989"/>
            <a:ext cx="932040" cy="244800"/>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GB">
                <a:solidFill>
                  <a:schemeClr val="accent1"/>
                </a:solidFill>
              </a:rPr>
              <a:t>See infra the Datahub project</a:t>
            </a:r>
          </a:p>
        </p:txBody>
      </p:sp>
      <p:sp>
        <p:nvSpPr>
          <p:cNvPr id="86" name="Ellipse 85">
            <a:extLst>
              <a:ext uri="{FF2B5EF4-FFF2-40B4-BE49-F238E27FC236}">
                <a16:creationId xmlns:a16="http://schemas.microsoft.com/office/drawing/2014/main" id="{05F92716-93EB-4124-A460-7184680FC742}"/>
              </a:ext>
            </a:extLst>
          </p:cNvPr>
          <p:cNvSpPr/>
          <p:nvPr/>
        </p:nvSpPr>
        <p:spPr bwMode="auto">
          <a:xfrm>
            <a:off x="9054036" y="608781"/>
            <a:ext cx="204787" cy="197764"/>
          </a:xfrm>
          <a:prstGeom prst="ellips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1"/>
                </a:solidFill>
                <a:effectLst/>
                <a:latin typeface="Trebuchet MS" panose="020B0603020202020204" pitchFamily="34" charset="0"/>
              </a:rPr>
              <a:t>2</a:t>
            </a:r>
          </a:p>
        </p:txBody>
      </p:sp>
    </p:spTree>
    <p:extLst>
      <p:ext uri="{BB962C8B-B14F-4D97-AF65-F5344CB8AC3E}">
        <p14:creationId xmlns:p14="http://schemas.microsoft.com/office/powerpoint/2010/main" val="2010521228"/>
      </p:ext>
    </p:extLst>
  </p:cSld>
  <p:clrMapOvr>
    <a:masterClrMapping/>
  </p:clrMapOvr>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C95F2A06-09BD-44A8-BE97-782ED3326587}"/>
              </a:ext>
            </a:extLst>
          </p:cNvPr>
          <p:cNvGraphicFramePr>
            <a:graphicFrameLocks noChangeAspect="1"/>
          </p:cNvGraphicFramePr>
          <p:nvPr>
            <p:custDataLst>
              <p:tags r:id="rId1"/>
            </p:custDataLst>
            <p:extLst>
              <p:ext uri="{D42A27DB-BD31-4B8C-83A1-F6EECF244321}">
                <p14:modId xmlns:p14="http://schemas.microsoft.com/office/powerpoint/2010/main" val="2769924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0" name="Objet 9" hidden="1">
                        <a:extLst>
                          <a:ext uri="{FF2B5EF4-FFF2-40B4-BE49-F238E27FC236}">
                            <a16:creationId xmlns:a16="http://schemas.microsoft.com/office/drawing/2014/main" id="{C95F2A06-09BD-44A8-BE97-782ED33265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D5389A5-05ED-4501-9DF1-8E169C03EF84}"/>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F72014F4-A39C-43DB-8722-ACA90C6CD60C}"/>
              </a:ext>
            </a:extLst>
          </p:cNvPr>
          <p:cNvSpPr>
            <a:spLocks noGrp="1"/>
          </p:cNvSpPr>
          <p:nvPr>
            <p:ph type="title"/>
          </p:nvPr>
        </p:nvSpPr>
        <p:spPr>
          <a:xfrm>
            <a:off x="165600" y="147600"/>
            <a:ext cx="8342812" cy="684000"/>
          </a:xfrm>
        </p:spPr>
        <p:txBody>
          <a:bodyPr/>
          <a:lstStyle/>
          <a:p>
            <a:r>
              <a:rPr lang="en-GB" err="1">
                <a:latin typeface="Trebuchet MS" panose="020B0603020202020204" pitchFamily="34" charset="0"/>
              </a:rPr>
              <a:t>Altares</a:t>
            </a:r>
            <a:r>
              <a:rPr lang="en-GB">
                <a:latin typeface="Trebuchet MS" panose="020B0603020202020204" pitchFamily="34" charset="0"/>
              </a:rPr>
              <a:t>’ group operations are supported by a </a:t>
            </a:r>
            <a:r>
              <a:rPr lang="en-GB">
                <a:solidFill>
                  <a:schemeClr val="tx2"/>
                </a:solidFill>
                <a:latin typeface="Trebuchet MS" panose="020B0603020202020204" pitchFamily="34" charset="0"/>
              </a:rPr>
              <a:t>resilient </a:t>
            </a:r>
            <a:r>
              <a:rPr lang="en-GB">
                <a:latin typeface="Trebuchet MS" panose="020B0603020202020204" pitchFamily="34" charset="0"/>
              </a:rPr>
              <a:t>but</a:t>
            </a:r>
            <a:r>
              <a:rPr lang="en-GB">
                <a:solidFill>
                  <a:schemeClr val="tx2"/>
                </a:solidFill>
                <a:latin typeface="Trebuchet MS" panose="020B0603020202020204" pitchFamily="34" charset="0"/>
              </a:rPr>
              <a:t> aging technical architecture </a:t>
            </a:r>
            <a:r>
              <a:rPr lang="en-GB">
                <a:latin typeface="Trebuchet MS" panose="020B0603020202020204" pitchFamily="34" charset="0"/>
              </a:rPr>
              <a:t>that is being modernized within the </a:t>
            </a:r>
            <a:r>
              <a:rPr lang="en-GB">
                <a:solidFill>
                  <a:schemeClr val="tx2"/>
                </a:solidFill>
                <a:latin typeface="Trebuchet MS" panose="020B0603020202020204" pitchFamily="34" charset="0"/>
              </a:rPr>
              <a:t>Data Hub project</a:t>
            </a:r>
          </a:p>
        </p:txBody>
      </p:sp>
      <p:cxnSp>
        <p:nvCxnSpPr>
          <p:cNvPr id="7" name="Connecteur droit 4">
            <a:extLst>
              <a:ext uri="{FF2B5EF4-FFF2-40B4-BE49-F238E27FC236}">
                <a16:creationId xmlns:a16="http://schemas.microsoft.com/office/drawing/2014/main" id="{0E6CEAAB-C650-4205-825E-B2FAECEBCFA3}"/>
              </a:ext>
            </a:extLst>
          </p:cNvPr>
          <p:cNvCxnSpPr>
            <a:cxnSpLocks/>
          </p:cNvCxnSpPr>
          <p:nvPr/>
        </p:nvCxnSpPr>
        <p:spPr bwMode="auto">
          <a:xfrm>
            <a:off x="165600" y="975174"/>
            <a:ext cx="9400627"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TextBox 30">
            <a:extLst>
              <a:ext uri="{FF2B5EF4-FFF2-40B4-BE49-F238E27FC236}">
                <a16:creationId xmlns:a16="http://schemas.microsoft.com/office/drawing/2014/main" id="{FD4BC3F8-F041-410F-8855-117A275E19E4}"/>
              </a:ext>
            </a:extLst>
          </p:cNvPr>
          <p:cNvSpPr txBox="1"/>
          <p:nvPr/>
        </p:nvSpPr>
        <p:spPr>
          <a:xfrm>
            <a:off x="1699920" y="844369"/>
            <a:ext cx="6331987" cy="261610"/>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100">
                <a:latin typeface="Trebuchet MS" panose="020B0603020202020204" pitchFamily="34" charset="0"/>
              </a:rPr>
              <a:t>Simplified scheme of </a:t>
            </a:r>
            <a:r>
              <a:rPr lang="en-GB" sz="1100" err="1">
                <a:latin typeface="Trebuchet MS" panose="020B0603020202020204" pitchFamily="34" charset="0"/>
              </a:rPr>
              <a:t>Altares</a:t>
            </a:r>
            <a:r>
              <a:rPr lang="en-GB" sz="1100">
                <a:latin typeface="Trebuchet MS" panose="020B0603020202020204" pitchFamily="34" charset="0"/>
              </a:rPr>
              <a:t>' current and targeted IT architecture within the DATA HUB project</a:t>
            </a:r>
            <a:endParaRPr kumimoji="0" lang="en-GB" sz="1100" b="0" u="none" strike="noStrike" kern="1200" cap="none" spc="0" normalizeH="0" baseline="0" noProof="0">
              <a:ln>
                <a:noFill/>
              </a:ln>
              <a:effectLst/>
              <a:uLnTx/>
              <a:uFillTx/>
              <a:latin typeface="Trebuchet MS" panose="020B0603020202020204" pitchFamily="34" charset="0"/>
            </a:endParaRPr>
          </a:p>
        </p:txBody>
      </p:sp>
      <p:sp>
        <p:nvSpPr>
          <p:cNvPr id="31" name="ZoneTexte 30">
            <a:extLst>
              <a:ext uri="{FF2B5EF4-FFF2-40B4-BE49-F238E27FC236}">
                <a16:creationId xmlns:a16="http://schemas.microsoft.com/office/drawing/2014/main" id="{C746EEE6-FBAA-4D9F-BF1B-28F0E463483F}"/>
              </a:ext>
            </a:extLst>
          </p:cNvPr>
          <p:cNvSpPr txBox="1"/>
          <p:nvPr/>
        </p:nvSpPr>
        <p:spPr>
          <a:xfrm>
            <a:off x="6504714" y="1114091"/>
            <a:ext cx="1616148" cy="246221"/>
          </a:xfrm>
          <a:prstGeom prst="rect">
            <a:avLst/>
          </a:prstGeom>
          <a:noFill/>
        </p:spPr>
        <p:txBody>
          <a:bodyPr wrap="none" rtlCol="0" anchor="ctr">
            <a:spAutoFit/>
          </a:bodyPr>
          <a:lstStyle/>
          <a:p>
            <a:r>
              <a:rPr lang="en-GB" sz="1000" i="1">
                <a:solidFill>
                  <a:schemeClr val="tx2"/>
                </a:solidFill>
                <a:latin typeface="Trebuchet MS" panose="020B0603020202020204" pitchFamily="34" charset="0"/>
              </a:rPr>
              <a:t>Targeted IT architecture</a:t>
            </a:r>
          </a:p>
        </p:txBody>
      </p:sp>
      <p:sp>
        <p:nvSpPr>
          <p:cNvPr id="47" name="ZoneTexte 46">
            <a:extLst>
              <a:ext uri="{FF2B5EF4-FFF2-40B4-BE49-F238E27FC236}">
                <a16:creationId xmlns:a16="http://schemas.microsoft.com/office/drawing/2014/main" id="{5AF0734E-1750-4234-9279-3D55257BE897}"/>
              </a:ext>
            </a:extLst>
          </p:cNvPr>
          <p:cNvSpPr txBox="1"/>
          <p:nvPr/>
        </p:nvSpPr>
        <p:spPr>
          <a:xfrm>
            <a:off x="140475" y="2242142"/>
            <a:ext cx="498855" cy="246221"/>
          </a:xfrm>
          <a:prstGeom prst="rect">
            <a:avLst/>
          </a:prstGeom>
          <a:noFill/>
        </p:spPr>
        <p:txBody>
          <a:bodyPr wrap="none" rtlCol="0" anchor="ctr">
            <a:spAutoFit/>
          </a:bodyPr>
          <a:lstStyle/>
          <a:p>
            <a:r>
              <a:rPr lang="en-GB" sz="1000" i="1">
                <a:solidFill>
                  <a:schemeClr val="tx2"/>
                </a:solidFill>
                <a:latin typeface="Trebuchet MS" panose="020B0603020202020204" pitchFamily="34" charset="0"/>
              </a:rPr>
              <a:t>Front</a:t>
            </a:r>
          </a:p>
        </p:txBody>
      </p:sp>
      <p:cxnSp>
        <p:nvCxnSpPr>
          <p:cNvPr id="5" name="Connecteur droit 4">
            <a:extLst>
              <a:ext uri="{FF2B5EF4-FFF2-40B4-BE49-F238E27FC236}">
                <a16:creationId xmlns:a16="http://schemas.microsoft.com/office/drawing/2014/main" id="{0D291B10-6A47-4753-A2FC-FDBFF744CB3D}"/>
              </a:ext>
            </a:extLst>
          </p:cNvPr>
          <p:cNvCxnSpPr/>
          <p:nvPr/>
        </p:nvCxnSpPr>
        <p:spPr bwMode="auto">
          <a:xfrm>
            <a:off x="4839847" y="1291004"/>
            <a:ext cx="0" cy="4730682"/>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6" name="Triangle isocèle 5">
            <a:extLst>
              <a:ext uri="{FF2B5EF4-FFF2-40B4-BE49-F238E27FC236}">
                <a16:creationId xmlns:a16="http://schemas.microsoft.com/office/drawing/2014/main" id="{25861423-B7E5-4BBB-801E-D6A817B228E3}"/>
              </a:ext>
            </a:extLst>
          </p:cNvPr>
          <p:cNvSpPr/>
          <p:nvPr/>
        </p:nvSpPr>
        <p:spPr bwMode="auto">
          <a:xfrm rot="5400000">
            <a:off x="4467818" y="3454565"/>
            <a:ext cx="927027" cy="185505"/>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0" name="ZoneTexte 59">
            <a:extLst>
              <a:ext uri="{FF2B5EF4-FFF2-40B4-BE49-F238E27FC236}">
                <a16:creationId xmlns:a16="http://schemas.microsoft.com/office/drawing/2014/main" id="{38F0297C-B0F1-4D42-BF61-5201F1CDDACA}"/>
              </a:ext>
            </a:extLst>
          </p:cNvPr>
          <p:cNvSpPr txBox="1"/>
          <p:nvPr/>
        </p:nvSpPr>
        <p:spPr>
          <a:xfrm>
            <a:off x="168423" y="2864515"/>
            <a:ext cx="447558" cy="246221"/>
          </a:xfrm>
          <a:prstGeom prst="rect">
            <a:avLst/>
          </a:prstGeom>
          <a:noFill/>
        </p:spPr>
        <p:txBody>
          <a:bodyPr wrap="none" rtlCol="0" anchor="ctr">
            <a:spAutoFit/>
          </a:bodyPr>
          <a:lstStyle/>
          <a:p>
            <a:r>
              <a:rPr lang="en-GB" sz="1000" i="1">
                <a:solidFill>
                  <a:schemeClr val="tx2"/>
                </a:solidFill>
                <a:latin typeface="Trebuchet MS" panose="020B0603020202020204" pitchFamily="34" charset="0"/>
              </a:rPr>
              <a:t>Back</a:t>
            </a:r>
          </a:p>
        </p:txBody>
      </p:sp>
      <p:sp>
        <p:nvSpPr>
          <p:cNvPr id="61" name="Rectangle 60">
            <a:extLst>
              <a:ext uri="{FF2B5EF4-FFF2-40B4-BE49-F238E27FC236}">
                <a16:creationId xmlns:a16="http://schemas.microsoft.com/office/drawing/2014/main" id="{39C65FE5-1AF6-4B2B-84FE-BFB32955BB20}"/>
              </a:ext>
            </a:extLst>
          </p:cNvPr>
          <p:cNvSpPr/>
          <p:nvPr/>
        </p:nvSpPr>
        <p:spPr bwMode="auto">
          <a:xfrm>
            <a:off x="728081" y="1564200"/>
            <a:ext cx="771927" cy="2553679"/>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u="none" strike="noStrike" cap="none" normalizeH="0" baseline="0">
              <a:ln>
                <a:noFill/>
              </a:ln>
              <a:solidFill>
                <a:schemeClr val="tx2"/>
              </a:solidFill>
              <a:effectLst/>
              <a:latin typeface="Trebuchet MS" pitchFamily="34" charset="0"/>
            </a:endParaRPr>
          </a:p>
        </p:txBody>
      </p:sp>
      <p:sp>
        <p:nvSpPr>
          <p:cNvPr id="62" name="Freeform 8">
            <a:extLst>
              <a:ext uri="{FF2B5EF4-FFF2-40B4-BE49-F238E27FC236}">
                <a16:creationId xmlns:a16="http://schemas.microsoft.com/office/drawing/2014/main" id="{628F4416-8230-4867-A189-BDFA62AABA39}"/>
              </a:ext>
            </a:extLst>
          </p:cNvPr>
          <p:cNvSpPr>
            <a:spLocks noEditPoints="1"/>
          </p:cNvSpPr>
          <p:nvPr/>
        </p:nvSpPr>
        <p:spPr bwMode="auto">
          <a:xfrm>
            <a:off x="1072501" y="2950833"/>
            <a:ext cx="210000" cy="251795"/>
          </a:xfrm>
          <a:custGeom>
            <a:avLst/>
            <a:gdLst>
              <a:gd name="T0" fmla="*/ 48 w 52"/>
              <a:gd name="T1" fmla="*/ 5 h 64"/>
              <a:gd name="T2" fmla="*/ 26 w 52"/>
              <a:gd name="T3" fmla="*/ 0 h 64"/>
              <a:gd name="T4" fmla="*/ 4 w 52"/>
              <a:gd name="T5" fmla="*/ 5 h 64"/>
              <a:gd name="T6" fmla="*/ 0 w 52"/>
              <a:gd name="T7" fmla="*/ 10 h 64"/>
              <a:gd name="T8" fmla="*/ 0 w 52"/>
              <a:gd name="T9" fmla="*/ 54 h 64"/>
              <a:gd name="T10" fmla="*/ 4 w 52"/>
              <a:gd name="T11" fmla="*/ 59 h 64"/>
              <a:gd name="T12" fmla="*/ 26 w 52"/>
              <a:gd name="T13" fmla="*/ 64 h 64"/>
              <a:gd name="T14" fmla="*/ 48 w 52"/>
              <a:gd name="T15" fmla="*/ 59 h 64"/>
              <a:gd name="T16" fmla="*/ 52 w 52"/>
              <a:gd name="T17" fmla="*/ 54 h 64"/>
              <a:gd name="T18" fmla="*/ 52 w 52"/>
              <a:gd name="T19" fmla="*/ 10 h 64"/>
              <a:gd name="T20" fmla="*/ 48 w 52"/>
              <a:gd name="T21" fmla="*/ 5 h 64"/>
              <a:gd name="T22" fmla="*/ 48 w 52"/>
              <a:gd name="T23" fmla="*/ 54 h 64"/>
              <a:gd name="T24" fmla="*/ 26 w 52"/>
              <a:gd name="T25" fmla="*/ 60 h 64"/>
              <a:gd name="T26" fmla="*/ 4 w 52"/>
              <a:gd name="T27" fmla="*/ 54 h 64"/>
              <a:gd name="T28" fmla="*/ 4 w 52"/>
              <a:gd name="T29" fmla="*/ 43 h 64"/>
              <a:gd name="T30" fmla="*/ 26 w 52"/>
              <a:gd name="T31" fmla="*/ 48 h 64"/>
              <a:gd name="T32" fmla="*/ 48 w 52"/>
              <a:gd name="T33" fmla="*/ 43 h 64"/>
              <a:gd name="T34" fmla="*/ 48 w 52"/>
              <a:gd name="T35" fmla="*/ 54 h 64"/>
              <a:gd name="T36" fmla="*/ 48 w 52"/>
              <a:gd name="T37" fmla="*/ 38 h 64"/>
              <a:gd name="T38" fmla="*/ 26 w 52"/>
              <a:gd name="T39" fmla="*/ 44 h 64"/>
              <a:gd name="T40" fmla="*/ 4 w 52"/>
              <a:gd name="T41" fmla="*/ 38 h 64"/>
              <a:gd name="T42" fmla="*/ 4 w 52"/>
              <a:gd name="T43" fmla="*/ 29 h 64"/>
              <a:gd name="T44" fmla="*/ 26 w 52"/>
              <a:gd name="T45" fmla="*/ 34 h 64"/>
              <a:gd name="T46" fmla="*/ 48 w 52"/>
              <a:gd name="T47" fmla="*/ 29 h 64"/>
              <a:gd name="T48" fmla="*/ 48 w 52"/>
              <a:gd name="T49" fmla="*/ 38 h 64"/>
              <a:gd name="T50" fmla="*/ 48 w 52"/>
              <a:gd name="T51" fmla="*/ 24 h 64"/>
              <a:gd name="T52" fmla="*/ 26 w 52"/>
              <a:gd name="T53" fmla="*/ 30 h 64"/>
              <a:gd name="T54" fmla="*/ 4 w 52"/>
              <a:gd name="T55" fmla="*/ 24 h 64"/>
              <a:gd name="T56" fmla="*/ 4 w 52"/>
              <a:gd name="T57" fmla="*/ 15 h 64"/>
              <a:gd name="T58" fmla="*/ 26 w 52"/>
              <a:gd name="T59" fmla="*/ 20 h 64"/>
              <a:gd name="T60" fmla="*/ 48 w 52"/>
              <a:gd name="T61" fmla="*/ 15 h 64"/>
              <a:gd name="T62" fmla="*/ 48 w 52"/>
              <a:gd name="T63" fmla="*/ 24 h 64"/>
              <a:gd name="T64" fmla="*/ 26 w 52"/>
              <a:gd name="T65" fmla="*/ 16 h 64"/>
              <a:gd name="T66" fmla="*/ 4 w 52"/>
              <a:gd name="T67" fmla="*/ 10 h 64"/>
              <a:gd name="T68" fmla="*/ 26 w 52"/>
              <a:gd name="T69" fmla="*/ 4 h 64"/>
              <a:gd name="T70" fmla="*/ 48 w 52"/>
              <a:gd name="T71" fmla="*/ 10 h 64"/>
              <a:gd name="T72" fmla="*/ 26 w 52"/>
              <a:gd name="T7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48" y="5"/>
                </a:moveTo>
                <a:cubicBezTo>
                  <a:pt x="44" y="2"/>
                  <a:pt x="36" y="0"/>
                  <a:pt x="26" y="0"/>
                </a:cubicBezTo>
                <a:cubicBezTo>
                  <a:pt x="17" y="0"/>
                  <a:pt x="9" y="2"/>
                  <a:pt x="4" y="5"/>
                </a:cubicBezTo>
                <a:cubicBezTo>
                  <a:pt x="2" y="6"/>
                  <a:pt x="0" y="8"/>
                  <a:pt x="0" y="10"/>
                </a:cubicBezTo>
                <a:cubicBezTo>
                  <a:pt x="0" y="54"/>
                  <a:pt x="0" y="54"/>
                  <a:pt x="0" y="54"/>
                </a:cubicBezTo>
                <a:cubicBezTo>
                  <a:pt x="0" y="56"/>
                  <a:pt x="2" y="58"/>
                  <a:pt x="4" y="59"/>
                </a:cubicBezTo>
                <a:cubicBezTo>
                  <a:pt x="9" y="62"/>
                  <a:pt x="17" y="64"/>
                  <a:pt x="26" y="64"/>
                </a:cubicBezTo>
                <a:cubicBezTo>
                  <a:pt x="36" y="64"/>
                  <a:pt x="44" y="62"/>
                  <a:pt x="48" y="59"/>
                </a:cubicBezTo>
                <a:cubicBezTo>
                  <a:pt x="51" y="58"/>
                  <a:pt x="52" y="56"/>
                  <a:pt x="52" y="54"/>
                </a:cubicBezTo>
                <a:cubicBezTo>
                  <a:pt x="52" y="10"/>
                  <a:pt x="52" y="10"/>
                  <a:pt x="52" y="10"/>
                </a:cubicBezTo>
                <a:cubicBezTo>
                  <a:pt x="52" y="8"/>
                  <a:pt x="51" y="6"/>
                  <a:pt x="48" y="5"/>
                </a:cubicBezTo>
                <a:close/>
                <a:moveTo>
                  <a:pt x="48" y="54"/>
                </a:moveTo>
                <a:cubicBezTo>
                  <a:pt x="48" y="56"/>
                  <a:pt x="40" y="60"/>
                  <a:pt x="26" y="60"/>
                </a:cubicBezTo>
                <a:cubicBezTo>
                  <a:pt x="13" y="60"/>
                  <a:pt x="5" y="56"/>
                  <a:pt x="4" y="54"/>
                </a:cubicBezTo>
                <a:cubicBezTo>
                  <a:pt x="4" y="43"/>
                  <a:pt x="4" y="43"/>
                  <a:pt x="4" y="43"/>
                </a:cubicBezTo>
                <a:cubicBezTo>
                  <a:pt x="9" y="46"/>
                  <a:pt x="17" y="48"/>
                  <a:pt x="26" y="48"/>
                </a:cubicBezTo>
                <a:cubicBezTo>
                  <a:pt x="36" y="48"/>
                  <a:pt x="44" y="46"/>
                  <a:pt x="48" y="43"/>
                </a:cubicBezTo>
                <a:lnTo>
                  <a:pt x="48" y="54"/>
                </a:lnTo>
                <a:close/>
                <a:moveTo>
                  <a:pt x="48" y="38"/>
                </a:moveTo>
                <a:cubicBezTo>
                  <a:pt x="48" y="40"/>
                  <a:pt x="40" y="44"/>
                  <a:pt x="26" y="44"/>
                </a:cubicBezTo>
                <a:cubicBezTo>
                  <a:pt x="13" y="44"/>
                  <a:pt x="5" y="40"/>
                  <a:pt x="4" y="38"/>
                </a:cubicBezTo>
                <a:cubicBezTo>
                  <a:pt x="4" y="29"/>
                  <a:pt x="4" y="29"/>
                  <a:pt x="4" y="29"/>
                </a:cubicBezTo>
                <a:cubicBezTo>
                  <a:pt x="9" y="32"/>
                  <a:pt x="17" y="34"/>
                  <a:pt x="26" y="34"/>
                </a:cubicBezTo>
                <a:cubicBezTo>
                  <a:pt x="36" y="34"/>
                  <a:pt x="44" y="32"/>
                  <a:pt x="48" y="29"/>
                </a:cubicBezTo>
                <a:lnTo>
                  <a:pt x="48" y="38"/>
                </a:lnTo>
                <a:close/>
                <a:moveTo>
                  <a:pt x="48" y="24"/>
                </a:moveTo>
                <a:cubicBezTo>
                  <a:pt x="48" y="26"/>
                  <a:pt x="40" y="30"/>
                  <a:pt x="26" y="30"/>
                </a:cubicBezTo>
                <a:cubicBezTo>
                  <a:pt x="13" y="30"/>
                  <a:pt x="5" y="26"/>
                  <a:pt x="4" y="24"/>
                </a:cubicBezTo>
                <a:cubicBezTo>
                  <a:pt x="4" y="15"/>
                  <a:pt x="4" y="15"/>
                  <a:pt x="4" y="15"/>
                </a:cubicBezTo>
                <a:cubicBezTo>
                  <a:pt x="9" y="18"/>
                  <a:pt x="17" y="20"/>
                  <a:pt x="26" y="20"/>
                </a:cubicBezTo>
                <a:cubicBezTo>
                  <a:pt x="36" y="20"/>
                  <a:pt x="44" y="18"/>
                  <a:pt x="48" y="15"/>
                </a:cubicBezTo>
                <a:lnTo>
                  <a:pt x="48" y="24"/>
                </a:ln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000"/>
          </a:p>
        </p:txBody>
      </p:sp>
      <p:sp>
        <p:nvSpPr>
          <p:cNvPr id="18" name="ZoneTexte 17">
            <a:extLst>
              <a:ext uri="{FF2B5EF4-FFF2-40B4-BE49-F238E27FC236}">
                <a16:creationId xmlns:a16="http://schemas.microsoft.com/office/drawing/2014/main" id="{8457B5A9-A89C-4927-BA8E-107673E4DB83}"/>
              </a:ext>
            </a:extLst>
          </p:cNvPr>
          <p:cNvSpPr txBox="1"/>
          <p:nvPr/>
        </p:nvSpPr>
        <p:spPr>
          <a:xfrm>
            <a:off x="708306" y="3217374"/>
            <a:ext cx="860292" cy="3693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Data Base </a:t>
            </a:r>
            <a:r>
              <a:rPr lang="en-GB" sz="900" err="1">
                <a:solidFill>
                  <a:schemeClr val="tx2"/>
                </a:solidFill>
                <a:latin typeface="Trebuchet MS" panose="020B0603020202020204" pitchFamily="34" charset="0"/>
              </a:rPr>
              <a:t>intuiz</a:t>
            </a:r>
            <a:endParaRPr lang="en-GB" sz="900">
              <a:solidFill>
                <a:schemeClr val="tx2"/>
              </a:solidFill>
              <a:latin typeface="Trebuchet MS" panose="020B0603020202020204" pitchFamily="34" charset="0"/>
            </a:endParaRPr>
          </a:p>
        </p:txBody>
      </p:sp>
      <p:pic>
        <p:nvPicPr>
          <p:cNvPr id="5124" name="Picture 4" descr="oracle-logo - Neotys">
            <a:extLst>
              <a:ext uri="{FF2B5EF4-FFF2-40B4-BE49-F238E27FC236}">
                <a16:creationId xmlns:a16="http://schemas.microsoft.com/office/drawing/2014/main" id="{F7E8DA97-12F4-4E34-BADB-F5B696238C3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40485" b="42958"/>
          <a:stretch/>
        </p:blipFill>
        <p:spPr bwMode="auto">
          <a:xfrm>
            <a:off x="821748" y="3832072"/>
            <a:ext cx="603186" cy="9986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Un accès unique et centralisé au portail d'information BtoB - Intuiz">
            <a:extLst>
              <a:ext uri="{FF2B5EF4-FFF2-40B4-BE49-F238E27FC236}">
                <a16:creationId xmlns:a16="http://schemas.microsoft.com/office/drawing/2014/main" id="{4FF7222F-1568-4726-95F6-5A42C10CF51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06857" y="1926337"/>
            <a:ext cx="485392" cy="192539"/>
          </a:xfrm>
          <a:prstGeom prst="rect">
            <a:avLst/>
          </a:prstGeom>
          <a:noFill/>
          <a:extLst>
            <a:ext uri="{909E8E84-426E-40DD-AFC4-6F175D3DCCD1}">
              <a14:hiddenFill xmlns:a14="http://schemas.microsoft.com/office/drawing/2010/main">
                <a:solidFill>
                  <a:srgbClr val="FFFFFF"/>
                </a:solidFill>
              </a14:hiddenFill>
            </a:ext>
          </a:extLst>
        </p:spPr>
      </p:pic>
      <p:sp>
        <p:nvSpPr>
          <p:cNvPr id="63" name="ZoneTexte 62">
            <a:extLst>
              <a:ext uri="{FF2B5EF4-FFF2-40B4-BE49-F238E27FC236}">
                <a16:creationId xmlns:a16="http://schemas.microsoft.com/office/drawing/2014/main" id="{8F2DE3CD-8E0F-4CBF-A81D-34449E4099DD}"/>
              </a:ext>
            </a:extLst>
          </p:cNvPr>
          <p:cNvSpPr txBox="1"/>
          <p:nvPr/>
        </p:nvSpPr>
        <p:spPr>
          <a:xfrm>
            <a:off x="714421" y="1323548"/>
            <a:ext cx="860292" cy="2308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Platform 1</a:t>
            </a:r>
          </a:p>
        </p:txBody>
      </p:sp>
      <p:sp>
        <p:nvSpPr>
          <p:cNvPr id="64" name="Rectangle 63">
            <a:extLst>
              <a:ext uri="{FF2B5EF4-FFF2-40B4-BE49-F238E27FC236}">
                <a16:creationId xmlns:a16="http://schemas.microsoft.com/office/drawing/2014/main" id="{2CBCEB97-D7D4-431A-B3AA-96B3493288DC}"/>
              </a:ext>
            </a:extLst>
          </p:cNvPr>
          <p:cNvSpPr/>
          <p:nvPr/>
        </p:nvSpPr>
        <p:spPr bwMode="auto">
          <a:xfrm>
            <a:off x="1690930" y="1564200"/>
            <a:ext cx="771927" cy="2553679"/>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u="none" strike="noStrike" cap="none" normalizeH="0" baseline="0">
              <a:ln>
                <a:noFill/>
              </a:ln>
              <a:solidFill>
                <a:schemeClr val="tx2"/>
              </a:solidFill>
              <a:effectLst/>
              <a:latin typeface="Trebuchet MS" pitchFamily="34" charset="0"/>
            </a:endParaRPr>
          </a:p>
        </p:txBody>
      </p:sp>
      <p:sp>
        <p:nvSpPr>
          <p:cNvPr id="65" name="Freeform 8">
            <a:extLst>
              <a:ext uri="{FF2B5EF4-FFF2-40B4-BE49-F238E27FC236}">
                <a16:creationId xmlns:a16="http://schemas.microsoft.com/office/drawing/2014/main" id="{48899C6C-EE59-42A6-9CC5-60F624F15B8C}"/>
              </a:ext>
            </a:extLst>
          </p:cNvPr>
          <p:cNvSpPr>
            <a:spLocks noEditPoints="1"/>
          </p:cNvSpPr>
          <p:nvPr/>
        </p:nvSpPr>
        <p:spPr bwMode="auto">
          <a:xfrm>
            <a:off x="1996771" y="2961499"/>
            <a:ext cx="210000" cy="251795"/>
          </a:xfrm>
          <a:custGeom>
            <a:avLst/>
            <a:gdLst>
              <a:gd name="T0" fmla="*/ 48 w 52"/>
              <a:gd name="T1" fmla="*/ 5 h 64"/>
              <a:gd name="T2" fmla="*/ 26 w 52"/>
              <a:gd name="T3" fmla="*/ 0 h 64"/>
              <a:gd name="T4" fmla="*/ 4 w 52"/>
              <a:gd name="T5" fmla="*/ 5 h 64"/>
              <a:gd name="T6" fmla="*/ 0 w 52"/>
              <a:gd name="T7" fmla="*/ 10 h 64"/>
              <a:gd name="T8" fmla="*/ 0 w 52"/>
              <a:gd name="T9" fmla="*/ 54 h 64"/>
              <a:gd name="T10" fmla="*/ 4 w 52"/>
              <a:gd name="T11" fmla="*/ 59 h 64"/>
              <a:gd name="T12" fmla="*/ 26 w 52"/>
              <a:gd name="T13" fmla="*/ 64 h 64"/>
              <a:gd name="T14" fmla="*/ 48 w 52"/>
              <a:gd name="T15" fmla="*/ 59 h 64"/>
              <a:gd name="T16" fmla="*/ 52 w 52"/>
              <a:gd name="T17" fmla="*/ 54 h 64"/>
              <a:gd name="T18" fmla="*/ 52 w 52"/>
              <a:gd name="T19" fmla="*/ 10 h 64"/>
              <a:gd name="T20" fmla="*/ 48 w 52"/>
              <a:gd name="T21" fmla="*/ 5 h 64"/>
              <a:gd name="T22" fmla="*/ 48 w 52"/>
              <a:gd name="T23" fmla="*/ 54 h 64"/>
              <a:gd name="T24" fmla="*/ 26 w 52"/>
              <a:gd name="T25" fmla="*/ 60 h 64"/>
              <a:gd name="T26" fmla="*/ 4 w 52"/>
              <a:gd name="T27" fmla="*/ 54 h 64"/>
              <a:gd name="T28" fmla="*/ 4 w 52"/>
              <a:gd name="T29" fmla="*/ 43 h 64"/>
              <a:gd name="T30" fmla="*/ 26 w 52"/>
              <a:gd name="T31" fmla="*/ 48 h 64"/>
              <a:gd name="T32" fmla="*/ 48 w 52"/>
              <a:gd name="T33" fmla="*/ 43 h 64"/>
              <a:gd name="T34" fmla="*/ 48 w 52"/>
              <a:gd name="T35" fmla="*/ 54 h 64"/>
              <a:gd name="T36" fmla="*/ 48 w 52"/>
              <a:gd name="T37" fmla="*/ 38 h 64"/>
              <a:gd name="T38" fmla="*/ 26 w 52"/>
              <a:gd name="T39" fmla="*/ 44 h 64"/>
              <a:gd name="T40" fmla="*/ 4 w 52"/>
              <a:gd name="T41" fmla="*/ 38 h 64"/>
              <a:gd name="T42" fmla="*/ 4 w 52"/>
              <a:gd name="T43" fmla="*/ 29 h 64"/>
              <a:gd name="T44" fmla="*/ 26 w 52"/>
              <a:gd name="T45" fmla="*/ 34 h 64"/>
              <a:gd name="T46" fmla="*/ 48 w 52"/>
              <a:gd name="T47" fmla="*/ 29 h 64"/>
              <a:gd name="T48" fmla="*/ 48 w 52"/>
              <a:gd name="T49" fmla="*/ 38 h 64"/>
              <a:gd name="T50" fmla="*/ 48 w 52"/>
              <a:gd name="T51" fmla="*/ 24 h 64"/>
              <a:gd name="T52" fmla="*/ 26 w 52"/>
              <a:gd name="T53" fmla="*/ 30 h 64"/>
              <a:gd name="T54" fmla="*/ 4 w 52"/>
              <a:gd name="T55" fmla="*/ 24 h 64"/>
              <a:gd name="T56" fmla="*/ 4 w 52"/>
              <a:gd name="T57" fmla="*/ 15 h 64"/>
              <a:gd name="T58" fmla="*/ 26 w 52"/>
              <a:gd name="T59" fmla="*/ 20 h 64"/>
              <a:gd name="T60" fmla="*/ 48 w 52"/>
              <a:gd name="T61" fmla="*/ 15 h 64"/>
              <a:gd name="T62" fmla="*/ 48 w 52"/>
              <a:gd name="T63" fmla="*/ 24 h 64"/>
              <a:gd name="T64" fmla="*/ 26 w 52"/>
              <a:gd name="T65" fmla="*/ 16 h 64"/>
              <a:gd name="T66" fmla="*/ 4 w 52"/>
              <a:gd name="T67" fmla="*/ 10 h 64"/>
              <a:gd name="T68" fmla="*/ 26 w 52"/>
              <a:gd name="T69" fmla="*/ 4 h 64"/>
              <a:gd name="T70" fmla="*/ 48 w 52"/>
              <a:gd name="T71" fmla="*/ 10 h 64"/>
              <a:gd name="T72" fmla="*/ 26 w 52"/>
              <a:gd name="T7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48" y="5"/>
                </a:moveTo>
                <a:cubicBezTo>
                  <a:pt x="44" y="2"/>
                  <a:pt x="36" y="0"/>
                  <a:pt x="26" y="0"/>
                </a:cubicBezTo>
                <a:cubicBezTo>
                  <a:pt x="17" y="0"/>
                  <a:pt x="9" y="2"/>
                  <a:pt x="4" y="5"/>
                </a:cubicBezTo>
                <a:cubicBezTo>
                  <a:pt x="2" y="6"/>
                  <a:pt x="0" y="8"/>
                  <a:pt x="0" y="10"/>
                </a:cubicBezTo>
                <a:cubicBezTo>
                  <a:pt x="0" y="54"/>
                  <a:pt x="0" y="54"/>
                  <a:pt x="0" y="54"/>
                </a:cubicBezTo>
                <a:cubicBezTo>
                  <a:pt x="0" y="56"/>
                  <a:pt x="2" y="58"/>
                  <a:pt x="4" y="59"/>
                </a:cubicBezTo>
                <a:cubicBezTo>
                  <a:pt x="9" y="62"/>
                  <a:pt x="17" y="64"/>
                  <a:pt x="26" y="64"/>
                </a:cubicBezTo>
                <a:cubicBezTo>
                  <a:pt x="36" y="64"/>
                  <a:pt x="44" y="62"/>
                  <a:pt x="48" y="59"/>
                </a:cubicBezTo>
                <a:cubicBezTo>
                  <a:pt x="51" y="58"/>
                  <a:pt x="52" y="56"/>
                  <a:pt x="52" y="54"/>
                </a:cubicBezTo>
                <a:cubicBezTo>
                  <a:pt x="52" y="10"/>
                  <a:pt x="52" y="10"/>
                  <a:pt x="52" y="10"/>
                </a:cubicBezTo>
                <a:cubicBezTo>
                  <a:pt x="52" y="8"/>
                  <a:pt x="51" y="6"/>
                  <a:pt x="48" y="5"/>
                </a:cubicBezTo>
                <a:close/>
                <a:moveTo>
                  <a:pt x="48" y="54"/>
                </a:moveTo>
                <a:cubicBezTo>
                  <a:pt x="48" y="56"/>
                  <a:pt x="40" y="60"/>
                  <a:pt x="26" y="60"/>
                </a:cubicBezTo>
                <a:cubicBezTo>
                  <a:pt x="13" y="60"/>
                  <a:pt x="5" y="56"/>
                  <a:pt x="4" y="54"/>
                </a:cubicBezTo>
                <a:cubicBezTo>
                  <a:pt x="4" y="43"/>
                  <a:pt x="4" y="43"/>
                  <a:pt x="4" y="43"/>
                </a:cubicBezTo>
                <a:cubicBezTo>
                  <a:pt x="9" y="46"/>
                  <a:pt x="17" y="48"/>
                  <a:pt x="26" y="48"/>
                </a:cubicBezTo>
                <a:cubicBezTo>
                  <a:pt x="36" y="48"/>
                  <a:pt x="44" y="46"/>
                  <a:pt x="48" y="43"/>
                </a:cubicBezTo>
                <a:lnTo>
                  <a:pt x="48" y="54"/>
                </a:lnTo>
                <a:close/>
                <a:moveTo>
                  <a:pt x="48" y="38"/>
                </a:moveTo>
                <a:cubicBezTo>
                  <a:pt x="48" y="40"/>
                  <a:pt x="40" y="44"/>
                  <a:pt x="26" y="44"/>
                </a:cubicBezTo>
                <a:cubicBezTo>
                  <a:pt x="13" y="44"/>
                  <a:pt x="5" y="40"/>
                  <a:pt x="4" y="38"/>
                </a:cubicBezTo>
                <a:cubicBezTo>
                  <a:pt x="4" y="29"/>
                  <a:pt x="4" y="29"/>
                  <a:pt x="4" y="29"/>
                </a:cubicBezTo>
                <a:cubicBezTo>
                  <a:pt x="9" y="32"/>
                  <a:pt x="17" y="34"/>
                  <a:pt x="26" y="34"/>
                </a:cubicBezTo>
                <a:cubicBezTo>
                  <a:pt x="36" y="34"/>
                  <a:pt x="44" y="32"/>
                  <a:pt x="48" y="29"/>
                </a:cubicBezTo>
                <a:lnTo>
                  <a:pt x="48" y="38"/>
                </a:lnTo>
                <a:close/>
                <a:moveTo>
                  <a:pt x="48" y="24"/>
                </a:moveTo>
                <a:cubicBezTo>
                  <a:pt x="48" y="26"/>
                  <a:pt x="40" y="30"/>
                  <a:pt x="26" y="30"/>
                </a:cubicBezTo>
                <a:cubicBezTo>
                  <a:pt x="13" y="30"/>
                  <a:pt x="5" y="26"/>
                  <a:pt x="4" y="24"/>
                </a:cubicBezTo>
                <a:cubicBezTo>
                  <a:pt x="4" y="15"/>
                  <a:pt x="4" y="15"/>
                  <a:pt x="4" y="15"/>
                </a:cubicBezTo>
                <a:cubicBezTo>
                  <a:pt x="9" y="18"/>
                  <a:pt x="17" y="20"/>
                  <a:pt x="26" y="20"/>
                </a:cubicBezTo>
                <a:cubicBezTo>
                  <a:pt x="36" y="20"/>
                  <a:pt x="44" y="18"/>
                  <a:pt x="48" y="15"/>
                </a:cubicBezTo>
                <a:lnTo>
                  <a:pt x="48" y="24"/>
                </a:ln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000"/>
          </a:p>
        </p:txBody>
      </p:sp>
      <p:sp>
        <p:nvSpPr>
          <p:cNvPr id="66" name="ZoneTexte 65">
            <a:extLst>
              <a:ext uri="{FF2B5EF4-FFF2-40B4-BE49-F238E27FC236}">
                <a16:creationId xmlns:a16="http://schemas.microsoft.com/office/drawing/2014/main" id="{8F0E67CD-E6E3-4523-B1FF-EEF8E6EE5F7E}"/>
              </a:ext>
            </a:extLst>
          </p:cNvPr>
          <p:cNvSpPr txBox="1"/>
          <p:nvPr/>
        </p:nvSpPr>
        <p:spPr>
          <a:xfrm>
            <a:off x="1678948" y="3217374"/>
            <a:ext cx="860292" cy="3693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Data Base </a:t>
            </a:r>
            <a:r>
              <a:rPr lang="en-GB" sz="900" err="1">
                <a:solidFill>
                  <a:schemeClr val="tx2"/>
                </a:solidFill>
                <a:latin typeface="Trebuchet MS" panose="020B0603020202020204" pitchFamily="34" charset="0"/>
              </a:rPr>
              <a:t>InduiD</a:t>
            </a:r>
            <a:endParaRPr lang="en-GB" sz="900">
              <a:solidFill>
                <a:schemeClr val="tx2"/>
              </a:solidFill>
              <a:latin typeface="Trebuchet MS" panose="020B0603020202020204" pitchFamily="34" charset="0"/>
            </a:endParaRPr>
          </a:p>
        </p:txBody>
      </p:sp>
      <p:sp>
        <p:nvSpPr>
          <p:cNvPr id="69" name="ZoneTexte 68">
            <a:extLst>
              <a:ext uri="{FF2B5EF4-FFF2-40B4-BE49-F238E27FC236}">
                <a16:creationId xmlns:a16="http://schemas.microsoft.com/office/drawing/2014/main" id="{406D2AB1-0BA3-44C8-BA67-B84847CF64C2}"/>
              </a:ext>
            </a:extLst>
          </p:cNvPr>
          <p:cNvSpPr txBox="1"/>
          <p:nvPr/>
        </p:nvSpPr>
        <p:spPr>
          <a:xfrm>
            <a:off x="1685063" y="1323548"/>
            <a:ext cx="860292" cy="2308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Platform 2</a:t>
            </a:r>
          </a:p>
        </p:txBody>
      </p:sp>
      <p:sp>
        <p:nvSpPr>
          <p:cNvPr id="78" name="ZoneTexte 77">
            <a:extLst>
              <a:ext uri="{FF2B5EF4-FFF2-40B4-BE49-F238E27FC236}">
                <a16:creationId xmlns:a16="http://schemas.microsoft.com/office/drawing/2014/main" id="{741FF14F-7273-43C5-97A1-EE9838162B7F}"/>
              </a:ext>
            </a:extLst>
          </p:cNvPr>
          <p:cNvSpPr txBox="1"/>
          <p:nvPr/>
        </p:nvSpPr>
        <p:spPr>
          <a:xfrm>
            <a:off x="708306" y="2230982"/>
            <a:ext cx="860292" cy="2308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App</a:t>
            </a:r>
          </a:p>
        </p:txBody>
      </p:sp>
      <p:sp>
        <p:nvSpPr>
          <p:cNvPr id="79" name="ZoneTexte 78">
            <a:extLst>
              <a:ext uri="{FF2B5EF4-FFF2-40B4-BE49-F238E27FC236}">
                <a16:creationId xmlns:a16="http://schemas.microsoft.com/office/drawing/2014/main" id="{5308A074-16BB-4D11-8308-CC04E3A29292}"/>
              </a:ext>
            </a:extLst>
          </p:cNvPr>
          <p:cNvSpPr txBox="1"/>
          <p:nvPr/>
        </p:nvSpPr>
        <p:spPr>
          <a:xfrm>
            <a:off x="1710333" y="2230982"/>
            <a:ext cx="860292" cy="2308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App</a:t>
            </a:r>
          </a:p>
        </p:txBody>
      </p:sp>
      <p:pic>
        <p:nvPicPr>
          <p:cNvPr id="45" name="Picture 2" descr="IndueD - La conformité simplifiée - KYC | Altares DB France">
            <a:extLst>
              <a:ext uri="{FF2B5EF4-FFF2-40B4-BE49-F238E27FC236}">
                <a16:creationId xmlns:a16="http://schemas.microsoft.com/office/drawing/2014/main" id="{8ECFD20F-A24C-4519-ADCB-1C3D3F0B2BF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57015" y="1966663"/>
            <a:ext cx="489513" cy="168393"/>
          </a:xfrm>
          <a:prstGeom prst="rect">
            <a:avLst/>
          </a:prstGeom>
          <a:noFill/>
          <a:extLst>
            <a:ext uri="{909E8E84-426E-40DD-AFC4-6F175D3DCCD1}">
              <a14:hiddenFill xmlns:a14="http://schemas.microsoft.com/office/drawing/2010/main">
                <a:solidFill>
                  <a:srgbClr val="FFFFFF"/>
                </a:solidFill>
              </a14:hiddenFill>
            </a:ext>
          </a:extLst>
        </p:spPr>
      </p:pic>
      <p:sp>
        <p:nvSpPr>
          <p:cNvPr id="80" name="Rectangle 79">
            <a:extLst>
              <a:ext uri="{FF2B5EF4-FFF2-40B4-BE49-F238E27FC236}">
                <a16:creationId xmlns:a16="http://schemas.microsoft.com/office/drawing/2014/main" id="{DAA29508-8672-4312-BB53-7550FAA0C72B}"/>
              </a:ext>
            </a:extLst>
          </p:cNvPr>
          <p:cNvSpPr/>
          <p:nvPr/>
        </p:nvSpPr>
        <p:spPr bwMode="auto">
          <a:xfrm>
            <a:off x="2594309" y="1564200"/>
            <a:ext cx="771927" cy="2553679"/>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u="none" strike="noStrike" cap="none" normalizeH="0" baseline="0">
              <a:ln>
                <a:noFill/>
              </a:ln>
              <a:solidFill>
                <a:schemeClr val="tx2"/>
              </a:solidFill>
              <a:effectLst/>
              <a:latin typeface="Trebuchet MS" pitchFamily="34" charset="0"/>
            </a:endParaRPr>
          </a:p>
        </p:txBody>
      </p:sp>
      <p:sp>
        <p:nvSpPr>
          <p:cNvPr id="81" name="Rectangle 80">
            <a:extLst>
              <a:ext uri="{FF2B5EF4-FFF2-40B4-BE49-F238E27FC236}">
                <a16:creationId xmlns:a16="http://schemas.microsoft.com/office/drawing/2014/main" id="{0E944945-9372-41A2-9FC6-F15AA1AE9659}"/>
              </a:ext>
            </a:extLst>
          </p:cNvPr>
          <p:cNvSpPr/>
          <p:nvPr/>
        </p:nvSpPr>
        <p:spPr bwMode="auto">
          <a:xfrm>
            <a:off x="3489895" y="1564200"/>
            <a:ext cx="771927" cy="255367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D&amp;B products</a:t>
            </a:r>
            <a:endParaRPr kumimoji="0" lang="en-GB" sz="1000" u="none" strike="noStrike" cap="none" normalizeH="0" baseline="0">
              <a:ln>
                <a:noFill/>
              </a:ln>
              <a:effectLst/>
              <a:latin typeface="Trebuchet MS" panose="020B0603020202020204" pitchFamily="34" charset="0"/>
            </a:endParaRPr>
          </a:p>
        </p:txBody>
      </p:sp>
      <p:cxnSp>
        <p:nvCxnSpPr>
          <p:cNvPr id="59" name="Connecteur droit 58">
            <a:extLst>
              <a:ext uri="{FF2B5EF4-FFF2-40B4-BE49-F238E27FC236}">
                <a16:creationId xmlns:a16="http://schemas.microsoft.com/office/drawing/2014/main" id="{9F574FD5-6DCC-498F-BED9-D770CE0569A6}"/>
              </a:ext>
            </a:extLst>
          </p:cNvPr>
          <p:cNvCxnSpPr>
            <a:cxnSpLocks/>
          </p:cNvCxnSpPr>
          <p:nvPr/>
        </p:nvCxnSpPr>
        <p:spPr bwMode="auto">
          <a:xfrm flipH="1">
            <a:off x="248252" y="2692270"/>
            <a:ext cx="4333175" cy="0"/>
          </a:xfrm>
          <a:prstGeom prst="line">
            <a:avLst/>
          </a:prstGeom>
          <a:solidFill>
            <a:schemeClr val="accent1"/>
          </a:solidFill>
          <a:ln w="9525" cap="flat" cmpd="sng" algn="ctr">
            <a:solidFill>
              <a:schemeClr val="tx2"/>
            </a:solidFill>
            <a:prstDash val="lgDash"/>
            <a:round/>
            <a:headEnd type="none" w="med" len="med"/>
            <a:tailEnd type="none" w="med" len="med"/>
          </a:ln>
          <a:effectLst/>
        </p:spPr>
      </p:cxnSp>
      <p:sp>
        <p:nvSpPr>
          <p:cNvPr id="82" name="ZoneTexte 81">
            <a:extLst>
              <a:ext uri="{FF2B5EF4-FFF2-40B4-BE49-F238E27FC236}">
                <a16:creationId xmlns:a16="http://schemas.microsoft.com/office/drawing/2014/main" id="{DC7280B3-BDEB-4C70-B7A5-49E4F8BC533A}"/>
              </a:ext>
            </a:extLst>
          </p:cNvPr>
          <p:cNvSpPr txBox="1"/>
          <p:nvPr/>
        </p:nvSpPr>
        <p:spPr>
          <a:xfrm>
            <a:off x="2625923" y="1323548"/>
            <a:ext cx="860292" cy="2308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Platform …</a:t>
            </a:r>
          </a:p>
        </p:txBody>
      </p:sp>
      <p:sp>
        <p:nvSpPr>
          <p:cNvPr id="83" name="ZoneTexte 82">
            <a:extLst>
              <a:ext uri="{FF2B5EF4-FFF2-40B4-BE49-F238E27FC236}">
                <a16:creationId xmlns:a16="http://schemas.microsoft.com/office/drawing/2014/main" id="{937CE95F-105C-41FF-8FDE-D7A3184F5698}"/>
              </a:ext>
            </a:extLst>
          </p:cNvPr>
          <p:cNvSpPr txBox="1"/>
          <p:nvPr/>
        </p:nvSpPr>
        <p:spPr>
          <a:xfrm>
            <a:off x="2597636" y="2230982"/>
            <a:ext cx="860292" cy="2308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App</a:t>
            </a:r>
          </a:p>
        </p:txBody>
      </p:sp>
      <p:sp>
        <p:nvSpPr>
          <p:cNvPr id="84" name="Freeform 8">
            <a:extLst>
              <a:ext uri="{FF2B5EF4-FFF2-40B4-BE49-F238E27FC236}">
                <a16:creationId xmlns:a16="http://schemas.microsoft.com/office/drawing/2014/main" id="{A26C4657-9D89-4B5F-B0F1-8EE608A29150}"/>
              </a:ext>
            </a:extLst>
          </p:cNvPr>
          <p:cNvSpPr>
            <a:spLocks noEditPoints="1"/>
          </p:cNvSpPr>
          <p:nvPr/>
        </p:nvSpPr>
        <p:spPr bwMode="auto">
          <a:xfrm>
            <a:off x="2885215" y="2957907"/>
            <a:ext cx="210000" cy="251795"/>
          </a:xfrm>
          <a:custGeom>
            <a:avLst/>
            <a:gdLst>
              <a:gd name="T0" fmla="*/ 48 w 52"/>
              <a:gd name="T1" fmla="*/ 5 h 64"/>
              <a:gd name="T2" fmla="*/ 26 w 52"/>
              <a:gd name="T3" fmla="*/ 0 h 64"/>
              <a:gd name="T4" fmla="*/ 4 w 52"/>
              <a:gd name="T5" fmla="*/ 5 h 64"/>
              <a:gd name="T6" fmla="*/ 0 w 52"/>
              <a:gd name="T7" fmla="*/ 10 h 64"/>
              <a:gd name="T8" fmla="*/ 0 w 52"/>
              <a:gd name="T9" fmla="*/ 54 h 64"/>
              <a:gd name="T10" fmla="*/ 4 w 52"/>
              <a:gd name="T11" fmla="*/ 59 h 64"/>
              <a:gd name="T12" fmla="*/ 26 w 52"/>
              <a:gd name="T13" fmla="*/ 64 h 64"/>
              <a:gd name="T14" fmla="*/ 48 w 52"/>
              <a:gd name="T15" fmla="*/ 59 h 64"/>
              <a:gd name="T16" fmla="*/ 52 w 52"/>
              <a:gd name="T17" fmla="*/ 54 h 64"/>
              <a:gd name="T18" fmla="*/ 52 w 52"/>
              <a:gd name="T19" fmla="*/ 10 h 64"/>
              <a:gd name="T20" fmla="*/ 48 w 52"/>
              <a:gd name="T21" fmla="*/ 5 h 64"/>
              <a:gd name="T22" fmla="*/ 48 w 52"/>
              <a:gd name="T23" fmla="*/ 54 h 64"/>
              <a:gd name="T24" fmla="*/ 26 w 52"/>
              <a:gd name="T25" fmla="*/ 60 h 64"/>
              <a:gd name="T26" fmla="*/ 4 w 52"/>
              <a:gd name="T27" fmla="*/ 54 h 64"/>
              <a:gd name="T28" fmla="*/ 4 w 52"/>
              <a:gd name="T29" fmla="*/ 43 h 64"/>
              <a:gd name="T30" fmla="*/ 26 w 52"/>
              <a:gd name="T31" fmla="*/ 48 h 64"/>
              <a:gd name="T32" fmla="*/ 48 w 52"/>
              <a:gd name="T33" fmla="*/ 43 h 64"/>
              <a:gd name="T34" fmla="*/ 48 w 52"/>
              <a:gd name="T35" fmla="*/ 54 h 64"/>
              <a:gd name="T36" fmla="*/ 48 w 52"/>
              <a:gd name="T37" fmla="*/ 38 h 64"/>
              <a:gd name="T38" fmla="*/ 26 w 52"/>
              <a:gd name="T39" fmla="*/ 44 h 64"/>
              <a:gd name="T40" fmla="*/ 4 w 52"/>
              <a:gd name="T41" fmla="*/ 38 h 64"/>
              <a:gd name="T42" fmla="*/ 4 w 52"/>
              <a:gd name="T43" fmla="*/ 29 h 64"/>
              <a:gd name="T44" fmla="*/ 26 w 52"/>
              <a:gd name="T45" fmla="*/ 34 h 64"/>
              <a:gd name="T46" fmla="*/ 48 w 52"/>
              <a:gd name="T47" fmla="*/ 29 h 64"/>
              <a:gd name="T48" fmla="*/ 48 w 52"/>
              <a:gd name="T49" fmla="*/ 38 h 64"/>
              <a:gd name="T50" fmla="*/ 48 w 52"/>
              <a:gd name="T51" fmla="*/ 24 h 64"/>
              <a:gd name="T52" fmla="*/ 26 w 52"/>
              <a:gd name="T53" fmla="*/ 30 h 64"/>
              <a:gd name="T54" fmla="*/ 4 w 52"/>
              <a:gd name="T55" fmla="*/ 24 h 64"/>
              <a:gd name="T56" fmla="*/ 4 w 52"/>
              <a:gd name="T57" fmla="*/ 15 h 64"/>
              <a:gd name="T58" fmla="*/ 26 w 52"/>
              <a:gd name="T59" fmla="*/ 20 h 64"/>
              <a:gd name="T60" fmla="*/ 48 w 52"/>
              <a:gd name="T61" fmla="*/ 15 h 64"/>
              <a:gd name="T62" fmla="*/ 48 w 52"/>
              <a:gd name="T63" fmla="*/ 24 h 64"/>
              <a:gd name="T64" fmla="*/ 26 w 52"/>
              <a:gd name="T65" fmla="*/ 16 h 64"/>
              <a:gd name="T66" fmla="*/ 4 w 52"/>
              <a:gd name="T67" fmla="*/ 10 h 64"/>
              <a:gd name="T68" fmla="*/ 26 w 52"/>
              <a:gd name="T69" fmla="*/ 4 h 64"/>
              <a:gd name="T70" fmla="*/ 48 w 52"/>
              <a:gd name="T71" fmla="*/ 10 h 64"/>
              <a:gd name="T72" fmla="*/ 26 w 52"/>
              <a:gd name="T7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48" y="5"/>
                </a:moveTo>
                <a:cubicBezTo>
                  <a:pt x="44" y="2"/>
                  <a:pt x="36" y="0"/>
                  <a:pt x="26" y="0"/>
                </a:cubicBezTo>
                <a:cubicBezTo>
                  <a:pt x="17" y="0"/>
                  <a:pt x="9" y="2"/>
                  <a:pt x="4" y="5"/>
                </a:cubicBezTo>
                <a:cubicBezTo>
                  <a:pt x="2" y="6"/>
                  <a:pt x="0" y="8"/>
                  <a:pt x="0" y="10"/>
                </a:cubicBezTo>
                <a:cubicBezTo>
                  <a:pt x="0" y="54"/>
                  <a:pt x="0" y="54"/>
                  <a:pt x="0" y="54"/>
                </a:cubicBezTo>
                <a:cubicBezTo>
                  <a:pt x="0" y="56"/>
                  <a:pt x="2" y="58"/>
                  <a:pt x="4" y="59"/>
                </a:cubicBezTo>
                <a:cubicBezTo>
                  <a:pt x="9" y="62"/>
                  <a:pt x="17" y="64"/>
                  <a:pt x="26" y="64"/>
                </a:cubicBezTo>
                <a:cubicBezTo>
                  <a:pt x="36" y="64"/>
                  <a:pt x="44" y="62"/>
                  <a:pt x="48" y="59"/>
                </a:cubicBezTo>
                <a:cubicBezTo>
                  <a:pt x="51" y="58"/>
                  <a:pt x="52" y="56"/>
                  <a:pt x="52" y="54"/>
                </a:cubicBezTo>
                <a:cubicBezTo>
                  <a:pt x="52" y="10"/>
                  <a:pt x="52" y="10"/>
                  <a:pt x="52" y="10"/>
                </a:cubicBezTo>
                <a:cubicBezTo>
                  <a:pt x="52" y="8"/>
                  <a:pt x="51" y="6"/>
                  <a:pt x="48" y="5"/>
                </a:cubicBezTo>
                <a:close/>
                <a:moveTo>
                  <a:pt x="48" y="54"/>
                </a:moveTo>
                <a:cubicBezTo>
                  <a:pt x="48" y="56"/>
                  <a:pt x="40" y="60"/>
                  <a:pt x="26" y="60"/>
                </a:cubicBezTo>
                <a:cubicBezTo>
                  <a:pt x="13" y="60"/>
                  <a:pt x="5" y="56"/>
                  <a:pt x="4" y="54"/>
                </a:cubicBezTo>
                <a:cubicBezTo>
                  <a:pt x="4" y="43"/>
                  <a:pt x="4" y="43"/>
                  <a:pt x="4" y="43"/>
                </a:cubicBezTo>
                <a:cubicBezTo>
                  <a:pt x="9" y="46"/>
                  <a:pt x="17" y="48"/>
                  <a:pt x="26" y="48"/>
                </a:cubicBezTo>
                <a:cubicBezTo>
                  <a:pt x="36" y="48"/>
                  <a:pt x="44" y="46"/>
                  <a:pt x="48" y="43"/>
                </a:cubicBezTo>
                <a:lnTo>
                  <a:pt x="48" y="54"/>
                </a:lnTo>
                <a:close/>
                <a:moveTo>
                  <a:pt x="48" y="38"/>
                </a:moveTo>
                <a:cubicBezTo>
                  <a:pt x="48" y="40"/>
                  <a:pt x="40" y="44"/>
                  <a:pt x="26" y="44"/>
                </a:cubicBezTo>
                <a:cubicBezTo>
                  <a:pt x="13" y="44"/>
                  <a:pt x="5" y="40"/>
                  <a:pt x="4" y="38"/>
                </a:cubicBezTo>
                <a:cubicBezTo>
                  <a:pt x="4" y="29"/>
                  <a:pt x="4" y="29"/>
                  <a:pt x="4" y="29"/>
                </a:cubicBezTo>
                <a:cubicBezTo>
                  <a:pt x="9" y="32"/>
                  <a:pt x="17" y="34"/>
                  <a:pt x="26" y="34"/>
                </a:cubicBezTo>
                <a:cubicBezTo>
                  <a:pt x="36" y="34"/>
                  <a:pt x="44" y="32"/>
                  <a:pt x="48" y="29"/>
                </a:cubicBezTo>
                <a:lnTo>
                  <a:pt x="48" y="38"/>
                </a:lnTo>
                <a:close/>
                <a:moveTo>
                  <a:pt x="48" y="24"/>
                </a:moveTo>
                <a:cubicBezTo>
                  <a:pt x="48" y="26"/>
                  <a:pt x="40" y="30"/>
                  <a:pt x="26" y="30"/>
                </a:cubicBezTo>
                <a:cubicBezTo>
                  <a:pt x="13" y="30"/>
                  <a:pt x="5" y="26"/>
                  <a:pt x="4" y="24"/>
                </a:cubicBezTo>
                <a:cubicBezTo>
                  <a:pt x="4" y="15"/>
                  <a:pt x="4" y="15"/>
                  <a:pt x="4" y="15"/>
                </a:cubicBezTo>
                <a:cubicBezTo>
                  <a:pt x="9" y="18"/>
                  <a:pt x="17" y="20"/>
                  <a:pt x="26" y="20"/>
                </a:cubicBezTo>
                <a:cubicBezTo>
                  <a:pt x="36" y="20"/>
                  <a:pt x="44" y="18"/>
                  <a:pt x="48" y="15"/>
                </a:cubicBezTo>
                <a:lnTo>
                  <a:pt x="48" y="24"/>
                </a:ln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000"/>
          </a:p>
        </p:txBody>
      </p:sp>
      <p:pic>
        <p:nvPicPr>
          <p:cNvPr id="85" name="Picture 4" descr="oracle-logo - Neotys">
            <a:extLst>
              <a:ext uri="{FF2B5EF4-FFF2-40B4-BE49-F238E27FC236}">
                <a16:creationId xmlns:a16="http://schemas.microsoft.com/office/drawing/2014/main" id="{CF8EA9BB-0E1C-4445-9BEC-22DD80057AF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40485" b="42958"/>
          <a:stretch/>
        </p:blipFill>
        <p:spPr bwMode="auto">
          <a:xfrm>
            <a:off x="2688622" y="3832072"/>
            <a:ext cx="603186" cy="99868"/>
          </a:xfrm>
          <a:prstGeom prst="rect">
            <a:avLst/>
          </a:prstGeom>
          <a:noFill/>
          <a:extLst>
            <a:ext uri="{909E8E84-426E-40DD-AFC4-6F175D3DCCD1}">
              <a14:hiddenFill xmlns:a14="http://schemas.microsoft.com/office/drawing/2010/main">
                <a:solidFill>
                  <a:srgbClr val="FFFFFF"/>
                </a:solidFill>
              </a14:hiddenFill>
            </a:ext>
          </a:extLst>
        </p:spPr>
      </p:pic>
      <p:sp>
        <p:nvSpPr>
          <p:cNvPr id="86" name="ZoneTexte 85">
            <a:extLst>
              <a:ext uri="{FF2B5EF4-FFF2-40B4-BE49-F238E27FC236}">
                <a16:creationId xmlns:a16="http://schemas.microsoft.com/office/drawing/2014/main" id="{EA53399A-151C-48BD-99F3-01FA86317032}"/>
              </a:ext>
            </a:extLst>
          </p:cNvPr>
          <p:cNvSpPr txBox="1"/>
          <p:nvPr/>
        </p:nvSpPr>
        <p:spPr>
          <a:xfrm>
            <a:off x="2567774" y="3286624"/>
            <a:ext cx="860292" cy="2308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Data Base …</a:t>
            </a:r>
          </a:p>
        </p:txBody>
      </p:sp>
      <p:sp>
        <p:nvSpPr>
          <p:cNvPr id="87" name="Rectangle 86">
            <a:extLst>
              <a:ext uri="{FF2B5EF4-FFF2-40B4-BE49-F238E27FC236}">
                <a16:creationId xmlns:a16="http://schemas.microsoft.com/office/drawing/2014/main" id="{01D106B2-4F6A-46E2-ABD9-460F58888DFF}"/>
              </a:ext>
            </a:extLst>
          </p:cNvPr>
          <p:cNvSpPr/>
          <p:nvPr/>
        </p:nvSpPr>
        <p:spPr bwMode="auto">
          <a:xfrm>
            <a:off x="273376" y="5225802"/>
            <a:ext cx="4187343" cy="103528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indent="-171450" defTabSz="914400" rtl="0" eaLnBrk="1" fontAlgn="base" latinLnBrk="0" hangingPunct="1">
              <a:lnSpc>
                <a:spcPct val="100000"/>
              </a:lnSpc>
              <a:spcBef>
                <a:spcPts val="600"/>
              </a:spcBef>
              <a:spcAft>
                <a:spcPct val="0"/>
              </a:spcAft>
              <a:buClr>
                <a:schemeClr val="tx1"/>
              </a:buClr>
              <a:buSzTx/>
              <a:buFont typeface="Wingdings" panose="05000000000000000000" pitchFamily="2" charset="2"/>
              <a:buChar char="ü"/>
              <a:tabLst/>
            </a:pPr>
            <a:r>
              <a:rPr kumimoji="0" lang="en-GB" sz="1000" b="0" i="0" u="none" strike="noStrike" cap="none" normalizeH="0" baseline="0">
                <a:ln>
                  <a:noFill/>
                </a:ln>
                <a:solidFill>
                  <a:schemeClr val="tx2"/>
                </a:solidFill>
                <a:effectLst/>
                <a:latin typeface="Trebuchet MS" panose="020B0603020202020204" pitchFamily="34" charset="0"/>
              </a:rPr>
              <a:t>Monolithic and closed platforms </a:t>
            </a:r>
            <a:r>
              <a:rPr kumimoji="0" lang="en-GB" sz="1000" b="0" i="0" u="none" strike="noStrike" cap="none" normalizeH="0" baseline="0">
                <a:ln>
                  <a:noFill/>
                </a:ln>
                <a:effectLst/>
                <a:latin typeface="Trebuchet MS" panose="020B0603020202020204" pitchFamily="34" charset="0"/>
              </a:rPr>
              <a:t>fo</a:t>
            </a:r>
            <a:r>
              <a:rPr lang="en-GB" sz="1000">
                <a:latin typeface="Trebuchet MS" panose="020B0603020202020204" pitchFamily="34" charset="0"/>
              </a:rPr>
              <a:t>r each product</a:t>
            </a:r>
            <a:endParaRPr kumimoji="0" lang="en-GB" sz="1000" b="0" i="0" u="none" strike="noStrike" cap="none" normalizeH="0" baseline="0">
              <a:ln>
                <a:noFill/>
              </a:ln>
              <a:effectLst/>
              <a:latin typeface="Trebuchet MS" panose="020B0603020202020204" pitchFamily="34" charset="0"/>
            </a:endParaRPr>
          </a:p>
          <a:p>
            <a:pPr marL="171450" marR="0" indent="-171450" defTabSz="914400" rtl="0" eaLnBrk="1" fontAlgn="base" latinLnBrk="0" hangingPunct="1">
              <a:lnSpc>
                <a:spcPct val="100000"/>
              </a:lnSpc>
              <a:spcBef>
                <a:spcPts val="600"/>
              </a:spcBef>
              <a:spcAft>
                <a:spcPct val="0"/>
              </a:spcAft>
              <a:buClr>
                <a:schemeClr val="tx1"/>
              </a:buClr>
              <a:buSzTx/>
              <a:buFont typeface="Wingdings" panose="05000000000000000000" pitchFamily="2" charset="2"/>
              <a:buChar char="ü"/>
              <a:tabLst/>
            </a:pPr>
            <a:r>
              <a:rPr lang="en-GB" sz="1000">
                <a:solidFill>
                  <a:schemeClr val="tx2"/>
                </a:solidFill>
                <a:latin typeface="Trebuchet MS" pitchFamily="34" charset="0"/>
              </a:rPr>
              <a:t>Heavy legacy</a:t>
            </a:r>
          </a:p>
          <a:p>
            <a:pPr marL="171450" indent="-171450">
              <a:spcBef>
                <a:spcPts val="600"/>
              </a:spcBef>
              <a:buClr>
                <a:schemeClr val="tx1"/>
              </a:buClr>
              <a:buFont typeface="Wingdings" panose="05000000000000000000" pitchFamily="2" charset="2"/>
              <a:buChar char="ü"/>
            </a:pPr>
            <a:r>
              <a:rPr lang="en-GB" sz="1000">
                <a:solidFill>
                  <a:schemeClr val="tx2"/>
                </a:solidFill>
                <a:latin typeface="Trebuchet MS" pitchFamily="34" charset="0"/>
              </a:rPr>
              <a:t>Old</a:t>
            </a:r>
            <a:r>
              <a:rPr lang="en-GB" sz="1000">
                <a:latin typeface="Trebuchet MS" panose="020B0603020202020204" pitchFamily="34" charset="0"/>
              </a:rPr>
              <a:t> computer </a:t>
            </a:r>
            <a:r>
              <a:rPr lang="en-GB" sz="1000">
                <a:solidFill>
                  <a:schemeClr val="tx2"/>
                </a:solidFill>
                <a:latin typeface="Trebuchet MS" pitchFamily="34" charset="0"/>
              </a:rPr>
              <a:t>development language</a:t>
            </a:r>
          </a:p>
          <a:p>
            <a:pPr marL="171450" indent="-171450">
              <a:spcBef>
                <a:spcPts val="600"/>
              </a:spcBef>
              <a:buClr>
                <a:schemeClr val="tx1"/>
              </a:buClr>
              <a:buFont typeface="Wingdings" panose="05000000000000000000" pitchFamily="2" charset="2"/>
              <a:buChar char="ü"/>
            </a:pPr>
            <a:r>
              <a:rPr lang="en-GB" sz="1000">
                <a:solidFill>
                  <a:schemeClr val="tx2"/>
                </a:solidFill>
                <a:latin typeface="Trebuchet MS" pitchFamily="34" charset="0"/>
              </a:rPr>
              <a:t>Bad time to market </a:t>
            </a:r>
            <a:endParaRPr lang="en-GB" sz="1000">
              <a:latin typeface="Trebuchet MS" panose="020B0603020202020204" pitchFamily="34" charset="0"/>
            </a:endParaRPr>
          </a:p>
        </p:txBody>
      </p:sp>
      <p:sp>
        <p:nvSpPr>
          <p:cNvPr id="93" name="Rectangle 92">
            <a:extLst>
              <a:ext uri="{FF2B5EF4-FFF2-40B4-BE49-F238E27FC236}">
                <a16:creationId xmlns:a16="http://schemas.microsoft.com/office/drawing/2014/main" id="{8BFCFB7D-BFA5-4F2F-8403-61E19FDC8FDF}"/>
              </a:ext>
            </a:extLst>
          </p:cNvPr>
          <p:cNvSpPr/>
          <p:nvPr/>
        </p:nvSpPr>
        <p:spPr bwMode="auto">
          <a:xfrm>
            <a:off x="5354945" y="5225802"/>
            <a:ext cx="4187343" cy="103528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Bef>
                <a:spcPts val="600"/>
              </a:spcBef>
              <a:buClr>
                <a:schemeClr val="tx1"/>
              </a:buClr>
              <a:buFont typeface="Wingdings" panose="05000000000000000000" pitchFamily="2" charset="2"/>
              <a:buChar char="ü"/>
            </a:pPr>
            <a:r>
              <a:rPr lang="en-GB" sz="1000">
                <a:solidFill>
                  <a:schemeClr val="tx2"/>
                </a:solidFill>
                <a:latin typeface="Trebuchet MS" panose="020B0603020202020204" pitchFamily="34" charset="0"/>
              </a:rPr>
              <a:t>Unique layer of APIs </a:t>
            </a:r>
            <a:r>
              <a:rPr lang="en-GB" sz="1000">
                <a:latin typeface="Trebuchet MS" panose="020B0603020202020204" pitchFamily="34" charset="0"/>
              </a:rPr>
              <a:t>enabling to do request in old databases of each product for the group</a:t>
            </a:r>
          </a:p>
          <a:p>
            <a:pPr marL="171450" indent="-171450">
              <a:spcBef>
                <a:spcPts val="600"/>
              </a:spcBef>
              <a:buClr>
                <a:schemeClr val="tx1"/>
              </a:buClr>
              <a:buFont typeface="Wingdings" panose="05000000000000000000" pitchFamily="2" charset="2"/>
              <a:buChar char="ü"/>
            </a:pPr>
            <a:r>
              <a:rPr lang="en-GB" sz="1000">
                <a:latin typeface="Trebuchet MS" panose="020B0603020202020204" pitchFamily="34" charset="0"/>
              </a:rPr>
              <a:t>Betted </a:t>
            </a:r>
            <a:r>
              <a:rPr lang="en-GB" sz="1000">
                <a:solidFill>
                  <a:schemeClr val="tx2"/>
                </a:solidFill>
                <a:latin typeface="Trebuchet MS" panose="020B0603020202020204" pitchFamily="34" charset="0"/>
              </a:rPr>
              <a:t>time to market </a:t>
            </a:r>
            <a:r>
              <a:rPr lang="en-GB" sz="1000">
                <a:latin typeface="Trebuchet MS" panose="020B0603020202020204" pitchFamily="34" charset="0"/>
              </a:rPr>
              <a:t>thanks to unified APIs</a:t>
            </a:r>
          </a:p>
          <a:p>
            <a:pPr marL="171450" indent="-171450">
              <a:spcBef>
                <a:spcPts val="600"/>
              </a:spcBef>
              <a:buClr>
                <a:schemeClr val="tx1"/>
              </a:buClr>
              <a:buFont typeface="Wingdings" panose="05000000000000000000" pitchFamily="2" charset="2"/>
              <a:buChar char="ü"/>
            </a:pPr>
            <a:r>
              <a:rPr lang="en-GB" sz="1000">
                <a:solidFill>
                  <a:schemeClr val="tx2"/>
                </a:solidFill>
                <a:latin typeface="Trebuchet MS" panose="020B0603020202020204" pitchFamily="34" charset="0"/>
              </a:rPr>
              <a:t>Better flexibility </a:t>
            </a:r>
            <a:r>
              <a:rPr lang="en-GB" sz="1000">
                <a:latin typeface="Trebuchet MS" panose="020B0603020202020204" pitchFamily="34" charset="0"/>
              </a:rPr>
              <a:t>to improve the </a:t>
            </a:r>
            <a:r>
              <a:rPr lang="en-GB" sz="1000">
                <a:solidFill>
                  <a:schemeClr val="tx2"/>
                </a:solidFill>
                <a:latin typeface="Trebuchet MS" panose="020B0603020202020204" pitchFamily="34" charset="0"/>
              </a:rPr>
              <a:t>front of </a:t>
            </a:r>
            <a:r>
              <a:rPr lang="en-GB" sz="1000" err="1">
                <a:solidFill>
                  <a:schemeClr val="tx2"/>
                </a:solidFill>
                <a:latin typeface="Trebuchet MS" panose="020B0603020202020204" pitchFamily="34" charset="0"/>
              </a:rPr>
              <a:t>Altares</a:t>
            </a:r>
            <a:r>
              <a:rPr lang="en-GB" sz="1000">
                <a:solidFill>
                  <a:schemeClr val="tx2"/>
                </a:solidFill>
                <a:latin typeface="Trebuchet MS" panose="020B0603020202020204" pitchFamily="34" charset="0"/>
              </a:rPr>
              <a:t> proprietary products</a:t>
            </a:r>
            <a:r>
              <a:rPr lang="en-GB" sz="1000">
                <a:latin typeface="Trebuchet MS" panose="020B0603020202020204" pitchFamily="34" charset="0"/>
              </a:rPr>
              <a:t> and thus increase </a:t>
            </a:r>
            <a:r>
              <a:rPr lang="en-GB" sz="1000">
                <a:solidFill>
                  <a:schemeClr val="tx2"/>
                </a:solidFill>
                <a:latin typeface="Trebuchet MS" panose="020B0603020202020204" pitchFamily="34" charset="0"/>
              </a:rPr>
              <a:t>independence from D&amp;B </a:t>
            </a:r>
          </a:p>
        </p:txBody>
      </p:sp>
      <p:sp>
        <p:nvSpPr>
          <p:cNvPr id="94" name="ZoneTexte 93">
            <a:extLst>
              <a:ext uri="{FF2B5EF4-FFF2-40B4-BE49-F238E27FC236}">
                <a16:creationId xmlns:a16="http://schemas.microsoft.com/office/drawing/2014/main" id="{C6E6D031-386F-4F4F-9516-B1FB7AB8F0CA}"/>
              </a:ext>
            </a:extLst>
          </p:cNvPr>
          <p:cNvSpPr txBox="1"/>
          <p:nvPr/>
        </p:nvSpPr>
        <p:spPr>
          <a:xfrm>
            <a:off x="2597636" y="1863186"/>
            <a:ext cx="860292" cy="2308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a:t>
            </a:r>
          </a:p>
        </p:txBody>
      </p:sp>
      <p:sp>
        <p:nvSpPr>
          <p:cNvPr id="95" name="ZoneTexte 94">
            <a:extLst>
              <a:ext uri="{FF2B5EF4-FFF2-40B4-BE49-F238E27FC236}">
                <a16:creationId xmlns:a16="http://schemas.microsoft.com/office/drawing/2014/main" id="{4EE04017-06B5-4368-89F1-AB063CBF72C0}"/>
              </a:ext>
            </a:extLst>
          </p:cNvPr>
          <p:cNvSpPr txBox="1"/>
          <p:nvPr/>
        </p:nvSpPr>
        <p:spPr>
          <a:xfrm>
            <a:off x="3493667" y="2230982"/>
            <a:ext cx="860292" cy="230832"/>
          </a:xfrm>
          <a:prstGeom prst="rect">
            <a:avLst/>
          </a:prstGeom>
          <a:noFill/>
        </p:spPr>
        <p:txBody>
          <a:bodyPr wrap="square" rtlCol="0" anchor="ctr">
            <a:spAutoFit/>
          </a:bodyPr>
          <a:lstStyle/>
          <a:p>
            <a:pPr algn="ctr"/>
            <a:r>
              <a:rPr lang="en-GB" sz="900">
                <a:latin typeface="Trebuchet MS" panose="020B0603020202020204" pitchFamily="34" charset="0"/>
              </a:rPr>
              <a:t>Apps</a:t>
            </a:r>
          </a:p>
        </p:txBody>
      </p:sp>
      <p:sp>
        <p:nvSpPr>
          <p:cNvPr id="96" name="Freeform 8">
            <a:extLst>
              <a:ext uri="{FF2B5EF4-FFF2-40B4-BE49-F238E27FC236}">
                <a16:creationId xmlns:a16="http://schemas.microsoft.com/office/drawing/2014/main" id="{A41F0A7F-DF11-4474-A1F2-E630C43837CA}"/>
              </a:ext>
            </a:extLst>
          </p:cNvPr>
          <p:cNvSpPr>
            <a:spLocks noEditPoints="1"/>
          </p:cNvSpPr>
          <p:nvPr/>
        </p:nvSpPr>
        <p:spPr bwMode="auto">
          <a:xfrm>
            <a:off x="3790241" y="2957907"/>
            <a:ext cx="210000" cy="251795"/>
          </a:xfrm>
          <a:custGeom>
            <a:avLst/>
            <a:gdLst>
              <a:gd name="T0" fmla="*/ 48 w 52"/>
              <a:gd name="T1" fmla="*/ 5 h 64"/>
              <a:gd name="T2" fmla="*/ 26 w 52"/>
              <a:gd name="T3" fmla="*/ 0 h 64"/>
              <a:gd name="T4" fmla="*/ 4 w 52"/>
              <a:gd name="T5" fmla="*/ 5 h 64"/>
              <a:gd name="T6" fmla="*/ 0 w 52"/>
              <a:gd name="T7" fmla="*/ 10 h 64"/>
              <a:gd name="T8" fmla="*/ 0 w 52"/>
              <a:gd name="T9" fmla="*/ 54 h 64"/>
              <a:gd name="T10" fmla="*/ 4 w 52"/>
              <a:gd name="T11" fmla="*/ 59 h 64"/>
              <a:gd name="T12" fmla="*/ 26 w 52"/>
              <a:gd name="T13" fmla="*/ 64 h 64"/>
              <a:gd name="T14" fmla="*/ 48 w 52"/>
              <a:gd name="T15" fmla="*/ 59 h 64"/>
              <a:gd name="T16" fmla="*/ 52 w 52"/>
              <a:gd name="T17" fmla="*/ 54 h 64"/>
              <a:gd name="T18" fmla="*/ 52 w 52"/>
              <a:gd name="T19" fmla="*/ 10 h 64"/>
              <a:gd name="T20" fmla="*/ 48 w 52"/>
              <a:gd name="T21" fmla="*/ 5 h 64"/>
              <a:gd name="T22" fmla="*/ 48 w 52"/>
              <a:gd name="T23" fmla="*/ 54 h 64"/>
              <a:gd name="T24" fmla="*/ 26 w 52"/>
              <a:gd name="T25" fmla="*/ 60 h 64"/>
              <a:gd name="T26" fmla="*/ 4 w 52"/>
              <a:gd name="T27" fmla="*/ 54 h 64"/>
              <a:gd name="T28" fmla="*/ 4 w 52"/>
              <a:gd name="T29" fmla="*/ 43 h 64"/>
              <a:gd name="T30" fmla="*/ 26 w 52"/>
              <a:gd name="T31" fmla="*/ 48 h 64"/>
              <a:gd name="T32" fmla="*/ 48 w 52"/>
              <a:gd name="T33" fmla="*/ 43 h 64"/>
              <a:gd name="T34" fmla="*/ 48 w 52"/>
              <a:gd name="T35" fmla="*/ 54 h 64"/>
              <a:gd name="T36" fmla="*/ 48 w 52"/>
              <a:gd name="T37" fmla="*/ 38 h 64"/>
              <a:gd name="T38" fmla="*/ 26 w 52"/>
              <a:gd name="T39" fmla="*/ 44 h 64"/>
              <a:gd name="T40" fmla="*/ 4 w 52"/>
              <a:gd name="T41" fmla="*/ 38 h 64"/>
              <a:gd name="T42" fmla="*/ 4 w 52"/>
              <a:gd name="T43" fmla="*/ 29 h 64"/>
              <a:gd name="T44" fmla="*/ 26 w 52"/>
              <a:gd name="T45" fmla="*/ 34 h 64"/>
              <a:gd name="T46" fmla="*/ 48 w 52"/>
              <a:gd name="T47" fmla="*/ 29 h 64"/>
              <a:gd name="T48" fmla="*/ 48 w 52"/>
              <a:gd name="T49" fmla="*/ 38 h 64"/>
              <a:gd name="T50" fmla="*/ 48 w 52"/>
              <a:gd name="T51" fmla="*/ 24 h 64"/>
              <a:gd name="T52" fmla="*/ 26 w 52"/>
              <a:gd name="T53" fmla="*/ 30 h 64"/>
              <a:gd name="T54" fmla="*/ 4 w 52"/>
              <a:gd name="T55" fmla="*/ 24 h 64"/>
              <a:gd name="T56" fmla="*/ 4 w 52"/>
              <a:gd name="T57" fmla="*/ 15 h 64"/>
              <a:gd name="T58" fmla="*/ 26 w 52"/>
              <a:gd name="T59" fmla="*/ 20 h 64"/>
              <a:gd name="T60" fmla="*/ 48 w 52"/>
              <a:gd name="T61" fmla="*/ 15 h 64"/>
              <a:gd name="T62" fmla="*/ 48 w 52"/>
              <a:gd name="T63" fmla="*/ 24 h 64"/>
              <a:gd name="T64" fmla="*/ 26 w 52"/>
              <a:gd name="T65" fmla="*/ 16 h 64"/>
              <a:gd name="T66" fmla="*/ 4 w 52"/>
              <a:gd name="T67" fmla="*/ 10 h 64"/>
              <a:gd name="T68" fmla="*/ 26 w 52"/>
              <a:gd name="T69" fmla="*/ 4 h 64"/>
              <a:gd name="T70" fmla="*/ 48 w 52"/>
              <a:gd name="T71" fmla="*/ 10 h 64"/>
              <a:gd name="T72" fmla="*/ 26 w 52"/>
              <a:gd name="T7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48" y="5"/>
                </a:moveTo>
                <a:cubicBezTo>
                  <a:pt x="44" y="2"/>
                  <a:pt x="36" y="0"/>
                  <a:pt x="26" y="0"/>
                </a:cubicBezTo>
                <a:cubicBezTo>
                  <a:pt x="17" y="0"/>
                  <a:pt x="9" y="2"/>
                  <a:pt x="4" y="5"/>
                </a:cubicBezTo>
                <a:cubicBezTo>
                  <a:pt x="2" y="6"/>
                  <a:pt x="0" y="8"/>
                  <a:pt x="0" y="10"/>
                </a:cubicBezTo>
                <a:cubicBezTo>
                  <a:pt x="0" y="54"/>
                  <a:pt x="0" y="54"/>
                  <a:pt x="0" y="54"/>
                </a:cubicBezTo>
                <a:cubicBezTo>
                  <a:pt x="0" y="56"/>
                  <a:pt x="2" y="58"/>
                  <a:pt x="4" y="59"/>
                </a:cubicBezTo>
                <a:cubicBezTo>
                  <a:pt x="9" y="62"/>
                  <a:pt x="17" y="64"/>
                  <a:pt x="26" y="64"/>
                </a:cubicBezTo>
                <a:cubicBezTo>
                  <a:pt x="36" y="64"/>
                  <a:pt x="44" y="62"/>
                  <a:pt x="48" y="59"/>
                </a:cubicBezTo>
                <a:cubicBezTo>
                  <a:pt x="51" y="58"/>
                  <a:pt x="52" y="56"/>
                  <a:pt x="52" y="54"/>
                </a:cubicBezTo>
                <a:cubicBezTo>
                  <a:pt x="52" y="10"/>
                  <a:pt x="52" y="10"/>
                  <a:pt x="52" y="10"/>
                </a:cubicBezTo>
                <a:cubicBezTo>
                  <a:pt x="52" y="8"/>
                  <a:pt x="51" y="6"/>
                  <a:pt x="48" y="5"/>
                </a:cubicBezTo>
                <a:close/>
                <a:moveTo>
                  <a:pt x="48" y="54"/>
                </a:moveTo>
                <a:cubicBezTo>
                  <a:pt x="48" y="56"/>
                  <a:pt x="40" y="60"/>
                  <a:pt x="26" y="60"/>
                </a:cubicBezTo>
                <a:cubicBezTo>
                  <a:pt x="13" y="60"/>
                  <a:pt x="5" y="56"/>
                  <a:pt x="4" y="54"/>
                </a:cubicBezTo>
                <a:cubicBezTo>
                  <a:pt x="4" y="43"/>
                  <a:pt x="4" y="43"/>
                  <a:pt x="4" y="43"/>
                </a:cubicBezTo>
                <a:cubicBezTo>
                  <a:pt x="9" y="46"/>
                  <a:pt x="17" y="48"/>
                  <a:pt x="26" y="48"/>
                </a:cubicBezTo>
                <a:cubicBezTo>
                  <a:pt x="36" y="48"/>
                  <a:pt x="44" y="46"/>
                  <a:pt x="48" y="43"/>
                </a:cubicBezTo>
                <a:lnTo>
                  <a:pt x="48" y="54"/>
                </a:lnTo>
                <a:close/>
                <a:moveTo>
                  <a:pt x="48" y="38"/>
                </a:moveTo>
                <a:cubicBezTo>
                  <a:pt x="48" y="40"/>
                  <a:pt x="40" y="44"/>
                  <a:pt x="26" y="44"/>
                </a:cubicBezTo>
                <a:cubicBezTo>
                  <a:pt x="13" y="44"/>
                  <a:pt x="5" y="40"/>
                  <a:pt x="4" y="38"/>
                </a:cubicBezTo>
                <a:cubicBezTo>
                  <a:pt x="4" y="29"/>
                  <a:pt x="4" y="29"/>
                  <a:pt x="4" y="29"/>
                </a:cubicBezTo>
                <a:cubicBezTo>
                  <a:pt x="9" y="32"/>
                  <a:pt x="17" y="34"/>
                  <a:pt x="26" y="34"/>
                </a:cubicBezTo>
                <a:cubicBezTo>
                  <a:pt x="36" y="34"/>
                  <a:pt x="44" y="32"/>
                  <a:pt x="48" y="29"/>
                </a:cubicBezTo>
                <a:lnTo>
                  <a:pt x="48" y="38"/>
                </a:lnTo>
                <a:close/>
                <a:moveTo>
                  <a:pt x="48" y="24"/>
                </a:moveTo>
                <a:cubicBezTo>
                  <a:pt x="48" y="26"/>
                  <a:pt x="40" y="30"/>
                  <a:pt x="26" y="30"/>
                </a:cubicBezTo>
                <a:cubicBezTo>
                  <a:pt x="13" y="30"/>
                  <a:pt x="5" y="26"/>
                  <a:pt x="4" y="24"/>
                </a:cubicBezTo>
                <a:cubicBezTo>
                  <a:pt x="4" y="15"/>
                  <a:pt x="4" y="15"/>
                  <a:pt x="4" y="15"/>
                </a:cubicBezTo>
                <a:cubicBezTo>
                  <a:pt x="9" y="18"/>
                  <a:pt x="17" y="20"/>
                  <a:pt x="26" y="20"/>
                </a:cubicBezTo>
                <a:cubicBezTo>
                  <a:pt x="36" y="20"/>
                  <a:pt x="44" y="18"/>
                  <a:pt x="48" y="15"/>
                </a:cubicBezTo>
                <a:lnTo>
                  <a:pt x="48" y="24"/>
                </a:ln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endParaRPr lang="en-GB" sz="1000"/>
          </a:p>
        </p:txBody>
      </p:sp>
      <p:sp>
        <p:nvSpPr>
          <p:cNvPr id="97" name="ZoneTexte 96">
            <a:extLst>
              <a:ext uri="{FF2B5EF4-FFF2-40B4-BE49-F238E27FC236}">
                <a16:creationId xmlns:a16="http://schemas.microsoft.com/office/drawing/2014/main" id="{BC031AB2-5C3D-4DE0-A683-4C551B80C2DD}"/>
              </a:ext>
            </a:extLst>
          </p:cNvPr>
          <p:cNvSpPr txBox="1"/>
          <p:nvPr/>
        </p:nvSpPr>
        <p:spPr>
          <a:xfrm>
            <a:off x="3472800" y="3217374"/>
            <a:ext cx="860292" cy="369332"/>
          </a:xfrm>
          <a:prstGeom prst="rect">
            <a:avLst/>
          </a:prstGeom>
          <a:noFill/>
        </p:spPr>
        <p:txBody>
          <a:bodyPr wrap="square" rtlCol="0" anchor="ctr">
            <a:spAutoFit/>
          </a:bodyPr>
          <a:lstStyle/>
          <a:p>
            <a:pPr algn="ctr"/>
            <a:r>
              <a:rPr lang="en-GB" sz="900">
                <a:latin typeface="Trebuchet MS" panose="020B0603020202020204" pitchFamily="34" charset="0"/>
              </a:rPr>
              <a:t>D&amp;B </a:t>
            </a:r>
          </a:p>
          <a:p>
            <a:pPr algn="ctr"/>
            <a:r>
              <a:rPr lang="en-GB" sz="900">
                <a:latin typeface="Trebuchet MS" panose="020B0603020202020204" pitchFamily="34" charset="0"/>
              </a:rPr>
              <a:t>Data Base</a:t>
            </a:r>
          </a:p>
        </p:txBody>
      </p:sp>
      <p:sp>
        <p:nvSpPr>
          <p:cNvPr id="98" name="Rectangle 97">
            <a:extLst>
              <a:ext uri="{FF2B5EF4-FFF2-40B4-BE49-F238E27FC236}">
                <a16:creationId xmlns:a16="http://schemas.microsoft.com/office/drawing/2014/main" id="{4C783BAA-2F16-4963-922A-FCF51E183B33}"/>
              </a:ext>
            </a:extLst>
          </p:cNvPr>
          <p:cNvSpPr/>
          <p:nvPr/>
        </p:nvSpPr>
        <p:spPr bwMode="auto">
          <a:xfrm>
            <a:off x="257768" y="4520342"/>
            <a:ext cx="1629465" cy="518035"/>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u="none" strike="noStrike" cap="none" normalizeH="0" baseline="0" err="1">
                <a:ln>
                  <a:noFill/>
                </a:ln>
                <a:solidFill>
                  <a:schemeClr val="tx2"/>
                </a:solidFill>
                <a:effectLst/>
                <a:latin typeface="Trebuchet MS" panose="020B0603020202020204" pitchFamily="34" charset="0"/>
              </a:rPr>
              <a:t>Altares</a:t>
            </a:r>
            <a:r>
              <a:rPr kumimoji="0" lang="en-GB" sz="1000" u="none" strike="noStrike" cap="none" normalizeH="0" baseline="0">
                <a:ln>
                  <a:noFill/>
                </a:ln>
                <a:solidFill>
                  <a:schemeClr val="tx2"/>
                </a:solidFill>
                <a:effectLst/>
                <a:latin typeface="Trebuchet MS" panose="020B0603020202020204" pitchFamily="34" charset="0"/>
              </a:rPr>
              <a:t> “Data Factory” </a:t>
            </a:r>
          </a:p>
        </p:txBody>
      </p:sp>
      <p:sp>
        <p:nvSpPr>
          <p:cNvPr id="22" name="Freeform 5">
            <a:extLst>
              <a:ext uri="{FF2B5EF4-FFF2-40B4-BE49-F238E27FC236}">
                <a16:creationId xmlns:a16="http://schemas.microsoft.com/office/drawing/2014/main" id="{2CF18A89-74C0-4E83-9AA1-37C60881EBBD}"/>
              </a:ext>
            </a:extLst>
          </p:cNvPr>
          <p:cNvSpPr>
            <a:spLocks noEditPoints="1"/>
          </p:cNvSpPr>
          <p:nvPr/>
        </p:nvSpPr>
        <p:spPr bwMode="auto">
          <a:xfrm>
            <a:off x="902638" y="4754217"/>
            <a:ext cx="233135" cy="173558"/>
          </a:xfrm>
          <a:custGeom>
            <a:avLst/>
            <a:gdLst>
              <a:gd name="T0" fmla="*/ 694 w 740"/>
              <a:gd name="T1" fmla="*/ 0 h 742"/>
              <a:gd name="T2" fmla="*/ 601 w 740"/>
              <a:gd name="T3" fmla="*/ 0 h 742"/>
              <a:gd name="T4" fmla="*/ 555 w 740"/>
              <a:gd name="T5" fmla="*/ 371 h 742"/>
              <a:gd name="T6" fmla="*/ 370 w 740"/>
              <a:gd name="T7" fmla="*/ 232 h 742"/>
              <a:gd name="T8" fmla="*/ 370 w 740"/>
              <a:gd name="T9" fmla="*/ 371 h 742"/>
              <a:gd name="T10" fmla="*/ 185 w 740"/>
              <a:gd name="T11" fmla="*/ 232 h 742"/>
              <a:gd name="T12" fmla="*/ 185 w 740"/>
              <a:gd name="T13" fmla="*/ 371 h 742"/>
              <a:gd name="T14" fmla="*/ 0 w 740"/>
              <a:gd name="T15" fmla="*/ 232 h 742"/>
              <a:gd name="T16" fmla="*/ 0 w 740"/>
              <a:gd name="T17" fmla="*/ 742 h 742"/>
              <a:gd name="T18" fmla="*/ 740 w 740"/>
              <a:gd name="T19" fmla="*/ 742 h 742"/>
              <a:gd name="T20" fmla="*/ 740 w 740"/>
              <a:gd name="T21" fmla="*/ 371 h 742"/>
              <a:gd name="T22" fmla="*/ 694 w 740"/>
              <a:gd name="T23" fmla="*/ 0 h 742"/>
              <a:gd name="T24" fmla="*/ 185 w 740"/>
              <a:gd name="T25" fmla="*/ 602 h 742"/>
              <a:gd name="T26" fmla="*/ 93 w 740"/>
              <a:gd name="T27" fmla="*/ 602 h 742"/>
              <a:gd name="T28" fmla="*/ 93 w 740"/>
              <a:gd name="T29" fmla="*/ 556 h 742"/>
              <a:gd name="T30" fmla="*/ 185 w 740"/>
              <a:gd name="T31" fmla="*/ 556 h 742"/>
              <a:gd name="T32" fmla="*/ 185 w 740"/>
              <a:gd name="T33" fmla="*/ 602 h 742"/>
              <a:gd name="T34" fmla="*/ 185 w 740"/>
              <a:gd name="T35" fmla="*/ 510 h 742"/>
              <a:gd name="T36" fmla="*/ 93 w 740"/>
              <a:gd name="T37" fmla="*/ 510 h 742"/>
              <a:gd name="T38" fmla="*/ 93 w 740"/>
              <a:gd name="T39" fmla="*/ 463 h 742"/>
              <a:gd name="T40" fmla="*/ 185 w 740"/>
              <a:gd name="T41" fmla="*/ 463 h 742"/>
              <a:gd name="T42" fmla="*/ 185 w 740"/>
              <a:gd name="T43" fmla="*/ 510 h 742"/>
              <a:gd name="T44" fmla="*/ 370 w 740"/>
              <a:gd name="T45" fmla="*/ 602 h 742"/>
              <a:gd name="T46" fmla="*/ 278 w 740"/>
              <a:gd name="T47" fmla="*/ 602 h 742"/>
              <a:gd name="T48" fmla="*/ 278 w 740"/>
              <a:gd name="T49" fmla="*/ 556 h 742"/>
              <a:gd name="T50" fmla="*/ 370 w 740"/>
              <a:gd name="T51" fmla="*/ 556 h 742"/>
              <a:gd name="T52" fmla="*/ 370 w 740"/>
              <a:gd name="T53" fmla="*/ 602 h 742"/>
              <a:gd name="T54" fmla="*/ 370 w 740"/>
              <a:gd name="T55" fmla="*/ 510 h 742"/>
              <a:gd name="T56" fmla="*/ 278 w 740"/>
              <a:gd name="T57" fmla="*/ 510 h 742"/>
              <a:gd name="T58" fmla="*/ 278 w 740"/>
              <a:gd name="T59" fmla="*/ 463 h 742"/>
              <a:gd name="T60" fmla="*/ 370 w 740"/>
              <a:gd name="T61" fmla="*/ 463 h 742"/>
              <a:gd name="T62" fmla="*/ 370 w 740"/>
              <a:gd name="T63" fmla="*/ 510 h 742"/>
              <a:gd name="T64" fmla="*/ 555 w 740"/>
              <a:gd name="T65" fmla="*/ 602 h 742"/>
              <a:gd name="T66" fmla="*/ 463 w 740"/>
              <a:gd name="T67" fmla="*/ 602 h 742"/>
              <a:gd name="T68" fmla="*/ 463 w 740"/>
              <a:gd name="T69" fmla="*/ 556 h 742"/>
              <a:gd name="T70" fmla="*/ 555 w 740"/>
              <a:gd name="T71" fmla="*/ 556 h 742"/>
              <a:gd name="T72" fmla="*/ 555 w 740"/>
              <a:gd name="T73" fmla="*/ 602 h 742"/>
              <a:gd name="T74" fmla="*/ 555 w 740"/>
              <a:gd name="T75" fmla="*/ 510 h 742"/>
              <a:gd name="T76" fmla="*/ 463 w 740"/>
              <a:gd name="T77" fmla="*/ 510 h 742"/>
              <a:gd name="T78" fmla="*/ 463 w 740"/>
              <a:gd name="T79" fmla="*/ 463 h 742"/>
              <a:gd name="T80" fmla="*/ 555 w 740"/>
              <a:gd name="T81" fmla="*/ 463 h 742"/>
              <a:gd name="T82" fmla="*/ 555 w 740"/>
              <a:gd name="T83" fmla="*/ 51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40" h="742">
                <a:moveTo>
                  <a:pt x="694" y="0"/>
                </a:moveTo>
                <a:lnTo>
                  <a:pt x="601" y="0"/>
                </a:lnTo>
                <a:lnTo>
                  <a:pt x="555" y="371"/>
                </a:lnTo>
                <a:lnTo>
                  <a:pt x="370" y="232"/>
                </a:lnTo>
                <a:lnTo>
                  <a:pt x="370" y="371"/>
                </a:lnTo>
                <a:lnTo>
                  <a:pt x="185" y="232"/>
                </a:lnTo>
                <a:lnTo>
                  <a:pt x="185" y="371"/>
                </a:lnTo>
                <a:lnTo>
                  <a:pt x="0" y="232"/>
                </a:lnTo>
                <a:lnTo>
                  <a:pt x="0" y="742"/>
                </a:lnTo>
                <a:lnTo>
                  <a:pt x="740" y="742"/>
                </a:lnTo>
                <a:lnTo>
                  <a:pt x="740" y="371"/>
                </a:lnTo>
                <a:lnTo>
                  <a:pt x="694" y="0"/>
                </a:lnTo>
                <a:close/>
                <a:moveTo>
                  <a:pt x="185" y="602"/>
                </a:moveTo>
                <a:lnTo>
                  <a:pt x="93" y="602"/>
                </a:lnTo>
                <a:lnTo>
                  <a:pt x="93" y="556"/>
                </a:lnTo>
                <a:lnTo>
                  <a:pt x="185" y="556"/>
                </a:lnTo>
                <a:lnTo>
                  <a:pt x="185" y="602"/>
                </a:lnTo>
                <a:close/>
                <a:moveTo>
                  <a:pt x="185" y="510"/>
                </a:moveTo>
                <a:lnTo>
                  <a:pt x="93" y="510"/>
                </a:lnTo>
                <a:lnTo>
                  <a:pt x="93" y="463"/>
                </a:lnTo>
                <a:lnTo>
                  <a:pt x="185" y="463"/>
                </a:lnTo>
                <a:lnTo>
                  <a:pt x="185" y="510"/>
                </a:lnTo>
                <a:close/>
                <a:moveTo>
                  <a:pt x="370" y="602"/>
                </a:moveTo>
                <a:lnTo>
                  <a:pt x="278" y="602"/>
                </a:lnTo>
                <a:lnTo>
                  <a:pt x="278" y="556"/>
                </a:lnTo>
                <a:lnTo>
                  <a:pt x="370" y="556"/>
                </a:lnTo>
                <a:lnTo>
                  <a:pt x="370" y="602"/>
                </a:lnTo>
                <a:close/>
                <a:moveTo>
                  <a:pt x="370" y="510"/>
                </a:moveTo>
                <a:lnTo>
                  <a:pt x="278" y="510"/>
                </a:lnTo>
                <a:lnTo>
                  <a:pt x="278" y="463"/>
                </a:lnTo>
                <a:lnTo>
                  <a:pt x="370" y="463"/>
                </a:lnTo>
                <a:lnTo>
                  <a:pt x="370" y="510"/>
                </a:lnTo>
                <a:close/>
                <a:moveTo>
                  <a:pt x="555" y="602"/>
                </a:moveTo>
                <a:lnTo>
                  <a:pt x="463" y="602"/>
                </a:lnTo>
                <a:lnTo>
                  <a:pt x="463" y="556"/>
                </a:lnTo>
                <a:lnTo>
                  <a:pt x="555" y="556"/>
                </a:lnTo>
                <a:lnTo>
                  <a:pt x="555" y="602"/>
                </a:lnTo>
                <a:close/>
                <a:moveTo>
                  <a:pt x="555" y="510"/>
                </a:moveTo>
                <a:lnTo>
                  <a:pt x="463" y="510"/>
                </a:lnTo>
                <a:lnTo>
                  <a:pt x="463" y="463"/>
                </a:lnTo>
                <a:lnTo>
                  <a:pt x="555" y="463"/>
                </a:lnTo>
                <a:lnTo>
                  <a:pt x="555" y="51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cxnSp>
        <p:nvCxnSpPr>
          <p:cNvPr id="5132" name="Connecteur : en angle 5131">
            <a:extLst>
              <a:ext uri="{FF2B5EF4-FFF2-40B4-BE49-F238E27FC236}">
                <a16:creationId xmlns:a16="http://schemas.microsoft.com/office/drawing/2014/main" id="{B54CD3FC-F57D-4376-86D6-4BCBE4301BBE}"/>
              </a:ext>
            </a:extLst>
          </p:cNvPr>
          <p:cNvCxnSpPr>
            <a:stCxn id="98" idx="0"/>
            <a:endCxn id="61" idx="2"/>
          </p:cNvCxnSpPr>
          <p:nvPr/>
        </p:nvCxnSpPr>
        <p:spPr bwMode="auto">
          <a:xfrm rot="5400000" flipH="1" flipV="1">
            <a:off x="892042" y="4298339"/>
            <a:ext cx="402463" cy="41544"/>
          </a:xfrm>
          <a:prstGeom prst="bentConnector3">
            <a:avLst/>
          </a:prstGeom>
          <a:solidFill>
            <a:schemeClr val="accent1"/>
          </a:solidFill>
          <a:ln w="9525" cap="flat" cmpd="sng" algn="ctr">
            <a:solidFill>
              <a:schemeClr val="tx2"/>
            </a:solidFill>
            <a:prstDash val="solid"/>
            <a:round/>
            <a:headEnd type="none" w="med" len="med"/>
            <a:tailEnd type="triangle"/>
          </a:ln>
          <a:effectLst/>
        </p:spPr>
      </p:cxnSp>
      <p:cxnSp>
        <p:nvCxnSpPr>
          <p:cNvPr id="210" name="Connecteur : en angle 209">
            <a:extLst>
              <a:ext uri="{FF2B5EF4-FFF2-40B4-BE49-F238E27FC236}">
                <a16:creationId xmlns:a16="http://schemas.microsoft.com/office/drawing/2014/main" id="{47667109-CFF5-491D-A2FB-81A2A69BEB2A}"/>
              </a:ext>
            </a:extLst>
          </p:cNvPr>
          <p:cNvCxnSpPr>
            <a:cxnSpLocks/>
            <a:stCxn id="98" idx="0"/>
            <a:endCxn id="64" idx="2"/>
          </p:cNvCxnSpPr>
          <p:nvPr/>
        </p:nvCxnSpPr>
        <p:spPr bwMode="auto">
          <a:xfrm rot="5400000" flipH="1" flipV="1">
            <a:off x="1373466" y="3816915"/>
            <a:ext cx="402463" cy="1004393"/>
          </a:xfrm>
          <a:prstGeom prst="bentConnector3">
            <a:avLst>
              <a:gd name="adj1" fmla="val 50000"/>
            </a:avLst>
          </a:prstGeom>
          <a:solidFill>
            <a:schemeClr val="accent1"/>
          </a:solidFill>
          <a:ln w="9525" cap="flat" cmpd="sng" algn="ctr">
            <a:solidFill>
              <a:schemeClr val="tx2"/>
            </a:solidFill>
            <a:prstDash val="solid"/>
            <a:round/>
            <a:headEnd type="none" w="med" len="med"/>
            <a:tailEnd type="triangle"/>
          </a:ln>
          <a:effectLst/>
        </p:spPr>
      </p:cxnSp>
      <p:cxnSp>
        <p:nvCxnSpPr>
          <p:cNvPr id="213" name="Connecteur : en angle 212">
            <a:extLst>
              <a:ext uri="{FF2B5EF4-FFF2-40B4-BE49-F238E27FC236}">
                <a16:creationId xmlns:a16="http://schemas.microsoft.com/office/drawing/2014/main" id="{FCE078A4-C6BC-4BBE-AFA9-93C80A3D10FB}"/>
              </a:ext>
            </a:extLst>
          </p:cNvPr>
          <p:cNvCxnSpPr>
            <a:cxnSpLocks/>
            <a:stCxn id="98" idx="0"/>
            <a:endCxn id="80" idx="2"/>
          </p:cNvCxnSpPr>
          <p:nvPr/>
        </p:nvCxnSpPr>
        <p:spPr bwMode="auto">
          <a:xfrm rot="5400000" flipH="1" flipV="1">
            <a:off x="1825156" y="3365225"/>
            <a:ext cx="402463" cy="1907772"/>
          </a:xfrm>
          <a:prstGeom prst="bentConnector3">
            <a:avLst>
              <a:gd name="adj1" fmla="val 50000"/>
            </a:avLst>
          </a:prstGeom>
          <a:solidFill>
            <a:schemeClr val="accent1"/>
          </a:solidFill>
          <a:ln w="9525" cap="flat" cmpd="sng" algn="ctr">
            <a:solidFill>
              <a:schemeClr val="tx2"/>
            </a:solidFill>
            <a:prstDash val="solid"/>
            <a:round/>
            <a:headEnd type="none" w="med" len="med"/>
            <a:tailEnd type="triangle"/>
          </a:ln>
          <a:effectLst/>
        </p:spPr>
      </p:cxnSp>
      <p:grpSp>
        <p:nvGrpSpPr>
          <p:cNvPr id="4" name="Groupe 3">
            <a:extLst>
              <a:ext uri="{FF2B5EF4-FFF2-40B4-BE49-F238E27FC236}">
                <a16:creationId xmlns:a16="http://schemas.microsoft.com/office/drawing/2014/main" id="{E83FFEBC-AB5F-4A21-8E55-1FA68C52ECD9}"/>
              </a:ext>
            </a:extLst>
          </p:cNvPr>
          <p:cNvGrpSpPr/>
          <p:nvPr/>
        </p:nvGrpSpPr>
        <p:grpSpPr>
          <a:xfrm>
            <a:off x="5160753" y="1623973"/>
            <a:ext cx="4487482" cy="3105574"/>
            <a:chOff x="5160753" y="1623973"/>
            <a:chExt cx="4487482" cy="3105574"/>
          </a:xfrm>
        </p:grpSpPr>
        <p:sp>
          <p:nvSpPr>
            <p:cNvPr id="116" name="Rectangle 115">
              <a:extLst>
                <a:ext uri="{FF2B5EF4-FFF2-40B4-BE49-F238E27FC236}">
                  <a16:creationId xmlns:a16="http://schemas.microsoft.com/office/drawing/2014/main" id="{35563276-B3B0-4F44-9743-A0152C86D39D}"/>
                </a:ext>
              </a:extLst>
            </p:cNvPr>
            <p:cNvSpPr/>
            <p:nvPr/>
          </p:nvSpPr>
          <p:spPr bwMode="auto">
            <a:xfrm>
              <a:off x="6589761" y="4211512"/>
              <a:ext cx="1629465" cy="518035"/>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u="none" strike="noStrike" cap="none" normalizeH="0" baseline="0">
                  <a:ln>
                    <a:noFill/>
                  </a:ln>
                  <a:solidFill>
                    <a:schemeClr val="tx2"/>
                  </a:solidFill>
                  <a:effectLst/>
                  <a:latin typeface="Trebuchet MS" pitchFamily="34" charset="0"/>
                </a:rPr>
                <a:t>Altares “Data Factory”</a:t>
              </a:r>
            </a:p>
          </p:txBody>
        </p:sp>
        <p:sp>
          <p:nvSpPr>
            <p:cNvPr id="207" name="Freeform 5">
              <a:extLst>
                <a:ext uri="{FF2B5EF4-FFF2-40B4-BE49-F238E27FC236}">
                  <a16:creationId xmlns:a16="http://schemas.microsoft.com/office/drawing/2014/main" id="{D7490A65-7B9F-4B9C-9F1A-BD6E9D5F45F7}"/>
                </a:ext>
              </a:extLst>
            </p:cNvPr>
            <p:cNvSpPr>
              <a:spLocks noEditPoints="1"/>
            </p:cNvSpPr>
            <p:nvPr/>
          </p:nvSpPr>
          <p:spPr bwMode="auto">
            <a:xfrm>
              <a:off x="7360583" y="4487026"/>
              <a:ext cx="233135" cy="173558"/>
            </a:xfrm>
            <a:custGeom>
              <a:avLst/>
              <a:gdLst>
                <a:gd name="T0" fmla="*/ 694 w 740"/>
                <a:gd name="T1" fmla="*/ 0 h 742"/>
                <a:gd name="T2" fmla="*/ 601 w 740"/>
                <a:gd name="T3" fmla="*/ 0 h 742"/>
                <a:gd name="T4" fmla="*/ 555 w 740"/>
                <a:gd name="T5" fmla="*/ 371 h 742"/>
                <a:gd name="T6" fmla="*/ 370 w 740"/>
                <a:gd name="T7" fmla="*/ 232 h 742"/>
                <a:gd name="T8" fmla="*/ 370 w 740"/>
                <a:gd name="T9" fmla="*/ 371 h 742"/>
                <a:gd name="T10" fmla="*/ 185 w 740"/>
                <a:gd name="T11" fmla="*/ 232 h 742"/>
                <a:gd name="T12" fmla="*/ 185 w 740"/>
                <a:gd name="T13" fmla="*/ 371 h 742"/>
                <a:gd name="T14" fmla="*/ 0 w 740"/>
                <a:gd name="T15" fmla="*/ 232 h 742"/>
                <a:gd name="T16" fmla="*/ 0 w 740"/>
                <a:gd name="T17" fmla="*/ 742 h 742"/>
                <a:gd name="T18" fmla="*/ 740 w 740"/>
                <a:gd name="T19" fmla="*/ 742 h 742"/>
                <a:gd name="T20" fmla="*/ 740 w 740"/>
                <a:gd name="T21" fmla="*/ 371 h 742"/>
                <a:gd name="T22" fmla="*/ 694 w 740"/>
                <a:gd name="T23" fmla="*/ 0 h 742"/>
                <a:gd name="T24" fmla="*/ 185 w 740"/>
                <a:gd name="T25" fmla="*/ 602 h 742"/>
                <a:gd name="T26" fmla="*/ 93 w 740"/>
                <a:gd name="T27" fmla="*/ 602 h 742"/>
                <a:gd name="T28" fmla="*/ 93 w 740"/>
                <a:gd name="T29" fmla="*/ 556 h 742"/>
                <a:gd name="T30" fmla="*/ 185 w 740"/>
                <a:gd name="T31" fmla="*/ 556 h 742"/>
                <a:gd name="T32" fmla="*/ 185 w 740"/>
                <a:gd name="T33" fmla="*/ 602 h 742"/>
                <a:gd name="T34" fmla="*/ 185 w 740"/>
                <a:gd name="T35" fmla="*/ 510 h 742"/>
                <a:gd name="T36" fmla="*/ 93 w 740"/>
                <a:gd name="T37" fmla="*/ 510 h 742"/>
                <a:gd name="T38" fmla="*/ 93 w 740"/>
                <a:gd name="T39" fmla="*/ 463 h 742"/>
                <a:gd name="T40" fmla="*/ 185 w 740"/>
                <a:gd name="T41" fmla="*/ 463 h 742"/>
                <a:gd name="T42" fmla="*/ 185 w 740"/>
                <a:gd name="T43" fmla="*/ 510 h 742"/>
                <a:gd name="T44" fmla="*/ 370 w 740"/>
                <a:gd name="T45" fmla="*/ 602 h 742"/>
                <a:gd name="T46" fmla="*/ 278 w 740"/>
                <a:gd name="T47" fmla="*/ 602 h 742"/>
                <a:gd name="T48" fmla="*/ 278 w 740"/>
                <a:gd name="T49" fmla="*/ 556 h 742"/>
                <a:gd name="T50" fmla="*/ 370 w 740"/>
                <a:gd name="T51" fmla="*/ 556 h 742"/>
                <a:gd name="T52" fmla="*/ 370 w 740"/>
                <a:gd name="T53" fmla="*/ 602 h 742"/>
                <a:gd name="T54" fmla="*/ 370 w 740"/>
                <a:gd name="T55" fmla="*/ 510 h 742"/>
                <a:gd name="T56" fmla="*/ 278 w 740"/>
                <a:gd name="T57" fmla="*/ 510 h 742"/>
                <a:gd name="T58" fmla="*/ 278 w 740"/>
                <a:gd name="T59" fmla="*/ 463 h 742"/>
                <a:gd name="T60" fmla="*/ 370 w 740"/>
                <a:gd name="T61" fmla="*/ 463 h 742"/>
                <a:gd name="T62" fmla="*/ 370 w 740"/>
                <a:gd name="T63" fmla="*/ 510 h 742"/>
                <a:gd name="T64" fmla="*/ 555 w 740"/>
                <a:gd name="T65" fmla="*/ 602 h 742"/>
                <a:gd name="T66" fmla="*/ 463 w 740"/>
                <a:gd name="T67" fmla="*/ 602 h 742"/>
                <a:gd name="T68" fmla="*/ 463 w 740"/>
                <a:gd name="T69" fmla="*/ 556 h 742"/>
                <a:gd name="T70" fmla="*/ 555 w 740"/>
                <a:gd name="T71" fmla="*/ 556 h 742"/>
                <a:gd name="T72" fmla="*/ 555 w 740"/>
                <a:gd name="T73" fmla="*/ 602 h 742"/>
                <a:gd name="T74" fmla="*/ 555 w 740"/>
                <a:gd name="T75" fmla="*/ 510 h 742"/>
                <a:gd name="T76" fmla="*/ 463 w 740"/>
                <a:gd name="T77" fmla="*/ 510 h 742"/>
                <a:gd name="T78" fmla="*/ 463 w 740"/>
                <a:gd name="T79" fmla="*/ 463 h 742"/>
                <a:gd name="T80" fmla="*/ 555 w 740"/>
                <a:gd name="T81" fmla="*/ 463 h 742"/>
                <a:gd name="T82" fmla="*/ 555 w 740"/>
                <a:gd name="T83" fmla="*/ 51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40" h="742">
                  <a:moveTo>
                    <a:pt x="694" y="0"/>
                  </a:moveTo>
                  <a:lnTo>
                    <a:pt x="601" y="0"/>
                  </a:lnTo>
                  <a:lnTo>
                    <a:pt x="555" y="371"/>
                  </a:lnTo>
                  <a:lnTo>
                    <a:pt x="370" y="232"/>
                  </a:lnTo>
                  <a:lnTo>
                    <a:pt x="370" y="371"/>
                  </a:lnTo>
                  <a:lnTo>
                    <a:pt x="185" y="232"/>
                  </a:lnTo>
                  <a:lnTo>
                    <a:pt x="185" y="371"/>
                  </a:lnTo>
                  <a:lnTo>
                    <a:pt x="0" y="232"/>
                  </a:lnTo>
                  <a:lnTo>
                    <a:pt x="0" y="742"/>
                  </a:lnTo>
                  <a:lnTo>
                    <a:pt x="740" y="742"/>
                  </a:lnTo>
                  <a:lnTo>
                    <a:pt x="740" y="371"/>
                  </a:lnTo>
                  <a:lnTo>
                    <a:pt x="694" y="0"/>
                  </a:lnTo>
                  <a:close/>
                  <a:moveTo>
                    <a:pt x="185" y="602"/>
                  </a:moveTo>
                  <a:lnTo>
                    <a:pt x="93" y="602"/>
                  </a:lnTo>
                  <a:lnTo>
                    <a:pt x="93" y="556"/>
                  </a:lnTo>
                  <a:lnTo>
                    <a:pt x="185" y="556"/>
                  </a:lnTo>
                  <a:lnTo>
                    <a:pt x="185" y="602"/>
                  </a:lnTo>
                  <a:close/>
                  <a:moveTo>
                    <a:pt x="185" y="510"/>
                  </a:moveTo>
                  <a:lnTo>
                    <a:pt x="93" y="510"/>
                  </a:lnTo>
                  <a:lnTo>
                    <a:pt x="93" y="463"/>
                  </a:lnTo>
                  <a:lnTo>
                    <a:pt x="185" y="463"/>
                  </a:lnTo>
                  <a:lnTo>
                    <a:pt x="185" y="510"/>
                  </a:lnTo>
                  <a:close/>
                  <a:moveTo>
                    <a:pt x="370" y="602"/>
                  </a:moveTo>
                  <a:lnTo>
                    <a:pt x="278" y="602"/>
                  </a:lnTo>
                  <a:lnTo>
                    <a:pt x="278" y="556"/>
                  </a:lnTo>
                  <a:lnTo>
                    <a:pt x="370" y="556"/>
                  </a:lnTo>
                  <a:lnTo>
                    <a:pt x="370" y="602"/>
                  </a:lnTo>
                  <a:close/>
                  <a:moveTo>
                    <a:pt x="370" y="510"/>
                  </a:moveTo>
                  <a:lnTo>
                    <a:pt x="278" y="510"/>
                  </a:lnTo>
                  <a:lnTo>
                    <a:pt x="278" y="463"/>
                  </a:lnTo>
                  <a:lnTo>
                    <a:pt x="370" y="463"/>
                  </a:lnTo>
                  <a:lnTo>
                    <a:pt x="370" y="510"/>
                  </a:lnTo>
                  <a:close/>
                  <a:moveTo>
                    <a:pt x="555" y="602"/>
                  </a:moveTo>
                  <a:lnTo>
                    <a:pt x="463" y="602"/>
                  </a:lnTo>
                  <a:lnTo>
                    <a:pt x="463" y="556"/>
                  </a:lnTo>
                  <a:lnTo>
                    <a:pt x="555" y="556"/>
                  </a:lnTo>
                  <a:lnTo>
                    <a:pt x="555" y="602"/>
                  </a:lnTo>
                  <a:close/>
                  <a:moveTo>
                    <a:pt x="555" y="510"/>
                  </a:moveTo>
                  <a:lnTo>
                    <a:pt x="463" y="510"/>
                  </a:lnTo>
                  <a:lnTo>
                    <a:pt x="463" y="463"/>
                  </a:lnTo>
                  <a:lnTo>
                    <a:pt x="555" y="463"/>
                  </a:lnTo>
                  <a:lnTo>
                    <a:pt x="555" y="51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3" name="Groupe 2">
              <a:extLst>
                <a:ext uri="{FF2B5EF4-FFF2-40B4-BE49-F238E27FC236}">
                  <a16:creationId xmlns:a16="http://schemas.microsoft.com/office/drawing/2014/main" id="{E88BA6B1-69B2-457D-B2F8-115E2D254CAF}"/>
                </a:ext>
              </a:extLst>
            </p:cNvPr>
            <p:cNvGrpSpPr/>
            <p:nvPr/>
          </p:nvGrpSpPr>
          <p:grpSpPr>
            <a:xfrm>
              <a:off x="5160753" y="1623973"/>
              <a:ext cx="4487482" cy="2587539"/>
              <a:chOff x="5160753" y="1623973"/>
              <a:chExt cx="4487482" cy="2587539"/>
            </a:xfrm>
          </p:grpSpPr>
          <p:sp>
            <p:nvSpPr>
              <p:cNvPr id="113" name="Rectangle 112">
                <a:extLst>
                  <a:ext uri="{FF2B5EF4-FFF2-40B4-BE49-F238E27FC236}">
                    <a16:creationId xmlns:a16="http://schemas.microsoft.com/office/drawing/2014/main" id="{F655ED7B-C0F6-40EC-850E-FFA8C6026600}"/>
                  </a:ext>
                </a:extLst>
              </p:cNvPr>
              <p:cNvSpPr/>
              <p:nvPr/>
            </p:nvSpPr>
            <p:spPr bwMode="auto">
              <a:xfrm>
                <a:off x="5160753" y="3110736"/>
                <a:ext cx="4487482" cy="843641"/>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u="none" strike="noStrike" cap="none" normalizeH="0" baseline="0">
                  <a:ln>
                    <a:noFill/>
                  </a:ln>
                  <a:solidFill>
                    <a:schemeClr val="tx2"/>
                  </a:solidFill>
                  <a:effectLst/>
                  <a:latin typeface="Trebuchet MS" pitchFamily="34" charset="0"/>
                </a:endParaRPr>
              </a:p>
            </p:txBody>
          </p:sp>
          <p:sp>
            <p:nvSpPr>
              <p:cNvPr id="120" name="Rectangle 119">
                <a:extLst>
                  <a:ext uri="{FF2B5EF4-FFF2-40B4-BE49-F238E27FC236}">
                    <a16:creationId xmlns:a16="http://schemas.microsoft.com/office/drawing/2014/main" id="{C8D0DC4A-696E-4257-84F8-5DD392D5C698}"/>
                  </a:ext>
                </a:extLst>
              </p:cNvPr>
              <p:cNvSpPr/>
              <p:nvPr/>
            </p:nvSpPr>
            <p:spPr bwMode="auto">
              <a:xfrm>
                <a:off x="5160753" y="2400748"/>
                <a:ext cx="3264979" cy="391049"/>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u="none" strike="noStrike" cap="none" normalizeH="0" baseline="0">
                    <a:ln>
                      <a:noFill/>
                    </a:ln>
                    <a:solidFill>
                      <a:srgbClr val="007AA9"/>
                    </a:solidFill>
                    <a:effectLst/>
                    <a:latin typeface="Trebuchet MS" pitchFamily="34" charset="0"/>
                  </a:rPr>
                  <a:t>Layer of APIs with API management tool</a:t>
                </a:r>
              </a:p>
            </p:txBody>
          </p:sp>
          <p:sp>
            <p:nvSpPr>
              <p:cNvPr id="121" name="Rectangle 120">
                <a:extLst>
                  <a:ext uri="{FF2B5EF4-FFF2-40B4-BE49-F238E27FC236}">
                    <a16:creationId xmlns:a16="http://schemas.microsoft.com/office/drawing/2014/main" id="{292E7724-30F8-4A73-B55F-CE16541AEE82}"/>
                  </a:ext>
                </a:extLst>
              </p:cNvPr>
              <p:cNvSpPr/>
              <p:nvPr/>
            </p:nvSpPr>
            <p:spPr bwMode="auto">
              <a:xfrm>
                <a:off x="5160753" y="1623974"/>
                <a:ext cx="819974" cy="547986"/>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u="none" strike="noStrike" cap="none" normalizeH="0" baseline="0">
                  <a:ln>
                    <a:noFill/>
                  </a:ln>
                  <a:solidFill>
                    <a:schemeClr val="tx2"/>
                  </a:solidFill>
                  <a:effectLst/>
                  <a:latin typeface="Trebuchet MS" pitchFamily="34" charset="0"/>
                </a:endParaRPr>
              </a:p>
            </p:txBody>
          </p:sp>
          <p:pic>
            <p:nvPicPr>
              <p:cNvPr id="122" name="Picture 2" descr="Un accès unique et centralisé au portail d'information BtoB - Intuiz">
                <a:extLst>
                  <a:ext uri="{FF2B5EF4-FFF2-40B4-BE49-F238E27FC236}">
                    <a16:creationId xmlns:a16="http://schemas.microsoft.com/office/drawing/2014/main" id="{ABCFD22A-4763-4362-B5AB-E33F5820870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43800" y="1801697"/>
                <a:ext cx="485392" cy="192539"/>
              </a:xfrm>
              <a:prstGeom prst="rect">
                <a:avLst/>
              </a:prstGeom>
              <a:noFill/>
              <a:extLst>
                <a:ext uri="{909E8E84-426E-40DD-AFC4-6F175D3DCCD1}">
                  <a14:hiddenFill xmlns:a14="http://schemas.microsoft.com/office/drawing/2010/main">
                    <a:solidFill>
                      <a:srgbClr val="FFFFFF"/>
                    </a:solidFill>
                  </a14:hiddenFill>
                </a:ext>
              </a:extLst>
            </p:spPr>
          </p:pic>
          <p:sp>
            <p:nvSpPr>
              <p:cNvPr id="124" name="Freeform 8">
                <a:extLst>
                  <a:ext uri="{FF2B5EF4-FFF2-40B4-BE49-F238E27FC236}">
                    <a16:creationId xmlns:a16="http://schemas.microsoft.com/office/drawing/2014/main" id="{58748656-15CD-4B06-B567-5042C6CC00D2}"/>
                  </a:ext>
                </a:extLst>
              </p:cNvPr>
              <p:cNvSpPr>
                <a:spLocks noEditPoints="1"/>
              </p:cNvSpPr>
              <p:nvPr/>
            </p:nvSpPr>
            <p:spPr bwMode="auto">
              <a:xfrm>
                <a:off x="5993065" y="3265661"/>
                <a:ext cx="210000" cy="251795"/>
              </a:xfrm>
              <a:custGeom>
                <a:avLst/>
                <a:gdLst>
                  <a:gd name="T0" fmla="*/ 48 w 52"/>
                  <a:gd name="T1" fmla="*/ 5 h 64"/>
                  <a:gd name="T2" fmla="*/ 26 w 52"/>
                  <a:gd name="T3" fmla="*/ 0 h 64"/>
                  <a:gd name="T4" fmla="*/ 4 w 52"/>
                  <a:gd name="T5" fmla="*/ 5 h 64"/>
                  <a:gd name="T6" fmla="*/ 0 w 52"/>
                  <a:gd name="T7" fmla="*/ 10 h 64"/>
                  <a:gd name="T8" fmla="*/ 0 w 52"/>
                  <a:gd name="T9" fmla="*/ 54 h 64"/>
                  <a:gd name="T10" fmla="*/ 4 w 52"/>
                  <a:gd name="T11" fmla="*/ 59 h 64"/>
                  <a:gd name="T12" fmla="*/ 26 w 52"/>
                  <a:gd name="T13" fmla="*/ 64 h 64"/>
                  <a:gd name="T14" fmla="*/ 48 w 52"/>
                  <a:gd name="T15" fmla="*/ 59 h 64"/>
                  <a:gd name="T16" fmla="*/ 52 w 52"/>
                  <a:gd name="T17" fmla="*/ 54 h 64"/>
                  <a:gd name="T18" fmla="*/ 52 w 52"/>
                  <a:gd name="T19" fmla="*/ 10 h 64"/>
                  <a:gd name="T20" fmla="*/ 48 w 52"/>
                  <a:gd name="T21" fmla="*/ 5 h 64"/>
                  <a:gd name="T22" fmla="*/ 48 w 52"/>
                  <a:gd name="T23" fmla="*/ 54 h 64"/>
                  <a:gd name="T24" fmla="*/ 26 w 52"/>
                  <a:gd name="T25" fmla="*/ 60 h 64"/>
                  <a:gd name="T26" fmla="*/ 4 w 52"/>
                  <a:gd name="T27" fmla="*/ 54 h 64"/>
                  <a:gd name="T28" fmla="*/ 4 w 52"/>
                  <a:gd name="T29" fmla="*/ 43 h 64"/>
                  <a:gd name="T30" fmla="*/ 26 w 52"/>
                  <a:gd name="T31" fmla="*/ 48 h 64"/>
                  <a:gd name="T32" fmla="*/ 48 w 52"/>
                  <a:gd name="T33" fmla="*/ 43 h 64"/>
                  <a:gd name="T34" fmla="*/ 48 w 52"/>
                  <a:gd name="T35" fmla="*/ 54 h 64"/>
                  <a:gd name="T36" fmla="*/ 48 w 52"/>
                  <a:gd name="T37" fmla="*/ 38 h 64"/>
                  <a:gd name="T38" fmla="*/ 26 w 52"/>
                  <a:gd name="T39" fmla="*/ 44 h 64"/>
                  <a:gd name="T40" fmla="*/ 4 w 52"/>
                  <a:gd name="T41" fmla="*/ 38 h 64"/>
                  <a:gd name="T42" fmla="*/ 4 w 52"/>
                  <a:gd name="T43" fmla="*/ 29 h 64"/>
                  <a:gd name="T44" fmla="*/ 26 w 52"/>
                  <a:gd name="T45" fmla="*/ 34 h 64"/>
                  <a:gd name="T46" fmla="*/ 48 w 52"/>
                  <a:gd name="T47" fmla="*/ 29 h 64"/>
                  <a:gd name="T48" fmla="*/ 48 w 52"/>
                  <a:gd name="T49" fmla="*/ 38 h 64"/>
                  <a:gd name="T50" fmla="*/ 48 w 52"/>
                  <a:gd name="T51" fmla="*/ 24 h 64"/>
                  <a:gd name="T52" fmla="*/ 26 w 52"/>
                  <a:gd name="T53" fmla="*/ 30 h 64"/>
                  <a:gd name="T54" fmla="*/ 4 w 52"/>
                  <a:gd name="T55" fmla="*/ 24 h 64"/>
                  <a:gd name="T56" fmla="*/ 4 w 52"/>
                  <a:gd name="T57" fmla="*/ 15 h 64"/>
                  <a:gd name="T58" fmla="*/ 26 w 52"/>
                  <a:gd name="T59" fmla="*/ 20 h 64"/>
                  <a:gd name="T60" fmla="*/ 48 w 52"/>
                  <a:gd name="T61" fmla="*/ 15 h 64"/>
                  <a:gd name="T62" fmla="*/ 48 w 52"/>
                  <a:gd name="T63" fmla="*/ 24 h 64"/>
                  <a:gd name="T64" fmla="*/ 26 w 52"/>
                  <a:gd name="T65" fmla="*/ 16 h 64"/>
                  <a:gd name="T66" fmla="*/ 4 w 52"/>
                  <a:gd name="T67" fmla="*/ 10 h 64"/>
                  <a:gd name="T68" fmla="*/ 26 w 52"/>
                  <a:gd name="T69" fmla="*/ 4 h 64"/>
                  <a:gd name="T70" fmla="*/ 48 w 52"/>
                  <a:gd name="T71" fmla="*/ 10 h 64"/>
                  <a:gd name="T72" fmla="*/ 26 w 52"/>
                  <a:gd name="T7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48" y="5"/>
                    </a:moveTo>
                    <a:cubicBezTo>
                      <a:pt x="44" y="2"/>
                      <a:pt x="36" y="0"/>
                      <a:pt x="26" y="0"/>
                    </a:cubicBezTo>
                    <a:cubicBezTo>
                      <a:pt x="17" y="0"/>
                      <a:pt x="9" y="2"/>
                      <a:pt x="4" y="5"/>
                    </a:cubicBezTo>
                    <a:cubicBezTo>
                      <a:pt x="2" y="6"/>
                      <a:pt x="0" y="8"/>
                      <a:pt x="0" y="10"/>
                    </a:cubicBezTo>
                    <a:cubicBezTo>
                      <a:pt x="0" y="54"/>
                      <a:pt x="0" y="54"/>
                      <a:pt x="0" y="54"/>
                    </a:cubicBezTo>
                    <a:cubicBezTo>
                      <a:pt x="0" y="56"/>
                      <a:pt x="2" y="58"/>
                      <a:pt x="4" y="59"/>
                    </a:cubicBezTo>
                    <a:cubicBezTo>
                      <a:pt x="9" y="62"/>
                      <a:pt x="17" y="64"/>
                      <a:pt x="26" y="64"/>
                    </a:cubicBezTo>
                    <a:cubicBezTo>
                      <a:pt x="36" y="64"/>
                      <a:pt x="44" y="62"/>
                      <a:pt x="48" y="59"/>
                    </a:cubicBezTo>
                    <a:cubicBezTo>
                      <a:pt x="51" y="58"/>
                      <a:pt x="52" y="56"/>
                      <a:pt x="52" y="54"/>
                    </a:cubicBezTo>
                    <a:cubicBezTo>
                      <a:pt x="52" y="10"/>
                      <a:pt x="52" y="10"/>
                      <a:pt x="52" y="10"/>
                    </a:cubicBezTo>
                    <a:cubicBezTo>
                      <a:pt x="52" y="8"/>
                      <a:pt x="51" y="6"/>
                      <a:pt x="48" y="5"/>
                    </a:cubicBezTo>
                    <a:close/>
                    <a:moveTo>
                      <a:pt x="48" y="54"/>
                    </a:moveTo>
                    <a:cubicBezTo>
                      <a:pt x="48" y="56"/>
                      <a:pt x="40" y="60"/>
                      <a:pt x="26" y="60"/>
                    </a:cubicBezTo>
                    <a:cubicBezTo>
                      <a:pt x="13" y="60"/>
                      <a:pt x="5" y="56"/>
                      <a:pt x="4" y="54"/>
                    </a:cubicBezTo>
                    <a:cubicBezTo>
                      <a:pt x="4" y="43"/>
                      <a:pt x="4" y="43"/>
                      <a:pt x="4" y="43"/>
                    </a:cubicBezTo>
                    <a:cubicBezTo>
                      <a:pt x="9" y="46"/>
                      <a:pt x="17" y="48"/>
                      <a:pt x="26" y="48"/>
                    </a:cubicBezTo>
                    <a:cubicBezTo>
                      <a:pt x="36" y="48"/>
                      <a:pt x="44" y="46"/>
                      <a:pt x="48" y="43"/>
                    </a:cubicBezTo>
                    <a:lnTo>
                      <a:pt x="48" y="54"/>
                    </a:lnTo>
                    <a:close/>
                    <a:moveTo>
                      <a:pt x="48" y="38"/>
                    </a:moveTo>
                    <a:cubicBezTo>
                      <a:pt x="48" y="40"/>
                      <a:pt x="40" y="44"/>
                      <a:pt x="26" y="44"/>
                    </a:cubicBezTo>
                    <a:cubicBezTo>
                      <a:pt x="13" y="44"/>
                      <a:pt x="5" y="40"/>
                      <a:pt x="4" y="38"/>
                    </a:cubicBezTo>
                    <a:cubicBezTo>
                      <a:pt x="4" y="29"/>
                      <a:pt x="4" y="29"/>
                      <a:pt x="4" y="29"/>
                    </a:cubicBezTo>
                    <a:cubicBezTo>
                      <a:pt x="9" y="32"/>
                      <a:pt x="17" y="34"/>
                      <a:pt x="26" y="34"/>
                    </a:cubicBezTo>
                    <a:cubicBezTo>
                      <a:pt x="36" y="34"/>
                      <a:pt x="44" y="32"/>
                      <a:pt x="48" y="29"/>
                    </a:cubicBezTo>
                    <a:lnTo>
                      <a:pt x="48" y="38"/>
                    </a:lnTo>
                    <a:close/>
                    <a:moveTo>
                      <a:pt x="48" y="24"/>
                    </a:moveTo>
                    <a:cubicBezTo>
                      <a:pt x="48" y="26"/>
                      <a:pt x="40" y="30"/>
                      <a:pt x="26" y="30"/>
                    </a:cubicBezTo>
                    <a:cubicBezTo>
                      <a:pt x="13" y="30"/>
                      <a:pt x="5" y="26"/>
                      <a:pt x="4" y="24"/>
                    </a:cubicBezTo>
                    <a:cubicBezTo>
                      <a:pt x="4" y="15"/>
                      <a:pt x="4" y="15"/>
                      <a:pt x="4" y="15"/>
                    </a:cubicBezTo>
                    <a:cubicBezTo>
                      <a:pt x="9" y="18"/>
                      <a:pt x="17" y="20"/>
                      <a:pt x="26" y="20"/>
                    </a:cubicBezTo>
                    <a:cubicBezTo>
                      <a:pt x="36" y="20"/>
                      <a:pt x="44" y="18"/>
                      <a:pt x="48" y="15"/>
                    </a:cubicBezTo>
                    <a:lnTo>
                      <a:pt x="48" y="24"/>
                    </a:ln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000"/>
              </a:p>
            </p:txBody>
          </p:sp>
          <p:sp>
            <p:nvSpPr>
              <p:cNvPr id="125" name="ZoneTexte 124">
                <a:extLst>
                  <a:ext uri="{FF2B5EF4-FFF2-40B4-BE49-F238E27FC236}">
                    <a16:creationId xmlns:a16="http://schemas.microsoft.com/office/drawing/2014/main" id="{5DE580C4-DA8B-4F2C-8B83-DDBAC8565214}"/>
                  </a:ext>
                </a:extLst>
              </p:cNvPr>
              <p:cNvSpPr txBox="1"/>
              <p:nvPr/>
            </p:nvSpPr>
            <p:spPr>
              <a:xfrm>
                <a:off x="5617683" y="3457834"/>
                <a:ext cx="860292" cy="3693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Data Base </a:t>
                </a:r>
                <a:r>
                  <a:rPr lang="en-GB" sz="900" err="1">
                    <a:solidFill>
                      <a:schemeClr val="tx2"/>
                    </a:solidFill>
                    <a:latin typeface="Trebuchet MS" panose="020B0603020202020204" pitchFamily="34" charset="0"/>
                  </a:rPr>
                  <a:t>intuiz</a:t>
                </a:r>
                <a:endParaRPr lang="en-GB" sz="900">
                  <a:solidFill>
                    <a:schemeClr val="tx2"/>
                  </a:solidFill>
                  <a:latin typeface="Trebuchet MS" panose="020B0603020202020204" pitchFamily="34" charset="0"/>
                </a:endParaRPr>
              </a:p>
            </p:txBody>
          </p:sp>
          <p:sp>
            <p:nvSpPr>
              <p:cNvPr id="126" name="Freeform 8">
                <a:extLst>
                  <a:ext uri="{FF2B5EF4-FFF2-40B4-BE49-F238E27FC236}">
                    <a16:creationId xmlns:a16="http://schemas.microsoft.com/office/drawing/2014/main" id="{0BAD14DD-49BB-4335-8A01-A83EE20E2482}"/>
                  </a:ext>
                </a:extLst>
              </p:cNvPr>
              <p:cNvSpPr>
                <a:spLocks noEditPoints="1"/>
              </p:cNvSpPr>
              <p:nvPr/>
            </p:nvSpPr>
            <p:spPr bwMode="auto">
              <a:xfrm>
                <a:off x="6917335" y="3276327"/>
                <a:ext cx="210000" cy="251795"/>
              </a:xfrm>
              <a:custGeom>
                <a:avLst/>
                <a:gdLst>
                  <a:gd name="T0" fmla="*/ 48 w 52"/>
                  <a:gd name="T1" fmla="*/ 5 h 64"/>
                  <a:gd name="T2" fmla="*/ 26 w 52"/>
                  <a:gd name="T3" fmla="*/ 0 h 64"/>
                  <a:gd name="T4" fmla="*/ 4 w 52"/>
                  <a:gd name="T5" fmla="*/ 5 h 64"/>
                  <a:gd name="T6" fmla="*/ 0 w 52"/>
                  <a:gd name="T7" fmla="*/ 10 h 64"/>
                  <a:gd name="T8" fmla="*/ 0 w 52"/>
                  <a:gd name="T9" fmla="*/ 54 h 64"/>
                  <a:gd name="T10" fmla="*/ 4 w 52"/>
                  <a:gd name="T11" fmla="*/ 59 h 64"/>
                  <a:gd name="T12" fmla="*/ 26 w 52"/>
                  <a:gd name="T13" fmla="*/ 64 h 64"/>
                  <a:gd name="T14" fmla="*/ 48 w 52"/>
                  <a:gd name="T15" fmla="*/ 59 h 64"/>
                  <a:gd name="T16" fmla="*/ 52 w 52"/>
                  <a:gd name="T17" fmla="*/ 54 h 64"/>
                  <a:gd name="T18" fmla="*/ 52 w 52"/>
                  <a:gd name="T19" fmla="*/ 10 h 64"/>
                  <a:gd name="T20" fmla="*/ 48 w 52"/>
                  <a:gd name="T21" fmla="*/ 5 h 64"/>
                  <a:gd name="T22" fmla="*/ 48 w 52"/>
                  <a:gd name="T23" fmla="*/ 54 h 64"/>
                  <a:gd name="T24" fmla="*/ 26 w 52"/>
                  <a:gd name="T25" fmla="*/ 60 h 64"/>
                  <a:gd name="T26" fmla="*/ 4 w 52"/>
                  <a:gd name="T27" fmla="*/ 54 h 64"/>
                  <a:gd name="T28" fmla="*/ 4 w 52"/>
                  <a:gd name="T29" fmla="*/ 43 h 64"/>
                  <a:gd name="T30" fmla="*/ 26 w 52"/>
                  <a:gd name="T31" fmla="*/ 48 h 64"/>
                  <a:gd name="T32" fmla="*/ 48 w 52"/>
                  <a:gd name="T33" fmla="*/ 43 h 64"/>
                  <a:gd name="T34" fmla="*/ 48 w 52"/>
                  <a:gd name="T35" fmla="*/ 54 h 64"/>
                  <a:gd name="T36" fmla="*/ 48 w 52"/>
                  <a:gd name="T37" fmla="*/ 38 h 64"/>
                  <a:gd name="T38" fmla="*/ 26 w 52"/>
                  <a:gd name="T39" fmla="*/ 44 h 64"/>
                  <a:gd name="T40" fmla="*/ 4 w 52"/>
                  <a:gd name="T41" fmla="*/ 38 h 64"/>
                  <a:gd name="T42" fmla="*/ 4 w 52"/>
                  <a:gd name="T43" fmla="*/ 29 h 64"/>
                  <a:gd name="T44" fmla="*/ 26 w 52"/>
                  <a:gd name="T45" fmla="*/ 34 h 64"/>
                  <a:gd name="T46" fmla="*/ 48 w 52"/>
                  <a:gd name="T47" fmla="*/ 29 h 64"/>
                  <a:gd name="T48" fmla="*/ 48 w 52"/>
                  <a:gd name="T49" fmla="*/ 38 h 64"/>
                  <a:gd name="T50" fmla="*/ 48 w 52"/>
                  <a:gd name="T51" fmla="*/ 24 h 64"/>
                  <a:gd name="T52" fmla="*/ 26 w 52"/>
                  <a:gd name="T53" fmla="*/ 30 h 64"/>
                  <a:gd name="T54" fmla="*/ 4 w 52"/>
                  <a:gd name="T55" fmla="*/ 24 h 64"/>
                  <a:gd name="T56" fmla="*/ 4 w 52"/>
                  <a:gd name="T57" fmla="*/ 15 h 64"/>
                  <a:gd name="T58" fmla="*/ 26 w 52"/>
                  <a:gd name="T59" fmla="*/ 20 h 64"/>
                  <a:gd name="T60" fmla="*/ 48 w 52"/>
                  <a:gd name="T61" fmla="*/ 15 h 64"/>
                  <a:gd name="T62" fmla="*/ 48 w 52"/>
                  <a:gd name="T63" fmla="*/ 24 h 64"/>
                  <a:gd name="T64" fmla="*/ 26 w 52"/>
                  <a:gd name="T65" fmla="*/ 16 h 64"/>
                  <a:gd name="T66" fmla="*/ 4 w 52"/>
                  <a:gd name="T67" fmla="*/ 10 h 64"/>
                  <a:gd name="T68" fmla="*/ 26 w 52"/>
                  <a:gd name="T69" fmla="*/ 4 h 64"/>
                  <a:gd name="T70" fmla="*/ 48 w 52"/>
                  <a:gd name="T71" fmla="*/ 10 h 64"/>
                  <a:gd name="T72" fmla="*/ 26 w 52"/>
                  <a:gd name="T7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48" y="5"/>
                    </a:moveTo>
                    <a:cubicBezTo>
                      <a:pt x="44" y="2"/>
                      <a:pt x="36" y="0"/>
                      <a:pt x="26" y="0"/>
                    </a:cubicBezTo>
                    <a:cubicBezTo>
                      <a:pt x="17" y="0"/>
                      <a:pt x="9" y="2"/>
                      <a:pt x="4" y="5"/>
                    </a:cubicBezTo>
                    <a:cubicBezTo>
                      <a:pt x="2" y="6"/>
                      <a:pt x="0" y="8"/>
                      <a:pt x="0" y="10"/>
                    </a:cubicBezTo>
                    <a:cubicBezTo>
                      <a:pt x="0" y="54"/>
                      <a:pt x="0" y="54"/>
                      <a:pt x="0" y="54"/>
                    </a:cubicBezTo>
                    <a:cubicBezTo>
                      <a:pt x="0" y="56"/>
                      <a:pt x="2" y="58"/>
                      <a:pt x="4" y="59"/>
                    </a:cubicBezTo>
                    <a:cubicBezTo>
                      <a:pt x="9" y="62"/>
                      <a:pt x="17" y="64"/>
                      <a:pt x="26" y="64"/>
                    </a:cubicBezTo>
                    <a:cubicBezTo>
                      <a:pt x="36" y="64"/>
                      <a:pt x="44" y="62"/>
                      <a:pt x="48" y="59"/>
                    </a:cubicBezTo>
                    <a:cubicBezTo>
                      <a:pt x="51" y="58"/>
                      <a:pt x="52" y="56"/>
                      <a:pt x="52" y="54"/>
                    </a:cubicBezTo>
                    <a:cubicBezTo>
                      <a:pt x="52" y="10"/>
                      <a:pt x="52" y="10"/>
                      <a:pt x="52" y="10"/>
                    </a:cubicBezTo>
                    <a:cubicBezTo>
                      <a:pt x="52" y="8"/>
                      <a:pt x="51" y="6"/>
                      <a:pt x="48" y="5"/>
                    </a:cubicBezTo>
                    <a:close/>
                    <a:moveTo>
                      <a:pt x="48" y="54"/>
                    </a:moveTo>
                    <a:cubicBezTo>
                      <a:pt x="48" y="56"/>
                      <a:pt x="40" y="60"/>
                      <a:pt x="26" y="60"/>
                    </a:cubicBezTo>
                    <a:cubicBezTo>
                      <a:pt x="13" y="60"/>
                      <a:pt x="5" y="56"/>
                      <a:pt x="4" y="54"/>
                    </a:cubicBezTo>
                    <a:cubicBezTo>
                      <a:pt x="4" y="43"/>
                      <a:pt x="4" y="43"/>
                      <a:pt x="4" y="43"/>
                    </a:cubicBezTo>
                    <a:cubicBezTo>
                      <a:pt x="9" y="46"/>
                      <a:pt x="17" y="48"/>
                      <a:pt x="26" y="48"/>
                    </a:cubicBezTo>
                    <a:cubicBezTo>
                      <a:pt x="36" y="48"/>
                      <a:pt x="44" y="46"/>
                      <a:pt x="48" y="43"/>
                    </a:cubicBezTo>
                    <a:lnTo>
                      <a:pt x="48" y="54"/>
                    </a:lnTo>
                    <a:close/>
                    <a:moveTo>
                      <a:pt x="48" y="38"/>
                    </a:moveTo>
                    <a:cubicBezTo>
                      <a:pt x="48" y="40"/>
                      <a:pt x="40" y="44"/>
                      <a:pt x="26" y="44"/>
                    </a:cubicBezTo>
                    <a:cubicBezTo>
                      <a:pt x="13" y="44"/>
                      <a:pt x="5" y="40"/>
                      <a:pt x="4" y="38"/>
                    </a:cubicBezTo>
                    <a:cubicBezTo>
                      <a:pt x="4" y="29"/>
                      <a:pt x="4" y="29"/>
                      <a:pt x="4" y="29"/>
                    </a:cubicBezTo>
                    <a:cubicBezTo>
                      <a:pt x="9" y="32"/>
                      <a:pt x="17" y="34"/>
                      <a:pt x="26" y="34"/>
                    </a:cubicBezTo>
                    <a:cubicBezTo>
                      <a:pt x="36" y="34"/>
                      <a:pt x="44" y="32"/>
                      <a:pt x="48" y="29"/>
                    </a:cubicBezTo>
                    <a:lnTo>
                      <a:pt x="48" y="38"/>
                    </a:lnTo>
                    <a:close/>
                    <a:moveTo>
                      <a:pt x="48" y="24"/>
                    </a:moveTo>
                    <a:cubicBezTo>
                      <a:pt x="48" y="26"/>
                      <a:pt x="40" y="30"/>
                      <a:pt x="26" y="30"/>
                    </a:cubicBezTo>
                    <a:cubicBezTo>
                      <a:pt x="13" y="30"/>
                      <a:pt x="5" y="26"/>
                      <a:pt x="4" y="24"/>
                    </a:cubicBezTo>
                    <a:cubicBezTo>
                      <a:pt x="4" y="15"/>
                      <a:pt x="4" y="15"/>
                      <a:pt x="4" y="15"/>
                    </a:cubicBezTo>
                    <a:cubicBezTo>
                      <a:pt x="9" y="18"/>
                      <a:pt x="17" y="20"/>
                      <a:pt x="26" y="20"/>
                    </a:cubicBezTo>
                    <a:cubicBezTo>
                      <a:pt x="36" y="20"/>
                      <a:pt x="44" y="18"/>
                      <a:pt x="48" y="15"/>
                    </a:cubicBezTo>
                    <a:lnTo>
                      <a:pt x="48" y="24"/>
                    </a:ln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000"/>
              </a:p>
            </p:txBody>
          </p:sp>
          <p:sp>
            <p:nvSpPr>
              <p:cNvPr id="127" name="ZoneTexte 126">
                <a:extLst>
                  <a:ext uri="{FF2B5EF4-FFF2-40B4-BE49-F238E27FC236}">
                    <a16:creationId xmlns:a16="http://schemas.microsoft.com/office/drawing/2014/main" id="{1ABDD21B-644D-4890-9E3C-557D98C0CAF0}"/>
                  </a:ext>
                </a:extLst>
              </p:cNvPr>
              <p:cNvSpPr txBox="1"/>
              <p:nvPr/>
            </p:nvSpPr>
            <p:spPr>
              <a:xfrm>
                <a:off x="6588325" y="3457834"/>
                <a:ext cx="860292" cy="3693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Data Base </a:t>
                </a:r>
                <a:r>
                  <a:rPr lang="en-GB" sz="900" err="1">
                    <a:solidFill>
                      <a:schemeClr val="tx2"/>
                    </a:solidFill>
                    <a:latin typeface="Trebuchet MS" panose="020B0603020202020204" pitchFamily="34" charset="0"/>
                  </a:rPr>
                  <a:t>InduiD</a:t>
                </a:r>
                <a:endParaRPr lang="en-GB" sz="900">
                  <a:solidFill>
                    <a:schemeClr val="tx2"/>
                  </a:solidFill>
                  <a:latin typeface="Trebuchet MS" panose="020B0603020202020204" pitchFamily="34" charset="0"/>
                </a:endParaRPr>
              </a:p>
            </p:txBody>
          </p:sp>
          <p:sp>
            <p:nvSpPr>
              <p:cNvPr id="128" name="Freeform 8">
                <a:extLst>
                  <a:ext uri="{FF2B5EF4-FFF2-40B4-BE49-F238E27FC236}">
                    <a16:creationId xmlns:a16="http://schemas.microsoft.com/office/drawing/2014/main" id="{693C5788-4771-4823-9A8D-A419E6E593A1}"/>
                  </a:ext>
                </a:extLst>
              </p:cNvPr>
              <p:cNvSpPr>
                <a:spLocks noEditPoints="1"/>
              </p:cNvSpPr>
              <p:nvPr/>
            </p:nvSpPr>
            <p:spPr bwMode="auto">
              <a:xfrm>
                <a:off x="7805779" y="3272735"/>
                <a:ext cx="210000" cy="251795"/>
              </a:xfrm>
              <a:custGeom>
                <a:avLst/>
                <a:gdLst>
                  <a:gd name="T0" fmla="*/ 48 w 52"/>
                  <a:gd name="T1" fmla="*/ 5 h 64"/>
                  <a:gd name="T2" fmla="*/ 26 w 52"/>
                  <a:gd name="T3" fmla="*/ 0 h 64"/>
                  <a:gd name="T4" fmla="*/ 4 w 52"/>
                  <a:gd name="T5" fmla="*/ 5 h 64"/>
                  <a:gd name="T6" fmla="*/ 0 w 52"/>
                  <a:gd name="T7" fmla="*/ 10 h 64"/>
                  <a:gd name="T8" fmla="*/ 0 w 52"/>
                  <a:gd name="T9" fmla="*/ 54 h 64"/>
                  <a:gd name="T10" fmla="*/ 4 w 52"/>
                  <a:gd name="T11" fmla="*/ 59 h 64"/>
                  <a:gd name="T12" fmla="*/ 26 w 52"/>
                  <a:gd name="T13" fmla="*/ 64 h 64"/>
                  <a:gd name="T14" fmla="*/ 48 w 52"/>
                  <a:gd name="T15" fmla="*/ 59 h 64"/>
                  <a:gd name="T16" fmla="*/ 52 w 52"/>
                  <a:gd name="T17" fmla="*/ 54 h 64"/>
                  <a:gd name="T18" fmla="*/ 52 w 52"/>
                  <a:gd name="T19" fmla="*/ 10 h 64"/>
                  <a:gd name="T20" fmla="*/ 48 w 52"/>
                  <a:gd name="T21" fmla="*/ 5 h 64"/>
                  <a:gd name="T22" fmla="*/ 48 w 52"/>
                  <a:gd name="T23" fmla="*/ 54 h 64"/>
                  <a:gd name="T24" fmla="*/ 26 w 52"/>
                  <a:gd name="T25" fmla="*/ 60 h 64"/>
                  <a:gd name="T26" fmla="*/ 4 w 52"/>
                  <a:gd name="T27" fmla="*/ 54 h 64"/>
                  <a:gd name="T28" fmla="*/ 4 w 52"/>
                  <a:gd name="T29" fmla="*/ 43 h 64"/>
                  <a:gd name="T30" fmla="*/ 26 w 52"/>
                  <a:gd name="T31" fmla="*/ 48 h 64"/>
                  <a:gd name="T32" fmla="*/ 48 w 52"/>
                  <a:gd name="T33" fmla="*/ 43 h 64"/>
                  <a:gd name="T34" fmla="*/ 48 w 52"/>
                  <a:gd name="T35" fmla="*/ 54 h 64"/>
                  <a:gd name="T36" fmla="*/ 48 w 52"/>
                  <a:gd name="T37" fmla="*/ 38 h 64"/>
                  <a:gd name="T38" fmla="*/ 26 w 52"/>
                  <a:gd name="T39" fmla="*/ 44 h 64"/>
                  <a:gd name="T40" fmla="*/ 4 w 52"/>
                  <a:gd name="T41" fmla="*/ 38 h 64"/>
                  <a:gd name="T42" fmla="*/ 4 w 52"/>
                  <a:gd name="T43" fmla="*/ 29 h 64"/>
                  <a:gd name="T44" fmla="*/ 26 w 52"/>
                  <a:gd name="T45" fmla="*/ 34 h 64"/>
                  <a:gd name="T46" fmla="*/ 48 w 52"/>
                  <a:gd name="T47" fmla="*/ 29 h 64"/>
                  <a:gd name="T48" fmla="*/ 48 w 52"/>
                  <a:gd name="T49" fmla="*/ 38 h 64"/>
                  <a:gd name="T50" fmla="*/ 48 w 52"/>
                  <a:gd name="T51" fmla="*/ 24 h 64"/>
                  <a:gd name="T52" fmla="*/ 26 w 52"/>
                  <a:gd name="T53" fmla="*/ 30 h 64"/>
                  <a:gd name="T54" fmla="*/ 4 w 52"/>
                  <a:gd name="T55" fmla="*/ 24 h 64"/>
                  <a:gd name="T56" fmla="*/ 4 w 52"/>
                  <a:gd name="T57" fmla="*/ 15 h 64"/>
                  <a:gd name="T58" fmla="*/ 26 w 52"/>
                  <a:gd name="T59" fmla="*/ 20 h 64"/>
                  <a:gd name="T60" fmla="*/ 48 w 52"/>
                  <a:gd name="T61" fmla="*/ 15 h 64"/>
                  <a:gd name="T62" fmla="*/ 48 w 52"/>
                  <a:gd name="T63" fmla="*/ 24 h 64"/>
                  <a:gd name="T64" fmla="*/ 26 w 52"/>
                  <a:gd name="T65" fmla="*/ 16 h 64"/>
                  <a:gd name="T66" fmla="*/ 4 w 52"/>
                  <a:gd name="T67" fmla="*/ 10 h 64"/>
                  <a:gd name="T68" fmla="*/ 26 w 52"/>
                  <a:gd name="T69" fmla="*/ 4 h 64"/>
                  <a:gd name="T70" fmla="*/ 48 w 52"/>
                  <a:gd name="T71" fmla="*/ 10 h 64"/>
                  <a:gd name="T72" fmla="*/ 26 w 52"/>
                  <a:gd name="T7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48" y="5"/>
                    </a:moveTo>
                    <a:cubicBezTo>
                      <a:pt x="44" y="2"/>
                      <a:pt x="36" y="0"/>
                      <a:pt x="26" y="0"/>
                    </a:cubicBezTo>
                    <a:cubicBezTo>
                      <a:pt x="17" y="0"/>
                      <a:pt x="9" y="2"/>
                      <a:pt x="4" y="5"/>
                    </a:cubicBezTo>
                    <a:cubicBezTo>
                      <a:pt x="2" y="6"/>
                      <a:pt x="0" y="8"/>
                      <a:pt x="0" y="10"/>
                    </a:cubicBezTo>
                    <a:cubicBezTo>
                      <a:pt x="0" y="54"/>
                      <a:pt x="0" y="54"/>
                      <a:pt x="0" y="54"/>
                    </a:cubicBezTo>
                    <a:cubicBezTo>
                      <a:pt x="0" y="56"/>
                      <a:pt x="2" y="58"/>
                      <a:pt x="4" y="59"/>
                    </a:cubicBezTo>
                    <a:cubicBezTo>
                      <a:pt x="9" y="62"/>
                      <a:pt x="17" y="64"/>
                      <a:pt x="26" y="64"/>
                    </a:cubicBezTo>
                    <a:cubicBezTo>
                      <a:pt x="36" y="64"/>
                      <a:pt x="44" y="62"/>
                      <a:pt x="48" y="59"/>
                    </a:cubicBezTo>
                    <a:cubicBezTo>
                      <a:pt x="51" y="58"/>
                      <a:pt x="52" y="56"/>
                      <a:pt x="52" y="54"/>
                    </a:cubicBezTo>
                    <a:cubicBezTo>
                      <a:pt x="52" y="10"/>
                      <a:pt x="52" y="10"/>
                      <a:pt x="52" y="10"/>
                    </a:cubicBezTo>
                    <a:cubicBezTo>
                      <a:pt x="52" y="8"/>
                      <a:pt x="51" y="6"/>
                      <a:pt x="48" y="5"/>
                    </a:cubicBezTo>
                    <a:close/>
                    <a:moveTo>
                      <a:pt x="48" y="54"/>
                    </a:moveTo>
                    <a:cubicBezTo>
                      <a:pt x="48" y="56"/>
                      <a:pt x="40" y="60"/>
                      <a:pt x="26" y="60"/>
                    </a:cubicBezTo>
                    <a:cubicBezTo>
                      <a:pt x="13" y="60"/>
                      <a:pt x="5" y="56"/>
                      <a:pt x="4" y="54"/>
                    </a:cubicBezTo>
                    <a:cubicBezTo>
                      <a:pt x="4" y="43"/>
                      <a:pt x="4" y="43"/>
                      <a:pt x="4" y="43"/>
                    </a:cubicBezTo>
                    <a:cubicBezTo>
                      <a:pt x="9" y="46"/>
                      <a:pt x="17" y="48"/>
                      <a:pt x="26" y="48"/>
                    </a:cubicBezTo>
                    <a:cubicBezTo>
                      <a:pt x="36" y="48"/>
                      <a:pt x="44" y="46"/>
                      <a:pt x="48" y="43"/>
                    </a:cubicBezTo>
                    <a:lnTo>
                      <a:pt x="48" y="54"/>
                    </a:lnTo>
                    <a:close/>
                    <a:moveTo>
                      <a:pt x="48" y="38"/>
                    </a:moveTo>
                    <a:cubicBezTo>
                      <a:pt x="48" y="40"/>
                      <a:pt x="40" y="44"/>
                      <a:pt x="26" y="44"/>
                    </a:cubicBezTo>
                    <a:cubicBezTo>
                      <a:pt x="13" y="44"/>
                      <a:pt x="5" y="40"/>
                      <a:pt x="4" y="38"/>
                    </a:cubicBezTo>
                    <a:cubicBezTo>
                      <a:pt x="4" y="29"/>
                      <a:pt x="4" y="29"/>
                      <a:pt x="4" y="29"/>
                    </a:cubicBezTo>
                    <a:cubicBezTo>
                      <a:pt x="9" y="32"/>
                      <a:pt x="17" y="34"/>
                      <a:pt x="26" y="34"/>
                    </a:cubicBezTo>
                    <a:cubicBezTo>
                      <a:pt x="36" y="34"/>
                      <a:pt x="44" y="32"/>
                      <a:pt x="48" y="29"/>
                    </a:cubicBezTo>
                    <a:lnTo>
                      <a:pt x="48" y="38"/>
                    </a:lnTo>
                    <a:close/>
                    <a:moveTo>
                      <a:pt x="48" y="24"/>
                    </a:moveTo>
                    <a:cubicBezTo>
                      <a:pt x="48" y="26"/>
                      <a:pt x="40" y="30"/>
                      <a:pt x="26" y="30"/>
                    </a:cubicBezTo>
                    <a:cubicBezTo>
                      <a:pt x="13" y="30"/>
                      <a:pt x="5" y="26"/>
                      <a:pt x="4" y="24"/>
                    </a:cubicBezTo>
                    <a:cubicBezTo>
                      <a:pt x="4" y="15"/>
                      <a:pt x="4" y="15"/>
                      <a:pt x="4" y="15"/>
                    </a:cubicBezTo>
                    <a:cubicBezTo>
                      <a:pt x="9" y="18"/>
                      <a:pt x="17" y="20"/>
                      <a:pt x="26" y="20"/>
                    </a:cubicBezTo>
                    <a:cubicBezTo>
                      <a:pt x="36" y="20"/>
                      <a:pt x="44" y="18"/>
                      <a:pt x="48" y="15"/>
                    </a:cubicBezTo>
                    <a:lnTo>
                      <a:pt x="48" y="24"/>
                    </a:ln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000"/>
              </a:p>
            </p:txBody>
          </p:sp>
          <p:sp>
            <p:nvSpPr>
              <p:cNvPr id="129" name="ZoneTexte 128">
                <a:extLst>
                  <a:ext uri="{FF2B5EF4-FFF2-40B4-BE49-F238E27FC236}">
                    <a16:creationId xmlns:a16="http://schemas.microsoft.com/office/drawing/2014/main" id="{00B164D5-08CB-46A4-88D1-02974D73F51B}"/>
                  </a:ext>
                </a:extLst>
              </p:cNvPr>
              <p:cNvSpPr txBox="1"/>
              <p:nvPr/>
            </p:nvSpPr>
            <p:spPr>
              <a:xfrm>
                <a:off x="7477151" y="3527084"/>
                <a:ext cx="860292" cy="2308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Data Base …</a:t>
                </a:r>
              </a:p>
            </p:txBody>
          </p:sp>
          <p:sp>
            <p:nvSpPr>
              <p:cNvPr id="130" name="Freeform 8">
                <a:extLst>
                  <a:ext uri="{FF2B5EF4-FFF2-40B4-BE49-F238E27FC236}">
                    <a16:creationId xmlns:a16="http://schemas.microsoft.com/office/drawing/2014/main" id="{5CFBDF14-B8DC-49D0-8B9C-6760D81F6B7A}"/>
                  </a:ext>
                </a:extLst>
              </p:cNvPr>
              <p:cNvSpPr>
                <a:spLocks noEditPoints="1"/>
              </p:cNvSpPr>
              <p:nvPr/>
            </p:nvSpPr>
            <p:spPr bwMode="auto">
              <a:xfrm>
                <a:off x="8710805" y="3272735"/>
                <a:ext cx="210000" cy="251795"/>
              </a:xfrm>
              <a:custGeom>
                <a:avLst/>
                <a:gdLst>
                  <a:gd name="T0" fmla="*/ 48 w 52"/>
                  <a:gd name="T1" fmla="*/ 5 h 64"/>
                  <a:gd name="T2" fmla="*/ 26 w 52"/>
                  <a:gd name="T3" fmla="*/ 0 h 64"/>
                  <a:gd name="T4" fmla="*/ 4 w 52"/>
                  <a:gd name="T5" fmla="*/ 5 h 64"/>
                  <a:gd name="T6" fmla="*/ 0 w 52"/>
                  <a:gd name="T7" fmla="*/ 10 h 64"/>
                  <a:gd name="T8" fmla="*/ 0 w 52"/>
                  <a:gd name="T9" fmla="*/ 54 h 64"/>
                  <a:gd name="T10" fmla="*/ 4 w 52"/>
                  <a:gd name="T11" fmla="*/ 59 h 64"/>
                  <a:gd name="T12" fmla="*/ 26 w 52"/>
                  <a:gd name="T13" fmla="*/ 64 h 64"/>
                  <a:gd name="T14" fmla="*/ 48 w 52"/>
                  <a:gd name="T15" fmla="*/ 59 h 64"/>
                  <a:gd name="T16" fmla="*/ 52 w 52"/>
                  <a:gd name="T17" fmla="*/ 54 h 64"/>
                  <a:gd name="T18" fmla="*/ 52 w 52"/>
                  <a:gd name="T19" fmla="*/ 10 h 64"/>
                  <a:gd name="T20" fmla="*/ 48 w 52"/>
                  <a:gd name="T21" fmla="*/ 5 h 64"/>
                  <a:gd name="T22" fmla="*/ 48 w 52"/>
                  <a:gd name="T23" fmla="*/ 54 h 64"/>
                  <a:gd name="T24" fmla="*/ 26 w 52"/>
                  <a:gd name="T25" fmla="*/ 60 h 64"/>
                  <a:gd name="T26" fmla="*/ 4 w 52"/>
                  <a:gd name="T27" fmla="*/ 54 h 64"/>
                  <a:gd name="T28" fmla="*/ 4 w 52"/>
                  <a:gd name="T29" fmla="*/ 43 h 64"/>
                  <a:gd name="T30" fmla="*/ 26 w 52"/>
                  <a:gd name="T31" fmla="*/ 48 h 64"/>
                  <a:gd name="T32" fmla="*/ 48 w 52"/>
                  <a:gd name="T33" fmla="*/ 43 h 64"/>
                  <a:gd name="T34" fmla="*/ 48 w 52"/>
                  <a:gd name="T35" fmla="*/ 54 h 64"/>
                  <a:gd name="T36" fmla="*/ 48 w 52"/>
                  <a:gd name="T37" fmla="*/ 38 h 64"/>
                  <a:gd name="T38" fmla="*/ 26 w 52"/>
                  <a:gd name="T39" fmla="*/ 44 h 64"/>
                  <a:gd name="T40" fmla="*/ 4 w 52"/>
                  <a:gd name="T41" fmla="*/ 38 h 64"/>
                  <a:gd name="T42" fmla="*/ 4 w 52"/>
                  <a:gd name="T43" fmla="*/ 29 h 64"/>
                  <a:gd name="T44" fmla="*/ 26 w 52"/>
                  <a:gd name="T45" fmla="*/ 34 h 64"/>
                  <a:gd name="T46" fmla="*/ 48 w 52"/>
                  <a:gd name="T47" fmla="*/ 29 h 64"/>
                  <a:gd name="T48" fmla="*/ 48 w 52"/>
                  <a:gd name="T49" fmla="*/ 38 h 64"/>
                  <a:gd name="T50" fmla="*/ 48 w 52"/>
                  <a:gd name="T51" fmla="*/ 24 h 64"/>
                  <a:gd name="T52" fmla="*/ 26 w 52"/>
                  <a:gd name="T53" fmla="*/ 30 h 64"/>
                  <a:gd name="T54" fmla="*/ 4 w 52"/>
                  <a:gd name="T55" fmla="*/ 24 h 64"/>
                  <a:gd name="T56" fmla="*/ 4 w 52"/>
                  <a:gd name="T57" fmla="*/ 15 h 64"/>
                  <a:gd name="T58" fmla="*/ 26 w 52"/>
                  <a:gd name="T59" fmla="*/ 20 h 64"/>
                  <a:gd name="T60" fmla="*/ 48 w 52"/>
                  <a:gd name="T61" fmla="*/ 15 h 64"/>
                  <a:gd name="T62" fmla="*/ 48 w 52"/>
                  <a:gd name="T63" fmla="*/ 24 h 64"/>
                  <a:gd name="T64" fmla="*/ 26 w 52"/>
                  <a:gd name="T65" fmla="*/ 16 h 64"/>
                  <a:gd name="T66" fmla="*/ 4 w 52"/>
                  <a:gd name="T67" fmla="*/ 10 h 64"/>
                  <a:gd name="T68" fmla="*/ 26 w 52"/>
                  <a:gd name="T69" fmla="*/ 4 h 64"/>
                  <a:gd name="T70" fmla="*/ 48 w 52"/>
                  <a:gd name="T71" fmla="*/ 10 h 64"/>
                  <a:gd name="T72" fmla="*/ 26 w 52"/>
                  <a:gd name="T7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48" y="5"/>
                    </a:moveTo>
                    <a:cubicBezTo>
                      <a:pt x="44" y="2"/>
                      <a:pt x="36" y="0"/>
                      <a:pt x="26" y="0"/>
                    </a:cubicBezTo>
                    <a:cubicBezTo>
                      <a:pt x="17" y="0"/>
                      <a:pt x="9" y="2"/>
                      <a:pt x="4" y="5"/>
                    </a:cubicBezTo>
                    <a:cubicBezTo>
                      <a:pt x="2" y="6"/>
                      <a:pt x="0" y="8"/>
                      <a:pt x="0" y="10"/>
                    </a:cubicBezTo>
                    <a:cubicBezTo>
                      <a:pt x="0" y="54"/>
                      <a:pt x="0" y="54"/>
                      <a:pt x="0" y="54"/>
                    </a:cubicBezTo>
                    <a:cubicBezTo>
                      <a:pt x="0" y="56"/>
                      <a:pt x="2" y="58"/>
                      <a:pt x="4" y="59"/>
                    </a:cubicBezTo>
                    <a:cubicBezTo>
                      <a:pt x="9" y="62"/>
                      <a:pt x="17" y="64"/>
                      <a:pt x="26" y="64"/>
                    </a:cubicBezTo>
                    <a:cubicBezTo>
                      <a:pt x="36" y="64"/>
                      <a:pt x="44" y="62"/>
                      <a:pt x="48" y="59"/>
                    </a:cubicBezTo>
                    <a:cubicBezTo>
                      <a:pt x="51" y="58"/>
                      <a:pt x="52" y="56"/>
                      <a:pt x="52" y="54"/>
                    </a:cubicBezTo>
                    <a:cubicBezTo>
                      <a:pt x="52" y="10"/>
                      <a:pt x="52" y="10"/>
                      <a:pt x="52" y="10"/>
                    </a:cubicBezTo>
                    <a:cubicBezTo>
                      <a:pt x="52" y="8"/>
                      <a:pt x="51" y="6"/>
                      <a:pt x="48" y="5"/>
                    </a:cubicBezTo>
                    <a:close/>
                    <a:moveTo>
                      <a:pt x="48" y="54"/>
                    </a:moveTo>
                    <a:cubicBezTo>
                      <a:pt x="48" y="56"/>
                      <a:pt x="40" y="60"/>
                      <a:pt x="26" y="60"/>
                    </a:cubicBezTo>
                    <a:cubicBezTo>
                      <a:pt x="13" y="60"/>
                      <a:pt x="5" y="56"/>
                      <a:pt x="4" y="54"/>
                    </a:cubicBezTo>
                    <a:cubicBezTo>
                      <a:pt x="4" y="43"/>
                      <a:pt x="4" y="43"/>
                      <a:pt x="4" y="43"/>
                    </a:cubicBezTo>
                    <a:cubicBezTo>
                      <a:pt x="9" y="46"/>
                      <a:pt x="17" y="48"/>
                      <a:pt x="26" y="48"/>
                    </a:cubicBezTo>
                    <a:cubicBezTo>
                      <a:pt x="36" y="48"/>
                      <a:pt x="44" y="46"/>
                      <a:pt x="48" y="43"/>
                    </a:cubicBezTo>
                    <a:lnTo>
                      <a:pt x="48" y="54"/>
                    </a:lnTo>
                    <a:close/>
                    <a:moveTo>
                      <a:pt x="48" y="38"/>
                    </a:moveTo>
                    <a:cubicBezTo>
                      <a:pt x="48" y="40"/>
                      <a:pt x="40" y="44"/>
                      <a:pt x="26" y="44"/>
                    </a:cubicBezTo>
                    <a:cubicBezTo>
                      <a:pt x="13" y="44"/>
                      <a:pt x="5" y="40"/>
                      <a:pt x="4" y="38"/>
                    </a:cubicBezTo>
                    <a:cubicBezTo>
                      <a:pt x="4" y="29"/>
                      <a:pt x="4" y="29"/>
                      <a:pt x="4" y="29"/>
                    </a:cubicBezTo>
                    <a:cubicBezTo>
                      <a:pt x="9" y="32"/>
                      <a:pt x="17" y="34"/>
                      <a:pt x="26" y="34"/>
                    </a:cubicBezTo>
                    <a:cubicBezTo>
                      <a:pt x="36" y="34"/>
                      <a:pt x="44" y="32"/>
                      <a:pt x="48" y="29"/>
                    </a:cubicBezTo>
                    <a:lnTo>
                      <a:pt x="48" y="38"/>
                    </a:lnTo>
                    <a:close/>
                    <a:moveTo>
                      <a:pt x="48" y="24"/>
                    </a:moveTo>
                    <a:cubicBezTo>
                      <a:pt x="48" y="26"/>
                      <a:pt x="40" y="30"/>
                      <a:pt x="26" y="30"/>
                    </a:cubicBezTo>
                    <a:cubicBezTo>
                      <a:pt x="13" y="30"/>
                      <a:pt x="5" y="26"/>
                      <a:pt x="4" y="24"/>
                    </a:cubicBezTo>
                    <a:cubicBezTo>
                      <a:pt x="4" y="15"/>
                      <a:pt x="4" y="15"/>
                      <a:pt x="4" y="15"/>
                    </a:cubicBezTo>
                    <a:cubicBezTo>
                      <a:pt x="9" y="18"/>
                      <a:pt x="17" y="20"/>
                      <a:pt x="26" y="20"/>
                    </a:cubicBezTo>
                    <a:cubicBezTo>
                      <a:pt x="36" y="20"/>
                      <a:pt x="44" y="18"/>
                      <a:pt x="48" y="15"/>
                    </a:cubicBezTo>
                    <a:lnTo>
                      <a:pt x="48" y="24"/>
                    </a:ln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solidFill>
                <a:schemeClr val="tx2"/>
              </a:solidFill>
              <a:ln>
                <a:solidFill>
                  <a:schemeClr val="tx2"/>
                </a:solidFill>
              </a:ln>
            </p:spPr>
            <p:txBody>
              <a:bodyPr vert="horz" wrap="square" lIns="91440" tIns="45720" rIns="91440" bIns="45720" numCol="1" anchor="t" anchorCtr="0" compatLnSpc="1">
                <a:prstTxWarp prst="textNoShape">
                  <a:avLst/>
                </a:prstTxWarp>
              </a:bodyPr>
              <a:lstStyle/>
              <a:p>
                <a:endParaRPr lang="en-GB" sz="1000"/>
              </a:p>
            </p:txBody>
          </p:sp>
          <p:sp>
            <p:nvSpPr>
              <p:cNvPr id="131" name="ZoneTexte 130">
                <a:extLst>
                  <a:ext uri="{FF2B5EF4-FFF2-40B4-BE49-F238E27FC236}">
                    <a16:creationId xmlns:a16="http://schemas.microsoft.com/office/drawing/2014/main" id="{E61982D1-2984-49C5-84F5-AEC79EF1F3EB}"/>
                  </a:ext>
                </a:extLst>
              </p:cNvPr>
              <p:cNvSpPr txBox="1"/>
              <p:nvPr/>
            </p:nvSpPr>
            <p:spPr>
              <a:xfrm>
                <a:off x="8382177" y="3457834"/>
                <a:ext cx="860292" cy="369332"/>
              </a:xfrm>
              <a:prstGeom prst="rect">
                <a:avLst/>
              </a:prstGeom>
              <a:noFill/>
            </p:spPr>
            <p:txBody>
              <a:bodyPr wrap="square" rtlCol="0" anchor="ctr">
                <a:spAutoFit/>
              </a:bodyPr>
              <a:lstStyle/>
              <a:p>
                <a:pPr algn="ctr"/>
                <a:r>
                  <a:rPr lang="en-GB" sz="900">
                    <a:latin typeface="Trebuchet MS" panose="020B0603020202020204" pitchFamily="34" charset="0"/>
                  </a:rPr>
                  <a:t>D&amp;B </a:t>
                </a:r>
              </a:p>
              <a:p>
                <a:pPr algn="ctr"/>
                <a:r>
                  <a:rPr lang="en-GB" sz="900">
                    <a:latin typeface="Trebuchet MS" panose="020B0603020202020204" pitchFamily="34" charset="0"/>
                  </a:rPr>
                  <a:t>Data Base</a:t>
                </a:r>
              </a:p>
            </p:txBody>
          </p:sp>
          <p:sp>
            <p:nvSpPr>
              <p:cNvPr id="136" name="Rectangle 135">
                <a:extLst>
                  <a:ext uri="{FF2B5EF4-FFF2-40B4-BE49-F238E27FC236}">
                    <a16:creationId xmlns:a16="http://schemas.microsoft.com/office/drawing/2014/main" id="{1CE689E2-50F4-46A3-9268-EABC8E7F6192}"/>
                  </a:ext>
                </a:extLst>
              </p:cNvPr>
              <p:cNvSpPr/>
              <p:nvPr/>
            </p:nvSpPr>
            <p:spPr bwMode="auto">
              <a:xfrm>
                <a:off x="6383256" y="1623974"/>
                <a:ext cx="819974" cy="547986"/>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u="none" strike="noStrike" cap="none" normalizeH="0" baseline="0">
                  <a:ln>
                    <a:noFill/>
                  </a:ln>
                  <a:solidFill>
                    <a:schemeClr val="tx2"/>
                  </a:solidFill>
                  <a:effectLst/>
                  <a:latin typeface="Trebuchet MS" pitchFamily="34" charset="0"/>
                </a:endParaRPr>
              </a:p>
            </p:txBody>
          </p:sp>
          <p:pic>
            <p:nvPicPr>
              <p:cNvPr id="138" name="Picture 2" descr="IndueD - La conformité simplifiée - KYC | Altares DB France">
                <a:extLst>
                  <a:ext uri="{FF2B5EF4-FFF2-40B4-BE49-F238E27FC236}">
                    <a16:creationId xmlns:a16="http://schemas.microsoft.com/office/drawing/2014/main" id="{AE8E3572-C493-47AC-894B-EEC5DB3331E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52835" y="1808306"/>
                <a:ext cx="489513" cy="168393"/>
              </a:xfrm>
              <a:prstGeom prst="rect">
                <a:avLst/>
              </a:prstGeom>
              <a:noFill/>
              <a:extLst>
                <a:ext uri="{909E8E84-426E-40DD-AFC4-6F175D3DCCD1}">
                  <a14:hiddenFill xmlns:a14="http://schemas.microsoft.com/office/drawing/2010/main">
                    <a:solidFill>
                      <a:srgbClr val="FFFFFF"/>
                    </a:solidFill>
                  </a14:hiddenFill>
                </a:ext>
              </a:extLst>
            </p:spPr>
          </p:pic>
          <p:sp>
            <p:nvSpPr>
              <p:cNvPr id="139" name="Rectangle 138">
                <a:extLst>
                  <a:ext uri="{FF2B5EF4-FFF2-40B4-BE49-F238E27FC236}">
                    <a16:creationId xmlns:a16="http://schemas.microsoft.com/office/drawing/2014/main" id="{1EFDEA6A-2D9A-4054-9E8C-AF6B8B8FC710}"/>
                  </a:ext>
                </a:extLst>
              </p:cNvPr>
              <p:cNvSpPr/>
              <p:nvPr/>
            </p:nvSpPr>
            <p:spPr bwMode="auto">
              <a:xfrm>
                <a:off x="7605759" y="1623973"/>
                <a:ext cx="819974" cy="547986"/>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u="none" strike="noStrike" cap="none" normalizeH="0" baseline="0">
                    <a:ln>
                      <a:noFill/>
                    </a:ln>
                    <a:solidFill>
                      <a:schemeClr val="tx2"/>
                    </a:solidFill>
                    <a:effectLst/>
                    <a:latin typeface="Trebuchet MS" pitchFamily="34" charset="0"/>
                  </a:rPr>
                  <a:t>…</a:t>
                </a:r>
              </a:p>
            </p:txBody>
          </p:sp>
          <p:sp>
            <p:nvSpPr>
              <p:cNvPr id="140" name="Rectangle 139">
                <a:extLst>
                  <a:ext uri="{FF2B5EF4-FFF2-40B4-BE49-F238E27FC236}">
                    <a16:creationId xmlns:a16="http://schemas.microsoft.com/office/drawing/2014/main" id="{E298535D-2E44-46AF-856B-1ADFE2149868}"/>
                  </a:ext>
                </a:extLst>
              </p:cNvPr>
              <p:cNvSpPr/>
              <p:nvPr/>
            </p:nvSpPr>
            <p:spPr bwMode="auto">
              <a:xfrm>
                <a:off x="8828261" y="1623973"/>
                <a:ext cx="819974" cy="54798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itchFamily="34" charset="0"/>
                  </a:rPr>
                  <a:t>D&amp;B Products</a:t>
                </a:r>
              </a:p>
            </p:txBody>
          </p:sp>
          <p:sp>
            <p:nvSpPr>
              <p:cNvPr id="166" name="Rectangle 165">
                <a:extLst>
                  <a:ext uri="{FF2B5EF4-FFF2-40B4-BE49-F238E27FC236}">
                    <a16:creationId xmlns:a16="http://schemas.microsoft.com/office/drawing/2014/main" id="{4DE2F87D-3049-4749-8174-A83BCFF4FC7C}"/>
                  </a:ext>
                </a:extLst>
              </p:cNvPr>
              <p:cNvSpPr/>
              <p:nvPr/>
            </p:nvSpPr>
            <p:spPr bwMode="auto">
              <a:xfrm>
                <a:off x="6552568" y="2719688"/>
                <a:ext cx="629840" cy="104143"/>
              </a:xfrm>
              <a:prstGeom prst="rect">
                <a:avLst/>
              </a:prstGeom>
              <a:solidFill>
                <a:srgbClr val="007AA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26" name="Connecteur droit avec flèche 25">
                <a:extLst>
                  <a:ext uri="{FF2B5EF4-FFF2-40B4-BE49-F238E27FC236}">
                    <a16:creationId xmlns:a16="http://schemas.microsoft.com/office/drawing/2014/main" id="{B6CB9FDA-81B1-4C03-AE7A-D048927C5EE8}"/>
                  </a:ext>
                </a:extLst>
              </p:cNvPr>
              <p:cNvCxnSpPr>
                <a:cxnSpLocks/>
                <a:stCxn id="166" idx="2"/>
                <a:endCxn id="124" idx="1"/>
              </p:cNvCxnSpPr>
              <p:nvPr/>
            </p:nvCxnSpPr>
            <p:spPr bwMode="auto">
              <a:xfrm flipH="1">
                <a:off x="6098065" y="2823831"/>
                <a:ext cx="769423" cy="441830"/>
              </a:xfrm>
              <a:prstGeom prst="straightConnector1">
                <a:avLst/>
              </a:prstGeom>
              <a:solidFill>
                <a:schemeClr val="accent1"/>
              </a:solidFill>
              <a:ln w="9525" cap="flat" cmpd="sng" algn="ctr">
                <a:solidFill>
                  <a:schemeClr val="tx2"/>
                </a:solidFill>
                <a:prstDash val="solid"/>
                <a:round/>
                <a:headEnd type="oval"/>
                <a:tailEnd type="oval"/>
              </a:ln>
              <a:effectLst/>
            </p:spPr>
          </p:cxnSp>
          <p:cxnSp>
            <p:nvCxnSpPr>
              <p:cNvPr id="190" name="Connecteur droit avec flèche 189">
                <a:extLst>
                  <a:ext uri="{FF2B5EF4-FFF2-40B4-BE49-F238E27FC236}">
                    <a16:creationId xmlns:a16="http://schemas.microsoft.com/office/drawing/2014/main" id="{4E1E2489-DE86-48DD-BFB8-B80C232EAF0C}"/>
                  </a:ext>
                </a:extLst>
              </p:cNvPr>
              <p:cNvCxnSpPr>
                <a:cxnSpLocks/>
                <a:stCxn id="166" idx="2"/>
                <a:endCxn id="126" idx="1"/>
              </p:cNvCxnSpPr>
              <p:nvPr/>
            </p:nvCxnSpPr>
            <p:spPr bwMode="auto">
              <a:xfrm>
                <a:off x="6867488" y="2823831"/>
                <a:ext cx="154847" cy="452496"/>
              </a:xfrm>
              <a:prstGeom prst="straightConnector1">
                <a:avLst/>
              </a:prstGeom>
              <a:solidFill>
                <a:schemeClr val="accent1"/>
              </a:solidFill>
              <a:ln w="9525" cap="flat" cmpd="sng" algn="ctr">
                <a:solidFill>
                  <a:schemeClr val="tx2"/>
                </a:solidFill>
                <a:prstDash val="solid"/>
                <a:round/>
                <a:headEnd type="oval"/>
                <a:tailEnd type="oval"/>
              </a:ln>
              <a:effectLst/>
            </p:spPr>
          </p:cxnSp>
          <p:cxnSp>
            <p:nvCxnSpPr>
              <p:cNvPr id="193" name="Connecteur droit avec flèche 192">
                <a:extLst>
                  <a:ext uri="{FF2B5EF4-FFF2-40B4-BE49-F238E27FC236}">
                    <a16:creationId xmlns:a16="http://schemas.microsoft.com/office/drawing/2014/main" id="{744C141E-BEB5-4D97-8331-CC3CF44980CF}"/>
                  </a:ext>
                </a:extLst>
              </p:cNvPr>
              <p:cNvCxnSpPr>
                <a:cxnSpLocks/>
                <a:stCxn id="166" idx="2"/>
                <a:endCxn id="128" idx="1"/>
              </p:cNvCxnSpPr>
              <p:nvPr/>
            </p:nvCxnSpPr>
            <p:spPr bwMode="auto">
              <a:xfrm>
                <a:off x="6867488" y="2823831"/>
                <a:ext cx="1043291" cy="448904"/>
              </a:xfrm>
              <a:prstGeom prst="straightConnector1">
                <a:avLst/>
              </a:prstGeom>
              <a:solidFill>
                <a:schemeClr val="accent1"/>
              </a:solidFill>
              <a:ln w="9525" cap="flat" cmpd="sng" algn="ctr">
                <a:solidFill>
                  <a:schemeClr val="tx2"/>
                </a:solidFill>
                <a:prstDash val="solid"/>
                <a:round/>
                <a:headEnd type="oval"/>
                <a:tailEnd type="oval"/>
              </a:ln>
              <a:effectLst/>
            </p:spPr>
          </p:cxnSp>
          <p:cxnSp>
            <p:nvCxnSpPr>
              <p:cNvPr id="196" name="Connecteur droit avec flèche 195">
                <a:extLst>
                  <a:ext uri="{FF2B5EF4-FFF2-40B4-BE49-F238E27FC236}">
                    <a16:creationId xmlns:a16="http://schemas.microsoft.com/office/drawing/2014/main" id="{536C3B48-C823-411B-9F9E-F5FB3A587961}"/>
                  </a:ext>
                </a:extLst>
              </p:cNvPr>
              <p:cNvCxnSpPr>
                <a:cxnSpLocks/>
                <a:stCxn id="166" idx="2"/>
                <a:endCxn id="130" idx="1"/>
              </p:cNvCxnSpPr>
              <p:nvPr/>
            </p:nvCxnSpPr>
            <p:spPr bwMode="auto">
              <a:xfrm>
                <a:off x="6867488" y="2823831"/>
                <a:ext cx="1948317" cy="448904"/>
              </a:xfrm>
              <a:prstGeom prst="straightConnector1">
                <a:avLst/>
              </a:prstGeom>
              <a:solidFill>
                <a:schemeClr val="accent1"/>
              </a:solidFill>
              <a:ln w="9525" cap="flat" cmpd="sng" algn="ctr">
                <a:solidFill>
                  <a:schemeClr val="tx2"/>
                </a:solidFill>
                <a:prstDash val="solid"/>
                <a:round/>
                <a:headEnd type="oval"/>
                <a:tailEnd type="oval"/>
              </a:ln>
              <a:effectLst/>
            </p:spPr>
          </p:cxnSp>
          <p:cxnSp>
            <p:nvCxnSpPr>
              <p:cNvPr id="5126" name="Connecteur droit avec flèche 5125">
                <a:extLst>
                  <a:ext uri="{FF2B5EF4-FFF2-40B4-BE49-F238E27FC236}">
                    <a16:creationId xmlns:a16="http://schemas.microsoft.com/office/drawing/2014/main" id="{884173E7-021F-47A1-AA38-059E523B9782}"/>
                  </a:ext>
                </a:extLst>
              </p:cNvPr>
              <p:cNvCxnSpPr>
                <a:cxnSpLocks/>
                <a:stCxn id="116" idx="0"/>
                <a:endCxn id="113" idx="2"/>
              </p:cNvCxnSpPr>
              <p:nvPr/>
            </p:nvCxnSpPr>
            <p:spPr bwMode="auto">
              <a:xfrm flipV="1">
                <a:off x="7404494" y="3954377"/>
                <a:ext cx="0" cy="257135"/>
              </a:xfrm>
              <a:prstGeom prst="straightConnector1">
                <a:avLst/>
              </a:prstGeom>
              <a:solidFill>
                <a:schemeClr val="accent1"/>
              </a:solidFill>
              <a:ln w="9525" cap="flat" cmpd="sng" algn="ctr">
                <a:solidFill>
                  <a:schemeClr val="tx2"/>
                </a:solidFill>
                <a:prstDash val="solid"/>
                <a:round/>
                <a:headEnd type="none" w="med" len="med"/>
                <a:tailEnd type="triangle"/>
              </a:ln>
              <a:effectLst/>
            </p:spPr>
          </p:cxnSp>
          <p:cxnSp>
            <p:nvCxnSpPr>
              <p:cNvPr id="218" name="Connecteur droit avec flèche 217">
                <a:extLst>
                  <a:ext uri="{FF2B5EF4-FFF2-40B4-BE49-F238E27FC236}">
                    <a16:creationId xmlns:a16="http://schemas.microsoft.com/office/drawing/2014/main" id="{AB46D7B9-6D5E-42F6-89D4-A5B9DBD83DC4}"/>
                  </a:ext>
                </a:extLst>
              </p:cNvPr>
              <p:cNvCxnSpPr>
                <a:cxnSpLocks/>
                <a:stCxn id="166" idx="2"/>
                <a:endCxn id="121" idx="2"/>
              </p:cNvCxnSpPr>
              <p:nvPr/>
            </p:nvCxnSpPr>
            <p:spPr bwMode="auto">
              <a:xfrm flipH="1" flipV="1">
                <a:off x="5570740" y="2171960"/>
                <a:ext cx="1296748" cy="651871"/>
              </a:xfrm>
              <a:prstGeom prst="straightConnector1">
                <a:avLst/>
              </a:prstGeom>
              <a:solidFill>
                <a:schemeClr val="accent1"/>
              </a:solidFill>
              <a:ln w="9525" cap="flat" cmpd="sng" algn="ctr">
                <a:solidFill>
                  <a:schemeClr val="tx2"/>
                </a:solidFill>
                <a:prstDash val="solid"/>
                <a:round/>
                <a:headEnd type="oval"/>
                <a:tailEnd type="oval"/>
              </a:ln>
              <a:effectLst/>
            </p:spPr>
          </p:cxnSp>
          <p:cxnSp>
            <p:nvCxnSpPr>
              <p:cNvPr id="221" name="Connecteur droit avec flèche 220">
                <a:extLst>
                  <a:ext uri="{FF2B5EF4-FFF2-40B4-BE49-F238E27FC236}">
                    <a16:creationId xmlns:a16="http://schemas.microsoft.com/office/drawing/2014/main" id="{EF3347A6-1B63-4600-AFED-7FF11F305A4C}"/>
                  </a:ext>
                </a:extLst>
              </p:cNvPr>
              <p:cNvCxnSpPr>
                <a:cxnSpLocks/>
                <a:stCxn id="166" idx="2"/>
                <a:endCxn id="136" idx="2"/>
              </p:cNvCxnSpPr>
              <p:nvPr/>
            </p:nvCxnSpPr>
            <p:spPr bwMode="auto">
              <a:xfrm flipH="1" flipV="1">
                <a:off x="6793243" y="2171960"/>
                <a:ext cx="74245" cy="651871"/>
              </a:xfrm>
              <a:prstGeom prst="straightConnector1">
                <a:avLst/>
              </a:prstGeom>
              <a:solidFill>
                <a:schemeClr val="accent1"/>
              </a:solidFill>
              <a:ln w="9525" cap="flat" cmpd="sng" algn="ctr">
                <a:solidFill>
                  <a:schemeClr val="tx2"/>
                </a:solidFill>
                <a:prstDash val="solid"/>
                <a:round/>
                <a:headEnd type="oval"/>
                <a:tailEnd type="oval"/>
              </a:ln>
              <a:effectLst/>
            </p:spPr>
          </p:cxnSp>
          <p:cxnSp>
            <p:nvCxnSpPr>
              <p:cNvPr id="224" name="Connecteur droit avec flèche 223">
                <a:extLst>
                  <a:ext uri="{FF2B5EF4-FFF2-40B4-BE49-F238E27FC236}">
                    <a16:creationId xmlns:a16="http://schemas.microsoft.com/office/drawing/2014/main" id="{07013568-999E-49B9-A4AC-971D53C2CC85}"/>
                  </a:ext>
                </a:extLst>
              </p:cNvPr>
              <p:cNvCxnSpPr>
                <a:cxnSpLocks/>
                <a:stCxn id="166" idx="2"/>
                <a:endCxn id="139" idx="2"/>
              </p:cNvCxnSpPr>
              <p:nvPr/>
            </p:nvCxnSpPr>
            <p:spPr bwMode="auto">
              <a:xfrm flipV="1">
                <a:off x="6867488" y="2171959"/>
                <a:ext cx="1148258" cy="651872"/>
              </a:xfrm>
              <a:prstGeom prst="straightConnector1">
                <a:avLst/>
              </a:prstGeom>
              <a:solidFill>
                <a:schemeClr val="accent1"/>
              </a:solidFill>
              <a:ln w="9525" cap="flat" cmpd="sng" algn="ctr">
                <a:solidFill>
                  <a:schemeClr val="tx2"/>
                </a:solidFill>
                <a:prstDash val="solid"/>
                <a:round/>
                <a:headEnd type="oval"/>
                <a:tailEnd type="oval"/>
              </a:ln>
              <a:effectLst/>
            </p:spPr>
          </p:cxnSp>
        </p:grpSp>
      </p:grpSp>
      <p:pic>
        <p:nvPicPr>
          <p:cNvPr id="52231" name="Picture 7" descr="PostgreSQL utilisations avancées de generate_series pour générer du contenu  — Makina Corpus">
            <a:extLst>
              <a:ext uri="{FF2B5EF4-FFF2-40B4-BE49-F238E27FC236}">
                <a16:creationId xmlns:a16="http://schemas.microsoft.com/office/drawing/2014/main" id="{3F7C321F-F367-45AE-86AE-D9E288A08F4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944570" y="3779023"/>
            <a:ext cx="329047" cy="302723"/>
          </a:xfrm>
          <a:prstGeom prst="rect">
            <a:avLst/>
          </a:prstGeom>
          <a:noFill/>
          <a:extLst>
            <a:ext uri="{909E8E84-426E-40DD-AFC4-6F175D3DCCD1}">
              <a14:hiddenFill xmlns:a14="http://schemas.microsoft.com/office/drawing/2010/main">
                <a:solidFill>
                  <a:srgbClr val="FFFFFF"/>
                </a:solidFill>
              </a14:hiddenFill>
            </a:ext>
          </a:extLst>
        </p:spPr>
      </p:pic>
      <p:sp>
        <p:nvSpPr>
          <p:cNvPr id="88" name="ZoneTexte 87">
            <a:extLst>
              <a:ext uri="{FF2B5EF4-FFF2-40B4-BE49-F238E27FC236}">
                <a16:creationId xmlns:a16="http://schemas.microsoft.com/office/drawing/2014/main" id="{EC48B18B-8A39-45B2-9FE2-B38B8E9D5248}"/>
              </a:ext>
            </a:extLst>
          </p:cNvPr>
          <p:cNvSpPr txBox="1"/>
          <p:nvPr/>
        </p:nvSpPr>
        <p:spPr>
          <a:xfrm>
            <a:off x="2003657" y="1114091"/>
            <a:ext cx="1542410" cy="246221"/>
          </a:xfrm>
          <a:prstGeom prst="rect">
            <a:avLst/>
          </a:prstGeom>
          <a:noFill/>
        </p:spPr>
        <p:txBody>
          <a:bodyPr wrap="none" rtlCol="0" anchor="ctr">
            <a:spAutoFit/>
          </a:bodyPr>
          <a:lstStyle/>
          <a:p>
            <a:r>
              <a:rPr lang="en-GB" sz="1000" i="1">
                <a:solidFill>
                  <a:schemeClr val="tx2"/>
                </a:solidFill>
                <a:latin typeface="Trebuchet MS" panose="020B0603020202020204" pitchFamily="34" charset="0"/>
              </a:rPr>
              <a:t>Current IT architecture</a:t>
            </a:r>
          </a:p>
        </p:txBody>
      </p:sp>
      <p:grpSp>
        <p:nvGrpSpPr>
          <p:cNvPr id="105" name="Groupe 66">
            <a:extLst>
              <a:ext uri="{FF2B5EF4-FFF2-40B4-BE49-F238E27FC236}">
                <a16:creationId xmlns:a16="http://schemas.microsoft.com/office/drawing/2014/main" id="{AD21B5BB-212D-4690-AC4F-DC8714C71AE1}"/>
              </a:ext>
            </a:extLst>
          </p:cNvPr>
          <p:cNvGrpSpPr/>
          <p:nvPr/>
        </p:nvGrpSpPr>
        <p:grpSpPr>
          <a:xfrm>
            <a:off x="8448150" y="-11528"/>
            <a:ext cx="1435548" cy="588143"/>
            <a:chOff x="8448150" y="-11528"/>
            <a:chExt cx="1435548" cy="588143"/>
          </a:xfrm>
        </p:grpSpPr>
        <p:sp>
          <p:nvSpPr>
            <p:cNvPr id="106" name="Rectangle : coins arrondis 199">
              <a:extLst>
                <a:ext uri="{FF2B5EF4-FFF2-40B4-BE49-F238E27FC236}">
                  <a16:creationId xmlns:a16="http://schemas.microsoft.com/office/drawing/2014/main" id="{02CD6E62-7AB3-4C63-B1B9-65A9DB0621A7}"/>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7" name="Rectangle : coins arrondis 200">
              <a:extLst>
                <a:ext uri="{FF2B5EF4-FFF2-40B4-BE49-F238E27FC236}">
                  <a16:creationId xmlns:a16="http://schemas.microsoft.com/office/drawing/2014/main" id="{79047633-7EC8-4B3B-8EF6-5EED4B27A16D}"/>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8" name="Rectangle : coins arrondis 201">
              <a:extLst>
                <a:ext uri="{FF2B5EF4-FFF2-40B4-BE49-F238E27FC236}">
                  <a16:creationId xmlns:a16="http://schemas.microsoft.com/office/drawing/2014/main" id="{B13664D0-5A87-4CB1-8D07-FC8D124AB4D2}"/>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9" name="ZoneTexte 18">
              <a:extLst>
                <a:ext uri="{FF2B5EF4-FFF2-40B4-BE49-F238E27FC236}">
                  <a16:creationId xmlns:a16="http://schemas.microsoft.com/office/drawing/2014/main" id="{9A639CDA-C951-4E45-960A-80CE80C7E837}"/>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Operating model</a:t>
              </a:r>
            </a:p>
          </p:txBody>
        </p:sp>
        <p:pic>
          <p:nvPicPr>
            <p:cNvPr id="110" name="Graphique 128" descr="Jauge">
              <a:extLst>
                <a:ext uri="{FF2B5EF4-FFF2-40B4-BE49-F238E27FC236}">
                  <a16:creationId xmlns:a16="http://schemas.microsoft.com/office/drawing/2014/main" id="{0FBEC683-956F-4CF4-AAC1-770EE44F19A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53764" y="187516"/>
              <a:ext cx="234953" cy="218224"/>
            </a:xfrm>
            <a:prstGeom prst="rect">
              <a:avLst/>
            </a:prstGeom>
            <a:effectLst/>
          </p:spPr>
        </p:pic>
        <p:pic>
          <p:nvPicPr>
            <p:cNvPr id="111" name="Graphique 90" descr="Poignée de main">
              <a:extLst>
                <a:ext uri="{FF2B5EF4-FFF2-40B4-BE49-F238E27FC236}">
                  <a16:creationId xmlns:a16="http://schemas.microsoft.com/office/drawing/2014/main" id="{2470C173-7340-4F00-B3C1-9ED77608474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960868" y="152880"/>
              <a:ext cx="256313" cy="287496"/>
            </a:xfrm>
            <a:prstGeom prst="rect">
              <a:avLst/>
            </a:prstGeom>
            <a:effectLst/>
          </p:spPr>
        </p:pic>
        <p:pic>
          <p:nvPicPr>
            <p:cNvPr id="112" name="Graphique 96" descr="Mégaphone">
              <a:extLst>
                <a:ext uri="{FF2B5EF4-FFF2-40B4-BE49-F238E27FC236}">
                  <a16:creationId xmlns:a16="http://schemas.microsoft.com/office/drawing/2014/main" id="{27B95A35-0519-40FD-853F-AA2DE63AC59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389331" y="181519"/>
              <a:ext cx="233011" cy="216420"/>
            </a:xfrm>
            <a:prstGeom prst="rect">
              <a:avLst/>
            </a:prstGeom>
            <a:effectLst/>
          </p:spPr>
        </p:pic>
        <p:pic>
          <p:nvPicPr>
            <p:cNvPr id="114" name="Picture 2" descr="Drapeau France">
              <a:extLst>
                <a:ext uri="{FF2B5EF4-FFF2-40B4-BE49-F238E27FC236}">
                  <a16:creationId xmlns:a16="http://schemas.microsoft.com/office/drawing/2014/main" id="{89DE3DAB-DEA6-40F7-B59B-3D288690CB9A}"/>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15" name="Picture 2" descr="5 ft x 3 ft 150 x 90 cm-DRAPEAU BELGE Belgique 100% Polyester ...">
              <a:extLst>
                <a:ext uri="{FF2B5EF4-FFF2-40B4-BE49-F238E27FC236}">
                  <a16:creationId xmlns:a16="http://schemas.microsoft.com/office/drawing/2014/main" id="{44E3E7F2-B671-45DF-97E1-FD740587A29C}"/>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17" name="Picture 2 - 1" descr="Drapeau des Pays-Bas — Wikipédia">
              <a:extLst>
                <a:ext uri="{FF2B5EF4-FFF2-40B4-BE49-F238E27FC236}">
                  <a16:creationId xmlns:a16="http://schemas.microsoft.com/office/drawing/2014/main" id="{BD0757C2-83BB-4308-942D-034326197C79}"/>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18" name="Picture 2 - 2" descr="Drapeau du Luxembourg">
              <a:extLst>
                <a:ext uri="{FF2B5EF4-FFF2-40B4-BE49-F238E27FC236}">
                  <a16:creationId xmlns:a16="http://schemas.microsoft.com/office/drawing/2014/main" id="{36A14E29-EA85-428B-BCE2-42421743CBC4}"/>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19" name="ZoneTexte 18">
              <a:extLst>
                <a:ext uri="{FF2B5EF4-FFF2-40B4-BE49-F238E27FC236}">
                  <a16:creationId xmlns:a16="http://schemas.microsoft.com/office/drawing/2014/main" id="{2A9AF37D-BC56-415C-88E1-4A39E2ABC8F8}"/>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Datahub project</a:t>
              </a:r>
            </a:p>
          </p:txBody>
        </p:sp>
      </p:grpSp>
      <p:sp>
        <p:nvSpPr>
          <p:cNvPr id="89" name="Text Placeholder 2">
            <a:extLst>
              <a:ext uri="{FF2B5EF4-FFF2-40B4-BE49-F238E27FC236}">
                <a16:creationId xmlns:a16="http://schemas.microsoft.com/office/drawing/2014/main" id="{B891510A-F60C-4207-8B99-14CA4349A654}"/>
              </a:ext>
            </a:extLst>
          </p:cNvPr>
          <p:cNvSpPr>
            <a:spLocks noGrp="1"/>
          </p:cNvSpPr>
          <p:nvPr>
            <p:ph type="body" sz="quarter" idx="10"/>
          </p:nvPr>
        </p:nvSpPr>
        <p:spPr>
          <a:xfrm>
            <a:off x="1315274" y="6580025"/>
            <a:ext cx="7131600" cy="244800"/>
          </a:xfrm>
        </p:spPr>
        <p:txBody>
          <a:bodyPr/>
          <a:lstStyle/>
          <a:p>
            <a:r>
              <a:rPr lang="en-GB" sz="800" i="1" kern="0"/>
              <a:t>Sources: eleven research &amp; analysis, company data, interviews with management</a:t>
            </a:r>
          </a:p>
          <a:p>
            <a:endParaRPr lang="en-GB"/>
          </a:p>
        </p:txBody>
      </p:sp>
    </p:spTree>
    <p:extLst>
      <p:ext uri="{BB962C8B-B14F-4D97-AF65-F5344CB8AC3E}">
        <p14:creationId xmlns:p14="http://schemas.microsoft.com/office/powerpoint/2010/main" val="2858913777"/>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t 21" hidden="1">
            <a:extLst>
              <a:ext uri="{FF2B5EF4-FFF2-40B4-BE49-F238E27FC236}">
                <a16:creationId xmlns:a16="http://schemas.microsoft.com/office/drawing/2014/main" id="{3DD7E849-ED47-4715-B12A-ED6CFDE616BA}"/>
              </a:ext>
            </a:extLst>
          </p:cNvPr>
          <p:cNvGraphicFramePr>
            <a:graphicFrameLocks noChangeAspect="1"/>
          </p:cNvGraphicFramePr>
          <p:nvPr>
            <p:custDataLst>
              <p:tags r:id="rId1"/>
            </p:custDataLst>
            <p:extLst>
              <p:ext uri="{D42A27DB-BD31-4B8C-83A1-F6EECF244321}">
                <p14:modId xmlns:p14="http://schemas.microsoft.com/office/powerpoint/2010/main" val="2772569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22" name="Objet 21" hidden="1">
                        <a:extLst>
                          <a:ext uri="{FF2B5EF4-FFF2-40B4-BE49-F238E27FC236}">
                            <a16:creationId xmlns:a16="http://schemas.microsoft.com/office/drawing/2014/main" id="{3DD7E849-ED47-4715-B12A-ED6CFDE616B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FCCE2A74-0914-49FA-A9F8-4CA92AF47D8B}"/>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4365" name="Rectangle 14364">
            <a:extLst>
              <a:ext uri="{FF2B5EF4-FFF2-40B4-BE49-F238E27FC236}">
                <a16:creationId xmlns:a16="http://schemas.microsoft.com/office/drawing/2014/main" id="{5C3B6E0C-A045-481C-88E0-0A64F4CABC01}"/>
              </a:ext>
            </a:extLst>
          </p:cNvPr>
          <p:cNvSpPr/>
          <p:nvPr/>
        </p:nvSpPr>
        <p:spPr bwMode="auto">
          <a:xfrm>
            <a:off x="1049135" y="1196393"/>
            <a:ext cx="7538355" cy="4582174"/>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200" cap="small" err="1">
                <a:solidFill>
                  <a:schemeClr val="tx2"/>
                </a:solidFill>
                <a:latin typeface="Trebuchet MS" panose="020B0603020202020204" pitchFamily="34" charset="0"/>
              </a:rPr>
              <a:t>Altares</a:t>
            </a:r>
            <a:endParaRPr lang="en-GB" sz="1200" cap="small">
              <a:solidFill>
                <a:schemeClr val="tx2"/>
              </a:solidFill>
              <a:latin typeface="Trebuchet MS" panose="020B0603020202020204" pitchFamily="34" charset="0"/>
            </a:endParaRPr>
          </a:p>
        </p:txBody>
      </p:sp>
      <p:sp>
        <p:nvSpPr>
          <p:cNvPr id="151" name="Rectangle 150">
            <a:extLst>
              <a:ext uri="{FF2B5EF4-FFF2-40B4-BE49-F238E27FC236}">
                <a16:creationId xmlns:a16="http://schemas.microsoft.com/office/drawing/2014/main" id="{D1802E84-F32B-4F5B-9D93-B30EBF9A32B5}"/>
              </a:ext>
            </a:extLst>
          </p:cNvPr>
          <p:cNvSpPr/>
          <p:nvPr/>
        </p:nvSpPr>
        <p:spPr bwMode="auto">
          <a:xfrm>
            <a:off x="7479493" y="1443631"/>
            <a:ext cx="1019166" cy="421350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0" tIns="45720" rIns="91440" bIns="45720" numCol="1" rtlCol="0" anchor="t" anchorCtr="0" compatLnSpc="1">
            <a:prstTxWarp prst="textNoShape">
              <a:avLst/>
            </a:prstTxWarp>
          </a:bodyPr>
          <a:lstStyle/>
          <a:p>
            <a:pPr marL="144000" algn="ctr"/>
            <a:r>
              <a:rPr lang="en-GB" sz="900" b="1" i="1" dirty="0">
                <a:solidFill>
                  <a:schemeClr val="tx2"/>
                </a:solidFill>
                <a:latin typeface="Trebuchet MS" panose="020B0603020202020204" pitchFamily="34" charset="0"/>
              </a:rPr>
              <a:t>Offerings</a:t>
            </a:r>
          </a:p>
        </p:txBody>
      </p:sp>
      <p:sp>
        <p:nvSpPr>
          <p:cNvPr id="178" name="Titre 1">
            <a:extLst>
              <a:ext uri="{FF2B5EF4-FFF2-40B4-BE49-F238E27FC236}">
                <a16:creationId xmlns:a16="http://schemas.microsoft.com/office/drawing/2014/main" id="{A794636B-EC13-4E23-BA75-40709BF85190}"/>
              </a:ext>
            </a:extLst>
          </p:cNvPr>
          <p:cNvSpPr>
            <a:spLocks noGrp="1"/>
          </p:cNvSpPr>
          <p:nvPr>
            <p:ph type="title"/>
          </p:nvPr>
        </p:nvSpPr>
        <p:spPr>
          <a:xfrm>
            <a:off x="238900" y="147353"/>
            <a:ext cx="8227870" cy="607166"/>
          </a:xfrm>
        </p:spPr>
        <p:txBody>
          <a:bodyPr/>
          <a:lstStyle/>
          <a:p>
            <a:r>
              <a:rPr lang="en-GB" dirty="0" err="1">
                <a:solidFill>
                  <a:schemeClr val="tx2"/>
                </a:solidFill>
                <a:latin typeface="Trebuchet MS" panose="020B0603020202020204" pitchFamily="34" charset="0"/>
              </a:rPr>
              <a:t>Altares</a:t>
            </a:r>
            <a:r>
              <a:rPr lang="en-GB" dirty="0">
                <a:solidFill>
                  <a:schemeClr val="tx2"/>
                </a:solidFill>
                <a:latin typeface="Trebuchet MS" panose="020B0603020202020204" pitchFamily="34" charset="0"/>
              </a:rPr>
              <a:t>’ value proposition </a:t>
            </a:r>
            <a:r>
              <a:rPr lang="en-GB" dirty="0">
                <a:latin typeface="Trebuchet MS" panose="020B0603020202020204" pitchFamily="34" charset="0"/>
              </a:rPr>
              <a:t>consists in building, maintaining and enriching a </a:t>
            </a:r>
            <a:r>
              <a:rPr lang="en-GB" dirty="0">
                <a:solidFill>
                  <a:schemeClr val="tx2"/>
                </a:solidFill>
                <a:latin typeface="Trebuchet MS" panose="020B0603020202020204" pitchFamily="34" charset="0"/>
              </a:rPr>
              <a:t>global B2B database </a:t>
            </a:r>
            <a:r>
              <a:rPr lang="en-GB" dirty="0">
                <a:latin typeface="Trebuchet MS" panose="020B0603020202020204" pitchFamily="34" charset="0"/>
              </a:rPr>
              <a:t>and exploiting it through </a:t>
            </a:r>
            <a:r>
              <a:rPr lang="en-GB" dirty="0">
                <a:solidFill>
                  <a:schemeClr val="tx2"/>
                </a:solidFill>
                <a:latin typeface="Trebuchet MS" panose="020B0603020202020204" pitchFamily="34" charset="0"/>
              </a:rPr>
              <a:t>high-value services for B2B clients</a:t>
            </a:r>
          </a:p>
        </p:txBody>
      </p:sp>
      <p:sp>
        <p:nvSpPr>
          <p:cNvPr id="49" name="Rectangle 48">
            <a:extLst>
              <a:ext uri="{FF2B5EF4-FFF2-40B4-BE49-F238E27FC236}">
                <a16:creationId xmlns:a16="http://schemas.microsoft.com/office/drawing/2014/main" id="{492CADC2-90FC-4004-9044-7C2579A98F3E}"/>
              </a:ext>
            </a:extLst>
          </p:cNvPr>
          <p:cNvSpPr/>
          <p:nvPr/>
        </p:nvSpPr>
        <p:spPr bwMode="auto">
          <a:xfrm>
            <a:off x="8684319" y="1196392"/>
            <a:ext cx="1063044" cy="5266278"/>
          </a:xfrm>
          <a:prstGeom prst="rect">
            <a:avLst/>
          </a:prstGeom>
          <a:solidFill>
            <a:schemeClr val="bg1">
              <a:lumMod val="95000"/>
            </a:schemeClr>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050" cap="small">
                <a:solidFill>
                  <a:schemeClr val="accent1"/>
                </a:solidFill>
                <a:latin typeface="Trebuchet MS" panose="020B0603020202020204" pitchFamily="34" charset="0"/>
              </a:rPr>
              <a:t>B2B clients</a:t>
            </a:r>
            <a:endParaRPr lang="en-GB" sz="1200" cap="small">
              <a:solidFill>
                <a:schemeClr val="tx2"/>
              </a:solidFill>
              <a:latin typeface="Trebuchet MS" panose="020B0603020202020204" pitchFamily="34" charset="0"/>
            </a:endParaRPr>
          </a:p>
        </p:txBody>
      </p:sp>
      <p:sp>
        <p:nvSpPr>
          <p:cNvPr id="11" name="Rectangle 10">
            <a:extLst>
              <a:ext uri="{FF2B5EF4-FFF2-40B4-BE49-F238E27FC236}">
                <a16:creationId xmlns:a16="http://schemas.microsoft.com/office/drawing/2014/main" id="{6D33DE53-DFA3-4F0E-B13A-AD18B67CF67D}"/>
              </a:ext>
            </a:extLst>
          </p:cNvPr>
          <p:cNvSpPr/>
          <p:nvPr/>
        </p:nvSpPr>
        <p:spPr bwMode="auto">
          <a:xfrm>
            <a:off x="105936" y="1198486"/>
            <a:ext cx="858086" cy="5264178"/>
          </a:xfrm>
          <a:prstGeom prst="rect">
            <a:avLst/>
          </a:prstGeom>
          <a:solidFill>
            <a:schemeClr val="bg1">
              <a:lumMod val="95000"/>
            </a:schemeClr>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050" cap="small">
              <a:latin typeface="Trebuchet MS" panose="020B0603020202020204" pitchFamily="34" charset="0"/>
            </a:endParaRPr>
          </a:p>
        </p:txBody>
      </p:sp>
      <p:sp>
        <p:nvSpPr>
          <p:cNvPr id="105" name="Rectangle 104">
            <a:extLst>
              <a:ext uri="{FF2B5EF4-FFF2-40B4-BE49-F238E27FC236}">
                <a16:creationId xmlns:a16="http://schemas.microsoft.com/office/drawing/2014/main" id="{7BBE24FB-73D5-4B92-943A-0AC033535248}"/>
              </a:ext>
            </a:extLst>
          </p:cNvPr>
          <p:cNvSpPr/>
          <p:nvPr/>
        </p:nvSpPr>
        <p:spPr bwMode="auto">
          <a:xfrm>
            <a:off x="2309651" y="1443631"/>
            <a:ext cx="5113039" cy="421350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1" i="1" u="none" strike="noStrike" normalizeH="0">
                <a:ln>
                  <a:noFill/>
                </a:ln>
                <a:solidFill>
                  <a:schemeClr val="tx2"/>
                </a:solidFill>
                <a:effectLst/>
                <a:latin typeface="Trebuchet MS" panose="020B0603020202020204" pitchFamily="34" charset="0"/>
              </a:rPr>
              <a:t>Operating model</a:t>
            </a:r>
          </a:p>
        </p:txBody>
      </p:sp>
      <p:sp>
        <p:nvSpPr>
          <p:cNvPr id="157" name="Espace réservé du texte 3">
            <a:extLst>
              <a:ext uri="{FF2B5EF4-FFF2-40B4-BE49-F238E27FC236}">
                <a16:creationId xmlns:a16="http://schemas.microsoft.com/office/drawing/2014/main" id="{3D863372-F95F-4691-81AA-E536D07E16E4}"/>
              </a:ext>
            </a:extLst>
          </p:cNvPr>
          <p:cNvSpPr txBox="1">
            <a:spLocks/>
          </p:cNvSpPr>
          <p:nvPr/>
        </p:nvSpPr>
        <p:spPr>
          <a:xfrm>
            <a:off x="1315274" y="6580025"/>
            <a:ext cx="6871989" cy="244800"/>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GB"/>
              <a:t>Sources: eleven research &amp; analysis, company data, interviews with management</a:t>
            </a:r>
          </a:p>
          <a:p>
            <a:r>
              <a:rPr lang="en-GB"/>
              <a:t>* Under discussion</a:t>
            </a:r>
          </a:p>
        </p:txBody>
      </p:sp>
      <p:sp>
        <p:nvSpPr>
          <p:cNvPr id="121" name="Rectangle 120">
            <a:extLst>
              <a:ext uri="{FF2B5EF4-FFF2-40B4-BE49-F238E27FC236}">
                <a16:creationId xmlns:a16="http://schemas.microsoft.com/office/drawing/2014/main" id="{94A8A525-9B78-4EF6-BFFF-E467454BDB1D}"/>
              </a:ext>
            </a:extLst>
          </p:cNvPr>
          <p:cNvSpPr/>
          <p:nvPr/>
        </p:nvSpPr>
        <p:spPr bwMode="auto">
          <a:xfrm>
            <a:off x="2422282" y="2446997"/>
            <a:ext cx="4903904" cy="1468011"/>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GB" sz="1000" b="1" i="1" err="1">
                <a:solidFill>
                  <a:schemeClr val="tx2"/>
                </a:solidFill>
                <a:latin typeface="Trebuchet MS" panose="020B0603020202020204" pitchFamily="34" charset="0"/>
              </a:rPr>
              <a:t>Altares</a:t>
            </a:r>
            <a:r>
              <a:rPr lang="en-GB" sz="1000" b="1" i="1">
                <a:solidFill>
                  <a:schemeClr val="tx2"/>
                </a:solidFill>
                <a:latin typeface="Trebuchet MS" panose="020B0603020202020204" pitchFamily="34" charset="0"/>
              </a:rPr>
              <a:t> « Data Factory »</a:t>
            </a:r>
            <a:endParaRPr kumimoji="0" lang="en-GB" sz="1000" b="1" i="1" u="none" strike="noStrike" cap="none" normalizeH="0" baseline="0">
              <a:ln>
                <a:noFill/>
              </a:ln>
              <a:solidFill>
                <a:schemeClr val="tx2"/>
              </a:solidFill>
              <a:effectLst/>
              <a:latin typeface="Trebuchet MS" panose="020B0603020202020204" pitchFamily="34" charset="0"/>
            </a:endParaRPr>
          </a:p>
        </p:txBody>
      </p:sp>
      <p:sp>
        <p:nvSpPr>
          <p:cNvPr id="122" name="Rectangle 121">
            <a:extLst>
              <a:ext uri="{FF2B5EF4-FFF2-40B4-BE49-F238E27FC236}">
                <a16:creationId xmlns:a16="http://schemas.microsoft.com/office/drawing/2014/main" id="{22AD2BEC-FBDF-4B3A-A215-55BC0DCCC5AA}"/>
              </a:ext>
            </a:extLst>
          </p:cNvPr>
          <p:cNvSpPr/>
          <p:nvPr/>
        </p:nvSpPr>
        <p:spPr bwMode="auto">
          <a:xfrm>
            <a:off x="2413219" y="4002816"/>
            <a:ext cx="4898477" cy="1469726"/>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err="1">
                <a:ln>
                  <a:noFill/>
                </a:ln>
                <a:solidFill>
                  <a:schemeClr val="tx2"/>
                </a:solidFill>
                <a:effectLst/>
                <a:latin typeface="Trebuchet MS" panose="020B0603020202020204" pitchFamily="34" charset="0"/>
              </a:rPr>
              <a:t>Altares</a:t>
            </a:r>
            <a:r>
              <a:rPr kumimoji="0" lang="en-GB" sz="1000" b="1" i="1" u="none" strike="noStrike" cap="none" normalizeH="0" baseline="0">
                <a:ln>
                  <a:noFill/>
                </a:ln>
                <a:solidFill>
                  <a:schemeClr val="tx2"/>
                </a:solidFill>
                <a:effectLst/>
                <a:latin typeface="Trebuchet MS" panose="020B0603020202020204" pitchFamily="34" charset="0"/>
              </a:rPr>
              <a:t> R&amp;D</a:t>
            </a:r>
          </a:p>
        </p:txBody>
      </p:sp>
      <p:sp>
        <p:nvSpPr>
          <p:cNvPr id="123" name="Chevron 69">
            <a:extLst>
              <a:ext uri="{FF2B5EF4-FFF2-40B4-BE49-F238E27FC236}">
                <a16:creationId xmlns:a16="http://schemas.microsoft.com/office/drawing/2014/main" id="{B4D7F55A-2EC2-4A59-8D17-5FABC7B4DA87}"/>
              </a:ext>
            </a:extLst>
          </p:cNvPr>
          <p:cNvSpPr/>
          <p:nvPr/>
        </p:nvSpPr>
        <p:spPr bwMode="auto">
          <a:xfrm>
            <a:off x="2545716"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Data collection</a:t>
            </a:r>
            <a:endParaRPr kumimoji="0" lang="en-GB" sz="500" b="1" i="1" u="none" strike="noStrike" kern="1200" cap="none" spc="0" normalizeH="0" baseline="0">
              <a:ln>
                <a:noFill/>
              </a:ln>
              <a:solidFill>
                <a:schemeClr val="bg1"/>
              </a:solidFill>
              <a:effectLst/>
              <a:uLnTx/>
              <a:uFillTx/>
              <a:latin typeface="Trebuchet MS" panose="020B0603020202020204" pitchFamily="34" charset="0"/>
            </a:endParaRPr>
          </a:p>
        </p:txBody>
      </p:sp>
      <p:cxnSp>
        <p:nvCxnSpPr>
          <p:cNvPr id="124" name="Straight Arrow Connector 29">
            <a:extLst>
              <a:ext uri="{FF2B5EF4-FFF2-40B4-BE49-F238E27FC236}">
                <a16:creationId xmlns:a16="http://schemas.microsoft.com/office/drawing/2014/main" id="{4625DF87-0042-4EBD-9A19-22551ED8F0B8}"/>
              </a:ext>
            </a:extLst>
          </p:cNvPr>
          <p:cNvCxnSpPr>
            <a:cxnSpLocks/>
          </p:cNvCxnSpPr>
          <p:nvPr/>
        </p:nvCxnSpPr>
        <p:spPr bwMode="auto">
          <a:xfrm flipH="1" flipV="1">
            <a:off x="2592226" y="2933219"/>
            <a:ext cx="2318047" cy="138"/>
          </a:xfrm>
          <a:prstGeom prst="straightConnector1">
            <a:avLst/>
          </a:prstGeom>
          <a:solidFill>
            <a:schemeClr val="accent1"/>
          </a:solidFill>
          <a:ln w="9525" cap="flat" cmpd="sng" algn="ctr">
            <a:solidFill>
              <a:schemeClr val="tx2"/>
            </a:solidFill>
            <a:prstDash val="solid"/>
            <a:round/>
            <a:headEnd type="triangle" w="med" len="med"/>
            <a:tailEnd type="triangle" w="med" len="med"/>
          </a:ln>
          <a:effectLst/>
        </p:spPr>
      </p:cxnSp>
      <p:sp>
        <p:nvSpPr>
          <p:cNvPr id="125" name="TextBox 30">
            <a:extLst>
              <a:ext uri="{FF2B5EF4-FFF2-40B4-BE49-F238E27FC236}">
                <a16:creationId xmlns:a16="http://schemas.microsoft.com/office/drawing/2014/main" id="{CB74B095-B5AD-40AD-9C7F-DC7B8B7BCE7D}"/>
              </a:ext>
            </a:extLst>
          </p:cNvPr>
          <p:cNvSpPr txBox="1"/>
          <p:nvPr/>
        </p:nvSpPr>
        <p:spPr>
          <a:xfrm>
            <a:off x="2876480" y="2775613"/>
            <a:ext cx="1474350" cy="338554"/>
          </a:xfrm>
          <a:prstGeom prst="rect">
            <a:avLst/>
          </a:prstGeom>
          <a:solidFill>
            <a:srgbClr val="E9F5EC"/>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0" i="1"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Upstream : data collect</a:t>
            </a:r>
            <a:r>
              <a:rPr lang="en-GB" sz="800" i="1">
                <a:solidFill>
                  <a:schemeClr val="tx2"/>
                </a:solidFill>
                <a:latin typeface="Trebuchet MS" panose="020B0603020202020204" pitchFamily="34" charset="0"/>
              </a:rPr>
              <a:t>ion and integration</a:t>
            </a:r>
            <a:endParaRPr kumimoji="0" lang="en-GB" sz="800" b="0" i="1" u="none" strike="noStrike" kern="1200" cap="none" spc="0" normalizeH="0" baseline="0" noProof="0">
              <a:ln>
                <a:noFill/>
              </a:ln>
              <a:solidFill>
                <a:schemeClr val="tx2"/>
              </a:solidFill>
              <a:effectLst/>
              <a:uLnTx/>
              <a:uFillTx/>
              <a:latin typeface="Trebuchet MS" panose="020B0603020202020204" pitchFamily="34" charset="0"/>
            </a:endParaRPr>
          </a:p>
        </p:txBody>
      </p:sp>
      <p:sp>
        <p:nvSpPr>
          <p:cNvPr id="134" name="Chevron 69">
            <a:extLst>
              <a:ext uri="{FF2B5EF4-FFF2-40B4-BE49-F238E27FC236}">
                <a16:creationId xmlns:a16="http://schemas.microsoft.com/office/drawing/2014/main" id="{85A6F0FB-6C89-4031-9C3F-C90C64559699}"/>
              </a:ext>
            </a:extLst>
          </p:cNvPr>
          <p:cNvSpPr/>
          <p:nvPr/>
        </p:nvSpPr>
        <p:spPr bwMode="auto">
          <a:xfrm>
            <a:off x="3321627"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Data cleaning and processing </a:t>
            </a:r>
            <a:endParaRPr kumimoji="0" lang="en-GB" sz="3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36" name="Chevron 69">
            <a:extLst>
              <a:ext uri="{FF2B5EF4-FFF2-40B4-BE49-F238E27FC236}">
                <a16:creationId xmlns:a16="http://schemas.microsoft.com/office/drawing/2014/main" id="{DB28B6C3-23E8-45FC-BB03-D56BE1CE69E0}"/>
              </a:ext>
            </a:extLst>
          </p:cNvPr>
          <p:cNvSpPr/>
          <p:nvPr/>
        </p:nvSpPr>
        <p:spPr bwMode="auto">
          <a:xfrm>
            <a:off x="4097538"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Data storage</a:t>
            </a:r>
            <a:endParaRPr kumimoji="0" lang="en-GB" sz="3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37" name="Chevron 69">
            <a:extLst>
              <a:ext uri="{FF2B5EF4-FFF2-40B4-BE49-F238E27FC236}">
                <a16:creationId xmlns:a16="http://schemas.microsoft.com/office/drawing/2014/main" id="{6BA8408C-192C-42D2-A3A9-AC748DDFA06D}"/>
              </a:ext>
            </a:extLst>
          </p:cNvPr>
          <p:cNvSpPr/>
          <p:nvPr/>
        </p:nvSpPr>
        <p:spPr bwMode="auto">
          <a:xfrm>
            <a:off x="4873449"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Data a</a:t>
            </a:r>
            <a:r>
              <a:rPr kumimoji="0" lang="en-GB" sz="8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nalysis and delivery fulfilment</a:t>
            </a:r>
            <a:endParaRPr kumimoji="0" lang="en-GB" sz="3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38" name="Chevron 69">
            <a:extLst>
              <a:ext uri="{FF2B5EF4-FFF2-40B4-BE49-F238E27FC236}">
                <a16:creationId xmlns:a16="http://schemas.microsoft.com/office/drawing/2014/main" id="{7882C86F-162D-49F2-BF7E-D4A99D5898D9}"/>
              </a:ext>
            </a:extLst>
          </p:cNvPr>
          <p:cNvSpPr/>
          <p:nvPr/>
        </p:nvSpPr>
        <p:spPr bwMode="auto">
          <a:xfrm>
            <a:off x="5649360"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Customer Onboarding and success</a:t>
            </a:r>
            <a:endParaRPr kumimoji="0" lang="en-GB" sz="3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39" name="Chevron 69">
            <a:extLst>
              <a:ext uri="{FF2B5EF4-FFF2-40B4-BE49-F238E27FC236}">
                <a16:creationId xmlns:a16="http://schemas.microsoft.com/office/drawing/2014/main" id="{37DDAE45-F48D-425E-9E9B-E54EC3E4BBB8}"/>
              </a:ext>
            </a:extLst>
          </p:cNvPr>
          <p:cNvSpPr/>
          <p:nvPr/>
        </p:nvSpPr>
        <p:spPr bwMode="auto">
          <a:xfrm>
            <a:off x="6425270"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Support </a:t>
            </a:r>
            <a:endParaRPr kumimoji="0" lang="en-GB" sz="300" b="1" i="1" u="none" strike="noStrike" kern="1200" cap="none" spc="0" normalizeH="0" baseline="0">
              <a:ln>
                <a:noFill/>
              </a:ln>
              <a:solidFill>
                <a:schemeClr val="bg1"/>
              </a:solidFill>
              <a:effectLst/>
              <a:uLnTx/>
              <a:uFillTx/>
              <a:latin typeface="Trebuchet MS" panose="020B0603020202020204" pitchFamily="34" charset="0"/>
            </a:endParaRPr>
          </a:p>
        </p:txBody>
      </p:sp>
      <p:cxnSp>
        <p:nvCxnSpPr>
          <p:cNvPr id="140" name="Straight Arrow Connector 29">
            <a:extLst>
              <a:ext uri="{FF2B5EF4-FFF2-40B4-BE49-F238E27FC236}">
                <a16:creationId xmlns:a16="http://schemas.microsoft.com/office/drawing/2014/main" id="{F7E8F919-5E47-40BA-BDCC-DEBC108DCAB5}"/>
              </a:ext>
            </a:extLst>
          </p:cNvPr>
          <p:cNvCxnSpPr>
            <a:cxnSpLocks/>
          </p:cNvCxnSpPr>
          <p:nvPr/>
        </p:nvCxnSpPr>
        <p:spPr bwMode="auto">
          <a:xfrm flipH="1">
            <a:off x="4967121" y="2926984"/>
            <a:ext cx="2274147" cy="6235"/>
          </a:xfrm>
          <a:prstGeom prst="straightConnector1">
            <a:avLst/>
          </a:prstGeom>
          <a:solidFill>
            <a:schemeClr val="accent1"/>
          </a:solidFill>
          <a:ln w="9525" cap="flat" cmpd="sng" algn="ctr">
            <a:solidFill>
              <a:schemeClr val="tx2"/>
            </a:solidFill>
            <a:prstDash val="solid"/>
            <a:round/>
            <a:headEnd type="triangle" w="med" len="med"/>
            <a:tailEnd type="triangle" w="med" len="med"/>
          </a:ln>
          <a:effectLst/>
        </p:spPr>
      </p:cxnSp>
      <p:sp>
        <p:nvSpPr>
          <p:cNvPr id="142" name="TextBox 17">
            <a:extLst>
              <a:ext uri="{FF2B5EF4-FFF2-40B4-BE49-F238E27FC236}">
                <a16:creationId xmlns:a16="http://schemas.microsoft.com/office/drawing/2014/main" id="{2249E4C2-4EE4-4859-BC82-3385EA488FE5}"/>
              </a:ext>
            </a:extLst>
          </p:cNvPr>
          <p:cNvSpPr txBox="1"/>
          <p:nvPr/>
        </p:nvSpPr>
        <p:spPr>
          <a:xfrm>
            <a:off x="5370138" y="2762924"/>
            <a:ext cx="1728176" cy="338554"/>
          </a:xfrm>
          <a:prstGeom prst="rect">
            <a:avLst/>
          </a:prstGeom>
          <a:solidFill>
            <a:srgbClr val="E9F5EC"/>
          </a:solidFill>
        </p:spPr>
        <p:txBody>
          <a:bodyPr wrap="square" lIns="0" rIns="0" rtlCol="0">
            <a:spAutoFit/>
          </a:bodyPr>
          <a:lstStyle>
            <a:defPPr>
              <a:defRPr lang="en-US"/>
            </a:defPPr>
            <a:lvl1pPr marL="0" marR="0" lvl="0" indent="0" algn="ctr" defTabSz="914400" eaLnBrk="1" latinLnBrk="0" hangingPunct="1">
              <a:lnSpc>
                <a:spcPct val="100000"/>
              </a:lnSpc>
              <a:buClrTx/>
              <a:buSzTx/>
              <a:buFontTx/>
              <a:buNone/>
              <a:tabLst/>
              <a:defRPr kumimoji="0" sz="1000" b="0" i="1" u="none" strike="noStrike" cap="none" spc="0" normalizeH="0" baseline="0">
                <a:ln>
                  <a:noFill/>
                </a:ln>
                <a:solidFill>
                  <a:schemeClr val="tx2"/>
                </a:solidFill>
                <a:effectLst/>
                <a:uLnTx/>
                <a:uFillTx/>
              </a:defRPr>
            </a:lvl1pPr>
          </a:lstStyle>
          <a:p>
            <a:r>
              <a:rPr lang="en-GB" sz="800">
                <a:latin typeface="Trebuchet MS" panose="020B0603020202020204" pitchFamily="34" charset="0"/>
              </a:rPr>
              <a:t>Downstream : data analysis and offer deployment</a:t>
            </a:r>
          </a:p>
        </p:txBody>
      </p:sp>
      <p:sp>
        <p:nvSpPr>
          <p:cNvPr id="144" name="Chevron 69">
            <a:extLst>
              <a:ext uri="{FF2B5EF4-FFF2-40B4-BE49-F238E27FC236}">
                <a16:creationId xmlns:a16="http://schemas.microsoft.com/office/drawing/2014/main" id="{F0643119-73CD-48AA-8979-551AF16926EE}"/>
              </a:ext>
            </a:extLst>
          </p:cNvPr>
          <p:cNvSpPr/>
          <p:nvPr/>
        </p:nvSpPr>
        <p:spPr bwMode="auto">
          <a:xfrm>
            <a:off x="2570410" y="4422101"/>
            <a:ext cx="1424784" cy="572596"/>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R&amp;D on data collection, cleaning, and enrichment (including NLP, data science…)</a:t>
            </a:r>
            <a:endParaRPr kumimoji="0" lang="en-GB" sz="3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45" name="Chevron 69">
            <a:extLst>
              <a:ext uri="{FF2B5EF4-FFF2-40B4-BE49-F238E27FC236}">
                <a16:creationId xmlns:a16="http://schemas.microsoft.com/office/drawing/2014/main" id="{D90F5170-87BF-47AF-A996-C99DC2035ECB}"/>
              </a:ext>
            </a:extLst>
          </p:cNvPr>
          <p:cNvSpPr/>
          <p:nvPr/>
        </p:nvSpPr>
        <p:spPr bwMode="auto">
          <a:xfrm>
            <a:off x="4817515" y="4422101"/>
            <a:ext cx="657840" cy="572596"/>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Scoring algorithm improvement </a:t>
            </a:r>
            <a:endParaRPr kumimoji="0" lang="en-GB" sz="3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46" name="Chevron 69">
            <a:extLst>
              <a:ext uri="{FF2B5EF4-FFF2-40B4-BE49-F238E27FC236}">
                <a16:creationId xmlns:a16="http://schemas.microsoft.com/office/drawing/2014/main" id="{55F79A4B-BD14-402D-82D1-8420EBABC9DA}"/>
              </a:ext>
            </a:extLst>
          </p:cNvPr>
          <p:cNvSpPr/>
          <p:nvPr/>
        </p:nvSpPr>
        <p:spPr bwMode="auto">
          <a:xfrm>
            <a:off x="5614729" y="4422101"/>
            <a:ext cx="657840" cy="572596"/>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Product IT development </a:t>
            </a:r>
            <a:endParaRPr kumimoji="0" lang="en-GB" sz="5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47" name="Chevron 69">
            <a:extLst>
              <a:ext uri="{FF2B5EF4-FFF2-40B4-BE49-F238E27FC236}">
                <a16:creationId xmlns:a16="http://schemas.microsoft.com/office/drawing/2014/main" id="{7CCD26F3-70C2-48E7-A4B1-0B563E5456DD}"/>
              </a:ext>
            </a:extLst>
          </p:cNvPr>
          <p:cNvSpPr/>
          <p:nvPr/>
        </p:nvSpPr>
        <p:spPr bwMode="auto">
          <a:xfrm>
            <a:off x="2532732" y="5090498"/>
            <a:ext cx="4372639" cy="220045"/>
          </a:xfrm>
          <a:prstGeom prst="leftRightArrow">
            <a:avLst>
              <a:gd name="adj1" fmla="val 100000"/>
              <a:gd name="adj2" fmla="val 50000"/>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Product / offer conception</a:t>
            </a:r>
            <a:endParaRPr kumimoji="0" lang="en-GB" sz="3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7" name="Rectangle 6">
            <a:extLst>
              <a:ext uri="{FF2B5EF4-FFF2-40B4-BE49-F238E27FC236}">
                <a16:creationId xmlns:a16="http://schemas.microsoft.com/office/drawing/2014/main" id="{4EB2C07D-20C7-4F02-A008-2EF35CDE37B7}"/>
              </a:ext>
            </a:extLst>
          </p:cNvPr>
          <p:cNvSpPr/>
          <p:nvPr/>
        </p:nvSpPr>
        <p:spPr bwMode="auto">
          <a:xfrm>
            <a:off x="8785077" y="2790755"/>
            <a:ext cx="904463" cy="1148400"/>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lang="en-GB" sz="900" b="1">
                <a:solidFill>
                  <a:schemeClr val="accent1"/>
                </a:solidFill>
                <a:latin typeface="Trebuchet MS" panose="020B0603020202020204" pitchFamily="34" charset="0"/>
              </a:rPr>
              <a:t>Key accounts </a:t>
            </a:r>
            <a:endParaRPr kumimoji="0" lang="en-GB" sz="900" i="0" u="none" strike="noStrike" cap="none" normalizeH="0" baseline="0">
              <a:ln>
                <a:noFill/>
              </a:ln>
              <a:solidFill>
                <a:schemeClr val="accent1"/>
              </a:solidFill>
              <a:effectLst/>
              <a:latin typeface="Trebuchet MS" panose="020B0603020202020204" pitchFamily="34" charset="0"/>
            </a:endParaRPr>
          </a:p>
        </p:txBody>
      </p:sp>
      <p:sp>
        <p:nvSpPr>
          <p:cNvPr id="8" name="Rectangle 7">
            <a:extLst>
              <a:ext uri="{FF2B5EF4-FFF2-40B4-BE49-F238E27FC236}">
                <a16:creationId xmlns:a16="http://schemas.microsoft.com/office/drawing/2014/main" id="{B96CD24F-CC3A-4923-8FD5-764716E82CE5}"/>
              </a:ext>
            </a:extLst>
          </p:cNvPr>
          <p:cNvSpPr/>
          <p:nvPr/>
        </p:nvSpPr>
        <p:spPr bwMode="auto">
          <a:xfrm>
            <a:off x="8777528" y="4021868"/>
            <a:ext cx="904463" cy="1148400"/>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lang="en-GB" sz="900" b="1">
                <a:solidFill>
                  <a:schemeClr val="accent1"/>
                </a:solidFill>
                <a:latin typeface="Trebuchet MS" panose="020B0603020202020204" pitchFamily="34" charset="0"/>
              </a:rPr>
              <a:t>Public </a:t>
            </a:r>
            <a:endParaRPr kumimoji="0" lang="en-GB" sz="900" b="1" i="0" u="none" strike="noStrike" cap="none" normalizeH="0" baseline="0">
              <a:ln>
                <a:noFill/>
              </a:ln>
              <a:solidFill>
                <a:schemeClr val="accent1"/>
              </a:solidFill>
              <a:effectLst/>
              <a:latin typeface="Trebuchet MS" panose="020B0603020202020204" pitchFamily="34" charset="0"/>
            </a:endParaRPr>
          </a:p>
        </p:txBody>
      </p:sp>
      <p:sp>
        <p:nvSpPr>
          <p:cNvPr id="13" name="Rectangle 12">
            <a:extLst>
              <a:ext uri="{FF2B5EF4-FFF2-40B4-BE49-F238E27FC236}">
                <a16:creationId xmlns:a16="http://schemas.microsoft.com/office/drawing/2014/main" id="{A88F0425-8083-4C04-8DB8-FECE07CEB102}"/>
              </a:ext>
            </a:extLst>
          </p:cNvPr>
          <p:cNvSpPr/>
          <p:nvPr/>
        </p:nvSpPr>
        <p:spPr bwMode="auto">
          <a:xfrm>
            <a:off x="9444261" y="3711059"/>
            <a:ext cx="258048" cy="196677"/>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0" i="0" u="none" strike="noStrike" normalizeH="0">
                <a:ln>
                  <a:noFill/>
                </a:ln>
                <a:effectLst/>
                <a:latin typeface="Trebuchet MS" panose="020B0603020202020204" pitchFamily="34" charset="0"/>
              </a:rPr>
              <a:t>…</a:t>
            </a:r>
          </a:p>
        </p:txBody>
      </p:sp>
      <p:pic>
        <p:nvPicPr>
          <p:cNvPr id="18" name="Picture 34" descr="Afficher l'image d'origine">
            <a:extLst>
              <a:ext uri="{FF2B5EF4-FFF2-40B4-BE49-F238E27FC236}">
                <a16:creationId xmlns:a16="http://schemas.microsoft.com/office/drawing/2014/main" id="{1AB21866-6F5E-4908-B6DF-15F2773568E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20295" y="2986831"/>
            <a:ext cx="234134" cy="23374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0" descr="Afficher l'image d'origine">
            <a:extLst>
              <a:ext uri="{FF2B5EF4-FFF2-40B4-BE49-F238E27FC236}">
                <a16:creationId xmlns:a16="http://schemas.microsoft.com/office/drawing/2014/main" id="{B76BF91A-17A4-41B3-9F1A-6D0E65CD7C9C}"/>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876471" y="3284676"/>
            <a:ext cx="664479" cy="268648"/>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a:extLst>
              <a:ext uri="{FF2B5EF4-FFF2-40B4-BE49-F238E27FC236}">
                <a16:creationId xmlns:a16="http://schemas.microsoft.com/office/drawing/2014/main" id="{2C7BF0A7-DCDE-4AE1-8576-C619A70E44A1}"/>
              </a:ext>
            </a:extLst>
          </p:cNvPr>
          <p:cNvSpPr/>
          <p:nvPr/>
        </p:nvSpPr>
        <p:spPr bwMode="auto">
          <a:xfrm>
            <a:off x="8779146" y="5252981"/>
            <a:ext cx="904463" cy="1148400"/>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lang="en-GB" sz="900" b="1">
                <a:solidFill>
                  <a:schemeClr val="accent1"/>
                </a:solidFill>
                <a:latin typeface="Trebuchet MS" panose="020B0603020202020204" pitchFamily="34" charset="0"/>
              </a:rPr>
              <a:t>Mid market</a:t>
            </a:r>
            <a:endParaRPr kumimoji="0" lang="en-GB" sz="900" b="1" i="0" u="none" strike="noStrike" cap="none" normalizeH="0" baseline="0">
              <a:ln>
                <a:noFill/>
              </a:ln>
              <a:solidFill>
                <a:schemeClr val="accent1"/>
              </a:solidFill>
              <a:effectLst/>
              <a:latin typeface="Trebuchet MS" panose="020B0603020202020204" pitchFamily="34" charset="0"/>
            </a:endParaRPr>
          </a:p>
        </p:txBody>
      </p:sp>
      <p:pic>
        <p:nvPicPr>
          <p:cNvPr id="37" name="Picture 2">
            <a:extLst>
              <a:ext uri="{FF2B5EF4-FFF2-40B4-BE49-F238E27FC236}">
                <a16:creationId xmlns:a16="http://schemas.microsoft.com/office/drawing/2014/main" id="{B8843041-BD68-4350-A03D-01ECA8C99FA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935625" y="3668453"/>
            <a:ext cx="590839" cy="185678"/>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9C048539-6A5D-47AC-B942-86F8D6245A3F}"/>
              </a:ext>
            </a:extLst>
          </p:cNvPr>
          <p:cNvSpPr/>
          <p:nvPr/>
        </p:nvSpPr>
        <p:spPr bwMode="auto">
          <a:xfrm>
            <a:off x="9434831" y="4964992"/>
            <a:ext cx="258048" cy="196677"/>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0" i="0" u="none" strike="noStrike" normalizeH="0">
                <a:ln>
                  <a:noFill/>
                </a:ln>
                <a:effectLst/>
                <a:latin typeface="Trebuchet MS" panose="020B0603020202020204" pitchFamily="34" charset="0"/>
              </a:rPr>
              <a:t>…</a:t>
            </a:r>
          </a:p>
        </p:txBody>
      </p:sp>
      <p:sp>
        <p:nvSpPr>
          <p:cNvPr id="45" name="Rectangle 44">
            <a:extLst>
              <a:ext uri="{FF2B5EF4-FFF2-40B4-BE49-F238E27FC236}">
                <a16:creationId xmlns:a16="http://schemas.microsoft.com/office/drawing/2014/main" id="{D5CF76D2-C2E1-4E18-BCFF-5105356A219B}"/>
              </a:ext>
            </a:extLst>
          </p:cNvPr>
          <p:cNvSpPr/>
          <p:nvPr/>
        </p:nvSpPr>
        <p:spPr bwMode="auto">
          <a:xfrm>
            <a:off x="9431492" y="6194584"/>
            <a:ext cx="258048" cy="196677"/>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0" i="0" u="none" strike="noStrike" normalizeH="0">
                <a:ln>
                  <a:noFill/>
                </a:ln>
                <a:effectLst/>
                <a:latin typeface="Trebuchet MS" panose="020B0603020202020204" pitchFamily="34" charset="0"/>
              </a:rPr>
              <a:t>…</a:t>
            </a:r>
          </a:p>
        </p:txBody>
      </p:sp>
      <p:pic>
        <p:nvPicPr>
          <p:cNvPr id="54" name="Picture 2" descr="upload.wikimedia.org/wikipedia/commons/thumb/8/...">
            <a:extLst>
              <a:ext uri="{FF2B5EF4-FFF2-40B4-BE49-F238E27FC236}">
                <a16:creationId xmlns:a16="http://schemas.microsoft.com/office/drawing/2014/main" id="{E92B7AB8-F1F9-407C-A4F2-920E29B4110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66596" y="4231052"/>
            <a:ext cx="377665" cy="262649"/>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a:extLst>
              <a:ext uri="{FF2B5EF4-FFF2-40B4-BE49-F238E27FC236}">
                <a16:creationId xmlns:a16="http://schemas.microsoft.com/office/drawing/2014/main" id="{6C62EA8C-4897-4CCB-A6FD-B7DAC81E57D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917985" y="4556540"/>
            <a:ext cx="594961" cy="195069"/>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a:extLst>
              <a:ext uri="{FF2B5EF4-FFF2-40B4-BE49-F238E27FC236}">
                <a16:creationId xmlns:a16="http://schemas.microsoft.com/office/drawing/2014/main" id="{B59ED5BC-280C-463D-ACCE-34C923A3DA6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070583" y="4842921"/>
            <a:ext cx="271452" cy="269978"/>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a:extLst>
              <a:ext uri="{FF2B5EF4-FFF2-40B4-BE49-F238E27FC236}">
                <a16:creationId xmlns:a16="http://schemas.microsoft.com/office/drawing/2014/main" id="{4BC5EFD0-6708-4F56-9412-1658E35EB73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121902" y="5547242"/>
            <a:ext cx="267429" cy="349568"/>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
            <a:extLst>
              <a:ext uri="{FF2B5EF4-FFF2-40B4-BE49-F238E27FC236}">
                <a16:creationId xmlns:a16="http://schemas.microsoft.com/office/drawing/2014/main" id="{941DD88E-7F3D-4E0E-AE81-4DD830ED51E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048475" y="6057925"/>
            <a:ext cx="377665" cy="212436"/>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Connecteur droit 16">
            <a:extLst>
              <a:ext uri="{FF2B5EF4-FFF2-40B4-BE49-F238E27FC236}">
                <a16:creationId xmlns:a16="http://schemas.microsoft.com/office/drawing/2014/main" id="{CA6BF227-00C0-40A7-9EAE-161FF0169A49}"/>
              </a:ext>
            </a:extLst>
          </p:cNvPr>
          <p:cNvCxnSpPr>
            <a:cxnSpLocks/>
          </p:cNvCxnSpPr>
          <p:nvPr/>
        </p:nvCxnSpPr>
        <p:spPr bwMode="auto">
          <a:xfrm>
            <a:off x="273000" y="1079433"/>
            <a:ext cx="9360000"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23" name="ZoneTexte 6">
            <a:extLst>
              <a:ext uri="{FF2B5EF4-FFF2-40B4-BE49-F238E27FC236}">
                <a16:creationId xmlns:a16="http://schemas.microsoft.com/office/drawing/2014/main" id="{4BE70A14-B636-4FD0-B19E-A770980674ED}"/>
              </a:ext>
            </a:extLst>
          </p:cNvPr>
          <p:cNvSpPr txBox="1"/>
          <p:nvPr/>
        </p:nvSpPr>
        <p:spPr>
          <a:xfrm>
            <a:off x="3101147" y="903780"/>
            <a:ext cx="3731708" cy="251817"/>
          </a:xfrm>
          <a:prstGeom prst="rect">
            <a:avLst/>
          </a:prstGeom>
          <a:solidFill>
            <a:schemeClr val="bg1"/>
          </a:solidFill>
        </p:spPr>
        <p:txBody>
          <a:bodyPr wrap="square" rtlCol="0">
            <a:noAutofit/>
          </a:bodyPr>
          <a:lstStyle/>
          <a:p>
            <a:pPr algn="ctr"/>
            <a:r>
              <a:rPr lang="en-GB" sz="1100" err="1">
                <a:solidFill>
                  <a:schemeClr val="accent1">
                    <a:lumMod val="75000"/>
                  </a:schemeClr>
                </a:solidFill>
                <a:latin typeface="Trebuchet MS" panose="020B0603020202020204" pitchFamily="34" charset="0"/>
              </a:rPr>
              <a:t>Altares</a:t>
            </a:r>
            <a:r>
              <a:rPr lang="en-GB" sz="1100">
                <a:solidFill>
                  <a:schemeClr val="accent1">
                    <a:lumMod val="75000"/>
                  </a:schemeClr>
                </a:solidFill>
                <a:latin typeface="Trebuchet MS" panose="020B0603020202020204" pitchFamily="34" charset="0"/>
              </a:rPr>
              <a:t>' operational chain into the BD&amp;A ecosystem </a:t>
            </a:r>
          </a:p>
        </p:txBody>
      </p:sp>
      <p:grpSp>
        <p:nvGrpSpPr>
          <p:cNvPr id="103" name="Groupe 102">
            <a:extLst>
              <a:ext uri="{FF2B5EF4-FFF2-40B4-BE49-F238E27FC236}">
                <a16:creationId xmlns:a16="http://schemas.microsoft.com/office/drawing/2014/main" id="{DDBE8B02-4368-4FCB-BB4B-845370852414}"/>
              </a:ext>
            </a:extLst>
          </p:cNvPr>
          <p:cNvGrpSpPr/>
          <p:nvPr/>
        </p:nvGrpSpPr>
        <p:grpSpPr>
          <a:xfrm>
            <a:off x="8448150" y="-11528"/>
            <a:ext cx="1435548" cy="588143"/>
            <a:chOff x="8448150" y="-11528"/>
            <a:chExt cx="1435548" cy="588143"/>
          </a:xfrm>
        </p:grpSpPr>
        <p:sp>
          <p:nvSpPr>
            <p:cNvPr id="104" name="Rectangle : coins arrondis 199">
              <a:extLst>
                <a:ext uri="{FF2B5EF4-FFF2-40B4-BE49-F238E27FC236}">
                  <a16:creationId xmlns:a16="http://schemas.microsoft.com/office/drawing/2014/main" id="{8DA05D07-A81B-4298-8931-F5808D6DF974}"/>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6" name="Rectangle : coins arrondis 200">
              <a:extLst>
                <a:ext uri="{FF2B5EF4-FFF2-40B4-BE49-F238E27FC236}">
                  <a16:creationId xmlns:a16="http://schemas.microsoft.com/office/drawing/2014/main" id="{59E42056-3687-4C97-A3AE-0D9D74AA79C7}"/>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7" name="Rectangle : coins arrondis 201">
              <a:extLst>
                <a:ext uri="{FF2B5EF4-FFF2-40B4-BE49-F238E27FC236}">
                  <a16:creationId xmlns:a16="http://schemas.microsoft.com/office/drawing/2014/main" id="{42FBE62F-77E8-46F8-B7DB-1B7A003D1AD4}"/>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0" name="ZoneTexte 18">
              <a:extLst>
                <a:ext uri="{FF2B5EF4-FFF2-40B4-BE49-F238E27FC236}">
                  <a16:creationId xmlns:a16="http://schemas.microsoft.com/office/drawing/2014/main" id="{DFE2EF42-FB90-4D20-9B70-F11751A84D8E}"/>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key assets</a:t>
              </a:r>
            </a:p>
          </p:txBody>
        </p:sp>
        <p:pic>
          <p:nvPicPr>
            <p:cNvPr id="111" name="Graphique 128" descr="Jauge">
              <a:extLst>
                <a:ext uri="{FF2B5EF4-FFF2-40B4-BE49-F238E27FC236}">
                  <a16:creationId xmlns:a16="http://schemas.microsoft.com/office/drawing/2014/main" id="{5913C75E-886C-4EB9-B103-5E0EB28DFBD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553764" y="187516"/>
              <a:ext cx="234953" cy="218224"/>
            </a:xfrm>
            <a:prstGeom prst="rect">
              <a:avLst/>
            </a:prstGeom>
            <a:effectLst/>
          </p:spPr>
        </p:pic>
        <p:pic>
          <p:nvPicPr>
            <p:cNvPr id="113" name="Graphique 90" descr="Poignée de main">
              <a:extLst>
                <a:ext uri="{FF2B5EF4-FFF2-40B4-BE49-F238E27FC236}">
                  <a16:creationId xmlns:a16="http://schemas.microsoft.com/office/drawing/2014/main" id="{BB365673-CBDC-43FF-A1F6-A2D2FFE59B9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960868" y="152880"/>
              <a:ext cx="256313" cy="287496"/>
            </a:xfrm>
            <a:prstGeom prst="rect">
              <a:avLst/>
            </a:prstGeom>
            <a:effectLst/>
          </p:spPr>
        </p:pic>
        <p:pic>
          <p:nvPicPr>
            <p:cNvPr id="114" name="Graphique 74" descr="Mégaphone">
              <a:extLst>
                <a:ext uri="{FF2B5EF4-FFF2-40B4-BE49-F238E27FC236}">
                  <a16:creationId xmlns:a16="http://schemas.microsoft.com/office/drawing/2014/main" id="{268E44C4-CD94-4ECB-8FAD-1081182AE348}"/>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389331" y="181519"/>
              <a:ext cx="233011" cy="216420"/>
            </a:xfrm>
            <a:prstGeom prst="rect">
              <a:avLst/>
            </a:prstGeom>
            <a:effectLst/>
          </p:spPr>
        </p:pic>
        <p:pic>
          <p:nvPicPr>
            <p:cNvPr id="117" name="Picture 2" descr="Drapeau France">
              <a:extLst>
                <a:ext uri="{FF2B5EF4-FFF2-40B4-BE49-F238E27FC236}">
                  <a16:creationId xmlns:a16="http://schemas.microsoft.com/office/drawing/2014/main" id="{0600ABF0-69DD-4C3D-851F-54FE35D113E1}"/>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19" name="Picture 2" descr="5 ft x 3 ft 150 x 90 cm-DRAPEAU BELGE Belgique 100% Polyester ...">
              <a:extLst>
                <a:ext uri="{FF2B5EF4-FFF2-40B4-BE49-F238E27FC236}">
                  <a16:creationId xmlns:a16="http://schemas.microsoft.com/office/drawing/2014/main" id="{975D9457-A059-4CDF-9B76-F39DD5D14670}"/>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20" name="Picture 2 - 1" descr="Drapeau des Pays-Bas — Wikipédia">
              <a:extLst>
                <a:ext uri="{FF2B5EF4-FFF2-40B4-BE49-F238E27FC236}">
                  <a16:creationId xmlns:a16="http://schemas.microsoft.com/office/drawing/2014/main" id="{80C08F9D-FD3E-46EF-829D-C0FB7B489D7A}"/>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26" name="Picture 2 - 2" descr="Drapeau du Luxembourg">
              <a:extLst>
                <a:ext uri="{FF2B5EF4-FFF2-40B4-BE49-F238E27FC236}">
                  <a16:creationId xmlns:a16="http://schemas.microsoft.com/office/drawing/2014/main" id="{BACA0AA1-F3F4-4BB4-AA5C-D898EBA6B63D}"/>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27" name="ZoneTexte 18">
              <a:extLst>
                <a:ext uri="{FF2B5EF4-FFF2-40B4-BE49-F238E27FC236}">
                  <a16:creationId xmlns:a16="http://schemas.microsoft.com/office/drawing/2014/main" id="{40000148-3F71-485A-AEE8-E959B8F20C7E}"/>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Data &amp; Operations</a:t>
              </a:r>
            </a:p>
          </p:txBody>
        </p:sp>
      </p:grpSp>
      <p:grpSp>
        <p:nvGrpSpPr>
          <p:cNvPr id="29" name="Group 4">
            <a:extLst>
              <a:ext uri="{FF2B5EF4-FFF2-40B4-BE49-F238E27FC236}">
                <a16:creationId xmlns:a16="http://schemas.microsoft.com/office/drawing/2014/main" id="{6CBB39C8-77F1-4850-8E48-D40E2C7B1DE1}"/>
              </a:ext>
            </a:extLst>
          </p:cNvPr>
          <p:cNvGrpSpPr>
            <a:grpSpLocks noChangeAspect="1"/>
          </p:cNvGrpSpPr>
          <p:nvPr/>
        </p:nvGrpSpPr>
        <p:grpSpPr bwMode="auto">
          <a:xfrm>
            <a:off x="3671512" y="3888185"/>
            <a:ext cx="225368" cy="175615"/>
            <a:chOff x="823" y="904"/>
            <a:chExt cx="684" cy="533"/>
          </a:xfrm>
          <a:solidFill>
            <a:schemeClr val="tx2"/>
          </a:solidFill>
        </p:grpSpPr>
        <p:sp>
          <p:nvSpPr>
            <p:cNvPr id="31" name="Freeform 5">
              <a:extLst>
                <a:ext uri="{FF2B5EF4-FFF2-40B4-BE49-F238E27FC236}">
                  <a16:creationId xmlns:a16="http://schemas.microsoft.com/office/drawing/2014/main" id="{676BE452-08DE-420C-B3E5-EFE9011CC2CC}"/>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6">
              <a:extLst>
                <a:ext uri="{FF2B5EF4-FFF2-40B4-BE49-F238E27FC236}">
                  <a16:creationId xmlns:a16="http://schemas.microsoft.com/office/drawing/2014/main" id="{D0A987C4-F2BE-49C8-A64A-912C67885085}"/>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8" name="Group 4">
            <a:extLst>
              <a:ext uri="{FF2B5EF4-FFF2-40B4-BE49-F238E27FC236}">
                <a16:creationId xmlns:a16="http://schemas.microsoft.com/office/drawing/2014/main" id="{370CA35F-A49F-47AE-A0B1-2167F6CEC5B6}"/>
              </a:ext>
            </a:extLst>
          </p:cNvPr>
          <p:cNvGrpSpPr>
            <a:grpSpLocks noChangeAspect="1"/>
          </p:cNvGrpSpPr>
          <p:nvPr/>
        </p:nvGrpSpPr>
        <p:grpSpPr bwMode="auto">
          <a:xfrm>
            <a:off x="4662902" y="3881034"/>
            <a:ext cx="225368" cy="175615"/>
            <a:chOff x="823" y="904"/>
            <a:chExt cx="684" cy="533"/>
          </a:xfrm>
          <a:solidFill>
            <a:schemeClr val="tx2"/>
          </a:solidFill>
        </p:grpSpPr>
        <p:sp>
          <p:nvSpPr>
            <p:cNvPr id="131" name="Freeform 5">
              <a:extLst>
                <a:ext uri="{FF2B5EF4-FFF2-40B4-BE49-F238E27FC236}">
                  <a16:creationId xmlns:a16="http://schemas.microsoft.com/office/drawing/2014/main" id="{5C99768A-CE7D-436E-BA13-091E382897C6}"/>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6">
              <a:extLst>
                <a:ext uri="{FF2B5EF4-FFF2-40B4-BE49-F238E27FC236}">
                  <a16:creationId xmlns:a16="http://schemas.microsoft.com/office/drawing/2014/main" id="{C7CA9098-0EFC-4C8F-82C6-85FCBABF0272}"/>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3" name="Group 4">
            <a:extLst>
              <a:ext uri="{FF2B5EF4-FFF2-40B4-BE49-F238E27FC236}">
                <a16:creationId xmlns:a16="http://schemas.microsoft.com/office/drawing/2014/main" id="{FE7D868B-E192-4831-8855-E110D356C430}"/>
              </a:ext>
            </a:extLst>
          </p:cNvPr>
          <p:cNvGrpSpPr>
            <a:grpSpLocks noChangeAspect="1"/>
          </p:cNvGrpSpPr>
          <p:nvPr/>
        </p:nvGrpSpPr>
        <p:grpSpPr bwMode="auto">
          <a:xfrm>
            <a:off x="5536676" y="3899124"/>
            <a:ext cx="225368" cy="175615"/>
            <a:chOff x="823" y="904"/>
            <a:chExt cx="684" cy="533"/>
          </a:xfrm>
          <a:solidFill>
            <a:schemeClr val="tx2"/>
          </a:solidFill>
        </p:grpSpPr>
        <p:sp>
          <p:nvSpPr>
            <p:cNvPr id="143" name="Freeform 5">
              <a:extLst>
                <a:ext uri="{FF2B5EF4-FFF2-40B4-BE49-F238E27FC236}">
                  <a16:creationId xmlns:a16="http://schemas.microsoft.com/office/drawing/2014/main" id="{3848F48E-29A9-44A1-9D14-FFC9297F6E3E}"/>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 name="Freeform 6">
              <a:extLst>
                <a:ext uri="{FF2B5EF4-FFF2-40B4-BE49-F238E27FC236}">
                  <a16:creationId xmlns:a16="http://schemas.microsoft.com/office/drawing/2014/main" id="{72D59689-3D81-4126-A4D9-5823DE71E3BE}"/>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269" name="Group 11268">
            <a:extLst>
              <a:ext uri="{FF2B5EF4-FFF2-40B4-BE49-F238E27FC236}">
                <a16:creationId xmlns:a16="http://schemas.microsoft.com/office/drawing/2014/main" id="{F34D581E-3F1A-4E34-99D3-EBB4FAD5856E}"/>
              </a:ext>
            </a:extLst>
          </p:cNvPr>
          <p:cNvGrpSpPr/>
          <p:nvPr/>
        </p:nvGrpSpPr>
        <p:grpSpPr>
          <a:xfrm>
            <a:off x="7653613" y="3985392"/>
            <a:ext cx="695595" cy="544419"/>
            <a:chOff x="7537960" y="3916354"/>
            <a:chExt cx="632359" cy="544419"/>
          </a:xfrm>
        </p:grpSpPr>
        <p:sp>
          <p:nvSpPr>
            <p:cNvPr id="141" name="Rectangle 140">
              <a:extLst>
                <a:ext uri="{FF2B5EF4-FFF2-40B4-BE49-F238E27FC236}">
                  <a16:creationId xmlns:a16="http://schemas.microsoft.com/office/drawing/2014/main" id="{00D2A606-A9A2-4953-A3BC-21DA2FD9F25C}"/>
                </a:ext>
              </a:extLst>
            </p:cNvPr>
            <p:cNvSpPr/>
            <p:nvPr/>
          </p:nvSpPr>
          <p:spPr bwMode="auto">
            <a:xfrm>
              <a:off x="7537960" y="3916354"/>
              <a:ext cx="632359" cy="544419"/>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square" lIns="0" tIns="45720" rIns="0" bIns="18000" numCol="1" spcCol="0" rtlCol="0" fromWordArt="0" anchor="b" anchorCtr="0" forceAA="0" compatLnSpc="1">
              <a:prstTxWarp prst="textNoShape">
                <a:avLst/>
              </a:prstTxWarp>
              <a:noAutofit/>
            </a:bodyPr>
            <a:lstStyle/>
            <a:p>
              <a:pPr marR="0" indent="0" algn="ctr"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a:ln>
                  <a:noFill/>
                </a:ln>
                <a:solidFill>
                  <a:schemeClr val="bg1"/>
                </a:solidFill>
                <a:effectLst/>
                <a:latin typeface="Trebuchet MS" pitchFamily="34" charset="0"/>
              </a:endParaRPr>
            </a:p>
            <a:p>
              <a:pPr marR="0" indent="0" algn="ctr" defTabSz="914400" rtl="0" eaLnBrk="1" fontAlgn="base" latinLnBrk="0" hangingPunct="1">
                <a:lnSpc>
                  <a:spcPct val="100000"/>
                </a:lnSpc>
                <a:spcBef>
                  <a:spcPct val="0"/>
                </a:spcBef>
                <a:spcAft>
                  <a:spcPct val="0"/>
                </a:spcAft>
                <a:buClrTx/>
                <a:buSzTx/>
                <a:buFontTx/>
                <a:buNone/>
                <a:tabLst/>
              </a:pPr>
              <a:r>
                <a:rPr kumimoji="0" lang="en-GB" sz="900" b="1" i="0" u="none" strike="noStrike" cap="none" normalizeH="0" baseline="0">
                  <a:ln>
                    <a:noFill/>
                  </a:ln>
                  <a:solidFill>
                    <a:schemeClr val="bg1"/>
                  </a:solidFill>
                  <a:effectLst/>
                  <a:latin typeface="Trebuchet MS" pitchFamily="34" charset="0"/>
                </a:rPr>
                <a:t>Compliance</a:t>
              </a:r>
            </a:p>
          </p:txBody>
        </p:sp>
        <p:pic>
          <p:nvPicPr>
            <p:cNvPr id="34" name="Graphique 90" descr="Poignée de main">
              <a:extLst>
                <a:ext uri="{FF2B5EF4-FFF2-40B4-BE49-F238E27FC236}">
                  <a16:creationId xmlns:a16="http://schemas.microsoft.com/office/drawing/2014/main" id="{3E2CADE9-F46A-4AD2-9B59-8902681C314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7696016" y="3933347"/>
              <a:ext cx="316246" cy="316246"/>
            </a:xfrm>
            <a:prstGeom prst="rect">
              <a:avLst/>
            </a:prstGeom>
          </p:spPr>
        </p:pic>
      </p:grpSp>
      <p:grpSp>
        <p:nvGrpSpPr>
          <p:cNvPr id="11268" name="Group 11267">
            <a:extLst>
              <a:ext uri="{FF2B5EF4-FFF2-40B4-BE49-F238E27FC236}">
                <a16:creationId xmlns:a16="http://schemas.microsoft.com/office/drawing/2014/main" id="{91BBED94-39E5-42F3-9DFC-EF250B9EAF39}"/>
              </a:ext>
            </a:extLst>
          </p:cNvPr>
          <p:cNvGrpSpPr/>
          <p:nvPr/>
        </p:nvGrpSpPr>
        <p:grpSpPr>
          <a:xfrm>
            <a:off x="7653613" y="4788436"/>
            <a:ext cx="695595" cy="544419"/>
            <a:chOff x="7537960" y="3302936"/>
            <a:chExt cx="632359" cy="544419"/>
          </a:xfrm>
        </p:grpSpPr>
        <p:sp>
          <p:nvSpPr>
            <p:cNvPr id="135" name="Rectangle 134">
              <a:extLst>
                <a:ext uri="{FF2B5EF4-FFF2-40B4-BE49-F238E27FC236}">
                  <a16:creationId xmlns:a16="http://schemas.microsoft.com/office/drawing/2014/main" id="{0D6A5823-7E0E-4F13-AC14-958A9740A99B}"/>
                </a:ext>
              </a:extLst>
            </p:cNvPr>
            <p:cNvSpPr/>
            <p:nvPr/>
          </p:nvSpPr>
          <p:spPr bwMode="auto">
            <a:xfrm>
              <a:off x="7537960" y="3302936"/>
              <a:ext cx="632359" cy="544419"/>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square" lIns="0" tIns="45720" rIns="0" bIns="18000" numCol="1" spcCol="0" rtlCol="0" fromWordArt="0" anchor="b" anchorCtr="0" forceAA="0" compatLnSpc="1">
              <a:prstTxWarp prst="textNoShape">
                <a:avLst/>
              </a:prstTxWarp>
              <a:noAutofit/>
            </a:bodyPr>
            <a:lstStyle/>
            <a:p>
              <a:pPr marR="0" indent="0" algn="ctr"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a:ln>
                  <a:noFill/>
                </a:ln>
                <a:solidFill>
                  <a:schemeClr val="bg1"/>
                </a:solidFill>
                <a:effectLst/>
                <a:latin typeface="Trebuchet MS" pitchFamily="34" charset="0"/>
              </a:endParaRPr>
            </a:p>
            <a:p>
              <a:pPr marR="0" indent="0" algn="ctr" defTabSz="914400" rtl="0" eaLnBrk="1" fontAlgn="base" latinLnBrk="0" hangingPunct="1">
                <a:lnSpc>
                  <a:spcPct val="100000"/>
                </a:lnSpc>
                <a:spcBef>
                  <a:spcPct val="0"/>
                </a:spcBef>
                <a:spcAft>
                  <a:spcPct val="0"/>
                </a:spcAft>
                <a:buClrTx/>
                <a:buSzTx/>
                <a:buFontTx/>
                <a:buNone/>
                <a:tabLst/>
              </a:pPr>
              <a:r>
                <a:rPr lang="en-GB" sz="900" b="1">
                  <a:solidFill>
                    <a:schemeClr val="bg1"/>
                  </a:solidFill>
                  <a:latin typeface="Trebuchet MS" pitchFamily="34" charset="0"/>
                </a:rPr>
                <a:t>B2B m</a:t>
              </a:r>
              <a:r>
                <a:rPr kumimoji="0" lang="en-GB" sz="900" b="1" i="0" u="none" strike="noStrike" cap="none" normalizeH="0" baseline="0">
                  <a:ln>
                    <a:noFill/>
                  </a:ln>
                  <a:solidFill>
                    <a:schemeClr val="bg1"/>
                  </a:solidFill>
                  <a:effectLst/>
                  <a:latin typeface="Trebuchet MS" pitchFamily="34" charset="0"/>
                </a:rPr>
                <a:t>arketing</a:t>
              </a:r>
            </a:p>
          </p:txBody>
        </p:sp>
        <p:pic>
          <p:nvPicPr>
            <p:cNvPr id="19" name="Graphique 74" descr="Mégaphone">
              <a:extLst>
                <a:ext uri="{FF2B5EF4-FFF2-40B4-BE49-F238E27FC236}">
                  <a16:creationId xmlns:a16="http://schemas.microsoft.com/office/drawing/2014/main" id="{009B0E65-14C2-4FCA-956C-7F75BD2EEA5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7734349" y="3319929"/>
              <a:ext cx="237600" cy="237600"/>
            </a:xfrm>
            <a:prstGeom prst="rect">
              <a:avLst/>
            </a:prstGeom>
          </p:spPr>
        </p:pic>
      </p:grpSp>
      <p:grpSp>
        <p:nvGrpSpPr>
          <p:cNvPr id="11267" name="Group 11266">
            <a:extLst>
              <a:ext uri="{FF2B5EF4-FFF2-40B4-BE49-F238E27FC236}">
                <a16:creationId xmlns:a16="http://schemas.microsoft.com/office/drawing/2014/main" id="{46410287-7CA9-4C8F-A834-FD32E6FD4B7D}"/>
              </a:ext>
            </a:extLst>
          </p:cNvPr>
          <p:cNvGrpSpPr/>
          <p:nvPr/>
        </p:nvGrpSpPr>
        <p:grpSpPr>
          <a:xfrm>
            <a:off x="7653613" y="3118978"/>
            <a:ext cx="695595" cy="544419"/>
            <a:chOff x="7527334" y="2206356"/>
            <a:chExt cx="632359" cy="544419"/>
          </a:xfrm>
        </p:grpSpPr>
        <p:sp>
          <p:nvSpPr>
            <p:cNvPr id="9" name="Rectangle 8">
              <a:extLst>
                <a:ext uri="{FF2B5EF4-FFF2-40B4-BE49-F238E27FC236}">
                  <a16:creationId xmlns:a16="http://schemas.microsoft.com/office/drawing/2014/main" id="{B668F350-174C-4180-88F1-4A1670AD56AA}"/>
                </a:ext>
              </a:extLst>
            </p:cNvPr>
            <p:cNvSpPr/>
            <p:nvPr/>
          </p:nvSpPr>
          <p:spPr bwMode="auto">
            <a:xfrm>
              <a:off x="7527334" y="2206356"/>
              <a:ext cx="632359" cy="544419"/>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square" lIns="0" tIns="45720" rIns="0" bIns="18000" numCol="1" spcCol="0" rtlCol="0" fromWordArt="0" anchor="b" anchorCtr="0" forceAA="0" compatLnSpc="1">
              <a:prstTxWarp prst="textNoShape">
                <a:avLst/>
              </a:prstTxWarp>
              <a:noAutofit/>
            </a:bodyPr>
            <a:lstStyle/>
            <a:p>
              <a:pPr marR="0" indent="0" algn="ctr"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a:ln>
                  <a:noFill/>
                </a:ln>
                <a:solidFill>
                  <a:schemeClr val="bg1"/>
                </a:solidFill>
                <a:effectLst/>
                <a:latin typeface="Trebuchet MS" pitchFamily="34" charset="0"/>
              </a:endParaRPr>
            </a:p>
            <a:p>
              <a:pPr marR="0" indent="0" algn="ctr" defTabSz="914400" rtl="0" eaLnBrk="1" fontAlgn="base" latinLnBrk="0" hangingPunct="1">
                <a:lnSpc>
                  <a:spcPct val="100000"/>
                </a:lnSpc>
                <a:spcBef>
                  <a:spcPct val="0"/>
                </a:spcBef>
                <a:spcAft>
                  <a:spcPct val="0"/>
                </a:spcAft>
                <a:buClrTx/>
                <a:buSzTx/>
                <a:buFontTx/>
                <a:buNone/>
                <a:tabLst/>
              </a:pPr>
              <a:r>
                <a:rPr kumimoji="0" lang="en-GB" sz="900" b="1" i="0" u="none" strike="noStrike" cap="none" normalizeH="0" baseline="0">
                  <a:ln>
                    <a:noFill/>
                  </a:ln>
                  <a:solidFill>
                    <a:schemeClr val="bg1"/>
                  </a:solidFill>
                  <a:effectLst/>
                  <a:latin typeface="Trebuchet MS" pitchFamily="34" charset="0"/>
                </a:rPr>
                <a:t>Credit risk</a:t>
              </a:r>
            </a:p>
          </p:txBody>
        </p:sp>
        <p:pic>
          <p:nvPicPr>
            <p:cNvPr id="10" name="Graphique 128" descr="Jauge">
              <a:extLst>
                <a:ext uri="{FF2B5EF4-FFF2-40B4-BE49-F238E27FC236}">
                  <a16:creationId xmlns:a16="http://schemas.microsoft.com/office/drawing/2014/main" id="{B3F1C20B-90F3-4DCB-953C-DB2C6D76B609}"/>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7723723" y="2227436"/>
              <a:ext cx="239580" cy="239580"/>
            </a:xfrm>
            <a:prstGeom prst="rect">
              <a:avLst/>
            </a:prstGeom>
          </p:spPr>
        </p:pic>
      </p:grpSp>
      <p:sp>
        <p:nvSpPr>
          <p:cNvPr id="149" name="Rectangle 148">
            <a:extLst>
              <a:ext uri="{FF2B5EF4-FFF2-40B4-BE49-F238E27FC236}">
                <a16:creationId xmlns:a16="http://schemas.microsoft.com/office/drawing/2014/main" id="{D90A03B8-BD0A-4166-9D3E-236BAC83FBD1}"/>
              </a:ext>
            </a:extLst>
          </p:cNvPr>
          <p:cNvSpPr/>
          <p:nvPr/>
        </p:nvSpPr>
        <p:spPr bwMode="auto">
          <a:xfrm>
            <a:off x="1128472" y="1443631"/>
            <a:ext cx="1123492" cy="4213501"/>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lang="en-GB" sz="900" b="1" i="1" dirty="0">
                <a:solidFill>
                  <a:schemeClr val="tx2"/>
                </a:solidFill>
                <a:latin typeface="Trebuchet MS" panose="020B0603020202020204" pitchFamily="34" charset="0"/>
              </a:rPr>
              <a:t> Data assets</a:t>
            </a:r>
            <a:endParaRPr kumimoji="0" lang="en-GB" sz="900" b="1" i="1" u="none" strike="noStrike" normalizeH="0" dirty="0">
              <a:ln>
                <a:noFill/>
              </a:ln>
              <a:solidFill>
                <a:schemeClr val="tx2"/>
              </a:solidFill>
              <a:effectLst/>
              <a:latin typeface="Trebuchet MS" panose="020B0603020202020204" pitchFamily="34" charset="0"/>
            </a:endParaRPr>
          </a:p>
        </p:txBody>
      </p:sp>
      <p:sp>
        <p:nvSpPr>
          <p:cNvPr id="38" name="ZoneTexte 37">
            <a:extLst>
              <a:ext uri="{FF2B5EF4-FFF2-40B4-BE49-F238E27FC236}">
                <a16:creationId xmlns:a16="http://schemas.microsoft.com/office/drawing/2014/main" id="{1D24FE3C-A0C9-4C36-A2DC-6567B59A006B}"/>
              </a:ext>
            </a:extLst>
          </p:cNvPr>
          <p:cNvSpPr txBox="1"/>
          <p:nvPr/>
        </p:nvSpPr>
        <p:spPr>
          <a:xfrm>
            <a:off x="-26251" y="1215294"/>
            <a:ext cx="1154723" cy="646331"/>
          </a:xfrm>
          <a:prstGeom prst="rect">
            <a:avLst/>
          </a:prstGeom>
          <a:noFill/>
        </p:spPr>
        <p:txBody>
          <a:bodyPr wrap="square" rtlCol="0">
            <a:spAutoFit/>
          </a:bodyPr>
          <a:lstStyle/>
          <a:p>
            <a:pPr algn="ctr"/>
            <a:r>
              <a:rPr lang="en-GB" sz="1200" cap="small">
                <a:latin typeface="Trebuchet MS" panose="020B0603020202020204" pitchFamily="34" charset="0"/>
              </a:rPr>
              <a:t>Data </a:t>
            </a:r>
          </a:p>
          <a:p>
            <a:pPr algn="ctr"/>
            <a:r>
              <a:rPr lang="en-GB" sz="1200" cap="small">
                <a:latin typeface="Trebuchet MS" panose="020B0603020202020204" pitchFamily="34" charset="0"/>
              </a:rPr>
              <a:t>providers </a:t>
            </a:r>
          </a:p>
          <a:p>
            <a:pPr algn="ctr"/>
            <a:endParaRPr lang="en-GB" sz="1200">
              <a:latin typeface="Trebuchet MS" panose="020B0603020202020204" pitchFamily="34" charset="0"/>
            </a:endParaRPr>
          </a:p>
        </p:txBody>
      </p:sp>
      <p:sp>
        <p:nvSpPr>
          <p:cNvPr id="182" name="Rectangle 181">
            <a:extLst>
              <a:ext uri="{FF2B5EF4-FFF2-40B4-BE49-F238E27FC236}">
                <a16:creationId xmlns:a16="http://schemas.microsoft.com/office/drawing/2014/main" id="{4A2E262C-DDF7-41FA-8090-1908B0BB7330}"/>
              </a:ext>
            </a:extLst>
          </p:cNvPr>
          <p:cNvSpPr/>
          <p:nvPr/>
        </p:nvSpPr>
        <p:spPr bwMode="auto">
          <a:xfrm>
            <a:off x="1242862" y="2607873"/>
            <a:ext cx="955467" cy="224056"/>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0" i="0" u="none" strike="noStrike" normalizeH="0">
                <a:ln>
                  <a:noFill/>
                </a:ln>
                <a:effectLst/>
                <a:latin typeface="Trebuchet MS" panose="020B0603020202020204" pitchFamily="34" charset="0"/>
              </a:rPr>
              <a:t>Public data</a:t>
            </a:r>
          </a:p>
        </p:txBody>
      </p:sp>
      <p:sp>
        <p:nvSpPr>
          <p:cNvPr id="200" name="Rectangle 199">
            <a:extLst>
              <a:ext uri="{FF2B5EF4-FFF2-40B4-BE49-F238E27FC236}">
                <a16:creationId xmlns:a16="http://schemas.microsoft.com/office/drawing/2014/main" id="{5167AED1-B6CB-449E-AAD8-270DD233F802}"/>
              </a:ext>
            </a:extLst>
          </p:cNvPr>
          <p:cNvSpPr/>
          <p:nvPr/>
        </p:nvSpPr>
        <p:spPr bwMode="auto">
          <a:xfrm>
            <a:off x="1225117" y="5252981"/>
            <a:ext cx="945159" cy="34349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0" i="0" u="none" strike="noStrike" normalizeH="0">
                <a:ln>
                  <a:noFill/>
                </a:ln>
                <a:effectLst/>
                <a:latin typeface="Trebuchet MS" panose="020B0603020202020204" pitchFamily="34" charset="0"/>
              </a:rPr>
              <a:t>Digital data</a:t>
            </a:r>
          </a:p>
        </p:txBody>
      </p:sp>
      <p:sp>
        <p:nvSpPr>
          <p:cNvPr id="189" name="Rectangle 188">
            <a:extLst>
              <a:ext uri="{FF2B5EF4-FFF2-40B4-BE49-F238E27FC236}">
                <a16:creationId xmlns:a16="http://schemas.microsoft.com/office/drawing/2014/main" id="{52F351FA-FC48-4F39-B56C-45006ACD83CF}"/>
              </a:ext>
            </a:extLst>
          </p:cNvPr>
          <p:cNvSpPr/>
          <p:nvPr/>
        </p:nvSpPr>
        <p:spPr bwMode="auto">
          <a:xfrm>
            <a:off x="1231963" y="2920987"/>
            <a:ext cx="954316" cy="227980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0" i="0" u="none" strike="noStrike" normalizeH="0">
                <a:ln>
                  <a:noFill/>
                </a:ln>
                <a:effectLst/>
                <a:latin typeface="Trebuchet MS" panose="020B0603020202020204" pitchFamily="34" charset="0"/>
              </a:rPr>
              <a:t>Private data</a:t>
            </a:r>
          </a:p>
        </p:txBody>
      </p:sp>
      <p:sp>
        <p:nvSpPr>
          <p:cNvPr id="191" name="Rectangle 190">
            <a:extLst>
              <a:ext uri="{FF2B5EF4-FFF2-40B4-BE49-F238E27FC236}">
                <a16:creationId xmlns:a16="http://schemas.microsoft.com/office/drawing/2014/main" id="{69AAED62-441E-4CDF-802A-9634FE833410}"/>
              </a:ext>
            </a:extLst>
          </p:cNvPr>
          <p:cNvSpPr/>
          <p:nvPr/>
        </p:nvSpPr>
        <p:spPr bwMode="auto">
          <a:xfrm>
            <a:off x="1312923" y="3140058"/>
            <a:ext cx="830106" cy="425958"/>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anose="020B0603020202020204" pitchFamily="34" charset="0"/>
              </a:rPr>
              <a:t>Domestic data</a:t>
            </a:r>
          </a:p>
        </p:txBody>
      </p:sp>
      <p:sp>
        <p:nvSpPr>
          <p:cNvPr id="197" name="Rectangle 196">
            <a:extLst>
              <a:ext uri="{FF2B5EF4-FFF2-40B4-BE49-F238E27FC236}">
                <a16:creationId xmlns:a16="http://schemas.microsoft.com/office/drawing/2014/main" id="{14EBF422-78FE-496A-B872-043D7F351A69}"/>
              </a:ext>
            </a:extLst>
          </p:cNvPr>
          <p:cNvSpPr/>
          <p:nvPr/>
        </p:nvSpPr>
        <p:spPr bwMode="auto">
          <a:xfrm>
            <a:off x="1312923" y="3630911"/>
            <a:ext cx="830106" cy="1018484"/>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kumimoji="0" lang="en-GB" sz="800" b="0" i="1" u="none" strike="noStrike" cap="none" normalizeH="0" baseline="0">
                <a:ln>
                  <a:noFill/>
                </a:ln>
                <a:solidFill>
                  <a:schemeClr val="tx1"/>
                </a:solidFill>
                <a:effectLst/>
                <a:latin typeface="Trebuchet MS" panose="020B0603020202020204" pitchFamily="34" charset="0"/>
              </a:rPr>
              <a:t>International data</a:t>
            </a:r>
          </a:p>
          <a:p>
            <a:pPr marL="0" marR="0" indent="0" algn="ctr" defTabSz="914400" rtl="0" eaLnBrk="1" fontAlgn="base" latinLnBrk="0" hangingPunct="1">
              <a:lnSpc>
                <a:spcPct val="100000"/>
              </a:lnSpc>
              <a:spcBef>
                <a:spcPct val="0"/>
              </a:spcBef>
              <a:spcAft>
                <a:spcPct val="0"/>
              </a:spcAft>
              <a:buClrTx/>
              <a:buSzTx/>
              <a:buFontTx/>
              <a:buNone/>
              <a:tabLst/>
            </a:pPr>
            <a:r>
              <a:rPr lang="en-GB" sz="900" i="1" err="1">
                <a:solidFill>
                  <a:srgbClr val="007AA9"/>
                </a:solidFill>
                <a:latin typeface="Trebuchet MS" panose="020B0603020202020204" pitchFamily="34" charset="0"/>
              </a:rPr>
              <a:t>Paydex</a:t>
            </a:r>
            <a:r>
              <a:rPr lang="en-GB" sz="900" i="1">
                <a:solidFill>
                  <a:srgbClr val="007AA9"/>
                </a:solidFill>
                <a:latin typeface="Trebuchet MS" panose="020B0603020202020204" pitchFamily="34" charset="0"/>
              </a:rPr>
              <a:t> data</a:t>
            </a:r>
            <a:endParaRPr kumimoji="0" lang="en-GB" sz="900" b="0" i="1" strike="noStrike" cap="none" normalizeH="0" baseline="0">
              <a:ln>
                <a:noFill/>
              </a:ln>
              <a:solidFill>
                <a:srgbClr val="007AA9"/>
              </a:solidFill>
              <a:effectLst/>
              <a:latin typeface="Trebuchet MS" panose="020B0603020202020204" pitchFamily="34" charset="0"/>
            </a:endParaRPr>
          </a:p>
        </p:txBody>
      </p:sp>
      <p:sp>
        <p:nvSpPr>
          <p:cNvPr id="96" name="Rectangle 95">
            <a:extLst>
              <a:ext uri="{FF2B5EF4-FFF2-40B4-BE49-F238E27FC236}">
                <a16:creationId xmlns:a16="http://schemas.microsoft.com/office/drawing/2014/main" id="{8D4C5CF0-6728-476D-A14A-C82DDF5A67BE}"/>
              </a:ext>
            </a:extLst>
          </p:cNvPr>
          <p:cNvSpPr/>
          <p:nvPr/>
        </p:nvSpPr>
        <p:spPr bwMode="auto">
          <a:xfrm>
            <a:off x="158637" y="2462393"/>
            <a:ext cx="751124" cy="121555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0" i="1" u="none" strike="noStrike" normalizeH="0">
                <a:ln>
                  <a:noFill/>
                </a:ln>
                <a:effectLst/>
                <a:latin typeface="Trebuchet MS" panose="020B0603020202020204" pitchFamily="34" charset="0"/>
              </a:rPr>
              <a:t>France</a:t>
            </a:r>
          </a:p>
        </p:txBody>
      </p:sp>
      <p:pic>
        <p:nvPicPr>
          <p:cNvPr id="2050" name="Picture 2" descr="Bodacc.fr | Bulletin officiel des annonces civiles et commerciales">
            <a:extLst>
              <a:ext uri="{FF2B5EF4-FFF2-40B4-BE49-F238E27FC236}">
                <a16:creationId xmlns:a16="http://schemas.microsoft.com/office/drawing/2014/main" id="{003E40C0-66E5-417F-B6B4-8A8C5DF0254D}"/>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l="4179" t="16619" r="43705" b="52041"/>
          <a:stretch/>
        </p:blipFill>
        <p:spPr bwMode="auto">
          <a:xfrm>
            <a:off x="258782" y="2670702"/>
            <a:ext cx="596305" cy="11839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nstitut national de la statistique et des études économiques — Wikipédia">
            <a:extLst>
              <a:ext uri="{FF2B5EF4-FFF2-40B4-BE49-F238E27FC236}">
                <a16:creationId xmlns:a16="http://schemas.microsoft.com/office/drawing/2014/main" id="{A76AAAF5-EAB2-4273-8DE6-795B155D58E0}"/>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45250" y="2905661"/>
            <a:ext cx="332505" cy="384276"/>
          </a:xfrm>
          <a:prstGeom prst="rect">
            <a:avLst/>
          </a:prstGeom>
          <a:noFill/>
          <a:extLst>
            <a:ext uri="{909E8E84-426E-40DD-AFC4-6F175D3DCCD1}">
              <a14:hiddenFill xmlns:a14="http://schemas.microsoft.com/office/drawing/2010/main">
                <a:solidFill>
                  <a:srgbClr val="FFFFFF"/>
                </a:solidFill>
              </a14:hiddenFill>
            </a:ext>
          </a:extLst>
        </p:spPr>
      </p:pic>
      <p:sp>
        <p:nvSpPr>
          <p:cNvPr id="99" name="Rectangle 98">
            <a:extLst>
              <a:ext uri="{FF2B5EF4-FFF2-40B4-BE49-F238E27FC236}">
                <a16:creationId xmlns:a16="http://schemas.microsoft.com/office/drawing/2014/main" id="{633FED30-7B42-45A0-BD59-A2E7D176D888}"/>
              </a:ext>
            </a:extLst>
          </p:cNvPr>
          <p:cNvSpPr/>
          <p:nvPr/>
        </p:nvSpPr>
        <p:spPr bwMode="auto">
          <a:xfrm>
            <a:off x="157394" y="3854131"/>
            <a:ext cx="751124" cy="121555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0" i="1" u="none" strike="noStrike" normalizeH="0">
                <a:ln>
                  <a:noFill/>
                </a:ln>
                <a:effectLst/>
                <a:latin typeface="Trebuchet MS" panose="020B0603020202020204" pitchFamily="34" charset="0"/>
              </a:rPr>
              <a:t>Benelux</a:t>
            </a:r>
          </a:p>
        </p:txBody>
      </p:sp>
      <p:sp>
        <p:nvSpPr>
          <p:cNvPr id="116" name="Rectangle 115">
            <a:extLst>
              <a:ext uri="{FF2B5EF4-FFF2-40B4-BE49-F238E27FC236}">
                <a16:creationId xmlns:a16="http://schemas.microsoft.com/office/drawing/2014/main" id="{1D844AA7-D3B8-41FB-AD0C-7B0BE4219589}"/>
              </a:ext>
            </a:extLst>
          </p:cNvPr>
          <p:cNvSpPr/>
          <p:nvPr/>
        </p:nvSpPr>
        <p:spPr bwMode="auto">
          <a:xfrm>
            <a:off x="158637" y="5184954"/>
            <a:ext cx="751124" cy="121555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lang="en-GB" sz="900" i="1">
                <a:latin typeface="Trebuchet MS" panose="020B0603020202020204" pitchFamily="34" charset="0"/>
              </a:rPr>
              <a:t>Rest of the world</a:t>
            </a:r>
            <a:endParaRPr kumimoji="0" lang="en-GB" sz="900" b="0" i="1" u="none" strike="noStrike" normalizeH="0">
              <a:ln>
                <a:noFill/>
              </a:ln>
              <a:effectLst/>
              <a:latin typeface="Trebuchet MS" panose="020B0603020202020204" pitchFamily="34" charset="0"/>
            </a:endParaRPr>
          </a:p>
        </p:txBody>
      </p:sp>
      <p:pic>
        <p:nvPicPr>
          <p:cNvPr id="2054" name="Picture 6" descr="Page 3 | INPI.fr">
            <a:extLst>
              <a:ext uri="{FF2B5EF4-FFF2-40B4-BE49-F238E27FC236}">
                <a16:creationId xmlns:a16="http://schemas.microsoft.com/office/drawing/2014/main" id="{B76B8F9E-C02B-45D6-AE2B-5C0DB637257A}"/>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rot="282337">
            <a:off x="293302" y="3315407"/>
            <a:ext cx="497051" cy="329623"/>
          </a:xfrm>
          <a:prstGeom prst="rect">
            <a:avLst/>
          </a:prstGeom>
          <a:noFill/>
          <a:extLst>
            <a:ext uri="{909E8E84-426E-40DD-AFC4-6F175D3DCCD1}">
              <a14:hiddenFill xmlns:a14="http://schemas.microsoft.com/office/drawing/2010/main">
                <a:solidFill>
                  <a:srgbClr val="FFFFFF"/>
                </a:solidFill>
              </a14:hiddenFill>
            </a:ext>
          </a:extLst>
        </p:spPr>
      </p:pic>
      <p:sp>
        <p:nvSpPr>
          <p:cNvPr id="2" name="ZoneTexte 1">
            <a:extLst>
              <a:ext uri="{FF2B5EF4-FFF2-40B4-BE49-F238E27FC236}">
                <a16:creationId xmlns:a16="http://schemas.microsoft.com/office/drawing/2014/main" id="{D5B2A277-F335-4670-B53F-8315F69D869F}"/>
              </a:ext>
            </a:extLst>
          </p:cNvPr>
          <p:cNvSpPr txBox="1"/>
          <p:nvPr/>
        </p:nvSpPr>
        <p:spPr>
          <a:xfrm>
            <a:off x="198727" y="4478719"/>
            <a:ext cx="739414" cy="400110"/>
          </a:xfrm>
          <a:prstGeom prst="rect">
            <a:avLst/>
          </a:prstGeom>
          <a:noFill/>
        </p:spPr>
        <p:txBody>
          <a:bodyPr wrap="square" rtlCol="0">
            <a:spAutoFit/>
          </a:bodyPr>
          <a:lstStyle/>
          <a:p>
            <a:pPr algn="ctr"/>
            <a:r>
              <a:rPr lang="en-GB" sz="1000" i="1">
                <a:latin typeface="Trebuchet MS" panose="020B0603020202020204" pitchFamily="34" charset="0"/>
              </a:rPr>
              <a:t>KBO entries</a:t>
            </a:r>
          </a:p>
        </p:txBody>
      </p:sp>
      <p:sp>
        <p:nvSpPr>
          <p:cNvPr id="118" name="Rectangle 117">
            <a:extLst>
              <a:ext uri="{FF2B5EF4-FFF2-40B4-BE49-F238E27FC236}">
                <a16:creationId xmlns:a16="http://schemas.microsoft.com/office/drawing/2014/main" id="{0FDD7FE6-1849-4FA4-934D-67F148AE87C2}"/>
              </a:ext>
            </a:extLst>
          </p:cNvPr>
          <p:cNvSpPr/>
          <p:nvPr/>
        </p:nvSpPr>
        <p:spPr bwMode="auto">
          <a:xfrm>
            <a:off x="1049135" y="5908746"/>
            <a:ext cx="7528681" cy="569065"/>
          </a:xfrm>
          <a:prstGeom prst="rect">
            <a:avLst/>
          </a:prstGeom>
          <a:gradFill flip="none" rotWithShape="1">
            <a:gsLst>
              <a:gs pos="0">
                <a:srgbClr val="F2F2F2">
                  <a:alpha val="34000"/>
                </a:srgbClr>
              </a:gs>
              <a:gs pos="100000">
                <a:srgbClr val="E9F5EC"/>
              </a:gs>
            </a:gsLst>
            <a:lin ang="0" scaled="1"/>
            <a:tileRect/>
          </a:gradFill>
          <a:ln w="9525" cap="flat" cmpd="sng" algn="ctr">
            <a:solidFill>
              <a:schemeClr val="bg1">
                <a:lumMod val="85000"/>
              </a:schemeClr>
            </a:solidFill>
            <a:prstDash val="lgDash"/>
            <a:round/>
            <a:headEnd type="none" w="med" len="med"/>
            <a:tailEnd type="none" w="med" len="med"/>
          </a:ln>
          <a:effectLst/>
        </p:spPr>
        <p:txBody>
          <a:bodyPr vert="horz" wrap="square" lIns="91440" tIns="36000" rIns="91440" bIns="45720" numCol="1" rtlCol="0" anchor="t" anchorCtr="0" compatLnSpc="1">
            <a:prstTxWarp prst="textNoShape">
              <a:avLst/>
            </a:prstTxWarp>
          </a:bodyPr>
          <a:lstStyle/>
          <a:p>
            <a:pPr algn="ctr"/>
            <a:endParaRPr lang="en-GB" sz="1200" cap="small">
              <a:solidFill>
                <a:schemeClr val="accent1">
                  <a:lumMod val="75000"/>
                </a:schemeClr>
              </a:solidFill>
              <a:latin typeface="Trebuchet MS" pitchFamily="34" charset="0"/>
            </a:endParaRPr>
          </a:p>
        </p:txBody>
      </p:sp>
      <p:pic>
        <p:nvPicPr>
          <p:cNvPr id="116738" name="Picture 2" descr="Dun &amp; Bradstreet - Bâtir des relations">
            <a:extLst>
              <a:ext uri="{FF2B5EF4-FFF2-40B4-BE49-F238E27FC236}">
                <a16:creationId xmlns:a16="http://schemas.microsoft.com/office/drawing/2014/main" id="{9D6D6B9F-275C-4207-9D41-CB853850893F}"/>
              </a:ext>
            </a:extLst>
          </p:cNvPr>
          <p:cNvPicPr>
            <a:picLocks noChangeAspect="1" noChangeArrowheads="1"/>
          </p:cNvPicPr>
          <p:nvPr/>
        </p:nvPicPr>
        <p:blipFill>
          <a:blip r:embed="rId3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54442" y="6148308"/>
            <a:ext cx="1653727" cy="241872"/>
          </a:xfrm>
          <a:prstGeom prst="rect">
            <a:avLst/>
          </a:prstGeom>
          <a:noFill/>
          <a:extLst>
            <a:ext uri="{909E8E84-426E-40DD-AFC4-6F175D3DCCD1}">
              <a14:hiddenFill xmlns:a14="http://schemas.microsoft.com/office/drawing/2010/main">
                <a:solidFill>
                  <a:srgbClr val="FFFFFF"/>
                </a:solidFill>
              </a14:hiddenFill>
            </a:ext>
          </a:extLst>
        </p:spPr>
      </p:pic>
      <p:cxnSp>
        <p:nvCxnSpPr>
          <p:cNvPr id="42" name="Straight Arrow Connector 41">
            <a:extLst>
              <a:ext uri="{FF2B5EF4-FFF2-40B4-BE49-F238E27FC236}">
                <a16:creationId xmlns:a16="http://schemas.microsoft.com/office/drawing/2014/main" id="{551F029F-D31F-41CC-8FB9-34ED7EEF712B}"/>
              </a:ext>
            </a:extLst>
          </p:cNvPr>
          <p:cNvCxnSpPr>
            <a:cxnSpLocks/>
          </p:cNvCxnSpPr>
          <p:nvPr/>
        </p:nvCxnSpPr>
        <p:spPr bwMode="auto">
          <a:xfrm>
            <a:off x="4547856" y="57093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129" name="Straight Arrow Connector 128">
            <a:extLst>
              <a:ext uri="{FF2B5EF4-FFF2-40B4-BE49-F238E27FC236}">
                <a16:creationId xmlns:a16="http://schemas.microsoft.com/office/drawing/2014/main" id="{73E69FBB-9502-46E1-B8C6-4D09F6E27163}"/>
              </a:ext>
            </a:extLst>
          </p:cNvPr>
          <p:cNvCxnSpPr>
            <a:cxnSpLocks/>
          </p:cNvCxnSpPr>
          <p:nvPr/>
        </p:nvCxnSpPr>
        <p:spPr bwMode="auto">
          <a:xfrm>
            <a:off x="4799935"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130" name="Straight Arrow Connector 129">
            <a:extLst>
              <a:ext uri="{FF2B5EF4-FFF2-40B4-BE49-F238E27FC236}">
                <a16:creationId xmlns:a16="http://schemas.microsoft.com/office/drawing/2014/main" id="{02F1AC60-04D1-4A8F-A07B-C1EE5D5B3E69}"/>
              </a:ext>
            </a:extLst>
          </p:cNvPr>
          <p:cNvCxnSpPr>
            <a:cxnSpLocks/>
          </p:cNvCxnSpPr>
          <p:nvPr/>
        </p:nvCxnSpPr>
        <p:spPr bwMode="auto">
          <a:xfrm>
            <a:off x="4295776"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sp>
        <p:nvSpPr>
          <p:cNvPr id="51" name="TextBox 50">
            <a:extLst>
              <a:ext uri="{FF2B5EF4-FFF2-40B4-BE49-F238E27FC236}">
                <a16:creationId xmlns:a16="http://schemas.microsoft.com/office/drawing/2014/main" id="{F759A219-753E-41F8-90D6-E08104CF8A35}"/>
              </a:ext>
            </a:extLst>
          </p:cNvPr>
          <p:cNvSpPr txBox="1"/>
          <p:nvPr/>
        </p:nvSpPr>
        <p:spPr>
          <a:xfrm>
            <a:off x="1363091" y="5987036"/>
            <a:ext cx="1198432" cy="153888"/>
          </a:xfrm>
          <a:prstGeom prst="rect">
            <a:avLst/>
          </a:prstGeom>
          <a:noFill/>
        </p:spPr>
        <p:txBody>
          <a:bodyPr wrap="square" lIns="0" tIns="0" rIns="0" bIns="0" rtlCol="0" anchor="ctr">
            <a:spAutoFit/>
          </a:bodyPr>
          <a:lstStyle/>
          <a:p>
            <a:r>
              <a:rPr lang="en-GB" sz="1000">
                <a:solidFill>
                  <a:schemeClr val="tx2"/>
                </a:solidFill>
                <a:latin typeface="Trebuchet MS" panose="020B0603020202020204" pitchFamily="34" charset="0"/>
              </a:rPr>
              <a:t>Partnership with </a:t>
            </a:r>
          </a:p>
        </p:txBody>
      </p:sp>
      <p:cxnSp>
        <p:nvCxnSpPr>
          <p:cNvPr id="100" name="Straight Arrow Connector 41">
            <a:extLst>
              <a:ext uri="{FF2B5EF4-FFF2-40B4-BE49-F238E27FC236}">
                <a16:creationId xmlns:a16="http://schemas.microsoft.com/office/drawing/2014/main" id="{F1756B37-E2B2-4ED2-9E95-881E726284DA}"/>
              </a:ext>
            </a:extLst>
          </p:cNvPr>
          <p:cNvCxnSpPr>
            <a:cxnSpLocks/>
          </p:cNvCxnSpPr>
          <p:nvPr/>
        </p:nvCxnSpPr>
        <p:spPr bwMode="auto">
          <a:xfrm>
            <a:off x="1719815" y="57093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101" name="Straight Arrow Connector 128">
            <a:extLst>
              <a:ext uri="{FF2B5EF4-FFF2-40B4-BE49-F238E27FC236}">
                <a16:creationId xmlns:a16="http://schemas.microsoft.com/office/drawing/2014/main" id="{3226DE54-8CCF-4675-882E-6BA04E3846D9}"/>
              </a:ext>
            </a:extLst>
          </p:cNvPr>
          <p:cNvCxnSpPr>
            <a:cxnSpLocks/>
          </p:cNvCxnSpPr>
          <p:nvPr/>
        </p:nvCxnSpPr>
        <p:spPr bwMode="auto">
          <a:xfrm>
            <a:off x="1971894"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115" name="Straight Arrow Connector 129">
            <a:extLst>
              <a:ext uri="{FF2B5EF4-FFF2-40B4-BE49-F238E27FC236}">
                <a16:creationId xmlns:a16="http://schemas.microsoft.com/office/drawing/2014/main" id="{7C352C2C-130A-4F2C-9CE6-8BDB94F93FF0}"/>
              </a:ext>
            </a:extLst>
          </p:cNvPr>
          <p:cNvCxnSpPr>
            <a:cxnSpLocks/>
          </p:cNvCxnSpPr>
          <p:nvPr/>
        </p:nvCxnSpPr>
        <p:spPr bwMode="auto">
          <a:xfrm>
            <a:off x="1467735"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150" name="Straight Arrow Connector 41">
            <a:extLst>
              <a:ext uri="{FF2B5EF4-FFF2-40B4-BE49-F238E27FC236}">
                <a16:creationId xmlns:a16="http://schemas.microsoft.com/office/drawing/2014/main" id="{4B7ACBCA-D233-4766-9928-3CD4A35C8B34}"/>
              </a:ext>
            </a:extLst>
          </p:cNvPr>
          <p:cNvCxnSpPr>
            <a:cxnSpLocks/>
          </p:cNvCxnSpPr>
          <p:nvPr/>
        </p:nvCxnSpPr>
        <p:spPr bwMode="auto">
          <a:xfrm>
            <a:off x="7934116" y="57093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152" name="Straight Arrow Connector 128">
            <a:extLst>
              <a:ext uri="{FF2B5EF4-FFF2-40B4-BE49-F238E27FC236}">
                <a16:creationId xmlns:a16="http://schemas.microsoft.com/office/drawing/2014/main" id="{DAB727A7-0060-4CD1-AF9B-9A9D5B047D4A}"/>
              </a:ext>
            </a:extLst>
          </p:cNvPr>
          <p:cNvCxnSpPr>
            <a:cxnSpLocks/>
          </p:cNvCxnSpPr>
          <p:nvPr/>
        </p:nvCxnSpPr>
        <p:spPr bwMode="auto">
          <a:xfrm>
            <a:off x="8186195"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153" name="Straight Arrow Connector 129">
            <a:extLst>
              <a:ext uri="{FF2B5EF4-FFF2-40B4-BE49-F238E27FC236}">
                <a16:creationId xmlns:a16="http://schemas.microsoft.com/office/drawing/2014/main" id="{45F3A86A-D2E1-4E6C-BD02-04771657CE00}"/>
              </a:ext>
            </a:extLst>
          </p:cNvPr>
          <p:cNvCxnSpPr>
            <a:cxnSpLocks/>
          </p:cNvCxnSpPr>
          <p:nvPr/>
        </p:nvCxnSpPr>
        <p:spPr bwMode="auto">
          <a:xfrm>
            <a:off x="7682036"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pic>
        <p:nvPicPr>
          <p:cNvPr id="2058" name="Picture 10" descr="The NBB and the FSMA clarify the regulatory framework of EEA banks which  operate in Belgium based on the freedom to provide services (especially  internet banks without a permanent establishment in Belgium) |">
            <a:extLst>
              <a:ext uri="{FF2B5EF4-FFF2-40B4-BE49-F238E27FC236}">
                <a16:creationId xmlns:a16="http://schemas.microsoft.com/office/drawing/2014/main" id="{484A01A6-4234-4228-BBF8-2A0F3B973E7B}"/>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286034" y="4169589"/>
            <a:ext cx="588237" cy="204846"/>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3">
            <a:extLst>
              <a:ext uri="{FF2B5EF4-FFF2-40B4-BE49-F238E27FC236}">
                <a16:creationId xmlns:a16="http://schemas.microsoft.com/office/drawing/2014/main" id="{D1B4F0F5-FE88-487D-BB95-5F8C9819679E}"/>
              </a:ext>
            </a:extLst>
          </p:cNvPr>
          <p:cNvSpPr txBox="1"/>
          <p:nvPr/>
        </p:nvSpPr>
        <p:spPr>
          <a:xfrm>
            <a:off x="3118233" y="1625691"/>
            <a:ext cx="3475442" cy="553998"/>
          </a:xfrm>
          <a:prstGeom prst="rect">
            <a:avLst/>
          </a:prstGeom>
          <a:noFill/>
        </p:spPr>
        <p:txBody>
          <a:bodyPr wrap="square" rtlCol="0">
            <a:spAutoFit/>
          </a:bodyPr>
          <a:lstStyle/>
          <a:p>
            <a:pPr algn="ctr"/>
            <a:r>
              <a:rPr lang="en-GB" sz="1000" b="1" i="1">
                <a:latin typeface="Trebuchet MS" panose="020B0603020202020204" pitchFamily="34" charset="0"/>
              </a:rPr>
              <a:t>An </a:t>
            </a:r>
            <a:r>
              <a:rPr lang="en-GB" sz="1000" b="1" i="1">
                <a:solidFill>
                  <a:schemeClr val="accent1">
                    <a:lumMod val="75000"/>
                  </a:schemeClr>
                </a:solidFill>
                <a:latin typeface="Trebuchet MS" panose="020B0603020202020204" pitchFamily="34" charset="0"/>
              </a:rPr>
              <a:t>efficient upstream and downstream operational model</a:t>
            </a:r>
            <a:r>
              <a:rPr lang="en-GB" sz="1000" b="1" i="1">
                <a:solidFill>
                  <a:schemeClr val="tx2"/>
                </a:solidFill>
                <a:latin typeface="Trebuchet MS" panose="020B0603020202020204" pitchFamily="34" charset="0"/>
              </a:rPr>
              <a:t> </a:t>
            </a:r>
            <a:r>
              <a:rPr lang="en-GB" sz="1000" b="1" i="1">
                <a:latin typeface="Trebuchet MS" panose="020B0603020202020204" pitchFamily="34" charset="0"/>
              </a:rPr>
              <a:t>supported by a </a:t>
            </a:r>
            <a:r>
              <a:rPr lang="en-GB" sz="1000" b="1" i="1">
                <a:solidFill>
                  <a:schemeClr val="accent1">
                    <a:lumMod val="75000"/>
                  </a:schemeClr>
                </a:solidFill>
                <a:latin typeface="Trebuchet MS" panose="020B0603020202020204" pitchFamily="34" charset="0"/>
              </a:rPr>
              <a:t>robust IT architecture </a:t>
            </a:r>
            <a:r>
              <a:rPr lang="en-GB" sz="1000" b="1" i="1">
                <a:latin typeface="Trebuchet MS" panose="020B0603020202020204" pitchFamily="34" charset="0"/>
              </a:rPr>
              <a:t>being </a:t>
            </a:r>
            <a:r>
              <a:rPr lang="en-GB" sz="1000" b="1" i="1">
                <a:solidFill>
                  <a:schemeClr val="accent1">
                    <a:lumMod val="75000"/>
                  </a:schemeClr>
                </a:solidFill>
                <a:latin typeface="Trebuchet MS" panose="020B0603020202020204" pitchFamily="34" charset="0"/>
              </a:rPr>
              <a:t>modernized</a:t>
            </a:r>
            <a:r>
              <a:rPr lang="en-GB" sz="1000" b="1" i="1">
                <a:latin typeface="Trebuchet MS" panose="020B0603020202020204" pitchFamily="34" charset="0"/>
              </a:rPr>
              <a:t> within the </a:t>
            </a:r>
            <a:r>
              <a:rPr lang="en-GB" sz="1000" b="1" i="1">
                <a:solidFill>
                  <a:schemeClr val="accent1">
                    <a:lumMod val="75000"/>
                  </a:schemeClr>
                </a:solidFill>
                <a:latin typeface="Trebuchet MS" panose="020B0603020202020204" pitchFamily="34" charset="0"/>
              </a:rPr>
              <a:t>“</a:t>
            </a:r>
            <a:r>
              <a:rPr lang="en-GB" sz="1000" b="1" i="1" err="1">
                <a:solidFill>
                  <a:schemeClr val="accent1">
                    <a:lumMod val="75000"/>
                  </a:schemeClr>
                </a:solidFill>
                <a:latin typeface="Trebuchet MS" panose="020B0603020202020204" pitchFamily="34" charset="0"/>
              </a:rPr>
              <a:t>DataHub</a:t>
            </a:r>
            <a:r>
              <a:rPr lang="en-GB" sz="1000" b="1" i="1">
                <a:solidFill>
                  <a:schemeClr val="accent1">
                    <a:lumMod val="75000"/>
                  </a:schemeClr>
                </a:solidFill>
                <a:latin typeface="Trebuchet MS" panose="020B0603020202020204" pitchFamily="34" charset="0"/>
              </a:rPr>
              <a:t>” project</a:t>
            </a:r>
          </a:p>
        </p:txBody>
      </p:sp>
      <p:sp>
        <p:nvSpPr>
          <p:cNvPr id="108" name="ZoneTexte 107">
            <a:extLst>
              <a:ext uri="{FF2B5EF4-FFF2-40B4-BE49-F238E27FC236}">
                <a16:creationId xmlns:a16="http://schemas.microsoft.com/office/drawing/2014/main" id="{86B106C8-A46B-408F-81FE-AE08AD431FBF}"/>
              </a:ext>
            </a:extLst>
          </p:cNvPr>
          <p:cNvSpPr txBox="1"/>
          <p:nvPr/>
        </p:nvSpPr>
        <p:spPr>
          <a:xfrm>
            <a:off x="7432689" y="1577008"/>
            <a:ext cx="1107383" cy="1477328"/>
          </a:xfrm>
          <a:prstGeom prst="rect">
            <a:avLst/>
          </a:prstGeom>
          <a:noFill/>
        </p:spPr>
        <p:txBody>
          <a:bodyPr wrap="square" rtlCol="0">
            <a:spAutoFit/>
          </a:bodyPr>
          <a:lstStyle/>
          <a:p>
            <a:pPr algn="ctr"/>
            <a:r>
              <a:rPr lang="en-GB" sz="1000" b="1" i="1">
                <a:latin typeface="Trebuchet MS" panose="020B0603020202020204" pitchFamily="34" charset="0"/>
              </a:rPr>
              <a:t>A </a:t>
            </a:r>
            <a:r>
              <a:rPr lang="en-GB" sz="1000" b="1" i="1">
                <a:solidFill>
                  <a:schemeClr val="accent1">
                    <a:lumMod val="75000"/>
                  </a:schemeClr>
                </a:solidFill>
                <a:latin typeface="Trebuchet MS" panose="020B0603020202020204" pitchFamily="34" charset="0"/>
              </a:rPr>
              <a:t>strong and recognized high quality brand image </a:t>
            </a:r>
            <a:r>
              <a:rPr lang="en-GB" sz="1000" b="1" i="1">
                <a:latin typeface="Trebuchet MS" panose="020B0603020202020204" pitchFamily="34" charset="0"/>
              </a:rPr>
              <a:t>in </a:t>
            </a:r>
            <a:r>
              <a:rPr lang="en-GB" sz="1000" b="1" i="1">
                <a:solidFill>
                  <a:schemeClr val="accent1">
                    <a:lumMod val="75000"/>
                  </a:schemeClr>
                </a:solidFill>
                <a:latin typeface="Trebuchet MS" panose="020B0603020202020204" pitchFamily="34" charset="0"/>
              </a:rPr>
              <a:t>France</a:t>
            </a:r>
            <a:r>
              <a:rPr lang="en-GB" sz="1000" b="1" i="1">
                <a:latin typeface="Trebuchet MS" panose="020B0603020202020204" pitchFamily="34" charset="0"/>
              </a:rPr>
              <a:t>, leaning on </a:t>
            </a:r>
            <a:r>
              <a:rPr lang="en-GB" sz="1000" b="1" i="1">
                <a:solidFill>
                  <a:schemeClr val="accent1">
                    <a:lumMod val="75000"/>
                  </a:schemeClr>
                </a:solidFill>
                <a:latin typeface="Trebuchet MS" panose="020B0603020202020204" pitchFamily="34" charset="0"/>
              </a:rPr>
              <a:t>D&amp;B </a:t>
            </a:r>
            <a:r>
              <a:rPr lang="en-GB" sz="1000" b="1" i="1">
                <a:latin typeface="Trebuchet MS" panose="020B0603020202020204" pitchFamily="34" charset="0"/>
              </a:rPr>
              <a:t>to reinforce </a:t>
            </a:r>
            <a:r>
              <a:rPr lang="en-GB" sz="1000" b="1" i="1" err="1">
                <a:solidFill>
                  <a:schemeClr val="accent1">
                    <a:lumMod val="75000"/>
                  </a:schemeClr>
                </a:solidFill>
                <a:latin typeface="Trebuchet MS" panose="020B0603020202020204" pitchFamily="34" charset="0"/>
              </a:rPr>
              <a:t>Altares</a:t>
            </a:r>
            <a:r>
              <a:rPr lang="en-GB" sz="1000" b="1" i="1">
                <a:solidFill>
                  <a:schemeClr val="accent1">
                    <a:lumMod val="75000"/>
                  </a:schemeClr>
                </a:solidFill>
                <a:latin typeface="Trebuchet MS" panose="020B0603020202020204" pitchFamily="34" charset="0"/>
              </a:rPr>
              <a:t> brand in Benelux</a:t>
            </a:r>
          </a:p>
        </p:txBody>
      </p:sp>
      <p:sp>
        <p:nvSpPr>
          <p:cNvPr id="109" name="ZoneTexte 108">
            <a:extLst>
              <a:ext uri="{FF2B5EF4-FFF2-40B4-BE49-F238E27FC236}">
                <a16:creationId xmlns:a16="http://schemas.microsoft.com/office/drawing/2014/main" id="{0CBBC16E-1912-4A49-8DED-ECAF1ADB240E}"/>
              </a:ext>
            </a:extLst>
          </p:cNvPr>
          <p:cNvSpPr txBox="1"/>
          <p:nvPr/>
        </p:nvSpPr>
        <p:spPr>
          <a:xfrm>
            <a:off x="5108" y="1625691"/>
            <a:ext cx="1082419" cy="707886"/>
          </a:xfrm>
          <a:prstGeom prst="rect">
            <a:avLst/>
          </a:prstGeom>
          <a:noFill/>
        </p:spPr>
        <p:txBody>
          <a:bodyPr wrap="square" rtlCol="0">
            <a:spAutoFit/>
          </a:bodyPr>
          <a:lstStyle/>
          <a:p>
            <a:pPr algn="ctr"/>
            <a:r>
              <a:rPr lang="en-GB" sz="1000" b="1" i="1">
                <a:solidFill>
                  <a:schemeClr val="accent1">
                    <a:lumMod val="75000"/>
                  </a:schemeClr>
                </a:solidFill>
                <a:latin typeface="Trebuchet MS" panose="020B0603020202020204" pitchFamily="34" charset="0"/>
              </a:rPr>
              <a:t>Diversified, local </a:t>
            </a:r>
            <a:r>
              <a:rPr lang="en-GB" sz="1000" b="1" i="1">
                <a:latin typeface="Trebuchet MS" panose="020B0603020202020204" pitchFamily="34" charset="0"/>
              </a:rPr>
              <a:t>and </a:t>
            </a:r>
            <a:r>
              <a:rPr lang="en-GB" sz="1000" b="1" i="1">
                <a:solidFill>
                  <a:schemeClr val="accent1">
                    <a:lumMod val="75000"/>
                  </a:schemeClr>
                </a:solidFill>
                <a:latin typeface="Trebuchet MS" panose="020B0603020202020204" pitchFamily="34" charset="0"/>
              </a:rPr>
              <a:t>international</a:t>
            </a:r>
            <a:r>
              <a:rPr lang="en-GB" sz="1000" b="1" i="1">
                <a:latin typeface="Trebuchet MS" panose="020B0603020202020204" pitchFamily="34" charset="0"/>
              </a:rPr>
              <a:t> data providers</a:t>
            </a:r>
            <a:endParaRPr lang="en-GB" sz="1000" b="1" i="1">
              <a:solidFill>
                <a:schemeClr val="tx2"/>
              </a:solidFill>
              <a:latin typeface="Trebuchet MS" panose="020B0603020202020204" pitchFamily="34" charset="0"/>
            </a:endParaRPr>
          </a:p>
        </p:txBody>
      </p:sp>
      <p:sp>
        <p:nvSpPr>
          <p:cNvPr id="112" name="ZoneTexte 111">
            <a:extLst>
              <a:ext uri="{FF2B5EF4-FFF2-40B4-BE49-F238E27FC236}">
                <a16:creationId xmlns:a16="http://schemas.microsoft.com/office/drawing/2014/main" id="{BB5D5F8F-94B6-4561-AEB9-86FCAC558187}"/>
              </a:ext>
            </a:extLst>
          </p:cNvPr>
          <p:cNvSpPr txBox="1"/>
          <p:nvPr/>
        </p:nvSpPr>
        <p:spPr>
          <a:xfrm>
            <a:off x="1149825" y="1625691"/>
            <a:ext cx="1082419" cy="861774"/>
          </a:xfrm>
          <a:prstGeom prst="rect">
            <a:avLst/>
          </a:prstGeom>
          <a:noFill/>
        </p:spPr>
        <p:txBody>
          <a:bodyPr wrap="square" rtlCol="0">
            <a:spAutoFit/>
          </a:bodyPr>
          <a:lstStyle/>
          <a:p>
            <a:pPr algn="ctr"/>
            <a:r>
              <a:rPr lang="en-GB" sz="1000" b="1" i="1">
                <a:latin typeface="Trebuchet MS" panose="020B0603020202020204" pitchFamily="34" charset="0"/>
              </a:rPr>
              <a:t>Rich and </a:t>
            </a:r>
            <a:r>
              <a:rPr lang="en-GB" sz="1000" b="1" i="1">
                <a:solidFill>
                  <a:schemeClr val="accent1">
                    <a:lumMod val="75000"/>
                  </a:schemeClr>
                </a:solidFill>
                <a:latin typeface="Trebuchet MS" panose="020B0603020202020204" pitchFamily="34" charset="0"/>
              </a:rPr>
              <a:t>highly differentiating data </a:t>
            </a:r>
            <a:r>
              <a:rPr lang="en-GB" sz="1000" b="1" i="1">
                <a:latin typeface="Trebuchet MS" panose="020B0603020202020204" pitchFamily="34" charset="0"/>
              </a:rPr>
              <a:t>(e.g. </a:t>
            </a:r>
            <a:r>
              <a:rPr lang="en-GB" sz="1000" b="1" i="1" err="1">
                <a:latin typeface="Trebuchet MS" panose="020B0603020202020204" pitchFamily="34" charset="0"/>
              </a:rPr>
              <a:t>Paydex</a:t>
            </a:r>
            <a:r>
              <a:rPr lang="en-GB" sz="1000" b="1" i="1">
                <a:latin typeface="Trebuchet MS" panose="020B0603020202020204" pitchFamily="34" charset="0"/>
              </a:rPr>
              <a:t>)</a:t>
            </a:r>
            <a:endParaRPr lang="en-GB" sz="1000" b="1" i="1">
              <a:solidFill>
                <a:schemeClr val="tx2"/>
              </a:solidFill>
              <a:latin typeface="Trebuchet MS" panose="020B0603020202020204" pitchFamily="34" charset="0"/>
            </a:endParaRPr>
          </a:p>
        </p:txBody>
      </p:sp>
      <p:sp>
        <p:nvSpPr>
          <p:cNvPr id="154" name="ZoneTexte 153">
            <a:extLst>
              <a:ext uri="{FF2B5EF4-FFF2-40B4-BE49-F238E27FC236}">
                <a16:creationId xmlns:a16="http://schemas.microsoft.com/office/drawing/2014/main" id="{2E2B8C7D-6844-431E-83CA-2E7A66233C46}"/>
              </a:ext>
            </a:extLst>
          </p:cNvPr>
          <p:cNvSpPr txBox="1"/>
          <p:nvPr/>
        </p:nvSpPr>
        <p:spPr>
          <a:xfrm>
            <a:off x="8645616" y="1541087"/>
            <a:ext cx="1107383" cy="1169551"/>
          </a:xfrm>
          <a:prstGeom prst="rect">
            <a:avLst/>
          </a:prstGeom>
          <a:noFill/>
        </p:spPr>
        <p:txBody>
          <a:bodyPr wrap="square" rtlCol="0">
            <a:spAutoFit/>
          </a:bodyPr>
          <a:lstStyle/>
          <a:p>
            <a:pPr algn="ctr"/>
            <a:r>
              <a:rPr lang="en-GB" sz="1000" b="1" i="1">
                <a:latin typeface="Trebuchet MS" panose="020B0603020202020204" pitchFamily="34" charset="0"/>
              </a:rPr>
              <a:t>Strongly </a:t>
            </a:r>
            <a:r>
              <a:rPr lang="en-GB" sz="1000" b="1" i="1">
                <a:solidFill>
                  <a:schemeClr val="accent1">
                    <a:lumMod val="75000"/>
                  </a:schemeClr>
                </a:solidFill>
                <a:latin typeface="Trebuchet MS" panose="020B0603020202020204" pitchFamily="34" charset="0"/>
              </a:rPr>
              <a:t>resilient and diversified </a:t>
            </a:r>
            <a:r>
              <a:rPr lang="en-GB" sz="1000" b="1" i="1">
                <a:latin typeface="Trebuchet MS" panose="020B0603020202020204" pitchFamily="34" charset="0"/>
              </a:rPr>
              <a:t>client base, both in terms of </a:t>
            </a:r>
            <a:r>
              <a:rPr lang="en-GB" sz="1000" b="1" i="1">
                <a:solidFill>
                  <a:schemeClr val="accent1">
                    <a:lumMod val="75000"/>
                  </a:schemeClr>
                </a:solidFill>
                <a:latin typeface="Trebuchet MS" panose="020B0603020202020204" pitchFamily="34" charset="0"/>
              </a:rPr>
              <a:t>size, sector and geography</a:t>
            </a:r>
            <a:endParaRPr lang="en-GB" sz="1000" b="1" i="1">
              <a:latin typeface="Trebuchet MS" panose="020B0603020202020204" pitchFamily="34" charset="0"/>
            </a:endParaRPr>
          </a:p>
        </p:txBody>
      </p:sp>
      <p:sp>
        <p:nvSpPr>
          <p:cNvPr id="155" name="ZoneTexte 154">
            <a:extLst>
              <a:ext uri="{FF2B5EF4-FFF2-40B4-BE49-F238E27FC236}">
                <a16:creationId xmlns:a16="http://schemas.microsoft.com/office/drawing/2014/main" id="{2F13880E-807E-47F3-87DB-3AAA0BE6B135}"/>
              </a:ext>
            </a:extLst>
          </p:cNvPr>
          <p:cNvSpPr txBox="1"/>
          <p:nvPr/>
        </p:nvSpPr>
        <p:spPr>
          <a:xfrm>
            <a:off x="3727035" y="6070306"/>
            <a:ext cx="4580174" cy="400110"/>
          </a:xfrm>
          <a:prstGeom prst="rect">
            <a:avLst/>
          </a:prstGeom>
          <a:noFill/>
        </p:spPr>
        <p:txBody>
          <a:bodyPr wrap="square" rtlCol="0">
            <a:spAutoFit/>
          </a:bodyPr>
          <a:lstStyle/>
          <a:p>
            <a:pPr algn="ctr"/>
            <a:r>
              <a:rPr lang="en-GB" sz="1000" b="1" i="1">
                <a:solidFill>
                  <a:schemeClr val="accent1">
                    <a:lumMod val="75000"/>
                  </a:schemeClr>
                </a:solidFill>
                <a:latin typeface="Trebuchet MS" panose="020B0603020202020204" pitchFamily="34" charset="0"/>
              </a:rPr>
              <a:t>Historical partnership </a:t>
            </a:r>
            <a:r>
              <a:rPr lang="en-GB" sz="1000" b="1" i="1">
                <a:latin typeface="Trebuchet MS" panose="020B0603020202020204" pitchFamily="34" charset="0"/>
              </a:rPr>
              <a:t>- running</a:t>
            </a:r>
            <a:r>
              <a:rPr lang="en-GB" sz="1000" b="1" i="1">
                <a:solidFill>
                  <a:schemeClr val="accent1">
                    <a:lumMod val="75000"/>
                  </a:schemeClr>
                </a:solidFill>
                <a:latin typeface="Trebuchet MS" panose="020B0603020202020204" pitchFamily="34" charset="0"/>
              </a:rPr>
              <a:t> until 2031 </a:t>
            </a:r>
            <a:r>
              <a:rPr lang="en-GB" sz="1000" b="1" i="1">
                <a:solidFill>
                  <a:schemeClr val="tx2"/>
                </a:solidFill>
                <a:latin typeface="Trebuchet MS" panose="020B0603020202020204" pitchFamily="34" charset="0"/>
              </a:rPr>
              <a:t>- </a:t>
            </a:r>
            <a:r>
              <a:rPr lang="en-GB" sz="1000" b="1" i="1">
                <a:latin typeface="Trebuchet MS" panose="020B0603020202020204" pitchFamily="34" charset="0"/>
              </a:rPr>
              <a:t>enabling </a:t>
            </a:r>
            <a:r>
              <a:rPr lang="en-GB" sz="1000" b="1" i="1" err="1">
                <a:latin typeface="Trebuchet MS" panose="020B0603020202020204" pitchFamily="34" charset="0"/>
              </a:rPr>
              <a:t>Altares</a:t>
            </a:r>
            <a:r>
              <a:rPr lang="en-GB" sz="1000" b="1" i="1">
                <a:latin typeface="Trebuchet MS" panose="020B0603020202020204" pitchFamily="34" charset="0"/>
              </a:rPr>
              <a:t> to benefit from </a:t>
            </a:r>
            <a:r>
              <a:rPr lang="en-GB" sz="1000" b="1" i="1">
                <a:solidFill>
                  <a:schemeClr val="accent1">
                    <a:lumMod val="75000"/>
                  </a:schemeClr>
                </a:solidFill>
                <a:latin typeface="Trebuchet MS" panose="020B0603020202020204" pitchFamily="34" charset="0"/>
              </a:rPr>
              <a:t>D&amp;B international data </a:t>
            </a:r>
            <a:r>
              <a:rPr lang="en-GB" sz="1000" b="1" i="1">
                <a:latin typeface="Trebuchet MS" panose="020B0603020202020204" pitchFamily="34" charset="0"/>
              </a:rPr>
              <a:t>and very </a:t>
            </a:r>
            <a:r>
              <a:rPr lang="en-GB" sz="1000" b="1" i="1">
                <a:solidFill>
                  <a:schemeClr val="accent1">
                    <a:lumMod val="75000"/>
                  </a:schemeClr>
                </a:solidFill>
                <a:latin typeface="Trebuchet MS" panose="020B0603020202020204" pitchFamily="34" charset="0"/>
              </a:rPr>
              <a:t>strong worldwide brand image</a:t>
            </a:r>
          </a:p>
        </p:txBody>
      </p:sp>
      <p:sp>
        <p:nvSpPr>
          <p:cNvPr id="164" name="Rectangle 163">
            <a:extLst>
              <a:ext uri="{FF2B5EF4-FFF2-40B4-BE49-F238E27FC236}">
                <a16:creationId xmlns:a16="http://schemas.microsoft.com/office/drawing/2014/main" id="{5F06EA9B-3CC6-4322-B080-455C56650498}"/>
              </a:ext>
            </a:extLst>
          </p:cNvPr>
          <p:cNvSpPr/>
          <p:nvPr/>
        </p:nvSpPr>
        <p:spPr bwMode="auto">
          <a:xfrm>
            <a:off x="1304680" y="4751609"/>
            <a:ext cx="830106" cy="396984"/>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kumimoji="0" lang="en-GB" sz="800" b="0" i="1" u="none" strike="noStrike" cap="none" normalizeH="0" baseline="0">
                <a:ln>
                  <a:noFill/>
                </a:ln>
                <a:solidFill>
                  <a:schemeClr val="tx1"/>
                </a:solidFill>
                <a:effectLst/>
                <a:latin typeface="Trebuchet MS" panose="020B0603020202020204" pitchFamily="34" charset="0"/>
              </a:rPr>
              <a:t>Compliance data</a:t>
            </a:r>
          </a:p>
        </p:txBody>
      </p:sp>
      <p:pic>
        <p:nvPicPr>
          <p:cNvPr id="161" name="Picture 22" descr="A close up of a logo&#10;&#10;Description automatically generated">
            <a:extLst>
              <a:ext uri="{FF2B5EF4-FFF2-40B4-BE49-F238E27FC236}">
                <a16:creationId xmlns:a16="http://schemas.microsoft.com/office/drawing/2014/main" id="{4DDFF66F-833B-4735-9AD4-03200BE02E93}"/>
              </a:ext>
            </a:extLst>
          </p:cNvPr>
          <p:cNvPicPr>
            <a:picLocks noChangeAspect="1"/>
          </p:cNvPicPr>
          <p:nvPr/>
        </p:nvPicPr>
        <p:blipFill rotWithShape="1">
          <a:blip r:embed="rId36">
            <a:extLst>
              <a:ext uri="{28A0092B-C50C-407E-A947-70E740481C1C}">
                <a14:useLocalDpi xmlns:a14="http://schemas.microsoft.com/office/drawing/2010/main" val="0"/>
              </a:ext>
            </a:extLst>
          </a:blip>
          <a:srcRect l="11098" t="23043" r="7677" b="16712"/>
          <a:stretch/>
        </p:blipFill>
        <p:spPr>
          <a:xfrm>
            <a:off x="213068" y="5566101"/>
            <a:ext cx="717352" cy="248889"/>
          </a:xfrm>
          <a:prstGeom prst="rect">
            <a:avLst/>
          </a:prstGeom>
        </p:spPr>
      </p:pic>
      <p:pic>
        <p:nvPicPr>
          <p:cNvPr id="163" name="Picture 15" descr="RÃ©sultat de recherche d'images pour &quot;acuris&quot;">
            <a:extLst>
              <a:ext uri="{FF2B5EF4-FFF2-40B4-BE49-F238E27FC236}">
                <a16:creationId xmlns:a16="http://schemas.microsoft.com/office/drawing/2014/main" id="{71086451-6913-4EAD-9B08-EBF012A4C081}"/>
              </a:ext>
            </a:extLst>
          </p:cNvPr>
          <p:cNvPicPr>
            <a:picLocks noChangeAspect="1" noChangeArrowheads="1"/>
          </p:cNvPicPr>
          <p:nvPr/>
        </p:nvPicPr>
        <p:blipFill>
          <a:blip r:embed="rId3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1305" y="5753659"/>
            <a:ext cx="590732" cy="196087"/>
          </a:xfrm>
          <a:prstGeom prst="rect">
            <a:avLst/>
          </a:prstGeom>
          <a:noFill/>
          <a:extLst>
            <a:ext uri="{909E8E84-426E-40DD-AFC4-6F175D3DCCD1}">
              <a14:hiddenFill xmlns:a14="http://schemas.microsoft.com/office/drawing/2010/main">
                <a:solidFill>
                  <a:srgbClr val="FFFFFF"/>
                </a:solidFill>
              </a14:hiddenFill>
            </a:ext>
          </a:extLst>
        </p:spPr>
      </p:pic>
      <p:pic>
        <p:nvPicPr>
          <p:cNvPr id="207874" name="Picture 2" descr="Financial Technology, Data, and Expertise | Refinitiv">
            <a:extLst>
              <a:ext uri="{FF2B5EF4-FFF2-40B4-BE49-F238E27FC236}">
                <a16:creationId xmlns:a16="http://schemas.microsoft.com/office/drawing/2014/main" id="{D79D661D-88B0-4334-B4A9-607E4A966E5B}"/>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245431" y="6004384"/>
            <a:ext cx="652626" cy="13184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42375E5B-F154-43BB-AD35-9519B478B4CE}"/>
              </a:ext>
            </a:extLst>
          </p:cNvPr>
          <p:cNvSpPr/>
          <p:nvPr/>
        </p:nvSpPr>
        <p:spPr bwMode="auto">
          <a:xfrm>
            <a:off x="2042314" y="4863868"/>
            <a:ext cx="114477" cy="14307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itchFamily="34" charset="0"/>
              </a:rPr>
              <a:t>*</a:t>
            </a:r>
          </a:p>
        </p:txBody>
      </p:sp>
      <p:pic>
        <p:nvPicPr>
          <p:cNvPr id="156" name="Picture 2" descr="Dun &amp; Bradstreet - Bâtir des relations">
            <a:extLst>
              <a:ext uri="{FF2B5EF4-FFF2-40B4-BE49-F238E27FC236}">
                <a16:creationId xmlns:a16="http://schemas.microsoft.com/office/drawing/2014/main" id="{6A2BA39A-78D5-4934-8781-E457C7FF0E0D}"/>
              </a:ext>
            </a:extLst>
          </p:cNvPr>
          <p:cNvPicPr>
            <a:picLocks noChangeAspect="1" noChangeArrowheads="1"/>
          </p:cNvPicPr>
          <p:nvPr/>
        </p:nvPicPr>
        <p:blipFill>
          <a:blip r:embed="rId3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7903" y="6225383"/>
            <a:ext cx="669919" cy="97983"/>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Connecteur droit avec flèche 13">
            <a:extLst>
              <a:ext uri="{FF2B5EF4-FFF2-40B4-BE49-F238E27FC236}">
                <a16:creationId xmlns:a16="http://schemas.microsoft.com/office/drawing/2014/main" id="{76E54763-2FBA-4457-BF0C-2407BE92E914}"/>
              </a:ext>
            </a:extLst>
          </p:cNvPr>
          <p:cNvCxnSpPr/>
          <p:nvPr/>
        </p:nvCxnSpPr>
        <p:spPr bwMode="auto">
          <a:xfrm>
            <a:off x="882795" y="6288833"/>
            <a:ext cx="370030"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pic>
        <p:nvPicPr>
          <p:cNvPr id="8194" name="Picture 2">
            <a:extLst>
              <a:ext uri="{FF2B5EF4-FFF2-40B4-BE49-F238E27FC236}">
                <a16:creationId xmlns:a16="http://schemas.microsoft.com/office/drawing/2014/main" id="{C38CE4FF-30F8-4165-B6DF-BCBC6E780156}"/>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372394" y="4167814"/>
            <a:ext cx="717352" cy="2956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1811662"/>
      </p:ext>
    </p:extLst>
  </p:cSld>
  <p:clrMapOvr>
    <a:masterClrMapping/>
  </p:clrMapOvr>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CEF286B-1BC2-4421-86F2-1F8DFD8E2205}"/>
              </a:ext>
            </a:extLst>
          </p:cNvPr>
          <p:cNvGraphicFramePr>
            <a:graphicFrameLocks noChangeAspect="1"/>
          </p:cNvGraphicFramePr>
          <p:nvPr>
            <p:custDataLst>
              <p:tags r:id="rId1"/>
            </p:custDataLst>
            <p:extLst>
              <p:ext uri="{D42A27DB-BD31-4B8C-83A1-F6EECF244321}">
                <p14:modId xmlns:p14="http://schemas.microsoft.com/office/powerpoint/2010/main" val="1748260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Objet 4" hidden="1">
                        <a:extLst>
                          <a:ext uri="{FF2B5EF4-FFF2-40B4-BE49-F238E27FC236}">
                            <a16:creationId xmlns:a16="http://schemas.microsoft.com/office/drawing/2014/main" id="{CCEF286B-1BC2-4421-86F2-1F8DFD8E22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DB82C8E-E8B1-478E-B360-98B4D58F787E}"/>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E4DEBAB6-43D3-4666-B1B8-24DA9F2796CF}"/>
              </a:ext>
            </a:extLst>
          </p:cNvPr>
          <p:cNvSpPr>
            <a:spLocks noGrp="1"/>
          </p:cNvSpPr>
          <p:nvPr>
            <p:ph type="title"/>
          </p:nvPr>
        </p:nvSpPr>
        <p:spPr>
          <a:xfrm>
            <a:off x="165600" y="147600"/>
            <a:ext cx="8277247" cy="684000"/>
          </a:xfrm>
        </p:spPr>
        <p:txBody>
          <a:bodyPr/>
          <a:lstStyle/>
          <a:p>
            <a:r>
              <a:rPr lang="en-GB">
                <a:latin typeface="Trebuchet MS" panose="020B0603020202020204" pitchFamily="34" charset="0"/>
              </a:rPr>
              <a:t>The </a:t>
            </a:r>
            <a:r>
              <a:rPr lang="en-GB">
                <a:solidFill>
                  <a:schemeClr val="tx2"/>
                </a:solidFill>
                <a:latin typeface="Trebuchet MS" panose="020B0603020202020204" pitchFamily="34" charset="0"/>
              </a:rPr>
              <a:t>Data Hub </a:t>
            </a:r>
            <a:r>
              <a:rPr lang="en-GB">
                <a:latin typeface="Trebuchet MS" panose="020B0603020202020204" pitchFamily="34" charset="0"/>
              </a:rPr>
              <a:t>project has been put in place to best </a:t>
            </a:r>
            <a:r>
              <a:rPr lang="en-GB">
                <a:solidFill>
                  <a:schemeClr val="tx2"/>
                </a:solidFill>
                <a:latin typeface="Trebuchet MS" panose="020B0603020202020204" pitchFamily="34" charset="0"/>
              </a:rPr>
              <a:t>answer major challenges and issues faced by </a:t>
            </a:r>
            <a:r>
              <a:rPr lang="en-GB" err="1">
                <a:solidFill>
                  <a:schemeClr val="tx2"/>
                </a:solidFill>
                <a:latin typeface="Trebuchet MS" panose="020B0603020202020204" pitchFamily="34" charset="0"/>
              </a:rPr>
              <a:t>Altares</a:t>
            </a:r>
            <a:r>
              <a:rPr lang="en-GB">
                <a:solidFill>
                  <a:schemeClr val="tx2"/>
                </a:solidFill>
                <a:latin typeface="Trebuchet MS" panose="020B0603020202020204" pitchFamily="34" charset="0"/>
              </a:rPr>
              <a:t>’ aging IT systems</a:t>
            </a:r>
            <a:r>
              <a:rPr lang="en-GB">
                <a:latin typeface="Trebuchet MS" panose="020B0603020202020204" pitchFamily="34" charset="0"/>
              </a:rPr>
              <a:t> constrained by a </a:t>
            </a:r>
            <a:r>
              <a:rPr lang="en-GB">
                <a:solidFill>
                  <a:schemeClr val="tx2"/>
                </a:solidFill>
                <a:latin typeface="Trebuchet MS" panose="020B0603020202020204" pitchFamily="34" charset="0"/>
              </a:rPr>
              <a:t>highly competitive environment </a:t>
            </a:r>
          </a:p>
        </p:txBody>
      </p:sp>
      <p:cxnSp>
        <p:nvCxnSpPr>
          <p:cNvPr id="6" name="Connecteur droit 208">
            <a:extLst>
              <a:ext uri="{FF2B5EF4-FFF2-40B4-BE49-F238E27FC236}">
                <a16:creationId xmlns:a16="http://schemas.microsoft.com/office/drawing/2014/main" id="{F53A80F2-B68E-4C29-A28C-6997DA18F8C1}"/>
              </a:ext>
            </a:extLst>
          </p:cNvPr>
          <p:cNvCxnSpPr>
            <a:cxnSpLocks/>
          </p:cNvCxnSpPr>
          <p:nvPr/>
        </p:nvCxnSpPr>
        <p:spPr bwMode="auto">
          <a:xfrm>
            <a:off x="348030" y="1088200"/>
            <a:ext cx="43165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7" name="Rectangle 84">
            <a:extLst>
              <a:ext uri="{FF2B5EF4-FFF2-40B4-BE49-F238E27FC236}">
                <a16:creationId xmlns:a16="http://schemas.microsoft.com/office/drawing/2014/main" id="{3F154BBE-F097-4CA9-B665-D2D4323CD129}"/>
              </a:ext>
            </a:extLst>
          </p:cNvPr>
          <p:cNvSpPr/>
          <p:nvPr/>
        </p:nvSpPr>
        <p:spPr bwMode="auto">
          <a:xfrm>
            <a:off x="1310976" y="952186"/>
            <a:ext cx="2464531" cy="243294"/>
          </a:xfrm>
          <a:prstGeom prst="rect">
            <a:avLst/>
          </a:prstGeom>
          <a:solidFill>
            <a:schemeClr val="bg1"/>
          </a:solidFill>
        </p:spPr>
        <p:txBody>
          <a:bodyPr wrap="square" rtlCol="0">
            <a:noAutofit/>
          </a:bodyPr>
          <a:lstStyle/>
          <a:p>
            <a:pPr algn="ctr"/>
            <a:r>
              <a:rPr lang="en-GB" sz="1100">
                <a:latin typeface="Trebuchet MS" panose="020B0603020202020204" pitchFamily="34" charset="0"/>
              </a:rPr>
              <a:t>Challenges and needs at stake</a:t>
            </a:r>
          </a:p>
        </p:txBody>
      </p:sp>
      <p:cxnSp>
        <p:nvCxnSpPr>
          <p:cNvPr id="8" name="Connecteur droit 208">
            <a:extLst>
              <a:ext uri="{FF2B5EF4-FFF2-40B4-BE49-F238E27FC236}">
                <a16:creationId xmlns:a16="http://schemas.microsoft.com/office/drawing/2014/main" id="{65CE285E-9C0C-42E7-BE63-DF0FACC6EA67}"/>
              </a:ext>
            </a:extLst>
          </p:cNvPr>
          <p:cNvCxnSpPr>
            <a:cxnSpLocks/>
          </p:cNvCxnSpPr>
          <p:nvPr/>
        </p:nvCxnSpPr>
        <p:spPr bwMode="auto">
          <a:xfrm>
            <a:off x="5262092" y="1088200"/>
            <a:ext cx="43165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9" name="Rectangle 84">
            <a:extLst>
              <a:ext uri="{FF2B5EF4-FFF2-40B4-BE49-F238E27FC236}">
                <a16:creationId xmlns:a16="http://schemas.microsoft.com/office/drawing/2014/main" id="{3CA54F6B-FB6C-4A89-AA3B-FB797DE1F0C0}"/>
              </a:ext>
            </a:extLst>
          </p:cNvPr>
          <p:cNvSpPr/>
          <p:nvPr/>
        </p:nvSpPr>
        <p:spPr bwMode="auto">
          <a:xfrm>
            <a:off x="6111992" y="952186"/>
            <a:ext cx="2616733" cy="243294"/>
          </a:xfrm>
          <a:prstGeom prst="rect">
            <a:avLst/>
          </a:prstGeom>
          <a:solidFill>
            <a:schemeClr val="bg1"/>
          </a:solidFill>
        </p:spPr>
        <p:txBody>
          <a:bodyPr wrap="square" rtlCol="0">
            <a:noAutofit/>
          </a:bodyPr>
          <a:lstStyle/>
          <a:p>
            <a:pPr algn="ctr"/>
            <a:r>
              <a:rPr lang="en-GB" sz="1100">
                <a:latin typeface="Trebuchet MS" panose="020B0603020202020204" pitchFamily="34" charset="0"/>
              </a:rPr>
              <a:t>Key objectives of the project </a:t>
            </a:r>
          </a:p>
        </p:txBody>
      </p:sp>
      <p:sp>
        <p:nvSpPr>
          <p:cNvPr id="26" name="Rectangle 25">
            <a:extLst>
              <a:ext uri="{FF2B5EF4-FFF2-40B4-BE49-F238E27FC236}">
                <a16:creationId xmlns:a16="http://schemas.microsoft.com/office/drawing/2014/main" id="{670823B4-899B-425F-A2D7-08A6B6F47FAA}"/>
              </a:ext>
            </a:extLst>
          </p:cNvPr>
          <p:cNvSpPr/>
          <p:nvPr/>
        </p:nvSpPr>
        <p:spPr bwMode="auto">
          <a:xfrm>
            <a:off x="5189304" y="1343185"/>
            <a:ext cx="4316532" cy="4943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lvl="1"/>
            <a:r>
              <a:rPr lang="en-GB" sz="1050" err="1">
                <a:latin typeface="Trebuchet MS" panose="020B0603020202020204" pitchFamily="34" charset="0"/>
              </a:rPr>
              <a:t>Altares</a:t>
            </a:r>
            <a:r>
              <a:rPr lang="en-GB" sz="1050">
                <a:latin typeface="Trebuchet MS" panose="020B0603020202020204" pitchFamily="34" charset="0"/>
              </a:rPr>
              <a:t> aim to start a </a:t>
            </a:r>
            <a:r>
              <a:rPr lang="en-GB" sz="1050">
                <a:solidFill>
                  <a:schemeClr val="tx2"/>
                </a:solidFill>
                <a:latin typeface="Trebuchet MS" panose="020B0603020202020204" pitchFamily="34" charset="0"/>
              </a:rPr>
              <a:t>legacy modernization “ à la carte” </a:t>
            </a:r>
            <a:r>
              <a:rPr lang="en-GB" sz="1050">
                <a:latin typeface="Trebuchet MS" panose="020B0603020202020204" pitchFamily="34" charset="0"/>
              </a:rPr>
              <a:t>in order to: </a:t>
            </a:r>
          </a:p>
          <a:p>
            <a:pPr marL="171450" lvl="1" indent="-171450">
              <a:buFont typeface="Arial" panose="020B0604020202020204" pitchFamily="34" charset="0"/>
              <a:buChar char="•"/>
            </a:pPr>
            <a:endParaRPr lang="en-GB" sz="1050">
              <a:latin typeface="Trebuchet MS" panose="020B0603020202020204" pitchFamily="34" charset="0"/>
            </a:endParaRPr>
          </a:p>
          <a:p>
            <a:pPr marL="171450" lvl="1" indent="-171450">
              <a:buClr>
                <a:schemeClr val="tx1"/>
              </a:buClr>
              <a:buFont typeface="Arial" panose="020B0604020202020204" pitchFamily="34" charset="0"/>
              <a:buChar char="•"/>
            </a:pPr>
            <a:r>
              <a:rPr lang="en-GB" sz="1050">
                <a:latin typeface="Trebuchet MS" panose="020B0603020202020204" pitchFamily="34" charset="0"/>
              </a:rPr>
              <a:t>Provide </a:t>
            </a:r>
            <a:r>
              <a:rPr lang="en-GB" sz="1050" err="1">
                <a:latin typeface="Trebuchet MS" panose="020B0603020202020204" pitchFamily="34" charset="0"/>
              </a:rPr>
              <a:t>Altares</a:t>
            </a:r>
            <a:r>
              <a:rPr lang="en-GB" sz="1050">
                <a:latin typeface="Trebuchet MS" panose="020B0603020202020204" pitchFamily="34" charset="0"/>
              </a:rPr>
              <a:t>’ data to customers </a:t>
            </a:r>
            <a:r>
              <a:rPr lang="en-GB" sz="1050">
                <a:solidFill>
                  <a:schemeClr val="tx2"/>
                </a:solidFill>
                <a:latin typeface="Trebuchet MS" pitchFamily="34" charset="0"/>
              </a:rPr>
              <a:t>directly from </a:t>
            </a:r>
            <a:r>
              <a:rPr lang="en-GB" sz="1050" err="1">
                <a:solidFill>
                  <a:schemeClr val="tx2"/>
                </a:solidFill>
                <a:latin typeface="Trebuchet MS" pitchFamily="34" charset="0"/>
              </a:rPr>
              <a:t>Altares</a:t>
            </a:r>
            <a:r>
              <a:rPr lang="en-GB" sz="1050">
                <a:solidFill>
                  <a:schemeClr val="tx2"/>
                </a:solidFill>
                <a:latin typeface="Trebuchet MS" pitchFamily="34" charset="0"/>
              </a:rPr>
              <a:t>’ information systems</a:t>
            </a:r>
          </a:p>
          <a:p>
            <a:pPr marL="171450" lvl="1" indent="-171450">
              <a:buClr>
                <a:schemeClr val="tx1"/>
              </a:buClr>
              <a:buFont typeface="Arial" panose="020B0604020202020204" pitchFamily="34" charset="0"/>
              <a:buChar char="•"/>
            </a:pPr>
            <a:endParaRPr lang="en-GB" sz="1050">
              <a:solidFill>
                <a:schemeClr val="tx2"/>
              </a:solidFill>
              <a:latin typeface="Trebuchet MS" pitchFamily="34" charset="0"/>
            </a:endParaRPr>
          </a:p>
          <a:p>
            <a:pPr marL="171450" lvl="1" indent="-171450">
              <a:buClr>
                <a:schemeClr val="tx1"/>
              </a:buClr>
              <a:buFont typeface="Arial" panose="020B0604020202020204" pitchFamily="34" charset="0"/>
              <a:buChar char="•"/>
            </a:pPr>
            <a:r>
              <a:rPr lang="en-GB" sz="1050">
                <a:latin typeface="Trebuchet MS" panose="020B0603020202020204" pitchFamily="34" charset="0"/>
              </a:rPr>
              <a:t>Offer </a:t>
            </a:r>
            <a:r>
              <a:rPr lang="en-GB" sz="1050">
                <a:solidFill>
                  <a:schemeClr val="tx2"/>
                </a:solidFill>
                <a:latin typeface="Trebuchet MS" panose="020B0603020202020204" pitchFamily="34" charset="0"/>
              </a:rPr>
              <a:t>high added-value services </a:t>
            </a:r>
            <a:r>
              <a:rPr lang="en-GB" sz="1050">
                <a:latin typeface="Trebuchet MS" panose="020B0603020202020204" pitchFamily="34" charset="0"/>
              </a:rPr>
              <a:t>to</a:t>
            </a:r>
            <a:r>
              <a:rPr lang="en-GB" sz="1050">
                <a:solidFill>
                  <a:schemeClr val="tx2"/>
                </a:solidFill>
                <a:latin typeface="Trebuchet MS" panose="020B0603020202020204" pitchFamily="34" charset="0"/>
              </a:rPr>
              <a:t> </a:t>
            </a:r>
            <a:r>
              <a:rPr lang="en-GB" sz="1050">
                <a:latin typeface="Trebuchet MS" pitchFamily="34" charset="0"/>
              </a:rPr>
              <a:t>customers</a:t>
            </a:r>
          </a:p>
          <a:p>
            <a:pPr marL="171450" lvl="1" indent="-171450">
              <a:buClr>
                <a:schemeClr val="tx1"/>
              </a:buClr>
              <a:buFont typeface="Arial" panose="020B0604020202020204" pitchFamily="34" charset="0"/>
              <a:buChar char="•"/>
            </a:pPr>
            <a:endParaRPr lang="en-GB" sz="1050">
              <a:latin typeface="Trebuchet MS" pitchFamily="34" charset="0"/>
            </a:endParaRPr>
          </a:p>
          <a:p>
            <a:pPr marL="171450" lvl="1" indent="-171450">
              <a:buClr>
                <a:schemeClr val="tx1"/>
              </a:buClr>
              <a:buFont typeface="Arial" panose="020B0604020202020204" pitchFamily="34" charset="0"/>
              <a:buChar char="•"/>
            </a:pPr>
            <a:r>
              <a:rPr lang="en-GB" sz="1050">
                <a:latin typeface="Trebuchet MS" pitchFamily="34" charset="0"/>
              </a:rPr>
              <a:t>Deploy </a:t>
            </a:r>
            <a:r>
              <a:rPr lang="en-GB" sz="1050">
                <a:solidFill>
                  <a:schemeClr val="tx2"/>
                </a:solidFill>
                <a:latin typeface="Trebuchet MS" pitchFamily="34" charset="0"/>
              </a:rPr>
              <a:t>quickly data services for Benelux</a:t>
            </a:r>
          </a:p>
          <a:p>
            <a:pPr marL="171450" lvl="1" indent="-171450">
              <a:buClr>
                <a:schemeClr val="tx1"/>
              </a:buClr>
              <a:buFont typeface="Arial" panose="020B0604020202020204" pitchFamily="34" charset="0"/>
              <a:buChar char="•"/>
            </a:pPr>
            <a:endParaRPr lang="en-GB" sz="1050">
              <a:solidFill>
                <a:schemeClr val="tx2"/>
              </a:solidFill>
              <a:latin typeface="Trebuchet MS" pitchFamily="34" charset="0"/>
            </a:endParaRPr>
          </a:p>
          <a:p>
            <a:pPr marL="171450" lvl="1" indent="-171450">
              <a:buClr>
                <a:schemeClr val="tx1"/>
              </a:buClr>
              <a:buFont typeface="Arial" panose="020B0604020202020204" pitchFamily="34" charset="0"/>
              <a:buChar char="•"/>
            </a:pPr>
            <a:r>
              <a:rPr lang="en-GB" sz="1050">
                <a:solidFill>
                  <a:schemeClr val="tx2"/>
                </a:solidFill>
                <a:latin typeface="Trebuchet MS" pitchFamily="34" charset="0"/>
              </a:rPr>
              <a:t>Share infrastructures and middleware between local markets</a:t>
            </a:r>
          </a:p>
          <a:p>
            <a:pPr marL="171450" lvl="1" indent="-171450">
              <a:buClr>
                <a:schemeClr val="tx1"/>
              </a:buClr>
              <a:buFont typeface="Arial" panose="020B0604020202020204" pitchFamily="34" charset="0"/>
              <a:buChar char="•"/>
            </a:pPr>
            <a:endParaRPr lang="en-GB" sz="1050">
              <a:solidFill>
                <a:schemeClr val="tx2"/>
              </a:solidFill>
              <a:latin typeface="Trebuchet MS" pitchFamily="34" charset="0"/>
            </a:endParaRPr>
          </a:p>
          <a:p>
            <a:pPr marL="171450" lvl="1" indent="-171450">
              <a:buClr>
                <a:schemeClr val="tx1"/>
              </a:buClr>
              <a:buFont typeface="Arial" panose="020B0604020202020204" pitchFamily="34" charset="0"/>
              <a:buChar char="•"/>
            </a:pPr>
            <a:r>
              <a:rPr lang="en-GB" sz="1050">
                <a:latin typeface="Trebuchet MS" panose="020B0603020202020204" pitchFamily="34" charset="0"/>
              </a:rPr>
              <a:t>Provide </a:t>
            </a:r>
            <a:r>
              <a:rPr lang="en-GB" sz="1050">
                <a:solidFill>
                  <a:schemeClr val="tx2"/>
                </a:solidFill>
                <a:latin typeface="Trebuchet MS" panose="020B0603020202020204" pitchFamily="34" charset="0"/>
              </a:rPr>
              <a:t>multi-localized applications </a:t>
            </a:r>
            <a:r>
              <a:rPr lang="en-GB" sz="1050">
                <a:latin typeface="Trebuchet MS" panose="020B0603020202020204" pitchFamily="34" charset="0"/>
              </a:rPr>
              <a:t>and</a:t>
            </a:r>
            <a:r>
              <a:rPr lang="en-GB" sz="1050">
                <a:solidFill>
                  <a:schemeClr val="tx2"/>
                </a:solidFill>
                <a:latin typeface="Trebuchet MS" pitchFamily="34" charset="0"/>
              </a:rPr>
              <a:t> services</a:t>
            </a:r>
          </a:p>
          <a:p>
            <a:pPr marL="171450" lvl="1" indent="-171450">
              <a:buClr>
                <a:schemeClr val="tx1"/>
              </a:buClr>
              <a:buFont typeface="Arial" panose="020B0604020202020204" pitchFamily="34" charset="0"/>
              <a:buChar char="•"/>
            </a:pPr>
            <a:endParaRPr lang="en-GB" sz="1050">
              <a:solidFill>
                <a:schemeClr val="tx2"/>
              </a:solidFill>
              <a:latin typeface="Trebuchet MS" pitchFamily="34" charset="0"/>
            </a:endParaRPr>
          </a:p>
          <a:p>
            <a:pPr marL="171450" lvl="1" indent="-171450">
              <a:buClr>
                <a:schemeClr val="tx1"/>
              </a:buClr>
              <a:buFont typeface="Arial" panose="020B0604020202020204" pitchFamily="34" charset="0"/>
              <a:buChar char="•"/>
            </a:pPr>
            <a:r>
              <a:rPr lang="en-GB" sz="1050">
                <a:solidFill>
                  <a:schemeClr val="tx2"/>
                </a:solidFill>
                <a:latin typeface="Trebuchet MS" pitchFamily="34" charset="0"/>
              </a:rPr>
              <a:t>Reuse</a:t>
            </a:r>
            <a:r>
              <a:rPr lang="en-GB" sz="1050">
                <a:latin typeface="Trebuchet MS" panose="020B0603020202020204" pitchFamily="34" charset="0"/>
              </a:rPr>
              <a:t> </a:t>
            </a:r>
            <a:r>
              <a:rPr lang="en-GB" sz="1050">
                <a:solidFill>
                  <a:schemeClr val="tx2"/>
                </a:solidFill>
                <a:latin typeface="Trebuchet MS" panose="020B0603020202020204" pitchFamily="34" charset="0"/>
              </a:rPr>
              <a:t>technologies</a:t>
            </a:r>
            <a:r>
              <a:rPr lang="en-GB" sz="1050">
                <a:latin typeface="Trebuchet MS" panose="020B0603020202020204" pitchFamily="34" charset="0"/>
              </a:rPr>
              <a:t>, components and ultimately applications</a:t>
            </a:r>
          </a:p>
          <a:p>
            <a:pPr marL="171450" lvl="1" indent="-171450">
              <a:buClr>
                <a:schemeClr val="tx1"/>
              </a:buClr>
              <a:buFont typeface="Arial" panose="020B0604020202020204" pitchFamily="34" charset="0"/>
              <a:buChar char="•"/>
            </a:pPr>
            <a:endParaRPr lang="en-GB" sz="1050">
              <a:latin typeface="Trebuchet MS" panose="020B0603020202020204" pitchFamily="34" charset="0"/>
            </a:endParaRPr>
          </a:p>
          <a:p>
            <a:pPr marL="171450" lvl="1" indent="-171450">
              <a:buClr>
                <a:schemeClr val="tx1"/>
              </a:buClr>
              <a:buFont typeface="Arial" panose="020B0604020202020204" pitchFamily="34" charset="0"/>
              <a:buChar char="•"/>
            </a:pPr>
            <a:r>
              <a:rPr lang="en-GB" sz="1050">
                <a:solidFill>
                  <a:schemeClr val="tx2"/>
                </a:solidFill>
                <a:latin typeface="Trebuchet MS" panose="020B0603020202020204" pitchFamily="34" charset="0"/>
              </a:rPr>
              <a:t>Provide high value-added services </a:t>
            </a:r>
            <a:r>
              <a:rPr lang="en-GB" sz="1050">
                <a:latin typeface="Trebuchet MS" pitchFamily="34" charset="0"/>
              </a:rPr>
              <a:t>based on various data sources to </a:t>
            </a:r>
            <a:r>
              <a:rPr lang="en-GB" sz="1050" err="1">
                <a:latin typeface="Trebuchet MS" pitchFamily="34" charset="0"/>
              </a:rPr>
              <a:t>Altares</a:t>
            </a:r>
            <a:r>
              <a:rPr lang="en-GB" sz="1050">
                <a:latin typeface="Trebuchet MS" pitchFamily="34" charset="0"/>
              </a:rPr>
              <a:t>’ customers</a:t>
            </a:r>
          </a:p>
          <a:p>
            <a:pPr marL="0" lvl="1">
              <a:buClr>
                <a:schemeClr val="tx1"/>
              </a:buClr>
            </a:pPr>
            <a:endParaRPr lang="en-GB" sz="1050">
              <a:latin typeface="Trebuchet MS" pitchFamily="34" charset="0"/>
            </a:endParaRPr>
          </a:p>
          <a:p>
            <a:pPr marL="0" lvl="1">
              <a:buClr>
                <a:schemeClr val="tx1"/>
              </a:buClr>
            </a:pPr>
            <a:r>
              <a:rPr lang="en-GB" sz="1050">
                <a:latin typeface="Trebuchet MS" pitchFamily="34" charset="0"/>
              </a:rPr>
              <a:t>That will technologically result in (among others): </a:t>
            </a:r>
          </a:p>
          <a:p>
            <a:pPr marL="0" lvl="1">
              <a:buClr>
                <a:schemeClr val="tx1"/>
              </a:buClr>
            </a:pPr>
            <a:endParaRPr lang="en-GB" sz="1050">
              <a:latin typeface="Trebuchet MS" pitchFamily="34" charset="0"/>
            </a:endParaRP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lang="en-GB" sz="1050">
                <a:solidFill>
                  <a:schemeClr val="tx2"/>
                </a:solidFill>
                <a:latin typeface="Trebuchet MS" panose="020B0603020202020204" pitchFamily="34" charset="0"/>
              </a:rPr>
              <a:t>Benelux: </a:t>
            </a:r>
          </a:p>
          <a:p>
            <a:pPr marL="628650" lvl="1" indent="-171450">
              <a:buClr>
                <a:schemeClr val="tx1"/>
              </a:buClr>
              <a:buFont typeface="Courier New" panose="02070309020205020404" pitchFamily="49" charset="0"/>
              <a:buChar char="o"/>
            </a:pPr>
            <a:r>
              <a:rPr lang="en-GB" sz="1050">
                <a:latin typeface="Trebuchet MS" panose="020B0603020202020204" pitchFamily="34" charset="0"/>
              </a:rPr>
              <a:t>Building of a new Benelux restful API on top of Nike/ </a:t>
            </a:r>
            <a:r>
              <a:rPr lang="en-GB" sz="1050" err="1">
                <a:latin typeface="Trebuchet MS" panose="020B0603020202020204" pitchFamily="34" charset="0"/>
              </a:rPr>
              <a:t>BaseCamp</a:t>
            </a:r>
            <a:endParaRPr lang="en-GB" sz="1050">
              <a:latin typeface="Trebuchet MS" pitchFamily="34" charset="0"/>
            </a:endParaRPr>
          </a:p>
          <a:p>
            <a:pPr marL="628650" lvl="1" indent="-171450">
              <a:buClr>
                <a:schemeClr val="tx1"/>
              </a:buClr>
              <a:buFont typeface="Courier New" panose="02070309020205020404" pitchFamily="49" charset="0"/>
              <a:buChar char="o"/>
            </a:pPr>
            <a:r>
              <a:rPr lang="en-GB" sz="1050">
                <a:latin typeface="Trebuchet MS" pitchFamily="34" charset="0"/>
              </a:rPr>
              <a:t>Building of a new Benelux restful API aggregator platform</a:t>
            </a:r>
          </a:p>
          <a:p>
            <a:pPr lvl="1">
              <a:buClr>
                <a:schemeClr val="tx1"/>
              </a:buClr>
            </a:pPr>
            <a:endParaRPr lang="en-GB" sz="1050">
              <a:latin typeface="Trebuchet MS" pitchFamily="34" charset="0"/>
            </a:endParaRP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lang="en-GB" sz="1050">
                <a:solidFill>
                  <a:schemeClr val="tx2"/>
                </a:solidFill>
                <a:latin typeface="Trebuchet MS" panose="020B0603020202020204" pitchFamily="34" charset="0"/>
              </a:rPr>
              <a:t>France: </a:t>
            </a:r>
            <a:r>
              <a:rPr lang="en-GB" sz="1050">
                <a:latin typeface="Trebuchet MS" panose="020B0603020202020204" pitchFamily="34" charset="0"/>
              </a:rPr>
              <a:t>Building of a new restful API platform </a:t>
            </a:r>
          </a:p>
          <a:p>
            <a:pPr lvl="1">
              <a:buClr>
                <a:schemeClr val="tx1"/>
              </a:buClr>
            </a:pPr>
            <a:endParaRPr lang="en-GB" sz="1050">
              <a:latin typeface="Trebuchet MS" panose="020B0603020202020204" pitchFamily="34" charset="0"/>
            </a:endParaRP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lang="en-GB" sz="1050">
                <a:solidFill>
                  <a:schemeClr val="tx2"/>
                </a:solidFill>
                <a:latin typeface="Trebuchet MS" panose="020B0603020202020204" pitchFamily="34" charset="0"/>
              </a:rPr>
              <a:t>Global: </a:t>
            </a:r>
            <a:r>
              <a:rPr lang="en-GB" sz="1050">
                <a:latin typeface="Trebuchet MS" panose="020B0603020202020204" pitchFamily="34" charset="0"/>
              </a:rPr>
              <a:t>To reduce cost and time to market, delegation of the API management to an APIM solution and the user management to an SSO module </a:t>
            </a:r>
          </a:p>
          <a:p>
            <a:pPr marL="0" lvl="1">
              <a:buClr>
                <a:schemeClr val="tx1"/>
              </a:buClr>
            </a:pPr>
            <a:endParaRPr lang="en-GB" sz="1050">
              <a:latin typeface="Trebuchet MS" panose="020B0603020202020204" pitchFamily="34" charset="0"/>
            </a:endParaRPr>
          </a:p>
        </p:txBody>
      </p:sp>
      <p:sp>
        <p:nvSpPr>
          <p:cNvPr id="13" name="Rectangle 12">
            <a:extLst>
              <a:ext uri="{FF2B5EF4-FFF2-40B4-BE49-F238E27FC236}">
                <a16:creationId xmlns:a16="http://schemas.microsoft.com/office/drawing/2014/main" id="{CA5437EA-E3CB-4721-BAB7-FF988F650AC9}"/>
              </a:ext>
            </a:extLst>
          </p:cNvPr>
          <p:cNvSpPr/>
          <p:nvPr/>
        </p:nvSpPr>
        <p:spPr bwMode="auto">
          <a:xfrm>
            <a:off x="348030" y="2195482"/>
            <a:ext cx="4316531" cy="1098274"/>
          </a:xfrm>
          <a:prstGeom prst="rect">
            <a:avLst/>
          </a:prstGeom>
          <a:solidFill>
            <a:srgbClr val="F2F2F2"/>
          </a:solidFill>
          <a:ln w="9525" cap="flat" cmpd="sng" algn="ctr">
            <a:noFill/>
            <a:prstDash val="solid"/>
            <a:round/>
            <a:headEnd type="none" w="med" len="med"/>
            <a:tailEnd type="none" w="med" len="med"/>
          </a:ln>
          <a:effectLst/>
        </p:spPr>
        <p:txBody>
          <a:bodyPr vert="horz" wrap="square" lIns="432000" tIns="45720" rIns="36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2"/>
                </a:solidFill>
                <a:effectLst/>
                <a:latin typeface="Trebuchet MS" pitchFamily="34" charset="0"/>
              </a:rPr>
              <a:t>No proprietary solution sin Benelux: </a:t>
            </a:r>
            <a:r>
              <a:rPr kumimoji="0" lang="en-GB" sz="1000" b="0" i="0" u="none" strike="noStrike" cap="none" normalizeH="0" baseline="0">
                <a:ln>
                  <a:noFill/>
                </a:ln>
                <a:solidFill>
                  <a:schemeClr val="tx1"/>
                </a:solidFill>
                <a:effectLst/>
                <a:latin typeface="Trebuchet MS" pitchFamily="34" charset="0"/>
              </a:rPr>
              <a:t>Need to create a brand-new vehicle to be able to deliver local data of the market though localized solutions, more granular then the generic international D&amp;B solutions used at this stage</a:t>
            </a:r>
          </a:p>
        </p:txBody>
      </p:sp>
      <p:cxnSp>
        <p:nvCxnSpPr>
          <p:cNvPr id="27" name="Connecteur droit 208">
            <a:extLst>
              <a:ext uri="{FF2B5EF4-FFF2-40B4-BE49-F238E27FC236}">
                <a16:creationId xmlns:a16="http://schemas.microsoft.com/office/drawing/2014/main" id="{C27BBC62-B79B-4D16-8A6F-7EBF08E45618}"/>
              </a:ext>
            </a:extLst>
          </p:cNvPr>
          <p:cNvCxnSpPr>
            <a:cxnSpLocks/>
          </p:cNvCxnSpPr>
          <p:nvPr/>
        </p:nvCxnSpPr>
        <p:spPr bwMode="auto">
          <a:xfrm>
            <a:off x="4876800" y="1273092"/>
            <a:ext cx="0" cy="5027602"/>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0" name="Triangle isocèle 29">
            <a:extLst>
              <a:ext uri="{FF2B5EF4-FFF2-40B4-BE49-F238E27FC236}">
                <a16:creationId xmlns:a16="http://schemas.microsoft.com/office/drawing/2014/main" id="{410B6701-6728-44F8-9804-6C9978840DC8}"/>
              </a:ext>
            </a:extLst>
          </p:cNvPr>
          <p:cNvSpPr/>
          <p:nvPr/>
        </p:nvSpPr>
        <p:spPr bwMode="auto">
          <a:xfrm rot="5400000">
            <a:off x="4668466" y="3763572"/>
            <a:ext cx="508371" cy="91704"/>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38" name="Graphique 37">
            <a:extLst>
              <a:ext uri="{FF2B5EF4-FFF2-40B4-BE49-F238E27FC236}">
                <a16:creationId xmlns:a16="http://schemas.microsoft.com/office/drawing/2014/main" id="{69E082AA-78CD-4FF5-A5BE-602903C9B16F}"/>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r="4358" b="9839"/>
          <a:stretch/>
        </p:blipFill>
        <p:spPr>
          <a:xfrm>
            <a:off x="402294" y="2578789"/>
            <a:ext cx="315257" cy="377203"/>
          </a:xfrm>
          <a:prstGeom prst="rect">
            <a:avLst/>
          </a:prstGeom>
        </p:spPr>
      </p:pic>
      <p:grpSp>
        <p:nvGrpSpPr>
          <p:cNvPr id="22" name="Groupe 66">
            <a:extLst>
              <a:ext uri="{FF2B5EF4-FFF2-40B4-BE49-F238E27FC236}">
                <a16:creationId xmlns:a16="http://schemas.microsoft.com/office/drawing/2014/main" id="{B60E2C4C-35D1-4C79-B49B-DE1AD442E669}"/>
              </a:ext>
            </a:extLst>
          </p:cNvPr>
          <p:cNvGrpSpPr/>
          <p:nvPr/>
        </p:nvGrpSpPr>
        <p:grpSpPr>
          <a:xfrm>
            <a:off x="8448150" y="-11528"/>
            <a:ext cx="1435548" cy="588143"/>
            <a:chOff x="8448150" y="-11528"/>
            <a:chExt cx="1435548" cy="588143"/>
          </a:xfrm>
        </p:grpSpPr>
        <p:sp>
          <p:nvSpPr>
            <p:cNvPr id="23" name="Rectangle : coins arrondis 199">
              <a:extLst>
                <a:ext uri="{FF2B5EF4-FFF2-40B4-BE49-F238E27FC236}">
                  <a16:creationId xmlns:a16="http://schemas.microsoft.com/office/drawing/2014/main" id="{8583A665-9BA3-4F9F-B84E-9EE20F730CB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8" name="Rectangle : coins arrondis 200">
              <a:extLst>
                <a:ext uri="{FF2B5EF4-FFF2-40B4-BE49-F238E27FC236}">
                  <a16:creationId xmlns:a16="http://schemas.microsoft.com/office/drawing/2014/main" id="{9206C42B-83A4-487A-9DF6-7A523471DFB3}"/>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9" name="Rectangle : coins arrondis 201">
              <a:extLst>
                <a:ext uri="{FF2B5EF4-FFF2-40B4-BE49-F238E27FC236}">
                  <a16:creationId xmlns:a16="http://schemas.microsoft.com/office/drawing/2014/main" id="{796B713C-F280-4E31-BBEA-EAC1923A68AA}"/>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1" name="ZoneTexte 18">
              <a:extLst>
                <a:ext uri="{FF2B5EF4-FFF2-40B4-BE49-F238E27FC236}">
                  <a16:creationId xmlns:a16="http://schemas.microsoft.com/office/drawing/2014/main" id="{C90C1FDB-C067-4DB3-B3A6-B24FDA2F9BFD}"/>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Operating model</a:t>
              </a:r>
            </a:p>
          </p:txBody>
        </p:sp>
        <p:pic>
          <p:nvPicPr>
            <p:cNvPr id="32" name="Graphique 128" descr="Jauge">
              <a:extLst>
                <a:ext uri="{FF2B5EF4-FFF2-40B4-BE49-F238E27FC236}">
                  <a16:creationId xmlns:a16="http://schemas.microsoft.com/office/drawing/2014/main" id="{82F3285C-9D1E-4B88-ABCB-9C86D6D9BF3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3764" y="187516"/>
              <a:ext cx="234953" cy="218224"/>
            </a:xfrm>
            <a:prstGeom prst="rect">
              <a:avLst/>
            </a:prstGeom>
            <a:effectLst/>
          </p:spPr>
        </p:pic>
        <p:pic>
          <p:nvPicPr>
            <p:cNvPr id="34" name="Graphique 90" descr="Poignée de main">
              <a:extLst>
                <a:ext uri="{FF2B5EF4-FFF2-40B4-BE49-F238E27FC236}">
                  <a16:creationId xmlns:a16="http://schemas.microsoft.com/office/drawing/2014/main" id="{C7CEEBF2-351A-4055-B7D6-41ABACC75B0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60868" y="152880"/>
              <a:ext cx="256313" cy="287496"/>
            </a:xfrm>
            <a:prstGeom prst="rect">
              <a:avLst/>
            </a:prstGeom>
            <a:effectLst/>
          </p:spPr>
        </p:pic>
        <p:pic>
          <p:nvPicPr>
            <p:cNvPr id="37" name="Graphique 96" descr="Mégaphone">
              <a:extLst>
                <a:ext uri="{FF2B5EF4-FFF2-40B4-BE49-F238E27FC236}">
                  <a16:creationId xmlns:a16="http://schemas.microsoft.com/office/drawing/2014/main" id="{FF946F43-9919-4FF1-91F9-85258D5E5E0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89331" y="181519"/>
              <a:ext cx="233011" cy="216420"/>
            </a:xfrm>
            <a:prstGeom prst="rect">
              <a:avLst/>
            </a:prstGeom>
            <a:effectLst/>
          </p:spPr>
        </p:pic>
        <p:pic>
          <p:nvPicPr>
            <p:cNvPr id="39" name="Picture 2" descr="Drapeau France">
              <a:extLst>
                <a:ext uri="{FF2B5EF4-FFF2-40B4-BE49-F238E27FC236}">
                  <a16:creationId xmlns:a16="http://schemas.microsoft.com/office/drawing/2014/main" id="{3E6446A8-A281-4ABF-A478-C833CB1ADEC5}"/>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41" name="Picture 2" descr="5 ft x 3 ft 150 x 90 cm-DRAPEAU BELGE Belgique 100% Polyester ...">
              <a:extLst>
                <a:ext uri="{FF2B5EF4-FFF2-40B4-BE49-F238E27FC236}">
                  <a16:creationId xmlns:a16="http://schemas.microsoft.com/office/drawing/2014/main" id="{EFE555D0-56C5-47FF-96D0-112EE8FC7EA6}"/>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2" name="Picture 2 - 1" descr="Drapeau des Pays-Bas — Wikipédia">
              <a:extLst>
                <a:ext uri="{FF2B5EF4-FFF2-40B4-BE49-F238E27FC236}">
                  <a16:creationId xmlns:a16="http://schemas.microsoft.com/office/drawing/2014/main" id="{26BEF96B-D00C-4DB3-B98F-68E582DD2739}"/>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43" name="Picture 2 - 2" descr="Drapeau du Luxembourg">
              <a:extLst>
                <a:ext uri="{FF2B5EF4-FFF2-40B4-BE49-F238E27FC236}">
                  <a16:creationId xmlns:a16="http://schemas.microsoft.com/office/drawing/2014/main" id="{B7C4642B-DD70-40B9-B4FE-7C500D46FA7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44" name="ZoneTexte 18">
              <a:extLst>
                <a:ext uri="{FF2B5EF4-FFF2-40B4-BE49-F238E27FC236}">
                  <a16:creationId xmlns:a16="http://schemas.microsoft.com/office/drawing/2014/main" id="{52DAEA0A-39D6-4F85-99D1-683BDB6B9C3D}"/>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Datahub project</a:t>
              </a:r>
            </a:p>
          </p:txBody>
        </p:sp>
      </p:grpSp>
      <p:sp>
        <p:nvSpPr>
          <p:cNvPr id="49" name="Text Placeholder 2">
            <a:extLst>
              <a:ext uri="{FF2B5EF4-FFF2-40B4-BE49-F238E27FC236}">
                <a16:creationId xmlns:a16="http://schemas.microsoft.com/office/drawing/2014/main" id="{B0515E1A-41D9-4B7F-997F-01D6C25E36E8}"/>
              </a:ext>
            </a:extLst>
          </p:cNvPr>
          <p:cNvSpPr>
            <a:spLocks noGrp="1"/>
          </p:cNvSpPr>
          <p:nvPr>
            <p:ph type="body" sz="quarter" idx="10"/>
          </p:nvPr>
        </p:nvSpPr>
        <p:spPr>
          <a:xfrm>
            <a:off x="1315274" y="6580025"/>
            <a:ext cx="7131600" cy="244800"/>
          </a:xfrm>
        </p:spPr>
        <p:txBody>
          <a:bodyPr/>
          <a:lstStyle/>
          <a:p>
            <a:r>
              <a:rPr lang="en-GB" sz="800" i="1" kern="0"/>
              <a:t>Sources: eleven research &amp; analysis, company data, interviews with management</a:t>
            </a:r>
          </a:p>
          <a:p>
            <a:endParaRPr lang="en-GB"/>
          </a:p>
        </p:txBody>
      </p:sp>
      <p:cxnSp>
        <p:nvCxnSpPr>
          <p:cNvPr id="46" name="Connecteur droit 45">
            <a:extLst>
              <a:ext uri="{FF2B5EF4-FFF2-40B4-BE49-F238E27FC236}">
                <a16:creationId xmlns:a16="http://schemas.microsoft.com/office/drawing/2014/main" id="{5AC57C51-61B5-4617-8874-6208787F21DE}"/>
              </a:ext>
            </a:extLst>
          </p:cNvPr>
          <p:cNvCxnSpPr/>
          <p:nvPr/>
        </p:nvCxnSpPr>
        <p:spPr bwMode="auto">
          <a:xfrm>
            <a:off x="256327" y="1938881"/>
            <a:ext cx="4528769" cy="0"/>
          </a:xfrm>
          <a:prstGeom prst="line">
            <a:avLst/>
          </a:prstGeom>
          <a:solidFill>
            <a:schemeClr val="accent1"/>
          </a:solidFill>
          <a:ln w="76200" cap="flat" cmpd="sng" algn="ctr">
            <a:solidFill>
              <a:schemeClr val="bg1"/>
            </a:solidFill>
            <a:prstDash val="solid"/>
            <a:round/>
            <a:headEnd type="none" w="med" len="med"/>
            <a:tailEnd type="none" w="med" len="med"/>
          </a:ln>
          <a:effectLst/>
        </p:spPr>
      </p:cxnSp>
      <p:sp>
        <p:nvSpPr>
          <p:cNvPr id="47" name="Rectangle 84">
            <a:extLst>
              <a:ext uri="{FF2B5EF4-FFF2-40B4-BE49-F238E27FC236}">
                <a16:creationId xmlns:a16="http://schemas.microsoft.com/office/drawing/2014/main" id="{F95C10D4-A741-48D3-A93F-813E9990874F}"/>
              </a:ext>
            </a:extLst>
          </p:cNvPr>
          <p:cNvSpPr/>
          <p:nvPr/>
        </p:nvSpPr>
        <p:spPr bwMode="auto">
          <a:xfrm>
            <a:off x="642110" y="1405061"/>
            <a:ext cx="3802261" cy="486792"/>
          </a:xfrm>
          <a:prstGeom prst="rect">
            <a:avLst/>
          </a:prstGeom>
          <a:noFill/>
        </p:spPr>
        <p:txBody>
          <a:bodyPr wrap="square" rtlCol="0">
            <a:noAutofit/>
          </a:bodyPr>
          <a:lstStyle/>
          <a:p>
            <a:pPr marL="0" lvl="1" algn="ctr"/>
            <a:r>
              <a:rPr lang="en-GB" sz="1050" i="1">
                <a:latin typeface="Trebuchet MS" pitchFamily="34" charset="0"/>
              </a:rPr>
              <a:t>Alters have </a:t>
            </a:r>
            <a:r>
              <a:rPr lang="en-GB" sz="1050" i="1">
                <a:solidFill>
                  <a:schemeClr val="tx2"/>
                </a:solidFill>
                <a:latin typeface="Trebuchet MS" panose="020B0603020202020204" pitchFamily="34" charset="0"/>
              </a:rPr>
              <a:t>several needs </a:t>
            </a:r>
            <a:r>
              <a:rPr lang="en-GB" sz="1050" i="1">
                <a:latin typeface="Trebuchet MS" panose="020B0603020202020204" pitchFamily="34" charset="0"/>
              </a:rPr>
              <a:t>regarding the implementation of an IT architecture for the group: </a:t>
            </a:r>
          </a:p>
        </p:txBody>
      </p:sp>
      <p:sp>
        <p:nvSpPr>
          <p:cNvPr id="54" name="Rectangle 53">
            <a:extLst>
              <a:ext uri="{FF2B5EF4-FFF2-40B4-BE49-F238E27FC236}">
                <a16:creationId xmlns:a16="http://schemas.microsoft.com/office/drawing/2014/main" id="{E5957C3C-AA4D-45FC-BDE7-112C03829730}"/>
              </a:ext>
            </a:extLst>
          </p:cNvPr>
          <p:cNvSpPr/>
          <p:nvPr/>
        </p:nvSpPr>
        <p:spPr bwMode="auto">
          <a:xfrm>
            <a:off x="348030" y="3553041"/>
            <a:ext cx="4316531" cy="1098274"/>
          </a:xfrm>
          <a:prstGeom prst="rect">
            <a:avLst/>
          </a:prstGeom>
          <a:solidFill>
            <a:srgbClr val="F2F2F2"/>
          </a:solidFill>
          <a:ln w="9525" cap="flat" cmpd="sng" algn="ctr">
            <a:noFill/>
            <a:prstDash val="solid"/>
            <a:round/>
            <a:headEnd type="none" w="med" len="med"/>
            <a:tailEnd type="none" w="med" len="med"/>
          </a:ln>
          <a:effectLst/>
        </p:spPr>
        <p:txBody>
          <a:bodyPr vert="horz" wrap="square" lIns="432000" tIns="45720" rIns="36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2"/>
                </a:solidFill>
                <a:effectLst/>
                <a:latin typeface="Trebuchet MS" pitchFamily="34" charset="0"/>
              </a:rPr>
              <a:t>Result-driven investment, budget &amp; time-frame: </a:t>
            </a:r>
            <a:r>
              <a:rPr lang="en-GB" sz="1000">
                <a:latin typeface="Trebuchet MS" pitchFamily="34" charset="0"/>
              </a:rPr>
              <a:t>Results will be delivered during the course of the project without having to wait for the entire solution to be developed before being able to get any fruits from the investment</a:t>
            </a:r>
            <a:endParaRPr kumimoji="0" lang="en-GB" sz="1000" b="0" i="0" u="none" strike="noStrike" cap="none" normalizeH="0" baseline="0">
              <a:ln>
                <a:noFill/>
              </a:ln>
              <a:effectLst/>
              <a:latin typeface="Trebuchet MS" pitchFamily="34" charset="0"/>
            </a:endParaRPr>
          </a:p>
        </p:txBody>
      </p:sp>
      <p:pic>
        <p:nvPicPr>
          <p:cNvPr id="40" name="Graphique 39">
            <a:extLst>
              <a:ext uri="{FF2B5EF4-FFF2-40B4-BE49-F238E27FC236}">
                <a16:creationId xmlns:a16="http://schemas.microsoft.com/office/drawing/2014/main" id="{E380F814-4D6A-47ED-B4D5-637F6954E97D}"/>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b="14104"/>
          <a:stretch/>
        </p:blipFill>
        <p:spPr>
          <a:xfrm>
            <a:off x="397419" y="3929353"/>
            <a:ext cx="321924" cy="345649"/>
          </a:xfrm>
          <a:prstGeom prst="rect">
            <a:avLst/>
          </a:prstGeom>
        </p:spPr>
      </p:pic>
      <p:sp>
        <p:nvSpPr>
          <p:cNvPr id="55" name="Rectangle 54">
            <a:extLst>
              <a:ext uri="{FF2B5EF4-FFF2-40B4-BE49-F238E27FC236}">
                <a16:creationId xmlns:a16="http://schemas.microsoft.com/office/drawing/2014/main" id="{B1E8B9BF-E497-4034-B49B-27393A623CBB}"/>
              </a:ext>
            </a:extLst>
          </p:cNvPr>
          <p:cNvSpPr/>
          <p:nvPr/>
        </p:nvSpPr>
        <p:spPr bwMode="auto">
          <a:xfrm>
            <a:off x="348030" y="4916749"/>
            <a:ext cx="4316531" cy="1098274"/>
          </a:xfrm>
          <a:prstGeom prst="rect">
            <a:avLst/>
          </a:prstGeom>
          <a:solidFill>
            <a:srgbClr val="F2F2F2"/>
          </a:solidFill>
          <a:ln w="9525" cap="flat" cmpd="sng" algn="ctr">
            <a:noFill/>
            <a:prstDash val="solid"/>
            <a:round/>
            <a:headEnd type="none" w="med" len="med"/>
            <a:tailEnd type="none" w="med" len="med"/>
          </a:ln>
          <a:effectLst/>
        </p:spPr>
        <p:txBody>
          <a:bodyPr vert="horz" wrap="square" lIns="432000" tIns="45720" rIns="36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2"/>
                </a:solidFill>
                <a:effectLst/>
                <a:latin typeface="Trebuchet MS" pitchFamily="34" charset="0"/>
              </a:rPr>
              <a:t>Legacy limitations:</a:t>
            </a:r>
            <a:r>
              <a:rPr kumimoji="0" lang="en-GB" sz="1000" b="0" i="0" u="none" strike="noStrike" cap="none" normalizeH="0" baseline="0">
                <a:ln>
                  <a:noFill/>
                </a:ln>
                <a:effectLst/>
                <a:latin typeface="Trebuchet MS" panose="020B0603020202020204" pitchFamily="34" charset="0"/>
              </a:rPr>
              <a:t> N</a:t>
            </a:r>
            <a:r>
              <a:rPr lang="en-GB" sz="1000">
                <a:latin typeface="Trebuchet MS" panose="020B0603020202020204" pitchFamily="34" charset="0"/>
              </a:rPr>
              <a:t>eed to gain flexibility on APIs and implement monitoring features</a:t>
            </a:r>
            <a:r>
              <a:rPr kumimoji="0" lang="en-GB" sz="1000" b="0" i="0" u="none" strike="noStrike" cap="none" normalizeH="0" baseline="0">
                <a:ln>
                  <a:noFill/>
                </a:ln>
                <a:solidFill>
                  <a:schemeClr val="tx2"/>
                </a:solidFill>
                <a:effectLst/>
                <a:latin typeface="Trebuchet MS" pitchFamily="34" charset="0"/>
              </a:rPr>
              <a:t> </a:t>
            </a:r>
            <a:endParaRPr kumimoji="0" lang="en-GB" sz="1000" b="0" i="0" u="none" strike="noStrike" cap="none" normalizeH="0" baseline="0">
              <a:ln>
                <a:noFill/>
              </a:ln>
              <a:effectLst/>
              <a:latin typeface="Trebuchet MS" pitchFamily="34" charset="0"/>
            </a:endParaRPr>
          </a:p>
        </p:txBody>
      </p:sp>
      <p:grpSp>
        <p:nvGrpSpPr>
          <p:cNvPr id="33" name="Group 5">
            <a:extLst>
              <a:ext uri="{FF2B5EF4-FFF2-40B4-BE49-F238E27FC236}">
                <a16:creationId xmlns:a16="http://schemas.microsoft.com/office/drawing/2014/main" id="{88F80886-2CD0-496D-9D23-8A5F90535B56}"/>
              </a:ext>
            </a:extLst>
          </p:cNvPr>
          <p:cNvGrpSpPr>
            <a:grpSpLocks noChangeAspect="1"/>
          </p:cNvGrpSpPr>
          <p:nvPr/>
        </p:nvGrpSpPr>
        <p:grpSpPr bwMode="auto">
          <a:xfrm>
            <a:off x="397419" y="5272201"/>
            <a:ext cx="323927" cy="324804"/>
            <a:chOff x="788" y="800"/>
            <a:chExt cx="740" cy="742"/>
          </a:xfrm>
          <a:solidFill>
            <a:schemeClr val="tx2"/>
          </a:solidFill>
        </p:grpSpPr>
        <p:sp>
          <p:nvSpPr>
            <p:cNvPr id="35" name="Freeform 6">
              <a:extLst>
                <a:ext uri="{FF2B5EF4-FFF2-40B4-BE49-F238E27FC236}">
                  <a16:creationId xmlns:a16="http://schemas.microsoft.com/office/drawing/2014/main" id="{B603DEAB-0F09-488C-A89D-28D1907CACEE}"/>
                </a:ext>
              </a:extLst>
            </p:cNvPr>
            <p:cNvSpPr>
              <a:spLocks noEditPoints="1"/>
            </p:cNvSpPr>
            <p:nvPr/>
          </p:nvSpPr>
          <p:spPr bwMode="auto">
            <a:xfrm>
              <a:off x="788" y="1032"/>
              <a:ext cx="509" cy="510"/>
            </a:xfrm>
            <a:custGeom>
              <a:avLst/>
              <a:gdLst>
                <a:gd name="T0" fmla="*/ 42 w 44"/>
                <a:gd name="T1" fmla="*/ 18 h 44"/>
                <a:gd name="T2" fmla="*/ 36 w 44"/>
                <a:gd name="T3" fmla="*/ 18 h 44"/>
                <a:gd name="T4" fmla="*/ 34 w 44"/>
                <a:gd name="T5" fmla="*/ 14 h 44"/>
                <a:gd name="T6" fmla="*/ 38 w 44"/>
                <a:gd name="T7" fmla="*/ 10 h 44"/>
                <a:gd name="T8" fmla="*/ 38 w 44"/>
                <a:gd name="T9" fmla="*/ 7 h 44"/>
                <a:gd name="T10" fmla="*/ 37 w 44"/>
                <a:gd name="T11" fmla="*/ 5 h 44"/>
                <a:gd name="T12" fmla="*/ 33 w 44"/>
                <a:gd name="T13" fmla="*/ 5 h 44"/>
                <a:gd name="T14" fmla="*/ 29 w 44"/>
                <a:gd name="T15" fmla="*/ 9 h 44"/>
                <a:gd name="T16" fmla="*/ 25 w 44"/>
                <a:gd name="T17" fmla="*/ 8 h 44"/>
                <a:gd name="T18" fmla="*/ 25 w 44"/>
                <a:gd name="T19" fmla="*/ 3 h 44"/>
                <a:gd name="T20" fmla="*/ 23 w 44"/>
                <a:gd name="T21" fmla="*/ 0 h 44"/>
                <a:gd name="T22" fmla="*/ 21 w 44"/>
                <a:gd name="T23" fmla="*/ 0 h 44"/>
                <a:gd name="T24" fmla="*/ 18 w 44"/>
                <a:gd name="T25" fmla="*/ 3 h 44"/>
                <a:gd name="T26" fmla="*/ 18 w 44"/>
                <a:gd name="T27" fmla="*/ 8 h 44"/>
                <a:gd name="T28" fmla="*/ 14 w 44"/>
                <a:gd name="T29" fmla="*/ 10 h 44"/>
                <a:gd name="T30" fmla="*/ 11 w 44"/>
                <a:gd name="T31" fmla="*/ 6 h 44"/>
                <a:gd name="T32" fmla="*/ 7 w 44"/>
                <a:gd name="T33" fmla="*/ 6 h 44"/>
                <a:gd name="T34" fmla="*/ 6 w 44"/>
                <a:gd name="T35" fmla="*/ 8 h 44"/>
                <a:gd name="T36" fmla="*/ 6 w 44"/>
                <a:gd name="T37" fmla="*/ 11 h 44"/>
                <a:gd name="T38" fmla="*/ 9 w 44"/>
                <a:gd name="T39" fmla="*/ 15 h 44"/>
                <a:gd name="T40" fmla="*/ 7 w 44"/>
                <a:gd name="T41" fmla="*/ 19 h 44"/>
                <a:gd name="T42" fmla="*/ 3 w 44"/>
                <a:gd name="T43" fmla="*/ 19 h 44"/>
                <a:gd name="T44" fmla="*/ 0 w 44"/>
                <a:gd name="T45" fmla="*/ 21 h 44"/>
                <a:gd name="T46" fmla="*/ 0 w 44"/>
                <a:gd name="T47" fmla="*/ 24 h 44"/>
                <a:gd name="T48" fmla="*/ 3 w 44"/>
                <a:gd name="T49" fmla="*/ 26 h 44"/>
                <a:gd name="T50" fmla="*/ 8 w 44"/>
                <a:gd name="T51" fmla="*/ 26 h 44"/>
                <a:gd name="T52" fmla="*/ 10 w 44"/>
                <a:gd name="T53" fmla="*/ 30 h 44"/>
                <a:gd name="T54" fmla="*/ 6 w 44"/>
                <a:gd name="T55" fmla="*/ 34 h 44"/>
                <a:gd name="T56" fmla="*/ 6 w 44"/>
                <a:gd name="T57" fmla="*/ 37 h 44"/>
                <a:gd name="T58" fmla="*/ 8 w 44"/>
                <a:gd name="T59" fmla="*/ 39 h 44"/>
                <a:gd name="T60" fmla="*/ 12 w 44"/>
                <a:gd name="T61" fmla="*/ 39 h 44"/>
                <a:gd name="T62" fmla="*/ 15 w 44"/>
                <a:gd name="T63" fmla="*/ 35 h 44"/>
                <a:gd name="T64" fmla="*/ 19 w 44"/>
                <a:gd name="T65" fmla="*/ 37 h 44"/>
                <a:gd name="T66" fmla="*/ 19 w 44"/>
                <a:gd name="T67" fmla="*/ 42 h 44"/>
                <a:gd name="T68" fmla="*/ 22 w 44"/>
                <a:gd name="T69" fmla="*/ 44 h 44"/>
                <a:gd name="T70" fmla="*/ 24 w 44"/>
                <a:gd name="T71" fmla="*/ 44 h 44"/>
                <a:gd name="T72" fmla="*/ 27 w 44"/>
                <a:gd name="T73" fmla="*/ 42 h 44"/>
                <a:gd name="T74" fmla="*/ 27 w 44"/>
                <a:gd name="T75" fmla="*/ 36 h 44"/>
                <a:gd name="T76" fmla="*/ 30 w 44"/>
                <a:gd name="T77" fmla="*/ 34 h 44"/>
                <a:gd name="T78" fmla="*/ 34 w 44"/>
                <a:gd name="T79" fmla="*/ 38 h 44"/>
                <a:gd name="T80" fmla="*/ 38 w 44"/>
                <a:gd name="T81" fmla="*/ 38 h 44"/>
                <a:gd name="T82" fmla="*/ 39 w 44"/>
                <a:gd name="T83" fmla="*/ 36 h 44"/>
                <a:gd name="T84" fmla="*/ 39 w 44"/>
                <a:gd name="T85" fmla="*/ 33 h 44"/>
                <a:gd name="T86" fmla="*/ 35 w 44"/>
                <a:gd name="T87" fmla="*/ 29 h 44"/>
                <a:gd name="T88" fmla="*/ 36 w 44"/>
                <a:gd name="T89" fmla="*/ 25 h 44"/>
                <a:gd name="T90" fmla="*/ 42 w 44"/>
                <a:gd name="T91" fmla="*/ 25 h 44"/>
                <a:gd name="T92" fmla="*/ 44 w 44"/>
                <a:gd name="T93" fmla="*/ 23 h 44"/>
                <a:gd name="T94" fmla="*/ 44 w 44"/>
                <a:gd name="T95" fmla="*/ 20 h 44"/>
                <a:gd name="T96" fmla="*/ 42 w 44"/>
                <a:gd name="T97" fmla="*/ 18 h 44"/>
                <a:gd name="T98" fmla="*/ 22 w 44"/>
                <a:gd name="T99" fmla="*/ 28 h 44"/>
                <a:gd name="T100" fmla="*/ 16 w 44"/>
                <a:gd name="T101" fmla="*/ 22 h 44"/>
                <a:gd name="T102" fmla="*/ 22 w 44"/>
                <a:gd name="T103" fmla="*/ 16 h 44"/>
                <a:gd name="T104" fmla="*/ 28 w 44"/>
                <a:gd name="T105" fmla="*/ 22 h 44"/>
                <a:gd name="T106" fmla="*/ 22 w 44"/>
                <a:gd name="T107" fmla="*/ 2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44">
                  <a:moveTo>
                    <a:pt x="42" y="18"/>
                  </a:moveTo>
                  <a:cubicBezTo>
                    <a:pt x="36" y="18"/>
                    <a:pt x="36" y="18"/>
                    <a:pt x="36" y="18"/>
                  </a:cubicBezTo>
                  <a:cubicBezTo>
                    <a:pt x="35" y="17"/>
                    <a:pt x="35" y="16"/>
                    <a:pt x="34" y="14"/>
                  </a:cubicBezTo>
                  <a:cubicBezTo>
                    <a:pt x="38" y="10"/>
                    <a:pt x="38" y="10"/>
                    <a:pt x="38" y="10"/>
                  </a:cubicBezTo>
                  <a:cubicBezTo>
                    <a:pt x="39" y="9"/>
                    <a:pt x="39" y="8"/>
                    <a:pt x="38" y="7"/>
                  </a:cubicBezTo>
                  <a:cubicBezTo>
                    <a:pt x="37" y="5"/>
                    <a:pt x="37" y="5"/>
                    <a:pt x="37" y="5"/>
                  </a:cubicBezTo>
                  <a:cubicBezTo>
                    <a:pt x="36" y="4"/>
                    <a:pt x="34" y="4"/>
                    <a:pt x="33" y="5"/>
                  </a:cubicBezTo>
                  <a:cubicBezTo>
                    <a:pt x="29" y="9"/>
                    <a:pt x="29" y="9"/>
                    <a:pt x="29" y="9"/>
                  </a:cubicBezTo>
                  <a:cubicBezTo>
                    <a:pt x="28" y="9"/>
                    <a:pt x="27" y="8"/>
                    <a:pt x="25" y="8"/>
                  </a:cubicBezTo>
                  <a:cubicBezTo>
                    <a:pt x="25" y="3"/>
                    <a:pt x="25" y="3"/>
                    <a:pt x="25" y="3"/>
                  </a:cubicBezTo>
                  <a:cubicBezTo>
                    <a:pt x="25" y="1"/>
                    <a:pt x="24" y="0"/>
                    <a:pt x="23" y="0"/>
                  </a:cubicBezTo>
                  <a:cubicBezTo>
                    <a:pt x="21" y="0"/>
                    <a:pt x="21" y="0"/>
                    <a:pt x="21" y="0"/>
                  </a:cubicBezTo>
                  <a:cubicBezTo>
                    <a:pt x="19" y="0"/>
                    <a:pt x="18" y="1"/>
                    <a:pt x="18" y="3"/>
                  </a:cubicBezTo>
                  <a:cubicBezTo>
                    <a:pt x="18" y="8"/>
                    <a:pt x="18" y="8"/>
                    <a:pt x="18" y="8"/>
                  </a:cubicBezTo>
                  <a:cubicBezTo>
                    <a:pt x="17" y="8"/>
                    <a:pt x="15" y="9"/>
                    <a:pt x="14" y="10"/>
                  </a:cubicBezTo>
                  <a:cubicBezTo>
                    <a:pt x="11" y="6"/>
                    <a:pt x="11" y="6"/>
                    <a:pt x="11" y="6"/>
                  </a:cubicBezTo>
                  <a:cubicBezTo>
                    <a:pt x="10" y="5"/>
                    <a:pt x="8" y="5"/>
                    <a:pt x="7" y="6"/>
                  </a:cubicBezTo>
                  <a:cubicBezTo>
                    <a:pt x="6" y="8"/>
                    <a:pt x="6" y="8"/>
                    <a:pt x="6" y="8"/>
                  </a:cubicBezTo>
                  <a:cubicBezTo>
                    <a:pt x="5" y="9"/>
                    <a:pt x="5" y="10"/>
                    <a:pt x="6" y="11"/>
                  </a:cubicBezTo>
                  <a:cubicBezTo>
                    <a:pt x="9" y="15"/>
                    <a:pt x="9" y="15"/>
                    <a:pt x="9" y="15"/>
                  </a:cubicBezTo>
                  <a:cubicBezTo>
                    <a:pt x="8" y="16"/>
                    <a:pt x="8" y="18"/>
                    <a:pt x="7" y="19"/>
                  </a:cubicBezTo>
                  <a:cubicBezTo>
                    <a:pt x="3" y="19"/>
                    <a:pt x="3" y="19"/>
                    <a:pt x="3" y="19"/>
                  </a:cubicBezTo>
                  <a:cubicBezTo>
                    <a:pt x="2" y="19"/>
                    <a:pt x="0" y="20"/>
                    <a:pt x="0" y="21"/>
                  </a:cubicBezTo>
                  <a:cubicBezTo>
                    <a:pt x="0" y="24"/>
                    <a:pt x="0" y="24"/>
                    <a:pt x="0" y="24"/>
                  </a:cubicBezTo>
                  <a:cubicBezTo>
                    <a:pt x="0" y="25"/>
                    <a:pt x="2" y="26"/>
                    <a:pt x="3" y="26"/>
                  </a:cubicBezTo>
                  <a:cubicBezTo>
                    <a:pt x="8" y="26"/>
                    <a:pt x="8" y="26"/>
                    <a:pt x="8" y="26"/>
                  </a:cubicBezTo>
                  <a:cubicBezTo>
                    <a:pt x="8" y="28"/>
                    <a:pt x="9" y="29"/>
                    <a:pt x="10" y="30"/>
                  </a:cubicBezTo>
                  <a:cubicBezTo>
                    <a:pt x="6" y="34"/>
                    <a:pt x="6" y="34"/>
                    <a:pt x="6" y="34"/>
                  </a:cubicBezTo>
                  <a:cubicBezTo>
                    <a:pt x="5" y="35"/>
                    <a:pt x="5" y="36"/>
                    <a:pt x="6" y="37"/>
                  </a:cubicBezTo>
                  <a:cubicBezTo>
                    <a:pt x="8" y="39"/>
                    <a:pt x="8" y="39"/>
                    <a:pt x="8" y="39"/>
                  </a:cubicBezTo>
                  <a:cubicBezTo>
                    <a:pt x="9" y="40"/>
                    <a:pt x="11" y="40"/>
                    <a:pt x="12" y="39"/>
                  </a:cubicBezTo>
                  <a:cubicBezTo>
                    <a:pt x="15" y="35"/>
                    <a:pt x="15" y="35"/>
                    <a:pt x="15" y="35"/>
                  </a:cubicBezTo>
                  <a:cubicBezTo>
                    <a:pt x="17" y="36"/>
                    <a:pt x="18" y="36"/>
                    <a:pt x="19" y="37"/>
                  </a:cubicBezTo>
                  <a:cubicBezTo>
                    <a:pt x="19" y="42"/>
                    <a:pt x="19" y="42"/>
                    <a:pt x="19" y="42"/>
                  </a:cubicBezTo>
                  <a:cubicBezTo>
                    <a:pt x="19" y="43"/>
                    <a:pt x="20" y="44"/>
                    <a:pt x="22" y="44"/>
                  </a:cubicBezTo>
                  <a:cubicBezTo>
                    <a:pt x="24" y="44"/>
                    <a:pt x="24" y="44"/>
                    <a:pt x="24" y="44"/>
                  </a:cubicBezTo>
                  <a:cubicBezTo>
                    <a:pt x="26" y="44"/>
                    <a:pt x="27" y="43"/>
                    <a:pt x="27" y="42"/>
                  </a:cubicBezTo>
                  <a:cubicBezTo>
                    <a:pt x="27" y="36"/>
                    <a:pt x="27" y="36"/>
                    <a:pt x="27" y="36"/>
                  </a:cubicBezTo>
                  <a:cubicBezTo>
                    <a:pt x="28" y="35"/>
                    <a:pt x="29" y="35"/>
                    <a:pt x="30" y="34"/>
                  </a:cubicBezTo>
                  <a:cubicBezTo>
                    <a:pt x="34" y="38"/>
                    <a:pt x="34" y="38"/>
                    <a:pt x="34" y="38"/>
                  </a:cubicBezTo>
                  <a:cubicBezTo>
                    <a:pt x="35" y="39"/>
                    <a:pt x="37" y="39"/>
                    <a:pt x="38" y="38"/>
                  </a:cubicBezTo>
                  <a:cubicBezTo>
                    <a:pt x="39" y="36"/>
                    <a:pt x="39" y="36"/>
                    <a:pt x="39" y="36"/>
                  </a:cubicBezTo>
                  <a:cubicBezTo>
                    <a:pt x="40" y="35"/>
                    <a:pt x="40" y="34"/>
                    <a:pt x="39" y="33"/>
                  </a:cubicBezTo>
                  <a:cubicBezTo>
                    <a:pt x="35" y="29"/>
                    <a:pt x="35" y="29"/>
                    <a:pt x="35" y="29"/>
                  </a:cubicBezTo>
                  <a:cubicBezTo>
                    <a:pt x="35" y="27"/>
                    <a:pt x="36" y="26"/>
                    <a:pt x="36" y="25"/>
                  </a:cubicBezTo>
                  <a:cubicBezTo>
                    <a:pt x="42" y="25"/>
                    <a:pt x="42" y="25"/>
                    <a:pt x="42" y="25"/>
                  </a:cubicBezTo>
                  <a:cubicBezTo>
                    <a:pt x="43" y="25"/>
                    <a:pt x="44" y="24"/>
                    <a:pt x="44" y="23"/>
                  </a:cubicBezTo>
                  <a:cubicBezTo>
                    <a:pt x="44" y="20"/>
                    <a:pt x="44" y="20"/>
                    <a:pt x="44" y="20"/>
                  </a:cubicBezTo>
                  <a:cubicBezTo>
                    <a:pt x="44" y="19"/>
                    <a:pt x="43" y="18"/>
                    <a:pt x="42" y="18"/>
                  </a:cubicBezTo>
                  <a:close/>
                  <a:moveTo>
                    <a:pt x="22" y="28"/>
                  </a:moveTo>
                  <a:cubicBezTo>
                    <a:pt x="18" y="28"/>
                    <a:pt x="16" y="25"/>
                    <a:pt x="16" y="22"/>
                  </a:cubicBezTo>
                  <a:cubicBezTo>
                    <a:pt x="16" y="19"/>
                    <a:pt x="18" y="16"/>
                    <a:pt x="22" y="16"/>
                  </a:cubicBezTo>
                  <a:cubicBezTo>
                    <a:pt x="25" y="16"/>
                    <a:pt x="28" y="19"/>
                    <a:pt x="28" y="22"/>
                  </a:cubicBezTo>
                  <a:cubicBezTo>
                    <a:pt x="28" y="25"/>
                    <a:pt x="25" y="28"/>
                    <a:pt x="2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7">
              <a:extLst>
                <a:ext uri="{FF2B5EF4-FFF2-40B4-BE49-F238E27FC236}">
                  <a16:creationId xmlns:a16="http://schemas.microsoft.com/office/drawing/2014/main" id="{CB491006-E932-4C45-BB6F-57A505232155}"/>
                </a:ext>
              </a:extLst>
            </p:cNvPr>
            <p:cNvSpPr>
              <a:spLocks noEditPoints="1"/>
            </p:cNvSpPr>
            <p:nvPr/>
          </p:nvSpPr>
          <p:spPr bwMode="auto">
            <a:xfrm>
              <a:off x="1204" y="800"/>
              <a:ext cx="324" cy="324"/>
            </a:xfrm>
            <a:custGeom>
              <a:avLst/>
              <a:gdLst>
                <a:gd name="T0" fmla="*/ 27 w 28"/>
                <a:gd name="T1" fmla="*/ 11 h 28"/>
                <a:gd name="T2" fmla="*/ 23 w 28"/>
                <a:gd name="T3" fmla="*/ 11 h 28"/>
                <a:gd name="T4" fmla="*/ 22 w 28"/>
                <a:gd name="T5" fmla="*/ 9 h 28"/>
                <a:gd name="T6" fmla="*/ 25 w 28"/>
                <a:gd name="T7" fmla="*/ 7 h 28"/>
                <a:gd name="T8" fmla="*/ 25 w 28"/>
                <a:gd name="T9" fmla="*/ 4 h 28"/>
                <a:gd name="T10" fmla="*/ 24 w 28"/>
                <a:gd name="T11" fmla="*/ 3 h 28"/>
                <a:gd name="T12" fmla="*/ 21 w 28"/>
                <a:gd name="T13" fmla="*/ 3 h 28"/>
                <a:gd name="T14" fmla="*/ 19 w 28"/>
                <a:gd name="T15" fmla="*/ 6 h 28"/>
                <a:gd name="T16" fmla="*/ 16 w 28"/>
                <a:gd name="T17" fmla="*/ 5 h 28"/>
                <a:gd name="T18" fmla="*/ 16 w 28"/>
                <a:gd name="T19" fmla="*/ 2 h 28"/>
                <a:gd name="T20" fmla="*/ 15 w 28"/>
                <a:gd name="T21" fmla="*/ 0 h 28"/>
                <a:gd name="T22" fmla="*/ 13 w 28"/>
                <a:gd name="T23" fmla="*/ 0 h 28"/>
                <a:gd name="T24" fmla="*/ 12 w 28"/>
                <a:gd name="T25" fmla="*/ 2 h 28"/>
                <a:gd name="T26" fmla="*/ 12 w 28"/>
                <a:gd name="T27" fmla="*/ 5 h 28"/>
                <a:gd name="T28" fmla="*/ 9 w 28"/>
                <a:gd name="T29" fmla="*/ 6 h 28"/>
                <a:gd name="T30" fmla="*/ 7 w 28"/>
                <a:gd name="T31" fmla="*/ 4 h 28"/>
                <a:gd name="T32" fmla="*/ 5 w 28"/>
                <a:gd name="T33" fmla="*/ 4 h 28"/>
                <a:gd name="T34" fmla="*/ 4 w 28"/>
                <a:gd name="T35" fmla="*/ 5 h 28"/>
                <a:gd name="T36" fmla="*/ 4 w 28"/>
                <a:gd name="T37" fmla="*/ 7 h 28"/>
                <a:gd name="T38" fmla="*/ 6 w 28"/>
                <a:gd name="T39" fmla="*/ 9 h 28"/>
                <a:gd name="T40" fmla="*/ 5 w 28"/>
                <a:gd name="T41" fmla="*/ 12 h 28"/>
                <a:gd name="T42" fmla="*/ 2 w 28"/>
                <a:gd name="T43" fmla="*/ 12 h 28"/>
                <a:gd name="T44" fmla="*/ 0 w 28"/>
                <a:gd name="T45" fmla="*/ 14 h 28"/>
                <a:gd name="T46" fmla="*/ 0 w 28"/>
                <a:gd name="T47" fmla="*/ 15 h 28"/>
                <a:gd name="T48" fmla="*/ 2 w 28"/>
                <a:gd name="T49" fmla="*/ 17 h 28"/>
                <a:gd name="T50" fmla="*/ 5 w 28"/>
                <a:gd name="T51" fmla="*/ 17 h 28"/>
                <a:gd name="T52" fmla="*/ 6 w 28"/>
                <a:gd name="T53" fmla="*/ 19 h 28"/>
                <a:gd name="T54" fmla="*/ 4 w 28"/>
                <a:gd name="T55" fmla="*/ 21 h 28"/>
                <a:gd name="T56" fmla="*/ 4 w 28"/>
                <a:gd name="T57" fmla="*/ 24 h 28"/>
                <a:gd name="T58" fmla="*/ 5 w 28"/>
                <a:gd name="T59" fmla="*/ 25 h 28"/>
                <a:gd name="T60" fmla="*/ 8 w 28"/>
                <a:gd name="T61" fmla="*/ 25 h 28"/>
                <a:gd name="T62" fmla="*/ 10 w 28"/>
                <a:gd name="T63" fmla="*/ 22 h 28"/>
                <a:gd name="T64" fmla="*/ 12 w 28"/>
                <a:gd name="T65" fmla="*/ 23 h 28"/>
                <a:gd name="T66" fmla="*/ 12 w 28"/>
                <a:gd name="T67" fmla="*/ 27 h 28"/>
                <a:gd name="T68" fmla="*/ 14 w 28"/>
                <a:gd name="T69" fmla="*/ 28 h 28"/>
                <a:gd name="T70" fmla="*/ 16 w 28"/>
                <a:gd name="T71" fmla="*/ 28 h 28"/>
                <a:gd name="T72" fmla="*/ 17 w 28"/>
                <a:gd name="T73" fmla="*/ 27 h 28"/>
                <a:gd name="T74" fmla="*/ 17 w 28"/>
                <a:gd name="T75" fmla="*/ 23 h 28"/>
                <a:gd name="T76" fmla="*/ 19 w 28"/>
                <a:gd name="T77" fmla="*/ 22 h 28"/>
                <a:gd name="T78" fmla="*/ 22 w 28"/>
                <a:gd name="T79" fmla="*/ 24 h 28"/>
                <a:gd name="T80" fmla="*/ 24 w 28"/>
                <a:gd name="T81" fmla="*/ 24 h 28"/>
                <a:gd name="T82" fmla="*/ 25 w 28"/>
                <a:gd name="T83" fmla="*/ 23 h 28"/>
                <a:gd name="T84" fmla="*/ 25 w 28"/>
                <a:gd name="T85" fmla="*/ 21 h 28"/>
                <a:gd name="T86" fmla="*/ 22 w 28"/>
                <a:gd name="T87" fmla="*/ 18 h 28"/>
                <a:gd name="T88" fmla="*/ 23 w 28"/>
                <a:gd name="T89" fmla="*/ 16 h 28"/>
                <a:gd name="T90" fmla="*/ 27 w 28"/>
                <a:gd name="T91" fmla="*/ 16 h 28"/>
                <a:gd name="T92" fmla="*/ 28 w 28"/>
                <a:gd name="T93" fmla="*/ 14 h 28"/>
                <a:gd name="T94" fmla="*/ 28 w 28"/>
                <a:gd name="T95" fmla="*/ 13 h 28"/>
                <a:gd name="T96" fmla="*/ 27 w 28"/>
                <a:gd name="T97" fmla="*/ 11 h 28"/>
                <a:gd name="T98" fmla="*/ 14 w 28"/>
                <a:gd name="T99" fmla="*/ 18 h 28"/>
                <a:gd name="T100" fmla="*/ 10 w 28"/>
                <a:gd name="T101" fmla="*/ 14 h 28"/>
                <a:gd name="T102" fmla="*/ 14 w 28"/>
                <a:gd name="T103" fmla="*/ 10 h 28"/>
                <a:gd name="T104" fmla="*/ 18 w 28"/>
                <a:gd name="T105" fmla="*/ 14 h 28"/>
                <a:gd name="T106" fmla="*/ 14 w 28"/>
                <a:gd name="T10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 h="28">
                  <a:moveTo>
                    <a:pt x="27" y="11"/>
                  </a:moveTo>
                  <a:cubicBezTo>
                    <a:pt x="23" y="11"/>
                    <a:pt x="23" y="11"/>
                    <a:pt x="23" y="11"/>
                  </a:cubicBezTo>
                  <a:cubicBezTo>
                    <a:pt x="23" y="11"/>
                    <a:pt x="22" y="10"/>
                    <a:pt x="22" y="9"/>
                  </a:cubicBezTo>
                  <a:cubicBezTo>
                    <a:pt x="25" y="7"/>
                    <a:pt x="25" y="7"/>
                    <a:pt x="25" y="7"/>
                  </a:cubicBezTo>
                  <a:cubicBezTo>
                    <a:pt x="25" y="6"/>
                    <a:pt x="25" y="5"/>
                    <a:pt x="25" y="4"/>
                  </a:cubicBezTo>
                  <a:cubicBezTo>
                    <a:pt x="24" y="3"/>
                    <a:pt x="24" y="3"/>
                    <a:pt x="24" y="3"/>
                  </a:cubicBezTo>
                  <a:cubicBezTo>
                    <a:pt x="23" y="3"/>
                    <a:pt x="22" y="3"/>
                    <a:pt x="21" y="3"/>
                  </a:cubicBezTo>
                  <a:cubicBezTo>
                    <a:pt x="19" y="6"/>
                    <a:pt x="19" y="6"/>
                    <a:pt x="19" y="6"/>
                  </a:cubicBezTo>
                  <a:cubicBezTo>
                    <a:pt x="18" y="6"/>
                    <a:pt x="17" y="5"/>
                    <a:pt x="16" y="5"/>
                  </a:cubicBezTo>
                  <a:cubicBezTo>
                    <a:pt x="16" y="2"/>
                    <a:pt x="16" y="2"/>
                    <a:pt x="16" y="2"/>
                  </a:cubicBezTo>
                  <a:cubicBezTo>
                    <a:pt x="16" y="1"/>
                    <a:pt x="16" y="0"/>
                    <a:pt x="15" y="0"/>
                  </a:cubicBezTo>
                  <a:cubicBezTo>
                    <a:pt x="13" y="0"/>
                    <a:pt x="13" y="0"/>
                    <a:pt x="13" y="0"/>
                  </a:cubicBezTo>
                  <a:cubicBezTo>
                    <a:pt x="12" y="0"/>
                    <a:pt x="12" y="1"/>
                    <a:pt x="12" y="2"/>
                  </a:cubicBezTo>
                  <a:cubicBezTo>
                    <a:pt x="12" y="5"/>
                    <a:pt x="12" y="5"/>
                    <a:pt x="12" y="5"/>
                  </a:cubicBezTo>
                  <a:cubicBezTo>
                    <a:pt x="11" y="5"/>
                    <a:pt x="10" y="6"/>
                    <a:pt x="9" y="6"/>
                  </a:cubicBezTo>
                  <a:cubicBezTo>
                    <a:pt x="7" y="4"/>
                    <a:pt x="7" y="4"/>
                    <a:pt x="7" y="4"/>
                  </a:cubicBezTo>
                  <a:cubicBezTo>
                    <a:pt x="6" y="3"/>
                    <a:pt x="5" y="3"/>
                    <a:pt x="5" y="4"/>
                  </a:cubicBezTo>
                  <a:cubicBezTo>
                    <a:pt x="4" y="5"/>
                    <a:pt x="4" y="5"/>
                    <a:pt x="4" y="5"/>
                  </a:cubicBezTo>
                  <a:cubicBezTo>
                    <a:pt x="3" y="6"/>
                    <a:pt x="3" y="7"/>
                    <a:pt x="4" y="7"/>
                  </a:cubicBezTo>
                  <a:cubicBezTo>
                    <a:pt x="6" y="9"/>
                    <a:pt x="6" y="9"/>
                    <a:pt x="6" y="9"/>
                  </a:cubicBezTo>
                  <a:cubicBezTo>
                    <a:pt x="5" y="10"/>
                    <a:pt x="5" y="11"/>
                    <a:pt x="5" y="12"/>
                  </a:cubicBezTo>
                  <a:cubicBezTo>
                    <a:pt x="2" y="12"/>
                    <a:pt x="2" y="12"/>
                    <a:pt x="2" y="12"/>
                  </a:cubicBezTo>
                  <a:cubicBezTo>
                    <a:pt x="1" y="12"/>
                    <a:pt x="0" y="13"/>
                    <a:pt x="0" y="14"/>
                  </a:cubicBezTo>
                  <a:cubicBezTo>
                    <a:pt x="0" y="15"/>
                    <a:pt x="0" y="15"/>
                    <a:pt x="0" y="15"/>
                  </a:cubicBezTo>
                  <a:cubicBezTo>
                    <a:pt x="0" y="16"/>
                    <a:pt x="1" y="17"/>
                    <a:pt x="2" y="17"/>
                  </a:cubicBezTo>
                  <a:cubicBezTo>
                    <a:pt x="5" y="17"/>
                    <a:pt x="5" y="17"/>
                    <a:pt x="5" y="17"/>
                  </a:cubicBezTo>
                  <a:cubicBezTo>
                    <a:pt x="5" y="18"/>
                    <a:pt x="6" y="19"/>
                    <a:pt x="6" y="19"/>
                  </a:cubicBezTo>
                  <a:cubicBezTo>
                    <a:pt x="4" y="21"/>
                    <a:pt x="4" y="21"/>
                    <a:pt x="4" y="21"/>
                  </a:cubicBezTo>
                  <a:cubicBezTo>
                    <a:pt x="4" y="22"/>
                    <a:pt x="4" y="23"/>
                    <a:pt x="4" y="24"/>
                  </a:cubicBezTo>
                  <a:cubicBezTo>
                    <a:pt x="5" y="25"/>
                    <a:pt x="5" y="25"/>
                    <a:pt x="5" y="25"/>
                  </a:cubicBezTo>
                  <a:cubicBezTo>
                    <a:pt x="6" y="25"/>
                    <a:pt x="7" y="25"/>
                    <a:pt x="8" y="25"/>
                  </a:cubicBezTo>
                  <a:cubicBezTo>
                    <a:pt x="10" y="22"/>
                    <a:pt x="10" y="22"/>
                    <a:pt x="10" y="22"/>
                  </a:cubicBezTo>
                  <a:cubicBezTo>
                    <a:pt x="11" y="23"/>
                    <a:pt x="12" y="23"/>
                    <a:pt x="12" y="23"/>
                  </a:cubicBezTo>
                  <a:cubicBezTo>
                    <a:pt x="12" y="27"/>
                    <a:pt x="12" y="27"/>
                    <a:pt x="12" y="27"/>
                  </a:cubicBezTo>
                  <a:cubicBezTo>
                    <a:pt x="12" y="27"/>
                    <a:pt x="13" y="28"/>
                    <a:pt x="14" y="28"/>
                  </a:cubicBezTo>
                  <a:cubicBezTo>
                    <a:pt x="16" y="28"/>
                    <a:pt x="16" y="28"/>
                    <a:pt x="16" y="28"/>
                  </a:cubicBezTo>
                  <a:cubicBezTo>
                    <a:pt x="16" y="28"/>
                    <a:pt x="17" y="27"/>
                    <a:pt x="17" y="27"/>
                  </a:cubicBezTo>
                  <a:cubicBezTo>
                    <a:pt x="17" y="23"/>
                    <a:pt x="17" y="23"/>
                    <a:pt x="17" y="23"/>
                  </a:cubicBezTo>
                  <a:cubicBezTo>
                    <a:pt x="18" y="23"/>
                    <a:pt x="19" y="22"/>
                    <a:pt x="19" y="22"/>
                  </a:cubicBezTo>
                  <a:cubicBezTo>
                    <a:pt x="22" y="24"/>
                    <a:pt x="22" y="24"/>
                    <a:pt x="22" y="24"/>
                  </a:cubicBezTo>
                  <a:cubicBezTo>
                    <a:pt x="22" y="25"/>
                    <a:pt x="23" y="25"/>
                    <a:pt x="24" y="24"/>
                  </a:cubicBezTo>
                  <a:cubicBezTo>
                    <a:pt x="25" y="23"/>
                    <a:pt x="25" y="23"/>
                    <a:pt x="25" y="23"/>
                  </a:cubicBezTo>
                  <a:cubicBezTo>
                    <a:pt x="26" y="23"/>
                    <a:pt x="26" y="22"/>
                    <a:pt x="25" y="21"/>
                  </a:cubicBezTo>
                  <a:cubicBezTo>
                    <a:pt x="22" y="18"/>
                    <a:pt x="22" y="18"/>
                    <a:pt x="22" y="18"/>
                  </a:cubicBezTo>
                  <a:cubicBezTo>
                    <a:pt x="23" y="18"/>
                    <a:pt x="23" y="17"/>
                    <a:pt x="23" y="16"/>
                  </a:cubicBezTo>
                  <a:cubicBezTo>
                    <a:pt x="27" y="16"/>
                    <a:pt x="27" y="16"/>
                    <a:pt x="27" y="16"/>
                  </a:cubicBezTo>
                  <a:cubicBezTo>
                    <a:pt x="28" y="16"/>
                    <a:pt x="28" y="15"/>
                    <a:pt x="28" y="14"/>
                  </a:cubicBezTo>
                  <a:cubicBezTo>
                    <a:pt x="28" y="13"/>
                    <a:pt x="28" y="13"/>
                    <a:pt x="28" y="13"/>
                  </a:cubicBezTo>
                  <a:cubicBezTo>
                    <a:pt x="28" y="12"/>
                    <a:pt x="28" y="11"/>
                    <a:pt x="27" y="11"/>
                  </a:cubicBezTo>
                  <a:close/>
                  <a:moveTo>
                    <a:pt x="14" y="18"/>
                  </a:moveTo>
                  <a:cubicBezTo>
                    <a:pt x="12" y="18"/>
                    <a:pt x="10" y="16"/>
                    <a:pt x="10" y="14"/>
                  </a:cubicBezTo>
                  <a:cubicBezTo>
                    <a:pt x="10" y="12"/>
                    <a:pt x="12" y="10"/>
                    <a:pt x="14" y="10"/>
                  </a:cubicBezTo>
                  <a:cubicBezTo>
                    <a:pt x="16" y="10"/>
                    <a:pt x="18" y="12"/>
                    <a:pt x="18" y="14"/>
                  </a:cubicBezTo>
                  <a:cubicBezTo>
                    <a:pt x="18" y="16"/>
                    <a:pt x="16" y="18"/>
                    <a:pt x="1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187633747"/>
      </p:ext>
    </p:extLst>
  </p:cSld>
  <p:clrMapOvr>
    <a:masterClrMapping/>
  </p:clrMapOvr>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A44C8C8-2F36-450B-A067-045DF42C7170}"/>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59AD0D4C-52B6-4887-95DD-FD6DE794558F}"/>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F0A06676-82C0-4F43-87A1-A34EA0E8CFAF}"/>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347663" marR="338138" indent="-228600">
              <a:spcBef>
                <a:spcPts val="600"/>
              </a:spcBef>
              <a:spcAft>
                <a:spcPts val="0"/>
              </a:spcAft>
              <a:buFont typeface="+mj-lt"/>
              <a:buAutoNum type="arabicPeriod"/>
            </a:pPr>
            <a:r>
              <a:rPr lang="en-GB" sz="1200">
                <a:solidFill>
                  <a:schemeClr val="tx2"/>
                </a:solidFill>
                <a:latin typeface="Trebuchet MS" panose="020B0603020202020204" pitchFamily="34" charset="0"/>
              </a:rPr>
              <a:t>Key strategic levers supporting </a:t>
            </a:r>
            <a:r>
              <a:rPr lang="en-GB" sz="1200" err="1">
                <a:solidFill>
                  <a:schemeClr val="tx2"/>
                </a:solidFill>
                <a:latin typeface="Trebuchet MS" panose="020B0603020202020204" pitchFamily="34" charset="0"/>
              </a:rPr>
              <a:t>Altares</a:t>
            </a:r>
            <a:r>
              <a:rPr lang="en-GB" sz="1200">
                <a:solidFill>
                  <a:schemeClr val="tx2"/>
                </a:solidFill>
                <a:latin typeface="Trebuchet MS" panose="020B0603020202020204" pitchFamily="34" charset="0"/>
              </a:rPr>
              <a:t>’ future growth </a:t>
            </a:r>
          </a:p>
          <a:p>
            <a:pPr marL="347663" marR="338138" indent="-228600">
              <a:spcBef>
                <a:spcPts val="600"/>
              </a:spcBef>
              <a:spcAft>
                <a:spcPts val="0"/>
              </a:spcAft>
              <a:buFont typeface="+mj-lt"/>
              <a:buAutoNum type="arabicPeriod"/>
            </a:pPr>
            <a:r>
              <a:rPr lang="en-GB" sz="1200">
                <a:latin typeface="Trebuchet MS" panose="020B0603020202020204" pitchFamily="34" charset="0"/>
              </a:rPr>
              <a:t>Business plan assessment</a:t>
            </a:r>
          </a:p>
          <a:p>
            <a:pPr marL="804863" marR="338138" lvl="1" indent="-228600">
              <a:spcBef>
                <a:spcPts val="600"/>
              </a:spcBef>
              <a:spcAft>
                <a:spcPts val="0"/>
              </a:spcAft>
              <a:buFont typeface="+mj-lt"/>
              <a:buAutoNum type="arabicPeriod"/>
            </a:pPr>
            <a:r>
              <a:rPr lang="en-GB" sz="1200">
                <a:latin typeface="Trebuchet MS" panose="020B0603020202020204" pitchFamily="34" charset="0"/>
              </a:rPr>
              <a:t>Overall BP presentation</a:t>
            </a:r>
          </a:p>
          <a:p>
            <a:pPr marL="804863" marR="338138" lvl="1" indent="-228600">
              <a:spcBef>
                <a:spcPts val="600"/>
              </a:spcBef>
              <a:spcAft>
                <a:spcPts val="0"/>
              </a:spcAft>
              <a:buFont typeface="+mj-lt"/>
              <a:buAutoNum type="arabicPeriod"/>
            </a:pPr>
            <a:r>
              <a:rPr lang="en-GB" sz="1200">
                <a:latin typeface="Trebuchet MS" panose="020B0603020202020204" pitchFamily="34" charset="0"/>
              </a:rPr>
              <a:t>Detailed growth assessment per activity</a:t>
            </a:r>
          </a:p>
          <a:p>
            <a:pPr marL="1319213" marR="338138" lvl="2" indent="-285750">
              <a:spcBef>
                <a:spcPts val="600"/>
              </a:spcBef>
              <a:spcAft>
                <a:spcPts val="0"/>
              </a:spcAft>
              <a:buFont typeface="+mj-lt"/>
              <a:buAutoNum type="alphaLcPeriod"/>
            </a:pPr>
            <a:r>
              <a:rPr lang="en-GB" sz="1200">
                <a:latin typeface="Trebuchet MS" panose="020B0603020202020204" pitchFamily="34" charset="0"/>
              </a:rPr>
              <a:t>Credit risk</a:t>
            </a:r>
          </a:p>
          <a:p>
            <a:pPr marL="1319213" marR="338138" lvl="2" indent="-285750">
              <a:spcBef>
                <a:spcPts val="600"/>
              </a:spcBef>
              <a:spcAft>
                <a:spcPts val="0"/>
              </a:spcAft>
              <a:buFont typeface="+mj-lt"/>
              <a:buAutoNum type="alphaLcPeriod"/>
            </a:pPr>
            <a:r>
              <a:rPr lang="en-GB" sz="1200">
                <a:latin typeface="Trebuchet MS" panose="020B0603020202020204" pitchFamily="34" charset="0"/>
              </a:rPr>
              <a:t>Compliance</a:t>
            </a:r>
          </a:p>
          <a:p>
            <a:pPr marL="1319213" marR="338138" lvl="2" indent="-285750">
              <a:spcBef>
                <a:spcPts val="600"/>
              </a:spcBef>
              <a:spcAft>
                <a:spcPts val="0"/>
              </a:spcAft>
              <a:buFont typeface="+mj-lt"/>
              <a:buAutoNum type="alphaLcPeriod"/>
            </a:pPr>
            <a:r>
              <a:rPr lang="en-GB" sz="1200">
                <a:latin typeface="Trebuchet MS" panose="020B0603020202020204" pitchFamily="34" charset="0"/>
              </a:rPr>
              <a:t>B2B Marketing</a:t>
            </a:r>
          </a:p>
          <a:p>
            <a:pPr marL="804863" marR="338138" lvl="1" indent="-228600">
              <a:spcBef>
                <a:spcPts val="600"/>
              </a:spcBef>
              <a:spcAft>
                <a:spcPts val="0"/>
              </a:spcAft>
              <a:buFont typeface="+mj-lt"/>
              <a:buAutoNum type="arabicPeriod"/>
            </a:pPr>
            <a:r>
              <a:rPr lang="en-GB" sz="1200">
                <a:latin typeface="Trebuchet MS" panose="020B0603020202020204" pitchFamily="34" charset="0"/>
              </a:rPr>
              <a:t>Synthesis of BP assessment </a:t>
            </a:r>
          </a:p>
          <a:p>
            <a:pPr marL="127000">
              <a:spcBef>
                <a:spcPts val="1200"/>
              </a:spcBef>
            </a:pPr>
            <a:endParaRPr lang="en-GB" sz="1200">
              <a:latin typeface="Trebuchet MS" panose="020B0603020202020204" pitchFamily="34" charset="0"/>
            </a:endParaRPr>
          </a:p>
        </p:txBody>
      </p:sp>
      <p:sp>
        <p:nvSpPr>
          <p:cNvPr id="16" name="Section">
            <a:extLst>
              <a:ext uri="{FF2B5EF4-FFF2-40B4-BE49-F238E27FC236}">
                <a16:creationId xmlns:a16="http://schemas.microsoft.com/office/drawing/2014/main" id="{D2A8C65D-42ED-44C1-BDB8-ADE75A4ED3CA}"/>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6</a:t>
            </a:r>
          </a:p>
        </p:txBody>
      </p:sp>
      <p:sp>
        <p:nvSpPr>
          <p:cNvPr id="71" name="Chevron">
            <a:extLst>
              <a:ext uri="{FF2B5EF4-FFF2-40B4-BE49-F238E27FC236}">
                <a16:creationId xmlns:a16="http://schemas.microsoft.com/office/drawing/2014/main" id="{2A230948-1EC9-463F-98FF-E0E458B9B00C}"/>
              </a:ext>
            </a:extLst>
          </p:cNvPr>
          <p:cNvSpPr/>
          <p:nvPr/>
        </p:nvSpPr>
        <p:spPr bwMode="auto">
          <a:xfrm>
            <a:off x="1418399" y="3189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3" name="Isosceles Triangle">
            <a:extLst>
              <a:ext uri="{FF2B5EF4-FFF2-40B4-BE49-F238E27FC236}">
                <a16:creationId xmlns:a16="http://schemas.microsoft.com/office/drawing/2014/main" id="{2F6A703F-B3C1-47A0-9B67-EA8C250C6378}"/>
              </a:ext>
            </a:extLst>
          </p:cNvPr>
          <p:cNvSpPr/>
          <p:nvPr/>
        </p:nvSpPr>
        <p:spPr bwMode="auto">
          <a:xfrm rot="5400000">
            <a:off x="5731200" y="3295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5" name="Arrow: Pentagon">
            <a:extLst>
              <a:ext uri="{FF2B5EF4-FFF2-40B4-BE49-F238E27FC236}">
                <a16:creationId xmlns:a16="http://schemas.microsoft.com/office/drawing/2014/main" id="{687182C5-600B-4842-941B-D7AA2EC602E8}"/>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77" name="Oval">
            <a:extLst>
              <a:ext uri="{FF2B5EF4-FFF2-40B4-BE49-F238E27FC236}">
                <a16:creationId xmlns:a16="http://schemas.microsoft.com/office/drawing/2014/main" id="{F8B0EA57-1766-4B3D-B7F4-E5BBD4A165F7}"/>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79" name="Arrow: Pentagon">
            <a:extLst>
              <a:ext uri="{FF2B5EF4-FFF2-40B4-BE49-F238E27FC236}">
                <a16:creationId xmlns:a16="http://schemas.microsoft.com/office/drawing/2014/main" id="{10B8981B-19E4-4385-981D-25A5007598AA}"/>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81" name="Oval">
            <a:extLst>
              <a:ext uri="{FF2B5EF4-FFF2-40B4-BE49-F238E27FC236}">
                <a16:creationId xmlns:a16="http://schemas.microsoft.com/office/drawing/2014/main" id="{C413A741-D678-4385-937F-D33EDF42C6AB}"/>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83" name="Arrow: Pentagon">
            <a:extLst>
              <a:ext uri="{FF2B5EF4-FFF2-40B4-BE49-F238E27FC236}">
                <a16:creationId xmlns:a16="http://schemas.microsoft.com/office/drawing/2014/main" id="{64E73FA2-B329-4D2D-8D0E-15D2319094F9}"/>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85" name="Arrow: Pentagon">
            <a:extLst>
              <a:ext uri="{FF2B5EF4-FFF2-40B4-BE49-F238E27FC236}">
                <a16:creationId xmlns:a16="http://schemas.microsoft.com/office/drawing/2014/main" id="{985BA656-5B44-4E71-9925-25139C2373BD}"/>
              </a:ext>
            </a:extLst>
          </p:cNvPr>
          <p:cNvSpPr/>
          <p:nvPr/>
        </p:nvSpPr>
        <p:spPr bwMode="auto">
          <a:xfrm>
            <a:off x="1641598" y="2685599"/>
            <a:ext cx="3960001"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87" name="Oval">
            <a:extLst>
              <a:ext uri="{FF2B5EF4-FFF2-40B4-BE49-F238E27FC236}">
                <a16:creationId xmlns:a16="http://schemas.microsoft.com/office/drawing/2014/main" id="{6BF7EF7B-31D9-4755-B185-D85D836C29A6}"/>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89" name="Arrow: Pentagon">
            <a:extLst>
              <a:ext uri="{FF2B5EF4-FFF2-40B4-BE49-F238E27FC236}">
                <a16:creationId xmlns:a16="http://schemas.microsoft.com/office/drawing/2014/main" id="{3BFE52A2-BA74-4709-B70F-79A099726685}"/>
              </a:ext>
            </a:extLst>
          </p:cNvPr>
          <p:cNvSpPr/>
          <p:nvPr/>
        </p:nvSpPr>
        <p:spPr bwMode="auto">
          <a:xfrm>
            <a:off x="1641599" y="3189599"/>
            <a:ext cx="4319992"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BP assessment &amp; growth avenues</a:t>
            </a:r>
          </a:p>
        </p:txBody>
      </p:sp>
      <p:sp>
        <p:nvSpPr>
          <p:cNvPr id="91" name="Oval">
            <a:extLst>
              <a:ext uri="{FF2B5EF4-FFF2-40B4-BE49-F238E27FC236}">
                <a16:creationId xmlns:a16="http://schemas.microsoft.com/office/drawing/2014/main" id="{D6302CAE-26B1-4743-814E-57949CE9DA2D}"/>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93" name="Oval">
            <a:extLst>
              <a:ext uri="{FF2B5EF4-FFF2-40B4-BE49-F238E27FC236}">
                <a16:creationId xmlns:a16="http://schemas.microsoft.com/office/drawing/2014/main" id="{D9A46FFF-E3EB-45F0-A36C-0F884A650B6B}"/>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
        <p:nvSpPr>
          <p:cNvPr id="5" name="AutoShape 2">
            <a:extLst>
              <a:ext uri="{FF2B5EF4-FFF2-40B4-BE49-F238E27FC236}">
                <a16:creationId xmlns:a16="http://schemas.microsoft.com/office/drawing/2014/main" id="{F18DC592-D6AF-4CA5-AB94-C3ACA2DFBE0A}"/>
              </a:ext>
            </a:extLst>
          </p:cNvPr>
          <p:cNvSpPr>
            <a:spLocks noChangeAspect="1" noChangeArrowheads="1"/>
          </p:cNvSpPr>
          <p:nvPr/>
        </p:nvSpPr>
        <p:spPr bwMode="auto">
          <a:xfrm>
            <a:off x="4800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248408134"/>
      </p:ext>
    </p:extLst>
  </p:cSld>
  <p:clrMapOvr>
    <a:masterClrMapping/>
  </p:clrMapOvr>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32134CEA-538F-464F-B72C-E2031E40B1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5" name="Objet 4" hidden="1">
                        <a:extLst>
                          <a:ext uri="{FF2B5EF4-FFF2-40B4-BE49-F238E27FC236}">
                            <a16:creationId xmlns:a16="http://schemas.microsoft.com/office/drawing/2014/main" id="{32134CEA-538F-464F-B72C-E2031E40B1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23137E0-84BC-457F-ADEC-D1DD35CBCB0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B9A1C650-40F0-4843-A54C-AF4BF56125B8}"/>
              </a:ext>
            </a:extLst>
          </p:cNvPr>
          <p:cNvSpPr>
            <a:spLocks noGrp="1"/>
          </p:cNvSpPr>
          <p:nvPr>
            <p:ph type="title"/>
          </p:nvPr>
        </p:nvSpPr>
        <p:spPr>
          <a:xfrm>
            <a:off x="165600" y="147600"/>
            <a:ext cx="8357688" cy="684000"/>
          </a:xfrm>
        </p:spPr>
        <p:txBody>
          <a:bodyPr/>
          <a:lstStyle/>
          <a:p>
            <a:r>
              <a:rPr lang="en-GB">
                <a:latin typeface="Trebuchet MS" panose="020B0603020202020204" pitchFamily="34" charset="0"/>
              </a:rPr>
              <a:t>In order to </a:t>
            </a:r>
            <a:r>
              <a:rPr lang="en-GB">
                <a:solidFill>
                  <a:schemeClr val="tx2"/>
                </a:solidFill>
                <a:latin typeface="Trebuchet MS" panose="020B0603020202020204" pitchFamily="34" charset="0"/>
              </a:rPr>
              <a:t>pave the way </a:t>
            </a:r>
            <a:r>
              <a:rPr lang="en-GB">
                <a:latin typeface="Trebuchet MS" panose="020B0603020202020204" pitchFamily="34" charset="0"/>
              </a:rPr>
              <a:t>to the</a:t>
            </a:r>
            <a:r>
              <a:rPr lang="en-GB">
                <a:solidFill>
                  <a:schemeClr val="tx2"/>
                </a:solidFill>
                <a:latin typeface="Trebuchet MS" panose="020B0603020202020204" pitchFamily="34" charset="0"/>
              </a:rPr>
              <a:t> group’s future growth</a:t>
            </a:r>
            <a:r>
              <a:rPr lang="en-GB">
                <a:latin typeface="Trebuchet MS" panose="020B0603020202020204" pitchFamily="34" charset="0"/>
              </a:rPr>
              <a:t>, </a:t>
            </a:r>
            <a:r>
              <a:rPr lang="en-GB" err="1">
                <a:latin typeface="Trebuchet MS" panose="020B0603020202020204" pitchFamily="34" charset="0"/>
              </a:rPr>
              <a:t>Altares</a:t>
            </a:r>
            <a:r>
              <a:rPr lang="en-GB">
                <a:latin typeface="Trebuchet MS" panose="020B0603020202020204" pitchFamily="34" charset="0"/>
              </a:rPr>
              <a:t>’ </a:t>
            </a:r>
            <a:r>
              <a:rPr lang="en-GB">
                <a:solidFill>
                  <a:schemeClr val="tx2"/>
                </a:solidFill>
                <a:latin typeface="Trebuchet MS" panose="020B0603020202020204" pitchFamily="34" charset="0"/>
              </a:rPr>
              <a:t>new management </a:t>
            </a:r>
            <a:r>
              <a:rPr lang="en-GB">
                <a:latin typeface="Trebuchet MS" panose="020B0603020202020204" pitchFamily="34" charset="0"/>
              </a:rPr>
              <a:t>team</a:t>
            </a:r>
            <a:r>
              <a:rPr lang="en-GB">
                <a:solidFill>
                  <a:schemeClr val="tx2"/>
                </a:solidFill>
                <a:latin typeface="Trebuchet MS" panose="020B0603020202020204" pitchFamily="34" charset="0"/>
              </a:rPr>
              <a:t> </a:t>
            </a:r>
            <a:r>
              <a:rPr lang="en-GB">
                <a:latin typeface="Trebuchet MS" panose="020B0603020202020204" pitchFamily="34" charset="0"/>
              </a:rPr>
              <a:t>has already launched </a:t>
            </a:r>
            <a:r>
              <a:rPr lang="en-GB">
                <a:solidFill>
                  <a:schemeClr val="tx2"/>
                </a:solidFill>
                <a:latin typeface="Trebuchet MS" panose="020B0603020202020204" pitchFamily="34" charset="0"/>
              </a:rPr>
              <a:t>key initiatives </a:t>
            </a:r>
            <a:r>
              <a:rPr lang="en-GB">
                <a:latin typeface="Trebuchet MS" panose="020B0603020202020204" pitchFamily="34" charset="0"/>
              </a:rPr>
              <a:t>regarding </a:t>
            </a:r>
            <a:r>
              <a:rPr lang="en-GB">
                <a:solidFill>
                  <a:schemeClr val="tx2"/>
                </a:solidFill>
                <a:latin typeface="Trebuchet MS" panose="020B0603020202020204" pitchFamily="34" charset="0"/>
              </a:rPr>
              <a:t>commercial</a:t>
            </a:r>
            <a:r>
              <a:rPr lang="en-GB">
                <a:latin typeface="Trebuchet MS" panose="020B0603020202020204" pitchFamily="34" charset="0"/>
              </a:rPr>
              <a:t> and </a:t>
            </a:r>
            <a:r>
              <a:rPr lang="en-GB">
                <a:solidFill>
                  <a:schemeClr val="tx2"/>
                </a:solidFill>
                <a:latin typeface="Trebuchet MS" panose="020B0603020202020204" pitchFamily="34" charset="0"/>
              </a:rPr>
              <a:t>product</a:t>
            </a:r>
            <a:r>
              <a:rPr lang="en-GB">
                <a:latin typeface="Trebuchet MS" panose="020B0603020202020204" pitchFamily="34" charset="0"/>
              </a:rPr>
              <a:t> strategies, supported by the ongoing consolidation of the </a:t>
            </a:r>
            <a:r>
              <a:rPr lang="en-GB">
                <a:solidFill>
                  <a:schemeClr val="tx2"/>
                </a:solidFill>
                <a:latin typeface="Trebuchet MS" panose="020B0603020202020204" pitchFamily="34" charset="0"/>
              </a:rPr>
              <a:t>group foundations</a:t>
            </a:r>
          </a:p>
        </p:txBody>
      </p:sp>
      <p:sp>
        <p:nvSpPr>
          <p:cNvPr id="3" name="Espace réservé du texte 2">
            <a:extLst>
              <a:ext uri="{FF2B5EF4-FFF2-40B4-BE49-F238E27FC236}">
                <a16:creationId xmlns:a16="http://schemas.microsoft.com/office/drawing/2014/main" id="{FD70D31D-826B-4734-9BA5-6BF9E1B35CD7}"/>
              </a:ext>
            </a:extLst>
          </p:cNvPr>
          <p:cNvSpPr>
            <a:spLocks noGrp="1"/>
          </p:cNvSpPr>
          <p:nvPr>
            <p:ph type="body" sz="quarter" idx="10"/>
          </p:nvPr>
        </p:nvSpPr>
        <p:spPr/>
        <p:txBody>
          <a:bodyPr/>
          <a:lstStyle/>
          <a:p>
            <a:r>
              <a:rPr lang="en-GB"/>
              <a:t>Sources: eleven research &amp; analysis, company data, interviews with management</a:t>
            </a:r>
          </a:p>
        </p:txBody>
      </p:sp>
      <p:grpSp>
        <p:nvGrpSpPr>
          <p:cNvPr id="6" name="Groupe 5">
            <a:extLst>
              <a:ext uri="{FF2B5EF4-FFF2-40B4-BE49-F238E27FC236}">
                <a16:creationId xmlns:a16="http://schemas.microsoft.com/office/drawing/2014/main" id="{BED474F6-A639-4639-9AE9-D2095168B953}"/>
              </a:ext>
            </a:extLst>
          </p:cNvPr>
          <p:cNvGrpSpPr/>
          <p:nvPr/>
        </p:nvGrpSpPr>
        <p:grpSpPr>
          <a:xfrm>
            <a:off x="8448150" y="-11528"/>
            <a:ext cx="1435548" cy="588143"/>
            <a:chOff x="8448150" y="-11528"/>
            <a:chExt cx="1435548" cy="588143"/>
          </a:xfrm>
        </p:grpSpPr>
        <p:sp>
          <p:nvSpPr>
            <p:cNvPr id="7" name="Rectangle : coins arrondis 199">
              <a:extLst>
                <a:ext uri="{FF2B5EF4-FFF2-40B4-BE49-F238E27FC236}">
                  <a16:creationId xmlns:a16="http://schemas.microsoft.com/office/drawing/2014/main" id="{166E8B48-84F4-4BB2-8C10-6B31FD3F9165}"/>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 name="Rectangle : coins arrondis 200">
              <a:extLst>
                <a:ext uri="{FF2B5EF4-FFF2-40B4-BE49-F238E27FC236}">
                  <a16:creationId xmlns:a16="http://schemas.microsoft.com/office/drawing/2014/main" id="{CFFED150-F15E-4143-9A54-4334562F3086}"/>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 name="Rectangle : coins arrondis 201">
              <a:extLst>
                <a:ext uri="{FF2B5EF4-FFF2-40B4-BE49-F238E27FC236}">
                  <a16:creationId xmlns:a16="http://schemas.microsoft.com/office/drawing/2014/main" id="{E64F1C6A-D4E8-4CA6-BC8E-B78F6A10EFB8}"/>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 name="ZoneTexte 18">
              <a:extLst>
                <a:ext uri="{FF2B5EF4-FFF2-40B4-BE49-F238E27FC236}">
                  <a16:creationId xmlns:a16="http://schemas.microsoft.com/office/drawing/2014/main" id="{233EB8B1-7421-469B-8E66-23F345C414E5}"/>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1" name="Graphique 128" descr="Jauge">
              <a:extLst>
                <a:ext uri="{FF2B5EF4-FFF2-40B4-BE49-F238E27FC236}">
                  <a16:creationId xmlns:a16="http://schemas.microsoft.com/office/drawing/2014/main" id="{B25A7032-F2AA-4146-B04C-7C2DE3A6EF2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2" name="Graphique 90" descr="Poignée de main">
              <a:extLst>
                <a:ext uri="{FF2B5EF4-FFF2-40B4-BE49-F238E27FC236}">
                  <a16:creationId xmlns:a16="http://schemas.microsoft.com/office/drawing/2014/main" id="{F843164D-13A1-4435-A499-76D844C1FDF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13" name="Graphique 74" descr="Mégaphone">
              <a:extLst>
                <a:ext uri="{FF2B5EF4-FFF2-40B4-BE49-F238E27FC236}">
                  <a16:creationId xmlns:a16="http://schemas.microsoft.com/office/drawing/2014/main" id="{68E32491-7F3F-4038-9065-CD21D958281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14" name="Picture 2" descr="Drapeau France">
              <a:extLst>
                <a:ext uri="{FF2B5EF4-FFF2-40B4-BE49-F238E27FC236}">
                  <a16:creationId xmlns:a16="http://schemas.microsoft.com/office/drawing/2014/main" id="{594434A3-87A9-4FB3-9C40-EFB2E774E2B7}"/>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5" name="Picture 2" descr="5 ft x 3 ft 150 x 90 cm-DRAPEAU BELGE Belgique 100% Polyester ...">
              <a:extLst>
                <a:ext uri="{FF2B5EF4-FFF2-40B4-BE49-F238E27FC236}">
                  <a16:creationId xmlns:a16="http://schemas.microsoft.com/office/drawing/2014/main" id="{66A7BC6F-874F-4056-8180-A1019ADD968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6" name="Picture 2 - 1" descr="Drapeau des Pays-Bas — Wikipédia">
              <a:extLst>
                <a:ext uri="{FF2B5EF4-FFF2-40B4-BE49-F238E27FC236}">
                  <a16:creationId xmlns:a16="http://schemas.microsoft.com/office/drawing/2014/main" id="{87E4612B-322E-4AF3-87A4-3086DB344D0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7" name="Picture 2 - 2" descr="Drapeau du Luxembourg">
              <a:extLst>
                <a:ext uri="{FF2B5EF4-FFF2-40B4-BE49-F238E27FC236}">
                  <a16:creationId xmlns:a16="http://schemas.microsoft.com/office/drawing/2014/main" id="{8B76438D-CC75-46D0-9C9B-499A164663C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8" name="ZoneTexte 17">
              <a:extLst>
                <a:ext uri="{FF2B5EF4-FFF2-40B4-BE49-F238E27FC236}">
                  <a16:creationId xmlns:a16="http://schemas.microsoft.com/office/drawing/2014/main" id="{9969ECDB-6980-4E23-9B5E-F2FE792421C5}"/>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Growth avenues</a:t>
              </a:r>
            </a:p>
          </p:txBody>
        </p:sp>
      </p:grpSp>
      <p:cxnSp>
        <p:nvCxnSpPr>
          <p:cNvPr id="20" name="Connecteur droit 19">
            <a:extLst>
              <a:ext uri="{FF2B5EF4-FFF2-40B4-BE49-F238E27FC236}">
                <a16:creationId xmlns:a16="http://schemas.microsoft.com/office/drawing/2014/main" id="{45F0397B-5980-455A-A2E6-A606761E19F2}"/>
              </a:ext>
            </a:extLst>
          </p:cNvPr>
          <p:cNvCxnSpPr>
            <a:cxnSpLocks/>
          </p:cNvCxnSpPr>
          <p:nvPr/>
        </p:nvCxnSpPr>
        <p:spPr bwMode="auto">
          <a:xfrm>
            <a:off x="270767" y="1079433"/>
            <a:ext cx="9364467"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1" name="Rectangle 84">
            <a:extLst>
              <a:ext uri="{FF2B5EF4-FFF2-40B4-BE49-F238E27FC236}">
                <a16:creationId xmlns:a16="http://schemas.microsoft.com/office/drawing/2014/main" id="{D68A4DA9-A92E-492F-9ED1-2909B0CC95D8}"/>
              </a:ext>
            </a:extLst>
          </p:cNvPr>
          <p:cNvSpPr/>
          <p:nvPr/>
        </p:nvSpPr>
        <p:spPr bwMode="auto">
          <a:xfrm>
            <a:off x="3422034" y="928767"/>
            <a:ext cx="3061933"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err="1">
                <a:latin typeface="Trebuchet MS" panose="020B0603020202020204" pitchFamily="34" charset="0"/>
              </a:rPr>
              <a:t>Altares</a:t>
            </a:r>
            <a:r>
              <a:rPr lang="en-GB" sz="1100">
                <a:latin typeface="Trebuchet MS" panose="020B0603020202020204" pitchFamily="34" charset="0"/>
              </a:rPr>
              <a:t>’ growth strategy</a:t>
            </a:r>
          </a:p>
        </p:txBody>
      </p:sp>
      <p:sp>
        <p:nvSpPr>
          <p:cNvPr id="22" name="Rectangle: Rounded Corners 2">
            <a:extLst>
              <a:ext uri="{FF2B5EF4-FFF2-40B4-BE49-F238E27FC236}">
                <a16:creationId xmlns:a16="http://schemas.microsoft.com/office/drawing/2014/main" id="{D4A4AAF7-56FA-4289-8AB4-67B49180FC64}"/>
              </a:ext>
            </a:extLst>
          </p:cNvPr>
          <p:cNvSpPr/>
          <p:nvPr/>
        </p:nvSpPr>
        <p:spPr bwMode="auto">
          <a:xfrm>
            <a:off x="3922574" y="1286586"/>
            <a:ext cx="3060000" cy="3698099"/>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tx2"/>
                </a:solidFill>
                <a:effectLst/>
                <a:latin typeface="Trebuchet MS" panose="020B0603020202020204" pitchFamily="34" charset="0"/>
              </a:rPr>
              <a:t>Product strategy roll-out</a:t>
            </a:r>
          </a:p>
          <a:p>
            <a:pPr marL="0" marR="0" indent="0" algn="ctr" defTabSz="914400" eaLnBrk="1" fontAlgn="base" latinLnBrk="0" hangingPunct="1">
              <a:lnSpc>
                <a:spcPct val="100000"/>
              </a:lnSpc>
              <a:spcBef>
                <a:spcPct val="0"/>
              </a:spcBef>
              <a:spcAft>
                <a:spcPct val="0"/>
              </a:spcAft>
              <a:buClrTx/>
              <a:buSzTx/>
              <a:buFontTx/>
              <a:buNone/>
              <a:tabLst/>
            </a:pPr>
            <a:endParaRPr lang="en-GB" sz="1200">
              <a:latin typeface="Trebuchet MS" panose="020B0603020202020204" pitchFamily="34" charset="0"/>
            </a:endParaRPr>
          </a:p>
          <a:p>
            <a:pPr marL="171450" marR="0" indent="-171450" defTabSz="914400" eaLnBrk="1" fontAlgn="base" latinLnBrk="0" hangingPunct="1">
              <a:lnSpc>
                <a:spcPct val="100000"/>
              </a:lnSpc>
              <a:spcBef>
                <a:spcPct val="0"/>
              </a:spcBef>
              <a:spcAft>
                <a:spcPct val="0"/>
              </a:spcAft>
              <a:buClr>
                <a:schemeClr val="tx1"/>
              </a:buClr>
              <a:buSzTx/>
              <a:buFont typeface="Wingdings" panose="05000000000000000000" pitchFamily="2" charset="2"/>
              <a:buChar char="§"/>
              <a:tabLst/>
            </a:pPr>
            <a:endParaRPr lang="en-GB" sz="1100">
              <a:solidFill>
                <a:schemeClr val="tx2"/>
              </a:solidFill>
              <a:latin typeface="Trebuchet MS" pitchFamily="34" charset="0"/>
            </a:endParaRPr>
          </a:p>
          <a:p>
            <a:pPr marL="171450" marR="0" indent="-171450" defTabSz="914400" eaLnBrk="1" fontAlgn="base" latinLnBrk="0" hangingPunct="1">
              <a:lnSpc>
                <a:spcPct val="100000"/>
              </a:lnSpc>
              <a:spcBef>
                <a:spcPct val="0"/>
              </a:spcBef>
              <a:spcAft>
                <a:spcPct val="0"/>
              </a:spcAft>
              <a:buClr>
                <a:schemeClr val="tx1"/>
              </a:buClr>
              <a:buSzTx/>
              <a:buFont typeface="Wingdings" panose="05000000000000000000" pitchFamily="2" charset="2"/>
              <a:buChar char="§"/>
              <a:tabLst/>
            </a:pPr>
            <a:r>
              <a:rPr lang="en-GB" sz="1100">
                <a:solidFill>
                  <a:schemeClr val="tx2"/>
                </a:solidFill>
                <a:latin typeface="Trebuchet MS" pitchFamily="34" charset="0"/>
              </a:rPr>
              <a:t>Rationalisation</a:t>
            </a:r>
            <a:r>
              <a:rPr lang="en-GB" sz="1100">
                <a:latin typeface="Trebuchet MS" panose="020B0603020202020204" pitchFamily="34" charset="0"/>
              </a:rPr>
              <a:t> and </a:t>
            </a:r>
            <a:r>
              <a:rPr lang="en-GB" sz="1100">
                <a:solidFill>
                  <a:schemeClr val="tx2"/>
                </a:solidFill>
                <a:latin typeface="Trebuchet MS" panose="020B0603020202020204" pitchFamily="34" charset="0"/>
              </a:rPr>
              <a:t>focus</a:t>
            </a:r>
            <a:r>
              <a:rPr lang="en-GB" sz="1100">
                <a:latin typeface="Trebuchet MS" panose="020B0603020202020204" pitchFamily="34" charset="0"/>
              </a:rPr>
              <a:t> on a </a:t>
            </a:r>
            <a:r>
              <a:rPr lang="en-GB" sz="1100">
                <a:solidFill>
                  <a:schemeClr val="tx2"/>
                </a:solidFill>
                <a:latin typeface="Trebuchet MS" panose="020B0603020202020204" pitchFamily="34" charset="0"/>
              </a:rPr>
              <a:t>limited number of products</a:t>
            </a:r>
          </a:p>
          <a:p>
            <a:pPr marL="171450" marR="0" indent="-171450" defTabSz="914400" eaLnBrk="1" fontAlgn="base" latinLnBrk="0" hangingPunct="1">
              <a:lnSpc>
                <a:spcPct val="100000"/>
              </a:lnSpc>
              <a:spcBef>
                <a:spcPct val="0"/>
              </a:spcBef>
              <a:spcAft>
                <a:spcPct val="0"/>
              </a:spcAft>
              <a:buClr>
                <a:schemeClr val="tx1"/>
              </a:buClr>
              <a:buSzTx/>
              <a:buFont typeface="Wingdings" panose="05000000000000000000" pitchFamily="2" charset="2"/>
              <a:buChar char="§"/>
              <a:tabLst/>
            </a:pPr>
            <a:endParaRPr lang="en-GB" sz="1100">
              <a:latin typeface="Trebuchet MS" pitchFamily="34" charset="0"/>
            </a:endParaRPr>
          </a:p>
          <a:p>
            <a:pPr marL="171450" marR="0" indent="-171450" defTabSz="914400" eaLnBrk="1" fontAlgn="base" latinLnBrk="0" hangingPunct="1">
              <a:lnSpc>
                <a:spcPct val="100000"/>
              </a:lnSpc>
              <a:spcBef>
                <a:spcPct val="0"/>
              </a:spcBef>
              <a:spcAft>
                <a:spcPct val="0"/>
              </a:spcAft>
              <a:buClr>
                <a:schemeClr val="tx1"/>
              </a:buClr>
              <a:buSzTx/>
              <a:buFont typeface="Wingdings" panose="05000000000000000000" pitchFamily="2" charset="2"/>
              <a:buChar char="§"/>
              <a:tabLst/>
            </a:pPr>
            <a:r>
              <a:rPr lang="en-GB" sz="1100">
                <a:latin typeface="Trebuchet MS" pitchFamily="34" charset="0"/>
              </a:rPr>
              <a:t>Strong development of </a:t>
            </a:r>
            <a:r>
              <a:rPr lang="en-GB" sz="1100">
                <a:solidFill>
                  <a:schemeClr val="tx2"/>
                </a:solidFill>
                <a:latin typeface="Trebuchet MS" panose="020B0603020202020204" pitchFamily="34" charset="0"/>
              </a:rPr>
              <a:t>proprietary products</a:t>
            </a:r>
            <a:r>
              <a:rPr lang="en-GB" sz="1100">
                <a:latin typeface="Trebuchet MS" panose="020B0603020202020204" pitchFamily="34" charset="0"/>
              </a:rPr>
              <a:t>, deployed at a </a:t>
            </a:r>
            <a:r>
              <a:rPr lang="en-GB" sz="1100">
                <a:solidFill>
                  <a:schemeClr val="tx2"/>
                </a:solidFill>
                <a:latin typeface="Trebuchet MS" panose="020B0603020202020204" pitchFamily="34" charset="0"/>
              </a:rPr>
              <a:t>group level </a:t>
            </a:r>
            <a:r>
              <a:rPr lang="en-GB" sz="1100">
                <a:latin typeface="Trebuchet MS" panose="020B0603020202020204" pitchFamily="34" charset="0"/>
              </a:rPr>
              <a:t>on </a:t>
            </a:r>
            <a:r>
              <a:rPr lang="en-GB" sz="1100">
                <a:solidFill>
                  <a:schemeClr val="tx2"/>
                </a:solidFill>
                <a:latin typeface="Trebuchet MS" panose="020B0603020202020204" pitchFamily="34" charset="0"/>
              </a:rPr>
              <a:t>all geographies</a:t>
            </a:r>
            <a:r>
              <a:rPr lang="en-GB" sz="1100">
                <a:latin typeface="Trebuchet MS" panose="020B0603020202020204" pitchFamily="34" charset="0"/>
              </a:rPr>
              <a:t>, based on a</a:t>
            </a:r>
            <a:r>
              <a:rPr lang="en-GB" sz="1100">
                <a:solidFill>
                  <a:schemeClr val="tx2"/>
                </a:solidFill>
                <a:latin typeface="Trebuchet MS" panose="020B0603020202020204" pitchFamily="34" charset="0"/>
              </a:rPr>
              <a:t> “customer use case” </a:t>
            </a:r>
            <a:r>
              <a:rPr lang="en-GB" sz="1100">
                <a:latin typeface="Trebuchet MS" pitchFamily="34" charset="0"/>
              </a:rPr>
              <a:t>approach</a:t>
            </a:r>
          </a:p>
          <a:p>
            <a:pPr marR="0" defTabSz="914400" eaLnBrk="1" fontAlgn="base" latinLnBrk="0" hangingPunct="1">
              <a:lnSpc>
                <a:spcPct val="100000"/>
              </a:lnSpc>
              <a:spcBef>
                <a:spcPct val="0"/>
              </a:spcBef>
              <a:spcAft>
                <a:spcPct val="0"/>
              </a:spcAft>
              <a:buClrTx/>
              <a:buSzTx/>
              <a:tabLst/>
            </a:pPr>
            <a:endParaRPr lang="en-GB" sz="1100">
              <a:latin typeface="Trebuchet MS" pitchFamily="34" charset="0"/>
            </a:endParaRPr>
          </a:p>
        </p:txBody>
      </p:sp>
      <p:sp>
        <p:nvSpPr>
          <p:cNvPr id="23" name="Rectangle: Rounded Corners 3">
            <a:extLst>
              <a:ext uri="{FF2B5EF4-FFF2-40B4-BE49-F238E27FC236}">
                <a16:creationId xmlns:a16="http://schemas.microsoft.com/office/drawing/2014/main" id="{A6FA59C3-6710-4DA9-81C9-AC8EF4BA8627}"/>
              </a:ext>
            </a:extLst>
          </p:cNvPr>
          <p:cNvSpPr/>
          <p:nvPr/>
        </p:nvSpPr>
        <p:spPr bwMode="auto">
          <a:xfrm>
            <a:off x="649518" y="1277037"/>
            <a:ext cx="3060000" cy="3711928"/>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eaLnBrk="1" fontAlgn="base" latinLnBrk="0" hangingPunct="1">
              <a:lnSpc>
                <a:spcPct val="100000"/>
              </a:lnSpc>
              <a:spcBef>
                <a:spcPct val="0"/>
              </a:spcBef>
              <a:spcAft>
                <a:spcPct val="0"/>
              </a:spcAft>
              <a:buClrTx/>
              <a:buSzTx/>
              <a:tabLst/>
            </a:pPr>
            <a:r>
              <a:rPr kumimoji="0" lang="en-GB" sz="1200" b="1" i="0" u="none" strike="noStrike" cap="none" normalizeH="0" baseline="0">
                <a:ln>
                  <a:noFill/>
                </a:ln>
                <a:solidFill>
                  <a:schemeClr val="tx2"/>
                </a:solidFill>
                <a:effectLst/>
                <a:latin typeface="Trebuchet MS" panose="020B0603020202020204" pitchFamily="34" charset="0"/>
              </a:rPr>
              <a:t>Commercial Push</a:t>
            </a:r>
          </a:p>
          <a:p>
            <a:pPr marR="0" algn="ctr" defTabSz="914400" eaLnBrk="1" fontAlgn="base" latinLnBrk="0" hangingPunct="1">
              <a:lnSpc>
                <a:spcPct val="100000"/>
              </a:lnSpc>
              <a:spcBef>
                <a:spcPct val="0"/>
              </a:spcBef>
              <a:spcAft>
                <a:spcPct val="0"/>
              </a:spcAft>
              <a:buClrTx/>
              <a:buSzTx/>
              <a:tabLst/>
            </a:pPr>
            <a:endParaRPr kumimoji="0" lang="en-GB" sz="1200" b="1" i="0" u="none" strike="noStrike" cap="none" normalizeH="0" baseline="0">
              <a:ln>
                <a:noFill/>
              </a:ln>
              <a:effectLst/>
              <a:latin typeface="Trebuchet MS" panose="020B0603020202020204" pitchFamily="34" charset="0"/>
            </a:endParaRPr>
          </a:p>
          <a:p>
            <a:pPr marL="171450" indent="-171450">
              <a:buFont typeface="Wingdings" panose="05000000000000000000" pitchFamily="2" charset="2"/>
              <a:buChar char="§"/>
            </a:pPr>
            <a:r>
              <a:rPr lang="en-GB" sz="1100">
                <a:latin typeface="Trebuchet MS" panose="020B0603020202020204" pitchFamily="34" charset="0"/>
              </a:rPr>
              <a:t>Roll-out of the </a:t>
            </a:r>
            <a:r>
              <a:rPr lang="en-GB" sz="1100">
                <a:solidFill>
                  <a:schemeClr val="tx2"/>
                </a:solidFill>
                <a:latin typeface="Trebuchet MS" panose="020B0603020202020204" pitchFamily="34" charset="0"/>
              </a:rPr>
              <a:t>new offer </a:t>
            </a:r>
            <a:r>
              <a:rPr lang="en-GB" sz="1100">
                <a:latin typeface="Trebuchet MS" panose="020B0603020202020204" pitchFamily="34" charset="0"/>
              </a:rPr>
              <a:t>X </a:t>
            </a:r>
            <a:r>
              <a:rPr lang="en-GB" sz="1100">
                <a:solidFill>
                  <a:schemeClr val="tx2"/>
                </a:solidFill>
                <a:latin typeface="Trebuchet MS" panose="020B0603020202020204" pitchFamily="34" charset="0"/>
              </a:rPr>
              <a:t>new sales organization </a:t>
            </a:r>
            <a:r>
              <a:rPr lang="en-GB" sz="1100">
                <a:latin typeface="Trebuchet MS" panose="020B0603020202020204" pitchFamily="34" charset="0"/>
              </a:rPr>
              <a:t>to: </a:t>
            </a:r>
          </a:p>
          <a:p>
            <a:pPr marR="0" algn="ctr" defTabSz="914400" eaLnBrk="1" fontAlgn="base" latinLnBrk="0" hangingPunct="1">
              <a:lnSpc>
                <a:spcPct val="100000"/>
              </a:lnSpc>
              <a:spcBef>
                <a:spcPct val="0"/>
              </a:spcBef>
              <a:spcAft>
                <a:spcPct val="0"/>
              </a:spcAft>
              <a:buClrTx/>
              <a:buSzTx/>
              <a:tabLst/>
            </a:pPr>
            <a:endParaRPr kumimoji="0" lang="en-GB" sz="1200" b="1" i="0" u="none" strike="noStrike" cap="none" normalizeH="0" baseline="0">
              <a:ln>
                <a:noFill/>
              </a:ln>
              <a:solidFill>
                <a:schemeClr val="tx2"/>
              </a:solidFill>
              <a:effectLst/>
              <a:latin typeface="Trebuchet MS" panose="020B0603020202020204" pitchFamily="34" charset="0"/>
            </a:endParaRPr>
          </a:p>
        </p:txBody>
      </p:sp>
      <p:sp>
        <p:nvSpPr>
          <p:cNvPr id="24" name="Rectangle: Rounded Corners 4">
            <a:extLst>
              <a:ext uri="{FF2B5EF4-FFF2-40B4-BE49-F238E27FC236}">
                <a16:creationId xmlns:a16="http://schemas.microsoft.com/office/drawing/2014/main" id="{EC250146-B3B8-48A4-BC10-4530768778F0}"/>
              </a:ext>
            </a:extLst>
          </p:cNvPr>
          <p:cNvSpPr/>
          <p:nvPr/>
        </p:nvSpPr>
        <p:spPr bwMode="auto">
          <a:xfrm>
            <a:off x="643934" y="5315115"/>
            <a:ext cx="6348608" cy="1030390"/>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tx2"/>
                </a:solidFill>
                <a:effectLst/>
                <a:latin typeface="Trebuchet MS" panose="020B0603020202020204" pitchFamily="34" charset="0"/>
              </a:rPr>
              <a:t>Group foundations consolidation </a:t>
            </a:r>
          </a:p>
        </p:txBody>
      </p:sp>
      <p:sp>
        <p:nvSpPr>
          <p:cNvPr id="25" name="Rectangle: Rounded Corners 5">
            <a:extLst>
              <a:ext uri="{FF2B5EF4-FFF2-40B4-BE49-F238E27FC236}">
                <a16:creationId xmlns:a16="http://schemas.microsoft.com/office/drawing/2014/main" id="{D2973020-4BB7-43DA-AC10-2EF4DD677F41}"/>
              </a:ext>
            </a:extLst>
          </p:cNvPr>
          <p:cNvSpPr/>
          <p:nvPr/>
        </p:nvSpPr>
        <p:spPr bwMode="auto">
          <a:xfrm>
            <a:off x="5071201" y="5600969"/>
            <a:ext cx="1640920" cy="377799"/>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200" i="0" u="none" strike="noStrike" cap="none" normalizeH="0" baseline="0">
                <a:ln>
                  <a:noFill/>
                </a:ln>
                <a:solidFill>
                  <a:schemeClr val="bg1"/>
                </a:solidFill>
                <a:effectLst/>
                <a:latin typeface="Trebuchet MS" panose="020B0603020202020204" pitchFamily="34" charset="0"/>
              </a:rPr>
              <a:t>Data Hub</a:t>
            </a:r>
          </a:p>
        </p:txBody>
      </p:sp>
      <p:sp>
        <p:nvSpPr>
          <p:cNvPr id="26" name="Rectangle: Rounded Corners 6">
            <a:extLst>
              <a:ext uri="{FF2B5EF4-FFF2-40B4-BE49-F238E27FC236}">
                <a16:creationId xmlns:a16="http://schemas.microsoft.com/office/drawing/2014/main" id="{78DBA9BC-FC4F-449D-B8D1-CB529D218209}"/>
              </a:ext>
            </a:extLst>
          </p:cNvPr>
          <p:cNvSpPr/>
          <p:nvPr/>
        </p:nvSpPr>
        <p:spPr bwMode="auto">
          <a:xfrm>
            <a:off x="3041211" y="5600969"/>
            <a:ext cx="1640920" cy="377799"/>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200" i="0" u="none" strike="noStrike" cap="none" normalizeH="0" baseline="0">
                <a:ln>
                  <a:noFill/>
                </a:ln>
                <a:solidFill>
                  <a:schemeClr val="bg1"/>
                </a:solidFill>
                <a:effectLst/>
                <a:latin typeface="Trebuchet MS" panose="020B0603020202020204" pitchFamily="34" charset="0"/>
              </a:rPr>
              <a:t>Engage</a:t>
            </a:r>
          </a:p>
        </p:txBody>
      </p:sp>
      <p:sp>
        <p:nvSpPr>
          <p:cNvPr id="27" name="Rectangle: Rounded Corners 7">
            <a:extLst>
              <a:ext uri="{FF2B5EF4-FFF2-40B4-BE49-F238E27FC236}">
                <a16:creationId xmlns:a16="http://schemas.microsoft.com/office/drawing/2014/main" id="{37AD1E10-AFBF-4BFB-8066-344CED349E0E}"/>
              </a:ext>
            </a:extLst>
          </p:cNvPr>
          <p:cNvSpPr/>
          <p:nvPr/>
        </p:nvSpPr>
        <p:spPr bwMode="auto">
          <a:xfrm>
            <a:off x="1057396" y="5600969"/>
            <a:ext cx="1640920" cy="377799"/>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a:solidFill>
                  <a:schemeClr val="bg1"/>
                </a:solidFill>
                <a:latin typeface="Trebuchet MS" panose="020B0603020202020204" pitchFamily="34" charset="0"/>
              </a:rPr>
              <a:t>Enhanced group’ organization </a:t>
            </a:r>
          </a:p>
        </p:txBody>
      </p:sp>
      <p:sp>
        <p:nvSpPr>
          <p:cNvPr id="28" name="Rectangle: Rounded Corners 9">
            <a:extLst>
              <a:ext uri="{FF2B5EF4-FFF2-40B4-BE49-F238E27FC236}">
                <a16:creationId xmlns:a16="http://schemas.microsoft.com/office/drawing/2014/main" id="{7CC63C13-7527-4D11-ABFC-8390AB107757}"/>
              </a:ext>
            </a:extLst>
          </p:cNvPr>
          <p:cNvSpPr/>
          <p:nvPr/>
        </p:nvSpPr>
        <p:spPr bwMode="auto">
          <a:xfrm>
            <a:off x="7282885" y="1297863"/>
            <a:ext cx="1973597" cy="5047637"/>
          </a:xfrm>
          <a:prstGeom prst="rect">
            <a:avLst/>
          </a:prstGeom>
          <a:solidFill>
            <a:schemeClr val="bg1">
              <a:lumMod val="9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eaLnBrk="1" fontAlgn="base" latinLnBrk="0" hangingPunct="1">
              <a:lnSpc>
                <a:spcPct val="100000"/>
              </a:lnSpc>
              <a:spcBef>
                <a:spcPct val="0"/>
              </a:spcBef>
              <a:spcAft>
                <a:spcPct val="0"/>
              </a:spcAft>
              <a:buClrTx/>
              <a:buSzTx/>
              <a:tabLst/>
            </a:pPr>
            <a:r>
              <a:rPr kumimoji="0" lang="en-GB" sz="1200" b="1" i="0" u="none" strike="noStrike" cap="none" normalizeH="0" baseline="0">
                <a:ln>
                  <a:noFill/>
                </a:ln>
                <a:solidFill>
                  <a:schemeClr val="tx1"/>
                </a:solidFill>
                <a:effectLst/>
                <a:latin typeface="Trebuchet MS" pitchFamily="34" charset="0"/>
              </a:rPr>
              <a:t>M&amp;A opportunities</a:t>
            </a:r>
          </a:p>
          <a:p>
            <a:pPr marR="0" algn="ctr" defTabSz="914400" eaLnBrk="1" fontAlgn="base" latinLnBrk="0" hangingPunct="1">
              <a:lnSpc>
                <a:spcPct val="100000"/>
              </a:lnSpc>
              <a:spcBef>
                <a:spcPct val="0"/>
              </a:spcBef>
              <a:spcAft>
                <a:spcPct val="0"/>
              </a:spcAft>
              <a:buClrTx/>
              <a:buSzTx/>
              <a:tabLst/>
            </a:pPr>
            <a:endParaRPr kumimoji="0" lang="en-GB" sz="1200" b="1" i="0" u="none" strike="noStrike" cap="none" normalizeH="0" baseline="0">
              <a:ln>
                <a:noFill/>
              </a:ln>
              <a:solidFill>
                <a:schemeClr val="tx1"/>
              </a:solidFill>
              <a:effectLst/>
              <a:latin typeface="Trebuchet MS" pitchFamily="34" charset="0"/>
            </a:endParaRPr>
          </a:p>
          <a:p>
            <a:pPr marL="171450" marR="0" indent="-171450" defTabSz="91440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100" i="0" u="none" strike="noStrike" cap="none" normalizeH="0" baseline="0">
                <a:ln>
                  <a:noFill/>
                </a:ln>
                <a:solidFill>
                  <a:schemeClr val="tx1"/>
                </a:solidFill>
                <a:effectLst/>
                <a:latin typeface="Trebuchet MS" pitchFamily="34" charset="0"/>
              </a:rPr>
              <a:t>Acquisition of an </a:t>
            </a:r>
            <a:r>
              <a:rPr kumimoji="0" lang="en-GB" sz="1100" i="0" u="none" strike="noStrike" cap="none" normalizeH="0" baseline="0">
                <a:ln>
                  <a:noFill/>
                </a:ln>
                <a:solidFill>
                  <a:schemeClr val="tx2"/>
                </a:solidFill>
                <a:effectLst/>
                <a:latin typeface="Trebuchet MS" pitchFamily="34" charset="0"/>
              </a:rPr>
              <a:t>adjacent data service </a:t>
            </a:r>
            <a:r>
              <a:rPr kumimoji="0" lang="en-GB" sz="1100" i="0" u="none" strike="noStrike" cap="none" normalizeH="0" baseline="0">
                <a:ln>
                  <a:noFill/>
                </a:ln>
                <a:solidFill>
                  <a:schemeClr val="tx1"/>
                </a:solidFill>
                <a:effectLst/>
                <a:latin typeface="Trebuchet MS" pitchFamily="34" charset="0"/>
              </a:rPr>
              <a:t>player (e.g. automotive fleet data…)</a:t>
            </a:r>
          </a:p>
          <a:p>
            <a:pPr marL="171450" marR="0" indent="-171450" defTabSz="91440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GB" sz="1100" i="0" u="none" strike="noStrike" cap="none" normalizeH="0" baseline="0">
              <a:ln>
                <a:noFill/>
              </a:ln>
              <a:solidFill>
                <a:schemeClr val="tx1"/>
              </a:solidFill>
              <a:effectLst/>
              <a:latin typeface="Trebuchet MS" pitchFamily="34" charset="0"/>
            </a:endParaRPr>
          </a:p>
          <a:p>
            <a:pPr marL="171450" marR="0" indent="-171450" defTabSz="91440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100" i="0" u="none" strike="noStrike" cap="none" normalizeH="0" baseline="0">
                <a:ln>
                  <a:noFill/>
                </a:ln>
                <a:solidFill>
                  <a:schemeClr val="tx1"/>
                </a:solidFill>
                <a:effectLst/>
                <a:latin typeface="Trebuchet MS" pitchFamily="34" charset="0"/>
              </a:rPr>
              <a:t>Acquisition of </a:t>
            </a:r>
            <a:r>
              <a:rPr kumimoji="0" lang="en-GB" sz="1100" i="0" u="none" strike="noStrike" cap="none" normalizeH="0" baseline="0">
                <a:ln>
                  <a:noFill/>
                </a:ln>
                <a:solidFill>
                  <a:schemeClr val="tx2"/>
                </a:solidFill>
                <a:effectLst/>
                <a:latin typeface="Trebuchet MS" pitchFamily="34" charset="0"/>
              </a:rPr>
              <a:t>technological know-how </a:t>
            </a:r>
            <a:r>
              <a:rPr kumimoji="0" lang="en-GB" sz="1100" i="0" u="none" strike="noStrike" cap="none" normalizeH="0" baseline="0">
                <a:ln>
                  <a:noFill/>
                </a:ln>
                <a:solidFill>
                  <a:schemeClr val="tx1"/>
                </a:solidFill>
                <a:effectLst/>
                <a:latin typeface="Trebuchet MS" pitchFamily="34" charset="0"/>
              </a:rPr>
              <a:t>to accelerate digital transition (e.g. augmented data geo-location tool)</a:t>
            </a:r>
          </a:p>
          <a:p>
            <a:pPr marL="171450" marR="0" indent="-171450" defTabSz="91440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GB" sz="1100" i="0" u="none" strike="noStrike" cap="none" normalizeH="0" baseline="0">
              <a:ln>
                <a:noFill/>
              </a:ln>
              <a:solidFill>
                <a:schemeClr val="tx1"/>
              </a:solidFill>
              <a:effectLst/>
              <a:latin typeface="Trebuchet MS" pitchFamily="34" charset="0"/>
            </a:endParaRPr>
          </a:p>
          <a:p>
            <a:pPr marL="171450" marR="0" indent="-171450" defTabSz="91440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100" i="0" u="none" strike="noStrike" cap="none" normalizeH="0" baseline="0">
                <a:ln>
                  <a:noFill/>
                </a:ln>
                <a:solidFill>
                  <a:schemeClr val="tx1"/>
                </a:solidFill>
                <a:effectLst/>
                <a:latin typeface="Trebuchet MS" pitchFamily="34" charset="0"/>
              </a:rPr>
              <a:t>Acquisition an </a:t>
            </a:r>
            <a:r>
              <a:rPr kumimoji="0" lang="en-GB" sz="1100" i="0" u="none" strike="noStrike" cap="none" normalizeH="0" baseline="0">
                <a:ln>
                  <a:noFill/>
                </a:ln>
                <a:solidFill>
                  <a:schemeClr val="tx2"/>
                </a:solidFill>
                <a:effectLst/>
                <a:latin typeface="Trebuchet MS" pitchFamily="34" charset="0"/>
              </a:rPr>
              <a:t>orthogonal player </a:t>
            </a:r>
            <a:r>
              <a:rPr kumimoji="0" lang="en-GB" sz="1100" i="0" u="none" strike="noStrike" cap="none" normalizeH="0" baseline="0">
                <a:ln>
                  <a:noFill/>
                </a:ln>
                <a:solidFill>
                  <a:schemeClr val="tx1"/>
                </a:solidFill>
                <a:effectLst/>
                <a:latin typeface="Trebuchet MS" pitchFamily="34" charset="0"/>
              </a:rPr>
              <a:t>(e.g. extend the compliance scope towards other levers, launch a new “factoring offer”)</a:t>
            </a:r>
          </a:p>
          <a:p>
            <a:pPr marL="171450" marR="0" indent="-171450" defTabSz="91440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GB" sz="1100" i="0" u="none" strike="noStrike" cap="none" normalizeH="0" baseline="0">
              <a:ln>
                <a:noFill/>
              </a:ln>
              <a:solidFill>
                <a:schemeClr val="tx1"/>
              </a:solidFill>
              <a:effectLst/>
              <a:latin typeface="Trebuchet MS" pitchFamily="34" charset="0"/>
            </a:endParaRPr>
          </a:p>
          <a:p>
            <a:pPr marL="171450" marR="0" indent="-171450" defTabSz="91440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100" i="0" u="none" strike="noStrike" cap="none" normalizeH="0" baseline="0">
                <a:ln>
                  <a:noFill/>
                </a:ln>
                <a:solidFill>
                  <a:schemeClr val="tx1"/>
                </a:solidFill>
                <a:effectLst/>
                <a:latin typeface="Trebuchet MS" pitchFamily="34" charset="0"/>
              </a:rPr>
              <a:t>Acquisition of </a:t>
            </a:r>
            <a:r>
              <a:rPr kumimoji="0" lang="en-GB" sz="1100" i="0" u="none" strike="noStrike" cap="none" normalizeH="0" baseline="0">
                <a:ln>
                  <a:noFill/>
                </a:ln>
                <a:solidFill>
                  <a:schemeClr val="tx2"/>
                </a:solidFill>
                <a:effectLst/>
                <a:latin typeface="Trebuchet MS" pitchFamily="34" charset="0"/>
              </a:rPr>
              <a:t>look-alike </a:t>
            </a:r>
            <a:r>
              <a:rPr kumimoji="0" lang="en-GB" sz="1100" i="0" u="none" strike="noStrike" cap="none" normalizeH="0" baseline="0">
                <a:ln>
                  <a:noFill/>
                </a:ln>
                <a:solidFill>
                  <a:schemeClr val="tx1"/>
                </a:solidFill>
                <a:effectLst/>
                <a:latin typeface="Trebuchet MS" pitchFamily="34" charset="0"/>
              </a:rPr>
              <a:t>players in other </a:t>
            </a:r>
            <a:r>
              <a:rPr kumimoji="0" lang="en-GB" sz="1100" i="0" u="none" strike="noStrike" cap="none" normalizeH="0" baseline="0">
                <a:ln>
                  <a:noFill/>
                </a:ln>
                <a:solidFill>
                  <a:schemeClr val="tx2"/>
                </a:solidFill>
                <a:effectLst/>
                <a:latin typeface="Trebuchet MS" pitchFamily="34" charset="0"/>
              </a:rPr>
              <a:t>geographies</a:t>
            </a:r>
          </a:p>
          <a:p>
            <a:pPr marL="171450" marR="0" indent="-171450" defTabSz="91440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GB" sz="1100" i="0" u="none" strike="noStrike" cap="none" normalizeH="0" baseline="0">
              <a:ln>
                <a:noFill/>
              </a:ln>
              <a:solidFill>
                <a:schemeClr val="tx1"/>
              </a:solidFill>
              <a:effectLst/>
              <a:latin typeface="Trebuchet MS" panose="020B0603020202020204" pitchFamily="34" charset="0"/>
            </a:endParaRPr>
          </a:p>
        </p:txBody>
      </p:sp>
      <p:sp>
        <p:nvSpPr>
          <p:cNvPr id="29" name="Freeform 5">
            <a:extLst>
              <a:ext uri="{FF2B5EF4-FFF2-40B4-BE49-F238E27FC236}">
                <a16:creationId xmlns:a16="http://schemas.microsoft.com/office/drawing/2014/main" id="{8124831C-DC17-4B6E-9170-9F7244CC2000}"/>
              </a:ext>
            </a:extLst>
          </p:cNvPr>
          <p:cNvSpPr>
            <a:spLocks/>
          </p:cNvSpPr>
          <p:nvPr/>
        </p:nvSpPr>
        <p:spPr bwMode="auto">
          <a:xfrm>
            <a:off x="3716146" y="3065917"/>
            <a:ext cx="204184" cy="189389"/>
          </a:xfrm>
          <a:custGeom>
            <a:avLst/>
            <a:gdLst>
              <a:gd name="T0" fmla="*/ 37 w 51"/>
              <a:gd name="T1" fmla="*/ 26 h 52"/>
              <a:gd name="T2" fmla="*/ 49 w 51"/>
              <a:gd name="T3" fmla="*/ 13 h 52"/>
              <a:gd name="T4" fmla="*/ 49 w 51"/>
              <a:gd name="T5" fmla="*/ 8 h 52"/>
              <a:gd name="T6" fmla="*/ 44 w 51"/>
              <a:gd name="T7" fmla="*/ 2 h 52"/>
              <a:gd name="T8" fmla="*/ 38 w 51"/>
              <a:gd name="T9" fmla="*/ 2 h 52"/>
              <a:gd name="T10" fmla="*/ 25 w 51"/>
              <a:gd name="T11" fmla="*/ 15 h 52"/>
              <a:gd name="T12" fmla="*/ 13 w 51"/>
              <a:gd name="T13" fmla="*/ 2 h 52"/>
              <a:gd name="T14" fmla="*/ 7 w 51"/>
              <a:gd name="T15" fmla="*/ 2 h 52"/>
              <a:gd name="T16" fmla="*/ 1 w 51"/>
              <a:gd name="T17" fmla="*/ 8 h 52"/>
              <a:gd name="T18" fmla="*/ 1 w 51"/>
              <a:gd name="T19" fmla="*/ 13 h 52"/>
              <a:gd name="T20" fmla="*/ 14 w 51"/>
              <a:gd name="T21" fmla="*/ 26 h 52"/>
              <a:gd name="T22" fmla="*/ 1 w 51"/>
              <a:gd name="T23" fmla="*/ 39 h 52"/>
              <a:gd name="T24" fmla="*/ 1 w 51"/>
              <a:gd name="T25" fmla="*/ 44 h 52"/>
              <a:gd name="T26" fmla="*/ 7 w 51"/>
              <a:gd name="T27" fmla="*/ 50 h 52"/>
              <a:gd name="T28" fmla="*/ 13 w 51"/>
              <a:gd name="T29" fmla="*/ 50 h 52"/>
              <a:gd name="T30" fmla="*/ 25 w 51"/>
              <a:gd name="T31" fmla="*/ 37 h 52"/>
              <a:gd name="T32" fmla="*/ 38 w 51"/>
              <a:gd name="T33" fmla="*/ 50 h 52"/>
              <a:gd name="T34" fmla="*/ 44 w 51"/>
              <a:gd name="T35" fmla="*/ 50 h 52"/>
              <a:gd name="T36" fmla="*/ 49 w 51"/>
              <a:gd name="T37" fmla="*/ 44 h 52"/>
              <a:gd name="T38" fmla="*/ 49 w 51"/>
              <a:gd name="T39" fmla="*/ 39 h 52"/>
              <a:gd name="T40" fmla="*/ 37 w 51"/>
              <a:gd name="T41"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52">
                <a:moveTo>
                  <a:pt x="37" y="26"/>
                </a:moveTo>
                <a:cubicBezTo>
                  <a:pt x="49" y="13"/>
                  <a:pt x="49" y="13"/>
                  <a:pt x="49" y="13"/>
                </a:cubicBezTo>
                <a:cubicBezTo>
                  <a:pt x="51" y="12"/>
                  <a:pt x="51" y="9"/>
                  <a:pt x="49" y="8"/>
                </a:cubicBezTo>
                <a:cubicBezTo>
                  <a:pt x="44" y="2"/>
                  <a:pt x="44" y="2"/>
                  <a:pt x="44" y="2"/>
                </a:cubicBezTo>
                <a:cubicBezTo>
                  <a:pt x="42" y="0"/>
                  <a:pt x="40" y="0"/>
                  <a:pt x="38" y="2"/>
                </a:cubicBezTo>
                <a:cubicBezTo>
                  <a:pt x="25" y="15"/>
                  <a:pt x="25" y="15"/>
                  <a:pt x="25" y="15"/>
                </a:cubicBezTo>
                <a:cubicBezTo>
                  <a:pt x="13" y="2"/>
                  <a:pt x="13" y="2"/>
                  <a:pt x="13" y="2"/>
                </a:cubicBezTo>
                <a:cubicBezTo>
                  <a:pt x="11" y="0"/>
                  <a:pt x="9" y="0"/>
                  <a:pt x="7" y="2"/>
                </a:cubicBezTo>
                <a:cubicBezTo>
                  <a:pt x="1" y="8"/>
                  <a:pt x="1" y="8"/>
                  <a:pt x="1" y="8"/>
                </a:cubicBezTo>
                <a:cubicBezTo>
                  <a:pt x="0" y="9"/>
                  <a:pt x="0" y="12"/>
                  <a:pt x="1" y="13"/>
                </a:cubicBezTo>
                <a:cubicBezTo>
                  <a:pt x="14" y="26"/>
                  <a:pt x="14" y="26"/>
                  <a:pt x="14" y="26"/>
                </a:cubicBezTo>
                <a:cubicBezTo>
                  <a:pt x="1" y="39"/>
                  <a:pt x="1" y="39"/>
                  <a:pt x="1" y="39"/>
                </a:cubicBezTo>
                <a:cubicBezTo>
                  <a:pt x="0" y="40"/>
                  <a:pt x="0" y="43"/>
                  <a:pt x="1" y="44"/>
                </a:cubicBezTo>
                <a:cubicBezTo>
                  <a:pt x="7" y="50"/>
                  <a:pt x="7" y="50"/>
                  <a:pt x="7" y="50"/>
                </a:cubicBezTo>
                <a:cubicBezTo>
                  <a:pt x="9" y="52"/>
                  <a:pt x="11" y="52"/>
                  <a:pt x="13" y="50"/>
                </a:cubicBezTo>
                <a:cubicBezTo>
                  <a:pt x="25" y="37"/>
                  <a:pt x="25" y="37"/>
                  <a:pt x="25" y="37"/>
                </a:cubicBezTo>
                <a:cubicBezTo>
                  <a:pt x="38" y="50"/>
                  <a:pt x="38" y="50"/>
                  <a:pt x="38" y="50"/>
                </a:cubicBezTo>
                <a:cubicBezTo>
                  <a:pt x="40" y="52"/>
                  <a:pt x="42" y="52"/>
                  <a:pt x="44" y="50"/>
                </a:cubicBezTo>
                <a:cubicBezTo>
                  <a:pt x="49" y="44"/>
                  <a:pt x="49" y="44"/>
                  <a:pt x="49" y="44"/>
                </a:cubicBezTo>
                <a:cubicBezTo>
                  <a:pt x="51" y="43"/>
                  <a:pt x="51" y="40"/>
                  <a:pt x="49" y="39"/>
                </a:cubicBezTo>
                <a:lnTo>
                  <a:pt x="37" y="2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30" name="Groupe 29">
            <a:extLst>
              <a:ext uri="{FF2B5EF4-FFF2-40B4-BE49-F238E27FC236}">
                <a16:creationId xmlns:a16="http://schemas.microsoft.com/office/drawing/2014/main" id="{E9EC0188-7D7A-4431-9CD9-5304285E722E}"/>
              </a:ext>
            </a:extLst>
          </p:cNvPr>
          <p:cNvGrpSpPr/>
          <p:nvPr/>
        </p:nvGrpSpPr>
        <p:grpSpPr>
          <a:xfrm>
            <a:off x="1529256" y="6072727"/>
            <a:ext cx="591606" cy="186820"/>
            <a:chOff x="6900119" y="6591876"/>
            <a:chExt cx="591606" cy="186820"/>
          </a:xfrm>
        </p:grpSpPr>
        <p:grpSp>
          <p:nvGrpSpPr>
            <p:cNvPr id="31" name="Groupe 30">
              <a:extLst>
                <a:ext uri="{FF2B5EF4-FFF2-40B4-BE49-F238E27FC236}">
                  <a16:creationId xmlns:a16="http://schemas.microsoft.com/office/drawing/2014/main" id="{EF88C63C-BB49-4262-A6DF-F5715F805B62}"/>
                </a:ext>
              </a:extLst>
            </p:cNvPr>
            <p:cNvGrpSpPr/>
            <p:nvPr/>
          </p:nvGrpSpPr>
          <p:grpSpPr>
            <a:xfrm>
              <a:off x="6900119" y="6591876"/>
              <a:ext cx="591606" cy="186820"/>
              <a:chOff x="6900119" y="6591876"/>
              <a:chExt cx="591606" cy="186820"/>
            </a:xfrm>
          </p:grpSpPr>
          <p:sp>
            <p:nvSpPr>
              <p:cNvPr id="34" name="Rectangle 33">
                <a:extLst>
                  <a:ext uri="{FF2B5EF4-FFF2-40B4-BE49-F238E27FC236}">
                    <a16:creationId xmlns:a16="http://schemas.microsoft.com/office/drawing/2014/main" id="{75EB829A-5700-43B0-93D5-CC9ED2F73FFE}"/>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5" name="Ellipse 34">
                <a:extLst>
                  <a:ext uri="{FF2B5EF4-FFF2-40B4-BE49-F238E27FC236}">
                    <a16:creationId xmlns:a16="http://schemas.microsoft.com/office/drawing/2014/main" id="{3654122D-CE5E-4DF0-A904-684C07442176}"/>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32" name="Ellipse 31">
              <a:extLst>
                <a:ext uri="{FF2B5EF4-FFF2-40B4-BE49-F238E27FC236}">
                  <a16:creationId xmlns:a16="http://schemas.microsoft.com/office/drawing/2014/main" id="{B7C86EBA-143B-4210-90E0-DE5F940156C8}"/>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3" name="Ellipse 32">
              <a:extLst>
                <a:ext uri="{FF2B5EF4-FFF2-40B4-BE49-F238E27FC236}">
                  <a16:creationId xmlns:a16="http://schemas.microsoft.com/office/drawing/2014/main" id="{9A92DEFC-3820-4FCB-85B7-14981A6780C1}"/>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36" name="Groupe 35">
            <a:extLst>
              <a:ext uri="{FF2B5EF4-FFF2-40B4-BE49-F238E27FC236}">
                <a16:creationId xmlns:a16="http://schemas.microsoft.com/office/drawing/2014/main" id="{EF39AFD8-23CF-495B-B90B-4FA63BB6E6FA}"/>
              </a:ext>
            </a:extLst>
          </p:cNvPr>
          <p:cNvGrpSpPr/>
          <p:nvPr/>
        </p:nvGrpSpPr>
        <p:grpSpPr>
          <a:xfrm>
            <a:off x="5608648" y="6062542"/>
            <a:ext cx="591606" cy="186820"/>
            <a:chOff x="6900119" y="6591876"/>
            <a:chExt cx="591606" cy="186820"/>
          </a:xfrm>
        </p:grpSpPr>
        <p:grpSp>
          <p:nvGrpSpPr>
            <p:cNvPr id="37" name="Groupe 36">
              <a:extLst>
                <a:ext uri="{FF2B5EF4-FFF2-40B4-BE49-F238E27FC236}">
                  <a16:creationId xmlns:a16="http://schemas.microsoft.com/office/drawing/2014/main" id="{522C9875-F1DD-4950-9061-2DDA1309CCA6}"/>
                </a:ext>
              </a:extLst>
            </p:cNvPr>
            <p:cNvGrpSpPr/>
            <p:nvPr/>
          </p:nvGrpSpPr>
          <p:grpSpPr>
            <a:xfrm>
              <a:off x="6900119" y="6591876"/>
              <a:ext cx="591606" cy="186820"/>
              <a:chOff x="6900119" y="6591876"/>
              <a:chExt cx="591606" cy="186820"/>
            </a:xfrm>
          </p:grpSpPr>
          <p:sp>
            <p:nvSpPr>
              <p:cNvPr id="40" name="Rectangle 39">
                <a:extLst>
                  <a:ext uri="{FF2B5EF4-FFF2-40B4-BE49-F238E27FC236}">
                    <a16:creationId xmlns:a16="http://schemas.microsoft.com/office/drawing/2014/main" id="{43DD4B0A-4BFA-4431-A95E-8C7169B60544}"/>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1" name="Ellipse 40">
                <a:extLst>
                  <a:ext uri="{FF2B5EF4-FFF2-40B4-BE49-F238E27FC236}">
                    <a16:creationId xmlns:a16="http://schemas.microsoft.com/office/drawing/2014/main" id="{4731E603-EE8E-491D-A974-BBE3E048F2CB}"/>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38" name="Ellipse 37">
              <a:extLst>
                <a:ext uri="{FF2B5EF4-FFF2-40B4-BE49-F238E27FC236}">
                  <a16:creationId xmlns:a16="http://schemas.microsoft.com/office/drawing/2014/main" id="{7EB6C535-9F2D-4DA5-B441-835903F55E11}"/>
                </a:ext>
              </a:extLst>
            </p:cNvPr>
            <p:cNvSpPr/>
            <p:nvPr/>
          </p:nvSpPr>
          <p:spPr bwMode="auto">
            <a:xfrm>
              <a:off x="7123981" y="6624183"/>
              <a:ext cx="129915" cy="122206"/>
            </a:xfrm>
            <a:prstGeom prst="ellipse">
              <a:avLst/>
            </a:prstGeom>
            <a:no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9" name="Ellipse 38">
              <a:extLst>
                <a:ext uri="{FF2B5EF4-FFF2-40B4-BE49-F238E27FC236}">
                  <a16:creationId xmlns:a16="http://schemas.microsoft.com/office/drawing/2014/main" id="{E96E5A6A-123D-4956-AB9A-816F640AAA75}"/>
                </a:ext>
              </a:extLst>
            </p:cNvPr>
            <p:cNvSpPr/>
            <p:nvPr/>
          </p:nvSpPr>
          <p:spPr bwMode="auto">
            <a:xfrm>
              <a:off x="7307147" y="6624183"/>
              <a:ext cx="129915" cy="122206"/>
            </a:xfrm>
            <a:prstGeom prst="ellipse">
              <a:avLst/>
            </a:prstGeom>
            <a:no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42" name="Groupe 41">
            <a:extLst>
              <a:ext uri="{FF2B5EF4-FFF2-40B4-BE49-F238E27FC236}">
                <a16:creationId xmlns:a16="http://schemas.microsoft.com/office/drawing/2014/main" id="{C13A7111-B3BE-4AF8-9E76-3B9BE2EAAFEB}"/>
              </a:ext>
            </a:extLst>
          </p:cNvPr>
          <p:cNvGrpSpPr/>
          <p:nvPr/>
        </p:nvGrpSpPr>
        <p:grpSpPr>
          <a:xfrm>
            <a:off x="3547083" y="6069251"/>
            <a:ext cx="591606" cy="186820"/>
            <a:chOff x="6900119" y="6591876"/>
            <a:chExt cx="591606" cy="186820"/>
          </a:xfrm>
        </p:grpSpPr>
        <p:grpSp>
          <p:nvGrpSpPr>
            <p:cNvPr id="43" name="Groupe 42">
              <a:extLst>
                <a:ext uri="{FF2B5EF4-FFF2-40B4-BE49-F238E27FC236}">
                  <a16:creationId xmlns:a16="http://schemas.microsoft.com/office/drawing/2014/main" id="{CC2E4EC1-D133-45A9-8225-431F26724B2F}"/>
                </a:ext>
              </a:extLst>
            </p:cNvPr>
            <p:cNvGrpSpPr/>
            <p:nvPr/>
          </p:nvGrpSpPr>
          <p:grpSpPr>
            <a:xfrm>
              <a:off x="6900119" y="6591876"/>
              <a:ext cx="591606" cy="186820"/>
              <a:chOff x="6900119" y="6591876"/>
              <a:chExt cx="591606" cy="186820"/>
            </a:xfrm>
          </p:grpSpPr>
          <p:sp>
            <p:nvSpPr>
              <p:cNvPr id="46" name="Rectangle 45">
                <a:extLst>
                  <a:ext uri="{FF2B5EF4-FFF2-40B4-BE49-F238E27FC236}">
                    <a16:creationId xmlns:a16="http://schemas.microsoft.com/office/drawing/2014/main" id="{70BF0199-DE35-4862-AB7A-EA6E55405E07}"/>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7" name="Ellipse 46">
                <a:extLst>
                  <a:ext uri="{FF2B5EF4-FFF2-40B4-BE49-F238E27FC236}">
                    <a16:creationId xmlns:a16="http://schemas.microsoft.com/office/drawing/2014/main" id="{024A274A-0113-44DF-AD83-CCD6627AF420}"/>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44" name="Ellipse 43">
              <a:extLst>
                <a:ext uri="{FF2B5EF4-FFF2-40B4-BE49-F238E27FC236}">
                  <a16:creationId xmlns:a16="http://schemas.microsoft.com/office/drawing/2014/main" id="{260CB0AE-BDAA-443C-BAAD-5A3CBDC3174F}"/>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5" name="Ellipse 44">
              <a:extLst>
                <a:ext uri="{FF2B5EF4-FFF2-40B4-BE49-F238E27FC236}">
                  <a16:creationId xmlns:a16="http://schemas.microsoft.com/office/drawing/2014/main" id="{932FD890-7B0E-49C7-84AC-52DCCC82037F}"/>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48" name="Triangle isocèle 47">
            <a:extLst>
              <a:ext uri="{FF2B5EF4-FFF2-40B4-BE49-F238E27FC236}">
                <a16:creationId xmlns:a16="http://schemas.microsoft.com/office/drawing/2014/main" id="{713F9A58-1391-46A3-B003-3FED744FB669}"/>
              </a:ext>
            </a:extLst>
          </p:cNvPr>
          <p:cNvSpPr/>
          <p:nvPr/>
        </p:nvSpPr>
        <p:spPr bwMode="auto">
          <a:xfrm>
            <a:off x="752261" y="5067802"/>
            <a:ext cx="6148113" cy="155735"/>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solidFill>
                <a:schemeClr val="tx2"/>
              </a:solidFill>
              <a:effectLst/>
              <a:latin typeface="Trebuchet MS" pitchFamily="34" charset="0"/>
            </a:endParaRPr>
          </a:p>
        </p:txBody>
      </p:sp>
      <p:sp>
        <p:nvSpPr>
          <p:cNvPr id="49" name="Freeform 11">
            <a:extLst>
              <a:ext uri="{FF2B5EF4-FFF2-40B4-BE49-F238E27FC236}">
                <a16:creationId xmlns:a16="http://schemas.microsoft.com/office/drawing/2014/main" id="{00CB6C50-6B34-4AEC-84C9-3216ED620A23}"/>
              </a:ext>
            </a:extLst>
          </p:cNvPr>
          <p:cNvSpPr>
            <a:spLocks/>
          </p:cNvSpPr>
          <p:nvPr/>
        </p:nvSpPr>
        <p:spPr bwMode="auto">
          <a:xfrm>
            <a:off x="4257123" y="1332446"/>
            <a:ext cx="234867" cy="197031"/>
          </a:xfrm>
          <a:custGeom>
            <a:avLst/>
            <a:gdLst>
              <a:gd name="T0" fmla="*/ 648 w 740"/>
              <a:gd name="T1" fmla="*/ 278 h 742"/>
              <a:gd name="T2" fmla="*/ 740 w 740"/>
              <a:gd name="T3" fmla="*/ 185 h 742"/>
              <a:gd name="T4" fmla="*/ 648 w 740"/>
              <a:gd name="T5" fmla="*/ 92 h 742"/>
              <a:gd name="T6" fmla="*/ 416 w 740"/>
              <a:gd name="T7" fmla="*/ 92 h 742"/>
              <a:gd name="T8" fmla="*/ 416 w 740"/>
              <a:gd name="T9" fmla="*/ 0 h 742"/>
              <a:gd name="T10" fmla="*/ 324 w 740"/>
              <a:gd name="T11" fmla="*/ 0 h 742"/>
              <a:gd name="T12" fmla="*/ 324 w 740"/>
              <a:gd name="T13" fmla="*/ 92 h 742"/>
              <a:gd name="T14" fmla="*/ 139 w 740"/>
              <a:gd name="T15" fmla="*/ 92 h 742"/>
              <a:gd name="T16" fmla="*/ 139 w 740"/>
              <a:gd name="T17" fmla="*/ 278 h 742"/>
              <a:gd name="T18" fmla="*/ 324 w 740"/>
              <a:gd name="T19" fmla="*/ 278 h 742"/>
              <a:gd name="T20" fmla="*/ 324 w 740"/>
              <a:gd name="T21" fmla="*/ 324 h 742"/>
              <a:gd name="T22" fmla="*/ 93 w 740"/>
              <a:gd name="T23" fmla="*/ 324 h 742"/>
              <a:gd name="T24" fmla="*/ 0 w 740"/>
              <a:gd name="T25" fmla="*/ 417 h 742"/>
              <a:gd name="T26" fmla="*/ 93 w 740"/>
              <a:gd name="T27" fmla="*/ 510 h 742"/>
              <a:gd name="T28" fmla="*/ 324 w 740"/>
              <a:gd name="T29" fmla="*/ 510 h 742"/>
              <a:gd name="T30" fmla="*/ 324 w 740"/>
              <a:gd name="T31" fmla="*/ 742 h 742"/>
              <a:gd name="T32" fmla="*/ 416 w 740"/>
              <a:gd name="T33" fmla="*/ 742 h 742"/>
              <a:gd name="T34" fmla="*/ 416 w 740"/>
              <a:gd name="T35" fmla="*/ 510 h 742"/>
              <a:gd name="T36" fmla="*/ 601 w 740"/>
              <a:gd name="T37" fmla="*/ 510 h 742"/>
              <a:gd name="T38" fmla="*/ 601 w 740"/>
              <a:gd name="T39" fmla="*/ 324 h 742"/>
              <a:gd name="T40" fmla="*/ 416 w 740"/>
              <a:gd name="T41" fmla="*/ 324 h 742"/>
              <a:gd name="T42" fmla="*/ 416 w 740"/>
              <a:gd name="T43" fmla="*/ 278 h 742"/>
              <a:gd name="T44" fmla="*/ 648 w 740"/>
              <a:gd name="T45"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40" h="742">
                <a:moveTo>
                  <a:pt x="648" y="278"/>
                </a:moveTo>
                <a:lnTo>
                  <a:pt x="740" y="185"/>
                </a:lnTo>
                <a:lnTo>
                  <a:pt x="648" y="92"/>
                </a:lnTo>
                <a:lnTo>
                  <a:pt x="416" y="92"/>
                </a:lnTo>
                <a:lnTo>
                  <a:pt x="416" y="0"/>
                </a:lnTo>
                <a:lnTo>
                  <a:pt x="324" y="0"/>
                </a:lnTo>
                <a:lnTo>
                  <a:pt x="324" y="92"/>
                </a:lnTo>
                <a:lnTo>
                  <a:pt x="139" y="92"/>
                </a:lnTo>
                <a:lnTo>
                  <a:pt x="139" y="278"/>
                </a:lnTo>
                <a:lnTo>
                  <a:pt x="324" y="278"/>
                </a:lnTo>
                <a:lnTo>
                  <a:pt x="324" y="324"/>
                </a:lnTo>
                <a:lnTo>
                  <a:pt x="93" y="324"/>
                </a:lnTo>
                <a:lnTo>
                  <a:pt x="0" y="417"/>
                </a:lnTo>
                <a:lnTo>
                  <a:pt x="93" y="510"/>
                </a:lnTo>
                <a:lnTo>
                  <a:pt x="324" y="510"/>
                </a:lnTo>
                <a:lnTo>
                  <a:pt x="324" y="742"/>
                </a:lnTo>
                <a:lnTo>
                  <a:pt x="416" y="742"/>
                </a:lnTo>
                <a:lnTo>
                  <a:pt x="416" y="510"/>
                </a:lnTo>
                <a:lnTo>
                  <a:pt x="601" y="510"/>
                </a:lnTo>
                <a:lnTo>
                  <a:pt x="601" y="324"/>
                </a:lnTo>
                <a:lnTo>
                  <a:pt x="416" y="324"/>
                </a:lnTo>
                <a:lnTo>
                  <a:pt x="416" y="278"/>
                </a:lnTo>
                <a:lnTo>
                  <a:pt x="648" y="27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15">
            <a:extLst>
              <a:ext uri="{FF2B5EF4-FFF2-40B4-BE49-F238E27FC236}">
                <a16:creationId xmlns:a16="http://schemas.microsoft.com/office/drawing/2014/main" id="{D88C1A7B-EC07-4C75-BCB4-4821148EE1C9}"/>
              </a:ext>
            </a:extLst>
          </p:cNvPr>
          <p:cNvSpPr>
            <a:spLocks/>
          </p:cNvSpPr>
          <p:nvPr/>
        </p:nvSpPr>
        <p:spPr bwMode="auto">
          <a:xfrm>
            <a:off x="2444241" y="5388611"/>
            <a:ext cx="133744" cy="149371"/>
          </a:xfrm>
          <a:custGeom>
            <a:avLst/>
            <a:gdLst>
              <a:gd name="T0" fmla="*/ 45 w 61"/>
              <a:gd name="T1" fmla="*/ 3 h 58"/>
              <a:gd name="T2" fmla="*/ 43 w 61"/>
              <a:gd name="T3" fmla="*/ 1 h 58"/>
              <a:gd name="T4" fmla="*/ 40 w 61"/>
              <a:gd name="T5" fmla="*/ 1 h 58"/>
              <a:gd name="T6" fmla="*/ 39 w 61"/>
              <a:gd name="T7" fmla="*/ 3 h 58"/>
              <a:gd name="T8" fmla="*/ 25 w 61"/>
              <a:gd name="T9" fmla="*/ 0 h 58"/>
              <a:gd name="T10" fmla="*/ 19 w 61"/>
              <a:gd name="T11" fmla="*/ 6 h 58"/>
              <a:gd name="T12" fmla="*/ 30 w 61"/>
              <a:gd name="T13" fmla="*/ 17 h 58"/>
              <a:gd name="T14" fmla="*/ 33 w 61"/>
              <a:gd name="T15" fmla="*/ 19 h 58"/>
              <a:gd name="T16" fmla="*/ 1 w 61"/>
              <a:gd name="T17" fmla="*/ 47 h 58"/>
              <a:gd name="T18" fmla="*/ 0 w 61"/>
              <a:gd name="T19" fmla="*/ 48 h 58"/>
              <a:gd name="T20" fmla="*/ 1 w 61"/>
              <a:gd name="T21" fmla="*/ 49 h 58"/>
              <a:gd name="T22" fmla="*/ 9 w 61"/>
              <a:gd name="T23" fmla="*/ 58 h 58"/>
              <a:gd name="T24" fmla="*/ 11 w 61"/>
              <a:gd name="T25" fmla="*/ 58 h 58"/>
              <a:gd name="T26" fmla="*/ 12 w 61"/>
              <a:gd name="T27" fmla="*/ 58 h 58"/>
              <a:gd name="T28" fmla="*/ 39 w 61"/>
              <a:gd name="T29" fmla="*/ 25 h 58"/>
              <a:gd name="T30" fmla="*/ 46 w 61"/>
              <a:gd name="T31" fmla="*/ 32 h 58"/>
              <a:gd name="T32" fmla="*/ 49 w 61"/>
              <a:gd name="T33" fmla="*/ 32 h 58"/>
              <a:gd name="T34" fmla="*/ 60 w 61"/>
              <a:gd name="T35" fmla="*/ 21 h 58"/>
              <a:gd name="T36" fmla="*/ 60 w 61"/>
              <a:gd name="T37" fmla="*/ 18 h 58"/>
              <a:gd name="T38" fmla="*/ 45 w 61"/>
              <a:gd name="T39"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58">
                <a:moveTo>
                  <a:pt x="45" y="3"/>
                </a:moveTo>
                <a:cubicBezTo>
                  <a:pt x="43" y="1"/>
                  <a:pt x="43" y="1"/>
                  <a:pt x="43" y="1"/>
                </a:cubicBezTo>
                <a:cubicBezTo>
                  <a:pt x="42" y="0"/>
                  <a:pt x="41" y="0"/>
                  <a:pt x="40" y="1"/>
                </a:cubicBezTo>
                <a:cubicBezTo>
                  <a:pt x="40" y="2"/>
                  <a:pt x="39" y="2"/>
                  <a:pt x="39" y="3"/>
                </a:cubicBezTo>
                <a:cubicBezTo>
                  <a:pt x="36" y="6"/>
                  <a:pt x="30" y="6"/>
                  <a:pt x="25" y="0"/>
                </a:cubicBezTo>
                <a:cubicBezTo>
                  <a:pt x="22" y="3"/>
                  <a:pt x="19" y="6"/>
                  <a:pt x="19" y="6"/>
                </a:cubicBezTo>
                <a:cubicBezTo>
                  <a:pt x="30" y="17"/>
                  <a:pt x="30" y="17"/>
                  <a:pt x="30" y="17"/>
                </a:cubicBezTo>
                <a:cubicBezTo>
                  <a:pt x="33" y="19"/>
                  <a:pt x="33" y="19"/>
                  <a:pt x="33" y="19"/>
                </a:cubicBezTo>
                <a:cubicBezTo>
                  <a:pt x="1" y="47"/>
                  <a:pt x="1" y="47"/>
                  <a:pt x="1" y="47"/>
                </a:cubicBezTo>
                <a:cubicBezTo>
                  <a:pt x="1" y="47"/>
                  <a:pt x="0" y="47"/>
                  <a:pt x="0" y="48"/>
                </a:cubicBezTo>
                <a:cubicBezTo>
                  <a:pt x="0" y="49"/>
                  <a:pt x="0" y="49"/>
                  <a:pt x="1" y="49"/>
                </a:cubicBezTo>
                <a:cubicBezTo>
                  <a:pt x="9" y="58"/>
                  <a:pt x="9" y="58"/>
                  <a:pt x="9" y="58"/>
                </a:cubicBezTo>
                <a:cubicBezTo>
                  <a:pt x="9" y="58"/>
                  <a:pt x="10" y="58"/>
                  <a:pt x="11" y="58"/>
                </a:cubicBezTo>
                <a:cubicBezTo>
                  <a:pt x="11" y="58"/>
                  <a:pt x="12" y="58"/>
                  <a:pt x="12" y="58"/>
                </a:cubicBezTo>
                <a:cubicBezTo>
                  <a:pt x="39" y="25"/>
                  <a:pt x="39" y="25"/>
                  <a:pt x="39" y="25"/>
                </a:cubicBezTo>
                <a:cubicBezTo>
                  <a:pt x="46" y="32"/>
                  <a:pt x="46" y="32"/>
                  <a:pt x="46" y="32"/>
                </a:cubicBezTo>
                <a:cubicBezTo>
                  <a:pt x="47" y="33"/>
                  <a:pt x="48" y="33"/>
                  <a:pt x="49" y="32"/>
                </a:cubicBezTo>
                <a:cubicBezTo>
                  <a:pt x="60" y="21"/>
                  <a:pt x="60" y="21"/>
                  <a:pt x="60" y="21"/>
                </a:cubicBezTo>
                <a:cubicBezTo>
                  <a:pt x="61" y="20"/>
                  <a:pt x="61" y="19"/>
                  <a:pt x="60" y="18"/>
                </a:cubicBezTo>
                <a:lnTo>
                  <a:pt x="45" y="3"/>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1" name="Groupe 50">
            <a:extLst>
              <a:ext uri="{FF2B5EF4-FFF2-40B4-BE49-F238E27FC236}">
                <a16:creationId xmlns:a16="http://schemas.microsoft.com/office/drawing/2014/main" id="{F9038BDF-4EE7-468C-9A62-4E8DC631DA80}"/>
              </a:ext>
            </a:extLst>
          </p:cNvPr>
          <p:cNvGrpSpPr/>
          <p:nvPr/>
        </p:nvGrpSpPr>
        <p:grpSpPr>
          <a:xfrm>
            <a:off x="471985" y="1119152"/>
            <a:ext cx="325859" cy="276999"/>
            <a:chOff x="3287902" y="1242339"/>
            <a:chExt cx="325859" cy="276999"/>
          </a:xfrm>
        </p:grpSpPr>
        <p:sp>
          <p:nvSpPr>
            <p:cNvPr id="52" name="Ellipse 51">
              <a:extLst>
                <a:ext uri="{FF2B5EF4-FFF2-40B4-BE49-F238E27FC236}">
                  <a16:creationId xmlns:a16="http://schemas.microsoft.com/office/drawing/2014/main" id="{B6F5F523-4BDC-46E2-A2DC-348B00782EBB}"/>
                </a:ext>
              </a:extLst>
            </p:cNvPr>
            <p:cNvSpPr/>
            <p:nvPr/>
          </p:nvSpPr>
          <p:spPr bwMode="auto">
            <a:xfrm>
              <a:off x="3333135" y="1264289"/>
              <a:ext cx="251317"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53" name="ZoneTexte 52">
              <a:extLst>
                <a:ext uri="{FF2B5EF4-FFF2-40B4-BE49-F238E27FC236}">
                  <a16:creationId xmlns:a16="http://schemas.microsoft.com/office/drawing/2014/main" id="{8776A789-E5D0-4573-84CC-568F6EC3F8EB}"/>
                </a:ext>
              </a:extLst>
            </p:cNvPr>
            <p:cNvSpPr txBox="1"/>
            <p:nvPr/>
          </p:nvSpPr>
          <p:spPr>
            <a:xfrm>
              <a:off x="3287902" y="1242339"/>
              <a:ext cx="325859" cy="276999"/>
            </a:xfrm>
            <a:prstGeom prst="rect">
              <a:avLst/>
            </a:prstGeom>
            <a:noFill/>
          </p:spPr>
          <p:txBody>
            <a:bodyPr wrap="square" rtlCol="0">
              <a:spAutoFit/>
            </a:bodyPr>
            <a:lstStyle/>
            <a:p>
              <a:pPr algn="ctr"/>
              <a:r>
                <a:rPr lang="en-GB" sz="1200">
                  <a:solidFill>
                    <a:schemeClr val="bg1"/>
                  </a:solidFill>
                  <a:latin typeface="+mj-lt"/>
                </a:rPr>
                <a:t>1</a:t>
              </a:r>
            </a:p>
          </p:txBody>
        </p:sp>
      </p:grpSp>
      <p:grpSp>
        <p:nvGrpSpPr>
          <p:cNvPr id="54" name="Groupe 53">
            <a:extLst>
              <a:ext uri="{FF2B5EF4-FFF2-40B4-BE49-F238E27FC236}">
                <a16:creationId xmlns:a16="http://schemas.microsoft.com/office/drawing/2014/main" id="{F5CBF260-5920-4408-996F-27D364C27F26}"/>
              </a:ext>
            </a:extLst>
          </p:cNvPr>
          <p:cNvGrpSpPr/>
          <p:nvPr/>
        </p:nvGrpSpPr>
        <p:grpSpPr>
          <a:xfrm>
            <a:off x="3791181" y="1148233"/>
            <a:ext cx="325859" cy="276999"/>
            <a:chOff x="3287902" y="1242339"/>
            <a:chExt cx="325859" cy="276999"/>
          </a:xfrm>
        </p:grpSpPr>
        <p:sp>
          <p:nvSpPr>
            <p:cNvPr id="55" name="Ellipse 54">
              <a:extLst>
                <a:ext uri="{FF2B5EF4-FFF2-40B4-BE49-F238E27FC236}">
                  <a16:creationId xmlns:a16="http://schemas.microsoft.com/office/drawing/2014/main" id="{D8FAEAE8-4DBF-41E4-8861-819BB1899EE8}"/>
                </a:ext>
              </a:extLst>
            </p:cNvPr>
            <p:cNvSpPr/>
            <p:nvPr/>
          </p:nvSpPr>
          <p:spPr bwMode="auto">
            <a:xfrm>
              <a:off x="3333135" y="1264289"/>
              <a:ext cx="251317"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56" name="ZoneTexte 55">
              <a:extLst>
                <a:ext uri="{FF2B5EF4-FFF2-40B4-BE49-F238E27FC236}">
                  <a16:creationId xmlns:a16="http://schemas.microsoft.com/office/drawing/2014/main" id="{3B5A7B43-EFCD-41F7-AF8B-F6CAE3A15B86}"/>
                </a:ext>
              </a:extLst>
            </p:cNvPr>
            <p:cNvSpPr txBox="1"/>
            <p:nvPr/>
          </p:nvSpPr>
          <p:spPr>
            <a:xfrm>
              <a:off x="3287902" y="1242339"/>
              <a:ext cx="325859" cy="276999"/>
            </a:xfrm>
            <a:prstGeom prst="rect">
              <a:avLst/>
            </a:prstGeom>
            <a:noFill/>
          </p:spPr>
          <p:txBody>
            <a:bodyPr wrap="square" rtlCol="0">
              <a:spAutoFit/>
            </a:bodyPr>
            <a:lstStyle/>
            <a:p>
              <a:pPr algn="ctr"/>
              <a:r>
                <a:rPr lang="en-GB" sz="1200">
                  <a:solidFill>
                    <a:schemeClr val="bg1"/>
                  </a:solidFill>
                  <a:latin typeface="+mj-lt"/>
                </a:rPr>
                <a:t>2</a:t>
              </a:r>
            </a:p>
          </p:txBody>
        </p:sp>
      </p:grpSp>
      <p:sp>
        <p:nvSpPr>
          <p:cNvPr id="57" name="Rectangle: Rounded Corners 2">
            <a:extLst>
              <a:ext uri="{FF2B5EF4-FFF2-40B4-BE49-F238E27FC236}">
                <a16:creationId xmlns:a16="http://schemas.microsoft.com/office/drawing/2014/main" id="{2E6CA91C-019B-48A6-B9CA-68F121D64DF3}"/>
              </a:ext>
            </a:extLst>
          </p:cNvPr>
          <p:cNvSpPr/>
          <p:nvPr/>
        </p:nvSpPr>
        <p:spPr bwMode="auto">
          <a:xfrm>
            <a:off x="4084026" y="3571568"/>
            <a:ext cx="2781818" cy="127531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buClr>
                <a:schemeClr val="tx1"/>
              </a:buClr>
            </a:pPr>
            <a:r>
              <a:rPr lang="en-GB" sz="1050">
                <a:latin typeface="Trebuchet MS" panose="020B0603020202020204" pitchFamily="34" charset="0"/>
              </a:rPr>
              <a:t>	</a:t>
            </a:r>
            <a:r>
              <a:rPr lang="en-GB" sz="1100" b="1" err="1">
                <a:solidFill>
                  <a:schemeClr val="tx2"/>
                </a:solidFill>
                <a:latin typeface="Trebuchet MS" panose="020B0603020202020204" pitchFamily="34" charset="0"/>
              </a:rPr>
              <a:t>Altamarket</a:t>
            </a:r>
            <a:r>
              <a:rPr lang="en-GB" sz="1100" b="1">
                <a:solidFill>
                  <a:schemeClr val="tx2"/>
                </a:solidFill>
                <a:latin typeface="Trebuchet MS" panose="020B0603020202020204" pitchFamily="34" charset="0"/>
              </a:rPr>
              <a:t>®</a:t>
            </a:r>
            <a:endParaRPr lang="en-GB" sz="1100">
              <a:solidFill>
                <a:schemeClr val="tx2"/>
              </a:solidFill>
              <a:latin typeface="Trebuchet MS" panose="020B0603020202020204" pitchFamily="34" charset="0"/>
            </a:endParaRPr>
          </a:p>
          <a:p>
            <a:pPr marL="171450" marR="0" indent="-171450" defTabSz="914400" eaLnBrk="1" fontAlgn="base" latinLnBrk="0" hangingPunct="1">
              <a:lnSpc>
                <a:spcPct val="100000"/>
              </a:lnSpc>
              <a:spcBef>
                <a:spcPct val="0"/>
              </a:spcBef>
              <a:spcAft>
                <a:spcPct val="0"/>
              </a:spcAft>
              <a:buClr>
                <a:schemeClr val="tx1"/>
              </a:buClr>
              <a:buSzTx/>
              <a:buFont typeface="Wingdings" panose="05000000000000000000" pitchFamily="2" charset="2"/>
              <a:buChar char="§"/>
              <a:tabLst/>
            </a:pPr>
            <a:endParaRPr lang="en-GB" sz="1100">
              <a:latin typeface="Trebuchet MS" pitchFamily="34" charset="0"/>
            </a:endParaRPr>
          </a:p>
          <a:p>
            <a:pPr marL="171450" marR="0" indent="-171450" defTabSz="914400" eaLnBrk="1" fontAlgn="base" latinLnBrk="0" hangingPunct="1">
              <a:lnSpc>
                <a:spcPct val="100000"/>
              </a:lnSpc>
              <a:spcBef>
                <a:spcPct val="0"/>
              </a:spcBef>
              <a:spcAft>
                <a:spcPct val="0"/>
              </a:spcAft>
              <a:buClr>
                <a:schemeClr val="tx1"/>
              </a:buClr>
              <a:buSzTx/>
              <a:buFont typeface="Wingdings" panose="05000000000000000000" pitchFamily="2" charset="2"/>
              <a:buChar char="§"/>
              <a:tabLst/>
            </a:pPr>
            <a:r>
              <a:rPr lang="en-GB" sz="1100">
                <a:solidFill>
                  <a:schemeClr val="tx2"/>
                </a:solidFill>
                <a:latin typeface="Trebuchet MS" pitchFamily="34" charset="0"/>
              </a:rPr>
              <a:t>Data marketplace </a:t>
            </a:r>
            <a:r>
              <a:rPr lang="en-GB" sz="1100">
                <a:latin typeface="Trebuchet MS" pitchFamily="34" charset="0"/>
              </a:rPr>
              <a:t>strategy deployment to position </a:t>
            </a:r>
            <a:r>
              <a:rPr lang="en-GB" sz="1100" err="1">
                <a:latin typeface="Trebuchet MS" pitchFamily="34" charset="0"/>
              </a:rPr>
              <a:t>Altares</a:t>
            </a:r>
            <a:r>
              <a:rPr lang="en-GB" sz="1100">
                <a:latin typeface="Trebuchet MS" pitchFamily="34" charset="0"/>
              </a:rPr>
              <a:t> as a data </a:t>
            </a:r>
            <a:r>
              <a:rPr lang="en-GB" sz="1100">
                <a:solidFill>
                  <a:schemeClr val="tx2"/>
                </a:solidFill>
                <a:latin typeface="Trebuchet MS" pitchFamily="34" charset="0"/>
              </a:rPr>
              <a:t>aggregator</a:t>
            </a:r>
            <a:r>
              <a:rPr lang="en-GB" sz="1100">
                <a:latin typeface="Trebuchet MS" pitchFamily="34" charset="0"/>
              </a:rPr>
              <a:t> combining multiple data providers into a unique repository</a:t>
            </a:r>
          </a:p>
        </p:txBody>
      </p:sp>
      <p:sp>
        <p:nvSpPr>
          <p:cNvPr id="58" name="Triangle isocèle 57">
            <a:extLst>
              <a:ext uri="{FF2B5EF4-FFF2-40B4-BE49-F238E27FC236}">
                <a16:creationId xmlns:a16="http://schemas.microsoft.com/office/drawing/2014/main" id="{46F9E5A2-4D43-4CF2-A589-9190DE1A0E0A}"/>
              </a:ext>
            </a:extLst>
          </p:cNvPr>
          <p:cNvSpPr/>
          <p:nvPr/>
        </p:nvSpPr>
        <p:spPr bwMode="auto">
          <a:xfrm flipV="1">
            <a:off x="4702174" y="3450954"/>
            <a:ext cx="1618991" cy="184078"/>
          </a:xfrm>
          <a:prstGeom prst="triangle">
            <a:avLst/>
          </a:prstGeom>
          <a:solidFill>
            <a:schemeClr val="tx2"/>
          </a:solidFill>
          <a:ln w="9525" cap="flat" cmpd="sng" algn="ctr">
            <a:solidFill>
              <a:srgbClr val="E9F5E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solidFill>
                <a:schemeClr val="tx2"/>
              </a:solidFill>
              <a:effectLst/>
              <a:latin typeface="Trebuchet MS" pitchFamily="34" charset="0"/>
            </a:endParaRPr>
          </a:p>
        </p:txBody>
      </p:sp>
      <p:grpSp>
        <p:nvGrpSpPr>
          <p:cNvPr id="59" name="Groupe 58">
            <a:extLst>
              <a:ext uri="{FF2B5EF4-FFF2-40B4-BE49-F238E27FC236}">
                <a16:creationId xmlns:a16="http://schemas.microsoft.com/office/drawing/2014/main" id="{A760B8E3-28F4-497E-992A-C852022C7D9B}"/>
              </a:ext>
            </a:extLst>
          </p:cNvPr>
          <p:cNvGrpSpPr/>
          <p:nvPr/>
        </p:nvGrpSpPr>
        <p:grpSpPr>
          <a:xfrm>
            <a:off x="3963989" y="3422520"/>
            <a:ext cx="325859" cy="276999"/>
            <a:chOff x="3287902" y="1242339"/>
            <a:chExt cx="325859" cy="276999"/>
          </a:xfrm>
        </p:grpSpPr>
        <p:sp>
          <p:nvSpPr>
            <p:cNvPr id="60" name="Ellipse 59">
              <a:extLst>
                <a:ext uri="{FF2B5EF4-FFF2-40B4-BE49-F238E27FC236}">
                  <a16:creationId xmlns:a16="http://schemas.microsoft.com/office/drawing/2014/main" id="{86018B54-279D-4A3E-8A88-00142AF3E690}"/>
                </a:ext>
              </a:extLst>
            </p:cNvPr>
            <p:cNvSpPr/>
            <p:nvPr/>
          </p:nvSpPr>
          <p:spPr bwMode="auto">
            <a:xfrm>
              <a:off x="3333135" y="1264289"/>
              <a:ext cx="251317"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61" name="ZoneTexte 60">
              <a:extLst>
                <a:ext uri="{FF2B5EF4-FFF2-40B4-BE49-F238E27FC236}">
                  <a16:creationId xmlns:a16="http://schemas.microsoft.com/office/drawing/2014/main" id="{E75CCEA0-CEE7-4A9E-A1D9-50805DCB49CA}"/>
                </a:ext>
              </a:extLst>
            </p:cNvPr>
            <p:cNvSpPr txBox="1"/>
            <p:nvPr/>
          </p:nvSpPr>
          <p:spPr>
            <a:xfrm>
              <a:off x="3287902" y="1242339"/>
              <a:ext cx="325859" cy="276999"/>
            </a:xfrm>
            <a:prstGeom prst="rect">
              <a:avLst/>
            </a:prstGeom>
            <a:noFill/>
          </p:spPr>
          <p:txBody>
            <a:bodyPr wrap="square" rtlCol="0">
              <a:spAutoFit/>
            </a:bodyPr>
            <a:lstStyle/>
            <a:p>
              <a:pPr algn="ctr"/>
              <a:r>
                <a:rPr lang="en-GB" sz="1200">
                  <a:solidFill>
                    <a:schemeClr val="bg1"/>
                  </a:solidFill>
                  <a:latin typeface="+mj-lt"/>
                </a:rPr>
                <a:t>3</a:t>
              </a:r>
            </a:p>
          </p:txBody>
        </p:sp>
      </p:grpSp>
      <p:sp>
        <p:nvSpPr>
          <p:cNvPr id="62" name="Rectangle 61">
            <a:extLst>
              <a:ext uri="{FF2B5EF4-FFF2-40B4-BE49-F238E27FC236}">
                <a16:creationId xmlns:a16="http://schemas.microsoft.com/office/drawing/2014/main" id="{761CABC1-5B64-4A7F-B6A8-459BAFD4AC55}"/>
              </a:ext>
            </a:extLst>
          </p:cNvPr>
          <p:cNvSpPr/>
          <p:nvPr/>
        </p:nvSpPr>
        <p:spPr bwMode="auto">
          <a:xfrm>
            <a:off x="775849" y="2093720"/>
            <a:ext cx="2843455" cy="282556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3" name="Rectangle 62">
            <a:extLst>
              <a:ext uri="{FF2B5EF4-FFF2-40B4-BE49-F238E27FC236}">
                <a16:creationId xmlns:a16="http://schemas.microsoft.com/office/drawing/2014/main" id="{4FC3ABB7-8925-4633-9543-8FC5348A6D31}"/>
              </a:ext>
            </a:extLst>
          </p:cNvPr>
          <p:cNvSpPr/>
          <p:nvPr/>
        </p:nvSpPr>
        <p:spPr>
          <a:xfrm rot="5400000">
            <a:off x="865519" y="3378407"/>
            <a:ext cx="2637749" cy="227311"/>
          </a:xfrm>
          <a:prstGeom prst="rect">
            <a:avLst/>
          </a:prstGeom>
          <a:solidFill>
            <a:schemeClr val="bg1">
              <a:lumMod val="85000"/>
            </a:schemeClr>
          </a:solidFill>
        </p:spPr>
        <p:txBody>
          <a:bodyPr wrap="square" lIns="36000" tIns="0" rIns="72000" bIns="0" anchor="ctr">
            <a:noAutofit/>
          </a:bodyPr>
          <a:lstStyle/>
          <a:p>
            <a:pPr algn="ctr"/>
            <a:endParaRPr lang="en-GB" sz="1000" b="1">
              <a:latin typeface="Trebuchet MS" pitchFamily="34" charset="0"/>
            </a:endParaRPr>
          </a:p>
        </p:txBody>
      </p:sp>
      <p:sp>
        <p:nvSpPr>
          <p:cNvPr id="64" name="Trapèze 63">
            <a:extLst>
              <a:ext uri="{FF2B5EF4-FFF2-40B4-BE49-F238E27FC236}">
                <a16:creationId xmlns:a16="http://schemas.microsoft.com/office/drawing/2014/main" id="{F4FD71B2-D7BC-43A0-8DB4-61678CD3D3D6}"/>
              </a:ext>
            </a:extLst>
          </p:cNvPr>
          <p:cNvSpPr/>
          <p:nvPr/>
        </p:nvSpPr>
        <p:spPr bwMode="auto">
          <a:xfrm rot="10800000">
            <a:off x="936695" y="2372660"/>
            <a:ext cx="2591269" cy="674206"/>
          </a:xfrm>
          <a:prstGeom prst="trapezoid">
            <a:avLst>
              <a:gd name="adj" fmla="val 16502"/>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sp>
        <p:nvSpPr>
          <p:cNvPr id="65" name="Trapèze 64">
            <a:extLst>
              <a:ext uri="{FF2B5EF4-FFF2-40B4-BE49-F238E27FC236}">
                <a16:creationId xmlns:a16="http://schemas.microsoft.com/office/drawing/2014/main" id="{0864AB09-8ECD-4C9D-A121-4BB10A10D1EB}"/>
              </a:ext>
            </a:extLst>
          </p:cNvPr>
          <p:cNvSpPr/>
          <p:nvPr/>
        </p:nvSpPr>
        <p:spPr bwMode="auto">
          <a:xfrm rot="10800000">
            <a:off x="1063684" y="3130927"/>
            <a:ext cx="2322217" cy="674206"/>
          </a:xfrm>
          <a:prstGeom prst="trapezoid">
            <a:avLst>
              <a:gd name="adj" fmla="val 16502"/>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sp>
        <p:nvSpPr>
          <p:cNvPr id="66" name="Trapèze 65">
            <a:extLst>
              <a:ext uri="{FF2B5EF4-FFF2-40B4-BE49-F238E27FC236}">
                <a16:creationId xmlns:a16="http://schemas.microsoft.com/office/drawing/2014/main" id="{0CB4E9D3-9094-4E9C-A8A1-2EA581E85E26}"/>
              </a:ext>
            </a:extLst>
          </p:cNvPr>
          <p:cNvSpPr/>
          <p:nvPr/>
        </p:nvSpPr>
        <p:spPr bwMode="auto">
          <a:xfrm rot="10800000">
            <a:off x="1190813" y="3909398"/>
            <a:ext cx="2078667" cy="767068"/>
          </a:xfrm>
          <a:prstGeom prst="trapezoid">
            <a:avLst>
              <a:gd name="adj" fmla="val 16502"/>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sp>
        <p:nvSpPr>
          <p:cNvPr id="67" name="Flèche : pentagone 66">
            <a:extLst>
              <a:ext uri="{FF2B5EF4-FFF2-40B4-BE49-F238E27FC236}">
                <a16:creationId xmlns:a16="http://schemas.microsoft.com/office/drawing/2014/main" id="{E5474CD6-C49D-4422-802A-FA0FAD72C1D4}"/>
              </a:ext>
            </a:extLst>
          </p:cNvPr>
          <p:cNvSpPr/>
          <p:nvPr/>
        </p:nvSpPr>
        <p:spPr bwMode="auto">
          <a:xfrm>
            <a:off x="987868" y="2451372"/>
            <a:ext cx="2484558" cy="459516"/>
          </a:xfrm>
          <a:prstGeom prst="homePlate">
            <a:avLst>
              <a:gd name="adj" fmla="val 0"/>
            </a:avLst>
          </a:prstGeom>
          <a:no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defTabSz="914400" rtl="0" eaLnBrk="1" fontAlgn="base" latinLnBrk="0" hangingPunct="1">
              <a:lnSpc>
                <a:spcPct val="100000"/>
              </a:lnSpc>
              <a:spcBef>
                <a:spcPct val="0"/>
              </a:spcBef>
              <a:spcAft>
                <a:spcPts val="600"/>
              </a:spcAft>
              <a:buClrTx/>
              <a:buSzTx/>
              <a:tabLst/>
            </a:pPr>
            <a:r>
              <a:rPr kumimoji="0" lang="en-GB" sz="1100" i="0" u="none" strike="noStrike" cap="none" normalizeH="0" baseline="0">
                <a:ln>
                  <a:noFill/>
                </a:ln>
                <a:solidFill>
                  <a:schemeClr val="accent1">
                    <a:lumMod val="75000"/>
                  </a:schemeClr>
                </a:solidFill>
                <a:effectLst/>
                <a:latin typeface="Trebuchet MS" panose="020B0603020202020204" pitchFamily="34" charset="0"/>
              </a:rPr>
              <a:t>1. Attract</a:t>
            </a:r>
          </a:p>
          <a:p>
            <a:pPr marR="0" algn="ctr" defTabSz="914400" rtl="0" eaLnBrk="1" fontAlgn="base" latinLnBrk="0" hangingPunct="1">
              <a:lnSpc>
                <a:spcPct val="100000"/>
              </a:lnSpc>
              <a:spcBef>
                <a:spcPct val="0"/>
              </a:spcBef>
              <a:spcAft>
                <a:spcPts val="600"/>
              </a:spcAft>
              <a:buClrTx/>
              <a:buSzTx/>
              <a:tabLst/>
            </a:pPr>
            <a:r>
              <a:rPr kumimoji="0" lang="en-GB" sz="1100" i="0" u="none" strike="noStrike" cap="none" normalizeH="0" baseline="0" err="1">
                <a:ln>
                  <a:noFill/>
                </a:ln>
                <a:effectLst/>
                <a:latin typeface="Trebuchet MS" panose="020B0603020202020204" pitchFamily="34" charset="0"/>
              </a:rPr>
              <a:t>Altares</a:t>
            </a:r>
            <a:r>
              <a:rPr kumimoji="0" lang="en-GB" sz="1100" i="0" u="none" strike="noStrike" cap="none" normalizeH="0" baseline="0">
                <a:ln>
                  <a:noFill/>
                </a:ln>
                <a:effectLst/>
                <a:latin typeface="Trebuchet MS" panose="020B0603020202020204" pitchFamily="34" charset="0"/>
              </a:rPr>
              <a:t> combines multiple levers to attract prospects…</a:t>
            </a:r>
          </a:p>
        </p:txBody>
      </p:sp>
      <p:sp>
        <p:nvSpPr>
          <p:cNvPr id="68" name="Freeform 29">
            <a:extLst>
              <a:ext uri="{FF2B5EF4-FFF2-40B4-BE49-F238E27FC236}">
                <a16:creationId xmlns:a16="http://schemas.microsoft.com/office/drawing/2014/main" id="{CE359F2A-5F5D-49E6-A890-CB8DFE7AAA7B}"/>
              </a:ext>
            </a:extLst>
          </p:cNvPr>
          <p:cNvSpPr>
            <a:spLocks noEditPoints="1"/>
          </p:cNvSpPr>
          <p:nvPr/>
        </p:nvSpPr>
        <p:spPr bwMode="auto">
          <a:xfrm>
            <a:off x="3067849" y="2391259"/>
            <a:ext cx="238533" cy="244445"/>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1">
              <a:lumMod val="75000"/>
            </a:schemeClr>
          </a:solidFill>
          <a:ln w="19050" cap="flat" cmpd="sng" algn="ctr">
            <a:noFill/>
            <a:prstDash val="solid"/>
            <a:round/>
            <a:headEnd type="none" w="med" len="med"/>
            <a:tailEnd type="triangle" w="med" len="med"/>
          </a:ln>
          <a:effectLst/>
        </p:spPr>
        <p:txBody>
          <a:bodyPr vert="horz" wrap="square" lIns="91440" tIns="45720" rIns="91440" bIns="45720" numCol="1" anchor="t" anchorCtr="0" compatLnSpc="1">
            <a:prstTxWarp prst="textNoShape">
              <a:avLst/>
            </a:prstTxWarp>
          </a:bodyPr>
          <a:lstStyle/>
          <a:p>
            <a:endParaRPr lang="en-GB" b="1"/>
          </a:p>
        </p:txBody>
      </p:sp>
      <p:grpSp>
        <p:nvGrpSpPr>
          <p:cNvPr id="69" name="Group 5">
            <a:extLst>
              <a:ext uri="{FF2B5EF4-FFF2-40B4-BE49-F238E27FC236}">
                <a16:creationId xmlns:a16="http://schemas.microsoft.com/office/drawing/2014/main" id="{4B67FA23-7943-46F0-A5FD-EF80B5636989}"/>
              </a:ext>
            </a:extLst>
          </p:cNvPr>
          <p:cNvGrpSpPr>
            <a:grpSpLocks noChangeAspect="1"/>
          </p:cNvGrpSpPr>
          <p:nvPr/>
        </p:nvGrpSpPr>
        <p:grpSpPr bwMode="auto">
          <a:xfrm>
            <a:off x="2105213" y="3026004"/>
            <a:ext cx="200640" cy="174040"/>
            <a:chOff x="823" y="904"/>
            <a:chExt cx="684" cy="533"/>
          </a:xfrm>
          <a:solidFill>
            <a:schemeClr val="tx1"/>
          </a:solidFill>
        </p:grpSpPr>
        <p:sp>
          <p:nvSpPr>
            <p:cNvPr id="70" name="Freeform 6">
              <a:extLst>
                <a:ext uri="{FF2B5EF4-FFF2-40B4-BE49-F238E27FC236}">
                  <a16:creationId xmlns:a16="http://schemas.microsoft.com/office/drawing/2014/main" id="{97AC702B-CAF1-46E7-AB3E-8EB857CA3D7A}"/>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71" name="Freeform 7">
              <a:extLst>
                <a:ext uri="{FF2B5EF4-FFF2-40B4-BE49-F238E27FC236}">
                  <a16:creationId xmlns:a16="http://schemas.microsoft.com/office/drawing/2014/main" id="{8A9CFD73-98CC-46E7-B018-792A3F91C7E2}"/>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sp>
        <p:nvSpPr>
          <p:cNvPr id="72" name="Flèche : pentagone 71">
            <a:extLst>
              <a:ext uri="{FF2B5EF4-FFF2-40B4-BE49-F238E27FC236}">
                <a16:creationId xmlns:a16="http://schemas.microsoft.com/office/drawing/2014/main" id="{695BFABD-5173-4026-9D07-196E7D495D61}"/>
              </a:ext>
            </a:extLst>
          </p:cNvPr>
          <p:cNvSpPr/>
          <p:nvPr/>
        </p:nvSpPr>
        <p:spPr bwMode="auto">
          <a:xfrm>
            <a:off x="1190814" y="3250694"/>
            <a:ext cx="1876453" cy="459516"/>
          </a:xfrm>
          <a:prstGeom prst="homePlate">
            <a:avLst>
              <a:gd name="adj" fmla="val 298"/>
            </a:avLst>
          </a:prstGeom>
          <a:no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600"/>
              </a:spcAft>
              <a:buClrTx/>
              <a:buSzTx/>
              <a:buFontTx/>
              <a:buNone/>
              <a:tabLst/>
            </a:pPr>
            <a:r>
              <a:rPr kumimoji="0" lang="en-GB" sz="1100" i="0" u="none" strike="noStrike" cap="none" normalizeH="0" baseline="0">
                <a:ln>
                  <a:noFill/>
                </a:ln>
                <a:solidFill>
                  <a:schemeClr val="accent1">
                    <a:lumMod val="75000"/>
                  </a:schemeClr>
                </a:solidFill>
                <a:effectLst/>
                <a:latin typeface="Trebuchet MS" panose="020B0603020202020204" pitchFamily="34" charset="0"/>
              </a:rPr>
              <a:t>2. Convert</a:t>
            </a:r>
          </a:p>
          <a:p>
            <a:pPr marL="0" marR="0" indent="0" algn="ctr" defTabSz="914400" rtl="0" eaLnBrk="1" fontAlgn="base" latinLnBrk="0" hangingPunct="1">
              <a:lnSpc>
                <a:spcPct val="100000"/>
              </a:lnSpc>
              <a:spcBef>
                <a:spcPct val="0"/>
              </a:spcBef>
              <a:spcAft>
                <a:spcPts val="600"/>
              </a:spcAft>
              <a:buClrTx/>
              <a:buSzTx/>
              <a:buFontTx/>
              <a:buNone/>
              <a:tabLst/>
            </a:pPr>
            <a:r>
              <a:rPr kumimoji="0" lang="en-GB" sz="1100" i="0" u="none" strike="noStrike" cap="none" normalizeH="0" baseline="0">
                <a:ln>
                  <a:noFill/>
                </a:ln>
                <a:effectLst/>
                <a:latin typeface="Trebuchet MS" panose="020B0603020202020204" pitchFamily="34" charset="0"/>
              </a:rPr>
              <a:t>…</a:t>
            </a:r>
            <a:r>
              <a:rPr lang="en-GB" sz="1100">
                <a:latin typeface="Trebuchet MS" panose="020B0603020202020204" pitchFamily="34" charset="0"/>
              </a:rPr>
              <a:t>in order to</a:t>
            </a:r>
            <a:r>
              <a:rPr kumimoji="0" lang="en-GB" sz="1100" i="0" u="none" strike="noStrike" cap="none" normalizeH="0" baseline="0">
                <a:ln>
                  <a:noFill/>
                </a:ln>
                <a:effectLst/>
                <a:latin typeface="Trebuchet MS" panose="020B0603020202020204" pitchFamily="34" charset="0"/>
              </a:rPr>
              <a:t> convert them into clients…</a:t>
            </a:r>
          </a:p>
        </p:txBody>
      </p:sp>
      <p:grpSp>
        <p:nvGrpSpPr>
          <p:cNvPr id="73" name="Group 18">
            <a:extLst>
              <a:ext uri="{FF2B5EF4-FFF2-40B4-BE49-F238E27FC236}">
                <a16:creationId xmlns:a16="http://schemas.microsoft.com/office/drawing/2014/main" id="{4078B645-E912-4B02-9FD0-97448AAA4C80}"/>
              </a:ext>
            </a:extLst>
          </p:cNvPr>
          <p:cNvGrpSpPr>
            <a:grpSpLocks noChangeAspect="1"/>
          </p:cNvGrpSpPr>
          <p:nvPr/>
        </p:nvGrpSpPr>
        <p:grpSpPr bwMode="auto">
          <a:xfrm>
            <a:off x="3065262" y="3187234"/>
            <a:ext cx="217066" cy="235285"/>
            <a:chOff x="788" y="823"/>
            <a:chExt cx="740" cy="695"/>
          </a:xfrm>
          <a:solidFill>
            <a:schemeClr val="accent1">
              <a:lumMod val="75000"/>
            </a:schemeClr>
          </a:solidFill>
        </p:grpSpPr>
        <p:sp>
          <p:nvSpPr>
            <p:cNvPr id="74" name="Freeform 19">
              <a:extLst>
                <a:ext uri="{FF2B5EF4-FFF2-40B4-BE49-F238E27FC236}">
                  <a16:creationId xmlns:a16="http://schemas.microsoft.com/office/drawing/2014/main" id="{F9B94946-FAFD-4AEC-B965-535ED01E5885}"/>
                </a:ext>
              </a:extLst>
            </p:cNvPr>
            <p:cNvSpPr>
              <a:spLocks/>
            </p:cNvSpPr>
            <p:nvPr/>
          </p:nvSpPr>
          <p:spPr bwMode="auto">
            <a:xfrm>
              <a:off x="788" y="823"/>
              <a:ext cx="497" cy="695"/>
            </a:xfrm>
            <a:custGeom>
              <a:avLst/>
              <a:gdLst>
                <a:gd name="T0" fmla="*/ 17 w 43"/>
                <a:gd name="T1" fmla="*/ 46 h 60"/>
                <a:gd name="T2" fmla="*/ 23 w 43"/>
                <a:gd name="T3" fmla="*/ 40 h 60"/>
                <a:gd name="T4" fmla="*/ 34 w 43"/>
                <a:gd name="T5" fmla="*/ 29 h 60"/>
                <a:gd name="T6" fmla="*/ 37 w 43"/>
                <a:gd name="T7" fmla="*/ 32 h 60"/>
                <a:gd name="T8" fmla="*/ 37 w 43"/>
                <a:gd name="T9" fmla="*/ 30 h 60"/>
                <a:gd name="T10" fmla="*/ 40 w 43"/>
                <a:gd name="T11" fmla="*/ 23 h 60"/>
                <a:gd name="T12" fmla="*/ 43 w 43"/>
                <a:gd name="T13" fmla="*/ 20 h 60"/>
                <a:gd name="T14" fmla="*/ 41 w 43"/>
                <a:gd name="T15" fmla="*/ 16 h 60"/>
                <a:gd name="T16" fmla="*/ 41 w 43"/>
                <a:gd name="T17" fmla="*/ 9 h 60"/>
                <a:gd name="T18" fmla="*/ 30 w 43"/>
                <a:gd name="T19" fmla="*/ 0 h 60"/>
                <a:gd name="T20" fmla="*/ 18 w 43"/>
                <a:gd name="T21" fmla="*/ 9 h 60"/>
                <a:gd name="T22" fmla="*/ 18 w 43"/>
                <a:gd name="T23" fmla="*/ 16 h 60"/>
                <a:gd name="T24" fmla="*/ 17 w 43"/>
                <a:gd name="T25" fmla="*/ 20 h 60"/>
                <a:gd name="T26" fmla="*/ 19 w 43"/>
                <a:gd name="T27" fmla="*/ 23 h 60"/>
                <a:gd name="T28" fmla="*/ 22 w 43"/>
                <a:gd name="T29" fmla="*/ 30 h 60"/>
                <a:gd name="T30" fmla="*/ 22 w 43"/>
                <a:gd name="T31" fmla="*/ 36 h 60"/>
                <a:gd name="T32" fmla="*/ 15 w 43"/>
                <a:gd name="T33" fmla="*/ 39 h 60"/>
                <a:gd name="T34" fmla="*/ 2 w 43"/>
                <a:gd name="T35" fmla="*/ 46 h 60"/>
                <a:gd name="T36" fmla="*/ 1 w 43"/>
                <a:gd name="T37" fmla="*/ 60 h 60"/>
                <a:gd name="T38" fmla="*/ 31 w 43"/>
                <a:gd name="T39" fmla="*/ 60 h 60"/>
                <a:gd name="T40" fmla="*/ 23 w 43"/>
                <a:gd name="T41" fmla="*/ 51 h 60"/>
                <a:gd name="T42" fmla="*/ 17 w 43"/>
                <a:gd name="T43" fmla="*/ 4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0">
                  <a:moveTo>
                    <a:pt x="17" y="46"/>
                  </a:moveTo>
                  <a:cubicBezTo>
                    <a:pt x="23" y="40"/>
                    <a:pt x="23" y="40"/>
                    <a:pt x="23" y="40"/>
                  </a:cubicBezTo>
                  <a:cubicBezTo>
                    <a:pt x="34" y="29"/>
                    <a:pt x="34" y="29"/>
                    <a:pt x="34" y="29"/>
                  </a:cubicBezTo>
                  <a:cubicBezTo>
                    <a:pt x="37" y="32"/>
                    <a:pt x="37" y="32"/>
                    <a:pt x="37" y="32"/>
                  </a:cubicBezTo>
                  <a:cubicBezTo>
                    <a:pt x="37" y="30"/>
                    <a:pt x="37" y="30"/>
                    <a:pt x="37" y="30"/>
                  </a:cubicBezTo>
                  <a:cubicBezTo>
                    <a:pt x="37" y="30"/>
                    <a:pt x="39" y="28"/>
                    <a:pt x="40" y="23"/>
                  </a:cubicBezTo>
                  <a:cubicBezTo>
                    <a:pt x="41" y="24"/>
                    <a:pt x="43" y="21"/>
                    <a:pt x="43" y="20"/>
                  </a:cubicBezTo>
                  <a:cubicBezTo>
                    <a:pt x="43" y="19"/>
                    <a:pt x="42" y="15"/>
                    <a:pt x="41" y="16"/>
                  </a:cubicBezTo>
                  <a:cubicBezTo>
                    <a:pt x="41" y="13"/>
                    <a:pt x="41" y="11"/>
                    <a:pt x="41" y="9"/>
                  </a:cubicBezTo>
                  <a:cubicBezTo>
                    <a:pt x="41" y="5"/>
                    <a:pt x="36" y="0"/>
                    <a:pt x="30" y="0"/>
                  </a:cubicBezTo>
                  <a:cubicBezTo>
                    <a:pt x="23" y="0"/>
                    <a:pt x="18" y="5"/>
                    <a:pt x="18" y="9"/>
                  </a:cubicBezTo>
                  <a:cubicBezTo>
                    <a:pt x="18" y="11"/>
                    <a:pt x="18" y="13"/>
                    <a:pt x="18" y="16"/>
                  </a:cubicBezTo>
                  <a:cubicBezTo>
                    <a:pt x="17" y="15"/>
                    <a:pt x="17" y="19"/>
                    <a:pt x="17" y="20"/>
                  </a:cubicBezTo>
                  <a:cubicBezTo>
                    <a:pt x="17" y="21"/>
                    <a:pt x="18" y="24"/>
                    <a:pt x="19" y="23"/>
                  </a:cubicBezTo>
                  <a:cubicBezTo>
                    <a:pt x="20" y="28"/>
                    <a:pt x="22" y="30"/>
                    <a:pt x="22" y="30"/>
                  </a:cubicBezTo>
                  <a:cubicBezTo>
                    <a:pt x="22" y="36"/>
                    <a:pt x="22" y="36"/>
                    <a:pt x="22" y="36"/>
                  </a:cubicBezTo>
                  <a:cubicBezTo>
                    <a:pt x="22" y="36"/>
                    <a:pt x="21" y="36"/>
                    <a:pt x="15" y="39"/>
                  </a:cubicBezTo>
                  <a:cubicBezTo>
                    <a:pt x="9" y="41"/>
                    <a:pt x="3" y="43"/>
                    <a:pt x="2" y="46"/>
                  </a:cubicBezTo>
                  <a:cubicBezTo>
                    <a:pt x="0" y="48"/>
                    <a:pt x="1" y="60"/>
                    <a:pt x="1" y="60"/>
                  </a:cubicBezTo>
                  <a:cubicBezTo>
                    <a:pt x="31" y="60"/>
                    <a:pt x="31" y="60"/>
                    <a:pt x="31" y="60"/>
                  </a:cubicBezTo>
                  <a:cubicBezTo>
                    <a:pt x="23" y="51"/>
                    <a:pt x="23" y="51"/>
                    <a:pt x="23" y="51"/>
                  </a:cubicBezTo>
                  <a:lnTo>
                    <a:pt x="1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75" name="Freeform 20">
              <a:extLst>
                <a:ext uri="{FF2B5EF4-FFF2-40B4-BE49-F238E27FC236}">
                  <a16:creationId xmlns:a16="http://schemas.microsoft.com/office/drawing/2014/main" id="{AF86950F-B0BF-471A-9D1F-EFD58B2BE562}"/>
                </a:ext>
              </a:extLst>
            </p:cNvPr>
            <p:cNvSpPr>
              <a:spLocks/>
            </p:cNvSpPr>
            <p:nvPr/>
          </p:nvSpPr>
          <p:spPr bwMode="auto">
            <a:xfrm>
              <a:off x="1112" y="1194"/>
              <a:ext cx="416" cy="324"/>
            </a:xfrm>
            <a:custGeom>
              <a:avLst/>
              <a:gdLst>
                <a:gd name="T0" fmla="*/ 358 w 416"/>
                <a:gd name="T1" fmla="*/ 0 h 324"/>
                <a:gd name="T2" fmla="*/ 173 w 416"/>
                <a:gd name="T3" fmla="*/ 185 h 324"/>
                <a:gd name="T4" fmla="*/ 69 w 416"/>
                <a:gd name="T5" fmla="*/ 93 h 324"/>
                <a:gd name="T6" fmla="*/ 0 w 416"/>
                <a:gd name="T7" fmla="*/ 162 h 324"/>
                <a:gd name="T8" fmla="*/ 139 w 416"/>
                <a:gd name="T9" fmla="*/ 290 h 324"/>
                <a:gd name="T10" fmla="*/ 173 w 416"/>
                <a:gd name="T11" fmla="*/ 324 h 324"/>
                <a:gd name="T12" fmla="*/ 416 w 416"/>
                <a:gd name="T13" fmla="*/ 69 h 324"/>
                <a:gd name="T14" fmla="*/ 358 w 416"/>
                <a:gd name="T15" fmla="*/ 0 h 3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6" h="324">
                  <a:moveTo>
                    <a:pt x="358" y="0"/>
                  </a:moveTo>
                  <a:lnTo>
                    <a:pt x="173" y="185"/>
                  </a:lnTo>
                  <a:lnTo>
                    <a:pt x="69" y="93"/>
                  </a:lnTo>
                  <a:lnTo>
                    <a:pt x="0" y="162"/>
                  </a:lnTo>
                  <a:lnTo>
                    <a:pt x="139" y="290"/>
                  </a:lnTo>
                  <a:lnTo>
                    <a:pt x="173" y="324"/>
                  </a:lnTo>
                  <a:lnTo>
                    <a:pt x="416" y="69"/>
                  </a:lnTo>
                  <a:lnTo>
                    <a:pt x="3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grpSp>
        <p:nvGrpSpPr>
          <p:cNvPr id="76" name="Group 5">
            <a:extLst>
              <a:ext uri="{FF2B5EF4-FFF2-40B4-BE49-F238E27FC236}">
                <a16:creationId xmlns:a16="http://schemas.microsoft.com/office/drawing/2014/main" id="{A6893536-E64A-47C3-AF6E-AECB4324195F}"/>
              </a:ext>
            </a:extLst>
          </p:cNvPr>
          <p:cNvGrpSpPr>
            <a:grpSpLocks noChangeAspect="1"/>
          </p:cNvGrpSpPr>
          <p:nvPr/>
        </p:nvGrpSpPr>
        <p:grpSpPr bwMode="auto">
          <a:xfrm>
            <a:off x="2091850" y="3746966"/>
            <a:ext cx="200640" cy="174040"/>
            <a:chOff x="823" y="904"/>
            <a:chExt cx="684" cy="533"/>
          </a:xfrm>
          <a:solidFill>
            <a:schemeClr val="tx1"/>
          </a:solidFill>
        </p:grpSpPr>
        <p:sp>
          <p:nvSpPr>
            <p:cNvPr id="77" name="Freeform 6">
              <a:extLst>
                <a:ext uri="{FF2B5EF4-FFF2-40B4-BE49-F238E27FC236}">
                  <a16:creationId xmlns:a16="http://schemas.microsoft.com/office/drawing/2014/main" id="{E1DAD690-4F08-46EA-A1F7-8FF751ECA835}"/>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78" name="Freeform 7">
              <a:extLst>
                <a:ext uri="{FF2B5EF4-FFF2-40B4-BE49-F238E27FC236}">
                  <a16:creationId xmlns:a16="http://schemas.microsoft.com/office/drawing/2014/main" id="{F4E3B2D3-25ED-4A72-BC0D-C8BA63B3D56C}"/>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sp>
        <p:nvSpPr>
          <p:cNvPr id="79" name="Flèche : pentagone 78">
            <a:extLst>
              <a:ext uri="{FF2B5EF4-FFF2-40B4-BE49-F238E27FC236}">
                <a16:creationId xmlns:a16="http://schemas.microsoft.com/office/drawing/2014/main" id="{17F935CD-D131-42AF-B469-629B78D05EC1}"/>
              </a:ext>
            </a:extLst>
          </p:cNvPr>
          <p:cNvSpPr/>
          <p:nvPr/>
        </p:nvSpPr>
        <p:spPr bwMode="auto">
          <a:xfrm>
            <a:off x="1249520" y="4072035"/>
            <a:ext cx="1898984" cy="459516"/>
          </a:xfrm>
          <a:prstGeom prst="homePlate">
            <a:avLst>
              <a:gd name="adj" fmla="val 0"/>
            </a:avLst>
          </a:prstGeom>
          <a:no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600"/>
              </a:spcAft>
              <a:buClrTx/>
              <a:buSzTx/>
              <a:buFontTx/>
              <a:buNone/>
              <a:tabLst/>
            </a:pPr>
            <a:r>
              <a:rPr kumimoji="0" lang="en-GB" sz="1100" i="0" u="none" strike="noStrike" cap="none" normalizeH="0" baseline="0">
                <a:ln>
                  <a:noFill/>
                </a:ln>
                <a:solidFill>
                  <a:schemeClr val="accent1">
                    <a:lumMod val="75000"/>
                  </a:schemeClr>
                </a:solidFill>
                <a:effectLst/>
                <a:latin typeface="Trebuchet MS" panose="020B0603020202020204" pitchFamily="34" charset="0"/>
              </a:rPr>
              <a:t>3. Retain</a:t>
            </a:r>
            <a:endParaRPr kumimoji="0" lang="en-GB" sz="1100" i="0" u="none" strike="noStrike" cap="none" normalizeH="0" baseline="0">
              <a:ln>
                <a:noFill/>
              </a:ln>
              <a:effectLst/>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1100" i="0" u="none" strike="noStrike" cap="none" normalizeH="0" baseline="0">
                <a:ln>
                  <a:noFill/>
                </a:ln>
                <a:effectLst/>
                <a:latin typeface="Trebuchet MS" pitchFamily="34" charset="0"/>
              </a:rPr>
              <a:t>…and retaining them while increasing their share of wallet</a:t>
            </a:r>
          </a:p>
        </p:txBody>
      </p:sp>
      <p:grpSp>
        <p:nvGrpSpPr>
          <p:cNvPr id="80" name="Group 10">
            <a:extLst>
              <a:ext uri="{FF2B5EF4-FFF2-40B4-BE49-F238E27FC236}">
                <a16:creationId xmlns:a16="http://schemas.microsoft.com/office/drawing/2014/main" id="{8EA97C5A-B686-445A-A6C8-997D48E909E6}"/>
              </a:ext>
            </a:extLst>
          </p:cNvPr>
          <p:cNvGrpSpPr>
            <a:grpSpLocks noChangeAspect="1"/>
          </p:cNvGrpSpPr>
          <p:nvPr/>
        </p:nvGrpSpPr>
        <p:grpSpPr bwMode="auto">
          <a:xfrm>
            <a:off x="2865381" y="3962314"/>
            <a:ext cx="217064" cy="219431"/>
            <a:chOff x="788" y="835"/>
            <a:chExt cx="740" cy="672"/>
          </a:xfrm>
          <a:solidFill>
            <a:schemeClr val="accent1">
              <a:lumMod val="75000"/>
            </a:schemeClr>
          </a:solidFill>
        </p:grpSpPr>
        <p:sp>
          <p:nvSpPr>
            <p:cNvPr id="81" name="Rectangle 11">
              <a:extLst>
                <a:ext uri="{FF2B5EF4-FFF2-40B4-BE49-F238E27FC236}">
                  <a16:creationId xmlns:a16="http://schemas.microsoft.com/office/drawing/2014/main" id="{0D26B28B-BADA-4925-886D-FD6365F51C05}"/>
                </a:ext>
              </a:extLst>
            </p:cNvPr>
            <p:cNvSpPr>
              <a:spLocks noChangeArrowheads="1"/>
            </p:cNvSpPr>
            <p:nvPr/>
          </p:nvSpPr>
          <p:spPr bwMode="auto">
            <a:xfrm>
              <a:off x="834" y="1368"/>
              <a:ext cx="139" cy="1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82" name="Rectangle 12">
              <a:extLst>
                <a:ext uri="{FF2B5EF4-FFF2-40B4-BE49-F238E27FC236}">
                  <a16:creationId xmlns:a16="http://schemas.microsoft.com/office/drawing/2014/main" id="{4522E0F4-DF94-4E80-862A-C603B1DCCB81}"/>
                </a:ext>
              </a:extLst>
            </p:cNvPr>
            <p:cNvSpPr>
              <a:spLocks noChangeArrowheads="1"/>
            </p:cNvSpPr>
            <p:nvPr/>
          </p:nvSpPr>
          <p:spPr bwMode="auto">
            <a:xfrm>
              <a:off x="1019" y="1275"/>
              <a:ext cx="139" cy="2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83" name="Rectangle 13">
              <a:extLst>
                <a:ext uri="{FF2B5EF4-FFF2-40B4-BE49-F238E27FC236}">
                  <a16:creationId xmlns:a16="http://schemas.microsoft.com/office/drawing/2014/main" id="{3586BB77-91A5-4A45-AA2C-41AB8D8FD5B9}"/>
                </a:ext>
              </a:extLst>
            </p:cNvPr>
            <p:cNvSpPr>
              <a:spLocks noChangeArrowheads="1"/>
            </p:cNvSpPr>
            <p:nvPr/>
          </p:nvSpPr>
          <p:spPr bwMode="auto">
            <a:xfrm>
              <a:off x="1204" y="1182"/>
              <a:ext cx="139" cy="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84" name="Rectangle 14">
              <a:extLst>
                <a:ext uri="{FF2B5EF4-FFF2-40B4-BE49-F238E27FC236}">
                  <a16:creationId xmlns:a16="http://schemas.microsoft.com/office/drawing/2014/main" id="{CDC096E4-76E1-4C85-ADCF-0DD5D027A23E}"/>
                </a:ext>
              </a:extLst>
            </p:cNvPr>
            <p:cNvSpPr>
              <a:spLocks noChangeArrowheads="1"/>
            </p:cNvSpPr>
            <p:nvPr/>
          </p:nvSpPr>
          <p:spPr bwMode="auto">
            <a:xfrm>
              <a:off x="1389" y="1090"/>
              <a:ext cx="139" cy="4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85" name="Freeform 15">
              <a:extLst>
                <a:ext uri="{FF2B5EF4-FFF2-40B4-BE49-F238E27FC236}">
                  <a16:creationId xmlns:a16="http://schemas.microsoft.com/office/drawing/2014/main" id="{522D6B70-FBAA-40FB-AD48-B4089D9DFA0C}"/>
                </a:ext>
              </a:extLst>
            </p:cNvPr>
            <p:cNvSpPr>
              <a:spLocks/>
            </p:cNvSpPr>
            <p:nvPr/>
          </p:nvSpPr>
          <p:spPr bwMode="auto">
            <a:xfrm>
              <a:off x="788" y="835"/>
              <a:ext cx="740" cy="440"/>
            </a:xfrm>
            <a:custGeom>
              <a:avLst/>
              <a:gdLst>
                <a:gd name="T0" fmla="*/ 648 w 740"/>
                <a:gd name="T1" fmla="*/ 104 h 440"/>
                <a:gd name="T2" fmla="*/ 509 w 740"/>
                <a:gd name="T3" fmla="*/ 104 h 440"/>
                <a:gd name="T4" fmla="*/ 324 w 740"/>
                <a:gd name="T5" fmla="*/ 243 h 440"/>
                <a:gd name="T6" fmla="*/ 231 w 740"/>
                <a:gd name="T7" fmla="*/ 185 h 440"/>
                <a:gd name="T8" fmla="*/ 0 w 740"/>
                <a:gd name="T9" fmla="*/ 382 h 440"/>
                <a:gd name="T10" fmla="*/ 0 w 740"/>
                <a:gd name="T11" fmla="*/ 440 h 440"/>
                <a:gd name="T12" fmla="*/ 243 w 740"/>
                <a:gd name="T13" fmla="*/ 243 h 440"/>
                <a:gd name="T14" fmla="*/ 336 w 740"/>
                <a:gd name="T15" fmla="*/ 289 h 440"/>
                <a:gd name="T16" fmla="*/ 521 w 740"/>
                <a:gd name="T17" fmla="*/ 150 h 440"/>
                <a:gd name="T18" fmla="*/ 659 w 740"/>
                <a:gd name="T19" fmla="*/ 150 h 440"/>
                <a:gd name="T20" fmla="*/ 740 w 740"/>
                <a:gd name="T21" fmla="*/ 69 h 440"/>
                <a:gd name="T22" fmla="*/ 740 w 740"/>
                <a:gd name="T23" fmla="*/ 0 h 440"/>
                <a:gd name="T24" fmla="*/ 648 w 740"/>
                <a:gd name="T25" fmla="*/ 10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0" h="440">
                  <a:moveTo>
                    <a:pt x="648" y="104"/>
                  </a:moveTo>
                  <a:lnTo>
                    <a:pt x="509" y="104"/>
                  </a:lnTo>
                  <a:lnTo>
                    <a:pt x="324" y="243"/>
                  </a:lnTo>
                  <a:lnTo>
                    <a:pt x="231" y="185"/>
                  </a:lnTo>
                  <a:lnTo>
                    <a:pt x="0" y="382"/>
                  </a:lnTo>
                  <a:lnTo>
                    <a:pt x="0" y="440"/>
                  </a:lnTo>
                  <a:lnTo>
                    <a:pt x="243" y="243"/>
                  </a:lnTo>
                  <a:lnTo>
                    <a:pt x="336" y="289"/>
                  </a:lnTo>
                  <a:lnTo>
                    <a:pt x="521" y="150"/>
                  </a:lnTo>
                  <a:lnTo>
                    <a:pt x="659" y="150"/>
                  </a:lnTo>
                  <a:lnTo>
                    <a:pt x="740" y="69"/>
                  </a:lnTo>
                  <a:lnTo>
                    <a:pt x="740" y="0"/>
                  </a:lnTo>
                  <a:lnTo>
                    <a:pt x="648"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grpSp>
        <p:nvGrpSpPr>
          <p:cNvPr id="86" name="Groupe 85">
            <a:extLst>
              <a:ext uri="{FF2B5EF4-FFF2-40B4-BE49-F238E27FC236}">
                <a16:creationId xmlns:a16="http://schemas.microsoft.com/office/drawing/2014/main" id="{2BD8B1F2-7410-48B5-B044-CC3F2E45AA89}"/>
              </a:ext>
            </a:extLst>
          </p:cNvPr>
          <p:cNvGrpSpPr/>
          <p:nvPr/>
        </p:nvGrpSpPr>
        <p:grpSpPr>
          <a:xfrm>
            <a:off x="523163" y="5231671"/>
            <a:ext cx="325859" cy="276999"/>
            <a:chOff x="3287902" y="1242339"/>
            <a:chExt cx="325859" cy="276999"/>
          </a:xfrm>
        </p:grpSpPr>
        <p:sp>
          <p:nvSpPr>
            <p:cNvPr id="87" name="Ellipse 86">
              <a:extLst>
                <a:ext uri="{FF2B5EF4-FFF2-40B4-BE49-F238E27FC236}">
                  <a16:creationId xmlns:a16="http://schemas.microsoft.com/office/drawing/2014/main" id="{23277937-F653-41BA-B206-0963A35EA040}"/>
                </a:ext>
              </a:extLst>
            </p:cNvPr>
            <p:cNvSpPr/>
            <p:nvPr/>
          </p:nvSpPr>
          <p:spPr bwMode="auto">
            <a:xfrm>
              <a:off x="3333135" y="1264289"/>
              <a:ext cx="251317"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88" name="ZoneTexte 87">
              <a:extLst>
                <a:ext uri="{FF2B5EF4-FFF2-40B4-BE49-F238E27FC236}">
                  <a16:creationId xmlns:a16="http://schemas.microsoft.com/office/drawing/2014/main" id="{7480E918-FAA0-4AAB-B928-27C975F97CF5}"/>
                </a:ext>
              </a:extLst>
            </p:cNvPr>
            <p:cNvSpPr txBox="1"/>
            <p:nvPr/>
          </p:nvSpPr>
          <p:spPr>
            <a:xfrm>
              <a:off x="3287902" y="1242339"/>
              <a:ext cx="325859" cy="276999"/>
            </a:xfrm>
            <a:prstGeom prst="rect">
              <a:avLst/>
            </a:prstGeom>
            <a:noFill/>
          </p:spPr>
          <p:txBody>
            <a:bodyPr wrap="square" rtlCol="0">
              <a:spAutoFit/>
            </a:bodyPr>
            <a:lstStyle/>
            <a:p>
              <a:pPr algn="ctr"/>
              <a:r>
                <a:rPr lang="en-GB" sz="1200">
                  <a:solidFill>
                    <a:schemeClr val="bg1"/>
                  </a:solidFill>
                  <a:latin typeface="+mj-lt"/>
                </a:rPr>
                <a:t>4</a:t>
              </a:r>
            </a:p>
          </p:txBody>
        </p:sp>
      </p:grpSp>
      <p:sp>
        <p:nvSpPr>
          <p:cNvPr id="89" name="Freeform 5">
            <a:extLst>
              <a:ext uri="{FF2B5EF4-FFF2-40B4-BE49-F238E27FC236}">
                <a16:creationId xmlns:a16="http://schemas.microsoft.com/office/drawing/2014/main" id="{EAF4890B-9F48-46A7-AE20-3C86EC55542A}"/>
              </a:ext>
            </a:extLst>
          </p:cNvPr>
          <p:cNvSpPr>
            <a:spLocks/>
          </p:cNvSpPr>
          <p:nvPr/>
        </p:nvSpPr>
        <p:spPr bwMode="auto">
          <a:xfrm>
            <a:off x="7030637" y="5076597"/>
            <a:ext cx="204184" cy="189389"/>
          </a:xfrm>
          <a:custGeom>
            <a:avLst/>
            <a:gdLst>
              <a:gd name="T0" fmla="*/ 37 w 51"/>
              <a:gd name="T1" fmla="*/ 26 h 52"/>
              <a:gd name="T2" fmla="*/ 49 w 51"/>
              <a:gd name="T3" fmla="*/ 13 h 52"/>
              <a:gd name="T4" fmla="*/ 49 w 51"/>
              <a:gd name="T5" fmla="*/ 8 h 52"/>
              <a:gd name="T6" fmla="*/ 44 w 51"/>
              <a:gd name="T7" fmla="*/ 2 h 52"/>
              <a:gd name="T8" fmla="*/ 38 w 51"/>
              <a:gd name="T9" fmla="*/ 2 h 52"/>
              <a:gd name="T10" fmla="*/ 25 w 51"/>
              <a:gd name="T11" fmla="*/ 15 h 52"/>
              <a:gd name="T12" fmla="*/ 13 w 51"/>
              <a:gd name="T13" fmla="*/ 2 h 52"/>
              <a:gd name="T14" fmla="*/ 7 w 51"/>
              <a:gd name="T15" fmla="*/ 2 h 52"/>
              <a:gd name="T16" fmla="*/ 1 w 51"/>
              <a:gd name="T17" fmla="*/ 8 h 52"/>
              <a:gd name="T18" fmla="*/ 1 w 51"/>
              <a:gd name="T19" fmla="*/ 13 h 52"/>
              <a:gd name="T20" fmla="*/ 14 w 51"/>
              <a:gd name="T21" fmla="*/ 26 h 52"/>
              <a:gd name="T22" fmla="*/ 1 w 51"/>
              <a:gd name="T23" fmla="*/ 39 h 52"/>
              <a:gd name="T24" fmla="*/ 1 w 51"/>
              <a:gd name="T25" fmla="*/ 44 h 52"/>
              <a:gd name="T26" fmla="*/ 7 w 51"/>
              <a:gd name="T27" fmla="*/ 50 h 52"/>
              <a:gd name="T28" fmla="*/ 13 w 51"/>
              <a:gd name="T29" fmla="*/ 50 h 52"/>
              <a:gd name="T30" fmla="*/ 25 w 51"/>
              <a:gd name="T31" fmla="*/ 37 h 52"/>
              <a:gd name="T32" fmla="*/ 38 w 51"/>
              <a:gd name="T33" fmla="*/ 50 h 52"/>
              <a:gd name="T34" fmla="*/ 44 w 51"/>
              <a:gd name="T35" fmla="*/ 50 h 52"/>
              <a:gd name="T36" fmla="*/ 49 w 51"/>
              <a:gd name="T37" fmla="*/ 44 h 52"/>
              <a:gd name="T38" fmla="*/ 49 w 51"/>
              <a:gd name="T39" fmla="*/ 39 h 52"/>
              <a:gd name="T40" fmla="*/ 37 w 51"/>
              <a:gd name="T41"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52">
                <a:moveTo>
                  <a:pt x="37" y="26"/>
                </a:moveTo>
                <a:cubicBezTo>
                  <a:pt x="49" y="13"/>
                  <a:pt x="49" y="13"/>
                  <a:pt x="49" y="13"/>
                </a:cubicBezTo>
                <a:cubicBezTo>
                  <a:pt x="51" y="12"/>
                  <a:pt x="51" y="9"/>
                  <a:pt x="49" y="8"/>
                </a:cubicBezTo>
                <a:cubicBezTo>
                  <a:pt x="44" y="2"/>
                  <a:pt x="44" y="2"/>
                  <a:pt x="44" y="2"/>
                </a:cubicBezTo>
                <a:cubicBezTo>
                  <a:pt x="42" y="0"/>
                  <a:pt x="40" y="0"/>
                  <a:pt x="38" y="2"/>
                </a:cubicBezTo>
                <a:cubicBezTo>
                  <a:pt x="25" y="15"/>
                  <a:pt x="25" y="15"/>
                  <a:pt x="25" y="15"/>
                </a:cubicBezTo>
                <a:cubicBezTo>
                  <a:pt x="13" y="2"/>
                  <a:pt x="13" y="2"/>
                  <a:pt x="13" y="2"/>
                </a:cubicBezTo>
                <a:cubicBezTo>
                  <a:pt x="11" y="0"/>
                  <a:pt x="9" y="0"/>
                  <a:pt x="7" y="2"/>
                </a:cubicBezTo>
                <a:cubicBezTo>
                  <a:pt x="1" y="8"/>
                  <a:pt x="1" y="8"/>
                  <a:pt x="1" y="8"/>
                </a:cubicBezTo>
                <a:cubicBezTo>
                  <a:pt x="0" y="9"/>
                  <a:pt x="0" y="12"/>
                  <a:pt x="1" y="13"/>
                </a:cubicBezTo>
                <a:cubicBezTo>
                  <a:pt x="14" y="26"/>
                  <a:pt x="14" y="26"/>
                  <a:pt x="14" y="26"/>
                </a:cubicBezTo>
                <a:cubicBezTo>
                  <a:pt x="1" y="39"/>
                  <a:pt x="1" y="39"/>
                  <a:pt x="1" y="39"/>
                </a:cubicBezTo>
                <a:cubicBezTo>
                  <a:pt x="0" y="40"/>
                  <a:pt x="0" y="43"/>
                  <a:pt x="1" y="44"/>
                </a:cubicBezTo>
                <a:cubicBezTo>
                  <a:pt x="7" y="50"/>
                  <a:pt x="7" y="50"/>
                  <a:pt x="7" y="50"/>
                </a:cubicBezTo>
                <a:cubicBezTo>
                  <a:pt x="9" y="52"/>
                  <a:pt x="11" y="52"/>
                  <a:pt x="13" y="50"/>
                </a:cubicBezTo>
                <a:cubicBezTo>
                  <a:pt x="25" y="37"/>
                  <a:pt x="25" y="37"/>
                  <a:pt x="25" y="37"/>
                </a:cubicBezTo>
                <a:cubicBezTo>
                  <a:pt x="38" y="50"/>
                  <a:pt x="38" y="50"/>
                  <a:pt x="38" y="50"/>
                </a:cubicBezTo>
                <a:cubicBezTo>
                  <a:pt x="40" y="52"/>
                  <a:pt x="42" y="52"/>
                  <a:pt x="44" y="50"/>
                </a:cubicBezTo>
                <a:cubicBezTo>
                  <a:pt x="49" y="44"/>
                  <a:pt x="49" y="44"/>
                  <a:pt x="49" y="44"/>
                </a:cubicBezTo>
                <a:cubicBezTo>
                  <a:pt x="51" y="43"/>
                  <a:pt x="51" y="40"/>
                  <a:pt x="49" y="39"/>
                </a:cubicBezTo>
                <a:lnTo>
                  <a:pt x="37" y="2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ZoneTexte 89">
            <a:extLst>
              <a:ext uri="{FF2B5EF4-FFF2-40B4-BE49-F238E27FC236}">
                <a16:creationId xmlns:a16="http://schemas.microsoft.com/office/drawing/2014/main" id="{5F5954CE-42C9-412C-8FC5-6FF3AF7926B0}"/>
              </a:ext>
            </a:extLst>
          </p:cNvPr>
          <p:cNvSpPr txBox="1"/>
          <p:nvPr/>
        </p:nvSpPr>
        <p:spPr>
          <a:xfrm>
            <a:off x="7451593" y="6040262"/>
            <a:ext cx="1728350" cy="246221"/>
          </a:xfrm>
          <a:prstGeom prst="rect">
            <a:avLst/>
          </a:prstGeom>
          <a:noFill/>
        </p:spPr>
        <p:txBody>
          <a:bodyPr wrap="square" rtlCol="0">
            <a:spAutoFit/>
          </a:bodyPr>
          <a:lstStyle/>
          <a:p>
            <a:pPr algn="ctr"/>
            <a:r>
              <a:rPr lang="en-GB" sz="1000" i="1">
                <a:latin typeface="Trebuchet MS" panose="020B0603020202020204" pitchFamily="34" charset="0"/>
              </a:rPr>
              <a:t>Not included into BP</a:t>
            </a:r>
          </a:p>
        </p:txBody>
      </p:sp>
      <p:grpSp>
        <p:nvGrpSpPr>
          <p:cNvPr id="91" name="Group 23">
            <a:extLst>
              <a:ext uri="{FF2B5EF4-FFF2-40B4-BE49-F238E27FC236}">
                <a16:creationId xmlns:a16="http://schemas.microsoft.com/office/drawing/2014/main" id="{5AC5F68D-9507-4EA6-A383-68A4173056FE}"/>
              </a:ext>
            </a:extLst>
          </p:cNvPr>
          <p:cNvGrpSpPr>
            <a:grpSpLocks noChangeAspect="1"/>
          </p:cNvGrpSpPr>
          <p:nvPr/>
        </p:nvGrpSpPr>
        <p:grpSpPr bwMode="auto">
          <a:xfrm>
            <a:off x="2091850" y="4670815"/>
            <a:ext cx="179394" cy="200235"/>
            <a:chOff x="788" y="800"/>
            <a:chExt cx="740" cy="742"/>
          </a:xfrm>
          <a:solidFill>
            <a:schemeClr val="tx1"/>
          </a:solidFill>
        </p:grpSpPr>
        <p:sp>
          <p:nvSpPr>
            <p:cNvPr id="92" name="Freeform 24">
              <a:extLst>
                <a:ext uri="{FF2B5EF4-FFF2-40B4-BE49-F238E27FC236}">
                  <a16:creationId xmlns:a16="http://schemas.microsoft.com/office/drawing/2014/main" id="{83DEF5C7-7A1F-4D42-9071-D47F700E6817}"/>
                </a:ext>
              </a:extLst>
            </p:cNvPr>
            <p:cNvSpPr>
              <a:spLocks noEditPoints="1"/>
            </p:cNvSpPr>
            <p:nvPr/>
          </p:nvSpPr>
          <p:spPr bwMode="auto">
            <a:xfrm>
              <a:off x="788" y="1032"/>
              <a:ext cx="509" cy="510"/>
            </a:xfrm>
            <a:custGeom>
              <a:avLst/>
              <a:gdLst>
                <a:gd name="T0" fmla="*/ 42 w 44"/>
                <a:gd name="T1" fmla="*/ 18 h 44"/>
                <a:gd name="T2" fmla="*/ 36 w 44"/>
                <a:gd name="T3" fmla="*/ 18 h 44"/>
                <a:gd name="T4" fmla="*/ 34 w 44"/>
                <a:gd name="T5" fmla="*/ 14 h 44"/>
                <a:gd name="T6" fmla="*/ 38 w 44"/>
                <a:gd name="T7" fmla="*/ 10 h 44"/>
                <a:gd name="T8" fmla="*/ 38 w 44"/>
                <a:gd name="T9" fmla="*/ 7 h 44"/>
                <a:gd name="T10" fmla="*/ 37 w 44"/>
                <a:gd name="T11" fmla="*/ 5 h 44"/>
                <a:gd name="T12" fmla="*/ 33 w 44"/>
                <a:gd name="T13" fmla="*/ 5 h 44"/>
                <a:gd name="T14" fmla="*/ 29 w 44"/>
                <a:gd name="T15" fmla="*/ 9 h 44"/>
                <a:gd name="T16" fmla="*/ 25 w 44"/>
                <a:gd name="T17" fmla="*/ 8 h 44"/>
                <a:gd name="T18" fmla="*/ 25 w 44"/>
                <a:gd name="T19" fmla="*/ 3 h 44"/>
                <a:gd name="T20" fmla="*/ 23 w 44"/>
                <a:gd name="T21" fmla="*/ 0 h 44"/>
                <a:gd name="T22" fmla="*/ 21 w 44"/>
                <a:gd name="T23" fmla="*/ 0 h 44"/>
                <a:gd name="T24" fmla="*/ 18 w 44"/>
                <a:gd name="T25" fmla="*/ 3 h 44"/>
                <a:gd name="T26" fmla="*/ 18 w 44"/>
                <a:gd name="T27" fmla="*/ 8 h 44"/>
                <a:gd name="T28" fmla="*/ 14 w 44"/>
                <a:gd name="T29" fmla="*/ 10 h 44"/>
                <a:gd name="T30" fmla="*/ 11 w 44"/>
                <a:gd name="T31" fmla="*/ 6 h 44"/>
                <a:gd name="T32" fmla="*/ 7 w 44"/>
                <a:gd name="T33" fmla="*/ 6 h 44"/>
                <a:gd name="T34" fmla="*/ 6 w 44"/>
                <a:gd name="T35" fmla="*/ 8 h 44"/>
                <a:gd name="T36" fmla="*/ 6 w 44"/>
                <a:gd name="T37" fmla="*/ 11 h 44"/>
                <a:gd name="T38" fmla="*/ 9 w 44"/>
                <a:gd name="T39" fmla="*/ 15 h 44"/>
                <a:gd name="T40" fmla="*/ 7 w 44"/>
                <a:gd name="T41" fmla="*/ 19 h 44"/>
                <a:gd name="T42" fmla="*/ 3 w 44"/>
                <a:gd name="T43" fmla="*/ 19 h 44"/>
                <a:gd name="T44" fmla="*/ 0 w 44"/>
                <a:gd name="T45" fmla="*/ 21 h 44"/>
                <a:gd name="T46" fmla="*/ 0 w 44"/>
                <a:gd name="T47" fmla="*/ 24 h 44"/>
                <a:gd name="T48" fmla="*/ 3 w 44"/>
                <a:gd name="T49" fmla="*/ 26 h 44"/>
                <a:gd name="T50" fmla="*/ 8 w 44"/>
                <a:gd name="T51" fmla="*/ 26 h 44"/>
                <a:gd name="T52" fmla="*/ 10 w 44"/>
                <a:gd name="T53" fmla="*/ 30 h 44"/>
                <a:gd name="T54" fmla="*/ 6 w 44"/>
                <a:gd name="T55" fmla="*/ 34 h 44"/>
                <a:gd name="T56" fmla="*/ 6 w 44"/>
                <a:gd name="T57" fmla="*/ 37 h 44"/>
                <a:gd name="T58" fmla="*/ 8 w 44"/>
                <a:gd name="T59" fmla="*/ 39 h 44"/>
                <a:gd name="T60" fmla="*/ 12 w 44"/>
                <a:gd name="T61" fmla="*/ 39 h 44"/>
                <a:gd name="T62" fmla="*/ 15 w 44"/>
                <a:gd name="T63" fmla="*/ 35 h 44"/>
                <a:gd name="T64" fmla="*/ 19 w 44"/>
                <a:gd name="T65" fmla="*/ 37 h 44"/>
                <a:gd name="T66" fmla="*/ 19 w 44"/>
                <a:gd name="T67" fmla="*/ 42 h 44"/>
                <a:gd name="T68" fmla="*/ 22 w 44"/>
                <a:gd name="T69" fmla="*/ 44 h 44"/>
                <a:gd name="T70" fmla="*/ 24 w 44"/>
                <a:gd name="T71" fmla="*/ 44 h 44"/>
                <a:gd name="T72" fmla="*/ 27 w 44"/>
                <a:gd name="T73" fmla="*/ 42 h 44"/>
                <a:gd name="T74" fmla="*/ 27 w 44"/>
                <a:gd name="T75" fmla="*/ 36 h 44"/>
                <a:gd name="T76" fmla="*/ 30 w 44"/>
                <a:gd name="T77" fmla="*/ 34 h 44"/>
                <a:gd name="T78" fmla="*/ 34 w 44"/>
                <a:gd name="T79" fmla="*/ 38 h 44"/>
                <a:gd name="T80" fmla="*/ 38 w 44"/>
                <a:gd name="T81" fmla="*/ 38 h 44"/>
                <a:gd name="T82" fmla="*/ 39 w 44"/>
                <a:gd name="T83" fmla="*/ 36 h 44"/>
                <a:gd name="T84" fmla="*/ 39 w 44"/>
                <a:gd name="T85" fmla="*/ 33 h 44"/>
                <a:gd name="T86" fmla="*/ 35 w 44"/>
                <a:gd name="T87" fmla="*/ 29 h 44"/>
                <a:gd name="T88" fmla="*/ 36 w 44"/>
                <a:gd name="T89" fmla="*/ 25 h 44"/>
                <a:gd name="T90" fmla="*/ 42 w 44"/>
                <a:gd name="T91" fmla="*/ 25 h 44"/>
                <a:gd name="T92" fmla="*/ 44 w 44"/>
                <a:gd name="T93" fmla="*/ 23 h 44"/>
                <a:gd name="T94" fmla="*/ 44 w 44"/>
                <a:gd name="T95" fmla="*/ 20 h 44"/>
                <a:gd name="T96" fmla="*/ 42 w 44"/>
                <a:gd name="T97" fmla="*/ 18 h 44"/>
                <a:gd name="T98" fmla="*/ 22 w 44"/>
                <a:gd name="T99" fmla="*/ 28 h 44"/>
                <a:gd name="T100" fmla="*/ 16 w 44"/>
                <a:gd name="T101" fmla="*/ 22 h 44"/>
                <a:gd name="T102" fmla="*/ 22 w 44"/>
                <a:gd name="T103" fmla="*/ 16 h 44"/>
                <a:gd name="T104" fmla="*/ 28 w 44"/>
                <a:gd name="T105" fmla="*/ 22 h 44"/>
                <a:gd name="T106" fmla="*/ 22 w 44"/>
                <a:gd name="T107" fmla="*/ 2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44">
                  <a:moveTo>
                    <a:pt x="42" y="18"/>
                  </a:moveTo>
                  <a:cubicBezTo>
                    <a:pt x="36" y="18"/>
                    <a:pt x="36" y="18"/>
                    <a:pt x="36" y="18"/>
                  </a:cubicBezTo>
                  <a:cubicBezTo>
                    <a:pt x="35" y="17"/>
                    <a:pt x="35" y="16"/>
                    <a:pt x="34" y="14"/>
                  </a:cubicBezTo>
                  <a:cubicBezTo>
                    <a:pt x="38" y="10"/>
                    <a:pt x="38" y="10"/>
                    <a:pt x="38" y="10"/>
                  </a:cubicBezTo>
                  <a:cubicBezTo>
                    <a:pt x="39" y="9"/>
                    <a:pt x="39" y="8"/>
                    <a:pt x="38" y="7"/>
                  </a:cubicBezTo>
                  <a:cubicBezTo>
                    <a:pt x="37" y="5"/>
                    <a:pt x="37" y="5"/>
                    <a:pt x="37" y="5"/>
                  </a:cubicBezTo>
                  <a:cubicBezTo>
                    <a:pt x="36" y="4"/>
                    <a:pt x="34" y="4"/>
                    <a:pt x="33" y="5"/>
                  </a:cubicBezTo>
                  <a:cubicBezTo>
                    <a:pt x="29" y="9"/>
                    <a:pt x="29" y="9"/>
                    <a:pt x="29" y="9"/>
                  </a:cubicBezTo>
                  <a:cubicBezTo>
                    <a:pt x="28" y="9"/>
                    <a:pt x="27" y="8"/>
                    <a:pt x="25" y="8"/>
                  </a:cubicBezTo>
                  <a:cubicBezTo>
                    <a:pt x="25" y="3"/>
                    <a:pt x="25" y="3"/>
                    <a:pt x="25" y="3"/>
                  </a:cubicBezTo>
                  <a:cubicBezTo>
                    <a:pt x="25" y="1"/>
                    <a:pt x="24" y="0"/>
                    <a:pt x="23" y="0"/>
                  </a:cubicBezTo>
                  <a:cubicBezTo>
                    <a:pt x="21" y="0"/>
                    <a:pt x="21" y="0"/>
                    <a:pt x="21" y="0"/>
                  </a:cubicBezTo>
                  <a:cubicBezTo>
                    <a:pt x="19" y="0"/>
                    <a:pt x="18" y="1"/>
                    <a:pt x="18" y="3"/>
                  </a:cubicBezTo>
                  <a:cubicBezTo>
                    <a:pt x="18" y="8"/>
                    <a:pt x="18" y="8"/>
                    <a:pt x="18" y="8"/>
                  </a:cubicBezTo>
                  <a:cubicBezTo>
                    <a:pt x="17" y="8"/>
                    <a:pt x="15" y="9"/>
                    <a:pt x="14" y="10"/>
                  </a:cubicBezTo>
                  <a:cubicBezTo>
                    <a:pt x="11" y="6"/>
                    <a:pt x="11" y="6"/>
                    <a:pt x="11" y="6"/>
                  </a:cubicBezTo>
                  <a:cubicBezTo>
                    <a:pt x="10" y="5"/>
                    <a:pt x="8" y="5"/>
                    <a:pt x="7" y="6"/>
                  </a:cubicBezTo>
                  <a:cubicBezTo>
                    <a:pt x="6" y="8"/>
                    <a:pt x="6" y="8"/>
                    <a:pt x="6" y="8"/>
                  </a:cubicBezTo>
                  <a:cubicBezTo>
                    <a:pt x="5" y="9"/>
                    <a:pt x="5" y="10"/>
                    <a:pt x="6" y="11"/>
                  </a:cubicBezTo>
                  <a:cubicBezTo>
                    <a:pt x="9" y="15"/>
                    <a:pt x="9" y="15"/>
                    <a:pt x="9" y="15"/>
                  </a:cubicBezTo>
                  <a:cubicBezTo>
                    <a:pt x="8" y="16"/>
                    <a:pt x="8" y="18"/>
                    <a:pt x="7" y="19"/>
                  </a:cubicBezTo>
                  <a:cubicBezTo>
                    <a:pt x="3" y="19"/>
                    <a:pt x="3" y="19"/>
                    <a:pt x="3" y="19"/>
                  </a:cubicBezTo>
                  <a:cubicBezTo>
                    <a:pt x="2" y="19"/>
                    <a:pt x="0" y="20"/>
                    <a:pt x="0" y="21"/>
                  </a:cubicBezTo>
                  <a:cubicBezTo>
                    <a:pt x="0" y="24"/>
                    <a:pt x="0" y="24"/>
                    <a:pt x="0" y="24"/>
                  </a:cubicBezTo>
                  <a:cubicBezTo>
                    <a:pt x="0" y="25"/>
                    <a:pt x="2" y="26"/>
                    <a:pt x="3" y="26"/>
                  </a:cubicBezTo>
                  <a:cubicBezTo>
                    <a:pt x="8" y="26"/>
                    <a:pt x="8" y="26"/>
                    <a:pt x="8" y="26"/>
                  </a:cubicBezTo>
                  <a:cubicBezTo>
                    <a:pt x="8" y="28"/>
                    <a:pt x="9" y="29"/>
                    <a:pt x="10" y="30"/>
                  </a:cubicBezTo>
                  <a:cubicBezTo>
                    <a:pt x="6" y="34"/>
                    <a:pt x="6" y="34"/>
                    <a:pt x="6" y="34"/>
                  </a:cubicBezTo>
                  <a:cubicBezTo>
                    <a:pt x="5" y="35"/>
                    <a:pt x="5" y="36"/>
                    <a:pt x="6" y="37"/>
                  </a:cubicBezTo>
                  <a:cubicBezTo>
                    <a:pt x="8" y="39"/>
                    <a:pt x="8" y="39"/>
                    <a:pt x="8" y="39"/>
                  </a:cubicBezTo>
                  <a:cubicBezTo>
                    <a:pt x="9" y="40"/>
                    <a:pt x="11" y="40"/>
                    <a:pt x="12" y="39"/>
                  </a:cubicBezTo>
                  <a:cubicBezTo>
                    <a:pt x="15" y="35"/>
                    <a:pt x="15" y="35"/>
                    <a:pt x="15" y="35"/>
                  </a:cubicBezTo>
                  <a:cubicBezTo>
                    <a:pt x="17" y="36"/>
                    <a:pt x="18" y="36"/>
                    <a:pt x="19" y="37"/>
                  </a:cubicBezTo>
                  <a:cubicBezTo>
                    <a:pt x="19" y="42"/>
                    <a:pt x="19" y="42"/>
                    <a:pt x="19" y="42"/>
                  </a:cubicBezTo>
                  <a:cubicBezTo>
                    <a:pt x="19" y="43"/>
                    <a:pt x="20" y="44"/>
                    <a:pt x="22" y="44"/>
                  </a:cubicBezTo>
                  <a:cubicBezTo>
                    <a:pt x="24" y="44"/>
                    <a:pt x="24" y="44"/>
                    <a:pt x="24" y="44"/>
                  </a:cubicBezTo>
                  <a:cubicBezTo>
                    <a:pt x="26" y="44"/>
                    <a:pt x="27" y="43"/>
                    <a:pt x="27" y="42"/>
                  </a:cubicBezTo>
                  <a:cubicBezTo>
                    <a:pt x="27" y="36"/>
                    <a:pt x="27" y="36"/>
                    <a:pt x="27" y="36"/>
                  </a:cubicBezTo>
                  <a:cubicBezTo>
                    <a:pt x="28" y="35"/>
                    <a:pt x="29" y="35"/>
                    <a:pt x="30" y="34"/>
                  </a:cubicBezTo>
                  <a:cubicBezTo>
                    <a:pt x="34" y="38"/>
                    <a:pt x="34" y="38"/>
                    <a:pt x="34" y="38"/>
                  </a:cubicBezTo>
                  <a:cubicBezTo>
                    <a:pt x="35" y="39"/>
                    <a:pt x="37" y="39"/>
                    <a:pt x="38" y="38"/>
                  </a:cubicBezTo>
                  <a:cubicBezTo>
                    <a:pt x="39" y="36"/>
                    <a:pt x="39" y="36"/>
                    <a:pt x="39" y="36"/>
                  </a:cubicBezTo>
                  <a:cubicBezTo>
                    <a:pt x="40" y="35"/>
                    <a:pt x="40" y="34"/>
                    <a:pt x="39" y="33"/>
                  </a:cubicBezTo>
                  <a:cubicBezTo>
                    <a:pt x="35" y="29"/>
                    <a:pt x="35" y="29"/>
                    <a:pt x="35" y="29"/>
                  </a:cubicBezTo>
                  <a:cubicBezTo>
                    <a:pt x="35" y="27"/>
                    <a:pt x="36" y="26"/>
                    <a:pt x="36" y="25"/>
                  </a:cubicBezTo>
                  <a:cubicBezTo>
                    <a:pt x="42" y="25"/>
                    <a:pt x="42" y="25"/>
                    <a:pt x="42" y="25"/>
                  </a:cubicBezTo>
                  <a:cubicBezTo>
                    <a:pt x="43" y="25"/>
                    <a:pt x="44" y="24"/>
                    <a:pt x="44" y="23"/>
                  </a:cubicBezTo>
                  <a:cubicBezTo>
                    <a:pt x="44" y="20"/>
                    <a:pt x="44" y="20"/>
                    <a:pt x="44" y="20"/>
                  </a:cubicBezTo>
                  <a:cubicBezTo>
                    <a:pt x="44" y="19"/>
                    <a:pt x="43" y="18"/>
                    <a:pt x="42" y="18"/>
                  </a:cubicBezTo>
                  <a:close/>
                  <a:moveTo>
                    <a:pt x="22" y="28"/>
                  </a:moveTo>
                  <a:cubicBezTo>
                    <a:pt x="18" y="28"/>
                    <a:pt x="16" y="25"/>
                    <a:pt x="16" y="22"/>
                  </a:cubicBezTo>
                  <a:cubicBezTo>
                    <a:pt x="16" y="19"/>
                    <a:pt x="18" y="16"/>
                    <a:pt x="22" y="16"/>
                  </a:cubicBezTo>
                  <a:cubicBezTo>
                    <a:pt x="25" y="16"/>
                    <a:pt x="28" y="19"/>
                    <a:pt x="28" y="22"/>
                  </a:cubicBezTo>
                  <a:cubicBezTo>
                    <a:pt x="28" y="25"/>
                    <a:pt x="25" y="28"/>
                    <a:pt x="2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93" name="Freeform 25">
              <a:extLst>
                <a:ext uri="{FF2B5EF4-FFF2-40B4-BE49-F238E27FC236}">
                  <a16:creationId xmlns:a16="http://schemas.microsoft.com/office/drawing/2014/main" id="{103D3636-64CF-477A-BB08-4D32357119B0}"/>
                </a:ext>
              </a:extLst>
            </p:cNvPr>
            <p:cNvSpPr>
              <a:spLocks noEditPoints="1"/>
            </p:cNvSpPr>
            <p:nvPr/>
          </p:nvSpPr>
          <p:spPr bwMode="auto">
            <a:xfrm>
              <a:off x="1204" y="800"/>
              <a:ext cx="324" cy="324"/>
            </a:xfrm>
            <a:custGeom>
              <a:avLst/>
              <a:gdLst>
                <a:gd name="T0" fmla="*/ 27 w 28"/>
                <a:gd name="T1" fmla="*/ 11 h 28"/>
                <a:gd name="T2" fmla="*/ 23 w 28"/>
                <a:gd name="T3" fmla="*/ 11 h 28"/>
                <a:gd name="T4" fmla="*/ 22 w 28"/>
                <a:gd name="T5" fmla="*/ 9 h 28"/>
                <a:gd name="T6" fmla="*/ 25 w 28"/>
                <a:gd name="T7" fmla="*/ 7 h 28"/>
                <a:gd name="T8" fmla="*/ 25 w 28"/>
                <a:gd name="T9" fmla="*/ 4 h 28"/>
                <a:gd name="T10" fmla="*/ 24 w 28"/>
                <a:gd name="T11" fmla="*/ 3 h 28"/>
                <a:gd name="T12" fmla="*/ 21 w 28"/>
                <a:gd name="T13" fmla="*/ 3 h 28"/>
                <a:gd name="T14" fmla="*/ 19 w 28"/>
                <a:gd name="T15" fmla="*/ 6 h 28"/>
                <a:gd name="T16" fmla="*/ 16 w 28"/>
                <a:gd name="T17" fmla="*/ 5 h 28"/>
                <a:gd name="T18" fmla="*/ 16 w 28"/>
                <a:gd name="T19" fmla="*/ 2 h 28"/>
                <a:gd name="T20" fmla="*/ 15 w 28"/>
                <a:gd name="T21" fmla="*/ 0 h 28"/>
                <a:gd name="T22" fmla="*/ 13 w 28"/>
                <a:gd name="T23" fmla="*/ 0 h 28"/>
                <a:gd name="T24" fmla="*/ 12 w 28"/>
                <a:gd name="T25" fmla="*/ 2 h 28"/>
                <a:gd name="T26" fmla="*/ 12 w 28"/>
                <a:gd name="T27" fmla="*/ 5 h 28"/>
                <a:gd name="T28" fmla="*/ 9 w 28"/>
                <a:gd name="T29" fmla="*/ 6 h 28"/>
                <a:gd name="T30" fmla="*/ 7 w 28"/>
                <a:gd name="T31" fmla="*/ 4 h 28"/>
                <a:gd name="T32" fmla="*/ 5 w 28"/>
                <a:gd name="T33" fmla="*/ 4 h 28"/>
                <a:gd name="T34" fmla="*/ 4 w 28"/>
                <a:gd name="T35" fmla="*/ 5 h 28"/>
                <a:gd name="T36" fmla="*/ 4 w 28"/>
                <a:gd name="T37" fmla="*/ 7 h 28"/>
                <a:gd name="T38" fmla="*/ 6 w 28"/>
                <a:gd name="T39" fmla="*/ 9 h 28"/>
                <a:gd name="T40" fmla="*/ 5 w 28"/>
                <a:gd name="T41" fmla="*/ 12 h 28"/>
                <a:gd name="T42" fmla="*/ 2 w 28"/>
                <a:gd name="T43" fmla="*/ 12 h 28"/>
                <a:gd name="T44" fmla="*/ 0 w 28"/>
                <a:gd name="T45" fmla="*/ 14 h 28"/>
                <a:gd name="T46" fmla="*/ 0 w 28"/>
                <a:gd name="T47" fmla="*/ 15 h 28"/>
                <a:gd name="T48" fmla="*/ 2 w 28"/>
                <a:gd name="T49" fmla="*/ 17 h 28"/>
                <a:gd name="T50" fmla="*/ 5 w 28"/>
                <a:gd name="T51" fmla="*/ 17 h 28"/>
                <a:gd name="T52" fmla="*/ 6 w 28"/>
                <a:gd name="T53" fmla="*/ 19 h 28"/>
                <a:gd name="T54" fmla="*/ 4 w 28"/>
                <a:gd name="T55" fmla="*/ 21 h 28"/>
                <a:gd name="T56" fmla="*/ 4 w 28"/>
                <a:gd name="T57" fmla="*/ 24 h 28"/>
                <a:gd name="T58" fmla="*/ 5 w 28"/>
                <a:gd name="T59" fmla="*/ 25 h 28"/>
                <a:gd name="T60" fmla="*/ 8 w 28"/>
                <a:gd name="T61" fmla="*/ 25 h 28"/>
                <a:gd name="T62" fmla="*/ 10 w 28"/>
                <a:gd name="T63" fmla="*/ 22 h 28"/>
                <a:gd name="T64" fmla="*/ 12 w 28"/>
                <a:gd name="T65" fmla="*/ 23 h 28"/>
                <a:gd name="T66" fmla="*/ 12 w 28"/>
                <a:gd name="T67" fmla="*/ 27 h 28"/>
                <a:gd name="T68" fmla="*/ 14 w 28"/>
                <a:gd name="T69" fmla="*/ 28 h 28"/>
                <a:gd name="T70" fmla="*/ 16 w 28"/>
                <a:gd name="T71" fmla="*/ 28 h 28"/>
                <a:gd name="T72" fmla="*/ 17 w 28"/>
                <a:gd name="T73" fmla="*/ 27 h 28"/>
                <a:gd name="T74" fmla="*/ 17 w 28"/>
                <a:gd name="T75" fmla="*/ 23 h 28"/>
                <a:gd name="T76" fmla="*/ 19 w 28"/>
                <a:gd name="T77" fmla="*/ 22 h 28"/>
                <a:gd name="T78" fmla="*/ 22 w 28"/>
                <a:gd name="T79" fmla="*/ 24 h 28"/>
                <a:gd name="T80" fmla="*/ 24 w 28"/>
                <a:gd name="T81" fmla="*/ 24 h 28"/>
                <a:gd name="T82" fmla="*/ 25 w 28"/>
                <a:gd name="T83" fmla="*/ 23 h 28"/>
                <a:gd name="T84" fmla="*/ 25 w 28"/>
                <a:gd name="T85" fmla="*/ 21 h 28"/>
                <a:gd name="T86" fmla="*/ 22 w 28"/>
                <a:gd name="T87" fmla="*/ 18 h 28"/>
                <a:gd name="T88" fmla="*/ 23 w 28"/>
                <a:gd name="T89" fmla="*/ 16 h 28"/>
                <a:gd name="T90" fmla="*/ 27 w 28"/>
                <a:gd name="T91" fmla="*/ 16 h 28"/>
                <a:gd name="T92" fmla="*/ 28 w 28"/>
                <a:gd name="T93" fmla="*/ 14 h 28"/>
                <a:gd name="T94" fmla="*/ 28 w 28"/>
                <a:gd name="T95" fmla="*/ 13 h 28"/>
                <a:gd name="T96" fmla="*/ 27 w 28"/>
                <a:gd name="T97" fmla="*/ 11 h 28"/>
                <a:gd name="T98" fmla="*/ 14 w 28"/>
                <a:gd name="T99" fmla="*/ 18 h 28"/>
                <a:gd name="T100" fmla="*/ 10 w 28"/>
                <a:gd name="T101" fmla="*/ 14 h 28"/>
                <a:gd name="T102" fmla="*/ 14 w 28"/>
                <a:gd name="T103" fmla="*/ 10 h 28"/>
                <a:gd name="T104" fmla="*/ 18 w 28"/>
                <a:gd name="T105" fmla="*/ 14 h 28"/>
                <a:gd name="T106" fmla="*/ 14 w 28"/>
                <a:gd name="T10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 h="28">
                  <a:moveTo>
                    <a:pt x="27" y="11"/>
                  </a:moveTo>
                  <a:cubicBezTo>
                    <a:pt x="23" y="11"/>
                    <a:pt x="23" y="11"/>
                    <a:pt x="23" y="11"/>
                  </a:cubicBezTo>
                  <a:cubicBezTo>
                    <a:pt x="23" y="11"/>
                    <a:pt x="22" y="10"/>
                    <a:pt x="22" y="9"/>
                  </a:cubicBezTo>
                  <a:cubicBezTo>
                    <a:pt x="25" y="7"/>
                    <a:pt x="25" y="7"/>
                    <a:pt x="25" y="7"/>
                  </a:cubicBezTo>
                  <a:cubicBezTo>
                    <a:pt x="25" y="6"/>
                    <a:pt x="25" y="5"/>
                    <a:pt x="25" y="4"/>
                  </a:cubicBezTo>
                  <a:cubicBezTo>
                    <a:pt x="24" y="3"/>
                    <a:pt x="24" y="3"/>
                    <a:pt x="24" y="3"/>
                  </a:cubicBezTo>
                  <a:cubicBezTo>
                    <a:pt x="23" y="3"/>
                    <a:pt x="22" y="3"/>
                    <a:pt x="21" y="3"/>
                  </a:cubicBezTo>
                  <a:cubicBezTo>
                    <a:pt x="19" y="6"/>
                    <a:pt x="19" y="6"/>
                    <a:pt x="19" y="6"/>
                  </a:cubicBezTo>
                  <a:cubicBezTo>
                    <a:pt x="18" y="6"/>
                    <a:pt x="17" y="5"/>
                    <a:pt x="16" y="5"/>
                  </a:cubicBezTo>
                  <a:cubicBezTo>
                    <a:pt x="16" y="2"/>
                    <a:pt x="16" y="2"/>
                    <a:pt x="16" y="2"/>
                  </a:cubicBezTo>
                  <a:cubicBezTo>
                    <a:pt x="16" y="1"/>
                    <a:pt x="16" y="0"/>
                    <a:pt x="15" y="0"/>
                  </a:cubicBezTo>
                  <a:cubicBezTo>
                    <a:pt x="13" y="0"/>
                    <a:pt x="13" y="0"/>
                    <a:pt x="13" y="0"/>
                  </a:cubicBezTo>
                  <a:cubicBezTo>
                    <a:pt x="12" y="0"/>
                    <a:pt x="12" y="1"/>
                    <a:pt x="12" y="2"/>
                  </a:cubicBezTo>
                  <a:cubicBezTo>
                    <a:pt x="12" y="5"/>
                    <a:pt x="12" y="5"/>
                    <a:pt x="12" y="5"/>
                  </a:cubicBezTo>
                  <a:cubicBezTo>
                    <a:pt x="11" y="5"/>
                    <a:pt x="10" y="6"/>
                    <a:pt x="9" y="6"/>
                  </a:cubicBezTo>
                  <a:cubicBezTo>
                    <a:pt x="7" y="4"/>
                    <a:pt x="7" y="4"/>
                    <a:pt x="7" y="4"/>
                  </a:cubicBezTo>
                  <a:cubicBezTo>
                    <a:pt x="6" y="3"/>
                    <a:pt x="5" y="3"/>
                    <a:pt x="5" y="4"/>
                  </a:cubicBezTo>
                  <a:cubicBezTo>
                    <a:pt x="4" y="5"/>
                    <a:pt x="4" y="5"/>
                    <a:pt x="4" y="5"/>
                  </a:cubicBezTo>
                  <a:cubicBezTo>
                    <a:pt x="3" y="6"/>
                    <a:pt x="3" y="7"/>
                    <a:pt x="4" y="7"/>
                  </a:cubicBezTo>
                  <a:cubicBezTo>
                    <a:pt x="6" y="9"/>
                    <a:pt x="6" y="9"/>
                    <a:pt x="6" y="9"/>
                  </a:cubicBezTo>
                  <a:cubicBezTo>
                    <a:pt x="5" y="10"/>
                    <a:pt x="5" y="11"/>
                    <a:pt x="5" y="12"/>
                  </a:cubicBezTo>
                  <a:cubicBezTo>
                    <a:pt x="2" y="12"/>
                    <a:pt x="2" y="12"/>
                    <a:pt x="2" y="12"/>
                  </a:cubicBezTo>
                  <a:cubicBezTo>
                    <a:pt x="1" y="12"/>
                    <a:pt x="0" y="13"/>
                    <a:pt x="0" y="14"/>
                  </a:cubicBezTo>
                  <a:cubicBezTo>
                    <a:pt x="0" y="15"/>
                    <a:pt x="0" y="15"/>
                    <a:pt x="0" y="15"/>
                  </a:cubicBezTo>
                  <a:cubicBezTo>
                    <a:pt x="0" y="16"/>
                    <a:pt x="1" y="17"/>
                    <a:pt x="2" y="17"/>
                  </a:cubicBezTo>
                  <a:cubicBezTo>
                    <a:pt x="5" y="17"/>
                    <a:pt x="5" y="17"/>
                    <a:pt x="5" y="17"/>
                  </a:cubicBezTo>
                  <a:cubicBezTo>
                    <a:pt x="5" y="18"/>
                    <a:pt x="6" y="19"/>
                    <a:pt x="6" y="19"/>
                  </a:cubicBezTo>
                  <a:cubicBezTo>
                    <a:pt x="4" y="21"/>
                    <a:pt x="4" y="21"/>
                    <a:pt x="4" y="21"/>
                  </a:cubicBezTo>
                  <a:cubicBezTo>
                    <a:pt x="4" y="22"/>
                    <a:pt x="4" y="23"/>
                    <a:pt x="4" y="24"/>
                  </a:cubicBezTo>
                  <a:cubicBezTo>
                    <a:pt x="5" y="25"/>
                    <a:pt x="5" y="25"/>
                    <a:pt x="5" y="25"/>
                  </a:cubicBezTo>
                  <a:cubicBezTo>
                    <a:pt x="6" y="25"/>
                    <a:pt x="7" y="25"/>
                    <a:pt x="8" y="25"/>
                  </a:cubicBezTo>
                  <a:cubicBezTo>
                    <a:pt x="10" y="22"/>
                    <a:pt x="10" y="22"/>
                    <a:pt x="10" y="22"/>
                  </a:cubicBezTo>
                  <a:cubicBezTo>
                    <a:pt x="11" y="23"/>
                    <a:pt x="12" y="23"/>
                    <a:pt x="12" y="23"/>
                  </a:cubicBezTo>
                  <a:cubicBezTo>
                    <a:pt x="12" y="27"/>
                    <a:pt x="12" y="27"/>
                    <a:pt x="12" y="27"/>
                  </a:cubicBezTo>
                  <a:cubicBezTo>
                    <a:pt x="12" y="27"/>
                    <a:pt x="13" y="28"/>
                    <a:pt x="14" y="28"/>
                  </a:cubicBezTo>
                  <a:cubicBezTo>
                    <a:pt x="16" y="28"/>
                    <a:pt x="16" y="28"/>
                    <a:pt x="16" y="28"/>
                  </a:cubicBezTo>
                  <a:cubicBezTo>
                    <a:pt x="16" y="28"/>
                    <a:pt x="17" y="27"/>
                    <a:pt x="17" y="27"/>
                  </a:cubicBezTo>
                  <a:cubicBezTo>
                    <a:pt x="17" y="23"/>
                    <a:pt x="17" y="23"/>
                    <a:pt x="17" y="23"/>
                  </a:cubicBezTo>
                  <a:cubicBezTo>
                    <a:pt x="18" y="23"/>
                    <a:pt x="19" y="22"/>
                    <a:pt x="19" y="22"/>
                  </a:cubicBezTo>
                  <a:cubicBezTo>
                    <a:pt x="22" y="24"/>
                    <a:pt x="22" y="24"/>
                    <a:pt x="22" y="24"/>
                  </a:cubicBezTo>
                  <a:cubicBezTo>
                    <a:pt x="22" y="25"/>
                    <a:pt x="23" y="25"/>
                    <a:pt x="24" y="24"/>
                  </a:cubicBezTo>
                  <a:cubicBezTo>
                    <a:pt x="25" y="23"/>
                    <a:pt x="25" y="23"/>
                    <a:pt x="25" y="23"/>
                  </a:cubicBezTo>
                  <a:cubicBezTo>
                    <a:pt x="26" y="23"/>
                    <a:pt x="26" y="22"/>
                    <a:pt x="25" y="21"/>
                  </a:cubicBezTo>
                  <a:cubicBezTo>
                    <a:pt x="22" y="18"/>
                    <a:pt x="22" y="18"/>
                    <a:pt x="22" y="18"/>
                  </a:cubicBezTo>
                  <a:cubicBezTo>
                    <a:pt x="23" y="18"/>
                    <a:pt x="23" y="17"/>
                    <a:pt x="23" y="16"/>
                  </a:cubicBezTo>
                  <a:cubicBezTo>
                    <a:pt x="27" y="16"/>
                    <a:pt x="27" y="16"/>
                    <a:pt x="27" y="16"/>
                  </a:cubicBezTo>
                  <a:cubicBezTo>
                    <a:pt x="28" y="16"/>
                    <a:pt x="28" y="15"/>
                    <a:pt x="28" y="14"/>
                  </a:cubicBezTo>
                  <a:cubicBezTo>
                    <a:pt x="28" y="13"/>
                    <a:pt x="28" y="13"/>
                    <a:pt x="28" y="13"/>
                  </a:cubicBezTo>
                  <a:cubicBezTo>
                    <a:pt x="28" y="12"/>
                    <a:pt x="28" y="11"/>
                    <a:pt x="27" y="11"/>
                  </a:cubicBezTo>
                  <a:close/>
                  <a:moveTo>
                    <a:pt x="14" y="18"/>
                  </a:moveTo>
                  <a:cubicBezTo>
                    <a:pt x="12" y="18"/>
                    <a:pt x="10" y="16"/>
                    <a:pt x="10" y="14"/>
                  </a:cubicBezTo>
                  <a:cubicBezTo>
                    <a:pt x="10" y="12"/>
                    <a:pt x="12" y="10"/>
                    <a:pt x="14" y="10"/>
                  </a:cubicBezTo>
                  <a:cubicBezTo>
                    <a:pt x="16" y="10"/>
                    <a:pt x="18" y="12"/>
                    <a:pt x="18" y="14"/>
                  </a:cubicBezTo>
                  <a:cubicBezTo>
                    <a:pt x="18" y="16"/>
                    <a:pt x="16" y="18"/>
                    <a:pt x="1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grpSp>
        <p:nvGrpSpPr>
          <p:cNvPr id="94" name="Groupe 93">
            <a:extLst>
              <a:ext uri="{FF2B5EF4-FFF2-40B4-BE49-F238E27FC236}">
                <a16:creationId xmlns:a16="http://schemas.microsoft.com/office/drawing/2014/main" id="{7536CCEB-641F-4AB1-8287-68813DDBF2DD}"/>
              </a:ext>
            </a:extLst>
          </p:cNvPr>
          <p:cNvGrpSpPr/>
          <p:nvPr/>
        </p:nvGrpSpPr>
        <p:grpSpPr>
          <a:xfrm>
            <a:off x="7779762" y="6580025"/>
            <a:ext cx="591606" cy="186820"/>
            <a:chOff x="6900119" y="6591876"/>
            <a:chExt cx="591606" cy="186820"/>
          </a:xfrm>
        </p:grpSpPr>
        <p:grpSp>
          <p:nvGrpSpPr>
            <p:cNvPr id="95" name="Groupe 94">
              <a:extLst>
                <a:ext uri="{FF2B5EF4-FFF2-40B4-BE49-F238E27FC236}">
                  <a16:creationId xmlns:a16="http://schemas.microsoft.com/office/drawing/2014/main" id="{F75BA649-AA9C-446B-A627-1376319AE7AF}"/>
                </a:ext>
              </a:extLst>
            </p:cNvPr>
            <p:cNvGrpSpPr/>
            <p:nvPr/>
          </p:nvGrpSpPr>
          <p:grpSpPr>
            <a:xfrm>
              <a:off x="6900119" y="6591876"/>
              <a:ext cx="591606" cy="186820"/>
              <a:chOff x="6900119" y="6591876"/>
              <a:chExt cx="591606" cy="186820"/>
            </a:xfrm>
          </p:grpSpPr>
          <p:sp>
            <p:nvSpPr>
              <p:cNvPr id="98" name="Rectangle 97">
                <a:extLst>
                  <a:ext uri="{FF2B5EF4-FFF2-40B4-BE49-F238E27FC236}">
                    <a16:creationId xmlns:a16="http://schemas.microsoft.com/office/drawing/2014/main" id="{9B6EBB00-D203-4D23-8D98-7515CBA82413}"/>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9" name="Ellipse 98">
                <a:extLst>
                  <a:ext uri="{FF2B5EF4-FFF2-40B4-BE49-F238E27FC236}">
                    <a16:creationId xmlns:a16="http://schemas.microsoft.com/office/drawing/2014/main" id="{F296BDC9-BC18-4931-9C79-07DC0BA48FBC}"/>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96" name="Ellipse 95">
              <a:extLst>
                <a:ext uri="{FF2B5EF4-FFF2-40B4-BE49-F238E27FC236}">
                  <a16:creationId xmlns:a16="http://schemas.microsoft.com/office/drawing/2014/main" id="{488D9CFA-7290-4A6F-A685-1B9C3ECD09BB}"/>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7" name="Ellipse 96">
              <a:extLst>
                <a:ext uri="{FF2B5EF4-FFF2-40B4-BE49-F238E27FC236}">
                  <a16:creationId xmlns:a16="http://schemas.microsoft.com/office/drawing/2014/main" id="{B8EFD8F8-DB4E-42CF-B9B9-7CAC0D154678}"/>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00" name="ZoneTexte 99">
            <a:extLst>
              <a:ext uri="{FF2B5EF4-FFF2-40B4-BE49-F238E27FC236}">
                <a16:creationId xmlns:a16="http://schemas.microsoft.com/office/drawing/2014/main" id="{55676CC8-D331-499B-B564-C92E1F706A87}"/>
              </a:ext>
            </a:extLst>
          </p:cNvPr>
          <p:cNvSpPr txBox="1"/>
          <p:nvPr/>
        </p:nvSpPr>
        <p:spPr>
          <a:xfrm>
            <a:off x="6309226" y="6566427"/>
            <a:ext cx="1493334" cy="248436"/>
          </a:xfrm>
          <a:prstGeom prst="rect">
            <a:avLst/>
          </a:prstGeom>
          <a:noFill/>
        </p:spPr>
        <p:txBody>
          <a:bodyPr wrap="square" rtlCol="0">
            <a:spAutoFit/>
          </a:bodyPr>
          <a:lstStyle/>
          <a:p>
            <a:pPr algn="ctr"/>
            <a:r>
              <a:rPr lang="en-GB" sz="1000">
                <a:latin typeface="Trebuchet MS" panose="020B0603020202020204" pitchFamily="34" charset="0"/>
              </a:rPr>
              <a:t>Level of advancement </a:t>
            </a:r>
          </a:p>
        </p:txBody>
      </p:sp>
    </p:spTree>
    <p:extLst>
      <p:ext uri="{BB962C8B-B14F-4D97-AF65-F5344CB8AC3E}">
        <p14:creationId xmlns:p14="http://schemas.microsoft.com/office/powerpoint/2010/main" val="1160709454"/>
      </p:ext>
    </p:extLst>
  </p:cSld>
  <p:clrMapOvr>
    <a:masterClrMapping/>
  </p:clrMapOvr>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AAA3A35-C6B3-4EE6-9406-A3DBC2CB7256}"/>
              </a:ext>
            </a:extLst>
          </p:cNvPr>
          <p:cNvGraphicFramePr>
            <a:graphicFrameLocks noChangeAspect="1"/>
          </p:cNvGraphicFramePr>
          <p:nvPr>
            <p:custDataLst>
              <p:tags r:id="rId1"/>
            </p:custDataLst>
            <p:extLst>
              <p:ext uri="{D42A27DB-BD31-4B8C-83A1-F6EECF244321}">
                <p14:modId xmlns:p14="http://schemas.microsoft.com/office/powerpoint/2010/main" val="191474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Objet 4" hidden="1">
                        <a:extLst>
                          <a:ext uri="{FF2B5EF4-FFF2-40B4-BE49-F238E27FC236}">
                            <a16:creationId xmlns:a16="http://schemas.microsoft.com/office/drawing/2014/main" id="{EAAA3A35-C6B3-4EE6-9406-A3DBC2CB72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DA14E9-D9F6-4D44-A466-BF298653DD7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93B14060-74BA-433D-B581-8914BB41F1C9}"/>
              </a:ext>
            </a:extLst>
          </p:cNvPr>
          <p:cNvSpPr>
            <a:spLocks noGrp="1"/>
          </p:cNvSpPr>
          <p:nvPr>
            <p:ph type="title"/>
          </p:nvPr>
        </p:nvSpPr>
        <p:spPr>
          <a:xfrm>
            <a:off x="378073" y="147600"/>
            <a:ext cx="8175691" cy="684000"/>
          </a:xfrm>
        </p:spPr>
        <p:txBody>
          <a:bodyPr/>
          <a:lstStyle/>
          <a:p>
            <a:pPr marL="0" marR="0" indent="0" defTabSz="914400" rtl="0" eaLnBrk="1" fontAlgn="base" latinLnBrk="0" hangingPunct="1">
              <a:lnSpc>
                <a:spcPct val="100000"/>
              </a:lnSpc>
              <a:spcBef>
                <a:spcPct val="0"/>
              </a:spcBef>
              <a:spcAft>
                <a:spcPct val="0"/>
              </a:spcAft>
              <a:buClrTx/>
              <a:buSzTx/>
              <a:buFontTx/>
              <a:buNone/>
              <a:tabLst/>
            </a:pPr>
            <a:r>
              <a:rPr lang="en-GB" err="1">
                <a:solidFill>
                  <a:schemeClr val="tx2"/>
                </a:solidFill>
                <a:latin typeface="Trebuchet MS" panose="020B0603020202020204" pitchFamily="34" charset="0"/>
              </a:rPr>
              <a:t>Altares</a:t>
            </a:r>
            <a:r>
              <a:rPr lang="en-GB">
                <a:solidFill>
                  <a:schemeClr val="tx2"/>
                </a:solidFill>
                <a:latin typeface="Trebuchet MS" panose="020B0603020202020204" pitchFamily="34" charset="0"/>
              </a:rPr>
              <a:t> </a:t>
            </a:r>
            <a:r>
              <a:rPr lang="en-GB">
                <a:latin typeface="Trebuchet MS" panose="020B0603020202020204" pitchFamily="34" charset="0"/>
              </a:rPr>
              <a:t>has already strengthen </a:t>
            </a:r>
            <a:r>
              <a:rPr lang="en-GB">
                <a:solidFill>
                  <a:schemeClr val="tx2"/>
                </a:solidFill>
                <a:latin typeface="Trebuchet MS" panose="020B0603020202020204" pitchFamily="34" charset="0"/>
              </a:rPr>
              <a:t>commercial initiatives</a:t>
            </a:r>
            <a:r>
              <a:rPr lang="en-GB">
                <a:latin typeface="Trebuchet MS" panose="020B0603020202020204" pitchFamily="34" charset="0"/>
              </a:rPr>
              <a:t> all in favour of attracting, converting and retaining clients</a:t>
            </a:r>
          </a:p>
        </p:txBody>
      </p:sp>
      <p:sp>
        <p:nvSpPr>
          <p:cNvPr id="3" name="Espace réservé du texte 2">
            <a:extLst>
              <a:ext uri="{FF2B5EF4-FFF2-40B4-BE49-F238E27FC236}">
                <a16:creationId xmlns:a16="http://schemas.microsoft.com/office/drawing/2014/main" id="{30953E26-7813-417B-AC0B-7AC74C77D79F}"/>
              </a:ext>
            </a:extLst>
          </p:cNvPr>
          <p:cNvSpPr>
            <a:spLocks noGrp="1"/>
          </p:cNvSpPr>
          <p:nvPr>
            <p:ph type="body" sz="quarter" idx="10"/>
          </p:nvPr>
        </p:nvSpPr>
        <p:spPr/>
        <p:txBody>
          <a:bodyPr/>
          <a:lstStyle/>
          <a:p>
            <a:r>
              <a:rPr lang="en-GB" sz="800" i="1" kern="0"/>
              <a:t>Sources: eleven research &amp; analysis, company data, interviews with management</a:t>
            </a:r>
          </a:p>
          <a:p>
            <a:endParaRPr lang="en-GB"/>
          </a:p>
        </p:txBody>
      </p:sp>
      <p:sp>
        <p:nvSpPr>
          <p:cNvPr id="25" name="Rectangle 24">
            <a:extLst>
              <a:ext uri="{FF2B5EF4-FFF2-40B4-BE49-F238E27FC236}">
                <a16:creationId xmlns:a16="http://schemas.microsoft.com/office/drawing/2014/main" id="{FF9A8524-C1D3-4A5B-8786-C43807E61F54}"/>
              </a:ext>
            </a:extLst>
          </p:cNvPr>
          <p:cNvSpPr/>
          <p:nvPr/>
        </p:nvSpPr>
        <p:spPr bwMode="auto">
          <a:xfrm rot="5400000">
            <a:off x="-1114869" y="2332298"/>
            <a:ext cx="5451861" cy="284638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endParaRPr lang="en-GB" sz="1200" b="1">
              <a:latin typeface="Trebuchet MS" pitchFamily="34" charset="0"/>
            </a:endParaRPr>
          </a:p>
        </p:txBody>
      </p:sp>
      <p:sp>
        <p:nvSpPr>
          <p:cNvPr id="13" name="Rectangle 12">
            <a:extLst>
              <a:ext uri="{FF2B5EF4-FFF2-40B4-BE49-F238E27FC236}">
                <a16:creationId xmlns:a16="http://schemas.microsoft.com/office/drawing/2014/main" id="{D32E84DD-C893-42DD-9473-F15BB856A60E}"/>
              </a:ext>
            </a:extLst>
          </p:cNvPr>
          <p:cNvSpPr/>
          <p:nvPr/>
        </p:nvSpPr>
        <p:spPr>
          <a:xfrm rot="5400000">
            <a:off x="-1105578" y="3578440"/>
            <a:ext cx="5451861" cy="354101"/>
          </a:xfrm>
          <a:prstGeom prst="rect">
            <a:avLst/>
          </a:prstGeom>
          <a:solidFill>
            <a:schemeClr val="bg1">
              <a:lumMod val="85000"/>
            </a:schemeClr>
          </a:solidFill>
        </p:spPr>
        <p:txBody>
          <a:bodyPr wrap="square" lIns="36000" tIns="0" rIns="72000" bIns="0" anchor="ctr">
            <a:noAutofit/>
          </a:bodyPr>
          <a:lstStyle/>
          <a:p>
            <a:pPr algn="ctr"/>
            <a:endParaRPr lang="en-GB" sz="1000" b="1">
              <a:latin typeface="Trebuchet MS" pitchFamily="34" charset="0"/>
            </a:endParaRPr>
          </a:p>
        </p:txBody>
      </p:sp>
      <p:sp>
        <p:nvSpPr>
          <p:cNvPr id="8" name="Trapèze 7">
            <a:extLst>
              <a:ext uri="{FF2B5EF4-FFF2-40B4-BE49-F238E27FC236}">
                <a16:creationId xmlns:a16="http://schemas.microsoft.com/office/drawing/2014/main" id="{343AA465-5BC6-46CB-B8E0-623B409A173D}"/>
              </a:ext>
            </a:extLst>
          </p:cNvPr>
          <p:cNvSpPr/>
          <p:nvPr/>
        </p:nvSpPr>
        <p:spPr bwMode="auto">
          <a:xfrm rot="10800000">
            <a:off x="218851" y="1091961"/>
            <a:ext cx="2802999" cy="2081793"/>
          </a:xfrm>
          <a:prstGeom prst="trapezoid">
            <a:avLst>
              <a:gd name="adj" fmla="val 16502"/>
            </a:avLst>
          </a:prstGeom>
          <a:solidFill>
            <a:schemeClr val="bg2">
              <a:lumMod val="40000"/>
              <a:lumOff val="6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sp>
        <p:nvSpPr>
          <p:cNvPr id="9" name="Trapèze 8">
            <a:extLst>
              <a:ext uri="{FF2B5EF4-FFF2-40B4-BE49-F238E27FC236}">
                <a16:creationId xmlns:a16="http://schemas.microsoft.com/office/drawing/2014/main" id="{0CD05F2A-2553-41F0-8FDE-E8DDF4630CA6}"/>
              </a:ext>
            </a:extLst>
          </p:cNvPr>
          <p:cNvSpPr/>
          <p:nvPr/>
        </p:nvSpPr>
        <p:spPr bwMode="auto">
          <a:xfrm rot="10800000">
            <a:off x="605777" y="3312770"/>
            <a:ext cx="2029141" cy="1200386"/>
          </a:xfrm>
          <a:prstGeom prst="trapezoid">
            <a:avLst>
              <a:gd name="adj" fmla="val 16502"/>
            </a:avLst>
          </a:prstGeom>
          <a:solidFill>
            <a:schemeClr val="bg2">
              <a:lumMod val="40000"/>
              <a:lumOff val="6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sp>
        <p:nvSpPr>
          <p:cNvPr id="10" name="Trapèze 9">
            <a:extLst>
              <a:ext uri="{FF2B5EF4-FFF2-40B4-BE49-F238E27FC236}">
                <a16:creationId xmlns:a16="http://schemas.microsoft.com/office/drawing/2014/main" id="{F625E5B1-BAD9-4380-BDF3-DFAB0776DF43}"/>
              </a:ext>
            </a:extLst>
          </p:cNvPr>
          <p:cNvSpPr/>
          <p:nvPr/>
        </p:nvSpPr>
        <p:spPr bwMode="auto">
          <a:xfrm rot="10800000">
            <a:off x="884769" y="4652171"/>
            <a:ext cx="1471159" cy="1060763"/>
          </a:xfrm>
          <a:prstGeom prst="trapezoid">
            <a:avLst>
              <a:gd name="adj" fmla="val 16502"/>
            </a:avLst>
          </a:prstGeom>
          <a:solidFill>
            <a:schemeClr val="bg2">
              <a:lumMod val="40000"/>
              <a:lumOff val="6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sp>
        <p:nvSpPr>
          <p:cNvPr id="12" name="Flèche : pentagone 11">
            <a:extLst>
              <a:ext uri="{FF2B5EF4-FFF2-40B4-BE49-F238E27FC236}">
                <a16:creationId xmlns:a16="http://schemas.microsoft.com/office/drawing/2014/main" id="{5EDDA950-E42B-4A8C-BC28-6F1B9985C14A}"/>
              </a:ext>
            </a:extLst>
          </p:cNvPr>
          <p:cNvSpPr/>
          <p:nvPr/>
        </p:nvSpPr>
        <p:spPr bwMode="auto">
          <a:xfrm>
            <a:off x="378074" y="1860180"/>
            <a:ext cx="2484558" cy="459516"/>
          </a:xfrm>
          <a:prstGeom prst="homePlate">
            <a:avLst>
              <a:gd name="adj" fmla="val 0"/>
            </a:avLst>
          </a:prstGeom>
          <a:no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defTabSz="914400" rtl="0" eaLnBrk="1" fontAlgn="base" latinLnBrk="0" hangingPunct="1">
              <a:lnSpc>
                <a:spcPct val="100000"/>
              </a:lnSpc>
              <a:spcBef>
                <a:spcPct val="0"/>
              </a:spcBef>
              <a:spcAft>
                <a:spcPts val="600"/>
              </a:spcAft>
              <a:buClrTx/>
              <a:buSzTx/>
              <a:tabLst/>
            </a:pPr>
            <a:r>
              <a:rPr kumimoji="0" lang="en-GB" sz="1100" b="1" i="0" u="none" strike="noStrike" cap="none" normalizeH="0" baseline="0">
                <a:ln>
                  <a:noFill/>
                </a:ln>
                <a:solidFill>
                  <a:schemeClr val="accent1">
                    <a:lumMod val="75000"/>
                  </a:schemeClr>
                </a:solidFill>
                <a:effectLst/>
                <a:latin typeface="Trebuchet MS" panose="020B0603020202020204" pitchFamily="34" charset="0"/>
              </a:rPr>
              <a:t>1. Attract</a:t>
            </a:r>
          </a:p>
          <a:p>
            <a:pPr marR="0" algn="ctr" defTabSz="914400" rtl="0" eaLnBrk="1" fontAlgn="base" latinLnBrk="0" hangingPunct="1">
              <a:lnSpc>
                <a:spcPct val="100000"/>
              </a:lnSpc>
              <a:spcBef>
                <a:spcPct val="0"/>
              </a:spcBef>
              <a:spcAft>
                <a:spcPts val="600"/>
              </a:spcAft>
              <a:buClrTx/>
              <a:buSzTx/>
              <a:tabLst/>
            </a:pPr>
            <a:r>
              <a:rPr kumimoji="0" lang="en-GB" sz="1100" b="1" i="0" u="none" strike="noStrike" cap="none" normalizeH="0" baseline="0" err="1">
                <a:ln>
                  <a:noFill/>
                </a:ln>
                <a:effectLst/>
                <a:latin typeface="Trebuchet MS" panose="020B0603020202020204" pitchFamily="34" charset="0"/>
              </a:rPr>
              <a:t>Altares</a:t>
            </a:r>
            <a:r>
              <a:rPr kumimoji="0" lang="en-GB" sz="1100" b="1" i="0" u="none" strike="noStrike" cap="none" normalizeH="0" baseline="0">
                <a:ln>
                  <a:noFill/>
                </a:ln>
                <a:effectLst/>
                <a:latin typeface="Trebuchet MS" panose="020B0603020202020204" pitchFamily="34" charset="0"/>
              </a:rPr>
              <a:t> combines multiple levers to attract prospects…</a:t>
            </a:r>
          </a:p>
        </p:txBody>
      </p:sp>
      <p:sp>
        <p:nvSpPr>
          <p:cNvPr id="17" name="Rectangle 16">
            <a:extLst>
              <a:ext uri="{FF2B5EF4-FFF2-40B4-BE49-F238E27FC236}">
                <a16:creationId xmlns:a16="http://schemas.microsoft.com/office/drawing/2014/main" id="{EBC0EC2E-B9DC-408F-893C-B2C88EDF6C34}"/>
              </a:ext>
            </a:extLst>
          </p:cNvPr>
          <p:cNvSpPr/>
          <p:nvPr/>
        </p:nvSpPr>
        <p:spPr>
          <a:xfrm>
            <a:off x="169200" y="5674763"/>
            <a:ext cx="3007456" cy="846386"/>
          </a:xfrm>
          <a:prstGeom prst="rect">
            <a:avLst/>
          </a:prstGeom>
        </p:spPr>
        <p:txBody>
          <a:bodyPr wrap="square">
            <a:spAutoFit/>
          </a:bodyPr>
          <a:lstStyle/>
          <a:p>
            <a:pPr>
              <a:spcAft>
                <a:spcPts val="600"/>
              </a:spcAft>
            </a:pPr>
            <a:r>
              <a:rPr lang="en-GB" sz="1100" b="1">
                <a:solidFill>
                  <a:schemeClr val="accent1">
                    <a:lumMod val="75000"/>
                  </a:schemeClr>
                </a:solidFill>
                <a:latin typeface="Trebuchet MS" panose="020B0603020202020204" pitchFamily="34" charset="0"/>
              </a:rPr>
              <a:t>4. Enablers</a:t>
            </a:r>
          </a:p>
          <a:p>
            <a:r>
              <a:rPr lang="en-GB" sz="1100" b="1">
                <a:latin typeface="Trebuchet MS" panose="020B0603020202020204" pitchFamily="34" charset="0"/>
              </a:rPr>
              <a:t> …all supported by performing tools and processes in order to fluidify and accelerate the pipe (engage, datahub…)</a:t>
            </a:r>
          </a:p>
        </p:txBody>
      </p:sp>
      <p:sp>
        <p:nvSpPr>
          <p:cNvPr id="18" name="Flèche : pentagone 17">
            <a:extLst>
              <a:ext uri="{FF2B5EF4-FFF2-40B4-BE49-F238E27FC236}">
                <a16:creationId xmlns:a16="http://schemas.microsoft.com/office/drawing/2014/main" id="{1C8426FD-45CA-4C05-9934-1908CD1FBB92}"/>
              </a:ext>
            </a:extLst>
          </p:cNvPr>
          <p:cNvSpPr/>
          <p:nvPr/>
        </p:nvSpPr>
        <p:spPr bwMode="auto">
          <a:xfrm>
            <a:off x="682127" y="3675379"/>
            <a:ext cx="1876453" cy="459516"/>
          </a:xfrm>
          <a:prstGeom prst="homePlate">
            <a:avLst>
              <a:gd name="adj" fmla="val 298"/>
            </a:avLst>
          </a:prstGeom>
          <a:no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600"/>
              </a:spcAft>
              <a:buClrTx/>
              <a:buSzTx/>
              <a:buFontTx/>
              <a:buNone/>
              <a:tabLst/>
            </a:pPr>
            <a:r>
              <a:rPr kumimoji="0" lang="en-GB" sz="1100" b="1" i="0" u="none" strike="noStrike" cap="none" normalizeH="0" baseline="0">
                <a:ln>
                  <a:noFill/>
                </a:ln>
                <a:solidFill>
                  <a:schemeClr val="accent1">
                    <a:lumMod val="75000"/>
                  </a:schemeClr>
                </a:solidFill>
                <a:effectLst/>
                <a:latin typeface="Trebuchet MS" panose="020B0603020202020204" pitchFamily="34" charset="0"/>
              </a:rPr>
              <a:t>2. Convert</a:t>
            </a:r>
          </a:p>
          <a:p>
            <a:pPr marL="0" marR="0" indent="0" algn="ctr" defTabSz="914400" rtl="0" eaLnBrk="1" fontAlgn="base" latinLnBrk="0" hangingPunct="1">
              <a:lnSpc>
                <a:spcPct val="100000"/>
              </a:lnSpc>
              <a:spcBef>
                <a:spcPct val="0"/>
              </a:spcBef>
              <a:spcAft>
                <a:spcPts val="600"/>
              </a:spcAft>
              <a:buClrTx/>
              <a:buSzTx/>
              <a:buFontTx/>
              <a:buNone/>
              <a:tabLst/>
            </a:pPr>
            <a:r>
              <a:rPr kumimoji="0" lang="en-GB" sz="1100" b="1" i="0" u="none" strike="noStrike" cap="none" normalizeH="0" baseline="0">
                <a:ln>
                  <a:noFill/>
                </a:ln>
                <a:effectLst/>
                <a:latin typeface="Trebuchet MS" panose="020B0603020202020204" pitchFamily="34" charset="0"/>
              </a:rPr>
              <a:t>…</a:t>
            </a:r>
            <a:r>
              <a:rPr lang="en-GB" sz="1100" b="1">
                <a:latin typeface="Trebuchet MS" panose="020B0603020202020204" pitchFamily="34" charset="0"/>
              </a:rPr>
              <a:t>in order to</a:t>
            </a:r>
            <a:r>
              <a:rPr kumimoji="0" lang="en-GB" sz="1100" b="1" i="0" u="none" strike="noStrike" cap="none" normalizeH="0" baseline="0">
                <a:ln>
                  <a:noFill/>
                </a:ln>
                <a:effectLst/>
                <a:latin typeface="Trebuchet MS" panose="020B0603020202020204" pitchFamily="34" charset="0"/>
              </a:rPr>
              <a:t> convert them into clients…</a:t>
            </a:r>
          </a:p>
        </p:txBody>
      </p:sp>
      <p:sp>
        <p:nvSpPr>
          <p:cNvPr id="19" name="Flèche : pentagone 18">
            <a:extLst>
              <a:ext uri="{FF2B5EF4-FFF2-40B4-BE49-F238E27FC236}">
                <a16:creationId xmlns:a16="http://schemas.microsoft.com/office/drawing/2014/main" id="{B6A6F518-CD7C-4B26-9051-A24603212F34}"/>
              </a:ext>
            </a:extLst>
          </p:cNvPr>
          <p:cNvSpPr/>
          <p:nvPr/>
        </p:nvSpPr>
        <p:spPr bwMode="auto">
          <a:xfrm>
            <a:off x="877099" y="4964150"/>
            <a:ext cx="1518835" cy="459516"/>
          </a:xfrm>
          <a:prstGeom prst="homePlate">
            <a:avLst>
              <a:gd name="adj" fmla="val 0"/>
            </a:avLst>
          </a:prstGeom>
          <a:no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600"/>
              </a:spcAft>
              <a:buClrTx/>
              <a:buSzTx/>
              <a:buFontTx/>
              <a:buNone/>
              <a:tabLst/>
            </a:pPr>
            <a:r>
              <a:rPr kumimoji="0" lang="en-GB" sz="1100" b="1" i="0" u="none" strike="noStrike" cap="none" normalizeH="0" baseline="0">
                <a:ln>
                  <a:noFill/>
                </a:ln>
                <a:solidFill>
                  <a:schemeClr val="accent1">
                    <a:lumMod val="75000"/>
                  </a:schemeClr>
                </a:solidFill>
                <a:effectLst/>
                <a:latin typeface="Trebuchet MS" panose="020B0603020202020204" pitchFamily="34" charset="0"/>
              </a:rPr>
              <a:t>3. Retain</a:t>
            </a:r>
            <a:endParaRPr kumimoji="0" lang="en-GB" sz="1100" b="1" i="0" u="none" strike="noStrike" cap="none" normalizeH="0" baseline="0">
              <a:ln>
                <a:noFill/>
              </a:ln>
              <a:effectLst/>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a:ln>
                  <a:noFill/>
                </a:ln>
                <a:effectLst/>
                <a:latin typeface="Trebuchet MS" pitchFamily="34" charset="0"/>
              </a:rPr>
              <a:t>…and retaining them while increasing their share of wallet…</a:t>
            </a:r>
          </a:p>
        </p:txBody>
      </p:sp>
      <p:grpSp>
        <p:nvGrpSpPr>
          <p:cNvPr id="32" name="Group 5">
            <a:extLst>
              <a:ext uri="{FF2B5EF4-FFF2-40B4-BE49-F238E27FC236}">
                <a16:creationId xmlns:a16="http://schemas.microsoft.com/office/drawing/2014/main" id="{A2AABDFF-E5AC-4DA0-8D79-B5E25FCF8C67}"/>
              </a:ext>
            </a:extLst>
          </p:cNvPr>
          <p:cNvGrpSpPr>
            <a:grpSpLocks noChangeAspect="1"/>
          </p:cNvGrpSpPr>
          <p:nvPr/>
        </p:nvGrpSpPr>
        <p:grpSpPr bwMode="auto">
          <a:xfrm>
            <a:off x="1520033" y="3162490"/>
            <a:ext cx="200640" cy="174040"/>
            <a:chOff x="823" y="904"/>
            <a:chExt cx="684" cy="533"/>
          </a:xfrm>
          <a:solidFill>
            <a:schemeClr val="tx1"/>
          </a:solidFill>
        </p:grpSpPr>
        <p:sp>
          <p:nvSpPr>
            <p:cNvPr id="34" name="Freeform 6">
              <a:extLst>
                <a:ext uri="{FF2B5EF4-FFF2-40B4-BE49-F238E27FC236}">
                  <a16:creationId xmlns:a16="http://schemas.microsoft.com/office/drawing/2014/main" id="{C11D7828-A53C-4E0C-AB33-D7EFBBF112CF}"/>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35" name="Freeform 7">
              <a:extLst>
                <a:ext uri="{FF2B5EF4-FFF2-40B4-BE49-F238E27FC236}">
                  <a16:creationId xmlns:a16="http://schemas.microsoft.com/office/drawing/2014/main" id="{18D7C28C-F702-468E-8951-24F17ED9A501}"/>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grpSp>
        <p:nvGrpSpPr>
          <p:cNvPr id="38" name="Group 10">
            <a:extLst>
              <a:ext uri="{FF2B5EF4-FFF2-40B4-BE49-F238E27FC236}">
                <a16:creationId xmlns:a16="http://schemas.microsoft.com/office/drawing/2014/main" id="{628B3720-DBC2-44A2-8FE9-98A6D0BA4DDC}"/>
              </a:ext>
            </a:extLst>
          </p:cNvPr>
          <p:cNvGrpSpPr>
            <a:grpSpLocks noChangeAspect="1"/>
          </p:cNvGrpSpPr>
          <p:nvPr/>
        </p:nvGrpSpPr>
        <p:grpSpPr bwMode="auto">
          <a:xfrm>
            <a:off x="1998956" y="4713053"/>
            <a:ext cx="217065" cy="219432"/>
            <a:chOff x="788" y="835"/>
            <a:chExt cx="740" cy="672"/>
          </a:xfrm>
          <a:solidFill>
            <a:schemeClr val="accent1">
              <a:lumMod val="75000"/>
            </a:schemeClr>
          </a:solidFill>
        </p:grpSpPr>
        <p:sp>
          <p:nvSpPr>
            <p:cNvPr id="40" name="Rectangle 11">
              <a:extLst>
                <a:ext uri="{FF2B5EF4-FFF2-40B4-BE49-F238E27FC236}">
                  <a16:creationId xmlns:a16="http://schemas.microsoft.com/office/drawing/2014/main" id="{410640CB-4374-4601-BBD5-6AD0B2B49BD3}"/>
                </a:ext>
              </a:extLst>
            </p:cNvPr>
            <p:cNvSpPr>
              <a:spLocks noChangeArrowheads="1"/>
            </p:cNvSpPr>
            <p:nvPr/>
          </p:nvSpPr>
          <p:spPr bwMode="auto">
            <a:xfrm>
              <a:off x="834" y="1368"/>
              <a:ext cx="139" cy="1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41" name="Rectangle 12">
              <a:extLst>
                <a:ext uri="{FF2B5EF4-FFF2-40B4-BE49-F238E27FC236}">
                  <a16:creationId xmlns:a16="http://schemas.microsoft.com/office/drawing/2014/main" id="{A9D48064-9F98-4019-921C-DB3D53AE8AC4}"/>
                </a:ext>
              </a:extLst>
            </p:cNvPr>
            <p:cNvSpPr>
              <a:spLocks noChangeArrowheads="1"/>
            </p:cNvSpPr>
            <p:nvPr/>
          </p:nvSpPr>
          <p:spPr bwMode="auto">
            <a:xfrm>
              <a:off x="1019" y="1275"/>
              <a:ext cx="139" cy="2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42" name="Rectangle 13">
              <a:extLst>
                <a:ext uri="{FF2B5EF4-FFF2-40B4-BE49-F238E27FC236}">
                  <a16:creationId xmlns:a16="http://schemas.microsoft.com/office/drawing/2014/main" id="{3159EED8-1BCD-407E-9ECE-89EC5C58D1D2}"/>
                </a:ext>
              </a:extLst>
            </p:cNvPr>
            <p:cNvSpPr>
              <a:spLocks noChangeArrowheads="1"/>
            </p:cNvSpPr>
            <p:nvPr/>
          </p:nvSpPr>
          <p:spPr bwMode="auto">
            <a:xfrm>
              <a:off x="1204" y="1182"/>
              <a:ext cx="139" cy="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43" name="Rectangle 14">
              <a:extLst>
                <a:ext uri="{FF2B5EF4-FFF2-40B4-BE49-F238E27FC236}">
                  <a16:creationId xmlns:a16="http://schemas.microsoft.com/office/drawing/2014/main" id="{6707312B-54BF-46C9-86C4-078B196B52E0}"/>
                </a:ext>
              </a:extLst>
            </p:cNvPr>
            <p:cNvSpPr>
              <a:spLocks noChangeArrowheads="1"/>
            </p:cNvSpPr>
            <p:nvPr/>
          </p:nvSpPr>
          <p:spPr bwMode="auto">
            <a:xfrm>
              <a:off x="1389" y="1090"/>
              <a:ext cx="139" cy="4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44" name="Freeform 15">
              <a:extLst>
                <a:ext uri="{FF2B5EF4-FFF2-40B4-BE49-F238E27FC236}">
                  <a16:creationId xmlns:a16="http://schemas.microsoft.com/office/drawing/2014/main" id="{AFD6B86F-9848-495B-B398-A117C88383E0}"/>
                </a:ext>
              </a:extLst>
            </p:cNvPr>
            <p:cNvSpPr>
              <a:spLocks/>
            </p:cNvSpPr>
            <p:nvPr/>
          </p:nvSpPr>
          <p:spPr bwMode="auto">
            <a:xfrm>
              <a:off x="788" y="835"/>
              <a:ext cx="740" cy="440"/>
            </a:xfrm>
            <a:custGeom>
              <a:avLst/>
              <a:gdLst>
                <a:gd name="T0" fmla="*/ 648 w 740"/>
                <a:gd name="T1" fmla="*/ 104 h 440"/>
                <a:gd name="T2" fmla="*/ 509 w 740"/>
                <a:gd name="T3" fmla="*/ 104 h 440"/>
                <a:gd name="T4" fmla="*/ 324 w 740"/>
                <a:gd name="T5" fmla="*/ 243 h 440"/>
                <a:gd name="T6" fmla="*/ 231 w 740"/>
                <a:gd name="T7" fmla="*/ 185 h 440"/>
                <a:gd name="T8" fmla="*/ 0 w 740"/>
                <a:gd name="T9" fmla="*/ 382 h 440"/>
                <a:gd name="T10" fmla="*/ 0 w 740"/>
                <a:gd name="T11" fmla="*/ 440 h 440"/>
                <a:gd name="T12" fmla="*/ 243 w 740"/>
                <a:gd name="T13" fmla="*/ 243 h 440"/>
                <a:gd name="T14" fmla="*/ 336 w 740"/>
                <a:gd name="T15" fmla="*/ 289 h 440"/>
                <a:gd name="T16" fmla="*/ 521 w 740"/>
                <a:gd name="T17" fmla="*/ 150 h 440"/>
                <a:gd name="T18" fmla="*/ 659 w 740"/>
                <a:gd name="T19" fmla="*/ 150 h 440"/>
                <a:gd name="T20" fmla="*/ 740 w 740"/>
                <a:gd name="T21" fmla="*/ 69 h 440"/>
                <a:gd name="T22" fmla="*/ 740 w 740"/>
                <a:gd name="T23" fmla="*/ 0 h 440"/>
                <a:gd name="T24" fmla="*/ 648 w 740"/>
                <a:gd name="T25" fmla="*/ 10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0" h="440">
                  <a:moveTo>
                    <a:pt x="648" y="104"/>
                  </a:moveTo>
                  <a:lnTo>
                    <a:pt x="509" y="104"/>
                  </a:lnTo>
                  <a:lnTo>
                    <a:pt x="324" y="243"/>
                  </a:lnTo>
                  <a:lnTo>
                    <a:pt x="231" y="185"/>
                  </a:lnTo>
                  <a:lnTo>
                    <a:pt x="0" y="382"/>
                  </a:lnTo>
                  <a:lnTo>
                    <a:pt x="0" y="440"/>
                  </a:lnTo>
                  <a:lnTo>
                    <a:pt x="243" y="243"/>
                  </a:lnTo>
                  <a:lnTo>
                    <a:pt x="336" y="289"/>
                  </a:lnTo>
                  <a:lnTo>
                    <a:pt x="521" y="150"/>
                  </a:lnTo>
                  <a:lnTo>
                    <a:pt x="659" y="150"/>
                  </a:lnTo>
                  <a:lnTo>
                    <a:pt x="740" y="69"/>
                  </a:lnTo>
                  <a:lnTo>
                    <a:pt x="740" y="0"/>
                  </a:lnTo>
                  <a:lnTo>
                    <a:pt x="648"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grpSp>
        <p:nvGrpSpPr>
          <p:cNvPr id="47" name="Group 18">
            <a:extLst>
              <a:ext uri="{FF2B5EF4-FFF2-40B4-BE49-F238E27FC236}">
                <a16:creationId xmlns:a16="http://schemas.microsoft.com/office/drawing/2014/main" id="{9F79E0D3-09A3-48D5-805B-F479660AE496}"/>
              </a:ext>
            </a:extLst>
          </p:cNvPr>
          <p:cNvGrpSpPr>
            <a:grpSpLocks noChangeAspect="1"/>
          </p:cNvGrpSpPr>
          <p:nvPr/>
        </p:nvGrpSpPr>
        <p:grpSpPr bwMode="auto">
          <a:xfrm>
            <a:off x="2120982" y="3546077"/>
            <a:ext cx="217066" cy="226940"/>
            <a:chOff x="788" y="823"/>
            <a:chExt cx="740" cy="695"/>
          </a:xfrm>
          <a:solidFill>
            <a:schemeClr val="accent1">
              <a:lumMod val="75000"/>
            </a:schemeClr>
          </a:solidFill>
        </p:grpSpPr>
        <p:sp>
          <p:nvSpPr>
            <p:cNvPr id="49" name="Freeform 19">
              <a:extLst>
                <a:ext uri="{FF2B5EF4-FFF2-40B4-BE49-F238E27FC236}">
                  <a16:creationId xmlns:a16="http://schemas.microsoft.com/office/drawing/2014/main" id="{9557E1E3-6336-4AA0-AFE7-171A8E185007}"/>
                </a:ext>
              </a:extLst>
            </p:cNvPr>
            <p:cNvSpPr>
              <a:spLocks/>
            </p:cNvSpPr>
            <p:nvPr/>
          </p:nvSpPr>
          <p:spPr bwMode="auto">
            <a:xfrm>
              <a:off x="788" y="823"/>
              <a:ext cx="497" cy="695"/>
            </a:xfrm>
            <a:custGeom>
              <a:avLst/>
              <a:gdLst>
                <a:gd name="T0" fmla="*/ 17 w 43"/>
                <a:gd name="T1" fmla="*/ 46 h 60"/>
                <a:gd name="T2" fmla="*/ 23 w 43"/>
                <a:gd name="T3" fmla="*/ 40 h 60"/>
                <a:gd name="T4" fmla="*/ 34 w 43"/>
                <a:gd name="T5" fmla="*/ 29 h 60"/>
                <a:gd name="T6" fmla="*/ 37 w 43"/>
                <a:gd name="T7" fmla="*/ 32 h 60"/>
                <a:gd name="T8" fmla="*/ 37 w 43"/>
                <a:gd name="T9" fmla="*/ 30 h 60"/>
                <a:gd name="T10" fmla="*/ 40 w 43"/>
                <a:gd name="T11" fmla="*/ 23 h 60"/>
                <a:gd name="T12" fmla="*/ 43 w 43"/>
                <a:gd name="T13" fmla="*/ 20 h 60"/>
                <a:gd name="T14" fmla="*/ 41 w 43"/>
                <a:gd name="T15" fmla="*/ 16 h 60"/>
                <a:gd name="T16" fmla="*/ 41 w 43"/>
                <a:gd name="T17" fmla="*/ 9 h 60"/>
                <a:gd name="T18" fmla="*/ 30 w 43"/>
                <a:gd name="T19" fmla="*/ 0 h 60"/>
                <a:gd name="T20" fmla="*/ 18 w 43"/>
                <a:gd name="T21" fmla="*/ 9 h 60"/>
                <a:gd name="T22" fmla="*/ 18 w 43"/>
                <a:gd name="T23" fmla="*/ 16 h 60"/>
                <a:gd name="T24" fmla="*/ 17 w 43"/>
                <a:gd name="T25" fmla="*/ 20 h 60"/>
                <a:gd name="T26" fmla="*/ 19 w 43"/>
                <a:gd name="T27" fmla="*/ 23 h 60"/>
                <a:gd name="T28" fmla="*/ 22 w 43"/>
                <a:gd name="T29" fmla="*/ 30 h 60"/>
                <a:gd name="T30" fmla="*/ 22 w 43"/>
                <a:gd name="T31" fmla="*/ 36 h 60"/>
                <a:gd name="T32" fmla="*/ 15 w 43"/>
                <a:gd name="T33" fmla="*/ 39 h 60"/>
                <a:gd name="T34" fmla="*/ 2 w 43"/>
                <a:gd name="T35" fmla="*/ 46 h 60"/>
                <a:gd name="T36" fmla="*/ 1 w 43"/>
                <a:gd name="T37" fmla="*/ 60 h 60"/>
                <a:gd name="T38" fmla="*/ 31 w 43"/>
                <a:gd name="T39" fmla="*/ 60 h 60"/>
                <a:gd name="T40" fmla="*/ 23 w 43"/>
                <a:gd name="T41" fmla="*/ 51 h 60"/>
                <a:gd name="T42" fmla="*/ 17 w 43"/>
                <a:gd name="T43" fmla="*/ 4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0">
                  <a:moveTo>
                    <a:pt x="17" y="46"/>
                  </a:moveTo>
                  <a:cubicBezTo>
                    <a:pt x="23" y="40"/>
                    <a:pt x="23" y="40"/>
                    <a:pt x="23" y="40"/>
                  </a:cubicBezTo>
                  <a:cubicBezTo>
                    <a:pt x="34" y="29"/>
                    <a:pt x="34" y="29"/>
                    <a:pt x="34" y="29"/>
                  </a:cubicBezTo>
                  <a:cubicBezTo>
                    <a:pt x="37" y="32"/>
                    <a:pt x="37" y="32"/>
                    <a:pt x="37" y="32"/>
                  </a:cubicBezTo>
                  <a:cubicBezTo>
                    <a:pt x="37" y="30"/>
                    <a:pt x="37" y="30"/>
                    <a:pt x="37" y="30"/>
                  </a:cubicBezTo>
                  <a:cubicBezTo>
                    <a:pt x="37" y="30"/>
                    <a:pt x="39" y="28"/>
                    <a:pt x="40" y="23"/>
                  </a:cubicBezTo>
                  <a:cubicBezTo>
                    <a:pt x="41" y="24"/>
                    <a:pt x="43" y="21"/>
                    <a:pt x="43" y="20"/>
                  </a:cubicBezTo>
                  <a:cubicBezTo>
                    <a:pt x="43" y="19"/>
                    <a:pt x="42" y="15"/>
                    <a:pt x="41" y="16"/>
                  </a:cubicBezTo>
                  <a:cubicBezTo>
                    <a:pt x="41" y="13"/>
                    <a:pt x="41" y="11"/>
                    <a:pt x="41" y="9"/>
                  </a:cubicBezTo>
                  <a:cubicBezTo>
                    <a:pt x="41" y="5"/>
                    <a:pt x="36" y="0"/>
                    <a:pt x="30" y="0"/>
                  </a:cubicBezTo>
                  <a:cubicBezTo>
                    <a:pt x="23" y="0"/>
                    <a:pt x="18" y="5"/>
                    <a:pt x="18" y="9"/>
                  </a:cubicBezTo>
                  <a:cubicBezTo>
                    <a:pt x="18" y="11"/>
                    <a:pt x="18" y="13"/>
                    <a:pt x="18" y="16"/>
                  </a:cubicBezTo>
                  <a:cubicBezTo>
                    <a:pt x="17" y="15"/>
                    <a:pt x="17" y="19"/>
                    <a:pt x="17" y="20"/>
                  </a:cubicBezTo>
                  <a:cubicBezTo>
                    <a:pt x="17" y="21"/>
                    <a:pt x="18" y="24"/>
                    <a:pt x="19" y="23"/>
                  </a:cubicBezTo>
                  <a:cubicBezTo>
                    <a:pt x="20" y="28"/>
                    <a:pt x="22" y="30"/>
                    <a:pt x="22" y="30"/>
                  </a:cubicBezTo>
                  <a:cubicBezTo>
                    <a:pt x="22" y="36"/>
                    <a:pt x="22" y="36"/>
                    <a:pt x="22" y="36"/>
                  </a:cubicBezTo>
                  <a:cubicBezTo>
                    <a:pt x="22" y="36"/>
                    <a:pt x="21" y="36"/>
                    <a:pt x="15" y="39"/>
                  </a:cubicBezTo>
                  <a:cubicBezTo>
                    <a:pt x="9" y="41"/>
                    <a:pt x="3" y="43"/>
                    <a:pt x="2" y="46"/>
                  </a:cubicBezTo>
                  <a:cubicBezTo>
                    <a:pt x="0" y="48"/>
                    <a:pt x="1" y="60"/>
                    <a:pt x="1" y="60"/>
                  </a:cubicBezTo>
                  <a:cubicBezTo>
                    <a:pt x="31" y="60"/>
                    <a:pt x="31" y="60"/>
                    <a:pt x="31" y="60"/>
                  </a:cubicBezTo>
                  <a:cubicBezTo>
                    <a:pt x="23" y="51"/>
                    <a:pt x="23" y="51"/>
                    <a:pt x="23" y="51"/>
                  </a:cubicBezTo>
                  <a:lnTo>
                    <a:pt x="1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50" name="Freeform 20">
              <a:extLst>
                <a:ext uri="{FF2B5EF4-FFF2-40B4-BE49-F238E27FC236}">
                  <a16:creationId xmlns:a16="http://schemas.microsoft.com/office/drawing/2014/main" id="{7E79B41A-44B1-4211-9616-1B65269F4791}"/>
                </a:ext>
              </a:extLst>
            </p:cNvPr>
            <p:cNvSpPr>
              <a:spLocks/>
            </p:cNvSpPr>
            <p:nvPr/>
          </p:nvSpPr>
          <p:spPr bwMode="auto">
            <a:xfrm>
              <a:off x="1112" y="1194"/>
              <a:ext cx="416" cy="324"/>
            </a:xfrm>
            <a:custGeom>
              <a:avLst/>
              <a:gdLst>
                <a:gd name="T0" fmla="*/ 358 w 416"/>
                <a:gd name="T1" fmla="*/ 0 h 324"/>
                <a:gd name="T2" fmla="*/ 173 w 416"/>
                <a:gd name="T3" fmla="*/ 185 h 324"/>
                <a:gd name="T4" fmla="*/ 69 w 416"/>
                <a:gd name="T5" fmla="*/ 93 h 324"/>
                <a:gd name="T6" fmla="*/ 0 w 416"/>
                <a:gd name="T7" fmla="*/ 162 h 324"/>
                <a:gd name="T8" fmla="*/ 139 w 416"/>
                <a:gd name="T9" fmla="*/ 290 h 324"/>
                <a:gd name="T10" fmla="*/ 173 w 416"/>
                <a:gd name="T11" fmla="*/ 324 h 324"/>
                <a:gd name="T12" fmla="*/ 416 w 416"/>
                <a:gd name="T13" fmla="*/ 69 h 324"/>
                <a:gd name="T14" fmla="*/ 358 w 416"/>
                <a:gd name="T15" fmla="*/ 0 h 3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6" h="324">
                  <a:moveTo>
                    <a:pt x="358" y="0"/>
                  </a:moveTo>
                  <a:lnTo>
                    <a:pt x="173" y="185"/>
                  </a:lnTo>
                  <a:lnTo>
                    <a:pt x="69" y="93"/>
                  </a:lnTo>
                  <a:lnTo>
                    <a:pt x="0" y="162"/>
                  </a:lnTo>
                  <a:lnTo>
                    <a:pt x="139" y="290"/>
                  </a:lnTo>
                  <a:lnTo>
                    <a:pt x="173" y="324"/>
                  </a:lnTo>
                  <a:lnTo>
                    <a:pt x="416" y="69"/>
                  </a:lnTo>
                  <a:lnTo>
                    <a:pt x="3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grpSp>
        <p:nvGrpSpPr>
          <p:cNvPr id="53" name="Group 23">
            <a:extLst>
              <a:ext uri="{FF2B5EF4-FFF2-40B4-BE49-F238E27FC236}">
                <a16:creationId xmlns:a16="http://schemas.microsoft.com/office/drawing/2014/main" id="{DEDEE009-AD34-4936-8B15-C046CB344DE2}"/>
              </a:ext>
            </a:extLst>
          </p:cNvPr>
          <p:cNvGrpSpPr>
            <a:grpSpLocks noChangeAspect="1"/>
          </p:cNvGrpSpPr>
          <p:nvPr/>
        </p:nvGrpSpPr>
        <p:grpSpPr bwMode="auto">
          <a:xfrm>
            <a:off x="1511820" y="5735786"/>
            <a:ext cx="217066" cy="242285"/>
            <a:chOff x="788" y="800"/>
            <a:chExt cx="740" cy="742"/>
          </a:xfrm>
          <a:solidFill>
            <a:schemeClr val="tx1"/>
          </a:solidFill>
        </p:grpSpPr>
        <p:sp>
          <p:nvSpPr>
            <p:cNvPr id="55" name="Freeform 24">
              <a:extLst>
                <a:ext uri="{FF2B5EF4-FFF2-40B4-BE49-F238E27FC236}">
                  <a16:creationId xmlns:a16="http://schemas.microsoft.com/office/drawing/2014/main" id="{EB4D7DDB-BCF4-41AA-B03F-2B12A7FC7EB4}"/>
                </a:ext>
              </a:extLst>
            </p:cNvPr>
            <p:cNvSpPr>
              <a:spLocks noEditPoints="1"/>
            </p:cNvSpPr>
            <p:nvPr/>
          </p:nvSpPr>
          <p:spPr bwMode="auto">
            <a:xfrm>
              <a:off x="788" y="1032"/>
              <a:ext cx="509" cy="510"/>
            </a:xfrm>
            <a:custGeom>
              <a:avLst/>
              <a:gdLst>
                <a:gd name="T0" fmla="*/ 42 w 44"/>
                <a:gd name="T1" fmla="*/ 18 h 44"/>
                <a:gd name="T2" fmla="*/ 36 w 44"/>
                <a:gd name="T3" fmla="*/ 18 h 44"/>
                <a:gd name="T4" fmla="*/ 34 w 44"/>
                <a:gd name="T5" fmla="*/ 14 h 44"/>
                <a:gd name="T6" fmla="*/ 38 w 44"/>
                <a:gd name="T7" fmla="*/ 10 h 44"/>
                <a:gd name="T8" fmla="*/ 38 w 44"/>
                <a:gd name="T9" fmla="*/ 7 h 44"/>
                <a:gd name="T10" fmla="*/ 37 w 44"/>
                <a:gd name="T11" fmla="*/ 5 h 44"/>
                <a:gd name="T12" fmla="*/ 33 w 44"/>
                <a:gd name="T13" fmla="*/ 5 h 44"/>
                <a:gd name="T14" fmla="*/ 29 w 44"/>
                <a:gd name="T15" fmla="*/ 9 h 44"/>
                <a:gd name="T16" fmla="*/ 25 w 44"/>
                <a:gd name="T17" fmla="*/ 8 h 44"/>
                <a:gd name="T18" fmla="*/ 25 w 44"/>
                <a:gd name="T19" fmla="*/ 3 h 44"/>
                <a:gd name="T20" fmla="*/ 23 w 44"/>
                <a:gd name="T21" fmla="*/ 0 h 44"/>
                <a:gd name="T22" fmla="*/ 21 w 44"/>
                <a:gd name="T23" fmla="*/ 0 h 44"/>
                <a:gd name="T24" fmla="*/ 18 w 44"/>
                <a:gd name="T25" fmla="*/ 3 h 44"/>
                <a:gd name="T26" fmla="*/ 18 w 44"/>
                <a:gd name="T27" fmla="*/ 8 h 44"/>
                <a:gd name="T28" fmla="*/ 14 w 44"/>
                <a:gd name="T29" fmla="*/ 10 h 44"/>
                <a:gd name="T30" fmla="*/ 11 w 44"/>
                <a:gd name="T31" fmla="*/ 6 h 44"/>
                <a:gd name="T32" fmla="*/ 7 w 44"/>
                <a:gd name="T33" fmla="*/ 6 h 44"/>
                <a:gd name="T34" fmla="*/ 6 w 44"/>
                <a:gd name="T35" fmla="*/ 8 h 44"/>
                <a:gd name="T36" fmla="*/ 6 w 44"/>
                <a:gd name="T37" fmla="*/ 11 h 44"/>
                <a:gd name="T38" fmla="*/ 9 w 44"/>
                <a:gd name="T39" fmla="*/ 15 h 44"/>
                <a:gd name="T40" fmla="*/ 7 w 44"/>
                <a:gd name="T41" fmla="*/ 19 h 44"/>
                <a:gd name="T42" fmla="*/ 3 w 44"/>
                <a:gd name="T43" fmla="*/ 19 h 44"/>
                <a:gd name="T44" fmla="*/ 0 w 44"/>
                <a:gd name="T45" fmla="*/ 21 h 44"/>
                <a:gd name="T46" fmla="*/ 0 w 44"/>
                <a:gd name="T47" fmla="*/ 24 h 44"/>
                <a:gd name="T48" fmla="*/ 3 w 44"/>
                <a:gd name="T49" fmla="*/ 26 h 44"/>
                <a:gd name="T50" fmla="*/ 8 w 44"/>
                <a:gd name="T51" fmla="*/ 26 h 44"/>
                <a:gd name="T52" fmla="*/ 10 w 44"/>
                <a:gd name="T53" fmla="*/ 30 h 44"/>
                <a:gd name="T54" fmla="*/ 6 w 44"/>
                <a:gd name="T55" fmla="*/ 34 h 44"/>
                <a:gd name="T56" fmla="*/ 6 w 44"/>
                <a:gd name="T57" fmla="*/ 37 h 44"/>
                <a:gd name="T58" fmla="*/ 8 w 44"/>
                <a:gd name="T59" fmla="*/ 39 h 44"/>
                <a:gd name="T60" fmla="*/ 12 w 44"/>
                <a:gd name="T61" fmla="*/ 39 h 44"/>
                <a:gd name="T62" fmla="*/ 15 w 44"/>
                <a:gd name="T63" fmla="*/ 35 h 44"/>
                <a:gd name="T64" fmla="*/ 19 w 44"/>
                <a:gd name="T65" fmla="*/ 37 h 44"/>
                <a:gd name="T66" fmla="*/ 19 w 44"/>
                <a:gd name="T67" fmla="*/ 42 h 44"/>
                <a:gd name="T68" fmla="*/ 22 w 44"/>
                <a:gd name="T69" fmla="*/ 44 h 44"/>
                <a:gd name="T70" fmla="*/ 24 w 44"/>
                <a:gd name="T71" fmla="*/ 44 h 44"/>
                <a:gd name="T72" fmla="*/ 27 w 44"/>
                <a:gd name="T73" fmla="*/ 42 h 44"/>
                <a:gd name="T74" fmla="*/ 27 w 44"/>
                <a:gd name="T75" fmla="*/ 36 h 44"/>
                <a:gd name="T76" fmla="*/ 30 w 44"/>
                <a:gd name="T77" fmla="*/ 34 h 44"/>
                <a:gd name="T78" fmla="*/ 34 w 44"/>
                <a:gd name="T79" fmla="*/ 38 h 44"/>
                <a:gd name="T80" fmla="*/ 38 w 44"/>
                <a:gd name="T81" fmla="*/ 38 h 44"/>
                <a:gd name="T82" fmla="*/ 39 w 44"/>
                <a:gd name="T83" fmla="*/ 36 h 44"/>
                <a:gd name="T84" fmla="*/ 39 w 44"/>
                <a:gd name="T85" fmla="*/ 33 h 44"/>
                <a:gd name="T86" fmla="*/ 35 w 44"/>
                <a:gd name="T87" fmla="*/ 29 h 44"/>
                <a:gd name="T88" fmla="*/ 36 w 44"/>
                <a:gd name="T89" fmla="*/ 25 h 44"/>
                <a:gd name="T90" fmla="*/ 42 w 44"/>
                <a:gd name="T91" fmla="*/ 25 h 44"/>
                <a:gd name="T92" fmla="*/ 44 w 44"/>
                <a:gd name="T93" fmla="*/ 23 h 44"/>
                <a:gd name="T94" fmla="*/ 44 w 44"/>
                <a:gd name="T95" fmla="*/ 20 h 44"/>
                <a:gd name="T96" fmla="*/ 42 w 44"/>
                <a:gd name="T97" fmla="*/ 18 h 44"/>
                <a:gd name="T98" fmla="*/ 22 w 44"/>
                <a:gd name="T99" fmla="*/ 28 h 44"/>
                <a:gd name="T100" fmla="*/ 16 w 44"/>
                <a:gd name="T101" fmla="*/ 22 h 44"/>
                <a:gd name="T102" fmla="*/ 22 w 44"/>
                <a:gd name="T103" fmla="*/ 16 h 44"/>
                <a:gd name="T104" fmla="*/ 28 w 44"/>
                <a:gd name="T105" fmla="*/ 22 h 44"/>
                <a:gd name="T106" fmla="*/ 22 w 44"/>
                <a:gd name="T107" fmla="*/ 2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44">
                  <a:moveTo>
                    <a:pt x="42" y="18"/>
                  </a:moveTo>
                  <a:cubicBezTo>
                    <a:pt x="36" y="18"/>
                    <a:pt x="36" y="18"/>
                    <a:pt x="36" y="18"/>
                  </a:cubicBezTo>
                  <a:cubicBezTo>
                    <a:pt x="35" y="17"/>
                    <a:pt x="35" y="16"/>
                    <a:pt x="34" y="14"/>
                  </a:cubicBezTo>
                  <a:cubicBezTo>
                    <a:pt x="38" y="10"/>
                    <a:pt x="38" y="10"/>
                    <a:pt x="38" y="10"/>
                  </a:cubicBezTo>
                  <a:cubicBezTo>
                    <a:pt x="39" y="9"/>
                    <a:pt x="39" y="8"/>
                    <a:pt x="38" y="7"/>
                  </a:cubicBezTo>
                  <a:cubicBezTo>
                    <a:pt x="37" y="5"/>
                    <a:pt x="37" y="5"/>
                    <a:pt x="37" y="5"/>
                  </a:cubicBezTo>
                  <a:cubicBezTo>
                    <a:pt x="36" y="4"/>
                    <a:pt x="34" y="4"/>
                    <a:pt x="33" y="5"/>
                  </a:cubicBezTo>
                  <a:cubicBezTo>
                    <a:pt x="29" y="9"/>
                    <a:pt x="29" y="9"/>
                    <a:pt x="29" y="9"/>
                  </a:cubicBezTo>
                  <a:cubicBezTo>
                    <a:pt x="28" y="9"/>
                    <a:pt x="27" y="8"/>
                    <a:pt x="25" y="8"/>
                  </a:cubicBezTo>
                  <a:cubicBezTo>
                    <a:pt x="25" y="3"/>
                    <a:pt x="25" y="3"/>
                    <a:pt x="25" y="3"/>
                  </a:cubicBezTo>
                  <a:cubicBezTo>
                    <a:pt x="25" y="1"/>
                    <a:pt x="24" y="0"/>
                    <a:pt x="23" y="0"/>
                  </a:cubicBezTo>
                  <a:cubicBezTo>
                    <a:pt x="21" y="0"/>
                    <a:pt x="21" y="0"/>
                    <a:pt x="21" y="0"/>
                  </a:cubicBezTo>
                  <a:cubicBezTo>
                    <a:pt x="19" y="0"/>
                    <a:pt x="18" y="1"/>
                    <a:pt x="18" y="3"/>
                  </a:cubicBezTo>
                  <a:cubicBezTo>
                    <a:pt x="18" y="8"/>
                    <a:pt x="18" y="8"/>
                    <a:pt x="18" y="8"/>
                  </a:cubicBezTo>
                  <a:cubicBezTo>
                    <a:pt x="17" y="8"/>
                    <a:pt x="15" y="9"/>
                    <a:pt x="14" y="10"/>
                  </a:cubicBezTo>
                  <a:cubicBezTo>
                    <a:pt x="11" y="6"/>
                    <a:pt x="11" y="6"/>
                    <a:pt x="11" y="6"/>
                  </a:cubicBezTo>
                  <a:cubicBezTo>
                    <a:pt x="10" y="5"/>
                    <a:pt x="8" y="5"/>
                    <a:pt x="7" y="6"/>
                  </a:cubicBezTo>
                  <a:cubicBezTo>
                    <a:pt x="6" y="8"/>
                    <a:pt x="6" y="8"/>
                    <a:pt x="6" y="8"/>
                  </a:cubicBezTo>
                  <a:cubicBezTo>
                    <a:pt x="5" y="9"/>
                    <a:pt x="5" y="10"/>
                    <a:pt x="6" y="11"/>
                  </a:cubicBezTo>
                  <a:cubicBezTo>
                    <a:pt x="9" y="15"/>
                    <a:pt x="9" y="15"/>
                    <a:pt x="9" y="15"/>
                  </a:cubicBezTo>
                  <a:cubicBezTo>
                    <a:pt x="8" y="16"/>
                    <a:pt x="8" y="18"/>
                    <a:pt x="7" y="19"/>
                  </a:cubicBezTo>
                  <a:cubicBezTo>
                    <a:pt x="3" y="19"/>
                    <a:pt x="3" y="19"/>
                    <a:pt x="3" y="19"/>
                  </a:cubicBezTo>
                  <a:cubicBezTo>
                    <a:pt x="2" y="19"/>
                    <a:pt x="0" y="20"/>
                    <a:pt x="0" y="21"/>
                  </a:cubicBezTo>
                  <a:cubicBezTo>
                    <a:pt x="0" y="24"/>
                    <a:pt x="0" y="24"/>
                    <a:pt x="0" y="24"/>
                  </a:cubicBezTo>
                  <a:cubicBezTo>
                    <a:pt x="0" y="25"/>
                    <a:pt x="2" y="26"/>
                    <a:pt x="3" y="26"/>
                  </a:cubicBezTo>
                  <a:cubicBezTo>
                    <a:pt x="8" y="26"/>
                    <a:pt x="8" y="26"/>
                    <a:pt x="8" y="26"/>
                  </a:cubicBezTo>
                  <a:cubicBezTo>
                    <a:pt x="8" y="28"/>
                    <a:pt x="9" y="29"/>
                    <a:pt x="10" y="30"/>
                  </a:cubicBezTo>
                  <a:cubicBezTo>
                    <a:pt x="6" y="34"/>
                    <a:pt x="6" y="34"/>
                    <a:pt x="6" y="34"/>
                  </a:cubicBezTo>
                  <a:cubicBezTo>
                    <a:pt x="5" y="35"/>
                    <a:pt x="5" y="36"/>
                    <a:pt x="6" y="37"/>
                  </a:cubicBezTo>
                  <a:cubicBezTo>
                    <a:pt x="8" y="39"/>
                    <a:pt x="8" y="39"/>
                    <a:pt x="8" y="39"/>
                  </a:cubicBezTo>
                  <a:cubicBezTo>
                    <a:pt x="9" y="40"/>
                    <a:pt x="11" y="40"/>
                    <a:pt x="12" y="39"/>
                  </a:cubicBezTo>
                  <a:cubicBezTo>
                    <a:pt x="15" y="35"/>
                    <a:pt x="15" y="35"/>
                    <a:pt x="15" y="35"/>
                  </a:cubicBezTo>
                  <a:cubicBezTo>
                    <a:pt x="17" y="36"/>
                    <a:pt x="18" y="36"/>
                    <a:pt x="19" y="37"/>
                  </a:cubicBezTo>
                  <a:cubicBezTo>
                    <a:pt x="19" y="42"/>
                    <a:pt x="19" y="42"/>
                    <a:pt x="19" y="42"/>
                  </a:cubicBezTo>
                  <a:cubicBezTo>
                    <a:pt x="19" y="43"/>
                    <a:pt x="20" y="44"/>
                    <a:pt x="22" y="44"/>
                  </a:cubicBezTo>
                  <a:cubicBezTo>
                    <a:pt x="24" y="44"/>
                    <a:pt x="24" y="44"/>
                    <a:pt x="24" y="44"/>
                  </a:cubicBezTo>
                  <a:cubicBezTo>
                    <a:pt x="26" y="44"/>
                    <a:pt x="27" y="43"/>
                    <a:pt x="27" y="42"/>
                  </a:cubicBezTo>
                  <a:cubicBezTo>
                    <a:pt x="27" y="36"/>
                    <a:pt x="27" y="36"/>
                    <a:pt x="27" y="36"/>
                  </a:cubicBezTo>
                  <a:cubicBezTo>
                    <a:pt x="28" y="35"/>
                    <a:pt x="29" y="35"/>
                    <a:pt x="30" y="34"/>
                  </a:cubicBezTo>
                  <a:cubicBezTo>
                    <a:pt x="34" y="38"/>
                    <a:pt x="34" y="38"/>
                    <a:pt x="34" y="38"/>
                  </a:cubicBezTo>
                  <a:cubicBezTo>
                    <a:pt x="35" y="39"/>
                    <a:pt x="37" y="39"/>
                    <a:pt x="38" y="38"/>
                  </a:cubicBezTo>
                  <a:cubicBezTo>
                    <a:pt x="39" y="36"/>
                    <a:pt x="39" y="36"/>
                    <a:pt x="39" y="36"/>
                  </a:cubicBezTo>
                  <a:cubicBezTo>
                    <a:pt x="40" y="35"/>
                    <a:pt x="40" y="34"/>
                    <a:pt x="39" y="33"/>
                  </a:cubicBezTo>
                  <a:cubicBezTo>
                    <a:pt x="35" y="29"/>
                    <a:pt x="35" y="29"/>
                    <a:pt x="35" y="29"/>
                  </a:cubicBezTo>
                  <a:cubicBezTo>
                    <a:pt x="35" y="27"/>
                    <a:pt x="36" y="26"/>
                    <a:pt x="36" y="25"/>
                  </a:cubicBezTo>
                  <a:cubicBezTo>
                    <a:pt x="42" y="25"/>
                    <a:pt x="42" y="25"/>
                    <a:pt x="42" y="25"/>
                  </a:cubicBezTo>
                  <a:cubicBezTo>
                    <a:pt x="43" y="25"/>
                    <a:pt x="44" y="24"/>
                    <a:pt x="44" y="23"/>
                  </a:cubicBezTo>
                  <a:cubicBezTo>
                    <a:pt x="44" y="20"/>
                    <a:pt x="44" y="20"/>
                    <a:pt x="44" y="20"/>
                  </a:cubicBezTo>
                  <a:cubicBezTo>
                    <a:pt x="44" y="19"/>
                    <a:pt x="43" y="18"/>
                    <a:pt x="42" y="18"/>
                  </a:cubicBezTo>
                  <a:close/>
                  <a:moveTo>
                    <a:pt x="22" y="28"/>
                  </a:moveTo>
                  <a:cubicBezTo>
                    <a:pt x="18" y="28"/>
                    <a:pt x="16" y="25"/>
                    <a:pt x="16" y="22"/>
                  </a:cubicBezTo>
                  <a:cubicBezTo>
                    <a:pt x="16" y="19"/>
                    <a:pt x="18" y="16"/>
                    <a:pt x="22" y="16"/>
                  </a:cubicBezTo>
                  <a:cubicBezTo>
                    <a:pt x="25" y="16"/>
                    <a:pt x="28" y="19"/>
                    <a:pt x="28" y="22"/>
                  </a:cubicBezTo>
                  <a:cubicBezTo>
                    <a:pt x="28" y="25"/>
                    <a:pt x="25" y="28"/>
                    <a:pt x="2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56" name="Freeform 25">
              <a:extLst>
                <a:ext uri="{FF2B5EF4-FFF2-40B4-BE49-F238E27FC236}">
                  <a16:creationId xmlns:a16="http://schemas.microsoft.com/office/drawing/2014/main" id="{876121F8-CE1D-44F4-86F8-B5502EE6CCDE}"/>
                </a:ext>
              </a:extLst>
            </p:cNvPr>
            <p:cNvSpPr>
              <a:spLocks noEditPoints="1"/>
            </p:cNvSpPr>
            <p:nvPr/>
          </p:nvSpPr>
          <p:spPr bwMode="auto">
            <a:xfrm>
              <a:off x="1204" y="800"/>
              <a:ext cx="324" cy="324"/>
            </a:xfrm>
            <a:custGeom>
              <a:avLst/>
              <a:gdLst>
                <a:gd name="T0" fmla="*/ 27 w 28"/>
                <a:gd name="T1" fmla="*/ 11 h 28"/>
                <a:gd name="T2" fmla="*/ 23 w 28"/>
                <a:gd name="T3" fmla="*/ 11 h 28"/>
                <a:gd name="T4" fmla="*/ 22 w 28"/>
                <a:gd name="T5" fmla="*/ 9 h 28"/>
                <a:gd name="T6" fmla="*/ 25 w 28"/>
                <a:gd name="T7" fmla="*/ 7 h 28"/>
                <a:gd name="T8" fmla="*/ 25 w 28"/>
                <a:gd name="T9" fmla="*/ 4 h 28"/>
                <a:gd name="T10" fmla="*/ 24 w 28"/>
                <a:gd name="T11" fmla="*/ 3 h 28"/>
                <a:gd name="T12" fmla="*/ 21 w 28"/>
                <a:gd name="T13" fmla="*/ 3 h 28"/>
                <a:gd name="T14" fmla="*/ 19 w 28"/>
                <a:gd name="T15" fmla="*/ 6 h 28"/>
                <a:gd name="T16" fmla="*/ 16 w 28"/>
                <a:gd name="T17" fmla="*/ 5 h 28"/>
                <a:gd name="T18" fmla="*/ 16 w 28"/>
                <a:gd name="T19" fmla="*/ 2 h 28"/>
                <a:gd name="T20" fmla="*/ 15 w 28"/>
                <a:gd name="T21" fmla="*/ 0 h 28"/>
                <a:gd name="T22" fmla="*/ 13 w 28"/>
                <a:gd name="T23" fmla="*/ 0 h 28"/>
                <a:gd name="T24" fmla="*/ 12 w 28"/>
                <a:gd name="T25" fmla="*/ 2 h 28"/>
                <a:gd name="T26" fmla="*/ 12 w 28"/>
                <a:gd name="T27" fmla="*/ 5 h 28"/>
                <a:gd name="T28" fmla="*/ 9 w 28"/>
                <a:gd name="T29" fmla="*/ 6 h 28"/>
                <a:gd name="T30" fmla="*/ 7 w 28"/>
                <a:gd name="T31" fmla="*/ 4 h 28"/>
                <a:gd name="T32" fmla="*/ 5 w 28"/>
                <a:gd name="T33" fmla="*/ 4 h 28"/>
                <a:gd name="T34" fmla="*/ 4 w 28"/>
                <a:gd name="T35" fmla="*/ 5 h 28"/>
                <a:gd name="T36" fmla="*/ 4 w 28"/>
                <a:gd name="T37" fmla="*/ 7 h 28"/>
                <a:gd name="T38" fmla="*/ 6 w 28"/>
                <a:gd name="T39" fmla="*/ 9 h 28"/>
                <a:gd name="T40" fmla="*/ 5 w 28"/>
                <a:gd name="T41" fmla="*/ 12 h 28"/>
                <a:gd name="T42" fmla="*/ 2 w 28"/>
                <a:gd name="T43" fmla="*/ 12 h 28"/>
                <a:gd name="T44" fmla="*/ 0 w 28"/>
                <a:gd name="T45" fmla="*/ 14 h 28"/>
                <a:gd name="T46" fmla="*/ 0 w 28"/>
                <a:gd name="T47" fmla="*/ 15 h 28"/>
                <a:gd name="T48" fmla="*/ 2 w 28"/>
                <a:gd name="T49" fmla="*/ 17 h 28"/>
                <a:gd name="T50" fmla="*/ 5 w 28"/>
                <a:gd name="T51" fmla="*/ 17 h 28"/>
                <a:gd name="T52" fmla="*/ 6 w 28"/>
                <a:gd name="T53" fmla="*/ 19 h 28"/>
                <a:gd name="T54" fmla="*/ 4 w 28"/>
                <a:gd name="T55" fmla="*/ 21 h 28"/>
                <a:gd name="T56" fmla="*/ 4 w 28"/>
                <a:gd name="T57" fmla="*/ 24 h 28"/>
                <a:gd name="T58" fmla="*/ 5 w 28"/>
                <a:gd name="T59" fmla="*/ 25 h 28"/>
                <a:gd name="T60" fmla="*/ 8 w 28"/>
                <a:gd name="T61" fmla="*/ 25 h 28"/>
                <a:gd name="T62" fmla="*/ 10 w 28"/>
                <a:gd name="T63" fmla="*/ 22 h 28"/>
                <a:gd name="T64" fmla="*/ 12 w 28"/>
                <a:gd name="T65" fmla="*/ 23 h 28"/>
                <a:gd name="T66" fmla="*/ 12 w 28"/>
                <a:gd name="T67" fmla="*/ 27 h 28"/>
                <a:gd name="T68" fmla="*/ 14 w 28"/>
                <a:gd name="T69" fmla="*/ 28 h 28"/>
                <a:gd name="T70" fmla="*/ 16 w 28"/>
                <a:gd name="T71" fmla="*/ 28 h 28"/>
                <a:gd name="T72" fmla="*/ 17 w 28"/>
                <a:gd name="T73" fmla="*/ 27 h 28"/>
                <a:gd name="T74" fmla="*/ 17 w 28"/>
                <a:gd name="T75" fmla="*/ 23 h 28"/>
                <a:gd name="T76" fmla="*/ 19 w 28"/>
                <a:gd name="T77" fmla="*/ 22 h 28"/>
                <a:gd name="T78" fmla="*/ 22 w 28"/>
                <a:gd name="T79" fmla="*/ 24 h 28"/>
                <a:gd name="T80" fmla="*/ 24 w 28"/>
                <a:gd name="T81" fmla="*/ 24 h 28"/>
                <a:gd name="T82" fmla="*/ 25 w 28"/>
                <a:gd name="T83" fmla="*/ 23 h 28"/>
                <a:gd name="T84" fmla="*/ 25 w 28"/>
                <a:gd name="T85" fmla="*/ 21 h 28"/>
                <a:gd name="T86" fmla="*/ 22 w 28"/>
                <a:gd name="T87" fmla="*/ 18 h 28"/>
                <a:gd name="T88" fmla="*/ 23 w 28"/>
                <a:gd name="T89" fmla="*/ 16 h 28"/>
                <a:gd name="T90" fmla="*/ 27 w 28"/>
                <a:gd name="T91" fmla="*/ 16 h 28"/>
                <a:gd name="T92" fmla="*/ 28 w 28"/>
                <a:gd name="T93" fmla="*/ 14 h 28"/>
                <a:gd name="T94" fmla="*/ 28 w 28"/>
                <a:gd name="T95" fmla="*/ 13 h 28"/>
                <a:gd name="T96" fmla="*/ 27 w 28"/>
                <a:gd name="T97" fmla="*/ 11 h 28"/>
                <a:gd name="T98" fmla="*/ 14 w 28"/>
                <a:gd name="T99" fmla="*/ 18 h 28"/>
                <a:gd name="T100" fmla="*/ 10 w 28"/>
                <a:gd name="T101" fmla="*/ 14 h 28"/>
                <a:gd name="T102" fmla="*/ 14 w 28"/>
                <a:gd name="T103" fmla="*/ 10 h 28"/>
                <a:gd name="T104" fmla="*/ 18 w 28"/>
                <a:gd name="T105" fmla="*/ 14 h 28"/>
                <a:gd name="T106" fmla="*/ 14 w 28"/>
                <a:gd name="T10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 h="28">
                  <a:moveTo>
                    <a:pt x="27" y="11"/>
                  </a:moveTo>
                  <a:cubicBezTo>
                    <a:pt x="23" y="11"/>
                    <a:pt x="23" y="11"/>
                    <a:pt x="23" y="11"/>
                  </a:cubicBezTo>
                  <a:cubicBezTo>
                    <a:pt x="23" y="11"/>
                    <a:pt x="22" y="10"/>
                    <a:pt x="22" y="9"/>
                  </a:cubicBezTo>
                  <a:cubicBezTo>
                    <a:pt x="25" y="7"/>
                    <a:pt x="25" y="7"/>
                    <a:pt x="25" y="7"/>
                  </a:cubicBezTo>
                  <a:cubicBezTo>
                    <a:pt x="25" y="6"/>
                    <a:pt x="25" y="5"/>
                    <a:pt x="25" y="4"/>
                  </a:cubicBezTo>
                  <a:cubicBezTo>
                    <a:pt x="24" y="3"/>
                    <a:pt x="24" y="3"/>
                    <a:pt x="24" y="3"/>
                  </a:cubicBezTo>
                  <a:cubicBezTo>
                    <a:pt x="23" y="3"/>
                    <a:pt x="22" y="3"/>
                    <a:pt x="21" y="3"/>
                  </a:cubicBezTo>
                  <a:cubicBezTo>
                    <a:pt x="19" y="6"/>
                    <a:pt x="19" y="6"/>
                    <a:pt x="19" y="6"/>
                  </a:cubicBezTo>
                  <a:cubicBezTo>
                    <a:pt x="18" y="6"/>
                    <a:pt x="17" y="5"/>
                    <a:pt x="16" y="5"/>
                  </a:cubicBezTo>
                  <a:cubicBezTo>
                    <a:pt x="16" y="2"/>
                    <a:pt x="16" y="2"/>
                    <a:pt x="16" y="2"/>
                  </a:cubicBezTo>
                  <a:cubicBezTo>
                    <a:pt x="16" y="1"/>
                    <a:pt x="16" y="0"/>
                    <a:pt x="15" y="0"/>
                  </a:cubicBezTo>
                  <a:cubicBezTo>
                    <a:pt x="13" y="0"/>
                    <a:pt x="13" y="0"/>
                    <a:pt x="13" y="0"/>
                  </a:cubicBezTo>
                  <a:cubicBezTo>
                    <a:pt x="12" y="0"/>
                    <a:pt x="12" y="1"/>
                    <a:pt x="12" y="2"/>
                  </a:cubicBezTo>
                  <a:cubicBezTo>
                    <a:pt x="12" y="5"/>
                    <a:pt x="12" y="5"/>
                    <a:pt x="12" y="5"/>
                  </a:cubicBezTo>
                  <a:cubicBezTo>
                    <a:pt x="11" y="5"/>
                    <a:pt x="10" y="6"/>
                    <a:pt x="9" y="6"/>
                  </a:cubicBezTo>
                  <a:cubicBezTo>
                    <a:pt x="7" y="4"/>
                    <a:pt x="7" y="4"/>
                    <a:pt x="7" y="4"/>
                  </a:cubicBezTo>
                  <a:cubicBezTo>
                    <a:pt x="6" y="3"/>
                    <a:pt x="5" y="3"/>
                    <a:pt x="5" y="4"/>
                  </a:cubicBezTo>
                  <a:cubicBezTo>
                    <a:pt x="4" y="5"/>
                    <a:pt x="4" y="5"/>
                    <a:pt x="4" y="5"/>
                  </a:cubicBezTo>
                  <a:cubicBezTo>
                    <a:pt x="3" y="6"/>
                    <a:pt x="3" y="7"/>
                    <a:pt x="4" y="7"/>
                  </a:cubicBezTo>
                  <a:cubicBezTo>
                    <a:pt x="6" y="9"/>
                    <a:pt x="6" y="9"/>
                    <a:pt x="6" y="9"/>
                  </a:cubicBezTo>
                  <a:cubicBezTo>
                    <a:pt x="5" y="10"/>
                    <a:pt x="5" y="11"/>
                    <a:pt x="5" y="12"/>
                  </a:cubicBezTo>
                  <a:cubicBezTo>
                    <a:pt x="2" y="12"/>
                    <a:pt x="2" y="12"/>
                    <a:pt x="2" y="12"/>
                  </a:cubicBezTo>
                  <a:cubicBezTo>
                    <a:pt x="1" y="12"/>
                    <a:pt x="0" y="13"/>
                    <a:pt x="0" y="14"/>
                  </a:cubicBezTo>
                  <a:cubicBezTo>
                    <a:pt x="0" y="15"/>
                    <a:pt x="0" y="15"/>
                    <a:pt x="0" y="15"/>
                  </a:cubicBezTo>
                  <a:cubicBezTo>
                    <a:pt x="0" y="16"/>
                    <a:pt x="1" y="17"/>
                    <a:pt x="2" y="17"/>
                  </a:cubicBezTo>
                  <a:cubicBezTo>
                    <a:pt x="5" y="17"/>
                    <a:pt x="5" y="17"/>
                    <a:pt x="5" y="17"/>
                  </a:cubicBezTo>
                  <a:cubicBezTo>
                    <a:pt x="5" y="18"/>
                    <a:pt x="6" y="19"/>
                    <a:pt x="6" y="19"/>
                  </a:cubicBezTo>
                  <a:cubicBezTo>
                    <a:pt x="4" y="21"/>
                    <a:pt x="4" y="21"/>
                    <a:pt x="4" y="21"/>
                  </a:cubicBezTo>
                  <a:cubicBezTo>
                    <a:pt x="4" y="22"/>
                    <a:pt x="4" y="23"/>
                    <a:pt x="4" y="24"/>
                  </a:cubicBezTo>
                  <a:cubicBezTo>
                    <a:pt x="5" y="25"/>
                    <a:pt x="5" y="25"/>
                    <a:pt x="5" y="25"/>
                  </a:cubicBezTo>
                  <a:cubicBezTo>
                    <a:pt x="6" y="25"/>
                    <a:pt x="7" y="25"/>
                    <a:pt x="8" y="25"/>
                  </a:cubicBezTo>
                  <a:cubicBezTo>
                    <a:pt x="10" y="22"/>
                    <a:pt x="10" y="22"/>
                    <a:pt x="10" y="22"/>
                  </a:cubicBezTo>
                  <a:cubicBezTo>
                    <a:pt x="11" y="23"/>
                    <a:pt x="12" y="23"/>
                    <a:pt x="12" y="23"/>
                  </a:cubicBezTo>
                  <a:cubicBezTo>
                    <a:pt x="12" y="27"/>
                    <a:pt x="12" y="27"/>
                    <a:pt x="12" y="27"/>
                  </a:cubicBezTo>
                  <a:cubicBezTo>
                    <a:pt x="12" y="27"/>
                    <a:pt x="13" y="28"/>
                    <a:pt x="14" y="28"/>
                  </a:cubicBezTo>
                  <a:cubicBezTo>
                    <a:pt x="16" y="28"/>
                    <a:pt x="16" y="28"/>
                    <a:pt x="16" y="28"/>
                  </a:cubicBezTo>
                  <a:cubicBezTo>
                    <a:pt x="16" y="28"/>
                    <a:pt x="17" y="27"/>
                    <a:pt x="17" y="27"/>
                  </a:cubicBezTo>
                  <a:cubicBezTo>
                    <a:pt x="17" y="23"/>
                    <a:pt x="17" y="23"/>
                    <a:pt x="17" y="23"/>
                  </a:cubicBezTo>
                  <a:cubicBezTo>
                    <a:pt x="18" y="23"/>
                    <a:pt x="19" y="22"/>
                    <a:pt x="19" y="22"/>
                  </a:cubicBezTo>
                  <a:cubicBezTo>
                    <a:pt x="22" y="24"/>
                    <a:pt x="22" y="24"/>
                    <a:pt x="22" y="24"/>
                  </a:cubicBezTo>
                  <a:cubicBezTo>
                    <a:pt x="22" y="25"/>
                    <a:pt x="23" y="25"/>
                    <a:pt x="24" y="24"/>
                  </a:cubicBezTo>
                  <a:cubicBezTo>
                    <a:pt x="25" y="23"/>
                    <a:pt x="25" y="23"/>
                    <a:pt x="25" y="23"/>
                  </a:cubicBezTo>
                  <a:cubicBezTo>
                    <a:pt x="26" y="23"/>
                    <a:pt x="26" y="22"/>
                    <a:pt x="25" y="21"/>
                  </a:cubicBezTo>
                  <a:cubicBezTo>
                    <a:pt x="22" y="18"/>
                    <a:pt x="22" y="18"/>
                    <a:pt x="22" y="18"/>
                  </a:cubicBezTo>
                  <a:cubicBezTo>
                    <a:pt x="23" y="18"/>
                    <a:pt x="23" y="17"/>
                    <a:pt x="23" y="16"/>
                  </a:cubicBezTo>
                  <a:cubicBezTo>
                    <a:pt x="27" y="16"/>
                    <a:pt x="27" y="16"/>
                    <a:pt x="27" y="16"/>
                  </a:cubicBezTo>
                  <a:cubicBezTo>
                    <a:pt x="28" y="16"/>
                    <a:pt x="28" y="15"/>
                    <a:pt x="28" y="14"/>
                  </a:cubicBezTo>
                  <a:cubicBezTo>
                    <a:pt x="28" y="13"/>
                    <a:pt x="28" y="13"/>
                    <a:pt x="28" y="13"/>
                  </a:cubicBezTo>
                  <a:cubicBezTo>
                    <a:pt x="28" y="12"/>
                    <a:pt x="28" y="11"/>
                    <a:pt x="27" y="11"/>
                  </a:cubicBezTo>
                  <a:close/>
                  <a:moveTo>
                    <a:pt x="14" y="18"/>
                  </a:moveTo>
                  <a:cubicBezTo>
                    <a:pt x="12" y="18"/>
                    <a:pt x="10" y="16"/>
                    <a:pt x="10" y="14"/>
                  </a:cubicBezTo>
                  <a:cubicBezTo>
                    <a:pt x="10" y="12"/>
                    <a:pt x="12" y="10"/>
                    <a:pt x="14" y="10"/>
                  </a:cubicBezTo>
                  <a:cubicBezTo>
                    <a:pt x="16" y="10"/>
                    <a:pt x="18" y="12"/>
                    <a:pt x="18" y="14"/>
                  </a:cubicBezTo>
                  <a:cubicBezTo>
                    <a:pt x="18" y="16"/>
                    <a:pt x="16" y="18"/>
                    <a:pt x="1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grpSp>
        <p:nvGrpSpPr>
          <p:cNvPr id="57" name="Group 5">
            <a:extLst>
              <a:ext uri="{FF2B5EF4-FFF2-40B4-BE49-F238E27FC236}">
                <a16:creationId xmlns:a16="http://schemas.microsoft.com/office/drawing/2014/main" id="{64083329-CD72-4AF2-AB01-5AECBC612FE9}"/>
              </a:ext>
            </a:extLst>
          </p:cNvPr>
          <p:cNvGrpSpPr>
            <a:grpSpLocks noChangeAspect="1"/>
          </p:cNvGrpSpPr>
          <p:nvPr/>
        </p:nvGrpSpPr>
        <p:grpSpPr bwMode="auto">
          <a:xfrm>
            <a:off x="1515060" y="4515682"/>
            <a:ext cx="200640" cy="174040"/>
            <a:chOff x="823" y="904"/>
            <a:chExt cx="684" cy="533"/>
          </a:xfrm>
          <a:solidFill>
            <a:schemeClr val="tx1"/>
          </a:solidFill>
        </p:grpSpPr>
        <p:sp>
          <p:nvSpPr>
            <p:cNvPr id="58" name="Freeform 6">
              <a:extLst>
                <a:ext uri="{FF2B5EF4-FFF2-40B4-BE49-F238E27FC236}">
                  <a16:creationId xmlns:a16="http://schemas.microsoft.com/office/drawing/2014/main" id="{02A890FB-69A3-4224-8D44-DA1C716A2FAC}"/>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59" name="Freeform 7">
              <a:extLst>
                <a:ext uri="{FF2B5EF4-FFF2-40B4-BE49-F238E27FC236}">
                  <a16:creationId xmlns:a16="http://schemas.microsoft.com/office/drawing/2014/main" id="{5EFE9591-2363-4C87-9E1B-1F295B68F1BB}"/>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sp>
        <p:nvSpPr>
          <p:cNvPr id="64" name="Freeform 29">
            <a:extLst>
              <a:ext uri="{FF2B5EF4-FFF2-40B4-BE49-F238E27FC236}">
                <a16:creationId xmlns:a16="http://schemas.microsoft.com/office/drawing/2014/main" id="{7E34DA4F-8485-4703-BA6D-00EFCE332426}"/>
              </a:ext>
            </a:extLst>
          </p:cNvPr>
          <p:cNvSpPr>
            <a:spLocks noEditPoints="1"/>
          </p:cNvSpPr>
          <p:nvPr/>
        </p:nvSpPr>
        <p:spPr bwMode="auto">
          <a:xfrm>
            <a:off x="2473034" y="1757960"/>
            <a:ext cx="195937" cy="244445"/>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1">
              <a:lumMod val="75000"/>
            </a:schemeClr>
          </a:solidFill>
          <a:ln w="19050" cap="flat" cmpd="sng" algn="ctr">
            <a:noFill/>
            <a:prstDash val="solid"/>
            <a:round/>
            <a:headEnd type="none" w="med" len="med"/>
            <a:tailEnd type="triangle" w="med" len="med"/>
          </a:ln>
          <a:effectLst/>
        </p:spPr>
        <p:txBody>
          <a:bodyPr vert="horz" wrap="square" lIns="91440" tIns="45720" rIns="91440" bIns="45720" numCol="1" anchor="t" anchorCtr="0" compatLnSpc="1">
            <a:prstTxWarp prst="textNoShape">
              <a:avLst/>
            </a:prstTxWarp>
          </a:bodyPr>
          <a:lstStyle/>
          <a:p>
            <a:endParaRPr lang="en-GB" b="1"/>
          </a:p>
        </p:txBody>
      </p:sp>
      <p:sp>
        <p:nvSpPr>
          <p:cNvPr id="67" name="Rectangle 66">
            <a:extLst>
              <a:ext uri="{FF2B5EF4-FFF2-40B4-BE49-F238E27FC236}">
                <a16:creationId xmlns:a16="http://schemas.microsoft.com/office/drawing/2014/main" id="{B01B3BA9-ECC4-49E8-B312-EC37C180675F}"/>
              </a:ext>
            </a:extLst>
          </p:cNvPr>
          <p:cNvSpPr/>
          <p:nvPr/>
        </p:nvSpPr>
        <p:spPr bwMode="auto">
          <a:xfrm>
            <a:off x="3306728" y="1090329"/>
            <a:ext cx="6456474" cy="2079648"/>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0" rIns="720000" bIns="14400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Tx/>
              <a:buFontTx/>
              <a:buChar char="-"/>
              <a:tabLst/>
            </a:pPr>
            <a:r>
              <a:rPr kumimoji="0" lang="en-GB" sz="1000" b="0" i="0" u="none" strike="noStrike" cap="none" normalizeH="0" baseline="0">
                <a:ln>
                  <a:noFill/>
                </a:ln>
                <a:solidFill>
                  <a:schemeClr val="tx2"/>
                </a:solidFill>
                <a:effectLst/>
                <a:latin typeface="Trebuchet MS" panose="020B0603020202020204" pitchFamily="34" charset="0"/>
              </a:rPr>
              <a:t>Brand image improvement</a:t>
            </a:r>
            <a:r>
              <a:rPr kumimoji="0" lang="en-GB" sz="1000" b="0" i="0" u="none" strike="noStrike" cap="none" normalizeH="0" baseline="0">
                <a:ln>
                  <a:noFill/>
                </a:ln>
                <a:solidFill>
                  <a:schemeClr val="tx1"/>
                </a:solidFill>
                <a:effectLst/>
                <a:latin typeface="Trebuchet MS" panose="020B0603020202020204" pitchFamily="34" charset="0"/>
              </a:rPr>
              <a:t> </a:t>
            </a:r>
            <a:r>
              <a:rPr lang="en-GB" sz="1000">
                <a:latin typeface="Trebuchet MS" panose="020B0603020202020204" pitchFamily="34" charset="0"/>
              </a:rPr>
              <a:t>with increasing visibility in medias</a:t>
            </a:r>
            <a:endParaRPr kumimoji="0" lang="en-GB" sz="1000" b="0" i="0" u="none" strike="noStrike" cap="none" normalizeH="0" baseline="0">
              <a:ln>
                <a:noFill/>
              </a:ln>
              <a:solidFill>
                <a:schemeClr val="tx1"/>
              </a:solidFill>
              <a:effectLst/>
              <a:latin typeface="Trebuchet MS" panose="020B0603020202020204" pitchFamily="34" charset="0"/>
            </a:endParaRPr>
          </a:p>
          <a:p>
            <a:pPr marL="628650" lvl="1" indent="-171450">
              <a:buFontTx/>
              <a:buChar char="-"/>
            </a:pPr>
            <a:r>
              <a:rPr lang="en-GB" sz="1000">
                <a:latin typeface="Trebuchet MS" pitchFamily="34" charset="0"/>
              </a:rPr>
              <a:t>New communication agency in February 2020 </a:t>
            </a:r>
          </a:p>
          <a:p>
            <a:pPr marL="628650" lvl="1" indent="-171450">
              <a:buFontTx/>
              <a:buChar char="-"/>
            </a:pPr>
            <a:r>
              <a:rPr lang="en-GB" sz="1000">
                <a:latin typeface="Trebuchet MS" pitchFamily="34" charset="0"/>
              </a:rPr>
              <a:t>Monitored and </a:t>
            </a:r>
            <a:r>
              <a:rPr lang="en-GB" sz="1000">
                <a:solidFill>
                  <a:schemeClr val="tx2"/>
                </a:solidFill>
                <a:latin typeface="Trebuchet MS" panose="020B0603020202020204" pitchFamily="34" charset="0"/>
              </a:rPr>
              <a:t>expert-positioned media interventions </a:t>
            </a:r>
            <a:r>
              <a:rPr lang="en-GB" sz="1000">
                <a:latin typeface="Trebuchet MS" pitchFamily="34" charset="0"/>
              </a:rPr>
              <a:t>since Covid-19 crisis</a:t>
            </a:r>
          </a:p>
          <a:p>
            <a:pPr marL="628650" lvl="1" indent="-171450">
              <a:buFontTx/>
              <a:buChar char="-"/>
            </a:pPr>
            <a:r>
              <a:rPr lang="en-GB" sz="1000">
                <a:latin typeface="Trebuchet MS" pitchFamily="34" charset="0"/>
              </a:rPr>
              <a:t>Active </a:t>
            </a:r>
            <a:r>
              <a:rPr lang="en-GB" sz="1000">
                <a:solidFill>
                  <a:schemeClr val="tx2"/>
                </a:solidFill>
                <a:latin typeface="Trebuchet MS" panose="020B0603020202020204" pitchFamily="34" charset="0"/>
              </a:rPr>
              <a:t>social media animations</a:t>
            </a:r>
            <a:r>
              <a:rPr lang="en-GB" sz="1000">
                <a:latin typeface="Trebuchet MS" panose="020B0603020202020204" pitchFamily="34" charset="0"/>
              </a:rPr>
              <a:t>, especially compliance webinars to educate the market (e.g. +100 followers per week in September on French LinkedIn account)</a:t>
            </a:r>
          </a:p>
          <a:p>
            <a:pPr marL="628650" lvl="1" indent="-171450">
              <a:buFontTx/>
              <a:buChar char="-"/>
            </a:pPr>
            <a:r>
              <a:rPr kumimoji="0" lang="en-GB" sz="1000" b="0" i="0" u="none" strike="noStrike" cap="none" normalizeH="0" baseline="0">
                <a:ln>
                  <a:noFill/>
                </a:ln>
                <a:solidFill>
                  <a:schemeClr val="tx1"/>
                </a:solidFill>
                <a:effectLst/>
                <a:latin typeface="Trebuchet MS" panose="020B0603020202020204" pitchFamily="34" charset="0"/>
              </a:rPr>
              <a:t>Increased brand image recognition in Benelux</a:t>
            </a:r>
          </a:p>
          <a:p>
            <a:pPr marL="171450" indent="-171450">
              <a:spcBef>
                <a:spcPts val="1200"/>
              </a:spcBef>
              <a:buFontTx/>
              <a:buChar char="-"/>
            </a:pPr>
            <a:r>
              <a:rPr lang="en-GB" sz="1000">
                <a:solidFill>
                  <a:schemeClr val="tx2"/>
                </a:solidFill>
                <a:latin typeface="Trebuchet MS" panose="020B0603020202020204" pitchFamily="34" charset="0"/>
                <a:sym typeface="Wingdings" panose="05000000000000000000" pitchFamily="2" charset="2"/>
              </a:rPr>
              <a:t>Increased local proximity with clients</a:t>
            </a:r>
          </a:p>
          <a:p>
            <a:pPr marL="628650" lvl="1" indent="-171450">
              <a:spcBef>
                <a:spcPts val="300"/>
              </a:spcBef>
              <a:buFontTx/>
              <a:buChar char="-"/>
            </a:pPr>
            <a:r>
              <a:rPr lang="en-GB" sz="1000">
                <a:latin typeface="Trebuchet MS" panose="020B0603020202020204" pitchFamily="34" charset="0"/>
                <a:sym typeface="Wingdings" panose="05000000000000000000" pitchFamily="2" charset="2"/>
              </a:rPr>
              <a:t>Deployed </a:t>
            </a:r>
            <a:r>
              <a:rPr lang="en-GB" sz="1000">
                <a:solidFill>
                  <a:schemeClr val="tx2"/>
                </a:solidFill>
                <a:latin typeface="Trebuchet MS" panose="020B0603020202020204" pitchFamily="34" charset="0"/>
                <a:sym typeface="Wingdings" panose="05000000000000000000" pitchFamily="2" charset="2"/>
              </a:rPr>
              <a:t>sales in region </a:t>
            </a:r>
            <a:r>
              <a:rPr lang="en-GB" sz="1000">
                <a:latin typeface="Trebuchet MS" panose="020B0603020202020204" pitchFamily="34" charset="0"/>
                <a:sym typeface="Wingdings" panose="05000000000000000000" pitchFamily="2" charset="2"/>
              </a:rPr>
              <a:t>in order to increase proximity with local large and mid-sized companies (4 sales since January 2020, with plan to increase in 2021)</a:t>
            </a:r>
            <a:endParaRPr lang="en-GB" sz="1000">
              <a:latin typeface="Trebuchet MS" panose="020B0603020202020204" pitchFamily="34" charset="0"/>
            </a:endParaRPr>
          </a:p>
          <a:p>
            <a:pPr marL="628650" lvl="1" indent="-171450">
              <a:spcBef>
                <a:spcPts val="300"/>
              </a:spcBef>
              <a:buFontTx/>
              <a:buChar char="-"/>
            </a:pPr>
            <a:r>
              <a:rPr lang="en-GB" sz="1000">
                <a:latin typeface="Trebuchet MS" panose="020B0603020202020204" pitchFamily="34" charset="0"/>
                <a:sym typeface="Wingdings" panose="05000000000000000000" pitchFamily="2" charset="2"/>
              </a:rPr>
              <a:t>Reinforcement of the </a:t>
            </a:r>
            <a:r>
              <a:rPr lang="en-GB" sz="1000">
                <a:solidFill>
                  <a:schemeClr val="tx2"/>
                </a:solidFill>
                <a:latin typeface="Trebuchet MS" panose="020B0603020202020204" pitchFamily="34" charset="0"/>
                <a:sym typeface="Wingdings" panose="05000000000000000000" pitchFamily="2" charset="2"/>
              </a:rPr>
              <a:t>indirect distribution </a:t>
            </a:r>
            <a:r>
              <a:rPr lang="en-GB" sz="1000">
                <a:latin typeface="Trebuchet MS" panose="020B0603020202020204" pitchFamily="34" charset="0"/>
                <a:sym typeface="Wingdings" panose="05000000000000000000" pitchFamily="2" charset="2"/>
              </a:rPr>
              <a:t>(e.g. via banks, brokers, software editors)</a:t>
            </a:r>
          </a:p>
          <a:p>
            <a:pPr marL="171450" marR="0" indent="-171450" defTabSz="914400" rtl="0" eaLnBrk="1" fontAlgn="base" latinLnBrk="0" hangingPunct="1">
              <a:lnSpc>
                <a:spcPct val="100000"/>
              </a:lnSpc>
              <a:spcBef>
                <a:spcPts val="1200"/>
              </a:spcBef>
              <a:spcAft>
                <a:spcPct val="0"/>
              </a:spcAft>
              <a:buClrTx/>
              <a:buSzTx/>
              <a:buFontTx/>
              <a:buChar char="-"/>
              <a:tabLst/>
            </a:pPr>
            <a:r>
              <a:rPr lang="en-GB" sz="1000">
                <a:solidFill>
                  <a:schemeClr val="tx2"/>
                </a:solidFill>
                <a:latin typeface="Trebuchet MS" panose="020B0603020202020204" pitchFamily="34" charset="0"/>
              </a:rPr>
              <a:t>Win-back operation</a:t>
            </a:r>
            <a:r>
              <a:rPr lang="en-GB" sz="1000">
                <a:latin typeface="Trebuchet MS" panose="020B0603020202020204" pitchFamily="34" charset="0"/>
              </a:rPr>
              <a:t> launching in September 2020 on churned customers</a:t>
            </a:r>
          </a:p>
        </p:txBody>
      </p:sp>
      <p:sp>
        <p:nvSpPr>
          <p:cNvPr id="69" name="Rectangle 68">
            <a:extLst>
              <a:ext uri="{FF2B5EF4-FFF2-40B4-BE49-F238E27FC236}">
                <a16:creationId xmlns:a16="http://schemas.microsoft.com/office/drawing/2014/main" id="{D07E061F-D086-4449-A323-D8BDA97BC0F0}"/>
              </a:ext>
            </a:extLst>
          </p:cNvPr>
          <p:cNvSpPr/>
          <p:nvPr/>
        </p:nvSpPr>
        <p:spPr bwMode="auto">
          <a:xfrm>
            <a:off x="3316727" y="3312770"/>
            <a:ext cx="6456474" cy="2305075"/>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720000" bIns="45720" numCol="1" rtlCol="0" anchor="t" anchorCtr="0" compatLnSpc="1">
            <a:prstTxWarp prst="textNoShape">
              <a:avLst/>
            </a:prstTxWarp>
          </a:bodyPr>
          <a:lstStyle/>
          <a:p>
            <a:pPr marL="171450" indent="-171450">
              <a:buFontTx/>
              <a:buChar char="-"/>
            </a:pPr>
            <a:r>
              <a:rPr kumimoji="0" lang="en-GB" sz="1000" b="0" i="0" u="none" strike="noStrike" cap="none" normalizeH="0" baseline="0">
                <a:ln>
                  <a:noFill/>
                </a:ln>
                <a:solidFill>
                  <a:schemeClr val="tx2"/>
                </a:solidFill>
                <a:effectLst/>
                <a:latin typeface="Trebuchet MS" panose="020B0603020202020204" pitchFamily="34" charset="0"/>
              </a:rPr>
              <a:t>New internal processes dedicated to market &amp; client knowledge</a:t>
            </a:r>
          </a:p>
          <a:p>
            <a:pPr marL="628650" lvl="1" indent="-171450">
              <a:buFontTx/>
              <a:buChar char="-"/>
            </a:pPr>
            <a:r>
              <a:rPr kumimoji="0" lang="en-GB" sz="1000" b="0" i="0" u="none" strike="noStrike" cap="none" normalizeH="0" baseline="0">
                <a:ln>
                  <a:noFill/>
                </a:ln>
                <a:solidFill>
                  <a:schemeClr val="tx1"/>
                </a:solidFill>
                <a:effectLst/>
                <a:latin typeface="Trebuchet MS" panose="020B0603020202020204" pitchFamily="34" charset="0"/>
              </a:rPr>
              <a:t>Launc</a:t>
            </a:r>
            <a:r>
              <a:rPr lang="en-GB" sz="1000">
                <a:latin typeface="Trebuchet MS" panose="020B0603020202020204" pitchFamily="34" charset="0"/>
              </a:rPr>
              <a:t>h of </a:t>
            </a:r>
            <a:r>
              <a:rPr kumimoji="0" lang="en-GB" sz="1000" b="0" i="0" u="none" strike="noStrike" cap="none" normalizeH="0" baseline="0" err="1">
                <a:ln>
                  <a:noFill/>
                </a:ln>
                <a:solidFill>
                  <a:schemeClr val="tx2"/>
                </a:solidFill>
                <a:effectLst/>
                <a:latin typeface="Trebuchet MS" panose="020B0603020202020204" pitchFamily="34" charset="0"/>
              </a:rPr>
              <a:t>Altares</a:t>
            </a:r>
            <a:r>
              <a:rPr kumimoji="0" lang="en-GB" sz="1000" b="0" i="0" u="none" strike="noStrike" cap="none" normalizeH="0" baseline="0">
                <a:ln>
                  <a:noFill/>
                </a:ln>
                <a:solidFill>
                  <a:schemeClr val="tx2"/>
                </a:solidFill>
                <a:effectLst/>
                <a:latin typeface="Trebuchet MS" panose="020B0603020202020204" pitchFamily="34" charset="0"/>
              </a:rPr>
              <a:t> Academy </a:t>
            </a:r>
            <a:r>
              <a:rPr kumimoji="0" lang="en-GB" sz="1000" b="0" i="0" u="none" strike="noStrike" cap="none" normalizeH="0" baseline="0">
                <a:ln>
                  <a:noFill/>
                </a:ln>
                <a:solidFill>
                  <a:schemeClr val="tx1"/>
                </a:solidFill>
                <a:effectLst/>
                <a:latin typeface="Trebuchet MS" pitchFamily="34" charset="0"/>
              </a:rPr>
              <a:t>in March 2020 with &gt;50 tutorial videos of 4 minutes to train and update sales team knowledge. Follow-up of training and certification planned in 2021</a:t>
            </a:r>
          </a:p>
          <a:p>
            <a:pPr marL="628650" lvl="1" indent="-171450">
              <a:buFontTx/>
              <a:buChar char="-"/>
            </a:pPr>
            <a:r>
              <a:rPr kumimoji="0" lang="en-GB" sz="1000" b="0" i="0" u="none" strike="noStrike" cap="none" normalizeH="0" baseline="0">
                <a:ln>
                  <a:noFill/>
                </a:ln>
                <a:solidFill>
                  <a:schemeClr val="tx1"/>
                </a:solidFill>
                <a:effectLst/>
                <a:latin typeface="Trebuchet MS" pitchFamily="34" charset="0"/>
              </a:rPr>
              <a:t>New process to efficiently respond to call for tenders (</a:t>
            </a:r>
            <a:r>
              <a:rPr lang="en-GB" sz="1000">
                <a:latin typeface="Trebuchet MS" panose="020B0603020202020204" pitchFamily="34" charset="0"/>
              </a:rPr>
              <a:t>sales, product and admin.)</a:t>
            </a:r>
          </a:p>
          <a:p>
            <a:pPr marL="628650" lvl="1" indent="-171450">
              <a:buFontTx/>
              <a:buChar char="-"/>
            </a:pPr>
            <a:r>
              <a:rPr lang="en-GB" sz="1000">
                <a:solidFill>
                  <a:schemeClr val="tx2"/>
                </a:solidFill>
                <a:latin typeface="Trebuchet MS" panose="020B0603020202020204" pitchFamily="34" charset="0"/>
              </a:rPr>
              <a:t>Strengthen sales representative performance </a:t>
            </a:r>
            <a:r>
              <a:rPr lang="en-GB" sz="1000">
                <a:latin typeface="Trebuchet MS" pitchFamily="34" charset="0"/>
              </a:rPr>
              <a:t>through new talent acquisition and management of the low performers</a:t>
            </a:r>
          </a:p>
          <a:p>
            <a:pPr marL="628650" lvl="1" indent="-171450">
              <a:buFontTx/>
              <a:buChar char="-"/>
            </a:pPr>
            <a:r>
              <a:rPr lang="en-GB" sz="1000">
                <a:latin typeface="Trebuchet MS" pitchFamily="34" charset="0"/>
              </a:rPr>
              <a:t>New </a:t>
            </a:r>
            <a:r>
              <a:rPr lang="en-GB" sz="1000">
                <a:solidFill>
                  <a:schemeClr val="tx2"/>
                </a:solidFill>
                <a:latin typeface="Trebuchet MS" panose="020B0603020202020204" pitchFamily="34" charset="0"/>
              </a:rPr>
              <a:t>sales organization per company size </a:t>
            </a:r>
            <a:r>
              <a:rPr lang="en-GB" sz="1000">
                <a:latin typeface="Trebuchet MS" panose="020B0603020202020204" pitchFamily="34" charset="0"/>
              </a:rPr>
              <a:t>(formerly per industry) with teams </a:t>
            </a:r>
            <a:r>
              <a:rPr kumimoji="0" lang="en-GB" sz="1000" b="0" i="0" u="none" strike="noStrike" cap="none" normalizeH="0" baseline="0">
                <a:ln>
                  <a:noFill/>
                </a:ln>
                <a:solidFill>
                  <a:schemeClr val="tx1"/>
                </a:solidFill>
                <a:effectLst/>
                <a:latin typeface="Trebuchet MS" panose="020B0603020202020204" pitchFamily="34" charset="0"/>
              </a:rPr>
              <a:t>focusing on large accounts and other teams on the </a:t>
            </a:r>
            <a:r>
              <a:rPr kumimoji="0" lang="en-GB" sz="1000" b="0" i="0" u="none" strike="noStrike" cap="none" normalizeH="0" baseline="0">
                <a:ln>
                  <a:noFill/>
                </a:ln>
                <a:effectLst/>
                <a:latin typeface="Trebuchet MS" panose="020B0603020202020204" pitchFamily="34" charset="0"/>
              </a:rPr>
              <a:t>upper part of the mid-market (as use cases </a:t>
            </a:r>
            <a:r>
              <a:rPr lang="en-GB" sz="1000">
                <a:latin typeface="Trebuchet MS" panose="020B0603020202020204" pitchFamily="34" charset="0"/>
              </a:rPr>
              <a:t>and client dynamics </a:t>
            </a:r>
            <a:r>
              <a:rPr kumimoji="0" lang="en-GB" sz="1000" b="0" i="0" u="none" strike="noStrike" cap="none" normalizeH="0" baseline="0">
                <a:ln>
                  <a:noFill/>
                </a:ln>
                <a:effectLst/>
                <a:latin typeface="Trebuchet MS" panose="020B0603020202020204" pitchFamily="34" charset="0"/>
              </a:rPr>
              <a:t>are different)</a:t>
            </a:r>
          </a:p>
          <a:p>
            <a:pPr lvl="1"/>
            <a:endParaRPr kumimoji="0" lang="en-GB" sz="1000" b="0" i="0" u="none" strike="noStrike" cap="none" normalizeH="0" baseline="0">
              <a:ln>
                <a:noFill/>
              </a:ln>
              <a:solidFill>
                <a:schemeClr val="tx1"/>
              </a:solidFill>
              <a:effectLst/>
              <a:latin typeface="Trebuchet MS" pitchFamily="34" charset="0"/>
            </a:endParaRPr>
          </a:p>
          <a:p>
            <a:pPr marL="171450" indent="-171450">
              <a:buFontTx/>
              <a:buChar char="-"/>
            </a:pPr>
            <a:r>
              <a:rPr kumimoji="0" lang="en-GB" sz="1000" b="0" i="0" u="none" strike="noStrike" cap="none" normalizeH="0" baseline="0">
                <a:ln>
                  <a:noFill/>
                </a:ln>
                <a:solidFill>
                  <a:schemeClr val="tx1"/>
                </a:solidFill>
                <a:effectLst/>
                <a:latin typeface="Trebuchet MS" pitchFamily="34" charset="0"/>
              </a:rPr>
              <a:t>Increase conversion of </a:t>
            </a:r>
            <a:r>
              <a:rPr kumimoji="0" lang="en-GB" sz="1000" b="0" i="0" u="none" strike="noStrike" cap="none" normalizeH="0" baseline="0">
                <a:ln>
                  <a:noFill/>
                </a:ln>
                <a:solidFill>
                  <a:schemeClr val="tx2"/>
                </a:solidFill>
                <a:effectLst/>
                <a:latin typeface="Trebuchet MS" panose="020B0603020202020204" pitchFamily="34" charset="0"/>
              </a:rPr>
              <a:t>new logos </a:t>
            </a:r>
            <a:r>
              <a:rPr kumimoji="0" lang="en-GB" sz="1000" b="0" i="0" u="none" strike="noStrike" cap="none" normalizeH="0" baseline="0">
                <a:ln>
                  <a:noFill/>
                </a:ln>
                <a:solidFill>
                  <a:schemeClr val="tx1"/>
                </a:solidFill>
                <a:effectLst/>
                <a:latin typeface="Trebuchet MS" panose="020B0603020202020204" pitchFamily="34" charset="0"/>
              </a:rPr>
              <a:t>thanks to </a:t>
            </a:r>
            <a:r>
              <a:rPr kumimoji="0" lang="en-GB" sz="1000" b="0" i="0" u="none" strike="noStrike" cap="none" normalizeH="0" baseline="0">
                <a:ln>
                  <a:noFill/>
                </a:ln>
                <a:solidFill>
                  <a:schemeClr val="tx2"/>
                </a:solidFill>
                <a:effectLst/>
                <a:latin typeface="Trebuchet MS" panose="020B0603020202020204" pitchFamily="34" charset="0"/>
              </a:rPr>
              <a:t>growing flagship products </a:t>
            </a:r>
            <a:r>
              <a:rPr kumimoji="0" lang="en-GB" sz="1000" b="0" i="0" u="none" strike="noStrike" cap="none" normalizeH="0" baseline="0">
                <a:ln>
                  <a:noFill/>
                </a:ln>
                <a:solidFill>
                  <a:schemeClr val="tx1"/>
                </a:solidFill>
                <a:effectLst/>
                <a:latin typeface="Trebuchet MS" panose="020B0603020202020204" pitchFamily="34" charset="0"/>
              </a:rPr>
              <a:t>(e.g. </a:t>
            </a:r>
            <a:r>
              <a:rPr kumimoji="0" lang="en-GB" sz="1000" b="0" i="0" u="none" strike="noStrike" cap="none" normalizeH="0" baseline="0" err="1">
                <a:ln>
                  <a:noFill/>
                </a:ln>
                <a:solidFill>
                  <a:schemeClr val="tx1"/>
                </a:solidFill>
                <a:effectLst/>
                <a:latin typeface="Trebuchet MS" panose="020B0603020202020204" pitchFamily="34" charset="0"/>
              </a:rPr>
              <a:t>indueD</a:t>
            </a:r>
            <a:r>
              <a:rPr lang="en-GB" sz="1000">
                <a:latin typeface="Trebuchet MS" panose="020B0603020202020204" pitchFamily="34" charset="0"/>
              </a:rPr>
              <a:t>, SMART, </a:t>
            </a:r>
            <a:r>
              <a:rPr kumimoji="0" lang="en-GB" sz="1000" b="0" i="0" u="none" strike="noStrike" cap="none" normalizeH="0" baseline="0">
                <a:ln>
                  <a:noFill/>
                </a:ln>
                <a:solidFill>
                  <a:schemeClr val="tx1"/>
                </a:solidFill>
                <a:effectLst/>
                <a:latin typeface="Trebuchet MS" panose="020B0603020202020204" pitchFamily="34" charset="0"/>
              </a:rPr>
              <a:t>connectors such as Direct+ and </a:t>
            </a:r>
            <a:r>
              <a:rPr kumimoji="0" lang="en-GB" sz="1000" b="0" i="0" u="none" strike="noStrike" cap="none" normalizeH="0" baseline="0" err="1">
                <a:ln>
                  <a:noFill/>
                </a:ln>
                <a:solidFill>
                  <a:schemeClr val="tx1"/>
                </a:solidFill>
                <a:effectLst/>
                <a:latin typeface="Trebuchet MS" panose="020B0603020202020204" pitchFamily="34" charset="0"/>
              </a:rPr>
              <a:t>Dataxess</a:t>
            </a:r>
            <a:r>
              <a:rPr kumimoji="0" lang="en-GB" sz="1000" b="0" i="0" u="none" strike="noStrike" cap="none" normalizeH="0" baseline="0">
                <a:ln>
                  <a:noFill/>
                </a:ln>
                <a:solidFill>
                  <a:schemeClr val="tx1"/>
                </a:solidFill>
                <a:effectLst/>
                <a:latin typeface="Trebuchet MS" panose="020B0603020202020204" pitchFamily="34" charset="0"/>
              </a:rPr>
              <a:t>…) with above-market functionalities and ongoing developments expected by clients</a:t>
            </a:r>
          </a:p>
        </p:txBody>
      </p:sp>
      <p:sp>
        <p:nvSpPr>
          <p:cNvPr id="70" name="Rectangle 69">
            <a:extLst>
              <a:ext uri="{FF2B5EF4-FFF2-40B4-BE49-F238E27FC236}">
                <a16:creationId xmlns:a16="http://schemas.microsoft.com/office/drawing/2014/main" id="{9DDDEAEA-FB2F-45FA-AC2F-1254E89E1A12}"/>
              </a:ext>
            </a:extLst>
          </p:cNvPr>
          <p:cNvSpPr/>
          <p:nvPr/>
        </p:nvSpPr>
        <p:spPr bwMode="auto">
          <a:xfrm>
            <a:off x="3327011" y="5728627"/>
            <a:ext cx="6456474" cy="76913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720000" bIns="45720" numCol="1" rtlCol="0" anchor="ctr" anchorCtr="0" compatLnSpc="1">
            <a:prstTxWarp prst="textNoShape">
              <a:avLst/>
            </a:prstTxWarp>
          </a:bodyPr>
          <a:lstStyle/>
          <a:p>
            <a:pPr marL="171450" marR="0" indent="-171450" defTabSz="914400" rtl="0" eaLnBrk="1" fontAlgn="base" latinLnBrk="0" hangingPunct="1">
              <a:lnSpc>
                <a:spcPct val="100000"/>
              </a:lnSpc>
              <a:spcBef>
                <a:spcPts val="1200"/>
              </a:spcBef>
              <a:spcAft>
                <a:spcPct val="0"/>
              </a:spcAft>
              <a:buClrTx/>
              <a:buSzTx/>
              <a:buFontTx/>
              <a:buChar char="-"/>
              <a:tabLst/>
            </a:pPr>
            <a:r>
              <a:rPr lang="en-GB" sz="1000">
                <a:solidFill>
                  <a:schemeClr val="tx2"/>
                </a:solidFill>
                <a:latin typeface="Trebuchet MS" panose="020B0603020202020204" pitchFamily="34" charset="0"/>
              </a:rPr>
              <a:t>Anticipation of potential client churn</a:t>
            </a:r>
            <a:r>
              <a:rPr lang="en-GB" sz="1000">
                <a:latin typeface="Trebuchet MS" panose="020B0603020202020204" pitchFamily="34" charset="0"/>
              </a:rPr>
              <a:t>, based on churn analysis giving a probability for the non-renewal of contracts and </a:t>
            </a:r>
            <a:r>
              <a:rPr lang="en-GB" sz="1000">
                <a:solidFill>
                  <a:schemeClr val="tx2"/>
                </a:solidFill>
                <a:latin typeface="Trebuchet MS" panose="020B0603020202020204" pitchFamily="34" charset="0"/>
              </a:rPr>
              <a:t>automated trigger </a:t>
            </a:r>
            <a:r>
              <a:rPr lang="en-GB" sz="1000">
                <a:latin typeface="Trebuchet MS" panose="020B0603020202020204" pitchFamily="34" charset="0"/>
              </a:rPr>
              <a:t>of customer animation to </a:t>
            </a:r>
            <a:r>
              <a:rPr lang="en-GB" sz="1000">
                <a:solidFill>
                  <a:schemeClr val="tx2"/>
                </a:solidFill>
                <a:latin typeface="Trebuchet MS" panose="020B0603020202020204" pitchFamily="34" charset="0"/>
              </a:rPr>
              <a:t>improve</a:t>
            </a:r>
            <a:r>
              <a:rPr lang="en-GB" sz="1000">
                <a:latin typeface="Trebuchet MS" panose="020B0603020202020204" pitchFamily="34" charset="0"/>
              </a:rPr>
              <a:t> the </a:t>
            </a:r>
            <a:r>
              <a:rPr lang="en-GB" sz="1000">
                <a:solidFill>
                  <a:schemeClr val="tx2"/>
                </a:solidFill>
                <a:latin typeface="Trebuchet MS" panose="020B0603020202020204" pitchFamily="34" charset="0"/>
              </a:rPr>
              <a:t>retention</a:t>
            </a:r>
            <a:r>
              <a:rPr lang="en-GB" sz="1000">
                <a:latin typeface="Trebuchet MS" panose="020B0603020202020204" pitchFamily="34" charset="0"/>
              </a:rPr>
              <a:t> </a:t>
            </a:r>
            <a:r>
              <a:rPr lang="en-GB" sz="1000">
                <a:solidFill>
                  <a:schemeClr val="tx2"/>
                </a:solidFill>
                <a:latin typeface="Trebuchet MS" panose="020B0603020202020204" pitchFamily="34" charset="0"/>
              </a:rPr>
              <a:t>rate</a:t>
            </a:r>
            <a:endParaRPr kumimoji="0" lang="en-GB" sz="1000" b="0" i="0" u="none" strike="noStrike" cap="none" normalizeH="0" baseline="0">
              <a:ln>
                <a:noFill/>
              </a:ln>
              <a:solidFill>
                <a:schemeClr val="tx2"/>
              </a:solidFill>
              <a:effectLst/>
              <a:latin typeface="Trebuchet MS" panose="020B0603020202020204" pitchFamily="34" charset="0"/>
            </a:endParaRPr>
          </a:p>
        </p:txBody>
      </p:sp>
      <p:grpSp>
        <p:nvGrpSpPr>
          <p:cNvPr id="61" name="Groupe 60">
            <a:extLst>
              <a:ext uri="{FF2B5EF4-FFF2-40B4-BE49-F238E27FC236}">
                <a16:creationId xmlns:a16="http://schemas.microsoft.com/office/drawing/2014/main" id="{495719F5-F240-4C4D-AEAF-3EA68BD89E55}"/>
              </a:ext>
            </a:extLst>
          </p:cNvPr>
          <p:cNvGrpSpPr/>
          <p:nvPr/>
        </p:nvGrpSpPr>
        <p:grpSpPr>
          <a:xfrm>
            <a:off x="7779762" y="6580025"/>
            <a:ext cx="591606" cy="186820"/>
            <a:chOff x="6900119" y="6591876"/>
            <a:chExt cx="591606" cy="186820"/>
          </a:xfrm>
        </p:grpSpPr>
        <p:grpSp>
          <p:nvGrpSpPr>
            <p:cNvPr id="62" name="Groupe 61">
              <a:extLst>
                <a:ext uri="{FF2B5EF4-FFF2-40B4-BE49-F238E27FC236}">
                  <a16:creationId xmlns:a16="http://schemas.microsoft.com/office/drawing/2014/main" id="{6F397302-84DD-487C-9FFF-D01FA74B2DFD}"/>
                </a:ext>
              </a:extLst>
            </p:cNvPr>
            <p:cNvGrpSpPr/>
            <p:nvPr/>
          </p:nvGrpSpPr>
          <p:grpSpPr>
            <a:xfrm>
              <a:off x="6900119" y="6591876"/>
              <a:ext cx="591606" cy="186820"/>
              <a:chOff x="6900119" y="6591876"/>
              <a:chExt cx="591606" cy="186820"/>
            </a:xfrm>
          </p:grpSpPr>
          <p:sp>
            <p:nvSpPr>
              <p:cNvPr id="66" name="Rectangle 65">
                <a:extLst>
                  <a:ext uri="{FF2B5EF4-FFF2-40B4-BE49-F238E27FC236}">
                    <a16:creationId xmlns:a16="http://schemas.microsoft.com/office/drawing/2014/main" id="{1165AB63-96F3-4690-9587-9D191E694BF3}"/>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1" name="Ellipse 70">
                <a:extLst>
                  <a:ext uri="{FF2B5EF4-FFF2-40B4-BE49-F238E27FC236}">
                    <a16:creationId xmlns:a16="http://schemas.microsoft.com/office/drawing/2014/main" id="{96C9DE94-C0AC-405E-9440-0BF0CC8E2955}"/>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63" name="Ellipse 62">
              <a:extLst>
                <a:ext uri="{FF2B5EF4-FFF2-40B4-BE49-F238E27FC236}">
                  <a16:creationId xmlns:a16="http://schemas.microsoft.com/office/drawing/2014/main" id="{5FCFFFA6-4C46-486D-9D44-E945D9C3CB66}"/>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5" name="Ellipse 64">
              <a:extLst>
                <a:ext uri="{FF2B5EF4-FFF2-40B4-BE49-F238E27FC236}">
                  <a16:creationId xmlns:a16="http://schemas.microsoft.com/office/drawing/2014/main" id="{CC2E881F-E531-4936-AC8E-7FBD923F69F9}"/>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72" name="Groupe 71">
            <a:extLst>
              <a:ext uri="{FF2B5EF4-FFF2-40B4-BE49-F238E27FC236}">
                <a16:creationId xmlns:a16="http://schemas.microsoft.com/office/drawing/2014/main" id="{9DAB7FED-18FE-4993-8EBA-44B90D0F923C}"/>
              </a:ext>
            </a:extLst>
          </p:cNvPr>
          <p:cNvGrpSpPr/>
          <p:nvPr/>
        </p:nvGrpSpPr>
        <p:grpSpPr>
          <a:xfrm>
            <a:off x="9113994" y="1150183"/>
            <a:ext cx="591606" cy="186820"/>
            <a:chOff x="6900119" y="6591876"/>
            <a:chExt cx="591606" cy="186820"/>
          </a:xfrm>
        </p:grpSpPr>
        <p:grpSp>
          <p:nvGrpSpPr>
            <p:cNvPr id="73" name="Groupe 72">
              <a:extLst>
                <a:ext uri="{FF2B5EF4-FFF2-40B4-BE49-F238E27FC236}">
                  <a16:creationId xmlns:a16="http://schemas.microsoft.com/office/drawing/2014/main" id="{0392804A-4789-4AEF-A90C-9DFE84A8F650}"/>
                </a:ext>
              </a:extLst>
            </p:cNvPr>
            <p:cNvGrpSpPr/>
            <p:nvPr/>
          </p:nvGrpSpPr>
          <p:grpSpPr>
            <a:xfrm>
              <a:off x="6900119" y="6591876"/>
              <a:ext cx="591606" cy="186820"/>
              <a:chOff x="6900119" y="6591876"/>
              <a:chExt cx="591606" cy="186820"/>
            </a:xfrm>
          </p:grpSpPr>
          <p:sp>
            <p:nvSpPr>
              <p:cNvPr id="77" name="Rectangle 76">
                <a:extLst>
                  <a:ext uri="{FF2B5EF4-FFF2-40B4-BE49-F238E27FC236}">
                    <a16:creationId xmlns:a16="http://schemas.microsoft.com/office/drawing/2014/main" id="{5CE4A4AB-FF8C-47D5-9596-248D41EE9587}"/>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8" name="Ellipse 77">
                <a:extLst>
                  <a:ext uri="{FF2B5EF4-FFF2-40B4-BE49-F238E27FC236}">
                    <a16:creationId xmlns:a16="http://schemas.microsoft.com/office/drawing/2014/main" id="{7B83081C-CC4B-4D92-ABB2-272521AED6E6}"/>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74" name="Ellipse 73">
              <a:extLst>
                <a:ext uri="{FF2B5EF4-FFF2-40B4-BE49-F238E27FC236}">
                  <a16:creationId xmlns:a16="http://schemas.microsoft.com/office/drawing/2014/main" id="{3A858E80-8ED0-4061-A884-4E37C0474C13}"/>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5" name="Ellipse 74">
              <a:extLst>
                <a:ext uri="{FF2B5EF4-FFF2-40B4-BE49-F238E27FC236}">
                  <a16:creationId xmlns:a16="http://schemas.microsoft.com/office/drawing/2014/main" id="{EF17B332-D452-47EF-8B11-D68412B16CEA}"/>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85" name="Groupe 84">
            <a:extLst>
              <a:ext uri="{FF2B5EF4-FFF2-40B4-BE49-F238E27FC236}">
                <a16:creationId xmlns:a16="http://schemas.microsoft.com/office/drawing/2014/main" id="{D6427C35-E663-4955-BA9D-99549AAB314B}"/>
              </a:ext>
            </a:extLst>
          </p:cNvPr>
          <p:cNvGrpSpPr/>
          <p:nvPr/>
        </p:nvGrpSpPr>
        <p:grpSpPr>
          <a:xfrm>
            <a:off x="9113994" y="2157081"/>
            <a:ext cx="591606" cy="186820"/>
            <a:chOff x="6900119" y="6591876"/>
            <a:chExt cx="591606" cy="186820"/>
          </a:xfrm>
        </p:grpSpPr>
        <p:grpSp>
          <p:nvGrpSpPr>
            <p:cNvPr id="86" name="Groupe 85">
              <a:extLst>
                <a:ext uri="{FF2B5EF4-FFF2-40B4-BE49-F238E27FC236}">
                  <a16:creationId xmlns:a16="http://schemas.microsoft.com/office/drawing/2014/main" id="{D181666E-CA1D-4AD0-9739-D357E58A34D4}"/>
                </a:ext>
              </a:extLst>
            </p:cNvPr>
            <p:cNvGrpSpPr/>
            <p:nvPr/>
          </p:nvGrpSpPr>
          <p:grpSpPr>
            <a:xfrm>
              <a:off x="6900119" y="6591876"/>
              <a:ext cx="591606" cy="186820"/>
              <a:chOff x="6900119" y="6591876"/>
              <a:chExt cx="591606" cy="186820"/>
            </a:xfrm>
          </p:grpSpPr>
          <p:sp>
            <p:nvSpPr>
              <p:cNvPr id="89" name="Rectangle 88">
                <a:extLst>
                  <a:ext uri="{FF2B5EF4-FFF2-40B4-BE49-F238E27FC236}">
                    <a16:creationId xmlns:a16="http://schemas.microsoft.com/office/drawing/2014/main" id="{6053AB6C-9FDC-4B92-B1CD-8944257A29C6}"/>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0" name="Ellipse 89">
                <a:extLst>
                  <a:ext uri="{FF2B5EF4-FFF2-40B4-BE49-F238E27FC236}">
                    <a16:creationId xmlns:a16="http://schemas.microsoft.com/office/drawing/2014/main" id="{0863FF30-2A5F-4B64-BBCB-B4CA3CE57912}"/>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87" name="Ellipse 86">
              <a:extLst>
                <a:ext uri="{FF2B5EF4-FFF2-40B4-BE49-F238E27FC236}">
                  <a16:creationId xmlns:a16="http://schemas.microsoft.com/office/drawing/2014/main" id="{4D2D3202-7804-42D3-A6BA-BBE53551F504}"/>
                </a:ext>
              </a:extLst>
            </p:cNvPr>
            <p:cNvSpPr/>
            <p:nvPr/>
          </p:nvSpPr>
          <p:spPr bwMode="auto">
            <a:xfrm>
              <a:off x="7123981" y="6624183"/>
              <a:ext cx="129915" cy="122206"/>
            </a:xfrm>
            <a:prstGeom prst="ellipse">
              <a:avLst/>
            </a:prstGeom>
            <a:solidFill>
              <a:srgbClr val="289B38"/>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8" name="Ellipse 87">
              <a:extLst>
                <a:ext uri="{FF2B5EF4-FFF2-40B4-BE49-F238E27FC236}">
                  <a16:creationId xmlns:a16="http://schemas.microsoft.com/office/drawing/2014/main" id="{9C157529-1135-4AC3-B62E-72F3508F2149}"/>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09" name="Groupe 108">
            <a:extLst>
              <a:ext uri="{FF2B5EF4-FFF2-40B4-BE49-F238E27FC236}">
                <a16:creationId xmlns:a16="http://schemas.microsoft.com/office/drawing/2014/main" id="{1F956FF8-FE11-48EF-B554-00FAFCF96BE3}"/>
              </a:ext>
            </a:extLst>
          </p:cNvPr>
          <p:cNvGrpSpPr/>
          <p:nvPr/>
        </p:nvGrpSpPr>
        <p:grpSpPr>
          <a:xfrm>
            <a:off x="9113994" y="2966828"/>
            <a:ext cx="591606" cy="186820"/>
            <a:chOff x="6900119" y="6591876"/>
            <a:chExt cx="591606" cy="186820"/>
          </a:xfrm>
        </p:grpSpPr>
        <p:grpSp>
          <p:nvGrpSpPr>
            <p:cNvPr id="110" name="Groupe 109">
              <a:extLst>
                <a:ext uri="{FF2B5EF4-FFF2-40B4-BE49-F238E27FC236}">
                  <a16:creationId xmlns:a16="http://schemas.microsoft.com/office/drawing/2014/main" id="{ED4A3318-077A-4A14-97AF-26D693A5CAEF}"/>
                </a:ext>
              </a:extLst>
            </p:cNvPr>
            <p:cNvGrpSpPr/>
            <p:nvPr/>
          </p:nvGrpSpPr>
          <p:grpSpPr>
            <a:xfrm>
              <a:off x="6900119" y="6591876"/>
              <a:ext cx="591606" cy="186820"/>
              <a:chOff x="6900119" y="6591876"/>
              <a:chExt cx="591606" cy="186820"/>
            </a:xfrm>
          </p:grpSpPr>
          <p:sp>
            <p:nvSpPr>
              <p:cNvPr id="113" name="Rectangle 112">
                <a:extLst>
                  <a:ext uri="{FF2B5EF4-FFF2-40B4-BE49-F238E27FC236}">
                    <a16:creationId xmlns:a16="http://schemas.microsoft.com/office/drawing/2014/main" id="{1BD0CC35-5A4C-467B-A6F2-FBF2C7727DD4}"/>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4" name="Ellipse 113">
                <a:extLst>
                  <a:ext uri="{FF2B5EF4-FFF2-40B4-BE49-F238E27FC236}">
                    <a16:creationId xmlns:a16="http://schemas.microsoft.com/office/drawing/2014/main" id="{CC3AC6DC-C91D-4A06-98A4-E3D98B070564}"/>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11" name="Ellipse 110">
              <a:extLst>
                <a:ext uri="{FF2B5EF4-FFF2-40B4-BE49-F238E27FC236}">
                  <a16:creationId xmlns:a16="http://schemas.microsoft.com/office/drawing/2014/main" id="{093C4265-EF20-4B2B-B10F-E03C3D9471E0}"/>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2" name="Ellipse 111">
              <a:extLst>
                <a:ext uri="{FF2B5EF4-FFF2-40B4-BE49-F238E27FC236}">
                  <a16:creationId xmlns:a16="http://schemas.microsoft.com/office/drawing/2014/main" id="{4A7EB267-1242-485C-AF2E-F2E0C9AA31C4}"/>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15" name="Groupe 114">
            <a:extLst>
              <a:ext uri="{FF2B5EF4-FFF2-40B4-BE49-F238E27FC236}">
                <a16:creationId xmlns:a16="http://schemas.microsoft.com/office/drawing/2014/main" id="{D5851DCF-6365-4C3E-96A6-2344224B2A53}"/>
              </a:ext>
            </a:extLst>
          </p:cNvPr>
          <p:cNvGrpSpPr/>
          <p:nvPr/>
        </p:nvGrpSpPr>
        <p:grpSpPr>
          <a:xfrm>
            <a:off x="9113994" y="3387240"/>
            <a:ext cx="591606" cy="186820"/>
            <a:chOff x="6900119" y="6591876"/>
            <a:chExt cx="591606" cy="186820"/>
          </a:xfrm>
        </p:grpSpPr>
        <p:grpSp>
          <p:nvGrpSpPr>
            <p:cNvPr id="116" name="Groupe 115">
              <a:extLst>
                <a:ext uri="{FF2B5EF4-FFF2-40B4-BE49-F238E27FC236}">
                  <a16:creationId xmlns:a16="http://schemas.microsoft.com/office/drawing/2014/main" id="{49A93929-2940-4F81-94ED-7D604B27AEAE}"/>
                </a:ext>
              </a:extLst>
            </p:cNvPr>
            <p:cNvGrpSpPr/>
            <p:nvPr/>
          </p:nvGrpSpPr>
          <p:grpSpPr>
            <a:xfrm>
              <a:off x="6900119" y="6591876"/>
              <a:ext cx="591606" cy="186820"/>
              <a:chOff x="6900119" y="6591876"/>
              <a:chExt cx="591606" cy="186820"/>
            </a:xfrm>
          </p:grpSpPr>
          <p:sp>
            <p:nvSpPr>
              <p:cNvPr id="119" name="Rectangle 118">
                <a:extLst>
                  <a:ext uri="{FF2B5EF4-FFF2-40B4-BE49-F238E27FC236}">
                    <a16:creationId xmlns:a16="http://schemas.microsoft.com/office/drawing/2014/main" id="{110C25E9-FD5E-4769-963E-A748DD72B748}"/>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0" name="Ellipse 119">
                <a:extLst>
                  <a:ext uri="{FF2B5EF4-FFF2-40B4-BE49-F238E27FC236}">
                    <a16:creationId xmlns:a16="http://schemas.microsoft.com/office/drawing/2014/main" id="{C077586E-6515-41ED-9FBF-D9E3FA349393}"/>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sp>
          <p:nvSpPr>
            <p:cNvPr id="117" name="Ellipse 116">
              <a:extLst>
                <a:ext uri="{FF2B5EF4-FFF2-40B4-BE49-F238E27FC236}">
                  <a16:creationId xmlns:a16="http://schemas.microsoft.com/office/drawing/2014/main" id="{3EA37A1E-9606-4B67-B5B3-2D38CB048C95}"/>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8" name="Ellipse 117">
              <a:extLst>
                <a:ext uri="{FF2B5EF4-FFF2-40B4-BE49-F238E27FC236}">
                  <a16:creationId xmlns:a16="http://schemas.microsoft.com/office/drawing/2014/main" id="{912024F4-820E-4283-A95E-EBE16781FEAA}"/>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21" name="Groupe 120">
            <a:extLst>
              <a:ext uri="{FF2B5EF4-FFF2-40B4-BE49-F238E27FC236}">
                <a16:creationId xmlns:a16="http://schemas.microsoft.com/office/drawing/2014/main" id="{BD1C711B-3F15-41A3-BBC0-1F34898B72ED}"/>
              </a:ext>
            </a:extLst>
          </p:cNvPr>
          <p:cNvGrpSpPr/>
          <p:nvPr/>
        </p:nvGrpSpPr>
        <p:grpSpPr>
          <a:xfrm>
            <a:off x="9113994" y="6019784"/>
            <a:ext cx="591606" cy="186820"/>
            <a:chOff x="6900119" y="6591876"/>
            <a:chExt cx="591606" cy="186820"/>
          </a:xfrm>
        </p:grpSpPr>
        <p:grpSp>
          <p:nvGrpSpPr>
            <p:cNvPr id="122" name="Groupe 121">
              <a:extLst>
                <a:ext uri="{FF2B5EF4-FFF2-40B4-BE49-F238E27FC236}">
                  <a16:creationId xmlns:a16="http://schemas.microsoft.com/office/drawing/2014/main" id="{05A48F00-601F-40A5-9AA4-662A5A796F8B}"/>
                </a:ext>
              </a:extLst>
            </p:cNvPr>
            <p:cNvGrpSpPr/>
            <p:nvPr/>
          </p:nvGrpSpPr>
          <p:grpSpPr>
            <a:xfrm>
              <a:off x="6900119" y="6591876"/>
              <a:ext cx="591606" cy="186820"/>
              <a:chOff x="6900119" y="6591876"/>
              <a:chExt cx="591606" cy="186820"/>
            </a:xfrm>
          </p:grpSpPr>
          <p:sp>
            <p:nvSpPr>
              <p:cNvPr id="125" name="Rectangle 124">
                <a:extLst>
                  <a:ext uri="{FF2B5EF4-FFF2-40B4-BE49-F238E27FC236}">
                    <a16:creationId xmlns:a16="http://schemas.microsoft.com/office/drawing/2014/main" id="{E88330B5-99C7-4D7D-9E99-8858D0BEA3E9}"/>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6" name="Ellipse 125">
                <a:extLst>
                  <a:ext uri="{FF2B5EF4-FFF2-40B4-BE49-F238E27FC236}">
                    <a16:creationId xmlns:a16="http://schemas.microsoft.com/office/drawing/2014/main" id="{D1440F17-090D-4A8C-BD35-3A46735794DD}"/>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23" name="Ellipse 122">
              <a:extLst>
                <a:ext uri="{FF2B5EF4-FFF2-40B4-BE49-F238E27FC236}">
                  <a16:creationId xmlns:a16="http://schemas.microsoft.com/office/drawing/2014/main" id="{BCBD45F6-9F97-4171-8551-B40F62A36A75}"/>
                </a:ext>
              </a:extLst>
            </p:cNvPr>
            <p:cNvSpPr/>
            <p:nvPr/>
          </p:nvSpPr>
          <p:spPr bwMode="auto">
            <a:xfrm>
              <a:off x="7123981" y="6624183"/>
              <a:ext cx="129915" cy="122206"/>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4" name="Ellipse 123">
              <a:extLst>
                <a:ext uri="{FF2B5EF4-FFF2-40B4-BE49-F238E27FC236}">
                  <a16:creationId xmlns:a16="http://schemas.microsoft.com/office/drawing/2014/main" id="{0ED208F1-3479-47AD-A936-711CEFBFEA5E}"/>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4" name="Ellipse 163">
              <a:extLst>
                <a:ext uri="{FF2B5EF4-FFF2-40B4-BE49-F238E27FC236}">
                  <a16:creationId xmlns:a16="http://schemas.microsoft.com/office/drawing/2014/main" id="{3D18F167-0B1D-46A9-96C8-8C68973685EE}"/>
                </a:ext>
              </a:extLst>
            </p:cNvPr>
            <p:cNvSpPr/>
            <p:nvPr/>
          </p:nvSpPr>
          <p:spPr bwMode="auto">
            <a:xfrm>
              <a:off x="7118437"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sp>
        <p:nvSpPr>
          <p:cNvPr id="163" name="ZoneTexte 162">
            <a:extLst>
              <a:ext uri="{FF2B5EF4-FFF2-40B4-BE49-F238E27FC236}">
                <a16:creationId xmlns:a16="http://schemas.microsoft.com/office/drawing/2014/main" id="{29C56565-60EB-4653-B129-B14E79554D3A}"/>
              </a:ext>
            </a:extLst>
          </p:cNvPr>
          <p:cNvSpPr txBox="1"/>
          <p:nvPr/>
        </p:nvSpPr>
        <p:spPr>
          <a:xfrm>
            <a:off x="6309226" y="6566427"/>
            <a:ext cx="1493334" cy="248436"/>
          </a:xfrm>
          <a:prstGeom prst="rect">
            <a:avLst/>
          </a:prstGeom>
          <a:noFill/>
        </p:spPr>
        <p:txBody>
          <a:bodyPr wrap="square" rtlCol="0">
            <a:spAutoFit/>
          </a:bodyPr>
          <a:lstStyle/>
          <a:p>
            <a:pPr algn="ctr"/>
            <a:r>
              <a:rPr lang="en-GB" sz="1000">
                <a:latin typeface="Trebuchet MS" panose="020B0603020202020204" pitchFamily="34" charset="0"/>
              </a:rPr>
              <a:t>Level of advancement </a:t>
            </a:r>
          </a:p>
        </p:txBody>
      </p:sp>
      <p:grpSp>
        <p:nvGrpSpPr>
          <p:cNvPr id="137" name="Groupe 136">
            <a:extLst>
              <a:ext uri="{FF2B5EF4-FFF2-40B4-BE49-F238E27FC236}">
                <a16:creationId xmlns:a16="http://schemas.microsoft.com/office/drawing/2014/main" id="{32E8ADE3-83FF-4942-8678-531C918A8355}"/>
              </a:ext>
            </a:extLst>
          </p:cNvPr>
          <p:cNvGrpSpPr/>
          <p:nvPr/>
        </p:nvGrpSpPr>
        <p:grpSpPr>
          <a:xfrm>
            <a:off x="8448150" y="-11528"/>
            <a:ext cx="1435548" cy="588143"/>
            <a:chOff x="8448150" y="-11528"/>
            <a:chExt cx="1435548" cy="588143"/>
          </a:xfrm>
        </p:grpSpPr>
        <p:sp>
          <p:nvSpPr>
            <p:cNvPr id="138" name="Rectangle : coins arrondis 199">
              <a:extLst>
                <a:ext uri="{FF2B5EF4-FFF2-40B4-BE49-F238E27FC236}">
                  <a16:creationId xmlns:a16="http://schemas.microsoft.com/office/drawing/2014/main" id="{9B9861C8-B073-4167-8114-A08EF57F0873}"/>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71" name="Rectangle : coins arrondis 200">
              <a:extLst>
                <a:ext uri="{FF2B5EF4-FFF2-40B4-BE49-F238E27FC236}">
                  <a16:creationId xmlns:a16="http://schemas.microsoft.com/office/drawing/2014/main" id="{F9AB1FF8-5A21-4679-9DD3-AC6A2AC2F705}"/>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72" name="Rectangle : coins arrondis 201">
              <a:extLst>
                <a:ext uri="{FF2B5EF4-FFF2-40B4-BE49-F238E27FC236}">
                  <a16:creationId xmlns:a16="http://schemas.microsoft.com/office/drawing/2014/main" id="{AA96600F-D544-4FF4-AF1D-E2F7C236E172}"/>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73" name="ZoneTexte 18">
              <a:extLst>
                <a:ext uri="{FF2B5EF4-FFF2-40B4-BE49-F238E27FC236}">
                  <a16:creationId xmlns:a16="http://schemas.microsoft.com/office/drawing/2014/main" id="{A33466B1-3AA5-408C-9AC4-5B1EDF579156}"/>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74" name="Graphique 128" descr="Jauge">
              <a:extLst>
                <a:ext uri="{FF2B5EF4-FFF2-40B4-BE49-F238E27FC236}">
                  <a16:creationId xmlns:a16="http://schemas.microsoft.com/office/drawing/2014/main" id="{592A9DAB-B967-49E9-A58D-CFB90158EF5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75" name="Graphique 90" descr="Poignée de main">
              <a:extLst>
                <a:ext uri="{FF2B5EF4-FFF2-40B4-BE49-F238E27FC236}">
                  <a16:creationId xmlns:a16="http://schemas.microsoft.com/office/drawing/2014/main" id="{57A50973-5A79-4B2A-B1F0-FFB7D13BDFE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176" name="Graphique 74" descr="Mégaphone">
              <a:extLst>
                <a:ext uri="{FF2B5EF4-FFF2-40B4-BE49-F238E27FC236}">
                  <a16:creationId xmlns:a16="http://schemas.microsoft.com/office/drawing/2014/main" id="{4D9C00D6-34C9-4B1A-A1ED-FBED071C554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177" name="Picture 2" descr="Drapeau France">
              <a:extLst>
                <a:ext uri="{FF2B5EF4-FFF2-40B4-BE49-F238E27FC236}">
                  <a16:creationId xmlns:a16="http://schemas.microsoft.com/office/drawing/2014/main" id="{E97500D5-A890-4C46-8912-22185909C384}"/>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78" name="Picture 2" descr="5 ft x 3 ft 150 x 90 cm-DRAPEAU BELGE Belgique 100% Polyester ...">
              <a:extLst>
                <a:ext uri="{FF2B5EF4-FFF2-40B4-BE49-F238E27FC236}">
                  <a16:creationId xmlns:a16="http://schemas.microsoft.com/office/drawing/2014/main" id="{A4B0C93B-61DE-4694-B77A-9F69E69CF206}"/>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79" name="Picture 2 - 1" descr="Drapeau des Pays-Bas — Wikipédia">
              <a:extLst>
                <a:ext uri="{FF2B5EF4-FFF2-40B4-BE49-F238E27FC236}">
                  <a16:creationId xmlns:a16="http://schemas.microsoft.com/office/drawing/2014/main" id="{7BB03594-30E0-460C-9C83-B9B46CA3FE7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80" name="Picture 2 - 2" descr="Drapeau du Luxembourg">
              <a:extLst>
                <a:ext uri="{FF2B5EF4-FFF2-40B4-BE49-F238E27FC236}">
                  <a16:creationId xmlns:a16="http://schemas.microsoft.com/office/drawing/2014/main" id="{09853566-75BF-4F00-81CA-0C9715CD270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81" name="ZoneTexte 180">
              <a:extLst>
                <a:ext uri="{FF2B5EF4-FFF2-40B4-BE49-F238E27FC236}">
                  <a16:creationId xmlns:a16="http://schemas.microsoft.com/office/drawing/2014/main" id="{AE16EBEB-B8B1-4BE4-B707-C3B26E4BC10C}"/>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mercial push</a:t>
              </a:r>
            </a:p>
          </p:txBody>
        </p:sp>
      </p:grpSp>
      <p:cxnSp>
        <p:nvCxnSpPr>
          <p:cNvPr id="16" name="Connecteur droit 15">
            <a:extLst>
              <a:ext uri="{FF2B5EF4-FFF2-40B4-BE49-F238E27FC236}">
                <a16:creationId xmlns:a16="http://schemas.microsoft.com/office/drawing/2014/main" id="{572FAEA0-9AE4-422A-AC0F-75151383C470}"/>
              </a:ext>
            </a:extLst>
          </p:cNvPr>
          <p:cNvCxnSpPr>
            <a:cxnSpLocks/>
          </p:cNvCxnSpPr>
          <p:nvPr/>
        </p:nvCxnSpPr>
        <p:spPr bwMode="auto">
          <a:xfrm flipV="1">
            <a:off x="3306728" y="971098"/>
            <a:ext cx="6608181" cy="0"/>
          </a:xfrm>
          <a:prstGeom prst="line">
            <a:avLst/>
          </a:prstGeom>
          <a:solidFill>
            <a:schemeClr val="accent1"/>
          </a:solidFill>
          <a:ln w="9525" cap="flat" cmpd="sng" algn="ctr">
            <a:solidFill>
              <a:schemeClr val="accent1"/>
            </a:solidFill>
            <a:prstDash val="solid"/>
            <a:round/>
            <a:headEnd type="none" w="med" len="med"/>
            <a:tailEnd type="none" w="med" len="med"/>
          </a:ln>
          <a:effectLst/>
        </p:spPr>
      </p:cxnSp>
      <p:sp>
        <p:nvSpPr>
          <p:cNvPr id="14" name="ZoneTexte 13">
            <a:extLst>
              <a:ext uri="{FF2B5EF4-FFF2-40B4-BE49-F238E27FC236}">
                <a16:creationId xmlns:a16="http://schemas.microsoft.com/office/drawing/2014/main" id="{8FB8BF63-91D2-4492-8E01-1510EE913A60}"/>
              </a:ext>
            </a:extLst>
          </p:cNvPr>
          <p:cNvSpPr txBox="1"/>
          <p:nvPr/>
        </p:nvSpPr>
        <p:spPr>
          <a:xfrm>
            <a:off x="4953000" y="856745"/>
            <a:ext cx="2789168" cy="246221"/>
          </a:xfrm>
          <a:prstGeom prst="rect">
            <a:avLst/>
          </a:prstGeom>
          <a:solidFill>
            <a:schemeClr val="bg1"/>
          </a:solidFill>
        </p:spPr>
        <p:txBody>
          <a:bodyPr wrap="square" rtlCol="0">
            <a:spAutoFit/>
          </a:bodyPr>
          <a:lstStyle/>
          <a:p>
            <a:r>
              <a:rPr lang="en-GB" sz="1000" b="1" i="1">
                <a:solidFill>
                  <a:schemeClr val="accent1">
                    <a:lumMod val="75000"/>
                  </a:schemeClr>
                </a:solidFill>
                <a:latin typeface="Trebuchet MS" panose="020B0603020202020204" pitchFamily="34" charset="0"/>
              </a:rPr>
              <a:t>Recently launched and planned initiatives</a:t>
            </a:r>
          </a:p>
        </p:txBody>
      </p:sp>
      <p:sp>
        <p:nvSpPr>
          <p:cNvPr id="60" name="ZoneTexte 59">
            <a:extLst>
              <a:ext uri="{FF2B5EF4-FFF2-40B4-BE49-F238E27FC236}">
                <a16:creationId xmlns:a16="http://schemas.microsoft.com/office/drawing/2014/main" id="{90FF76A5-AFF8-4A68-8F7D-C6FC521109FB}"/>
              </a:ext>
            </a:extLst>
          </p:cNvPr>
          <p:cNvSpPr txBox="1"/>
          <p:nvPr/>
        </p:nvSpPr>
        <p:spPr>
          <a:xfrm>
            <a:off x="8875892" y="729564"/>
            <a:ext cx="1019967" cy="400110"/>
          </a:xfrm>
          <a:prstGeom prst="rect">
            <a:avLst/>
          </a:prstGeom>
          <a:solidFill>
            <a:schemeClr val="bg1"/>
          </a:solidFill>
        </p:spPr>
        <p:txBody>
          <a:bodyPr wrap="square" rtlCol="0">
            <a:spAutoFit/>
          </a:bodyPr>
          <a:lstStyle/>
          <a:p>
            <a:pPr algn="ctr"/>
            <a:r>
              <a:rPr lang="en-GB" sz="1000" b="1" i="1">
                <a:solidFill>
                  <a:schemeClr val="accent1">
                    <a:lumMod val="75000"/>
                  </a:schemeClr>
                </a:solidFill>
                <a:latin typeface="Trebuchet MS" panose="020B0603020202020204" pitchFamily="34" charset="0"/>
              </a:rPr>
              <a:t>Level of advancement </a:t>
            </a:r>
          </a:p>
        </p:txBody>
      </p:sp>
      <p:sp>
        <p:nvSpPr>
          <p:cNvPr id="183" name="ZoneTexte 182">
            <a:extLst>
              <a:ext uri="{FF2B5EF4-FFF2-40B4-BE49-F238E27FC236}">
                <a16:creationId xmlns:a16="http://schemas.microsoft.com/office/drawing/2014/main" id="{5A162B31-116D-47F0-813B-0AE0621FCA50}"/>
              </a:ext>
            </a:extLst>
          </p:cNvPr>
          <p:cNvSpPr txBox="1"/>
          <p:nvPr/>
        </p:nvSpPr>
        <p:spPr>
          <a:xfrm rot="16200000">
            <a:off x="2892406" y="1199670"/>
            <a:ext cx="677507" cy="261610"/>
          </a:xfrm>
          <a:prstGeom prst="rect">
            <a:avLst/>
          </a:prstGeom>
          <a:noFill/>
        </p:spPr>
        <p:txBody>
          <a:bodyPr wrap="square">
            <a:spAutoFit/>
          </a:bodyPr>
          <a:lstStyle/>
          <a:p>
            <a:r>
              <a:rPr kumimoji="0" lang="en-GB" sz="1100" b="1" i="0" u="none" strike="noStrike" kern="1200" cap="none" spc="0" normalizeH="0" baseline="0" noProof="0">
                <a:ln>
                  <a:noFill/>
                </a:ln>
                <a:solidFill>
                  <a:srgbClr val="00A3E2">
                    <a:lumMod val="75000"/>
                  </a:srgbClr>
                </a:solidFill>
                <a:effectLst/>
                <a:uLnTx/>
                <a:uFillTx/>
                <a:latin typeface="Trebuchet MS" panose="020B0603020202020204" pitchFamily="34" charset="0"/>
                <a:ea typeface="+mn-ea"/>
                <a:cs typeface="Arial" pitchFamily="34" charset="0"/>
              </a:rPr>
              <a:t>Attract</a:t>
            </a:r>
            <a:endParaRPr lang="en-GB">
              <a:latin typeface="Trebuchet MS" panose="020B0603020202020204" pitchFamily="34" charset="0"/>
            </a:endParaRPr>
          </a:p>
        </p:txBody>
      </p:sp>
      <p:sp>
        <p:nvSpPr>
          <p:cNvPr id="184" name="ZoneTexte 183">
            <a:extLst>
              <a:ext uri="{FF2B5EF4-FFF2-40B4-BE49-F238E27FC236}">
                <a16:creationId xmlns:a16="http://schemas.microsoft.com/office/drawing/2014/main" id="{8A534040-E4B4-493B-A542-641FC2EBF9BB}"/>
              </a:ext>
            </a:extLst>
          </p:cNvPr>
          <p:cNvSpPr txBox="1"/>
          <p:nvPr/>
        </p:nvSpPr>
        <p:spPr>
          <a:xfrm rot="16200000">
            <a:off x="2858530" y="4208780"/>
            <a:ext cx="745258" cy="261610"/>
          </a:xfrm>
          <a:prstGeom prst="rect">
            <a:avLst/>
          </a:prstGeom>
          <a:noFill/>
        </p:spPr>
        <p:txBody>
          <a:bodyPr wrap="square">
            <a:spAutoFit/>
          </a:bodyPr>
          <a:lstStyle/>
          <a:p>
            <a:r>
              <a:rPr kumimoji="0" lang="en-GB" sz="1100" b="1" i="0" u="none" strike="noStrike" kern="1200" cap="none" spc="0" normalizeH="0" baseline="0" noProof="0">
                <a:ln>
                  <a:noFill/>
                </a:ln>
                <a:solidFill>
                  <a:srgbClr val="00A3E2">
                    <a:lumMod val="75000"/>
                  </a:srgbClr>
                </a:solidFill>
                <a:effectLst/>
                <a:uLnTx/>
                <a:uFillTx/>
                <a:latin typeface="Trebuchet MS" panose="020B0603020202020204" pitchFamily="34" charset="0"/>
                <a:ea typeface="+mn-ea"/>
                <a:cs typeface="Arial" pitchFamily="34" charset="0"/>
              </a:rPr>
              <a:t>Convert</a:t>
            </a:r>
          </a:p>
        </p:txBody>
      </p:sp>
      <p:sp>
        <p:nvSpPr>
          <p:cNvPr id="185" name="ZoneTexte 184">
            <a:extLst>
              <a:ext uri="{FF2B5EF4-FFF2-40B4-BE49-F238E27FC236}">
                <a16:creationId xmlns:a16="http://schemas.microsoft.com/office/drawing/2014/main" id="{3D572A66-E0CC-44F7-BA6B-7FAA780F7CB1}"/>
              </a:ext>
            </a:extLst>
          </p:cNvPr>
          <p:cNvSpPr txBox="1"/>
          <p:nvPr/>
        </p:nvSpPr>
        <p:spPr>
          <a:xfrm rot="16200000">
            <a:off x="2858530" y="5982390"/>
            <a:ext cx="745258" cy="261610"/>
          </a:xfrm>
          <a:prstGeom prst="rect">
            <a:avLst/>
          </a:prstGeom>
          <a:noFill/>
        </p:spPr>
        <p:txBody>
          <a:bodyPr wrap="square">
            <a:spAutoFit/>
          </a:bodyPr>
          <a:lstStyle/>
          <a:p>
            <a:pPr algn="ctr"/>
            <a:r>
              <a:rPr kumimoji="0" lang="en-GB" sz="1100" b="1" i="0" u="none" strike="noStrike" kern="1200" cap="none" spc="0" normalizeH="0" baseline="0" noProof="0">
                <a:ln>
                  <a:noFill/>
                </a:ln>
                <a:solidFill>
                  <a:srgbClr val="00A3E2">
                    <a:lumMod val="75000"/>
                  </a:srgbClr>
                </a:solidFill>
                <a:effectLst/>
                <a:uLnTx/>
                <a:uFillTx/>
                <a:latin typeface="Trebuchet MS" panose="020B0603020202020204" pitchFamily="34" charset="0"/>
                <a:ea typeface="+mn-ea"/>
                <a:cs typeface="Arial" pitchFamily="34" charset="0"/>
              </a:rPr>
              <a:t>Retain</a:t>
            </a:r>
          </a:p>
        </p:txBody>
      </p:sp>
      <p:grpSp>
        <p:nvGrpSpPr>
          <p:cNvPr id="188" name="Groupe 187">
            <a:extLst>
              <a:ext uri="{FF2B5EF4-FFF2-40B4-BE49-F238E27FC236}">
                <a16:creationId xmlns:a16="http://schemas.microsoft.com/office/drawing/2014/main" id="{643B432D-063E-4CCE-B9D3-4DB05F49F2E3}"/>
              </a:ext>
            </a:extLst>
          </p:cNvPr>
          <p:cNvGrpSpPr/>
          <p:nvPr/>
        </p:nvGrpSpPr>
        <p:grpSpPr>
          <a:xfrm>
            <a:off x="58045" y="176773"/>
            <a:ext cx="325859" cy="276999"/>
            <a:chOff x="3287902" y="1242339"/>
            <a:chExt cx="325859" cy="276999"/>
          </a:xfrm>
        </p:grpSpPr>
        <p:sp>
          <p:nvSpPr>
            <p:cNvPr id="189" name="Ellipse 188">
              <a:extLst>
                <a:ext uri="{FF2B5EF4-FFF2-40B4-BE49-F238E27FC236}">
                  <a16:creationId xmlns:a16="http://schemas.microsoft.com/office/drawing/2014/main" id="{D6FE9F74-1BA4-49CE-8994-FAA0713679F4}"/>
                </a:ext>
              </a:extLst>
            </p:cNvPr>
            <p:cNvSpPr/>
            <p:nvPr/>
          </p:nvSpPr>
          <p:spPr bwMode="auto">
            <a:xfrm>
              <a:off x="3333135" y="1264289"/>
              <a:ext cx="251317"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90" name="ZoneTexte 189">
              <a:extLst>
                <a:ext uri="{FF2B5EF4-FFF2-40B4-BE49-F238E27FC236}">
                  <a16:creationId xmlns:a16="http://schemas.microsoft.com/office/drawing/2014/main" id="{40FDC2D8-F477-4B8D-8499-FF3EBCA0BD4E}"/>
                </a:ext>
              </a:extLst>
            </p:cNvPr>
            <p:cNvSpPr txBox="1"/>
            <p:nvPr/>
          </p:nvSpPr>
          <p:spPr>
            <a:xfrm>
              <a:off x="3287902" y="1242339"/>
              <a:ext cx="325859" cy="276999"/>
            </a:xfrm>
            <a:prstGeom prst="rect">
              <a:avLst/>
            </a:prstGeom>
            <a:noFill/>
          </p:spPr>
          <p:txBody>
            <a:bodyPr wrap="square" rtlCol="0">
              <a:spAutoFit/>
            </a:bodyPr>
            <a:lstStyle/>
            <a:p>
              <a:pPr algn="ctr"/>
              <a:r>
                <a:rPr lang="en-GB" sz="1200">
                  <a:solidFill>
                    <a:schemeClr val="bg1"/>
                  </a:solidFill>
                  <a:latin typeface="+mj-lt"/>
                </a:rPr>
                <a:t>1</a:t>
              </a:r>
            </a:p>
          </p:txBody>
        </p:sp>
      </p:grpSp>
      <p:grpSp>
        <p:nvGrpSpPr>
          <p:cNvPr id="134" name="Groupe 133">
            <a:extLst>
              <a:ext uri="{FF2B5EF4-FFF2-40B4-BE49-F238E27FC236}">
                <a16:creationId xmlns:a16="http://schemas.microsoft.com/office/drawing/2014/main" id="{9C922B19-5E7D-4B32-BF1C-4FDDD3768D78}"/>
              </a:ext>
            </a:extLst>
          </p:cNvPr>
          <p:cNvGrpSpPr/>
          <p:nvPr/>
        </p:nvGrpSpPr>
        <p:grpSpPr>
          <a:xfrm>
            <a:off x="9113994" y="5049668"/>
            <a:ext cx="591606" cy="186820"/>
            <a:chOff x="6900119" y="6591876"/>
            <a:chExt cx="591606" cy="186820"/>
          </a:xfrm>
        </p:grpSpPr>
        <p:grpSp>
          <p:nvGrpSpPr>
            <p:cNvPr id="135" name="Groupe 134">
              <a:extLst>
                <a:ext uri="{FF2B5EF4-FFF2-40B4-BE49-F238E27FC236}">
                  <a16:creationId xmlns:a16="http://schemas.microsoft.com/office/drawing/2014/main" id="{5256B06E-1DB7-4ED9-B600-525731000869}"/>
                </a:ext>
              </a:extLst>
            </p:cNvPr>
            <p:cNvGrpSpPr/>
            <p:nvPr/>
          </p:nvGrpSpPr>
          <p:grpSpPr>
            <a:xfrm>
              <a:off x="6900119" y="6591876"/>
              <a:ext cx="591606" cy="186820"/>
              <a:chOff x="6900119" y="6591876"/>
              <a:chExt cx="591606" cy="186820"/>
            </a:xfrm>
          </p:grpSpPr>
          <p:sp>
            <p:nvSpPr>
              <p:cNvPr id="140" name="Rectangle 139">
                <a:extLst>
                  <a:ext uri="{FF2B5EF4-FFF2-40B4-BE49-F238E27FC236}">
                    <a16:creationId xmlns:a16="http://schemas.microsoft.com/office/drawing/2014/main" id="{000AB945-716D-4644-80A1-B20F53315579}"/>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1" name="Ellipse 140">
                <a:extLst>
                  <a:ext uri="{FF2B5EF4-FFF2-40B4-BE49-F238E27FC236}">
                    <a16:creationId xmlns:a16="http://schemas.microsoft.com/office/drawing/2014/main" id="{18E15B61-A48D-4E9E-8CE5-F8468C3A82D1}"/>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sp>
          <p:nvSpPr>
            <p:cNvPr id="136" name="Ellipse 135">
              <a:extLst>
                <a:ext uri="{FF2B5EF4-FFF2-40B4-BE49-F238E27FC236}">
                  <a16:creationId xmlns:a16="http://schemas.microsoft.com/office/drawing/2014/main" id="{CFEF2712-47DA-4C99-B3BB-51EFC3356095}"/>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9" name="Ellipse 138">
              <a:extLst>
                <a:ext uri="{FF2B5EF4-FFF2-40B4-BE49-F238E27FC236}">
                  <a16:creationId xmlns:a16="http://schemas.microsoft.com/office/drawing/2014/main" id="{BE3DB6BE-40C7-420E-B0FB-B906FF788E8D}"/>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42" name="Freeform 9">
            <a:extLst>
              <a:ext uri="{FF2B5EF4-FFF2-40B4-BE49-F238E27FC236}">
                <a16:creationId xmlns:a16="http://schemas.microsoft.com/office/drawing/2014/main" id="{05BE333F-5A4D-4226-A7D5-74DDA05F4198}"/>
              </a:ext>
            </a:extLst>
          </p:cNvPr>
          <p:cNvSpPr>
            <a:spLocks noEditPoints="1"/>
          </p:cNvSpPr>
          <p:nvPr/>
        </p:nvSpPr>
        <p:spPr bwMode="auto">
          <a:xfrm>
            <a:off x="8937992" y="5347803"/>
            <a:ext cx="216058" cy="2139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143" name="Flèche : pentagone 142">
            <a:extLst>
              <a:ext uri="{FF2B5EF4-FFF2-40B4-BE49-F238E27FC236}">
                <a16:creationId xmlns:a16="http://schemas.microsoft.com/office/drawing/2014/main" id="{253932A8-889B-4E09-9BFE-BCBA7371B535}"/>
              </a:ext>
            </a:extLst>
          </p:cNvPr>
          <p:cNvSpPr/>
          <p:nvPr/>
        </p:nvSpPr>
        <p:spPr bwMode="auto">
          <a:xfrm>
            <a:off x="9090537" y="5392368"/>
            <a:ext cx="677012" cy="151497"/>
          </a:xfrm>
          <a:prstGeom prst="homePlate">
            <a:avLst>
              <a:gd name="adj" fmla="val 0"/>
            </a:avLst>
          </a:prstGeom>
          <a:no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600"/>
              </a:spcAft>
              <a:buClrTx/>
              <a:buSzTx/>
              <a:buFontTx/>
              <a:buNone/>
              <a:tabLst/>
            </a:pPr>
            <a:r>
              <a:rPr kumimoji="0" lang="en-GB" sz="900" i="1" u="none" strike="noStrike" cap="none" normalizeH="0" baseline="0">
                <a:ln>
                  <a:noFill/>
                </a:ln>
                <a:solidFill>
                  <a:schemeClr val="accent1"/>
                </a:solidFill>
                <a:effectLst/>
                <a:latin typeface="Trebuchet MS" panose="020B0603020202020204" pitchFamily="34" charset="0"/>
              </a:rPr>
              <a:t>See infra</a:t>
            </a:r>
          </a:p>
        </p:txBody>
      </p:sp>
    </p:spTree>
    <p:extLst>
      <p:ext uri="{BB962C8B-B14F-4D97-AF65-F5344CB8AC3E}">
        <p14:creationId xmlns:p14="http://schemas.microsoft.com/office/powerpoint/2010/main" val="783706327"/>
      </p:ext>
    </p:extLst>
  </p:cSld>
  <p:clrMapOvr>
    <a:masterClrMapping/>
  </p:clrMapOvr>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B724C4EE-1946-4A7B-9D6D-511EC41674EF}"/>
              </a:ext>
            </a:extLst>
          </p:cNvPr>
          <p:cNvGraphicFramePr>
            <a:graphicFrameLocks noChangeAspect="1"/>
          </p:cNvGraphicFramePr>
          <p:nvPr>
            <p:custDataLst>
              <p:tags r:id="rId1"/>
            </p:custDataLst>
            <p:extLst>
              <p:ext uri="{D42A27DB-BD31-4B8C-83A1-F6EECF244321}">
                <p14:modId xmlns:p14="http://schemas.microsoft.com/office/powerpoint/2010/main" val="1722055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5" name="Objet 4" hidden="1">
                        <a:extLst>
                          <a:ext uri="{FF2B5EF4-FFF2-40B4-BE49-F238E27FC236}">
                            <a16:creationId xmlns:a16="http://schemas.microsoft.com/office/drawing/2014/main" id="{B724C4EE-1946-4A7B-9D6D-511EC41674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43F30BC-9AB3-4D87-A517-960CAB0F7B16}"/>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5" name="Rectangle 34">
            <a:extLst>
              <a:ext uri="{FF2B5EF4-FFF2-40B4-BE49-F238E27FC236}">
                <a16:creationId xmlns:a16="http://schemas.microsoft.com/office/drawing/2014/main" id="{36984989-6005-409B-8655-C19010C967EF}"/>
              </a:ext>
            </a:extLst>
          </p:cNvPr>
          <p:cNvSpPr/>
          <p:nvPr/>
        </p:nvSpPr>
        <p:spPr bwMode="auto">
          <a:xfrm>
            <a:off x="336461" y="1090063"/>
            <a:ext cx="9233077" cy="352828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re 1">
            <a:extLst>
              <a:ext uri="{FF2B5EF4-FFF2-40B4-BE49-F238E27FC236}">
                <a16:creationId xmlns:a16="http://schemas.microsoft.com/office/drawing/2014/main" id="{0E316036-44F2-4497-A158-C9E7C5BAC358}"/>
              </a:ext>
            </a:extLst>
          </p:cNvPr>
          <p:cNvSpPr>
            <a:spLocks noGrp="1"/>
          </p:cNvSpPr>
          <p:nvPr>
            <p:ph type="title"/>
          </p:nvPr>
        </p:nvSpPr>
        <p:spPr>
          <a:xfrm>
            <a:off x="416458" y="147600"/>
            <a:ext cx="8086012" cy="684000"/>
          </a:xfrm>
        </p:spPr>
        <p:txBody>
          <a:bodyPr/>
          <a:lstStyle/>
          <a:p>
            <a:r>
              <a:rPr kumimoji="0" lang="en-GB" sz="1600" b="0" i="0" u="none" strike="noStrike" cap="none" normalizeH="0" baseline="0" err="1">
                <a:ln>
                  <a:noFill/>
                </a:ln>
                <a:solidFill>
                  <a:schemeClr val="tx1"/>
                </a:solidFill>
                <a:effectLst/>
                <a:latin typeface="Trebuchet MS" panose="020B0603020202020204" pitchFamily="34" charset="0"/>
              </a:rPr>
              <a:t>Altares</a:t>
            </a:r>
            <a:r>
              <a:rPr lang="en-GB">
                <a:latin typeface="Trebuchet MS" panose="020B0603020202020204" pitchFamily="34" charset="0"/>
              </a:rPr>
              <a:t>’ </a:t>
            </a:r>
            <a:r>
              <a:rPr kumimoji="0" lang="en-GB" sz="1600" b="0" i="0" u="none" strike="noStrike" cap="none" normalizeH="0" baseline="0">
                <a:ln>
                  <a:noFill/>
                </a:ln>
                <a:solidFill>
                  <a:schemeClr val="tx1"/>
                </a:solidFill>
                <a:effectLst/>
                <a:latin typeface="Trebuchet MS" panose="020B0603020202020204" pitchFamily="34" charset="0"/>
              </a:rPr>
              <a:t>“</a:t>
            </a:r>
            <a:r>
              <a:rPr lang="en-GB">
                <a:solidFill>
                  <a:schemeClr val="tx2"/>
                </a:solidFill>
                <a:latin typeface="Trebuchet MS" panose="020B0603020202020204" pitchFamily="34" charset="0"/>
              </a:rPr>
              <a:t>f</a:t>
            </a:r>
            <a:r>
              <a:rPr kumimoji="0" lang="en-GB" sz="1600" b="0" i="0" u="none" strike="noStrike" cap="none" normalizeH="0" baseline="0">
                <a:ln>
                  <a:noFill/>
                </a:ln>
                <a:solidFill>
                  <a:schemeClr val="tx2"/>
                </a:solidFill>
                <a:effectLst/>
                <a:latin typeface="Trebuchet MS" panose="020B0603020202020204" pitchFamily="34" charset="0"/>
              </a:rPr>
              <a:t>lagship products</a:t>
            </a:r>
            <a:r>
              <a:rPr kumimoji="0" lang="en-GB" sz="1600" b="0" i="0" u="none" strike="noStrike" cap="none" normalizeH="0" baseline="0">
                <a:ln>
                  <a:noFill/>
                </a:ln>
                <a:solidFill>
                  <a:schemeClr val="tx1"/>
                </a:solidFill>
                <a:effectLst/>
                <a:latin typeface="Trebuchet MS" panose="020B0603020202020204" pitchFamily="34" charset="0"/>
              </a:rPr>
              <a:t>” deliver an increase </a:t>
            </a:r>
            <a:r>
              <a:rPr kumimoji="0" lang="en-GB" sz="1600" b="0" i="0" u="none" strike="noStrike" cap="none" normalizeH="0" baseline="0">
                <a:ln>
                  <a:noFill/>
                </a:ln>
                <a:solidFill>
                  <a:schemeClr val="tx2"/>
                </a:solidFill>
                <a:effectLst/>
                <a:latin typeface="Trebuchet MS" panose="020B0603020202020204" pitchFamily="34" charset="0"/>
              </a:rPr>
              <a:t>conversion of new logos </a:t>
            </a:r>
            <a:r>
              <a:rPr kumimoji="0" lang="en-GB" sz="1600" b="0" i="0" u="none" strike="noStrike" cap="none" normalizeH="0" baseline="0">
                <a:ln>
                  <a:noFill/>
                </a:ln>
                <a:effectLst/>
                <a:latin typeface="Trebuchet MS" panose="020B0603020202020204" pitchFamily="34" charset="0"/>
              </a:rPr>
              <a:t>thanks to </a:t>
            </a:r>
            <a:r>
              <a:rPr kumimoji="0" lang="en-GB" sz="1600" b="0" i="0" u="none" strike="noStrike" cap="none" normalizeH="0" baseline="0">
                <a:ln>
                  <a:noFill/>
                </a:ln>
                <a:solidFill>
                  <a:schemeClr val="tx2"/>
                </a:solidFill>
                <a:effectLst/>
                <a:latin typeface="Trebuchet MS" panose="020B0603020202020204" pitchFamily="34" charset="0"/>
              </a:rPr>
              <a:t>above-market functionalities </a:t>
            </a:r>
            <a:r>
              <a:rPr kumimoji="0" lang="en-GB" sz="1600" b="0" i="0" u="none" strike="noStrike" cap="none" normalizeH="0" baseline="0">
                <a:ln>
                  <a:noFill/>
                </a:ln>
                <a:solidFill>
                  <a:schemeClr val="tx1"/>
                </a:solidFill>
                <a:effectLst/>
                <a:latin typeface="Trebuchet MS" panose="020B0603020202020204" pitchFamily="34" charset="0"/>
              </a:rPr>
              <a:t>and ongoing developments expected by clients</a:t>
            </a:r>
            <a:endParaRPr lang="en-GB">
              <a:latin typeface="Trebuchet MS" panose="020B0603020202020204" pitchFamily="34" charset="0"/>
            </a:endParaRPr>
          </a:p>
        </p:txBody>
      </p:sp>
      <p:sp>
        <p:nvSpPr>
          <p:cNvPr id="3" name="Espace réservé du texte 2">
            <a:extLst>
              <a:ext uri="{FF2B5EF4-FFF2-40B4-BE49-F238E27FC236}">
                <a16:creationId xmlns:a16="http://schemas.microsoft.com/office/drawing/2014/main" id="{75E3E576-7958-4305-BDD2-5F0234E73D64}"/>
              </a:ext>
            </a:extLst>
          </p:cNvPr>
          <p:cNvSpPr>
            <a:spLocks noGrp="1"/>
          </p:cNvSpPr>
          <p:nvPr>
            <p:ph type="body" sz="quarter" idx="10"/>
          </p:nvPr>
        </p:nvSpPr>
        <p:spPr/>
        <p:txBody>
          <a:bodyPr/>
          <a:lstStyle/>
          <a:p>
            <a:r>
              <a:rPr lang="en-GB" sz="800" i="1" kern="0"/>
              <a:t>Sources: eleven research &amp; analysis, company data, interviews with management</a:t>
            </a:r>
          </a:p>
        </p:txBody>
      </p:sp>
      <p:sp>
        <p:nvSpPr>
          <p:cNvPr id="7" name="Freeform 9">
            <a:extLst>
              <a:ext uri="{FF2B5EF4-FFF2-40B4-BE49-F238E27FC236}">
                <a16:creationId xmlns:a16="http://schemas.microsoft.com/office/drawing/2014/main" id="{631B331E-69CE-4C1E-B8E4-54155AAD05D5}"/>
              </a:ext>
            </a:extLst>
          </p:cNvPr>
          <p:cNvSpPr>
            <a:spLocks noEditPoints="1"/>
          </p:cNvSpPr>
          <p:nvPr/>
        </p:nvSpPr>
        <p:spPr bwMode="auto">
          <a:xfrm>
            <a:off x="150133" y="222175"/>
            <a:ext cx="216058" cy="2139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grpSp>
        <p:nvGrpSpPr>
          <p:cNvPr id="8" name="Groupe 7">
            <a:extLst>
              <a:ext uri="{FF2B5EF4-FFF2-40B4-BE49-F238E27FC236}">
                <a16:creationId xmlns:a16="http://schemas.microsoft.com/office/drawing/2014/main" id="{7BCF2BE8-EE8E-4BE2-9ADC-65F862BD956E}"/>
              </a:ext>
            </a:extLst>
          </p:cNvPr>
          <p:cNvGrpSpPr/>
          <p:nvPr/>
        </p:nvGrpSpPr>
        <p:grpSpPr>
          <a:xfrm>
            <a:off x="8448150" y="-11528"/>
            <a:ext cx="1435548" cy="588143"/>
            <a:chOff x="8448150" y="-11528"/>
            <a:chExt cx="1435548" cy="588143"/>
          </a:xfrm>
        </p:grpSpPr>
        <p:sp>
          <p:nvSpPr>
            <p:cNvPr id="9" name="Rectangle : coins arrondis 199">
              <a:extLst>
                <a:ext uri="{FF2B5EF4-FFF2-40B4-BE49-F238E27FC236}">
                  <a16:creationId xmlns:a16="http://schemas.microsoft.com/office/drawing/2014/main" id="{5E69EAEF-5544-4BBA-88D1-78942FF428C4}"/>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 name="Rectangle : coins arrondis 200">
              <a:extLst>
                <a:ext uri="{FF2B5EF4-FFF2-40B4-BE49-F238E27FC236}">
                  <a16:creationId xmlns:a16="http://schemas.microsoft.com/office/drawing/2014/main" id="{59A4C8C0-A6EB-4A10-BE7F-4E7107CDB906}"/>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 name="Rectangle : coins arrondis 201">
              <a:extLst>
                <a:ext uri="{FF2B5EF4-FFF2-40B4-BE49-F238E27FC236}">
                  <a16:creationId xmlns:a16="http://schemas.microsoft.com/office/drawing/2014/main" id="{EE4E422B-6F8F-47E8-BBF9-59F48EDB0AF0}"/>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 name="ZoneTexte 18">
              <a:extLst>
                <a:ext uri="{FF2B5EF4-FFF2-40B4-BE49-F238E27FC236}">
                  <a16:creationId xmlns:a16="http://schemas.microsoft.com/office/drawing/2014/main" id="{19C2AAFB-FD24-4B32-804F-789340BE72D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3" name="Graphique 128" descr="Jauge">
              <a:extLst>
                <a:ext uri="{FF2B5EF4-FFF2-40B4-BE49-F238E27FC236}">
                  <a16:creationId xmlns:a16="http://schemas.microsoft.com/office/drawing/2014/main" id="{D41CBE2A-A7B5-4DBA-9553-96FFC609A55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4" name="Graphique 90" descr="Poignée de main">
              <a:extLst>
                <a:ext uri="{FF2B5EF4-FFF2-40B4-BE49-F238E27FC236}">
                  <a16:creationId xmlns:a16="http://schemas.microsoft.com/office/drawing/2014/main" id="{6A4FC33C-5B1F-4B8A-A2EE-760447D3917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15" name="Graphique 74" descr="Mégaphone">
              <a:extLst>
                <a:ext uri="{FF2B5EF4-FFF2-40B4-BE49-F238E27FC236}">
                  <a16:creationId xmlns:a16="http://schemas.microsoft.com/office/drawing/2014/main" id="{29E6E4D4-787E-4328-9FAA-F7E937AA04E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16" name="Picture 2" descr="Drapeau France">
              <a:extLst>
                <a:ext uri="{FF2B5EF4-FFF2-40B4-BE49-F238E27FC236}">
                  <a16:creationId xmlns:a16="http://schemas.microsoft.com/office/drawing/2014/main" id="{D511C35B-A56D-4ECB-BE89-1DD3311FE5AD}"/>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7" name="Picture 2" descr="5 ft x 3 ft 150 x 90 cm-DRAPEAU BELGE Belgique 100% Polyester ...">
              <a:extLst>
                <a:ext uri="{FF2B5EF4-FFF2-40B4-BE49-F238E27FC236}">
                  <a16:creationId xmlns:a16="http://schemas.microsoft.com/office/drawing/2014/main" id="{94256014-5062-4541-928D-D49C5E02A496}"/>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8" name="Picture 2 - 1" descr="Drapeau des Pays-Bas — Wikipédia">
              <a:extLst>
                <a:ext uri="{FF2B5EF4-FFF2-40B4-BE49-F238E27FC236}">
                  <a16:creationId xmlns:a16="http://schemas.microsoft.com/office/drawing/2014/main" id="{CD36744A-A7CE-4A5B-86E6-68234B773F3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9" name="Picture 2 - 2" descr="Drapeau du Luxembourg">
              <a:extLst>
                <a:ext uri="{FF2B5EF4-FFF2-40B4-BE49-F238E27FC236}">
                  <a16:creationId xmlns:a16="http://schemas.microsoft.com/office/drawing/2014/main" id="{6B740799-7F96-4B10-8447-85F2882864A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20" name="ZoneTexte 19">
              <a:extLst>
                <a:ext uri="{FF2B5EF4-FFF2-40B4-BE49-F238E27FC236}">
                  <a16:creationId xmlns:a16="http://schemas.microsoft.com/office/drawing/2014/main" id="{9DF082B9-0FBC-45B9-922B-2AF9904D2EC6}"/>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mercial push</a:t>
              </a:r>
            </a:p>
          </p:txBody>
        </p:sp>
      </p:grpSp>
      <p:sp>
        <p:nvSpPr>
          <p:cNvPr id="36" name="Rectangle 35">
            <a:extLst>
              <a:ext uri="{FF2B5EF4-FFF2-40B4-BE49-F238E27FC236}">
                <a16:creationId xmlns:a16="http://schemas.microsoft.com/office/drawing/2014/main" id="{C6D0C044-C513-49E0-A4D4-0DCFA7C746D8}"/>
              </a:ext>
            </a:extLst>
          </p:cNvPr>
          <p:cNvSpPr/>
          <p:nvPr/>
        </p:nvSpPr>
        <p:spPr bwMode="auto">
          <a:xfrm>
            <a:off x="668395" y="1109847"/>
            <a:ext cx="4284605" cy="28264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Waterfall of A</a:t>
            </a:r>
            <a:r>
              <a:rPr kumimoji="0" lang="en-GB" sz="1000" b="1" i="1" u="none" strike="noStrike" kern="1200" cap="none" spc="0" normalizeH="0" baseline="0" noProof="0" err="1">
                <a:ln>
                  <a:noFill/>
                </a:ln>
                <a:effectLst/>
                <a:uLnTx/>
                <a:uFillTx/>
                <a:latin typeface="Trebuchet MS" panose="020B0603020202020204" pitchFamily="34" charset="0"/>
              </a:rPr>
              <a:t>ltares</a:t>
            </a:r>
            <a:r>
              <a:rPr lang="en-GB" sz="1000" b="1" i="1">
                <a:latin typeface="Trebuchet MS" panose="020B0603020202020204" pitchFamily="34" charset="0"/>
              </a:rPr>
              <a:t>’ “flagship products’ billings” in France,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7" name="Rectangle 36">
            <a:extLst>
              <a:ext uri="{FF2B5EF4-FFF2-40B4-BE49-F238E27FC236}">
                <a16:creationId xmlns:a16="http://schemas.microsoft.com/office/drawing/2014/main" id="{E5D214DF-5BB0-4D42-AB95-F5A04B871783}"/>
              </a:ext>
            </a:extLst>
          </p:cNvPr>
          <p:cNvSpPr/>
          <p:nvPr/>
        </p:nvSpPr>
        <p:spPr bwMode="auto">
          <a:xfrm>
            <a:off x="3394685" y="4717986"/>
            <a:ext cx="6174854" cy="1601775"/>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a:latin typeface="Trebuchet MS" pitchFamily="34" charset="0"/>
              </a:rPr>
              <a:t>Comments</a:t>
            </a:r>
          </a:p>
          <a:p>
            <a:pPr marL="171450" indent="-171450">
              <a:spcBef>
                <a:spcPts val="600"/>
              </a:spcBef>
              <a:buClr>
                <a:schemeClr val="tx1"/>
              </a:buClr>
              <a:buFont typeface="Arial" panose="020B0604020202020204" pitchFamily="34" charset="0"/>
              <a:buChar char="•"/>
            </a:pPr>
            <a:r>
              <a:rPr lang="en-GB" sz="1000">
                <a:latin typeface="Trebuchet MS" pitchFamily="34" charset="0"/>
              </a:rPr>
              <a:t>Flagship products churn analyses shows across both geographies: </a:t>
            </a:r>
          </a:p>
          <a:p>
            <a:pPr marL="628650" lvl="1" indent="-171450">
              <a:spcBef>
                <a:spcPts val="600"/>
              </a:spcBef>
              <a:buClr>
                <a:schemeClr val="tx1"/>
              </a:buClr>
              <a:buFont typeface="Wingdings" panose="05000000000000000000" pitchFamily="2" charset="2"/>
              <a:buChar char="§"/>
            </a:pPr>
            <a:r>
              <a:rPr lang="en-GB" sz="1000">
                <a:latin typeface="Trebuchet MS" pitchFamily="34" charset="0"/>
              </a:rPr>
              <a:t>An </a:t>
            </a:r>
            <a:r>
              <a:rPr lang="en-GB" sz="1000">
                <a:solidFill>
                  <a:schemeClr val="tx2"/>
                </a:solidFill>
                <a:latin typeface="Trebuchet MS" panose="020B0603020202020204" pitchFamily="34" charset="0"/>
              </a:rPr>
              <a:t>efficient onboarding </a:t>
            </a:r>
            <a:r>
              <a:rPr lang="en-GB" sz="1000">
                <a:latin typeface="Trebuchet MS" pitchFamily="34" charset="0"/>
              </a:rPr>
              <a:t>of new clients inducing positive LFL</a:t>
            </a:r>
          </a:p>
          <a:p>
            <a:pPr marL="628650" lvl="1" indent="-171450">
              <a:spcBef>
                <a:spcPts val="600"/>
              </a:spcBef>
              <a:buClr>
                <a:schemeClr val="tx1"/>
              </a:buClr>
              <a:buFont typeface="Wingdings" panose="05000000000000000000" pitchFamily="2" charset="2"/>
              <a:buChar char="§"/>
            </a:pPr>
            <a:r>
              <a:rPr lang="en-GB" sz="1000">
                <a:latin typeface="Trebuchet MS" pitchFamily="34" charset="0"/>
              </a:rPr>
              <a:t>A </a:t>
            </a:r>
            <a:r>
              <a:rPr lang="en-GB" sz="1000">
                <a:solidFill>
                  <a:schemeClr val="tx2"/>
                </a:solidFill>
                <a:latin typeface="Trebuchet MS" panose="020B0603020202020204" pitchFamily="34" charset="0"/>
              </a:rPr>
              <a:t>very low churn rate </a:t>
            </a:r>
            <a:r>
              <a:rPr lang="en-GB" sz="1000">
                <a:latin typeface="Trebuchet MS" panose="020B0603020202020204" pitchFamily="34" charset="0"/>
              </a:rPr>
              <a:t>demonstrating </a:t>
            </a:r>
            <a:r>
              <a:rPr lang="en-GB" sz="1000">
                <a:solidFill>
                  <a:schemeClr val="tx2"/>
                </a:solidFill>
                <a:latin typeface="Trebuchet MS" panose="020B0603020202020204" pitchFamily="34" charset="0"/>
              </a:rPr>
              <a:t>client satisfaction</a:t>
            </a:r>
          </a:p>
          <a:p>
            <a:pPr marL="628650" lvl="1" indent="-171450">
              <a:spcBef>
                <a:spcPts val="600"/>
              </a:spcBef>
              <a:buClr>
                <a:schemeClr val="tx1"/>
              </a:buClr>
              <a:buFont typeface="Wingdings" panose="05000000000000000000" pitchFamily="2" charset="2"/>
              <a:buChar char="§"/>
            </a:pPr>
            <a:r>
              <a:rPr lang="en-GB" sz="1000">
                <a:latin typeface="Trebuchet MS" panose="020B0603020202020204" pitchFamily="34" charset="0"/>
              </a:rPr>
              <a:t>A </a:t>
            </a:r>
            <a:r>
              <a:rPr lang="en-GB" sz="1000">
                <a:solidFill>
                  <a:schemeClr val="tx2"/>
                </a:solidFill>
                <a:latin typeface="Trebuchet MS" panose="020B0603020202020204" pitchFamily="34" charset="0"/>
              </a:rPr>
              <a:t>high new logo onboarding </a:t>
            </a:r>
            <a:r>
              <a:rPr lang="en-GB" sz="1000">
                <a:latin typeface="Trebuchet MS" panose="020B0603020202020204" pitchFamily="34" charset="0"/>
              </a:rPr>
              <a:t>that attests the </a:t>
            </a:r>
            <a:r>
              <a:rPr lang="en-GB" sz="1000">
                <a:solidFill>
                  <a:schemeClr val="tx2"/>
                </a:solidFill>
                <a:latin typeface="Trebuchet MS" panose="020B0603020202020204" pitchFamily="34" charset="0"/>
              </a:rPr>
              <a:t>attractivity of these flagship </a:t>
            </a:r>
            <a:r>
              <a:rPr lang="en-GB" sz="1000">
                <a:latin typeface="Trebuchet MS" panose="020B0603020202020204" pitchFamily="34" charset="0"/>
              </a:rPr>
              <a:t>product</a:t>
            </a:r>
          </a:p>
          <a:p>
            <a:pPr marL="628650" lvl="1" indent="-171450">
              <a:spcBef>
                <a:spcPts val="600"/>
              </a:spcBef>
              <a:buClr>
                <a:schemeClr val="tx1"/>
              </a:buClr>
              <a:buFont typeface="Wingdings" panose="05000000000000000000" pitchFamily="2" charset="2"/>
              <a:buChar char="§"/>
            </a:pPr>
            <a:r>
              <a:rPr lang="en-GB" sz="1000">
                <a:latin typeface="Trebuchet MS" panose="020B0603020202020204" pitchFamily="34" charset="0"/>
              </a:rPr>
              <a:t>A good </a:t>
            </a:r>
            <a:r>
              <a:rPr lang="en-GB" sz="1000">
                <a:solidFill>
                  <a:schemeClr val="tx2"/>
                </a:solidFill>
                <a:latin typeface="Trebuchet MS" panose="020B0603020202020204" pitchFamily="34" charset="0"/>
              </a:rPr>
              <a:t>anticipation</a:t>
            </a:r>
            <a:r>
              <a:rPr lang="en-GB" sz="1000">
                <a:latin typeface="Trebuchet MS" panose="020B0603020202020204" pitchFamily="34" charset="0"/>
              </a:rPr>
              <a:t> of the </a:t>
            </a:r>
            <a:r>
              <a:rPr lang="en-GB" sz="1000">
                <a:solidFill>
                  <a:schemeClr val="tx2"/>
                </a:solidFill>
                <a:latin typeface="Trebuchet MS" panose="020B0603020202020204" pitchFamily="34" charset="0"/>
              </a:rPr>
              <a:t>market</a:t>
            </a:r>
            <a:r>
              <a:rPr lang="en-GB" sz="1000">
                <a:latin typeface="Trebuchet MS" panose="020B0603020202020204" pitchFamily="34" charset="0"/>
              </a:rPr>
              <a:t> </a:t>
            </a:r>
            <a:r>
              <a:rPr lang="en-GB" sz="1000">
                <a:solidFill>
                  <a:schemeClr val="tx2"/>
                </a:solidFill>
                <a:latin typeface="Trebuchet MS" panose="020B0603020202020204" pitchFamily="34" charset="0"/>
              </a:rPr>
              <a:t>needs</a:t>
            </a:r>
            <a:r>
              <a:rPr lang="en-GB" sz="1000">
                <a:latin typeface="Trebuchet MS" panose="020B0603020202020204" pitchFamily="34" charset="0"/>
              </a:rPr>
              <a:t> leading to an </a:t>
            </a:r>
            <a:r>
              <a:rPr lang="en-GB" sz="1000">
                <a:solidFill>
                  <a:schemeClr val="tx2"/>
                </a:solidFill>
                <a:latin typeface="Trebuchet MS" panose="020B0603020202020204" pitchFamily="34" charset="0"/>
              </a:rPr>
              <a:t>excellent</a:t>
            </a:r>
            <a:r>
              <a:rPr lang="en-GB" sz="1000">
                <a:latin typeface="Trebuchet MS" panose="020B0603020202020204" pitchFamily="34" charset="0"/>
              </a:rPr>
              <a:t> </a:t>
            </a:r>
            <a:r>
              <a:rPr lang="en-GB" sz="1000">
                <a:solidFill>
                  <a:schemeClr val="tx2"/>
                </a:solidFill>
                <a:latin typeface="Trebuchet MS" panose="020B0603020202020204" pitchFamily="34" charset="0"/>
              </a:rPr>
              <a:t>ROI</a:t>
            </a:r>
            <a:r>
              <a:rPr lang="en-GB" sz="1000">
                <a:latin typeface="Trebuchet MS" panose="020B0603020202020204" pitchFamily="34" charset="0"/>
              </a:rPr>
              <a:t> on the </a:t>
            </a:r>
            <a:r>
              <a:rPr lang="en-GB" sz="1000">
                <a:solidFill>
                  <a:schemeClr val="tx2"/>
                </a:solidFill>
                <a:latin typeface="Trebuchet MS" panose="020B0603020202020204" pitchFamily="34" charset="0"/>
              </a:rPr>
              <a:t>product</a:t>
            </a:r>
            <a:r>
              <a:rPr lang="en-GB" sz="1000">
                <a:latin typeface="Trebuchet MS" panose="020B0603020202020204" pitchFamily="34" charset="0"/>
              </a:rPr>
              <a:t> </a:t>
            </a:r>
            <a:r>
              <a:rPr lang="en-GB" sz="1000">
                <a:solidFill>
                  <a:schemeClr val="tx2"/>
                </a:solidFill>
                <a:latin typeface="Trebuchet MS" panose="020B0603020202020204" pitchFamily="34" charset="0"/>
              </a:rPr>
              <a:t>development</a:t>
            </a:r>
          </a:p>
        </p:txBody>
      </p:sp>
      <p:grpSp>
        <p:nvGrpSpPr>
          <p:cNvPr id="38" name="Group 4">
            <a:extLst>
              <a:ext uri="{FF2B5EF4-FFF2-40B4-BE49-F238E27FC236}">
                <a16:creationId xmlns:a16="http://schemas.microsoft.com/office/drawing/2014/main" id="{E474D062-D50B-43B5-91E6-4629751E58DB}"/>
              </a:ext>
            </a:extLst>
          </p:cNvPr>
          <p:cNvGrpSpPr>
            <a:grpSpLocks noChangeAspect="1"/>
          </p:cNvGrpSpPr>
          <p:nvPr/>
        </p:nvGrpSpPr>
        <p:grpSpPr bwMode="auto">
          <a:xfrm>
            <a:off x="5610082" y="4757081"/>
            <a:ext cx="226868" cy="184867"/>
            <a:chOff x="788" y="869"/>
            <a:chExt cx="740" cy="603"/>
          </a:xfrm>
          <a:solidFill>
            <a:schemeClr val="tx1"/>
          </a:solidFill>
        </p:grpSpPr>
        <p:sp>
          <p:nvSpPr>
            <p:cNvPr id="39" name="Freeform 5">
              <a:extLst>
                <a:ext uri="{FF2B5EF4-FFF2-40B4-BE49-F238E27FC236}">
                  <a16:creationId xmlns:a16="http://schemas.microsoft.com/office/drawing/2014/main" id="{C711ACD2-E1D7-471A-BD6F-06F66B61825C}"/>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Rectangle 6">
              <a:extLst>
                <a:ext uri="{FF2B5EF4-FFF2-40B4-BE49-F238E27FC236}">
                  <a16:creationId xmlns:a16="http://schemas.microsoft.com/office/drawing/2014/main" id="{F7393A55-EDFE-4791-85BD-DD342D21C488}"/>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Rectangle 7">
              <a:extLst>
                <a:ext uri="{FF2B5EF4-FFF2-40B4-BE49-F238E27FC236}">
                  <a16:creationId xmlns:a16="http://schemas.microsoft.com/office/drawing/2014/main" id="{4370470E-EB26-46C1-95E3-3D1056864D35}"/>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Rectangle 8">
              <a:extLst>
                <a:ext uri="{FF2B5EF4-FFF2-40B4-BE49-F238E27FC236}">
                  <a16:creationId xmlns:a16="http://schemas.microsoft.com/office/drawing/2014/main" id="{CF2F5287-D7A2-469B-99CC-E42EDDF55AE9}"/>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3" name="Bulle narrative : rectangle 3">
            <a:extLst>
              <a:ext uri="{FF2B5EF4-FFF2-40B4-BE49-F238E27FC236}">
                <a16:creationId xmlns:a16="http://schemas.microsoft.com/office/drawing/2014/main" id="{5FACF560-96C8-4030-95BB-E3729BFF0E35}"/>
              </a:ext>
            </a:extLst>
          </p:cNvPr>
          <p:cNvSpPr/>
          <p:nvPr/>
        </p:nvSpPr>
        <p:spPr bwMode="auto">
          <a:xfrm>
            <a:off x="336461" y="4717986"/>
            <a:ext cx="2949664" cy="1603577"/>
          </a:xfrm>
          <a:prstGeom prst="rect">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1200"/>
              </a:spcAft>
              <a:buClrTx/>
              <a:buSzTx/>
              <a:buFontTx/>
              <a:buNone/>
              <a:tabLst/>
            </a:pPr>
            <a:r>
              <a:rPr kumimoji="0" lang="en-GB" sz="1000" b="0" i="0" u="none" strike="noStrike" cap="none" normalizeH="0" baseline="0">
                <a:ln>
                  <a:noFill/>
                </a:ln>
                <a:effectLst/>
                <a:latin typeface="Trebuchet MS" panose="020B0603020202020204" pitchFamily="34" charset="0"/>
              </a:rPr>
              <a:t>Readin</a:t>
            </a:r>
            <a:r>
              <a:rPr lang="en-GB" sz="1000">
                <a:latin typeface="Trebuchet MS" panose="020B0603020202020204" pitchFamily="34" charset="0"/>
              </a:rPr>
              <a:t>g insights</a:t>
            </a:r>
            <a:endParaRPr kumimoji="0" lang="en-GB" sz="1000" b="0" i="0" u="none" strike="noStrike" cap="none" normalizeH="0" baseline="0">
              <a:ln>
                <a:noFill/>
              </a:ln>
              <a:solidFill>
                <a:schemeClr val="bg1">
                  <a:lumMod val="65000"/>
                </a:schemeClr>
              </a:solidFill>
              <a:effectLst/>
              <a:latin typeface="Trebuchet MS" panose="020B0603020202020204" pitchFamily="34" charset="0"/>
            </a:endParaRP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kumimoji="0" lang="en-GB" sz="1000" b="0" i="0" u="none" strike="noStrike" cap="none" normalizeH="0" baseline="0">
                <a:ln>
                  <a:noFill/>
                </a:ln>
                <a:effectLst/>
                <a:latin typeface="Trebuchet MS" panose="020B0603020202020204" pitchFamily="34" charset="0"/>
              </a:rPr>
              <a:t>This waterfall show</a:t>
            </a:r>
            <a:r>
              <a:rPr lang="en-GB" sz="1000">
                <a:latin typeface="Trebuchet MS" panose="020B0603020202020204" pitchFamily="34" charset="0"/>
              </a:rPr>
              <a:t>s the sales evolution of “flagship products”: </a:t>
            </a:r>
          </a:p>
          <a:p>
            <a:pPr marL="628650" lvl="1" indent="-171450">
              <a:spcAft>
                <a:spcPts val="600"/>
              </a:spcAft>
              <a:buFont typeface="Wingdings" panose="05000000000000000000" pitchFamily="2" charset="2"/>
              <a:buChar char="§"/>
            </a:pPr>
            <a:r>
              <a:rPr kumimoji="0" lang="en-GB" sz="1000" b="0" i="0" u="none" strike="noStrike" cap="none" normalizeH="0" baseline="0">
                <a:ln>
                  <a:noFill/>
                </a:ln>
                <a:solidFill>
                  <a:schemeClr val="tx2"/>
                </a:solidFill>
                <a:effectLst/>
                <a:latin typeface="Trebuchet MS" panose="020B0603020202020204" pitchFamily="34" charset="0"/>
              </a:rPr>
              <a:t>API and connectors </a:t>
            </a:r>
            <a:r>
              <a:rPr kumimoji="0" lang="en-GB" sz="1000" b="0" i="0" u="none" strike="noStrike" cap="none" normalizeH="0" baseline="0">
                <a:ln>
                  <a:noFill/>
                </a:ln>
                <a:effectLst/>
                <a:latin typeface="Trebuchet MS" panose="020B0603020202020204" pitchFamily="34" charset="0"/>
              </a:rPr>
              <a:t>i.e. Direct +, </a:t>
            </a:r>
            <a:r>
              <a:rPr kumimoji="0" lang="en-GB" sz="1000" b="0" i="0" u="none" strike="noStrike" cap="none" normalizeH="0" baseline="0" err="1">
                <a:ln>
                  <a:noFill/>
                </a:ln>
                <a:effectLst/>
                <a:latin typeface="Trebuchet MS" panose="020B0603020202020204" pitchFamily="34" charset="0"/>
              </a:rPr>
              <a:t>Dataxess</a:t>
            </a:r>
            <a:r>
              <a:rPr lang="en-GB" sz="1000">
                <a:latin typeface="Trebuchet MS" panose="020B0603020202020204" pitchFamily="34" charset="0"/>
              </a:rPr>
              <a:t>, Business Add-On</a:t>
            </a:r>
          </a:p>
          <a:p>
            <a:pPr marL="628650" lvl="1" indent="-171450">
              <a:spcAft>
                <a:spcPts val="600"/>
              </a:spcAft>
              <a:buClr>
                <a:schemeClr val="tx1"/>
              </a:buClr>
              <a:buFont typeface="Wingdings" panose="05000000000000000000" pitchFamily="2" charset="2"/>
              <a:buChar char="§"/>
            </a:pPr>
            <a:r>
              <a:rPr kumimoji="0" lang="en-GB" sz="1000" b="0" i="0" u="none" strike="noStrike" cap="none" normalizeH="0" baseline="0">
                <a:ln>
                  <a:noFill/>
                </a:ln>
                <a:solidFill>
                  <a:schemeClr val="tx2"/>
                </a:solidFill>
                <a:effectLst/>
                <a:latin typeface="Trebuchet MS" panose="020B0603020202020204" pitchFamily="34" charset="0"/>
              </a:rPr>
              <a:t>Modern products </a:t>
            </a:r>
            <a:r>
              <a:rPr kumimoji="0" lang="en-GB" sz="1000" b="0" i="0" u="none" strike="noStrike" cap="none" normalizeH="0" baseline="0">
                <a:ln>
                  <a:noFill/>
                </a:ln>
                <a:effectLst/>
                <a:latin typeface="Trebuchet MS" panose="020B0603020202020204" pitchFamily="34" charset="0"/>
              </a:rPr>
              <a:t>i.e. </a:t>
            </a:r>
            <a:r>
              <a:rPr kumimoji="0" lang="en-GB" sz="1000" b="0" i="0" u="none" strike="noStrike" cap="none" normalizeH="0" baseline="0" err="1">
                <a:ln>
                  <a:noFill/>
                </a:ln>
                <a:effectLst/>
                <a:latin typeface="Trebuchet MS" panose="020B0603020202020204" pitchFamily="34" charset="0"/>
              </a:rPr>
              <a:t>indueD</a:t>
            </a:r>
            <a:r>
              <a:rPr lang="en-GB" sz="1000">
                <a:latin typeface="Trebuchet MS" panose="020B0603020202020204" pitchFamily="34" charset="0"/>
              </a:rPr>
              <a:t> and Onboard</a:t>
            </a:r>
            <a:endParaRPr kumimoji="0" lang="en-GB" sz="1000" b="0" i="0" u="none" strike="noStrike" cap="none" normalizeH="0" baseline="0">
              <a:ln>
                <a:noFill/>
              </a:ln>
              <a:effectLst/>
              <a:latin typeface="Trebuchet MS" panose="020B0603020202020204" pitchFamily="34" charset="0"/>
            </a:endParaRPr>
          </a:p>
        </p:txBody>
      </p:sp>
      <p:pic>
        <p:nvPicPr>
          <p:cNvPr id="44" name="Graphic 194" descr="Lights On">
            <a:extLst>
              <a:ext uri="{FF2B5EF4-FFF2-40B4-BE49-F238E27FC236}">
                <a16:creationId xmlns:a16="http://schemas.microsoft.com/office/drawing/2014/main" id="{739D2113-D64E-4AAF-B9AD-7EA20EE69AF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83355" y="4765951"/>
            <a:ext cx="209742" cy="209742"/>
          </a:xfrm>
          <a:prstGeom prst="rect">
            <a:avLst/>
          </a:prstGeom>
        </p:spPr>
      </p:pic>
      <p:sp>
        <p:nvSpPr>
          <p:cNvPr id="45" name="Rectangle 44">
            <a:extLst>
              <a:ext uri="{FF2B5EF4-FFF2-40B4-BE49-F238E27FC236}">
                <a16:creationId xmlns:a16="http://schemas.microsoft.com/office/drawing/2014/main" id="{626547E8-A4DC-4C4C-AE0D-FD68B53B6D3C}"/>
              </a:ext>
            </a:extLst>
          </p:cNvPr>
          <p:cNvSpPr/>
          <p:nvPr/>
        </p:nvSpPr>
        <p:spPr bwMode="auto">
          <a:xfrm>
            <a:off x="6708513" y="2779885"/>
            <a:ext cx="1962727" cy="244800"/>
          </a:xfrm>
          <a:prstGeom prst="rect">
            <a:avLst/>
          </a:prstGeom>
          <a:solidFill>
            <a:schemeClr val="accent5">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latin typeface="Trebuchet MS" panose="020B0603020202020204" pitchFamily="34" charset="0"/>
              </a:rPr>
              <a:t>Benelux</a:t>
            </a:r>
            <a:endParaRPr kumimoji="0" lang="en-GB" sz="1200" b="0" i="0" u="none" strike="noStrike" cap="none" normalizeH="0" baseline="0">
              <a:ln>
                <a:noFill/>
              </a:ln>
              <a:solidFill>
                <a:schemeClr val="tx1"/>
              </a:solidFill>
              <a:effectLst/>
              <a:latin typeface="Trebuchet MS" panose="020B0603020202020204" pitchFamily="34" charset="0"/>
            </a:endParaRPr>
          </a:p>
        </p:txBody>
      </p:sp>
      <p:sp>
        <p:nvSpPr>
          <p:cNvPr id="46" name="Rectangle 45">
            <a:extLst>
              <a:ext uri="{FF2B5EF4-FFF2-40B4-BE49-F238E27FC236}">
                <a16:creationId xmlns:a16="http://schemas.microsoft.com/office/drawing/2014/main" id="{040F7C19-B6E5-4504-BF40-FD6794D2C55D}"/>
              </a:ext>
            </a:extLst>
          </p:cNvPr>
          <p:cNvSpPr/>
          <p:nvPr/>
        </p:nvSpPr>
        <p:spPr bwMode="auto">
          <a:xfrm>
            <a:off x="6150695" y="1109847"/>
            <a:ext cx="3732588" cy="28264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Waterfall of A</a:t>
            </a:r>
            <a:r>
              <a:rPr kumimoji="0" lang="en-GB" sz="1000" b="1" i="1" u="none" strike="noStrike" kern="1200" cap="none" spc="0" normalizeH="0" baseline="0" noProof="0" err="1">
                <a:ln>
                  <a:noFill/>
                </a:ln>
                <a:effectLst/>
                <a:uLnTx/>
                <a:uFillTx/>
                <a:latin typeface="Trebuchet MS" panose="020B0603020202020204" pitchFamily="34" charset="0"/>
              </a:rPr>
              <a:t>ltares</a:t>
            </a:r>
            <a:r>
              <a:rPr lang="en-GB" sz="1000" b="1" i="1">
                <a:latin typeface="Trebuchet MS" panose="020B0603020202020204" pitchFamily="34" charset="0"/>
              </a:rPr>
              <a:t>’ “flagship products’ booking” in Benelux,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47" name="Rectangle 46">
            <a:extLst>
              <a:ext uri="{FF2B5EF4-FFF2-40B4-BE49-F238E27FC236}">
                <a16:creationId xmlns:a16="http://schemas.microsoft.com/office/drawing/2014/main" id="{D245AD39-DD79-483A-ABB8-AB4C219FDFB3}"/>
              </a:ext>
            </a:extLst>
          </p:cNvPr>
          <p:cNvSpPr/>
          <p:nvPr/>
        </p:nvSpPr>
        <p:spPr bwMode="auto">
          <a:xfrm>
            <a:off x="6708512" y="2779885"/>
            <a:ext cx="1962727" cy="244800"/>
          </a:xfrm>
          <a:prstGeom prst="rect">
            <a:avLst/>
          </a:prstGeom>
          <a:solidFill>
            <a:schemeClr val="accent5">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latin typeface="Trebuchet MS" panose="020B0603020202020204" pitchFamily="34" charset="0"/>
              </a:rPr>
              <a:t>Benelux</a:t>
            </a:r>
            <a:endParaRPr kumimoji="0" lang="en-GB" sz="1200" b="0" i="0" u="none" strike="noStrike" cap="none" normalizeH="0" baseline="0">
              <a:ln>
                <a:noFill/>
              </a:ln>
              <a:solidFill>
                <a:schemeClr val="tx1"/>
              </a:solidFill>
              <a:effectLst/>
              <a:latin typeface="Trebuchet MS" panose="020B0603020202020204" pitchFamily="34" charset="0"/>
            </a:endParaRPr>
          </a:p>
        </p:txBody>
      </p:sp>
      <mc:AlternateContent xmlns:mc="http://schemas.openxmlformats.org/markup-compatibility/2006" xmlns:cx1="http://schemas.microsoft.com/office/drawing/2015/9/8/chartex">
        <mc:Choice Requires="cx1">
          <p:graphicFrame>
            <p:nvGraphicFramePr>
              <p:cNvPr id="26" name="Chart 25">
                <a:extLst>
                  <a:ext uri="{FF2B5EF4-FFF2-40B4-BE49-F238E27FC236}">
                    <a16:creationId xmlns:a16="http://schemas.microsoft.com/office/drawing/2014/main" id="{5BFB3E50-F2A9-4F5F-A5BC-D00511F09D28}"/>
                  </a:ext>
                </a:extLst>
              </p:cNvPr>
              <p:cNvGraphicFramePr/>
              <p:nvPr>
                <p:extLst>
                  <p:ext uri="{D42A27DB-BD31-4B8C-83A1-F6EECF244321}">
                    <p14:modId xmlns:p14="http://schemas.microsoft.com/office/powerpoint/2010/main" val="2018565124"/>
                  </p:ext>
                </p:extLst>
              </p:nvPr>
            </p:nvGraphicFramePr>
            <p:xfrm>
              <a:off x="397963" y="1447910"/>
              <a:ext cx="4866637" cy="3095725"/>
            </p:xfrm>
            <a:graphic>
              <a:graphicData uri="http://schemas.microsoft.com/office/drawing/2014/chartex">
                <cx:chart xmlns:cx="http://schemas.microsoft.com/office/drawing/2014/chartex" xmlns:r="http://schemas.openxmlformats.org/officeDocument/2006/relationships" r:id="rId18"/>
              </a:graphicData>
            </a:graphic>
          </p:graphicFrame>
        </mc:Choice>
        <mc:Fallback xmlns="">
          <p:pic>
            <p:nvPicPr>
              <p:cNvPr id="26" name="Chart 25">
                <a:extLst>
                  <a:ext uri="{FF2B5EF4-FFF2-40B4-BE49-F238E27FC236}">
                    <a16:creationId xmlns:a16="http://schemas.microsoft.com/office/drawing/2014/main" id="{5BFB3E50-F2A9-4F5F-A5BC-D00511F09D28}"/>
                  </a:ext>
                </a:extLst>
              </p:cNvPr>
              <p:cNvPicPr>
                <a:picLocks noGrp="1" noRot="1" noChangeAspect="1" noMove="1" noResize="1" noEditPoints="1" noAdjustHandles="1" noChangeArrowheads="1" noChangeShapeType="1"/>
              </p:cNvPicPr>
              <p:nvPr/>
            </p:nvPicPr>
            <p:blipFill>
              <a:blip r:embed="rId20"/>
              <a:stretch>
                <a:fillRect/>
              </a:stretch>
            </p:blipFill>
            <p:spPr>
              <a:xfrm>
                <a:off x="397963" y="1447910"/>
                <a:ext cx="4866637" cy="3095725"/>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49" name="Chart 48">
                <a:extLst>
                  <a:ext uri="{FF2B5EF4-FFF2-40B4-BE49-F238E27FC236}">
                    <a16:creationId xmlns:a16="http://schemas.microsoft.com/office/drawing/2014/main" id="{8440CECB-6BFF-4F9C-B59B-39F413B5FEDC}"/>
                  </a:ext>
                </a:extLst>
              </p:cNvPr>
              <p:cNvGraphicFramePr/>
              <p:nvPr>
                <p:extLst>
                  <p:ext uri="{D42A27DB-BD31-4B8C-83A1-F6EECF244321}">
                    <p14:modId xmlns:p14="http://schemas.microsoft.com/office/powerpoint/2010/main" val="51447900"/>
                  </p:ext>
                </p:extLst>
              </p:nvPr>
            </p:nvGraphicFramePr>
            <p:xfrm>
              <a:off x="5424858" y="1447910"/>
              <a:ext cx="4083180" cy="3095725"/>
            </p:xfrm>
            <a:graphic>
              <a:graphicData uri="http://schemas.microsoft.com/office/drawing/2014/chartex">
                <cx:chart xmlns:cx="http://schemas.microsoft.com/office/drawing/2014/chartex" xmlns:r="http://schemas.openxmlformats.org/officeDocument/2006/relationships" r:id="rId21"/>
              </a:graphicData>
            </a:graphic>
          </p:graphicFrame>
        </mc:Choice>
        <mc:Fallback xmlns="">
          <p:pic>
            <p:nvPicPr>
              <p:cNvPr id="49" name="Chart 48">
                <a:extLst>
                  <a:ext uri="{FF2B5EF4-FFF2-40B4-BE49-F238E27FC236}">
                    <a16:creationId xmlns:a16="http://schemas.microsoft.com/office/drawing/2014/main" id="{8440CECB-6BFF-4F9C-B59B-39F413B5FEDC}"/>
                  </a:ext>
                </a:extLst>
              </p:cNvPr>
              <p:cNvPicPr>
                <a:picLocks noGrp="1" noRot="1" noChangeAspect="1" noMove="1" noResize="1" noEditPoints="1" noAdjustHandles="1" noChangeArrowheads="1" noChangeShapeType="1"/>
              </p:cNvPicPr>
              <p:nvPr/>
            </p:nvPicPr>
            <p:blipFill>
              <a:blip r:embed="rId22"/>
              <a:stretch>
                <a:fillRect/>
              </a:stretch>
            </p:blipFill>
            <p:spPr>
              <a:xfrm>
                <a:off x="5424858" y="1447910"/>
                <a:ext cx="4083180" cy="3095725"/>
              </a:xfrm>
              <a:prstGeom prst="rect">
                <a:avLst/>
              </a:prstGeom>
            </p:spPr>
          </p:pic>
        </mc:Fallback>
      </mc:AlternateContent>
      <p:cxnSp>
        <p:nvCxnSpPr>
          <p:cNvPr id="50" name="Straight Arrow Connector 49">
            <a:extLst>
              <a:ext uri="{FF2B5EF4-FFF2-40B4-BE49-F238E27FC236}">
                <a16:creationId xmlns:a16="http://schemas.microsoft.com/office/drawing/2014/main" id="{61CED53F-BE3C-4783-8E17-F9F7EEE066B8}"/>
              </a:ext>
            </a:extLst>
          </p:cNvPr>
          <p:cNvCxnSpPr>
            <a:cxnSpLocks/>
          </p:cNvCxnSpPr>
          <p:nvPr/>
        </p:nvCxnSpPr>
        <p:spPr bwMode="auto">
          <a:xfrm flipV="1">
            <a:off x="825623" y="1589103"/>
            <a:ext cx="3675356" cy="1284004"/>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51" name="TextBox 32">
            <a:extLst>
              <a:ext uri="{FF2B5EF4-FFF2-40B4-BE49-F238E27FC236}">
                <a16:creationId xmlns:a16="http://schemas.microsoft.com/office/drawing/2014/main" id="{A439F385-262C-43CC-8B5B-103F4E00F629}"/>
              </a:ext>
            </a:extLst>
          </p:cNvPr>
          <p:cNvSpPr txBox="1"/>
          <p:nvPr/>
        </p:nvSpPr>
        <p:spPr>
          <a:xfrm>
            <a:off x="1641818" y="1981166"/>
            <a:ext cx="144567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000" b="1" i="1">
                <a:latin typeface="Trebuchet MS" panose="020B0603020202020204" pitchFamily="34" charset="0"/>
              </a:rPr>
              <a:t>CAGR</a:t>
            </a:r>
            <a:r>
              <a:rPr lang="en-GB" sz="1000" b="1" i="1" baseline="-25000">
                <a:latin typeface="Trebuchet MS" panose="020B0603020202020204" pitchFamily="34" charset="0"/>
              </a:rPr>
              <a:t>16-19</a:t>
            </a:r>
            <a:r>
              <a:rPr lang="en-GB" sz="1050" b="1" i="1">
                <a:latin typeface="Trebuchet MS" panose="020B0603020202020204" pitchFamily="34" charset="0"/>
              </a:rPr>
              <a:t>: 82%</a:t>
            </a:r>
          </a:p>
        </p:txBody>
      </p:sp>
      <p:cxnSp>
        <p:nvCxnSpPr>
          <p:cNvPr id="52" name="Straight Arrow Connector 51">
            <a:extLst>
              <a:ext uri="{FF2B5EF4-FFF2-40B4-BE49-F238E27FC236}">
                <a16:creationId xmlns:a16="http://schemas.microsoft.com/office/drawing/2014/main" id="{92B0C8C7-6848-462F-9701-53E719E9A6C2}"/>
              </a:ext>
            </a:extLst>
          </p:cNvPr>
          <p:cNvCxnSpPr>
            <a:cxnSpLocks/>
          </p:cNvCxnSpPr>
          <p:nvPr/>
        </p:nvCxnSpPr>
        <p:spPr bwMode="auto">
          <a:xfrm flipV="1">
            <a:off x="5836950" y="1685687"/>
            <a:ext cx="2716814" cy="782305"/>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53" name="TextBox 32">
            <a:extLst>
              <a:ext uri="{FF2B5EF4-FFF2-40B4-BE49-F238E27FC236}">
                <a16:creationId xmlns:a16="http://schemas.microsoft.com/office/drawing/2014/main" id="{E9060B89-6A07-4ABE-9FF9-DC527628D151}"/>
              </a:ext>
            </a:extLst>
          </p:cNvPr>
          <p:cNvSpPr txBox="1"/>
          <p:nvPr/>
        </p:nvSpPr>
        <p:spPr>
          <a:xfrm>
            <a:off x="6568316" y="1755436"/>
            <a:ext cx="144567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000" b="1" i="1">
                <a:latin typeface="Trebuchet MS" panose="020B0603020202020204" pitchFamily="34" charset="0"/>
              </a:rPr>
              <a:t>CAGR</a:t>
            </a:r>
            <a:r>
              <a:rPr lang="en-GB" sz="1000" b="1" i="1" baseline="-25000">
                <a:latin typeface="Trebuchet MS" panose="020B0603020202020204" pitchFamily="34" charset="0"/>
              </a:rPr>
              <a:t>17-19</a:t>
            </a:r>
            <a:r>
              <a:rPr lang="en-GB" sz="1050" b="1" i="1">
                <a:latin typeface="Trebuchet MS" panose="020B0603020202020204" pitchFamily="34" charset="0"/>
              </a:rPr>
              <a:t>: 45%</a:t>
            </a:r>
          </a:p>
        </p:txBody>
      </p:sp>
      <p:pic>
        <p:nvPicPr>
          <p:cNvPr id="48" name="Picture 2" descr="5 ft x 3 ft 150 x 90 cm-DRAPEAU BELGE Belgique 100% Polyester ...">
            <a:extLst>
              <a:ext uri="{FF2B5EF4-FFF2-40B4-BE49-F238E27FC236}">
                <a16:creationId xmlns:a16="http://schemas.microsoft.com/office/drawing/2014/main" id="{96E38DE7-CB6C-4BAE-9F7C-7D6F1656A0E1}"/>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5695660" y="1223852"/>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4" name="Picture 2 - 1" descr="Drapeau des Pays-Bas — Wikipédia">
            <a:extLst>
              <a:ext uri="{FF2B5EF4-FFF2-40B4-BE49-F238E27FC236}">
                <a16:creationId xmlns:a16="http://schemas.microsoft.com/office/drawing/2014/main" id="{6F520380-1422-4297-9BF8-326BA101B01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489337" y="1223852"/>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5" name="Picture 2 - 2" descr="Drapeau du Luxembourg">
            <a:extLst>
              <a:ext uri="{FF2B5EF4-FFF2-40B4-BE49-F238E27FC236}">
                <a16:creationId xmlns:a16="http://schemas.microsoft.com/office/drawing/2014/main" id="{602357A3-51E6-4244-989E-AC9AA2C2765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901983" y="1223852"/>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6" name="Picture 2" descr="Drapeau France">
            <a:extLst>
              <a:ext uri="{FF2B5EF4-FFF2-40B4-BE49-F238E27FC236}">
                <a16:creationId xmlns:a16="http://schemas.microsoft.com/office/drawing/2014/main" id="{724244C0-26CA-4041-A521-5DFD2D1E79BF}"/>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434583" y="1223852"/>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3327230433"/>
      </p:ext>
    </p:extLst>
  </p:cSld>
  <p:clrMapOvr>
    <a:masterClrMapping/>
  </p:clrMapOvr>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97C0850D-AA96-4FA0-AAD9-E4ED064FA287}"/>
              </a:ext>
            </a:extLst>
          </p:cNvPr>
          <p:cNvGraphicFramePr>
            <a:graphicFrameLocks noChangeAspect="1"/>
          </p:cNvGraphicFramePr>
          <p:nvPr>
            <p:custDataLst>
              <p:tags r:id="rId1"/>
            </p:custDataLst>
            <p:extLst>
              <p:ext uri="{D42A27DB-BD31-4B8C-83A1-F6EECF244321}">
                <p14:modId xmlns:p14="http://schemas.microsoft.com/office/powerpoint/2010/main" val="129422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2" progId="TCLayout.ActiveDocument.1">
                  <p:embed/>
                </p:oleObj>
              </mc:Choice>
              <mc:Fallback>
                <p:oleObj name="think-cell Slide" r:id="rId5" imgW="501" imgH="502" progId="TCLayout.ActiveDocument.1">
                  <p:embed/>
                  <p:pic>
                    <p:nvPicPr>
                      <p:cNvPr id="6" name="Objet 5" hidden="1">
                        <a:extLst>
                          <a:ext uri="{FF2B5EF4-FFF2-40B4-BE49-F238E27FC236}">
                            <a16:creationId xmlns:a16="http://schemas.microsoft.com/office/drawing/2014/main" id="{97C0850D-AA96-4FA0-AAD9-E4ED064FA2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F46D977-A29B-4A0F-BB7F-5452D2A2AF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cxnSp>
        <p:nvCxnSpPr>
          <p:cNvPr id="11" name="Connecteur droit 10">
            <a:extLst>
              <a:ext uri="{FF2B5EF4-FFF2-40B4-BE49-F238E27FC236}">
                <a16:creationId xmlns:a16="http://schemas.microsoft.com/office/drawing/2014/main" id="{3236E504-8381-45E9-8675-4BEFA5F79B7E}"/>
              </a:ext>
            </a:extLst>
          </p:cNvPr>
          <p:cNvCxnSpPr>
            <a:cxnSpLocks/>
          </p:cNvCxnSpPr>
          <p:nvPr/>
        </p:nvCxnSpPr>
        <p:spPr bwMode="auto">
          <a:xfrm>
            <a:off x="5171337" y="1150413"/>
            <a:ext cx="0" cy="5257425"/>
          </a:xfrm>
          <a:prstGeom prst="line">
            <a:avLst/>
          </a:prstGeom>
          <a:solidFill>
            <a:schemeClr val="accent1"/>
          </a:solidFill>
          <a:ln w="9525" cap="flat" cmpd="sng" algn="ctr">
            <a:solidFill>
              <a:schemeClr val="accent1"/>
            </a:solidFill>
            <a:prstDash val="dash"/>
            <a:round/>
            <a:headEnd type="none" w="med" len="med"/>
            <a:tailEnd type="none" w="med" len="med"/>
          </a:ln>
          <a:effectLst/>
        </p:spPr>
      </p:cxnSp>
      <p:sp>
        <p:nvSpPr>
          <p:cNvPr id="8" name="Rectangle 7">
            <a:extLst>
              <a:ext uri="{FF2B5EF4-FFF2-40B4-BE49-F238E27FC236}">
                <a16:creationId xmlns:a16="http://schemas.microsoft.com/office/drawing/2014/main" id="{D9C5BB33-C800-4840-B227-09032F8A9918}"/>
              </a:ext>
            </a:extLst>
          </p:cNvPr>
          <p:cNvSpPr/>
          <p:nvPr/>
        </p:nvSpPr>
        <p:spPr bwMode="auto">
          <a:xfrm>
            <a:off x="5280846" y="6610464"/>
            <a:ext cx="3119205" cy="18392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re 1">
            <a:extLst>
              <a:ext uri="{FF2B5EF4-FFF2-40B4-BE49-F238E27FC236}">
                <a16:creationId xmlns:a16="http://schemas.microsoft.com/office/drawing/2014/main" id="{4ECB237A-0F4E-4F37-A944-E03240594CF2}"/>
              </a:ext>
            </a:extLst>
          </p:cNvPr>
          <p:cNvSpPr>
            <a:spLocks noGrp="1"/>
          </p:cNvSpPr>
          <p:nvPr>
            <p:ph type="title"/>
          </p:nvPr>
        </p:nvSpPr>
        <p:spPr>
          <a:xfrm>
            <a:off x="354594" y="147600"/>
            <a:ext cx="8199169" cy="684000"/>
          </a:xfrm>
        </p:spPr>
        <p:txBody>
          <a:bodyPr/>
          <a:lstStyle/>
          <a:p>
            <a:r>
              <a:rPr lang="en-GB">
                <a:latin typeface="Trebuchet MS" panose="020B0603020202020204" pitchFamily="34" charset="0"/>
              </a:rPr>
              <a:t>A </a:t>
            </a:r>
            <a:r>
              <a:rPr lang="en-GB">
                <a:solidFill>
                  <a:schemeClr val="tx2"/>
                </a:solidFill>
                <a:latin typeface="Trebuchet MS" panose="020B0603020202020204" pitchFamily="34" charset="0"/>
              </a:rPr>
              <a:t>clear product strategy </a:t>
            </a:r>
            <a:r>
              <a:rPr lang="en-GB">
                <a:latin typeface="Trebuchet MS" panose="020B0603020202020204" pitchFamily="34" charset="0"/>
              </a:rPr>
              <a:t>– supported by a </a:t>
            </a:r>
            <a:r>
              <a:rPr lang="en-GB">
                <a:solidFill>
                  <a:schemeClr val="tx2"/>
                </a:solidFill>
                <a:latin typeface="Trebuchet MS" panose="020B0603020202020204" pitchFamily="34" charset="0"/>
              </a:rPr>
              <a:t>new global product-based editorial line </a:t>
            </a:r>
            <a:r>
              <a:rPr lang="en-GB">
                <a:latin typeface="Trebuchet MS" panose="020B0603020202020204" pitchFamily="34" charset="0"/>
              </a:rPr>
              <a:t>- is being rolled out in order to enrich </a:t>
            </a:r>
            <a:r>
              <a:rPr lang="en-GB" err="1">
                <a:latin typeface="Trebuchet MS" panose="020B0603020202020204" pitchFamily="34" charset="0"/>
              </a:rPr>
              <a:t>Altares</a:t>
            </a:r>
            <a:r>
              <a:rPr lang="en-GB">
                <a:latin typeface="Trebuchet MS" panose="020B0603020202020204" pitchFamily="34" charset="0"/>
              </a:rPr>
              <a:t>’ services and solutions with key functionalities aligned with </a:t>
            </a:r>
            <a:r>
              <a:rPr lang="en-GB">
                <a:solidFill>
                  <a:schemeClr val="tx2"/>
                </a:solidFill>
                <a:latin typeface="Trebuchet MS" panose="020B0603020202020204" pitchFamily="34" charset="0"/>
              </a:rPr>
              <a:t>customers’ expectations</a:t>
            </a:r>
          </a:p>
        </p:txBody>
      </p:sp>
      <p:sp>
        <p:nvSpPr>
          <p:cNvPr id="3" name="Espace réservé du texte 2">
            <a:extLst>
              <a:ext uri="{FF2B5EF4-FFF2-40B4-BE49-F238E27FC236}">
                <a16:creationId xmlns:a16="http://schemas.microsoft.com/office/drawing/2014/main" id="{07AAC9CD-5C08-4C8D-80A5-F42BD6814E9A}"/>
              </a:ext>
            </a:extLst>
          </p:cNvPr>
          <p:cNvSpPr>
            <a:spLocks noGrp="1"/>
          </p:cNvSpPr>
          <p:nvPr>
            <p:ph type="body" sz="quarter" idx="10"/>
          </p:nvPr>
        </p:nvSpPr>
        <p:spPr>
          <a:xfrm>
            <a:off x="1315273" y="6580025"/>
            <a:ext cx="3891199" cy="244800"/>
          </a:xfrm>
        </p:spPr>
        <p:txBody>
          <a:bodyPr/>
          <a:lstStyle/>
          <a:p>
            <a:r>
              <a:rPr lang="en-GB" sz="800" i="1" kern="0"/>
              <a:t>Sources: eleven research &amp; analysis, company data, interviews with management</a:t>
            </a:r>
            <a:r>
              <a:rPr lang="en-GB"/>
              <a:t> </a:t>
            </a:r>
          </a:p>
          <a:p>
            <a:r>
              <a:rPr lang="en-GB"/>
              <a:t>1. 2. Refinitiv and </a:t>
            </a:r>
            <a:r>
              <a:rPr lang="en-GB" err="1"/>
              <a:t>Acuris</a:t>
            </a:r>
            <a:r>
              <a:rPr lang="en-GB"/>
              <a:t>: financial data providers</a:t>
            </a:r>
          </a:p>
        </p:txBody>
      </p:sp>
      <p:sp>
        <p:nvSpPr>
          <p:cNvPr id="123" name="Rectangle 122">
            <a:extLst>
              <a:ext uri="{FF2B5EF4-FFF2-40B4-BE49-F238E27FC236}">
                <a16:creationId xmlns:a16="http://schemas.microsoft.com/office/drawing/2014/main" id="{558D1736-8231-48AA-8605-B9FC2A9A9406}"/>
              </a:ext>
            </a:extLst>
          </p:cNvPr>
          <p:cNvSpPr/>
          <p:nvPr/>
        </p:nvSpPr>
        <p:spPr bwMode="auto">
          <a:xfrm>
            <a:off x="5246356" y="6589802"/>
            <a:ext cx="955486" cy="22524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a:solidFill>
                  <a:schemeClr val="tx2"/>
                </a:solidFill>
                <a:latin typeface="Trebuchet MS" panose="020B0603020202020204" pitchFamily="34" charset="0"/>
              </a:rPr>
              <a:t>D</a:t>
            </a:r>
            <a:r>
              <a:rPr kumimoji="0" lang="en-GB" sz="900" b="0" i="1" u="none" strike="noStrike" cap="none" normalizeH="0" baseline="0">
                <a:ln>
                  <a:noFill/>
                </a:ln>
                <a:solidFill>
                  <a:schemeClr val="tx2"/>
                </a:solidFill>
                <a:effectLst/>
                <a:latin typeface="Trebuchet MS" panose="020B0603020202020204" pitchFamily="34" charset="0"/>
              </a:rPr>
              <a:t>elivered</a:t>
            </a:r>
          </a:p>
        </p:txBody>
      </p:sp>
      <p:sp>
        <p:nvSpPr>
          <p:cNvPr id="124" name="Rectangle 123">
            <a:extLst>
              <a:ext uri="{FF2B5EF4-FFF2-40B4-BE49-F238E27FC236}">
                <a16:creationId xmlns:a16="http://schemas.microsoft.com/office/drawing/2014/main" id="{AC00E305-0542-455A-AA3F-6C1F4E63D52A}"/>
              </a:ext>
            </a:extLst>
          </p:cNvPr>
          <p:cNvSpPr/>
          <p:nvPr/>
        </p:nvSpPr>
        <p:spPr bwMode="auto">
          <a:xfrm>
            <a:off x="6308274" y="6595478"/>
            <a:ext cx="955486" cy="22524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effectLst/>
                <a:latin typeface="Trebuchet MS" panose="020B0603020202020204" pitchFamily="34" charset="0"/>
              </a:rPr>
              <a:t>Under Analysis</a:t>
            </a:r>
          </a:p>
        </p:txBody>
      </p:sp>
      <p:sp>
        <p:nvSpPr>
          <p:cNvPr id="125" name="Rectangle 124">
            <a:extLst>
              <a:ext uri="{FF2B5EF4-FFF2-40B4-BE49-F238E27FC236}">
                <a16:creationId xmlns:a16="http://schemas.microsoft.com/office/drawing/2014/main" id="{82369EC3-6AD7-4F2C-AD7D-641FDB24A5A4}"/>
              </a:ext>
            </a:extLst>
          </p:cNvPr>
          <p:cNvSpPr/>
          <p:nvPr/>
        </p:nvSpPr>
        <p:spPr bwMode="auto">
          <a:xfrm>
            <a:off x="7370192" y="6595478"/>
            <a:ext cx="955486" cy="22524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accent1"/>
                </a:solidFill>
                <a:effectLst/>
                <a:latin typeface="Trebuchet MS" panose="020B0603020202020204" pitchFamily="34" charset="0"/>
              </a:rPr>
              <a:t>Committed</a:t>
            </a:r>
          </a:p>
        </p:txBody>
      </p:sp>
      <p:cxnSp>
        <p:nvCxnSpPr>
          <p:cNvPr id="106" name="Connecteur droit 105">
            <a:extLst>
              <a:ext uri="{FF2B5EF4-FFF2-40B4-BE49-F238E27FC236}">
                <a16:creationId xmlns:a16="http://schemas.microsoft.com/office/drawing/2014/main" id="{0C258CD3-E504-46E1-AC3C-7551E2A5140A}"/>
              </a:ext>
            </a:extLst>
          </p:cNvPr>
          <p:cNvCxnSpPr/>
          <p:nvPr/>
        </p:nvCxnSpPr>
        <p:spPr bwMode="auto">
          <a:xfrm>
            <a:off x="213878" y="2040657"/>
            <a:ext cx="9334391" cy="0"/>
          </a:xfrm>
          <a:prstGeom prst="line">
            <a:avLst/>
          </a:prstGeom>
          <a:solidFill>
            <a:schemeClr val="accent1"/>
          </a:solidFill>
          <a:ln w="9525" cap="flat" cmpd="sng" algn="ctr">
            <a:solidFill>
              <a:schemeClr val="bg1">
                <a:lumMod val="85000"/>
              </a:schemeClr>
            </a:solidFill>
            <a:prstDash val="lgDash"/>
            <a:round/>
            <a:headEnd type="none" w="med" len="med"/>
            <a:tailEnd type="none" w="med" len="med"/>
          </a:ln>
          <a:effectLst/>
        </p:spPr>
      </p:cxnSp>
      <p:sp>
        <p:nvSpPr>
          <p:cNvPr id="107" name="Rectangle 106">
            <a:extLst>
              <a:ext uri="{FF2B5EF4-FFF2-40B4-BE49-F238E27FC236}">
                <a16:creationId xmlns:a16="http://schemas.microsoft.com/office/drawing/2014/main" id="{63925F6F-2F3E-4FDB-AA44-436AB8C9870B}"/>
              </a:ext>
            </a:extLst>
          </p:cNvPr>
          <p:cNvSpPr/>
          <p:nvPr/>
        </p:nvSpPr>
        <p:spPr bwMode="auto">
          <a:xfrm>
            <a:off x="164670" y="934209"/>
            <a:ext cx="836522" cy="1237872"/>
          </a:xfrm>
          <a:prstGeom prst="rect">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200" b="1">
              <a:solidFill>
                <a:schemeClr val="bg1"/>
              </a:solidFill>
              <a:latin typeface="Trebuchet MS" panose="020B0603020202020204" pitchFamily="34" charset="0"/>
            </a:endParaRPr>
          </a:p>
          <a:p>
            <a:pPr algn="ctr"/>
            <a:r>
              <a:rPr lang="en-GB" sz="1200" b="1">
                <a:solidFill>
                  <a:schemeClr val="bg1"/>
                </a:solidFill>
                <a:latin typeface="Trebuchet MS" panose="020B0603020202020204" pitchFamily="34" charset="0"/>
              </a:rPr>
              <a:t>New product editorial line</a:t>
            </a:r>
          </a:p>
        </p:txBody>
      </p:sp>
      <p:grpSp>
        <p:nvGrpSpPr>
          <p:cNvPr id="161" name="Groupe 160">
            <a:extLst>
              <a:ext uri="{FF2B5EF4-FFF2-40B4-BE49-F238E27FC236}">
                <a16:creationId xmlns:a16="http://schemas.microsoft.com/office/drawing/2014/main" id="{3DDBB19D-A334-4D2C-BCD2-95A74EF5BEAB}"/>
              </a:ext>
            </a:extLst>
          </p:cNvPr>
          <p:cNvGrpSpPr/>
          <p:nvPr/>
        </p:nvGrpSpPr>
        <p:grpSpPr>
          <a:xfrm>
            <a:off x="8448150" y="-11528"/>
            <a:ext cx="1435548" cy="711253"/>
            <a:chOff x="8448150" y="-11528"/>
            <a:chExt cx="1435548" cy="711253"/>
          </a:xfrm>
        </p:grpSpPr>
        <p:sp>
          <p:nvSpPr>
            <p:cNvPr id="178" name="Rectangle : coins arrondis 199">
              <a:extLst>
                <a:ext uri="{FF2B5EF4-FFF2-40B4-BE49-F238E27FC236}">
                  <a16:creationId xmlns:a16="http://schemas.microsoft.com/office/drawing/2014/main" id="{A4017EC1-6605-4C2B-BDF6-ABC2F6CBD193}"/>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79" name="Rectangle : coins arrondis 200">
              <a:extLst>
                <a:ext uri="{FF2B5EF4-FFF2-40B4-BE49-F238E27FC236}">
                  <a16:creationId xmlns:a16="http://schemas.microsoft.com/office/drawing/2014/main" id="{C7D61AB4-85C4-4D16-BB13-FC61EF54EA45}"/>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80" name="Rectangle : coins arrondis 201">
              <a:extLst>
                <a:ext uri="{FF2B5EF4-FFF2-40B4-BE49-F238E27FC236}">
                  <a16:creationId xmlns:a16="http://schemas.microsoft.com/office/drawing/2014/main" id="{29915760-28C0-46C6-A884-64CD0F52F4B2}"/>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81" name="ZoneTexte 18">
              <a:extLst>
                <a:ext uri="{FF2B5EF4-FFF2-40B4-BE49-F238E27FC236}">
                  <a16:creationId xmlns:a16="http://schemas.microsoft.com/office/drawing/2014/main" id="{B3D8EB21-CA0B-4CA4-887D-D16C0465FF17}"/>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82" name="Graphique 128" descr="Jauge">
              <a:extLst>
                <a:ext uri="{FF2B5EF4-FFF2-40B4-BE49-F238E27FC236}">
                  <a16:creationId xmlns:a16="http://schemas.microsoft.com/office/drawing/2014/main" id="{DB6BDB38-3937-4874-9E67-3FA361E2401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183" name="Graphique 90" descr="Poignée de main">
              <a:extLst>
                <a:ext uri="{FF2B5EF4-FFF2-40B4-BE49-F238E27FC236}">
                  <a16:creationId xmlns:a16="http://schemas.microsoft.com/office/drawing/2014/main" id="{DE3E9F7F-CAFA-4215-8FDF-1A54426AC42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184" name="Graphique 74" descr="Mégaphone">
              <a:extLst>
                <a:ext uri="{FF2B5EF4-FFF2-40B4-BE49-F238E27FC236}">
                  <a16:creationId xmlns:a16="http://schemas.microsoft.com/office/drawing/2014/main" id="{37C73E6F-9C9B-4416-BF27-65A936CB2AB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185" name="Picture 2" descr="Drapeau France">
              <a:extLst>
                <a:ext uri="{FF2B5EF4-FFF2-40B4-BE49-F238E27FC236}">
                  <a16:creationId xmlns:a16="http://schemas.microsoft.com/office/drawing/2014/main" id="{243296CB-3BC6-4259-AEC1-FBE43803291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86" name="Picture 2" descr="5 ft x 3 ft 150 x 90 cm-DRAPEAU BELGE Belgique 100% Polyester ...">
              <a:extLst>
                <a:ext uri="{FF2B5EF4-FFF2-40B4-BE49-F238E27FC236}">
                  <a16:creationId xmlns:a16="http://schemas.microsoft.com/office/drawing/2014/main" id="{94088BDE-D2CD-4B11-AE86-41313B5B1578}"/>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87" name="Picture 2 - 1" descr="Drapeau des Pays-Bas — Wikipédia">
              <a:extLst>
                <a:ext uri="{FF2B5EF4-FFF2-40B4-BE49-F238E27FC236}">
                  <a16:creationId xmlns:a16="http://schemas.microsoft.com/office/drawing/2014/main" id="{A9F2AB4E-EC4E-4BA7-B13B-5B009E7914B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88" name="Picture 2 - 2" descr="Drapeau du Luxembourg">
              <a:extLst>
                <a:ext uri="{FF2B5EF4-FFF2-40B4-BE49-F238E27FC236}">
                  <a16:creationId xmlns:a16="http://schemas.microsoft.com/office/drawing/2014/main" id="{6594C2E2-AA96-44AC-90DC-8819A8BABE8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89" name="ZoneTexte 188">
              <a:extLst>
                <a:ext uri="{FF2B5EF4-FFF2-40B4-BE49-F238E27FC236}">
                  <a16:creationId xmlns:a16="http://schemas.microsoft.com/office/drawing/2014/main" id="{4BA5A5CA-EA66-4B03-8225-C69572C12AA7}"/>
                </a:ext>
              </a:extLst>
            </p:cNvPr>
            <p:cNvSpPr txBox="1"/>
            <p:nvPr/>
          </p:nvSpPr>
          <p:spPr>
            <a:xfrm>
              <a:off x="8506412" y="361171"/>
              <a:ext cx="1165225" cy="338554"/>
            </a:xfrm>
            <a:prstGeom prst="rect">
              <a:avLst/>
            </a:prstGeom>
            <a:noFill/>
          </p:spPr>
          <p:txBody>
            <a:bodyPr wrap="square" rtlCol="0">
              <a:spAutoFit/>
            </a:bodyPr>
            <a:lstStyle/>
            <a:p>
              <a:pPr algn="ctr"/>
              <a:r>
                <a:rPr lang="en-GB" sz="800" i="1">
                  <a:latin typeface="Trebuchet MS" panose="020B0603020202020204" pitchFamily="34" charset="0"/>
                </a:rPr>
                <a:t>Product strategy roll-out</a:t>
              </a:r>
            </a:p>
          </p:txBody>
        </p:sp>
      </p:grpSp>
      <p:grpSp>
        <p:nvGrpSpPr>
          <p:cNvPr id="190" name="Groupe 189">
            <a:extLst>
              <a:ext uri="{FF2B5EF4-FFF2-40B4-BE49-F238E27FC236}">
                <a16:creationId xmlns:a16="http://schemas.microsoft.com/office/drawing/2014/main" id="{ABBC296A-1629-40D1-BC55-3853B6D9A7FC}"/>
              </a:ext>
            </a:extLst>
          </p:cNvPr>
          <p:cNvGrpSpPr/>
          <p:nvPr/>
        </p:nvGrpSpPr>
        <p:grpSpPr>
          <a:xfrm>
            <a:off x="58045" y="176773"/>
            <a:ext cx="325859" cy="276999"/>
            <a:chOff x="3287902" y="1242339"/>
            <a:chExt cx="325859" cy="276999"/>
          </a:xfrm>
        </p:grpSpPr>
        <p:sp>
          <p:nvSpPr>
            <p:cNvPr id="191" name="Ellipse 190">
              <a:extLst>
                <a:ext uri="{FF2B5EF4-FFF2-40B4-BE49-F238E27FC236}">
                  <a16:creationId xmlns:a16="http://schemas.microsoft.com/office/drawing/2014/main" id="{3F9570E7-D5E2-4002-BD90-07935233D570}"/>
                </a:ext>
              </a:extLst>
            </p:cNvPr>
            <p:cNvSpPr/>
            <p:nvPr/>
          </p:nvSpPr>
          <p:spPr bwMode="auto">
            <a:xfrm>
              <a:off x="3333135" y="1264289"/>
              <a:ext cx="251317"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92" name="ZoneTexte 191">
              <a:extLst>
                <a:ext uri="{FF2B5EF4-FFF2-40B4-BE49-F238E27FC236}">
                  <a16:creationId xmlns:a16="http://schemas.microsoft.com/office/drawing/2014/main" id="{DE7D72D6-6BFC-4897-AA9B-6ABC0BC0E38B}"/>
                </a:ext>
              </a:extLst>
            </p:cNvPr>
            <p:cNvSpPr txBox="1"/>
            <p:nvPr/>
          </p:nvSpPr>
          <p:spPr>
            <a:xfrm>
              <a:off x="3287902" y="1242339"/>
              <a:ext cx="325859" cy="276999"/>
            </a:xfrm>
            <a:prstGeom prst="rect">
              <a:avLst/>
            </a:prstGeom>
            <a:noFill/>
          </p:spPr>
          <p:txBody>
            <a:bodyPr wrap="square" rtlCol="0">
              <a:spAutoFit/>
            </a:bodyPr>
            <a:lstStyle/>
            <a:p>
              <a:pPr algn="ctr"/>
              <a:r>
                <a:rPr lang="en-GB" sz="1200">
                  <a:solidFill>
                    <a:schemeClr val="bg1"/>
                  </a:solidFill>
                  <a:latin typeface="+mj-lt"/>
                </a:rPr>
                <a:t>2</a:t>
              </a:r>
            </a:p>
          </p:txBody>
        </p:sp>
      </p:grpSp>
      <p:sp>
        <p:nvSpPr>
          <p:cNvPr id="100" name="Rectangle 99">
            <a:extLst>
              <a:ext uri="{FF2B5EF4-FFF2-40B4-BE49-F238E27FC236}">
                <a16:creationId xmlns:a16="http://schemas.microsoft.com/office/drawing/2014/main" id="{B597BFCF-A09D-40FE-BDC1-1805DCB80CFD}"/>
              </a:ext>
            </a:extLst>
          </p:cNvPr>
          <p:cNvSpPr/>
          <p:nvPr/>
        </p:nvSpPr>
        <p:spPr bwMode="auto">
          <a:xfrm>
            <a:off x="1050400" y="936159"/>
            <a:ext cx="8570426" cy="1241831"/>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Bef>
                <a:spcPts val="200"/>
              </a:spcBef>
              <a:buClr>
                <a:schemeClr val="tx1"/>
              </a:buClr>
              <a:buFont typeface="Arial" panose="020B0604020202020204" pitchFamily="34" charset="0"/>
              <a:buChar char="•"/>
            </a:pPr>
            <a:r>
              <a:rPr lang="en-GB" sz="1000">
                <a:latin typeface="Trebuchet MS" panose="020B0603020202020204" pitchFamily="34" charset="0"/>
              </a:rPr>
              <a:t>New </a:t>
            </a:r>
            <a:r>
              <a:rPr lang="en-GB" sz="1000">
                <a:solidFill>
                  <a:schemeClr val="accent1">
                    <a:lumMod val="75000"/>
                  </a:schemeClr>
                </a:solidFill>
                <a:latin typeface="Trebuchet MS" panose="020B0603020202020204" pitchFamily="34" charset="0"/>
              </a:rPr>
              <a:t>product-centric organization set up in 2019 </a:t>
            </a:r>
            <a:r>
              <a:rPr lang="en-GB" sz="1000">
                <a:latin typeface="Trebuchet MS" panose="020B0603020202020204" pitchFamily="34" charset="0"/>
              </a:rPr>
              <a:t>(vs. reactive product management mostly driven by sales in previous years)</a:t>
            </a:r>
          </a:p>
          <a:p>
            <a:pPr marL="171450" indent="-171450">
              <a:spcBef>
                <a:spcPts val="200"/>
              </a:spcBef>
              <a:buClr>
                <a:schemeClr val="tx1"/>
              </a:buClr>
              <a:buFont typeface="Arial" panose="020B0604020202020204" pitchFamily="34" charset="0"/>
              <a:buChar char="•"/>
            </a:pPr>
            <a:r>
              <a:rPr lang="en-GB" sz="1000">
                <a:solidFill>
                  <a:schemeClr val="accent1">
                    <a:lumMod val="75000"/>
                  </a:schemeClr>
                </a:solidFill>
                <a:latin typeface="Trebuchet MS" panose="020B0603020202020204" pitchFamily="34" charset="0"/>
              </a:rPr>
              <a:t>Clear product roadmap </a:t>
            </a:r>
            <a:r>
              <a:rPr lang="en-GB" sz="1000">
                <a:latin typeface="Trebuchet MS" panose="020B0603020202020204" pitchFamily="34" charset="0"/>
              </a:rPr>
              <a:t>with a new editorial approach to </a:t>
            </a:r>
            <a:r>
              <a:rPr lang="en-GB" sz="1000">
                <a:solidFill>
                  <a:schemeClr val="accent1">
                    <a:lumMod val="75000"/>
                  </a:schemeClr>
                </a:solidFill>
                <a:latin typeface="Trebuchet MS" panose="020B0603020202020204" pitchFamily="34" charset="0"/>
              </a:rPr>
              <a:t>modernize and refocus product portfolio </a:t>
            </a:r>
            <a:r>
              <a:rPr lang="en-GB" sz="1000">
                <a:latin typeface="Trebuchet MS" panose="020B0603020202020204" pitchFamily="34" charset="0"/>
              </a:rPr>
              <a:t>on a limited number of products, deployed on </a:t>
            </a:r>
            <a:r>
              <a:rPr lang="en-GB" sz="1000">
                <a:solidFill>
                  <a:schemeClr val="accent1">
                    <a:lumMod val="75000"/>
                  </a:schemeClr>
                </a:solidFill>
                <a:latin typeface="Trebuchet MS" panose="020B0603020202020204" pitchFamily="34" charset="0"/>
              </a:rPr>
              <a:t>all </a:t>
            </a:r>
            <a:r>
              <a:rPr lang="en-GB" sz="1000" err="1">
                <a:solidFill>
                  <a:schemeClr val="accent1">
                    <a:lumMod val="75000"/>
                  </a:schemeClr>
                </a:solidFill>
                <a:latin typeface="Trebuchet MS" panose="020B0603020202020204" pitchFamily="34" charset="0"/>
              </a:rPr>
              <a:t>Altares</a:t>
            </a:r>
            <a:r>
              <a:rPr lang="en-GB" sz="1000">
                <a:solidFill>
                  <a:schemeClr val="accent1">
                    <a:lumMod val="75000"/>
                  </a:schemeClr>
                </a:solidFill>
                <a:latin typeface="Trebuchet MS" panose="020B0603020202020204" pitchFamily="34" charset="0"/>
              </a:rPr>
              <a:t>’ geographies </a:t>
            </a:r>
            <a:r>
              <a:rPr lang="en-GB" sz="1000">
                <a:latin typeface="Trebuchet MS" panose="020B0603020202020204" pitchFamily="34" charset="0"/>
              </a:rPr>
              <a:t>with </a:t>
            </a:r>
            <a:r>
              <a:rPr lang="en-GB" sz="1000">
                <a:solidFill>
                  <a:schemeClr val="accent1">
                    <a:lumMod val="75000"/>
                  </a:schemeClr>
                </a:solidFill>
                <a:latin typeface="Trebuchet MS" panose="020B0603020202020204" pitchFamily="34" charset="0"/>
              </a:rPr>
              <a:t>local coloration </a:t>
            </a:r>
            <a:r>
              <a:rPr lang="en-GB" sz="1000">
                <a:latin typeface="Trebuchet MS" panose="020B0603020202020204" pitchFamily="34" charset="0"/>
              </a:rPr>
              <a:t>(strong impact of the Datahub project expected in </a:t>
            </a:r>
            <a:r>
              <a:rPr lang="en-GB" sz="1000">
                <a:solidFill>
                  <a:schemeClr val="accent1">
                    <a:lumMod val="75000"/>
                  </a:schemeClr>
                </a:solidFill>
                <a:latin typeface="Trebuchet MS" panose="020B0603020202020204" pitchFamily="34" charset="0"/>
              </a:rPr>
              <a:t>Benelux</a:t>
            </a:r>
            <a:r>
              <a:rPr lang="en-GB" sz="1000">
                <a:latin typeface="Trebuchet MS" pitchFamily="34" charset="0"/>
              </a:rPr>
              <a:t>)</a:t>
            </a:r>
          </a:p>
          <a:p>
            <a:pPr marL="171450" indent="-171450">
              <a:spcBef>
                <a:spcPts val="200"/>
              </a:spcBef>
              <a:buClr>
                <a:schemeClr val="tx1"/>
              </a:buClr>
              <a:buFont typeface="Arial" panose="020B0604020202020204" pitchFamily="34" charset="0"/>
              <a:buChar char="•"/>
            </a:pPr>
            <a:r>
              <a:rPr lang="en-GB" sz="1000">
                <a:latin typeface="Trebuchet MS" pitchFamily="34" charset="0"/>
              </a:rPr>
              <a:t>Product innovation focusing on </a:t>
            </a:r>
            <a:r>
              <a:rPr kumimoji="0" lang="en-GB" sz="1000" u="none" strike="noStrike" cap="none" normalizeH="0" baseline="0">
                <a:ln>
                  <a:noFill/>
                </a:ln>
                <a:solidFill>
                  <a:schemeClr val="accent1">
                    <a:lumMod val="75000"/>
                  </a:schemeClr>
                </a:solidFill>
                <a:effectLst/>
                <a:latin typeface="Trebuchet MS" panose="020B0603020202020204" pitchFamily="34" charset="0"/>
              </a:rPr>
              <a:t>customers precise “use cases”</a:t>
            </a:r>
            <a:r>
              <a:rPr kumimoji="0" lang="en-GB" sz="1000" u="none" strike="noStrike" cap="none" normalizeH="0" baseline="0">
                <a:ln>
                  <a:noFill/>
                </a:ln>
                <a:solidFill>
                  <a:schemeClr val="tx1"/>
                </a:solidFill>
                <a:effectLst/>
                <a:latin typeface="Trebuchet MS" panose="020B0603020202020204" pitchFamily="34" charset="0"/>
              </a:rPr>
              <a:t> (higher granularity, </a:t>
            </a:r>
            <a:r>
              <a:rPr lang="en-GB" sz="1000">
                <a:latin typeface="Trebuchet MS" panose="020B0603020202020204" pitchFamily="34" charset="0"/>
              </a:rPr>
              <a:t>specific visualization) and development of new products specifically designed to meet </a:t>
            </a:r>
            <a:r>
              <a:rPr lang="en-GB" sz="1000">
                <a:solidFill>
                  <a:schemeClr val="accent1">
                    <a:lumMod val="75000"/>
                  </a:schemeClr>
                </a:solidFill>
                <a:latin typeface="Trebuchet MS" panose="020B0603020202020204" pitchFamily="34" charset="0"/>
              </a:rPr>
              <a:t>local specificities </a:t>
            </a:r>
            <a:r>
              <a:rPr lang="en-GB" sz="1000">
                <a:latin typeface="Trebuchet MS" panose="020B0603020202020204" pitchFamily="34" charset="0"/>
              </a:rPr>
              <a:t>in Benelux geographies (enabled by </a:t>
            </a:r>
            <a:r>
              <a:rPr lang="en-GB" sz="1000" err="1">
                <a:solidFill>
                  <a:schemeClr val="accent1">
                    <a:lumMod val="75000"/>
                  </a:schemeClr>
                </a:solidFill>
                <a:latin typeface="Trebuchet MS" panose="020B0603020202020204" pitchFamily="34" charset="0"/>
              </a:rPr>
              <a:t>d</a:t>
            </a:r>
            <a:r>
              <a:rPr lang="en-GB" sz="1050" err="1">
                <a:solidFill>
                  <a:schemeClr val="accent1">
                    <a:lumMod val="75000"/>
                  </a:schemeClr>
                </a:solidFill>
                <a:latin typeface="Trebuchet MS" panose="020B0603020202020204" pitchFamily="34" charset="0"/>
              </a:rPr>
              <a:t>atablocks</a:t>
            </a:r>
            <a:r>
              <a:rPr lang="en-GB" sz="1050">
                <a:solidFill>
                  <a:schemeClr val="accent1">
                    <a:lumMod val="75000"/>
                  </a:schemeClr>
                </a:solidFill>
                <a:latin typeface="Trebuchet MS" panose="020B0603020202020204" pitchFamily="34" charset="0"/>
              </a:rPr>
              <a:t> in Direct</a:t>
            </a:r>
            <a:r>
              <a:rPr lang="en-GB" sz="1050">
                <a:latin typeface="Trebuchet MS" panose="020B0603020202020204" pitchFamily="34" charset="0"/>
              </a:rPr>
              <a:t>+, and by </a:t>
            </a:r>
            <a:r>
              <a:rPr kumimoji="0" lang="en-GB" sz="1000" b="0" i="0" u="none" strike="noStrike" cap="none" normalizeH="0" baseline="0">
                <a:ln>
                  <a:noFill/>
                </a:ln>
                <a:solidFill>
                  <a:schemeClr val="tx1"/>
                </a:solidFill>
                <a:effectLst/>
                <a:latin typeface="Trebuchet MS" pitchFamily="34" charset="0"/>
              </a:rPr>
              <a:t>new API based on DataHub</a:t>
            </a:r>
            <a:r>
              <a:rPr lang="en-GB" sz="1000">
                <a:latin typeface="Trebuchet MS" panose="020B0603020202020204" pitchFamily="34" charset="0"/>
              </a:rPr>
              <a:t>)</a:t>
            </a:r>
            <a:endParaRPr lang="en-GB" sz="1000">
              <a:solidFill>
                <a:schemeClr val="accent1">
                  <a:lumMod val="75000"/>
                </a:schemeClr>
              </a:solidFill>
              <a:latin typeface="Trebuchet MS" panose="020B0603020202020204" pitchFamily="34" charset="0"/>
            </a:endParaRPr>
          </a:p>
          <a:p>
            <a:pPr marL="171450" indent="-171450">
              <a:spcBef>
                <a:spcPts val="200"/>
              </a:spcBef>
              <a:buClr>
                <a:schemeClr val="tx1"/>
              </a:buClr>
              <a:buFont typeface="Arial" panose="020B0604020202020204" pitchFamily="34" charset="0"/>
              <a:buChar char="•"/>
            </a:pPr>
            <a:r>
              <a:rPr lang="en-GB" sz="1000">
                <a:solidFill>
                  <a:schemeClr val="accent1">
                    <a:lumMod val="75000"/>
                  </a:schemeClr>
                </a:solidFill>
                <a:latin typeface="Trebuchet MS" panose="020B0603020202020204" pitchFamily="34" charset="0"/>
              </a:rPr>
              <a:t>Customers-driven approach</a:t>
            </a:r>
            <a:r>
              <a:rPr lang="en-GB" sz="1000">
                <a:latin typeface="Trebuchet MS" panose="020B0603020202020204" pitchFamily="34" charset="0"/>
              </a:rPr>
              <a:t> through regular customers briefing, Customer Advisory Boards, increased number of marketing activities </a:t>
            </a:r>
          </a:p>
          <a:p>
            <a:pPr marL="171450" indent="-171450">
              <a:spcBef>
                <a:spcPts val="200"/>
              </a:spcBef>
              <a:buClr>
                <a:schemeClr val="tx1"/>
              </a:buClr>
              <a:buFont typeface="Arial" panose="020B0604020202020204" pitchFamily="34" charset="0"/>
              <a:buChar char="•"/>
            </a:pPr>
            <a:r>
              <a:rPr lang="en-GB" sz="1000">
                <a:solidFill>
                  <a:schemeClr val="accent1">
                    <a:lumMod val="75000"/>
                  </a:schemeClr>
                </a:solidFill>
                <a:latin typeface="Trebuchet MS" panose="020B0603020202020204" pitchFamily="34" charset="0"/>
              </a:rPr>
              <a:t>Enrichment of the data scope </a:t>
            </a:r>
            <a:r>
              <a:rPr lang="en-GB" sz="1000">
                <a:latin typeface="Trebuchet MS" panose="020B0603020202020204" pitchFamily="34" charset="0"/>
              </a:rPr>
              <a:t>with extra financial indicators (e.g. current discussions with </a:t>
            </a:r>
            <a:r>
              <a:rPr lang="en-GB" sz="1000" err="1">
                <a:latin typeface="Trebuchet MS" panose="020B0603020202020204" pitchFamily="34" charset="0"/>
              </a:rPr>
              <a:t>Ecovadis</a:t>
            </a:r>
            <a:r>
              <a:rPr lang="en-GB" sz="1000">
                <a:latin typeface="Trebuchet MS" panose="020B0603020202020204" pitchFamily="34" charset="0"/>
              </a:rPr>
              <a:t> on CSR data…)</a:t>
            </a:r>
          </a:p>
        </p:txBody>
      </p:sp>
      <p:grpSp>
        <p:nvGrpSpPr>
          <p:cNvPr id="5" name="Groupe 4">
            <a:extLst>
              <a:ext uri="{FF2B5EF4-FFF2-40B4-BE49-F238E27FC236}">
                <a16:creationId xmlns:a16="http://schemas.microsoft.com/office/drawing/2014/main" id="{9BE6B3AF-60B3-4D05-90D1-0053B9CBAFE5}"/>
              </a:ext>
            </a:extLst>
          </p:cNvPr>
          <p:cNvGrpSpPr/>
          <p:nvPr/>
        </p:nvGrpSpPr>
        <p:grpSpPr>
          <a:xfrm>
            <a:off x="207366" y="2184774"/>
            <a:ext cx="9598923" cy="4258825"/>
            <a:chOff x="159369" y="2120253"/>
            <a:chExt cx="9694898" cy="4387871"/>
          </a:xfrm>
        </p:grpSpPr>
        <p:sp>
          <p:nvSpPr>
            <p:cNvPr id="10" name="Rectangle 9">
              <a:extLst>
                <a:ext uri="{FF2B5EF4-FFF2-40B4-BE49-F238E27FC236}">
                  <a16:creationId xmlns:a16="http://schemas.microsoft.com/office/drawing/2014/main" id="{355331A6-6B6E-48CE-A926-220473038B82}"/>
                </a:ext>
              </a:extLst>
            </p:cNvPr>
            <p:cNvSpPr/>
            <p:nvPr/>
          </p:nvSpPr>
          <p:spPr bwMode="auto">
            <a:xfrm>
              <a:off x="164669" y="2399533"/>
              <a:ext cx="1150605" cy="661922"/>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100" b="1">
                <a:solidFill>
                  <a:schemeClr val="bg1"/>
                </a:solidFill>
                <a:latin typeface="Trebuchet MS" panose="020B0603020202020204" pitchFamily="34" charset="0"/>
              </a:endParaRPr>
            </a:p>
            <a:p>
              <a:pPr algn="ctr"/>
              <a:r>
                <a:rPr lang="en-GB" sz="1100" b="1">
                  <a:solidFill>
                    <a:schemeClr val="bg1"/>
                  </a:solidFill>
                  <a:latin typeface="Trebuchet MS" panose="020B0603020202020204" pitchFamily="34" charset="0"/>
                </a:rPr>
                <a:t>Credit and financial risk</a:t>
              </a:r>
            </a:p>
          </p:txBody>
        </p:sp>
        <p:sp>
          <p:nvSpPr>
            <p:cNvPr id="61" name="Rectangle 60">
              <a:extLst>
                <a:ext uri="{FF2B5EF4-FFF2-40B4-BE49-F238E27FC236}">
                  <a16:creationId xmlns:a16="http://schemas.microsoft.com/office/drawing/2014/main" id="{1FCFD557-8B7D-4285-BEA1-BF6C398F652D}"/>
                </a:ext>
              </a:extLst>
            </p:cNvPr>
            <p:cNvSpPr/>
            <p:nvPr/>
          </p:nvSpPr>
          <p:spPr bwMode="auto">
            <a:xfrm>
              <a:off x="159370" y="3109117"/>
              <a:ext cx="1150605" cy="1565531"/>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100" b="1">
                <a:solidFill>
                  <a:schemeClr val="bg1"/>
                </a:solidFill>
                <a:latin typeface="Trebuchet MS" pitchFamily="34" charset="0"/>
              </a:endParaRPr>
            </a:p>
            <a:p>
              <a:pPr algn="ctr"/>
              <a:r>
                <a:rPr lang="en-GB" sz="1100" b="1">
                  <a:solidFill>
                    <a:schemeClr val="bg1"/>
                  </a:solidFill>
                  <a:latin typeface="Trebuchet MS" pitchFamily="34" charset="0"/>
                </a:rPr>
                <a:t>Compliance</a:t>
              </a:r>
            </a:p>
          </p:txBody>
        </p:sp>
        <p:sp>
          <p:nvSpPr>
            <p:cNvPr id="62" name="Rectangle 61">
              <a:extLst>
                <a:ext uri="{FF2B5EF4-FFF2-40B4-BE49-F238E27FC236}">
                  <a16:creationId xmlns:a16="http://schemas.microsoft.com/office/drawing/2014/main" id="{69DF789C-DECB-4B52-9E2F-06EAFE89229D}"/>
                </a:ext>
              </a:extLst>
            </p:cNvPr>
            <p:cNvSpPr/>
            <p:nvPr/>
          </p:nvSpPr>
          <p:spPr bwMode="auto">
            <a:xfrm>
              <a:off x="159369" y="4722310"/>
              <a:ext cx="1150605" cy="92658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100" b="1">
                <a:solidFill>
                  <a:schemeClr val="bg1"/>
                </a:solidFill>
                <a:latin typeface="Trebuchet MS" pitchFamily="34" charset="0"/>
              </a:endParaRPr>
            </a:p>
            <a:p>
              <a:pPr algn="ctr"/>
              <a:endParaRPr lang="en-GB" sz="1100" b="1">
                <a:solidFill>
                  <a:schemeClr val="bg1"/>
                </a:solidFill>
                <a:latin typeface="Trebuchet MS" pitchFamily="34" charset="0"/>
              </a:endParaRPr>
            </a:p>
            <a:p>
              <a:pPr algn="ctr"/>
              <a:r>
                <a:rPr lang="en-GB" sz="1100" b="1">
                  <a:solidFill>
                    <a:schemeClr val="bg1"/>
                  </a:solidFill>
                  <a:latin typeface="Trebuchet MS" pitchFamily="34" charset="0"/>
                </a:rPr>
                <a:t>B2B marketing</a:t>
              </a:r>
            </a:p>
          </p:txBody>
        </p:sp>
        <p:sp>
          <p:nvSpPr>
            <p:cNvPr id="7" name="Flèche : droite 6">
              <a:extLst>
                <a:ext uri="{FF2B5EF4-FFF2-40B4-BE49-F238E27FC236}">
                  <a16:creationId xmlns:a16="http://schemas.microsoft.com/office/drawing/2014/main" id="{E03E68E5-6396-440E-B0EC-591FADF743C5}"/>
                </a:ext>
              </a:extLst>
            </p:cNvPr>
            <p:cNvSpPr/>
            <p:nvPr/>
          </p:nvSpPr>
          <p:spPr bwMode="auto">
            <a:xfrm>
              <a:off x="6999887" y="2120253"/>
              <a:ext cx="2705709" cy="367440"/>
            </a:xfrm>
            <a:prstGeom prst="rightArrow">
              <a:avLst>
                <a:gd name="adj1" fmla="val 48201"/>
                <a:gd name="adj2" fmla="val 50000"/>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16" name="Rectangle 15">
              <a:extLst>
                <a:ext uri="{FF2B5EF4-FFF2-40B4-BE49-F238E27FC236}">
                  <a16:creationId xmlns:a16="http://schemas.microsoft.com/office/drawing/2014/main" id="{9F152ED0-4AD8-4CDF-867D-34E10A5480BB}"/>
                </a:ext>
              </a:extLst>
            </p:cNvPr>
            <p:cNvSpPr/>
            <p:nvPr/>
          </p:nvSpPr>
          <p:spPr bwMode="auto">
            <a:xfrm>
              <a:off x="6832772" y="2154686"/>
              <a:ext cx="692150" cy="259518"/>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2"/>
                  </a:solidFill>
                  <a:effectLst/>
                  <a:latin typeface="Trebuchet MS" panose="020B0603020202020204" pitchFamily="34" charset="0"/>
                </a:rPr>
                <a:t>2021</a:t>
              </a:r>
            </a:p>
          </p:txBody>
        </p:sp>
        <p:cxnSp>
          <p:nvCxnSpPr>
            <p:cNvPr id="43" name="Connecteur droit 17">
              <a:extLst>
                <a:ext uri="{FF2B5EF4-FFF2-40B4-BE49-F238E27FC236}">
                  <a16:creationId xmlns:a16="http://schemas.microsoft.com/office/drawing/2014/main" id="{DC109D1F-5EC7-4BAD-B66E-253104F3AC3D}"/>
                </a:ext>
              </a:extLst>
            </p:cNvPr>
            <p:cNvCxnSpPr>
              <a:cxnSpLocks/>
            </p:cNvCxnSpPr>
            <p:nvPr/>
          </p:nvCxnSpPr>
          <p:spPr bwMode="auto">
            <a:xfrm>
              <a:off x="240533" y="2382185"/>
              <a:ext cx="2231142" cy="0"/>
            </a:xfrm>
            <a:prstGeom prst="line">
              <a:avLst/>
            </a:prstGeom>
            <a:solidFill>
              <a:schemeClr val="accent1"/>
            </a:solidFill>
            <a:ln w="19050" cap="flat" cmpd="sng" algn="ctr">
              <a:solidFill>
                <a:schemeClr val="tx2"/>
              </a:solidFill>
              <a:prstDash val="solid"/>
              <a:round/>
              <a:headEnd type="none" w="med" len="med"/>
              <a:tailEnd type="none" w="med" len="med"/>
            </a:ln>
            <a:effectLst/>
          </p:spPr>
        </p:cxnSp>
        <p:sp>
          <p:nvSpPr>
            <p:cNvPr id="44" name="Rectangle 43">
              <a:extLst>
                <a:ext uri="{FF2B5EF4-FFF2-40B4-BE49-F238E27FC236}">
                  <a16:creationId xmlns:a16="http://schemas.microsoft.com/office/drawing/2014/main" id="{FB387BEB-9082-4CCE-BE35-62C4282A4718}"/>
                </a:ext>
              </a:extLst>
            </p:cNvPr>
            <p:cNvSpPr/>
            <p:nvPr/>
          </p:nvSpPr>
          <p:spPr bwMode="auto">
            <a:xfrm>
              <a:off x="405492" y="2157832"/>
              <a:ext cx="1917917" cy="24553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small" normalizeH="0">
                  <a:ln>
                    <a:noFill/>
                  </a:ln>
                  <a:solidFill>
                    <a:schemeClr val="tx2"/>
                  </a:solidFill>
                  <a:effectLst/>
                  <a:latin typeface="Trebuchet MS" panose="020B0603020202020204" pitchFamily="34" charset="0"/>
                </a:rPr>
                <a:t>Products per categories </a:t>
              </a:r>
            </a:p>
          </p:txBody>
        </p:sp>
        <p:pic>
          <p:nvPicPr>
            <p:cNvPr id="50" name="Graphique 128" descr="Jauge">
              <a:extLst>
                <a:ext uri="{FF2B5EF4-FFF2-40B4-BE49-F238E27FC236}">
                  <a16:creationId xmlns:a16="http://schemas.microsoft.com/office/drawing/2014/main" id="{BA3AF42D-7BB5-4505-8473-17EB9DEE2FF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40104" y="2337695"/>
              <a:ext cx="405597" cy="376719"/>
            </a:xfrm>
            <a:prstGeom prst="rect">
              <a:avLst/>
            </a:prstGeom>
            <a:effectLst/>
          </p:spPr>
        </p:pic>
        <p:pic>
          <p:nvPicPr>
            <p:cNvPr id="52" name="Graphique 74" descr="Mégaphone">
              <a:extLst>
                <a:ext uri="{FF2B5EF4-FFF2-40B4-BE49-F238E27FC236}">
                  <a16:creationId xmlns:a16="http://schemas.microsoft.com/office/drawing/2014/main" id="{0E50DD0C-1785-4CD5-BADC-E930CD40787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35785" y="4781071"/>
              <a:ext cx="408656" cy="379559"/>
            </a:xfrm>
            <a:prstGeom prst="rect">
              <a:avLst/>
            </a:prstGeom>
            <a:effectLst/>
          </p:spPr>
        </p:pic>
        <p:pic>
          <p:nvPicPr>
            <p:cNvPr id="51" name="Graphique 90" descr="Poignée de main">
              <a:extLst>
                <a:ext uri="{FF2B5EF4-FFF2-40B4-BE49-F238E27FC236}">
                  <a16:creationId xmlns:a16="http://schemas.microsoft.com/office/drawing/2014/main" id="{9C8BC447-D6A1-4056-A277-6A6D982A4FA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74767" y="3281270"/>
              <a:ext cx="492795" cy="552748"/>
            </a:xfrm>
            <a:prstGeom prst="rect">
              <a:avLst/>
            </a:prstGeom>
            <a:effectLst/>
          </p:spPr>
        </p:pic>
        <p:sp>
          <p:nvSpPr>
            <p:cNvPr id="64" name="Rectangle 63">
              <a:extLst>
                <a:ext uri="{FF2B5EF4-FFF2-40B4-BE49-F238E27FC236}">
                  <a16:creationId xmlns:a16="http://schemas.microsoft.com/office/drawing/2014/main" id="{E86AC26E-4F1C-4D09-B1BE-90716D0C300B}"/>
                </a:ext>
              </a:extLst>
            </p:cNvPr>
            <p:cNvSpPr/>
            <p:nvPr/>
          </p:nvSpPr>
          <p:spPr bwMode="auto">
            <a:xfrm>
              <a:off x="159370" y="5696550"/>
              <a:ext cx="1150605" cy="79819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100" b="1">
                <a:solidFill>
                  <a:schemeClr val="tx2"/>
                </a:solidFill>
                <a:latin typeface="Trebuchet MS" pitchFamily="34" charset="0"/>
              </a:endParaRPr>
            </a:p>
            <a:p>
              <a:pPr algn="ctr"/>
              <a:endParaRPr lang="en-GB" sz="1100" b="1">
                <a:solidFill>
                  <a:schemeClr val="tx2"/>
                </a:solidFill>
                <a:latin typeface="Trebuchet MS" pitchFamily="34" charset="0"/>
              </a:endParaRPr>
            </a:p>
            <a:p>
              <a:pPr algn="ctr"/>
              <a:r>
                <a:rPr lang="en-GB" sz="1100" b="1">
                  <a:solidFill>
                    <a:schemeClr val="tx2"/>
                  </a:solidFill>
                  <a:latin typeface="Trebuchet MS" pitchFamily="34" charset="0"/>
                </a:rPr>
                <a:t>Connectors</a:t>
              </a:r>
            </a:p>
          </p:txBody>
        </p:sp>
        <p:grpSp>
          <p:nvGrpSpPr>
            <p:cNvPr id="34" name="Group 4">
              <a:extLst>
                <a:ext uri="{FF2B5EF4-FFF2-40B4-BE49-F238E27FC236}">
                  <a16:creationId xmlns:a16="http://schemas.microsoft.com/office/drawing/2014/main" id="{2D89E918-F407-4EC5-8208-CFBE9C1E07D6}"/>
                </a:ext>
              </a:extLst>
            </p:cNvPr>
            <p:cNvGrpSpPr>
              <a:grpSpLocks noChangeAspect="1"/>
            </p:cNvGrpSpPr>
            <p:nvPr/>
          </p:nvGrpSpPr>
          <p:grpSpPr bwMode="auto">
            <a:xfrm>
              <a:off x="594622" y="5778371"/>
              <a:ext cx="280099" cy="280100"/>
              <a:chOff x="788" y="800"/>
              <a:chExt cx="742" cy="742"/>
            </a:xfrm>
            <a:solidFill>
              <a:schemeClr val="tx2"/>
            </a:solidFill>
          </p:grpSpPr>
          <p:sp>
            <p:nvSpPr>
              <p:cNvPr id="65" name="Freeform 5">
                <a:extLst>
                  <a:ext uri="{FF2B5EF4-FFF2-40B4-BE49-F238E27FC236}">
                    <a16:creationId xmlns:a16="http://schemas.microsoft.com/office/drawing/2014/main" id="{70FADEB2-96BF-42B3-AF0B-AF58EA6CE4D7}"/>
                  </a:ext>
                </a:extLst>
              </p:cNvPr>
              <p:cNvSpPr>
                <a:spLocks/>
              </p:cNvSpPr>
              <p:nvPr/>
            </p:nvSpPr>
            <p:spPr bwMode="auto">
              <a:xfrm>
                <a:off x="788" y="1240"/>
                <a:ext cx="313" cy="302"/>
              </a:xfrm>
              <a:custGeom>
                <a:avLst/>
                <a:gdLst>
                  <a:gd name="T0" fmla="*/ 209 w 313"/>
                  <a:gd name="T1" fmla="*/ 0 h 302"/>
                  <a:gd name="T2" fmla="*/ 93 w 313"/>
                  <a:gd name="T3" fmla="*/ 116 h 302"/>
                  <a:gd name="T4" fmla="*/ 0 w 313"/>
                  <a:gd name="T5" fmla="*/ 23 h 302"/>
                  <a:gd name="T6" fmla="*/ 0 w 313"/>
                  <a:gd name="T7" fmla="*/ 302 h 302"/>
                  <a:gd name="T8" fmla="*/ 278 w 313"/>
                  <a:gd name="T9" fmla="*/ 302 h 302"/>
                  <a:gd name="T10" fmla="*/ 197 w 313"/>
                  <a:gd name="T11" fmla="*/ 209 h 302"/>
                  <a:gd name="T12" fmla="*/ 313 w 313"/>
                  <a:gd name="T13" fmla="*/ 93 h 302"/>
                  <a:gd name="T14" fmla="*/ 209 w 313"/>
                  <a:gd name="T15" fmla="*/ 0 h 3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 h="302">
                    <a:moveTo>
                      <a:pt x="209" y="0"/>
                    </a:moveTo>
                    <a:lnTo>
                      <a:pt x="93" y="116"/>
                    </a:lnTo>
                    <a:lnTo>
                      <a:pt x="0" y="23"/>
                    </a:lnTo>
                    <a:lnTo>
                      <a:pt x="0" y="302"/>
                    </a:lnTo>
                    <a:lnTo>
                      <a:pt x="278" y="302"/>
                    </a:lnTo>
                    <a:lnTo>
                      <a:pt x="197" y="209"/>
                    </a:lnTo>
                    <a:lnTo>
                      <a:pt x="313" y="93"/>
                    </a:lnTo>
                    <a:lnTo>
                      <a:pt x="2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66" name="Freeform 6">
                <a:extLst>
                  <a:ext uri="{FF2B5EF4-FFF2-40B4-BE49-F238E27FC236}">
                    <a16:creationId xmlns:a16="http://schemas.microsoft.com/office/drawing/2014/main" id="{2CFAB461-A8D4-49E6-A4B4-FFEEF730EB4C}"/>
                  </a:ext>
                </a:extLst>
              </p:cNvPr>
              <p:cNvSpPr>
                <a:spLocks/>
              </p:cNvSpPr>
              <p:nvPr/>
            </p:nvSpPr>
            <p:spPr bwMode="auto">
              <a:xfrm>
                <a:off x="974" y="800"/>
                <a:ext cx="394" cy="359"/>
              </a:xfrm>
              <a:custGeom>
                <a:avLst/>
                <a:gdLst>
                  <a:gd name="T0" fmla="*/ 266 w 394"/>
                  <a:gd name="T1" fmla="*/ 197 h 359"/>
                  <a:gd name="T2" fmla="*/ 394 w 394"/>
                  <a:gd name="T3" fmla="*/ 197 h 359"/>
                  <a:gd name="T4" fmla="*/ 197 w 394"/>
                  <a:gd name="T5" fmla="*/ 0 h 359"/>
                  <a:gd name="T6" fmla="*/ 0 w 394"/>
                  <a:gd name="T7" fmla="*/ 197 h 359"/>
                  <a:gd name="T8" fmla="*/ 127 w 394"/>
                  <a:gd name="T9" fmla="*/ 197 h 359"/>
                  <a:gd name="T10" fmla="*/ 127 w 394"/>
                  <a:gd name="T11" fmla="*/ 359 h 359"/>
                  <a:gd name="T12" fmla="*/ 266 w 394"/>
                  <a:gd name="T13" fmla="*/ 359 h 359"/>
                  <a:gd name="T14" fmla="*/ 266 w 394"/>
                  <a:gd name="T15" fmla="*/ 197 h 3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4" h="359">
                    <a:moveTo>
                      <a:pt x="266" y="197"/>
                    </a:moveTo>
                    <a:lnTo>
                      <a:pt x="394" y="197"/>
                    </a:lnTo>
                    <a:lnTo>
                      <a:pt x="197" y="0"/>
                    </a:lnTo>
                    <a:lnTo>
                      <a:pt x="0" y="197"/>
                    </a:lnTo>
                    <a:lnTo>
                      <a:pt x="127" y="197"/>
                    </a:lnTo>
                    <a:lnTo>
                      <a:pt x="127" y="359"/>
                    </a:lnTo>
                    <a:lnTo>
                      <a:pt x="266" y="359"/>
                    </a:lnTo>
                    <a:lnTo>
                      <a:pt x="266" y="1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67" name="Freeform 7">
                <a:extLst>
                  <a:ext uri="{FF2B5EF4-FFF2-40B4-BE49-F238E27FC236}">
                    <a16:creationId xmlns:a16="http://schemas.microsoft.com/office/drawing/2014/main" id="{5621F56F-257D-4AD7-83DD-A2F3AE5332CC}"/>
                  </a:ext>
                </a:extLst>
              </p:cNvPr>
              <p:cNvSpPr>
                <a:spLocks/>
              </p:cNvSpPr>
              <p:nvPr/>
            </p:nvSpPr>
            <p:spPr bwMode="auto">
              <a:xfrm>
                <a:off x="1229" y="1240"/>
                <a:ext cx="301" cy="302"/>
              </a:xfrm>
              <a:custGeom>
                <a:avLst/>
                <a:gdLst>
                  <a:gd name="T0" fmla="*/ 220 w 301"/>
                  <a:gd name="T1" fmla="*/ 116 h 302"/>
                  <a:gd name="T2" fmla="*/ 104 w 301"/>
                  <a:gd name="T3" fmla="*/ 0 h 302"/>
                  <a:gd name="T4" fmla="*/ 0 w 301"/>
                  <a:gd name="T5" fmla="*/ 93 h 302"/>
                  <a:gd name="T6" fmla="*/ 115 w 301"/>
                  <a:gd name="T7" fmla="*/ 209 h 302"/>
                  <a:gd name="T8" fmla="*/ 23 w 301"/>
                  <a:gd name="T9" fmla="*/ 302 h 302"/>
                  <a:gd name="T10" fmla="*/ 301 w 301"/>
                  <a:gd name="T11" fmla="*/ 302 h 302"/>
                  <a:gd name="T12" fmla="*/ 301 w 301"/>
                  <a:gd name="T13" fmla="*/ 23 h 302"/>
                  <a:gd name="T14" fmla="*/ 220 w 301"/>
                  <a:gd name="T15" fmla="*/ 116 h 3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1" h="302">
                    <a:moveTo>
                      <a:pt x="220" y="116"/>
                    </a:moveTo>
                    <a:lnTo>
                      <a:pt x="104" y="0"/>
                    </a:lnTo>
                    <a:lnTo>
                      <a:pt x="0" y="93"/>
                    </a:lnTo>
                    <a:lnTo>
                      <a:pt x="115" y="209"/>
                    </a:lnTo>
                    <a:lnTo>
                      <a:pt x="23" y="302"/>
                    </a:lnTo>
                    <a:lnTo>
                      <a:pt x="301" y="302"/>
                    </a:lnTo>
                    <a:lnTo>
                      <a:pt x="301" y="23"/>
                    </a:lnTo>
                    <a:lnTo>
                      <a:pt x="220"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grpSp>
        <p:cxnSp>
          <p:nvCxnSpPr>
            <p:cNvPr id="69" name="Connecteur droit 68">
              <a:extLst>
                <a:ext uri="{FF2B5EF4-FFF2-40B4-BE49-F238E27FC236}">
                  <a16:creationId xmlns:a16="http://schemas.microsoft.com/office/drawing/2014/main" id="{95330D46-D09B-4CFE-9FA9-523272FF543C}"/>
                </a:ext>
              </a:extLst>
            </p:cNvPr>
            <p:cNvCxnSpPr/>
            <p:nvPr/>
          </p:nvCxnSpPr>
          <p:spPr bwMode="auto">
            <a:xfrm>
              <a:off x="213878" y="3085286"/>
              <a:ext cx="9334391" cy="0"/>
            </a:xfrm>
            <a:prstGeom prst="line">
              <a:avLst/>
            </a:prstGeom>
            <a:solidFill>
              <a:schemeClr val="accent1"/>
            </a:solidFill>
            <a:ln w="9525" cap="flat" cmpd="sng" algn="ctr">
              <a:solidFill>
                <a:schemeClr val="bg1">
                  <a:lumMod val="85000"/>
                </a:schemeClr>
              </a:solidFill>
              <a:prstDash val="lgDash"/>
              <a:round/>
              <a:headEnd type="none" w="med" len="med"/>
              <a:tailEnd type="none" w="med" len="med"/>
            </a:ln>
            <a:effectLst/>
          </p:spPr>
        </p:cxnSp>
        <p:cxnSp>
          <p:nvCxnSpPr>
            <p:cNvPr id="70" name="Connecteur droit 69">
              <a:extLst>
                <a:ext uri="{FF2B5EF4-FFF2-40B4-BE49-F238E27FC236}">
                  <a16:creationId xmlns:a16="http://schemas.microsoft.com/office/drawing/2014/main" id="{11983088-006B-4943-BDC5-921480F08595}"/>
                </a:ext>
              </a:extLst>
            </p:cNvPr>
            <p:cNvCxnSpPr>
              <a:cxnSpLocks/>
            </p:cNvCxnSpPr>
            <p:nvPr/>
          </p:nvCxnSpPr>
          <p:spPr bwMode="auto">
            <a:xfrm>
              <a:off x="213877" y="4698479"/>
              <a:ext cx="9361047" cy="0"/>
            </a:xfrm>
            <a:prstGeom prst="line">
              <a:avLst/>
            </a:prstGeom>
            <a:solidFill>
              <a:schemeClr val="accent1"/>
            </a:solidFill>
            <a:ln w="9525" cap="flat" cmpd="sng" algn="ctr">
              <a:solidFill>
                <a:schemeClr val="bg1">
                  <a:lumMod val="85000"/>
                </a:schemeClr>
              </a:solidFill>
              <a:prstDash val="lgDash"/>
              <a:round/>
              <a:headEnd type="none" w="med" len="med"/>
              <a:tailEnd type="none" w="med" len="med"/>
            </a:ln>
            <a:effectLst/>
          </p:spPr>
        </p:cxnSp>
        <p:cxnSp>
          <p:nvCxnSpPr>
            <p:cNvPr id="71" name="Connecteur droit 70">
              <a:extLst>
                <a:ext uri="{FF2B5EF4-FFF2-40B4-BE49-F238E27FC236}">
                  <a16:creationId xmlns:a16="http://schemas.microsoft.com/office/drawing/2014/main" id="{FD1F3561-4F78-4B78-8028-CDA6E48B5F67}"/>
                </a:ext>
              </a:extLst>
            </p:cNvPr>
            <p:cNvCxnSpPr/>
            <p:nvPr/>
          </p:nvCxnSpPr>
          <p:spPr bwMode="auto">
            <a:xfrm>
              <a:off x="213877" y="5672721"/>
              <a:ext cx="9334391" cy="0"/>
            </a:xfrm>
            <a:prstGeom prst="line">
              <a:avLst/>
            </a:prstGeom>
            <a:solidFill>
              <a:schemeClr val="accent1"/>
            </a:solidFill>
            <a:ln w="9525" cap="flat" cmpd="sng" algn="ctr">
              <a:solidFill>
                <a:schemeClr val="bg1">
                  <a:lumMod val="85000"/>
                </a:schemeClr>
              </a:solidFill>
              <a:prstDash val="lgDash"/>
              <a:round/>
              <a:headEnd type="none" w="med" len="med"/>
              <a:tailEnd type="none" w="med" len="med"/>
            </a:ln>
            <a:effectLst/>
          </p:spPr>
        </p:cxnSp>
        <p:pic>
          <p:nvPicPr>
            <p:cNvPr id="72" name="Picture 2" descr="Standardiser votre référentiel | Altares DB France">
              <a:extLst>
                <a:ext uri="{FF2B5EF4-FFF2-40B4-BE49-F238E27FC236}">
                  <a16:creationId xmlns:a16="http://schemas.microsoft.com/office/drawing/2014/main" id="{A9BBF117-BA39-43FA-9593-382FB0EEC983}"/>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8917" r="26612" b="19799"/>
            <a:stretch/>
          </p:blipFill>
          <p:spPr bwMode="auto">
            <a:xfrm>
              <a:off x="1443579" y="5944465"/>
              <a:ext cx="876179" cy="196691"/>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2" descr="Un accès unique et centralisé au portail d'information BtoB - Intuiz">
              <a:extLst>
                <a:ext uri="{FF2B5EF4-FFF2-40B4-BE49-F238E27FC236}">
                  <a16:creationId xmlns:a16="http://schemas.microsoft.com/office/drawing/2014/main" id="{4E52C49F-A4F0-48BA-BEB0-B4E55A39272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08070" y="2503777"/>
              <a:ext cx="874126" cy="346737"/>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44">
              <a:extLst>
                <a:ext uri="{FF2B5EF4-FFF2-40B4-BE49-F238E27FC236}">
                  <a16:creationId xmlns:a16="http://schemas.microsoft.com/office/drawing/2014/main" id="{D2E65887-EA6E-40A9-B7B5-6B4E8CD01BD1}"/>
                </a:ext>
              </a:extLst>
            </p:cNvPr>
            <p:cNvPicPr>
              <a:picLocks noChangeAspect="1"/>
            </p:cNvPicPr>
            <p:nvPr/>
          </p:nvPicPr>
          <p:blipFill>
            <a:blip r:embed="rId19">
              <a:clrChange>
                <a:clrFrom>
                  <a:srgbClr val="FFFFFF"/>
                </a:clrFrom>
                <a:clrTo>
                  <a:srgbClr val="FFFFFF">
                    <a:alpha val="0"/>
                  </a:srgbClr>
                </a:clrTo>
              </a:clrChange>
              <a:extLst>
                <a:ext uri="{BEBA8EAE-BF5A-486C-A8C5-ECC9F3942E4B}">
                  <a14:imgProps xmlns:a14="http://schemas.microsoft.com/office/drawing/2010/main">
                    <a14:imgLayer r:embed="rId20">
                      <a14:imgEffect>
                        <a14:brightnessContrast bright="7000"/>
                      </a14:imgEffect>
                    </a14:imgLayer>
                  </a14:imgProps>
                </a:ext>
              </a:extLst>
            </a:blip>
            <a:stretch>
              <a:fillRect/>
            </a:stretch>
          </p:blipFill>
          <p:spPr>
            <a:xfrm>
              <a:off x="1475792" y="4857115"/>
              <a:ext cx="717314" cy="285087"/>
            </a:xfrm>
            <a:prstGeom prst="rect">
              <a:avLst/>
            </a:prstGeom>
          </p:spPr>
        </p:pic>
        <p:pic>
          <p:nvPicPr>
            <p:cNvPr id="76" name="Picture 2" descr="IndueD - La conformité simplifiée - KYC | Altares DB France">
              <a:extLst>
                <a:ext uri="{FF2B5EF4-FFF2-40B4-BE49-F238E27FC236}">
                  <a16:creationId xmlns:a16="http://schemas.microsoft.com/office/drawing/2014/main" id="{D958893F-FA74-44EF-91BE-8D5F8879CA9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464012" y="3113559"/>
              <a:ext cx="949533" cy="326639"/>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5">
              <a:extLst>
                <a:ext uri="{FF2B5EF4-FFF2-40B4-BE49-F238E27FC236}">
                  <a16:creationId xmlns:a16="http://schemas.microsoft.com/office/drawing/2014/main" id="{6B41D327-C4E1-4C76-8D26-A1B70A3376FF}"/>
                </a:ext>
              </a:extLst>
            </p:cNvPr>
            <p:cNvPicPr>
              <a:picLocks noChangeAspect="1"/>
            </p:cNvPicPr>
            <p:nvPr/>
          </p:nvPicPr>
          <p:blipFill>
            <a:blip r:embed="rId22">
              <a:clrChange>
                <a:clrFrom>
                  <a:srgbClr val="EFF3F3"/>
                </a:clrFrom>
                <a:clrTo>
                  <a:srgbClr val="EFF3F3">
                    <a:alpha val="0"/>
                  </a:srgbClr>
                </a:clrTo>
              </a:clrChange>
            </a:blip>
            <a:stretch>
              <a:fillRect/>
            </a:stretch>
          </p:blipFill>
          <p:spPr>
            <a:xfrm>
              <a:off x="1420747" y="3556336"/>
              <a:ext cx="1050928" cy="248226"/>
            </a:xfrm>
            <a:prstGeom prst="rect">
              <a:avLst/>
            </a:prstGeom>
          </p:spPr>
        </p:pic>
        <p:pic>
          <p:nvPicPr>
            <p:cNvPr id="81" name="Picture 53">
              <a:extLst>
                <a:ext uri="{FF2B5EF4-FFF2-40B4-BE49-F238E27FC236}">
                  <a16:creationId xmlns:a16="http://schemas.microsoft.com/office/drawing/2014/main" id="{A0D3907A-4F3A-42D8-ADD8-E909A0D18B8B}"/>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1319562" y="3970891"/>
              <a:ext cx="1185588" cy="257421"/>
            </a:xfrm>
            <a:prstGeom prst="rect">
              <a:avLst/>
            </a:prstGeom>
          </p:spPr>
        </p:pic>
        <p:cxnSp>
          <p:nvCxnSpPr>
            <p:cNvPr id="82" name="Connecteur droit 81">
              <a:extLst>
                <a:ext uri="{FF2B5EF4-FFF2-40B4-BE49-F238E27FC236}">
                  <a16:creationId xmlns:a16="http://schemas.microsoft.com/office/drawing/2014/main" id="{217A1E17-FAC6-4D73-8E9B-6201F68A498A}"/>
                </a:ext>
              </a:extLst>
            </p:cNvPr>
            <p:cNvCxnSpPr>
              <a:cxnSpLocks/>
            </p:cNvCxnSpPr>
            <p:nvPr/>
          </p:nvCxnSpPr>
          <p:spPr bwMode="auto">
            <a:xfrm>
              <a:off x="1373949" y="3453122"/>
              <a:ext cx="8200975" cy="0"/>
            </a:xfrm>
            <a:prstGeom prst="line">
              <a:avLst/>
            </a:prstGeom>
            <a:solidFill>
              <a:schemeClr val="accent1"/>
            </a:solidFill>
            <a:ln w="9525" cap="flat" cmpd="sng" algn="ctr">
              <a:solidFill>
                <a:schemeClr val="bg1">
                  <a:lumMod val="85000"/>
                </a:schemeClr>
              </a:solidFill>
              <a:prstDash val="lgDash"/>
              <a:round/>
              <a:headEnd type="none" w="med" len="med"/>
              <a:tailEnd type="none" w="med" len="med"/>
            </a:ln>
            <a:effectLst/>
          </p:spPr>
        </p:cxnSp>
        <p:cxnSp>
          <p:nvCxnSpPr>
            <p:cNvPr id="83" name="Connecteur droit 82">
              <a:extLst>
                <a:ext uri="{FF2B5EF4-FFF2-40B4-BE49-F238E27FC236}">
                  <a16:creationId xmlns:a16="http://schemas.microsoft.com/office/drawing/2014/main" id="{42E6CAFF-8209-42C7-8E37-B570232C33F7}"/>
                </a:ext>
              </a:extLst>
            </p:cNvPr>
            <p:cNvCxnSpPr>
              <a:cxnSpLocks/>
            </p:cNvCxnSpPr>
            <p:nvPr/>
          </p:nvCxnSpPr>
          <p:spPr bwMode="auto">
            <a:xfrm flipV="1">
              <a:off x="1373949" y="3883016"/>
              <a:ext cx="8174320" cy="0"/>
            </a:xfrm>
            <a:prstGeom prst="line">
              <a:avLst/>
            </a:prstGeom>
            <a:solidFill>
              <a:schemeClr val="accent1"/>
            </a:solidFill>
            <a:ln w="9525" cap="flat" cmpd="sng" algn="ctr">
              <a:solidFill>
                <a:schemeClr val="bg1">
                  <a:lumMod val="85000"/>
                </a:schemeClr>
              </a:solidFill>
              <a:prstDash val="lgDash"/>
              <a:round/>
              <a:headEnd type="none" w="med" len="med"/>
              <a:tailEnd type="none" w="med" len="med"/>
            </a:ln>
            <a:effectLst/>
          </p:spPr>
        </p:cxnSp>
        <p:sp>
          <p:nvSpPr>
            <p:cNvPr id="87" name="Rectangle 86">
              <a:extLst>
                <a:ext uri="{FF2B5EF4-FFF2-40B4-BE49-F238E27FC236}">
                  <a16:creationId xmlns:a16="http://schemas.microsoft.com/office/drawing/2014/main" id="{C70CCDAC-BBD0-44C2-918C-7950DBDA7959}"/>
                </a:ext>
              </a:extLst>
            </p:cNvPr>
            <p:cNvSpPr/>
            <p:nvPr/>
          </p:nvSpPr>
          <p:spPr bwMode="auto">
            <a:xfrm>
              <a:off x="3610324" y="3505861"/>
              <a:ext cx="1051035" cy="38417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err="1">
                  <a:ln>
                    <a:noFill/>
                  </a:ln>
                  <a:solidFill>
                    <a:schemeClr val="tx2"/>
                  </a:solidFill>
                  <a:effectLst/>
                  <a:latin typeface="Trebuchet MS" panose="020B0603020202020204" pitchFamily="34" charset="0"/>
                </a:rPr>
                <a:t>indueD</a:t>
              </a:r>
              <a:r>
                <a:rPr kumimoji="0" lang="en-GB" sz="800" b="0" i="1" u="none" strike="noStrike" cap="none" normalizeH="0" baseline="0">
                  <a:ln>
                    <a:noFill/>
                  </a:ln>
                  <a:solidFill>
                    <a:schemeClr val="tx2"/>
                  </a:solidFill>
                  <a:effectLst/>
                  <a:latin typeface="Trebuchet MS" panose="020B0603020202020204" pitchFamily="34" charset="0"/>
                </a:rPr>
                <a:t> in BAO</a:t>
              </a:r>
            </a:p>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tx2"/>
                  </a:solidFill>
                  <a:latin typeface="Trebuchet MS" panose="020B0603020202020204" pitchFamily="34" charset="0"/>
                </a:rPr>
                <a:t>(SAP connector)</a:t>
              </a:r>
              <a:endParaRPr kumimoji="0" lang="en-GB" sz="800" b="0" i="1" u="none" strike="noStrike" cap="none" normalizeH="0" baseline="0">
                <a:ln>
                  <a:noFill/>
                </a:ln>
                <a:solidFill>
                  <a:schemeClr val="tx2"/>
                </a:solidFill>
                <a:effectLst/>
                <a:latin typeface="Trebuchet MS" panose="020B0603020202020204" pitchFamily="34" charset="0"/>
              </a:endParaRPr>
            </a:p>
          </p:txBody>
        </p:sp>
        <p:sp>
          <p:nvSpPr>
            <p:cNvPr id="88" name="Rectangle 87">
              <a:extLst>
                <a:ext uri="{FF2B5EF4-FFF2-40B4-BE49-F238E27FC236}">
                  <a16:creationId xmlns:a16="http://schemas.microsoft.com/office/drawing/2014/main" id="{E923474A-BD09-44CB-A3A5-13DA0D26EAA9}"/>
                </a:ext>
              </a:extLst>
            </p:cNvPr>
            <p:cNvSpPr/>
            <p:nvPr/>
          </p:nvSpPr>
          <p:spPr bwMode="auto">
            <a:xfrm>
              <a:off x="2596905" y="2205732"/>
              <a:ext cx="4402982" cy="17666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89" name="Rectangle 88">
              <a:extLst>
                <a:ext uri="{FF2B5EF4-FFF2-40B4-BE49-F238E27FC236}">
                  <a16:creationId xmlns:a16="http://schemas.microsoft.com/office/drawing/2014/main" id="{690AE142-6191-42DE-BB5B-3020D05E8EAB}"/>
                </a:ext>
              </a:extLst>
            </p:cNvPr>
            <p:cNvSpPr/>
            <p:nvPr/>
          </p:nvSpPr>
          <p:spPr bwMode="auto">
            <a:xfrm>
              <a:off x="2741860" y="2164304"/>
              <a:ext cx="692150" cy="259518"/>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Q1</a:t>
              </a:r>
            </a:p>
          </p:txBody>
        </p:sp>
        <p:sp>
          <p:nvSpPr>
            <p:cNvPr id="90" name="Rectangle 89">
              <a:extLst>
                <a:ext uri="{FF2B5EF4-FFF2-40B4-BE49-F238E27FC236}">
                  <a16:creationId xmlns:a16="http://schemas.microsoft.com/office/drawing/2014/main" id="{1CF4F637-669F-4B1E-80E3-DA8CEEFB0CA9}"/>
                </a:ext>
              </a:extLst>
            </p:cNvPr>
            <p:cNvSpPr/>
            <p:nvPr/>
          </p:nvSpPr>
          <p:spPr bwMode="auto">
            <a:xfrm>
              <a:off x="3906300" y="2164304"/>
              <a:ext cx="692150" cy="259518"/>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Q2</a:t>
              </a:r>
            </a:p>
          </p:txBody>
        </p:sp>
        <p:sp>
          <p:nvSpPr>
            <p:cNvPr id="91" name="Rectangle 90">
              <a:extLst>
                <a:ext uri="{FF2B5EF4-FFF2-40B4-BE49-F238E27FC236}">
                  <a16:creationId xmlns:a16="http://schemas.microsoft.com/office/drawing/2014/main" id="{B141AA4D-293A-4655-ACA1-DE8B88EDA047}"/>
                </a:ext>
              </a:extLst>
            </p:cNvPr>
            <p:cNvSpPr/>
            <p:nvPr/>
          </p:nvSpPr>
          <p:spPr bwMode="auto">
            <a:xfrm>
              <a:off x="5070740" y="2164304"/>
              <a:ext cx="692150" cy="259518"/>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Q3</a:t>
              </a:r>
            </a:p>
          </p:txBody>
        </p:sp>
        <p:sp>
          <p:nvSpPr>
            <p:cNvPr id="92" name="Rectangle 91">
              <a:extLst>
                <a:ext uri="{FF2B5EF4-FFF2-40B4-BE49-F238E27FC236}">
                  <a16:creationId xmlns:a16="http://schemas.microsoft.com/office/drawing/2014/main" id="{27CAB67E-493C-49A4-87F7-78564FA237A1}"/>
                </a:ext>
              </a:extLst>
            </p:cNvPr>
            <p:cNvSpPr/>
            <p:nvPr/>
          </p:nvSpPr>
          <p:spPr bwMode="auto">
            <a:xfrm>
              <a:off x="6235180" y="2164304"/>
              <a:ext cx="692150" cy="259518"/>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Q4</a:t>
              </a:r>
            </a:p>
          </p:txBody>
        </p:sp>
        <p:sp>
          <p:nvSpPr>
            <p:cNvPr id="93" name="Rectangle 92">
              <a:extLst>
                <a:ext uri="{FF2B5EF4-FFF2-40B4-BE49-F238E27FC236}">
                  <a16:creationId xmlns:a16="http://schemas.microsoft.com/office/drawing/2014/main" id="{0FDC39F4-EF94-4609-B97A-AAC23E17013D}"/>
                </a:ext>
              </a:extLst>
            </p:cNvPr>
            <p:cNvSpPr/>
            <p:nvPr/>
          </p:nvSpPr>
          <p:spPr bwMode="auto">
            <a:xfrm>
              <a:off x="7152191" y="2164304"/>
              <a:ext cx="692150" cy="259518"/>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Q1</a:t>
              </a:r>
            </a:p>
          </p:txBody>
        </p:sp>
        <p:sp>
          <p:nvSpPr>
            <p:cNvPr id="94" name="Rectangle 93">
              <a:extLst>
                <a:ext uri="{FF2B5EF4-FFF2-40B4-BE49-F238E27FC236}">
                  <a16:creationId xmlns:a16="http://schemas.microsoft.com/office/drawing/2014/main" id="{BE7FDC6C-E6F4-4B48-928D-D24AF908D179}"/>
                </a:ext>
              </a:extLst>
            </p:cNvPr>
            <p:cNvSpPr/>
            <p:nvPr/>
          </p:nvSpPr>
          <p:spPr bwMode="auto">
            <a:xfrm>
              <a:off x="7534585" y="2164304"/>
              <a:ext cx="692150" cy="259518"/>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Q2</a:t>
              </a:r>
            </a:p>
          </p:txBody>
        </p:sp>
        <p:sp>
          <p:nvSpPr>
            <p:cNvPr id="95" name="Rectangle 94">
              <a:extLst>
                <a:ext uri="{FF2B5EF4-FFF2-40B4-BE49-F238E27FC236}">
                  <a16:creationId xmlns:a16="http://schemas.microsoft.com/office/drawing/2014/main" id="{0C9EBCFF-1F25-41A0-9591-2956EDAEC4F7}"/>
                </a:ext>
              </a:extLst>
            </p:cNvPr>
            <p:cNvSpPr/>
            <p:nvPr/>
          </p:nvSpPr>
          <p:spPr bwMode="auto">
            <a:xfrm>
              <a:off x="8248469" y="2164304"/>
              <a:ext cx="692150" cy="259518"/>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Q3</a:t>
              </a:r>
            </a:p>
          </p:txBody>
        </p:sp>
        <p:sp>
          <p:nvSpPr>
            <p:cNvPr id="96" name="Rectangle 95">
              <a:extLst>
                <a:ext uri="{FF2B5EF4-FFF2-40B4-BE49-F238E27FC236}">
                  <a16:creationId xmlns:a16="http://schemas.microsoft.com/office/drawing/2014/main" id="{91E62378-A3C9-4BFD-A53C-A5B63C607A11}"/>
                </a:ext>
              </a:extLst>
            </p:cNvPr>
            <p:cNvSpPr/>
            <p:nvPr/>
          </p:nvSpPr>
          <p:spPr bwMode="auto">
            <a:xfrm>
              <a:off x="8962352" y="2164304"/>
              <a:ext cx="692150" cy="259518"/>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Q4</a:t>
              </a:r>
            </a:p>
          </p:txBody>
        </p:sp>
        <p:pic>
          <p:nvPicPr>
            <p:cNvPr id="105" name="Picture 2" descr="Drapeau France">
              <a:extLst>
                <a:ext uri="{FF2B5EF4-FFF2-40B4-BE49-F238E27FC236}">
                  <a16:creationId xmlns:a16="http://schemas.microsoft.com/office/drawing/2014/main" id="{F414BF39-7E7B-4470-86EC-32352B9C681C}"/>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4571358" y="3537161"/>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11" name="Rectangle 110">
              <a:extLst>
                <a:ext uri="{FF2B5EF4-FFF2-40B4-BE49-F238E27FC236}">
                  <a16:creationId xmlns:a16="http://schemas.microsoft.com/office/drawing/2014/main" id="{904D3A9C-B397-44EE-80F6-A3085AF4CE89}"/>
                </a:ext>
              </a:extLst>
            </p:cNvPr>
            <p:cNvSpPr/>
            <p:nvPr/>
          </p:nvSpPr>
          <p:spPr bwMode="auto">
            <a:xfrm>
              <a:off x="4981338" y="3521983"/>
              <a:ext cx="1051035" cy="38417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err="1">
                  <a:ln>
                    <a:noFill/>
                  </a:ln>
                  <a:solidFill>
                    <a:schemeClr val="tx1"/>
                  </a:solidFill>
                  <a:effectLst/>
                  <a:latin typeface="Trebuchet MS" panose="020B0603020202020204" pitchFamily="34" charset="0"/>
                </a:rPr>
                <a:t>indueD</a:t>
              </a:r>
              <a:r>
                <a:rPr kumimoji="0" lang="en-GB" sz="800" b="0" i="1" u="none" strike="noStrike" cap="none" normalizeH="0" baseline="0">
                  <a:ln>
                    <a:noFill/>
                  </a:ln>
                  <a:solidFill>
                    <a:schemeClr val="tx1"/>
                  </a:solidFill>
                  <a:effectLst/>
                  <a:latin typeface="Trebuchet MS" panose="020B0603020202020204" pitchFamily="34" charset="0"/>
                </a:rPr>
                <a:t> in BAO</a:t>
              </a:r>
            </a:p>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SAP connector)</a:t>
              </a:r>
              <a:endParaRPr kumimoji="0" lang="en-GB" sz="800" b="0" i="1" u="none" strike="noStrike" cap="none" normalizeH="0" baseline="0">
                <a:ln>
                  <a:noFill/>
                </a:ln>
                <a:solidFill>
                  <a:schemeClr val="tx1"/>
                </a:solidFill>
                <a:effectLst/>
                <a:latin typeface="Trebuchet MS" panose="020B0603020202020204" pitchFamily="34" charset="0"/>
              </a:endParaRPr>
            </a:p>
          </p:txBody>
        </p:sp>
        <p:sp>
          <p:nvSpPr>
            <p:cNvPr id="112" name="Rectangle 111">
              <a:extLst>
                <a:ext uri="{FF2B5EF4-FFF2-40B4-BE49-F238E27FC236}">
                  <a16:creationId xmlns:a16="http://schemas.microsoft.com/office/drawing/2014/main" id="{7F0F0363-244A-4CDF-91CE-AF1FEBB98067}"/>
                </a:ext>
              </a:extLst>
            </p:cNvPr>
            <p:cNvSpPr/>
            <p:nvPr/>
          </p:nvSpPr>
          <p:spPr bwMode="auto">
            <a:xfrm>
              <a:off x="4751360" y="4017689"/>
              <a:ext cx="1051035" cy="38417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2"/>
                  </a:solidFill>
                  <a:effectLst/>
                  <a:latin typeface="Trebuchet MS" panose="020B0603020202020204" pitchFamily="34" charset="0"/>
                </a:rPr>
                <a:t>UBO Monitoring</a:t>
              </a:r>
            </a:p>
          </p:txBody>
        </p:sp>
        <p:sp>
          <p:nvSpPr>
            <p:cNvPr id="113" name="Rectangle 112">
              <a:extLst>
                <a:ext uri="{FF2B5EF4-FFF2-40B4-BE49-F238E27FC236}">
                  <a16:creationId xmlns:a16="http://schemas.microsoft.com/office/drawing/2014/main" id="{5D7DBDC7-9B32-432E-A3EE-4CAC566D0866}"/>
                </a:ext>
              </a:extLst>
            </p:cNvPr>
            <p:cNvSpPr/>
            <p:nvPr/>
          </p:nvSpPr>
          <p:spPr bwMode="auto">
            <a:xfrm>
              <a:off x="5802395" y="3916591"/>
              <a:ext cx="1051035" cy="38417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anose="020B0603020202020204" pitchFamily="34" charset="0"/>
                </a:rPr>
                <a:t>Dow Jones Screening</a:t>
              </a:r>
            </a:p>
          </p:txBody>
        </p:sp>
        <p:cxnSp>
          <p:nvCxnSpPr>
            <p:cNvPr id="114" name="Connecteur droit 113">
              <a:extLst>
                <a:ext uri="{FF2B5EF4-FFF2-40B4-BE49-F238E27FC236}">
                  <a16:creationId xmlns:a16="http://schemas.microsoft.com/office/drawing/2014/main" id="{93D9BCF6-0AFA-4F80-9DD5-7411A8D35B5E}"/>
                </a:ext>
              </a:extLst>
            </p:cNvPr>
            <p:cNvCxnSpPr>
              <a:cxnSpLocks/>
            </p:cNvCxnSpPr>
            <p:nvPr/>
          </p:nvCxnSpPr>
          <p:spPr bwMode="auto">
            <a:xfrm flipV="1">
              <a:off x="1373949" y="4312910"/>
              <a:ext cx="8174320" cy="0"/>
            </a:xfrm>
            <a:prstGeom prst="line">
              <a:avLst/>
            </a:prstGeom>
            <a:solidFill>
              <a:schemeClr val="accent1"/>
            </a:solidFill>
            <a:ln w="9525" cap="flat" cmpd="sng" algn="ctr">
              <a:solidFill>
                <a:schemeClr val="bg1">
                  <a:lumMod val="85000"/>
                </a:schemeClr>
              </a:solidFill>
              <a:prstDash val="lgDash"/>
              <a:round/>
              <a:headEnd type="none" w="med" len="med"/>
              <a:tailEnd type="none" w="med" len="med"/>
            </a:ln>
            <a:effectLst/>
          </p:spPr>
        </p:cxnSp>
        <p:sp>
          <p:nvSpPr>
            <p:cNvPr id="116" name="Rectangle 115">
              <a:extLst>
                <a:ext uri="{FF2B5EF4-FFF2-40B4-BE49-F238E27FC236}">
                  <a16:creationId xmlns:a16="http://schemas.microsoft.com/office/drawing/2014/main" id="{3EF6DDB0-960F-4A43-AB1F-71D1C709C04B}"/>
                </a:ext>
              </a:extLst>
            </p:cNvPr>
            <p:cNvSpPr/>
            <p:nvPr/>
          </p:nvSpPr>
          <p:spPr bwMode="auto">
            <a:xfrm>
              <a:off x="1348539" y="4326542"/>
              <a:ext cx="1051035" cy="38417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u="none" strike="noStrike" cap="none" normalizeH="0" baseline="0">
                  <a:ln>
                    <a:noFill/>
                  </a:ln>
                  <a:solidFill>
                    <a:schemeClr val="tx1"/>
                  </a:solidFill>
                  <a:effectLst/>
                  <a:latin typeface="Trebuchet MS" panose="020B0603020202020204" pitchFamily="34" charset="0"/>
                </a:rPr>
                <a:t>Compliance batch</a:t>
              </a:r>
            </a:p>
          </p:txBody>
        </p:sp>
        <p:sp>
          <p:nvSpPr>
            <p:cNvPr id="117" name="Rectangle 116">
              <a:extLst>
                <a:ext uri="{FF2B5EF4-FFF2-40B4-BE49-F238E27FC236}">
                  <a16:creationId xmlns:a16="http://schemas.microsoft.com/office/drawing/2014/main" id="{DBC5BFBA-F448-448B-8EFD-EE697E6A627A}"/>
                </a:ext>
              </a:extLst>
            </p:cNvPr>
            <p:cNvSpPr/>
            <p:nvPr/>
          </p:nvSpPr>
          <p:spPr bwMode="auto">
            <a:xfrm>
              <a:off x="3009479" y="4431549"/>
              <a:ext cx="1051035" cy="29979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err="1">
                  <a:ln>
                    <a:noFill/>
                  </a:ln>
                  <a:solidFill>
                    <a:schemeClr val="tx2"/>
                  </a:solidFill>
                  <a:effectLst/>
                  <a:latin typeface="Trebuchet MS" panose="020B0603020202020204" pitchFamily="34" charset="0"/>
                </a:rPr>
                <a:t>AnaCredit</a:t>
              </a:r>
              <a:endParaRPr kumimoji="0" lang="en-GB" sz="800" b="0" i="1" u="none" strike="noStrike" cap="none" normalizeH="0" baseline="0">
                <a:ln>
                  <a:noFill/>
                </a:ln>
                <a:solidFill>
                  <a:schemeClr val="tx2"/>
                </a:solidFill>
                <a:effectLst/>
                <a:latin typeface="Trebuchet MS" panose="020B0603020202020204" pitchFamily="34" charset="0"/>
              </a:endParaRPr>
            </a:p>
          </p:txBody>
        </p:sp>
        <p:sp>
          <p:nvSpPr>
            <p:cNvPr id="118" name="Rectangle 117">
              <a:extLst>
                <a:ext uri="{FF2B5EF4-FFF2-40B4-BE49-F238E27FC236}">
                  <a16:creationId xmlns:a16="http://schemas.microsoft.com/office/drawing/2014/main" id="{6EC97BAF-60D0-4807-9C2A-91D9D45FF311}"/>
                </a:ext>
              </a:extLst>
            </p:cNvPr>
            <p:cNvSpPr/>
            <p:nvPr/>
          </p:nvSpPr>
          <p:spPr bwMode="auto">
            <a:xfrm>
              <a:off x="4751360" y="4440366"/>
              <a:ext cx="1051035" cy="29979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2"/>
                  </a:solidFill>
                  <a:effectLst/>
                  <a:latin typeface="Trebuchet MS" panose="020B0603020202020204" pitchFamily="34" charset="0"/>
                </a:rPr>
                <a:t>UBO Fac</a:t>
              </a:r>
              <a:r>
                <a:rPr lang="en-GB" sz="800" i="1">
                  <a:solidFill>
                    <a:schemeClr val="tx2"/>
                  </a:solidFill>
                  <a:latin typeface="Trebuchet MS" panose="020B0603020202020204" pitchFamily="34" charset="0"/>
                </a:rPr>
                <a:t>tory</a:t>
              </a:r>
              <a:endParaRPr kumimoji="0" lang="en-GB" sz="800" b="0" i="1" u="none" strike="noStrike" cap="none" normalizeH="0" baseline="0">
                <a:ln>
                  <a:noFill/>
                </a:ln>
                <a:solidFill>
                  <a:schemeClr val="tx2"/>
                </a:solidFill>
                <a:effectLst/>
                <a:latin typeface="Trebuchet MS" panose="020B0603020202020204" pitchFamily="34" charset="0"/>
              </a:endParaRPr>
            </a:p>
          </p:txBody>
        </p:sp>
        <p:sp>
          <p:nvSpPr>
            <p:cNvPr id="119" name="Rectangle 118">
              <a:extLst>
                <a:ext uri="{FF2B5EF4-FFF2-40B4-BE49-F238E27FC236}">
                  <a16:creationId xmlns:a16="http://schemas.microsoft.com/office/drawing/2014/main" id="{3A53D2E7-B266-40F7-994A-399D4E22CBBD}"/>
                </a:ext>
              </a:extLst>
            </p:cNvPr>
            <p:cNvSpPr/>
            <p:nvPr/>
          </p:nvSpPr>
          <p:spPr bwMode="auto">
            <a:xfrm>
              <a:off x="5945941" y="4440366"/>
              <a:ext cx="1051035" cy="29979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anose="020B0603020202020204" pitchFamily="34" charset="0"/>
                </a:rPr>
                <a:t>UBO Fac</a:t>
              </a:r>
              <a:r>
                <a:rPr lang="en-GB" sz="800" i="1">
                  <a:latin typeface="Trebuchet MS" panose="020B0603020202020204" pitchFamily="34" charset="0"/>
                </a:rPr>
                <a:t>tory</a:t>
              </a:r>
              <a:endParaRPr kumimoji="0" lang="en-GB" sz="800" b="0" i="1" u="none" strike="noStrike" cap="none" normalizeH="0" baseline="0">
                <a:ln>
                  <a:noFill/>
                </a:ln>
                <a:solidFill>
                  <a:schemeClr val="tx1"/>
                </a:solidFill>
                <a:effectLst/>
                <a:latin typeface="Trebuchet MS" panose="020B0603020202020204" pitchFamily="34" charset="0"/>
              </a:endParaRPr>
            </a:p>
          </p:txBody>
        </p:sp>
        <p:pic>
          <p:nvPicPr>
            <p:cNvPr id="121" name="Picture 2" descr="Drapeau France">
              <a:extLst>
                <a:ext uri="{FF2B5EF4-FFF2-40B4-BE49-F238E27FC236}">
                  <a16:creationId xmlns:a16="http://schemas.microsoft.com/office/drawing/2014/main" id="{934B34BD-F626-43A2-957B-D25B89C38FB1}"/>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5544097" y="4394958"/>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27" name="Rectangle 126">
              <a:extLst>
                <a:ext uri="{FF2B5EF4-FFF2-40B4-BE49-F238E27FC236}">
                  <a16:creationId xmlns:a16="http://schemas.microsoft.com/office/drawing/2014/main" id="{CBA39DE3-A9AF-4902-A54E-7402FB25B71B}"/>
                </a:ext>
              </a:extLst>
            </p:cNvPr>
            <p:cNvSpPr/>
            <p:nvPr/>
          </p:nvSpPr>
          <p:spPr bwMode="auto">
            <a:xfrm>
              <a:off x="4345047" y="3098655"/>
              <a:ext cx="1789005" cy="29979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accent1"/>
                  </a:solidFill>
                  <a:latin typeface="Trebuchet MS" panose="020B0603020202020204" pitchFamily="34" charset="0"/>
                </a:rPr>
                <a:t>Monitoring </a:t>
              </a:r>
              <a:r>
                <a:rPr lang="en-GB" sz="800" i="1" err="1">
                  <a:solidFill>
                    <a:schemeClr val="accent1"/>
                  </a:solidFill>
                  <a:latin typeface="Trebuchet MS" panose="020B0603020202020204" pitchFamily="34" charset="0"/>
                </a:rPr>
                <a:t>Acuris</a:t>
              </a:r>
              <a:r>
                <a:rPr lang="en-GB" sz="800" i="1">
                  <a:solidFill>
                    <a:schemeClr val="accent1"/>
                  </a:solidFill>
                  <a:latin typeface="Trebuchet MS" pitchFamily="34" charset="0"/>
                </a:rPr>
                <a:t> </a:t>
              </a:r>
            </a:p>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accent1"/>
                  </a:solidFill>
                  <a:latin typeface="Trebuchet MS" pitchFamily="34" charset="0"/>
                </a:rPr>
                <a:t>(legal data provider)</a:t>
              </a:r>
              <a:endParaRPr kumimoji="0" lang="en-GB" sz="800" b="0" i="1" u="none" strike="noStrike" cap="none" normalizeH="0" baseline="0">
                <a:ln>
                  <a:noFill/>
                </a:ln>
                <a:solidFill>
                  <a:schemeClr val="accent1"/>
                </a:solidFill>
                <a:effectLst/>
                <a:latin typeface="Trebuchet MS" panose="020B0603020202020204" pitchFamily="34" charset="0"/>
              </a:endParaRPr>
            </a:p>
          </p:txBody>
        </p:sp>
        <p:sp>
          <p:nvSpPr>
            <p:cNvPr id="128" name="Rectangle 127">
              <a:extLst>
                <a:ext uri="{FF2B5EF4-FFF2-40B4-BE49-F238E27FC236}">
                  <a16:creationId xmlns:a16="http://schemas.microsoft.com/office/drawing/2014/main" id="{514FB3B4-FAE6-4CF5-AF6B-56A74EBEB141}"/>
                </a:ext>
              </a:extLst>
            </p:cNvPr>
            <p:cNvSpPr/>
            <p:nvPr/>
          </p:nvSpPr>
          <p:spPr bwMode="auto">
            <a:xfrm>
              <a:off x="5651350" y="3078437"/>
              <a:ext cx="978430" cy="40838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accent1"/>
                  </a:solidFill>
                  <a:latin typeface="Trebuchet MS" panose="020B0603020202020204" pitchFamily="34" charset="0"/>
                </a:rPr>
                <a:t>Dynamic monitoring</a:t>
              </a:r>
              <a:endParaRPr kumimoji="0" lang="en-GB" sz="800" b="0" i="1" u="none" strike="noStrike" cap="none" normalizeH="0" baseline="0">
                <a:ln>
                  <a:noFill/>
                </a:ln>
                <a:solidFill>
                  <a:schemeClr val="accent1"/>
                </a:solidFill>
                <a:effectLst/>
                <a:latin typeface="Trebuchet MS" panose="020B0603020202020204" pitchFamily="34" charset="0"/>
              </a:endParaRPr>
            </a:p>
          </p:txBody>
        </p:sp>
        <p:sp>
          <p:nvSpPr>
            <p:cNvPr id="129" name="Rectangle 128">
              <a:extLst>
                <a:ext uri="{FF2B5EF4-FFF2-40B4-BE49-F238E27FC236}">
                  <a16:creationId xmlns:a16="http://schemas.microsoft.com/office/drawing/2014/main" id="{FA9C253B-721E-4A0B-AAD8-FBB3B6954A76}"/>
                </a:ext>
              </a:extLst>
            </p:cNvPr>
            <p:cNvSpPr/>
            <p:nvPr/>
          </p:nvSpPr>
          <p:spPr bwMode="auto">
            <a:xfrm>
              <a:off x="7120293" y="3041902"/>
              <a:ext cx="1435880" cy="40838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In Portal (Selfcare, onboarding, financial score, </a:t>
              </a:r>
              <a:r>
                <a:rPr lang="en-GB" sz="800" i="1" err="1">
                  <a:latin typeface="Trebuchet MS" panose="020B0603020202020204" pitchFamily="34" charset="0"/>
                </a:rPr>
                <a:t>Ethnis</a:t>
              </a:r>
              <a:r>
                <a:rPr lang="en-GB" sz="800" i="1">
                  <a:latin typeface="Trebuchet MS" panose="020B0603020202020204" pitchFamily="34" charset="0"/>
                </a:rPr>
                <a:t> indicator) </a:t>
              </a:r>
              <a:endParaRPr kumimoji="0" lang="en-GB" sz="800" b="0" i="1" u="none" strike="noStrike" cap="none" normalizeH="0" baseline="0">
                <a:ln>
                  <a:noFill/>
                </a:ln>
                <a:effectLst/>
                <a:latin typeface="Trebuchet MS" panose="020B0603020202020204" pitchFamily="34" charset="0"/>
              </a:endParaRPr>
            </a:p>
          </p:txBody>
        </p:sp>
        <p:sp>
          <p:nvSpPr>
            <p:cNvPr id="130" name="Rectangle 129">
              <a:extLst>
                <a:ext uri="{FF2B5EF4-FFF2-40B4-BE49-F238E27FC236}">
                  <a16:creationId xmlns:a16="http://schemas.microsoft.com/office/drawing/2014/main" id="{644A5C7D-412E-43A3-A4CB-AEEABBF3A59F}"/>
                </a:ext>
              </a:extLst>
            </p:cNvPr>
            <p:cNvSpPr/>
            <p:nvPr/>
          </p:nvSpPr>
          <p:spPr bwMode="auto">
            <a:xfrm>
              <a:off x="8295065" y="3091792"/>
              <a:ext cx="811902" cy="40838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UBO Monitoring </a:t>
              </a:r>
              <a:endParaRPr kumimoji="0" lang="en-GB" sz="800" b="0" i="1" u="none" strike="noStrike" cap="none" normalizeH="0" baseline="0">
                <a:ln>
                  <a:noFill/>
                </a:ln>
                <a:effectLst/>
                <a:latin typeface="Trebuchet MS" panose="020B0603020202020204" pitchFamily="34" charset="0"/>
              </a:endParaRPr>
            </a:p>
          </p:txBody>
        </p:sp>
        <p:sp>
          <p:nvSpPr>
            <p:cNvPr id="132" name="Rectangle 131">
              <a:extLst>
                <a:ext uri="{FF2B5EF4-FFF2-40B4-BE49-F238E27FC236}">
                  <a16:creationId xmlns:a16="http://schemas.microsoft.com/office/drawing/2014/main" id="{FBE342E0-5996-49A3-98FF-D5240CD6E1CC}"/>
                </a:ext>
              </a:extLst>
            </p:cNvPr>
            <p:cNvSpPr/>
            <p:nvPr/>
          </p:nvSpPr>
          <p:spPr bwMode="auto">
            <a:xfrm>
              <a:off x="2838377" y="3128134"/>
              <a:ext cx="1474133" cy="29979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2"/>
                  </a:solidFill>
                  <a:effectLst/>
                  <a:latin typeface="Trebuchet MS" panose="020B0603020202020204" pitchFamily="34" charset="0"/>
                </a:rPr>
                <a:t>Ability to add comments in the KYC report</a:t>
              </a:r>
            </a:p>
          </p:txBody>
        </p:sp>
        <p:sp>
          <p:nvSpPr>
            <p:cNvPr id="7168" name="Rectangle 7167">
              <a:extLst>
                <a:ext uri="{FF2B5EF4-FFF2-40B4-BE49-F238E27FC236}">
                  <a16:creationId xmlns:a16="http://schemas.microsoft.com/office/drawing/2014/main" id="{410B4C42-4F92-43E4-8D9B-0D5F5C262D97}"/>
                </a:ext>
              </a:extLst>
            </p:cNvPr>
            <p:cNvSpPr/>
            <p:nvPr/>
          </p:nvSpPr>
          <p:spPr bwMode="auto">
            <a:xfrm>
              <a:off x="8957567" y="3069407"/>
              <a:ext cx="820680" cy="168051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800" b="1" i="1" u="none" strike="noStrike" cap="none" normalizeH="0" baseline="0">
                  <a:ln>
                    <a:noFill/>
                  </a:ln>
                  <a:effectLst/>
                  <a:latin typeface="Trebuchet MS" panose="020B0603020202020204" pitchFamily="34" charset="0"/>
                </a:rPr>
                <a:t>Objective</a:t>
              </a:r>
              <a:r>
                <a:rPr lang="en-GB" sz="800" i="1">
                  <a:latin typeface="Trebuchet MS" panose="020B0603020202020204" pitchFamily="34" charset="0"/>
                </a:rPr>
                <a:t> to offer</a:t>
              </a:r>
              <a:r>
                <a:rPr kumimoji="0" lang="en-GB" sz="800" b="0" i="1" u="none" strike="noStrike" cap="none" normalizeH="0" baseline="0">
                  <a:ln>
                    <a:noFill/>
                  </a:ln>
                  <a:effectLst/>
                  <a:latin typeface="Trebuchet MS" panose="020B0603020202020204" pitchFamily="34" charset="0"/>
                </a:rPr>
                <a:t> a global platform incl. </a:t>
              </a:r>
              <a:r>
                <a:rPr lang="en-GB" sz="800" i="1">
                  <a:latin typeface="Trebuchet MS" panose="020B0603020202020204" pitchFamily="34" charset="0"/>
                </a:rPr>
                <a:t>Dow Jones, </a:t>
              </a:r>
              <a:r>
                <a:rPr kumimoji="0" lang="en-GB" sz="800" b="0" i="1" u="none" strike="noStrike" cap="none" normalizeH="0" baseline="0">
                  <a:ln>
                    <a:noFill/>
                  </a:ln>
                  <a:effectLst/>
                  <a:latin typeface="Trebuchet MS" panose="020B0603020202020204" pitchFamily="34" charset="0"/>
                </a:rPr>
                <a:t>Refinitiv</a:t>
              </a:r>
              <a:r>
                <a:rPr kumimoji="0" lang="en-GB" sz="800" b="0" i="1" u="none" strike="noStrike" cap="none" normalizeH="0" baseline="30000">
                  <a:ln>
                    <a:noFill/>
                  </a:ln>
                  <a:effectLst/>
                  <a:latin typeface="Trebuchet MS" panose="020B0603020202020204" pitchFamily="34" charset="0"/>
                </a:rPr>
                <a:t>1</a:t>
              </a:r>
              <a:r>
                <a:rPr lang="en-GB" sz="800" i="1">
                  <a:latin typeface="Trebuchet MS" panose="020B0603020202020204" pitchFamily="34" charset="0"/>
                </a:rPr>
                <a:t>, Acuris</a:t>
              </a:r>
              <a:r>
                <a:rPr lang="en-GB" sz="800" i="1" baseline="30000">
                  <a:latin typeface="Trebuchet MS" panose="020B0603020202020204" pitchFamily="34" charset="0"/>
                </a:rPr>
                <a:t>2 </a:t>
              </a:r>
              <a:r>
                <a:rPr lang="en-GB" sz="800" i="1">
                  <a:latin typeface="Trebuchet MS" panose="020B0603020202020204" pitchFamily="34" charset="0"/>
                </a:rPr>
                <a:t>screening data </a:t>
              </a:r>
              <a:endParaRPr kumimoji="0" lang="en-GB" sz="800" b="0" i="1" u="none" strike="noStrike" cap="none" normalizeH="0" baseline="0">
                <a:ln>
                  <a:noFill/>
                </a:ln>
                <a:effectLst/>
                <a:latin typeface="Trebuchet MS" panose="020B0603020202020204" pitchFamily="34" charset="0"/>
              </a:endParaRPr>
            </a:p>
          </p:txBody>
        </p:sp>
        <p:sp>
          <p:nvSpPr>
            <p:cNvPr id="135" name="Rectangle 134">
              <a:extLst>
                <a:ext uri="{FF2B5EF4-FFF2-40B4-BE49-F238E27FC236}">
                  <a16:creationId xmlns:a16="http://schemas.microsoft.com/office/drawing/2014/main" id="{CA8B9B60-895E-4309-9D36-C4E77A6BB76B}"/>
                </a:ext>
              </a:extLst>
            </p:cNvPr>
            <p:cNvSpPr/>
            <p:nvPr/>
          </p:nvSpPr>
          <p:spPr bwMode="auto">
            <a:xfrm>
              <a:off x="2596905" y="5689217"/>
              <a:ext cx="1150605" cy="49653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tx2"/>
                  </a:solidFill>
                  <a:latin typeface="Trebuchet MS" panose="020B0603020202020204" pitchFamily="34" charset="0"/>
                </a:rPr>
                <a:t>New CRM Platforms</a:t>
              </a:r>
              <a:endParaRPr kumimoji="0" lang="en-GB" sz="800" b="0" i="1" u="none" strike="noStrike" cap="none" normalizeH="0" baseline="0">
                <a:ln>
                  <a:noFill/>
                </a:ln>
                <a:solidFill>
                  <a:schemeClr val="tx2"/>
                </a:solidFill>
                <a:effectLst/>
                <a:latin typeface="Trebuchet MS" panose="020B0603020202020204" pitchFamily="34" charset="0"/>
              </a:endParaRPr>
            </a:p>
          </p:txBody>
        </p:sp>
        <p:sp>
          <p:nvSpPr>
            <p:cNvPr id="136" name="Rectangle 135">
              <a:extLst>
                <a:ext uri="{FF2B5EF4-FFF2-40B4-BE49-F238E27FC236}">
                  <a16:creationId xmlns:a16="http://schemas.microsoft.com/office/drawing/2014/main" id="{04ABCFB5-976D-4959-96C2-469DBD951494}"/>
                </a:ext>
              </a:extLst>
            </p:cNvPr>
            <p:cNvSpPr/>
            <p:nvPr/>
          </p:nvSpPr>
          <p:spPr bwMode="auto">
            <a:xfrm>
              <a:off x="3834687" y="5689217"/>
              <a:ext cx="1087690" cy="49653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tx2"/>
                  </a:solidFill>
                  <a:latin typeface="Trebuchet MS" panose="020B0603020202020204" pitchFamily="34" charset="0"/>
                </a:rPr>
                <a:t>Inter-nationalization (for Asian users) </a:t>
              </a:r>
              <a:endParaRPr kumimoji="0" lang="en-GB" sz="800" b="0" i="1" u="none" strike="noStrike" cap="none" normalizeH="0" baseline="0">
                <a:ln>
                  <a:noFill/>
                </a:ln>
                <a:solidFill>
                  <a:schemeClr val="tx2"/>
                </a:solidFill>
                <a:effectLst/>
                <a:latin typeface="Trebuchet MS" panose="020B0603020202020204" pitchFamily="34" charset="0"/>
              </a:endParaRPr>
            </a:p>
          </p:txBody>
        </p:sp>
        <p:sp>
          <p:nvSpPr>
            <p:cNvPr id="137" name="Rectangle 136">
              <a:extLst>
                <a:ext uri="{FF2B5EF4-FFF2-40B4-BE49-F238E27FC236}">
                  <a16:creationId xmlns:a16="http://schemas.microsoft.com/office/drawing/2014/main" id="{4D7721C8-FA7A-41A5-9B58-FF06D73626D3}"/>
                </a:ext>
              </a:extLst>
            </p:cNvPr>
            <p:cNvSpPr/>
            <p:nvPr/>
          </p:nvSpPr>
          <p:spPr bwMode="auto">
            <a:xfrm>
              <a:off x="5117303" y="5665621"/>
              <a:ext cx="1057442" cy="49653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tx2"/>
                  </a:solidFill>
                  <a:latin typeface="Trebuchet MS" panose="020B0603020202020204" pitchFamily="34" charset="0"/>
                </a:rPr>
                <a:t>Enrichment: Global decision maker</a:t>
              </a:r>
              <a:endParaRPr kumimoji="0" lang="en-GB" sz="800" b="0" i="1" u="none" strike="noStrike" cap="none" normalizeH="0" baseline="0">
                <a:ln>
                  <a:noFill/>
                </a:ln>
                <a:solidFill>
                  <a:schemeClr val="tx2"/>
                </a:solidFill>
                <a:effectLst/>
                <a:latin typeface="Trebuchet MS" panose="020B0603020202020204" pitchFamily="34" charset="0"/>
              </a:endParaRPr>
            </a:p>
          </p:txBody>
        </p:sp>
        <p:sp>
          <p:nvSpPr>
            <p:cNvPr id="138" name="Rectangle 137">
              <a:extLst>
                <a:ext uri="{FF2B5EF4-FFF2-40B4-BE49-F238E27FC236}">
                  <a16:creationId xmlns:a16="http://schemas.microsoft.com/office/drawing/2014/main" id="{1D1BCF49-5F9F-4425-B339-B7D7FAE649C1}"/>
                </a:ext>
              </a:extLst>
            </p:cNvPr>
            <p:cNvSpPr/>
            <p:nvPr/>
          </p:nvSpPr>
          <p:spPr bwMode="auto">
            <a:xfrm>
              <a:off x="5065078" y="6136453"/>
              <a:ext cx="1244034" cy="24292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accent1"/>
                  </a:solidFill>
                  <a:latin typeface="Trebuchet MS" panose="020B0603020202020204" pitchFamily="34" charset="0"/>
                </a:rPr>
                <a:t>Search algorithm</a:t>
              </a:r>
              <a:endParaRPr kumimoji="0" lang="en-GB" sz="800" b="0" i="1" u="none" strike="noStrike" cap="none" normalizeH="0" baseline="0">
                <a:ln>
                  <a:noFill/>
                </a:ln>
                <a:solidFill>
                  <a:schemeClr val="accent1"/>
                </a:solidFill>
                <a:effectLst/>
                <a:latin typeface="Trebuchet MS" panose="020B0603020202020204" pitchFamily="34" charset="0"/>
              </a:endParaRPr>
            </a:p>
          </p:txBody>
        </p:sp>
        <p:sp>
          <p:nvSpPr>
            <p:cNvPr id="140" name="Rectangle 139">
              <a:extLst>
                <a:ext uri="{FF2B5EF4-FFF2-40B4-BE49-F238E27FC236}">
                  <a16:creationId xmlns:a16="http://schemas.microsoft.com/office/drawing/2014/main" id="{6C2D063A-4E07-4E9E-9197-B0DCE018CF8A}"/>
                </a:ext>
              </a:extLst>
            </p:cNvPr>
            <p:cNvSpPr/>
            <p:nvPr/>
          </p:nvSpPr>
          <p:spPr bwMode="auto">
            <a:xfrm>
              <a:off x="6037813" y="5966764"/>
              <a:ext cx="1057442" cy="33660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Enrichment: Compliance</a:t>
              </a:r>
              <a:endParaRPr kumimoji="0" lang="en-GB" sz="800" b="0" i="1" u="none" strike="noStrike" cap="none" normalizeH="0" baseline="0">
                <a:ln>
                  <a:noFill/>
                </a:ln>
                <a:effectLst/>
                <a:latin typeface="Trebuchet MS" panose="020B0603020202020204" pitchFamily="34" charset="0"/>
              </a:endParaRPr>
            </a:p>
          </p:txBody>
        </p:sp>
        <p:sp>
          <p:nvSpPr>
            <p:cNvPr id="141" name="Rectangle 140">
              <a:extLst>
                <a:ext uri="{FF2B5EF4-FFF2-40B4-BE49-F238E27FC236}">
                  <a16:creationId xmlns:a16="http://schemas.microsoft.com/office/drawing/2014/main" id="{CBD47C46-5D5E-4A17-AF0F-90560997FFDD}"/>
                </a:ext>
              </a:extLst>
            </p:cNvPr>
            <p:cNvSpPr/>
            <p:nvPr/>
          </p:nvSpPr>
          <p:spPr bwMode="auto">
            <a:xfrm>
              <a:off x="7483362" y="5701422"/>
              <a:ext cx="1057442" cy="34875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Enrichment: Local Data </a:t>
              </a:r>
              <a:endParaRPr kumimoji="0" lang="en-GB" sz="800" b="0" i="1" u="none" strike="noStrike" cap="none" normalizeH="0" baseline="0">
                <a:ln>
                  <a:noFill/>
                </a:ln>
                <a:effectLst/>
                <a:latin typeface="Trebuchet MS" panose="020B0603020202020204" pitchFamily="34" charset="0"/>
              </a:endParaRPr>
            </a:p>
          </p:txBody>
        </p:sp>
        <p:sp>
          <p:nvSpPr>
            <p:cNvPr id="142" name="Rectangle 141">
              <a:extLst>
                <a:ext uri="{FF2B5EF4-FFF2-40B4-BE49-F238E27FC236}">
                  <a16:creationId xmlns:a16="http://schemas.microsoft.com/office/drawing/2014/main" id="{03FA2BB0-5AFF-4486-B1C1-7E1B11AA2487}"/>
                </a:ext>
              </a:extLst>
            </p:cNvPr>
            <p:cNvSpPr/>
            <p:nvPr/>
          </p:nvSpPr>
          <p:spPr bwMode="auto">
            <a:xfrm>
              <a:off x="6791963" y="5681643"/>
              <a:ext cx="1057442" cy="32484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Enrichment: Local Data</a:t>
              </a:r>
              <a:endParaRPr kumimoji="0" lang="en-GB" sz="800" b="0" i="1" u="none" strike="noStrike" cap="none" normalizeH="0" baseline="0">
                <a:ln>
                  <a:noFill/>
                </a:ln>
                <a:effectLst/>
                <a:latin typeface="Trebuchet MS" panose="020B0603020202020204" pitchFamily="34" charset="0"/>
              </a:endParaRPr>
            </a:p>
          </p:txBody>
        </p:sp>
        <p:sp>
          <p:nvSpPr>
            <p:cNvPr id="143" name="Rectangle 142">
              <a:extLst>
                <a:ext uri="{FF2B5EF4-FFF2-40B4-BE49-F238E27FC236}">
                  <a16:creationId xmlns:a16="http://schemas.microsoft.com/office/drawing/2014/main" id="{CCB0ACA4-B47C-46AD-A4B0-BA70FD66DF17}"/>
                </a:ext>
              </a:extLst>
            </p:cNvPr>
            <p:cNvSpPr/>
            <p:nvPr/>
          </p:nvSpPr>
          <p:spPr bwMode="auto">
            <a:xfrm>
              <a:off x="6777047" y="5993860"/>
              <a:ext cx="1057442" cy="32484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Enrichment: Credit risk</a:t>
              </a:r>
              <a:endParaRPr kumimoji="0" lang="en-GB" sz="800" b="0" i="1" u="none" strike="noStrike" cap="none" normalizeH="0" baseline="0">
                <a:ln>
                  <a:noFill/>
                </a:ln>
                <a:effectLst/>
                <a:latin typeface="Trebuchet MS" panose="020B0603020202020204" pitchFamily="34" charset="0"/>
              </a:endParaRPr>
            </a:p>
          </p:txBody>
        </p:sp>
        <p:sp>
          <p:nvSpPr>
            <p:cNvPr id="144" name="Rectangle 143">
              <a:extLst>
                <a:ext uri="{FF2B5EF4-FFF2-40B4-BE49-F238E27FC236}">
                  <a16:creationId xmlns:a16="http://schemas.microsoft.com/office/drawing/2014/main" id="{C8B93B46-B035-4990-9149-95C8DF360A2F}"/>
                </a:ext>
              </a:extLst>
            </p:cNvPr>
            <p:cNvSpPr/>
            <p:nvPr/>
          </p:nvSpPr>
          <p:spPr bwMode="auto">
            <a:xfrm>
              <a:off x="4705448" y="4796736"/>
              <a:ext cx="1057442" cy="29086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accent1"/>
                  </a:solidFill>
                  <a:latin typeface="Trebuchet MS" panose="020B0603020202020204" pitchFamily="34" charset="0"/>
                </a:rPr>
                <a:t>Admin module</a:t>
              </a:r>
              <a:endParaRPr kumimoji="0" lang="en-GB" sz="800" b="0" i="1" u="none" strike="noStrike" cap="none" normalizeH="0" baseline="0">
                <a:ln>
                  <a:noFill/>
                </a:ln>
                <a:solidFill>
                  <a:schemeClr val="accent1"/>
                </a:solidFill>
                <a:effectLst/>
                <a:latin typeface="Trebuchet MS" panose="020B0603020202020204" pitchFamily="34" charset="0"/>
              </a:endParaRPr>
            </a:p>
          </p:txBody>
        </p:sp>
        <p:sp>
          <p:nvSpPr>
            <p:cNvPr id="145" name="Rectangle 144">
              <a:extLst>
                <a:ext uri="{FF2B5EF4-FFF2-40B4-BE49-F238E27FC236}">
                  <a16:creationId xmlns:a16="http://schemas.microsoft.com/office/drawing/2014/main" id="{6096AA7E-5A01-4B7F-8D3C-9C0BBFFDD943}"/>
                </a:ext>
              </a:extLst>
            </p:cNvPr>
            <p:cNvSpPr/>
            <p:nvPr/>
          </p:nvSpPr>
          <p:spPr bwMode="auto">
            <a:xfrm>
              <a:off x="8251744" y="5722204"/>
              <a:ext cx="873919" cy="22819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Custom Risk</a:t>
              </a:r>
              <a:endParaRPr kumimoji="0" lang="en-GB" sz="800" b="0" i="1" u="none" strike="noStrike" cap="none" normalizeH="0" baseline="0">
                <a:ln>
                  <a:noFill/>
                </a:ln>
                <a:effectLst/>
                <a:latin typeface="Trebuchet MS" panose="020B0603020202020204" pitchFamily="34" charset="0"/>
              </a:endParaRPr>
            </a:p>
          </p:txBody>
        </p:sp>
        <p:sp>
          <p:nvSpPr>
            <p:cNvPr id="146" name="Rectangle 145">
              <a:extLst>
                <a:ext uri="{FF2B5EF4-FFF2-40B4-BE49-F238E27FC236}">
                  <a16:creationId xmlns:a16="http://schemas.microsoft.com/office/drawing/2014/main" id="{8D910814-18DF-4D44-8B53-3BEA3048E8B0}"/>
                </a:ext>
              </a:extLst>
            </p:cNvPr>
            <p:cNvSpPr/>
            <p:nvPr/>
          </p:nvSpPr>
          <p:spPr bwMode="auto">
            <a:xfrm>
              <a:off x="8159982" y="5949270"/>
              <a:ext cx="1057442" cy="35090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External enrichment</a:t>
              </a:r>
              <a:endParaRPr kumimoji="0" lang="en-GB" sz="800" b="0" i="1" u="none" strike="noStrike" cap="none" normalizeH="0" baseline="0">
                <a:ln>
                  <a:noFill/>
                </a:ln>
                <a:effectLst/>
                <a:latin typeface="Trebuchet MS" panose="020B0603020202020204" pitchFamily="34" charset="0"/>
              </a:endParaRPr>
            </a:p>
          </p:txBody>
        </p:sp>
        <p:sp>
          <p:nvSpPr>
            <p:cNvPr id="147" name="Rectangle 146">
              <a:extLst>
                <a:ext uri="{FF2B5EF4-FFF2-40B4-BE49-F238E27FC236}">
                  <a16:creationId xmlns:a16="http://schemas.microsoft.com/office/drawing/2014/main" id="{E200CBD7-3D4F-4B97-96F1-F2C1AEB45B2C}"/>
                </a:ext>
              </a:extLst>
            </p:cNvPr>
            <p:cNvSpPr/>
            <p:nvPr/>
          </p:nvSpPr>
          <p:spPr bwMode="auto">
            <a:xfrm>
              <a:off x="9024383" y="5654786"/>
              <a:ext cx="722247" cy="22819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Mobile app.</a:t>
              </a:r>
              <a:endParaRPr kumimoji="0" lang="en-GB" sz="800" b="0" i="1" u="none" strike="noStrike" cap="none" normalizeH="0" baseline="0">
                <a:ln>
                  <a:noFill/>
                </a:ln>
                <a:effectLst/>
                <a:latin typeface="Trebuchet MS" panose="020B0603020202020204" pitchFamily="34" charset="0"/>
              </a:endParaRPr>
            </a:p>
          </p:txBody>
        </p:sp>
        <p:sp>
          <p:nvSpPr>
            <p:cNvPr id="148" name="Rectangle 147">
              <a:extLst>
                <a:ext uri="{FF2B5EF4-FFF2-40B4-BE49-F238E27FC236}">
                  <a16:creationId xmlns:a16="http://schemas.microsoft.com/office/drawing/2014/main" id="{30DA637B-D1A1-4C0E-8DE7-0A9324D72BD7}"/>
                </a:ext>
              </a:extLst>
            </p:cNvPr>
            <p:cNvSpPr/>
            <p:nvPr/>
          </p:nvSpPr>
          <p:spPr bwMode="auto">
            <a:xfrm>
              <a:off x="8969911" y="5993860"/>
              <a:ext cx="831189" cy="28694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CRM alignment</a:t>
              </a:r>
              <a:endParaRPr kumimoji="0" lang="en-GB" sz="800" b="0" i="1" u="none" strike="noStrike" cap="none" normalizeH="0" baseline="0">
                <a:ln>
                  <a:noFill/>
                </a:ln>
                <a:effectLst/>
                <a:latin typeface="Trebuchet MS" panose="020B0603020202020204" pitchFamily="34" charset="0"/>
              </a:endParaRPr>
            </a:p>
          </p:txBody>
        </p:sp>
        <p:sp>
          <p:nvSpPr>
            <p:cNvPr id="149" name="Rectangle 148">
              <a:extLst>
                <a:ext uri="{FF2B5EF4-FFF2-40B4-BE49-F238E27FC236}">
                  <a16:creationId xmlns:a16="http://schemas.microsoft.com/office/drawing/2014/main" id="{315DFE65-9335-43DD-B3F2-1689F1A261A6}"/>
                </a:ext>
              </a:extLst>
            </p:cNvPr>
            <p:cNvSpPr/>
            <p:nvPr/>
          </p:nvSpPr>
          <p:spPr bwMode="auto">
            <a:xfrm>
              <a:off x="2533352" y="2451929"/>
              <a:ext cx="1105174" cy="32176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Pilotage” module</a:t>
              </a:r>
              <a:endParaRPr kumimoji="0" lang="en-GB" sz="800" b="0" i="1" u="none" strike="noStrike" cap="none" normalizeH="0" baseline="0">
                <a:ln>
                  <a:noFill/>
                </a:ln>
                <a:effectLst/>
                <a:latin typeface="Trebuchet MS" panose="020B0603020202020204" pitchFamily="34" charset="0"/>
              </a:endParaRPr>
            </a:p>
          </p:txBody>
        </p:sp>
        <p:sp>
          <p:nvSpPr>
            <p:cNvPr id="150" name="Rectangle 149">
              <a:extLst>
                <a:ext uri="{FF2B5EF4-FFF2-40B4-BE49-F238E27FC236}">
                  <a16:creationId xmlns:a16="http://schemas.microsoft.com/office/drawing/2014/main" id="{7666E60F-C55B-4AA9-87CA-D20350DF10E3}"/>
                </a:ext>
              </a:extLst>
            </p:cNvPr>
            <p:cNvSpPr/>
            <p:nvPr/>
          </p:nvSpPr>
          <p:spPr bwMode="auto">
            <a:xfrm>
              <a:off x="6054599" y="5669138"/>
              <a:ext cx="998377" cy="35194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accent1"/>
                  </a:solidFill>
                  <a:latin typeface="Trebuchet MS" panose="020B0603020202020204" pitchFamily="34" charset="0"/>
                </a:rPr>
                <a:t>Enrichment: Local Data</a:t>
              </a:r>
              <a:endParaRPr kumimoji="0" lang="en-GB" sz="800" b="0" i="1" u="none" strike="noStrike" cap="none" normalizeH="0" baseline="0">
                <a:ln>
                  <a:noFill/>
                </a:ln>
                <a:solidFill>
                  <a:schemeClr val="accent1"/>
                </a:solidFill>
                <a:effectLst/>
                <a:latin typeface="Trebuchet MS" panose="020B0603020202020204" pitchFamily="34" charset="0"/>
              </a:endParaRPr>
            </a:p>
          </p:txBody>
        </p:sp>
        <p:sp>
          <p:nvSpPr>
            <p:cNvPr id="151" name="Rectangle 150">
              <a:extLst>
                <a:ext uri="{FF2B5EF4-FFF2-40B4-BE49-F238E27FC236}">
                  <a16:creationId xmlns:a16="http://schemas.microsoft.com/office/drawing/2014/main" id="{70A649FF-AD3A-4FF9-84F5-93C857AC648D}"/>
                </a:ext>
              </a:extLst>
            </p:cNvPr>
            <p:cNvSpPr/>
            <p:nvPr/>
          </p:nvSpPr>
          <p:spPr bwMode="auto">
            <a:xfrm>
              <a:off x="4723712" y="5038228"/>
              <a:ext cx="1057442" cy="29086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accent1"/>
                  </a:solidFill>
                  <a:latin typeface="Trebuchet MS" panose="020B0603020202020204" pitchFamily="34" charset="0"/>
                </a:rPr>
                <a:t>Rebranding</a:t>
              </a:r>
              <a:endParaRPr kumimoji="0" lang="en-GB" sz="800" b="0" i="1" u="none" strike="noStrike" cap="none" normalizeH="0" baseline="0">
                <a:ln>
                  <a:noFill/>
                </a:ln>
                <a:solidFill>
                  <a:schemeClr val="accent1"/>
                </a:solidFill>
                <a:effectLst/>
                <a:latin typeface="Trebuchet MS" panose="020B0603020202020204" pitchFamily="34" charset="0"/>
              </a:endParaRPr>
            </a:p>
          </p:txBody>
        </p:sp>
        <p:sp>
          <p:nvSpPr>
            <p:cNvPr id="152" name="Rectangle 151">
              <a:extLst>
                <a:ext uri="{FF2B5EF4-FFF2-40B4-BE49-F238E27FC236}">
                  <a16:creationId xmlns:a16="http://schemas.microsoft.com/office/drawing/2014/main" id="{C5F34115-9A65-4ED1-A8D9-E37BFB7B2242}"/>
                </a:ext>
              </a:extLst>
            </p:cNvPr>
            <p:cNvSpPr/>
            <p:nvPr/>
          </p:nvSpPr>
          <p:spPr bwMode="auto">
            <a:xfrm>
              <a:off x="4714467" y="5320281"/>
              <a:ext cx="1057442" cy="29086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accent1"/>
                  </a:solidFill>
                  <a:latin typeface="Trebuchet MS" panose="020B0603020202020204" pitchFamily="34" charset="0"/>
                </a:rPr>
                <a:t>UX improvements</a:t>
              </a:r>
              <a:endParaRPr kumimoji="0" lang="en-GB" sz="800" b="0" i="1" u="none" strike="noStrike" cap="none" normalizeH="0" baseline="0">
                <a:ln>
                  <a:noFill/>
                </a:ln>
                <a:solidFill>
                  <a:schemeClr val="accent1"/>
                </a:solidFill>
                <a:effectLst/>
                <a:latin typeface="Trebuchet MS" panose="020B0603020202020204" pitchFamily="34" charset="0"/>
              </a:endParaRPr>
            </a:p>
          </p:txBody>
        </p:sp>
        <p:sp>
          <p:nvSpPr>
            <p:cNvPr id="153" name="Rectangle 152">
              <a:extLst>
                <a:ext uri="{FF2B5EF4-FFF2-40B4-BE49-F238E27FC236}">
                  <a16:creationId xmlns:a16="http://schemas.microsoft.com/office/drawing/2014/main" id="{98A3380F-2BF3-4152-8056-C93CE3CD586D}"/>
                </a:ext>
              </a:extLst>
            </p:cNvPr>
            <p:cNvSpPr/>
            <p:nvPr/>
          </p:nvSpPr>
          <p:spPr bwMode="auto">
            <a:xfrm>
              <a:off x="5848109" y="4751120"/>
              <a:ext cx="1057442" cy="29086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accent1"/>
                  </a:solidFill>
                  <a:latin typeface="Trebuchet MS" panose="020B0603020202020204" pitchFamily="34" charset="0"/>
                </a:rPr>
                <a:t>CRM connector</a:t>
              </a:r>
              <a:endParaRPr kumimoji="0" lang="en-GB" sz="800" b="0" i="1" u="none" strike="noStrike" cap="none" normalizeH="0" baseline="0">
                <a:ln>
                  <a:noFill/>
                </a:ln>
                <a:solidFill>
                  <a:schemeClr val="accent1"/>
                </a:solidFill>
                <a:effectLst/>
                <a:latin typeface="Trebuchet MS" panose="020B0603020202020204" pitchFamily="34" charset="0"/>
              </a:endParaRPr>
            </a:p>
          </p:txBody>
        </p:sp>
        <p:sp>
          <p:nvSpPr>
            <p:cNvPr id="154" name="Rectangle 153">
              <a:extLst>
                <a:ext uri="{FF2B5EF4-FFF2-40B4-BE49-F238E27FC236}">
                  <a16:creationId xmlns:a16="http://schemas.microsoft.com/office/drawing/2014/main" id="{897DEE48-EB90-4491-BBB0-4028B531D17B}"/>
                </a:ext>
              </a:extLst>
            </p:cNvPr>
            <p:cNvSpPr/>
            <p:nvPr/>
          </p:nvSpPr>
          <p:spPr bwMode="auto">
            <a:xfrm>
              <a:off x="5955953" y="5046338"/>
              <a:ext cx="885185" cy="29086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accent1"/>
                  </a:solidFill>
                  <a:latin typeface="Trebuchet MS" panose="020B0603020202020204" pitchFamily="34" charset="0"/>
                </a:rPr>
                <a:t>New French data</a:t>
              </a:r>
              <a:endParaRPr kumimoji="0" lang="en-GB" sz="800" b="0" i="1" u="none" strike="noStrike" cap="none" normalizeH="0" baseline="0">
                <a:ln>
                  <a:noFill/>
                </a:ln>
                <a:solidFill>
                  <a:schemeClr val="accent1"/>
                </a:solidFill>
                <a:effectLst/>
                <a:latin typeface="Trebuchet MS" panose="020B0603020202020204" pitchFamily="34" charset="0"/>
              </a:endParaRPr>
            </a:p>
          </p:txBody>
        </p:sp>
        <p:sp>
          <p:nvSpPr>
            <p:cNvPr id="155" name="Rectangle 154">
              <a:extLst>
                <a:ext uri="{FF2B5EF4-FFF2-40B4-BE49-F238E27FC236}">
                  <a16:creationId xmlns:a16="http://schemas.microsoft.com/office/drawing/2014/main" id="{637EB544-C2D1-46F3-A07C-2C569ECCC177}"/>
                </a:ext>
              </a:extLst>
            </p:cNvPr>
            <p:cNvSpPr/>
            <p:nvPr/>
          </p:nvSpPr>
          <p:spPr bwMode="auto">
            <a:xfrm>
              <a:off x="5876488" y="5364428"/>
              <a:ext cx="1033843" cy="29086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accent1"/>
                  </a:solidFill>
                  <a:latin typeface="Trebuchet MS" panose="020B0603020202020204" pitchFamily="34" charset="0"/>
                </a:rPr>
                <a:t>Reporting module</a:t>
              </a:r>
              <a:endParaRPr kumimoji="0" lang="en-GB" sz="800" b="0" i="1" u="none" strike="noStrike" cap="none" normalizeH="0" baseline="0">
                <a:ln>
                  <a:noFill/>
                </a:ln>
                <a:solidFill>
                  <a:schemeClr val="accent1"/>
                </a:solidFill>
                <a:effectLst/>
                <a:latin typeface="Trebuchet MS" panose="020B0603020202020204" pitchFamily="34" charset="0"/>
              </a:endParaRPr>
            </a:p>
          </p:txBody>
        </p:sp>
        <p:sp>
          <p:nvSpPr>
            <p:cNvPr id="156" name="Rectangle 155">
              <a:extLst>
                <a:ext uri="{FF2B5EF4-FFF2-40B4-BE49-F238E27FC236}">
                  <a16:creationId xmlns:a16="http://schemas.microsoft.com/office/drawing/2014/main" id="{2E6F5396-3AEF-40B0-9A66-F1FED486817F}"/>
                </a:ext>
              </a:extLst>
            </p:cNvPr>
            <p:cNvSpPr/>
            <p:nvPr/>
          </p:nvSpPr>
          <p:spPr bwMode="auto">
            <a:xfrm>
              <a:off x="7010396" y="4716961"/>
              <a:ext cx="1033843" cy="29086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Dynamic list</a:t>
              </a:r>
              <a:endParaRPr kumimoji="0" lang="en-GB" sz="800" b="0" i="1" u="none" strike="noStrike" cap="none" normalizeH="0" baseline="0">
                <a:ln>
                  <a:noFill/>
                </a:ln>
                <a:effectLst/>
                <a:latin typeface="Trebuchet MS" panose="020B0603020202020204" pitchFamily="34" charset="0"/>
              </a:endParaRPr>
            </a:p>
          </p:txBody>
        </p:sp>
        <p:sp>
          <p:nvSpPr>
            <p:cNvPr id="157" name="Rectangle 156">
              <a:extLst>
                <a:ext uri="{FF2B5EF4-FFF2-40B4-BE49-F238E27FC236}">
                  <a16:creationId xmlns:a16="http://schemas.microsoft.com/office/drawing/2014/main" id="{AD507515-8B4C-4F3D-964B-301601A75C06}"/>
                </a:ext>
              </a:extLst>
            </p:cNvPr>
            <p:cNvSpPr/>
            <p:nvPr/>
          </p:nvSpPr>
          <p:spPr bwMode="auto">
            <a:xfrm>
              <a:off x="7030479" y="5135461"/>
              <a:ext cx="1033843" cy="29086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err="1">
                  <a:latin typeface="Trebuchet MS" panose="020B0603020202020204" pitchFamily="34" charset="0"/>
                </a:rPr>
                <a:t>intuiz</a:t>
              </a:r>
              <a:r>
                <a:rPr lang="en-GB" sz="800" i="1">
                  <a:latin typeface="Trebuchet MS" panose="020B0603020202020204" pitchFamily="34" charset="0"/>
                </a:rPr>
                <a:t>+ link</a:t>
              </a:r>
              <a:endParaRPr kumimoji="0" lang="en-GB" sz="800" b="0" i="1" u="none" strike="noStrike" cap="none" normalizeH="0" baseline="0">
                <a:ln>
                  <a:noFill/>
                </a:ln>
                <a:effectLst/>
                <a:latin typeface="Trebuchet MS" panose="020B0603020202020204" pitchFamily="34" charset="0"/>
              </a:endParaRPr>
            </a:p>
          </p:txBody>
        </p:sp>
        <p:sp>
          <p:nvSpPr>
            <p:cNvPr id="158" name="Rectangle 157">
              <a:extLst>
                <a:ext uri="{FF2B5EF4-FFF2-40B4-BE49-F238E27FC236}">
                  <a16:creationId xmlns:a16="http://schemas.microsoft.com/office/drawing/2014/main" id="{AFD31945-6375-40D4-BBAA-3F63D96D92AA}"/>
                </a:ext>
              </a:extLst>
            </p:cNvPr>
            <p:cNvSpPr/>
            <p:nvPr/>
          </p:nvSpPr>
          <p:spPr bwMode="auto">
            <a:xfrm>
              <a:off x="7037901" y="5369689"/>
              <a:ext cx="1033843" cy="29086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Marketing tool connexion </a:t>
              </a:r>
              <a:endParaRPr kumimoji="0" lang="en-GB" sz="800" b="0" i="1" u="none" strike="noStrike" cap="none" normalizeH="0" baseline="0">
                <a:ln>
                  <a:noFill/>
                </a:ln>
                <a:effectLst/>
                <a:latin typeface="Trebuchet MS" panose="020B0603020202020204" pitchFamily="34" charset="0"/>
              </a:endParaRPr>
            </a:p>
          </p:txBody>
        </p:sp>
        <p:sp>
          <p:nvSpPr>
            <p:cNvPr id="159" name="Rectangle 158">
              <a:extLst>
                <a:ext uri="{FF2B5EF4-FFF2-40B4-BE49-F238E27FC236}">
                  <a16:creationId xmlns:a16="http://schemas.microsoft.com/office/drawing/2014/main" id="{84666F24-FE72-4052-A35B-4048860B27EF}"/>
                </a:ext>
              </a:extLst>
            </p:cNvPr>
            <p:cNvSpPr/>
            <p:nvPr/>
          </p:nvSpPr>
          <p:spPr bwMode="auto">
            <a:xfrm>
              <a:off x="7926177" y="4769831"/>
              <a:ext cx="1033843" cy="29086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Points of interest adoption </a:t>
              </a:r>
              <a:endParaRPr kumimoji="0" lang="en-GB" sz="800" b="0" i="1" u="none" strike="noStrike" cap="none" normalizeH="0" baseline="0">
                <a:ln>
                  <a:noFill/>
                </a:ln>
                <a:effectLst/>
                <a:latin typeface="Trebuchet MS" panose="020B0603020202020204" pitchFamily="34" charset="0"/>
              </a:endParaRPr>
            </a:p>
          </p:txBody>
        </p:sp>
        <p:sp>
          <p:nvSpPr>
            <p:cNvPr id="160" name="Rectangle 159">
              <a:extLst>
                <a:ext uri="{FF2B5EF4-FFF2-40B4-BE49-F238E27FC236}">
                  <a16:creationId xmlns:a16="http://schemas.microsoft.com/office/drawing/2014/main" id="{B72F441F-D2B8-4B0C-AD69-0B3BC2B7F7B0}"/>
                </a:ext>
              </a:extLst>
            </p:cNvPr>
            <p:cNvSpPr/>
            <p:nvPr/>
          </p:nvSpPr>
          <p:spPr bwMode="auto">
            <a:xfrm>
              <a:off x="7926177" y="5385367"/>
              <a:ext cx="1033843" cy="29086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err="1">
                  <a:latin typeface="Trebuchet MS" panose="020B0603020202020204" pitchFamily="34" charset="0"/>
                </a:rPr>
                <a:t>Xls</a:t>
              </a:r>
              <a:r>
                <a:rPr lang="en-GB" sz="800" i="1">
                  <a:latin typeface="Trebuchet MS" panose="020B0603020202020204" pitchFamily="34" charset="0"/>
                </a:rPr>
                <a:t> export</a:t>
              </a:r>
              <a:endParaRPr kumimoji="0" lang="en-GB" sz="800" b="0" i="1" u="none" strike="noStrike" cap="none" normalizeH="0" baseline="0">
                <a:ln>
                  <a:noFill/>
                </a:ln>
                <a:effectLst/>
                <a:latin typeface="Trebuchet MS" panose="020B0603020202020204" pitchFamily="34" charset="0"/>
              </a:endParaRPr>
            </a:p>
          </p:txBody>
        </p:sp>
        <p:sp>
          <p:nvSpPr>
            <p:cNvPr id="162" name="Rectangle 161">
              <a:extLst>
                <a:ext uri="{FF2B5EF4-FFF2-40B4-BE49-F238E27FC236}">
                  <a16:creationId xmlns:a16="http://schemas.microsoft.com/office/drawing/2014/main" id="{E199551F-C1EA-415A-8486-557CC2DF197D}"/>
                </a:ext>
              </a:extLst>
            </p:cNvPr>
            <p:cNvSpPr/>
            <p:nvPr/>
          </p:nvSpPr>
          <p:spPr bwMode="auto">
            <a:xfrm>
              <a:off x="3663352" y="2451930"/>
              <a:ext cx="1105164" cy="34220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effectLst/>
                  <a:latin typeface="Trebuchet MS" panose="020B0603020202020204" pitchFamily="34" charset="0"/>
                </a:rPr>
                <a:t>Compliance widge</a:t>
              </a:r>
              <a:r>
                <a:rPr lang="en-GB" sz="800" i="1">
                  <a:latin typeface="Trebuchet MS" panose="020B0603020202020204" pitchFamily="34" charset="0"/>
                </a:rPr>
                <a:t>t </a:t>
              </a:r>
              <a:endParaRPr kumimoji="0" lang="en-GB" sz="800" b="0" i="1" u="none" strike="noStrike" cap="none" normalizeH="0" baseline="0">
                <a:ln>
                  <a:noFill/>
                </a:ln>
                <a:effectLst/>
                <a:latin typeface="Trebuchet MS" panose="020B0603020202020204" pitchFamily="34" charset="0"/>
              </a:endParaRPr>
            </a:p>
          </p:txBody>
        </p:sp>
        <p:sp>
          <p:nvSpPr>
            <p:cNvPr id="163" name="Rectangle 162">
              <a:extLst>
                <a:ext uri="{FF2B5EF4-FFF2-40B4-BE49-F238E27FC236}">
                  <a16:creationId xmlns:a16="http://schemas.microsoft.com/office/drawing/2014/main" id="{FAF74AC4-BFF6-4245-9A3A-9D12F65D6426}"/>
                </a:ext>
              </a:extLst>
            </p:cNvPr>
            <p:cNvSpPr/>
            <p:nvPr/>
          </p:nvSpPr>
          <p:spPr bwMode="auto">
            <a:xfrm>
              <a:off x="4598450" y="2441463"/>
              <a:ext cx="1105174" cy="22656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Decision module </a:t>
              </a:r>
              <a:endParaRPr kumimoji="0" lang="en-GB" sz="800" b="0" i="1" u="none" strike="noStrike" cap="none" normalizeH="0" baseline="0">
                <a:ln>
                  <a:noFill/>
                </a:ln>
                <a:effectLst/>
                <a:latin typeface="Trebuchet MS" panose="020B0603020202020204" pitchFamily="34" charset="0"/>
              </a:endParaRPr>
            </a:p>
          </p:txBody>
        </p:sp>
        <p:sp>
          <p:nvSpPr>
            <p:cNvPr id="164" name="Rectangle 163">
              <a:extLst>
                <a:ext uri="{FF2B5EF4-FFF2-40B4-BE49-F238E27FC236}">
                  <a16:creationId xmlns:a16="http://schemas.microsoft.com/office/drawing/2014/main" id="{846A3408-1184-4913-81B2-312A96ECA25C}"/>
                </a:ext>
              </a:extLst>
            </p:cNvPr>
            <p:cNvSpPr/>
            <p:nvPr/>
          </p:nvSpPr>
          <p:spPr bwMode="auto">
            <a:xfrm>
              <a:off x="4693013" y="2727528"/>
              <a:ext cx="1018651" cy="32829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Capital links tree</a:t>
              </a:r>
              <a:endParaRPr kumimoji="0" lang="en-GB" sz="800" b="0" i="1" u="none" strike="noStrike" cap="none" normalizeH="0" baseline="0">
                <a:ln>
                  <a:noFill/>
                </a:ln>
                <a:effectLst/>
                <a:latin typeface="Trebuchet MS" panose="020B0603020202020204" pitchFamily="34" charset="0"/>
              </a:endParaRPr>
            </a:p>
          </p:txBody>
        </p:sp>
        <p:sp>
          <p:nvSpPr>
            <p:cNvPr id="165" name="Rectangle 164">
              <a:extLst>
                <a:ext uri="{FF2B5EF4-FFF2-40B4-BE49-F238E27FC236}">
                  <a16:creationId xmlns:a16="http://schemas.microsoft.com/office/drawing/2014/main" id="{DA9B24E9-5D82-4677-8D8D-25EFBF76FEE1}"/>
                </a:ext>
              </a:extLst>
            </p:cNvPr>
            <p:cNvSpPr/>
            <p:nvPr/>
          </p:nvSpPr>
          <p:spPr bwMode="auto">
            <a:xfrm>
              <a:off x="5954915" y="2475740"/>
              <a:ext cx="1018651" cy="32829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Personalized reporting, alerts</a:t>
              </a:r>
              <a:endParaRPr kumimoji="0" lang="en-GB" sz="800" b="0" i="1" u="none" strike="noStrike" cap="none" normalizeH="0" baseline="0">
                <a:ln>
                  <a:noFill/>
                </a:ln>
                <a:effectLst/>
                <a:latin typeface="Trebuchet MS" panose="020B0603020202020204" pitchFamily="34" charset="0"/>
              </a:endParaRPr>
            </a:p>
          </p:txBody>
        </p:sp>
        <p:sp>
          <p:nvSpPr>
            <p:cNvPr id="166" name="Rectangle 165">
              <a:extLst>
                <a:ext uri="{FF2B5EF4-FFF2-40B4-BE49-F238E27FC236}">
                  <a16:creationId xmlns:a16="http://schemas.microsoft.com/office/drawing/2014/main" id="{7D2488D1-8A8F-41E1-A7D1-CB471EAFDCFB}"/>
                </a:ext>
              </a:extLst>
            </p:cNvPr>
            <p:cNvSpPr/>
            <p:nvPr/>
          </p:nvSpPr>
          <p:spPr bwMode="auto">
            <a:xfrm>
              <a:off x="7251826" y="2419655"/>
              <a:ext cx="1602975" cy="64208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Digital identity of company (URL, social media), Google search module, Open Data</a:t>
              </a:r>
              <a:endParaRPr kumimoji="0" lang="en-GB" sz="800" b="0" i="1" u="none" strike="noStrike" cap="none" normalizeH="0" baseline="0">
                <a:ln>
                  <a:noFill/>
                </a:ln>
                <a:effectLst/>
                <a:latin typeface="Trebuchet MS" panose="020B0603020202020204" pitchFamily="34" charset="0"/>
              </a:endParaRPr>
            </a:p>
          </p:txBody>
        </p:sp>
        <p:sp>
          <p:nvSpPr>
            <p:cNvPr id="103" name="Rectangle 102">
              <a:extLst>
                <a:ext uri="{FF2B5EF4-FFF2-40B4-BE49-F238E27FC236}">
                  <a16:creationId xmlns:a16="http://schemas.microsoft.com/office/drawing/2014/main" id="{47C64CF9-9CB1-4C72-A4EE-DF8B18646351}"/>
                </a:ext>
              </a:extLst>
            </p:cNvPr>
            <p:cNvSpPr/>
            <p:nvPr/>
          </p:nvSpPr>
          <p:spPr bwMode="auto">
            <a:xfrm>
              <a:off x="4558920" y="2204545"/>
              <a:ext cx="692151" cy="18531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600" b="0" i="1" u="none" strike="noStrike" cap="none" normalizeH="0" baseline="0">
                  <a:ln>
                    <a:noFill/>
                  </a:ln>
                  <a:solidFill>
                    <a:schemeClr val="accent1"/>
                  </a:solidFill>
                  <a:effectLst/>
                  <a:latin typeface="Trebuchet MS" panose="020B0603020202020204" pitchFamily="34" charset="0"/>
                </a:rPr>
                <a:t>Today</a:t>
              </a:r>
            </a:p>
          </p:txBody>
        </p:sp>
        <p:sp>
          <p:nvSpPr>
            <p:cNvPr id="115" name="Flèche : droite 114">
              <a:extLst>
                <a:ext uri="{FF2B5EF4-FFF2-40B4-BE49-F238E27FC236}">
                  <a16:creationId xmlns:a16="http://schemas.microsoft.com/office/drawing/2014/main" id="{38948841-EE58-40BF-AA4E-6FC41773A34E}"/>
                </a:ext>
              </a:extLst>
            </p:cNvPr>
            <p:cNvSpPr/>
            <p:nvPr/>
          </p:nvSpPr>
          <p:spPr bwMode="auto">
            <a:xfrm>
              <a:off x="4894739" y="6290150"/>
              <a:ext cx="4851891" cy="204595"/>
            </a:xfrm>
            <a:prstGeom prst="rightArrow">
              <a:avLst/>
            </a:prstGeom>
            <a:no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accent1"/>
                  </a:solidFill>
                  <a:latin typeface="Trebuchet MS" panose="020B0603020202020204" pitchFamily="34" charset="0"/>
                </a:rPr>
                <a:t>Self service portal</a:t>
              </a:r>
              <a:endParaRPr kumimoji="0" lang="en-GB" sz="800" b="0" i="1" u="none" strike="noStrike" cap="none" normalizeH="0" baseline="0">
                <a:ln>
                  <a:noFill/>
                </a:ln>
                <a:solidFill>
                  <a:schemeClr val="accent1"/>
                </a:solidFill>
                <a:effectLst/>
                <a:latin typeface="Trebuchet MS" panose="020B0603020202020204" pitchFamily="34" charset="0"/>
              </a:endParaRPr>
            </a:p>
          </p:txBody>
        </p:sp>
        <p:sp>
          <p:nvSpPr>
            <p:cNvPr id="122" name="Rectangle 121">
              <a:extLst>
                <a:ext uri="{FF2B5EF4-FFF2-40B4-BE49-F238E27FC236}">
                  <a16:creationId xmlns:a16="http://schemas.microsoft.com/office/drawing/2014/main" id="{84E379AF-53CF-439B-A4DE-A2C83D03E40E}"/>
                </a:ext>
              </a:extLst>
            </p:cNvPr>
            <p:cNvSpPr/>
            <p:nvPr/>
          </p:nvSpPr>
          <p:spPr bwMode="auto">
            <a:xfrm>
              <a:off x="7483362" y="6007954"/>
              <a:ext cx="1057442" cy="34875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Enrichment: Compliance </a:t>
              </a:r>
              <a:endParaRPr kumimoji="0" lang="en-GB" sz="800" b="0" i="1" u="none" strike="noStrike" cap="none" normalizeH="0" baseline="0">
                <a:ln>
                  <a:noFill/>
                </a:ln>
                <a:effectLst/>
                <a:latin typeface="Trebuchet MS" panose="020B0603020202020204" pitchFamily="34" charset="0"/>
              </a:endParaRPr>
            </a:p>
          </p:txBody>
        </p:sp>
        <p:sp>
          <p:nvSpPr>
            <p:cNvPr id="126" name="Rectangle 125">
              <a:extLst>
                <a:ext uri="{FF2B5EF4-FFF2-40B4-BE49-F238E27FC236}">
                  <a16:creationId xmlns:a16="http://schemas.microsoft.com/office/drawing/2014/main" id="{714953B7-0904-4043-9C9F-6A48D355DA86}"/>
                </a:ext>
              </a:extLst>
            </p:cNvPr>
            <p:cNvSpPr/>
            <p:nvPr/>
          </p:nvSpPr>
          <p:spPr bwMode="auto">
            <a:xfrm>
              <a:off x="8829201" y="5091263"/>
              <a:ext cx="831189" cy="23714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a:t>
              </a:r>
              <a:endParaRPr kumimoji="0" lang="en-GB" sz="800" b="0" i="1" u="none" strike="noStrike" cap="none" normalizeH="0" baseline="0">
                <a:ln>
                  <a:noFill/>
                </a:ln>
                <a:effectLst/>
                <a:latin typeface="Trebuchet MS" panose="020B0603020202020204" pitchFamily="34" charset="0"/>
              </a:endParaRPr>
            </a:p>
          </p:txBody>
        </p:sp>
        <p:sp>
          <p:nvSpPr>
            <p:cNvPr id="131" name="Rectangle 130">
              <a:extLst>
                <a:ext uri="{FF2B5EF4-FFF2-40B4-BE49-F238E27FC236}">
                  <a16:creationId xmlns:a16="http://schemas.microsoft.com/office/drawing/2014/main" id="{7B6E3364-38A5-448C-A34A-8C66B4A70522}"/>
                </a:ext>
              </a:extLst>
            </p:cNvPr>
            <p:cNvSpPr/>
            <p:nvPr/>
          </p:nvSpPr>
          <p:spPr bwMode="auto">
            <a:xfrm>
              <a:off x="8246514" y="4018134"/>
              <a:ext cx="831189" cy="28694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a:t>
              </a:r>
              <a:endParaRPr kumimoji="0" lang="en-GB" sz="800" b="0" i="1" u="none" strike="noStrike" cap="none" normalizeH="0" baseline="0">
                <a:ln>
                  <a:noFill/>
                </a:ln>
                <a:effectLst/>
                <a:latin typeface="Trebuchet MS" panose="020B0603020202020204" pitchFamily="34" charset="0"/>
              </a:endParaRPr>
            </a:p>
          </p:txBody>
        </p:sp>
        <p:sp>
          <p:nvSpPr>
            <p:cNvPr id="133" name="Rectangle 132">
              <a:extLst>
                <a:ext uri="{FF2B5EF4-FFF2-40B4-BE49-F238E27FC236}">
                  <a16:creationId xmlns:a16="http://schemas.microsoft.com/office/drawing/2014/main" id="{049E6BEF-E019-47CB-8838-3845C6790C69}"/>
                </a:ext>
              </a:extLst>
            </p:cNvPr>
            <p:cNvSpPr/>
            <p:nvPr/>
          </p:nvSpPr>
          <p:spPr bwMode="auto">
            <a:xfrm>
              <a:off x="8246514" y="3578490"/>
              <a:ext cx="831189" cy="28694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a:t>
              </a:r>
              <a:endParaRPr kumimoji="0" lang="en-GB" sz="800" b="0" i="1" u="none" strike="noStrike" cap="none" normalizeH="0" baseline="0">
                <a:ln>
                  <a:noFill/>
                </a:ln>
                <a:effectLst/>
                <a:latin typeface="Trebuchet MS" panose="020B0603020202020204" pitchFamily="34" charset="0"/>
              </a:endParaRPr>
            </a:p>
          </p:txBody>
        </p:sp>
        <p:sp>
          <p:nvSpPr>
            <p:cNvPr id="167" name="Rectangle 166">
              <a:extLst>
                <a:ext uri="{FF2B5EF4-FFF2-40B4-BE49-F238E27FC236}">
                  <a16:creationId xmlns:a16="http://schemas.microsoft.com/office/drawing/2014/main" id="{0AA9074B-9DB2-4C8B-81AB-6350E01A24EA}"/>
                </a:ext>
              </a:extLst>
            </p:cNvPr>
            <p:cNvSpPr/>
            <p:nvPr/>
          </p:nvSpPr>
          <p:spPr bwMode="auto">
            <a:xfrm>
              <a:off x="8246514" y="3137907"/>
              <a:ext cx="831189" cy="28694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a:t>
              </a:r>
              <a:endParaRPr kumimoji="0" lang="en-GB" sz="800" b="0" i="1" u="none" strike="noStrike" cap="none" normalizeH="0" baseline="0">
                <a:ln>
                  <a:noFill/>
                </a:ln>
                <a:effectLst/>
                <a:latin typeface="Trebuchet MS" panose="020B0603020202020204" pitchFamily="34" charset="0"/>
              </a:endParaRPr>
            </a:p>
          </p:txBody>
        </p:sp>
        <p:sp>
          <p:nvSpPr>
            <p:cNvPr id="168" name="Rectangle 167">
              <a:extLst>
                <a:ext uri="{FF2B5EF4-FFF2-40B4-BE49-F238E27FC236}">
                  <a16:creationId xmlns:a16="http://schemas.microsoft.com/office/drawing/2014/main" id="{37B9236C-2CB3-48D4-BFDC-7B520240BCAA}"/>
                </a:ext>
              </a:extLst>
            </p:cNvPr>
            <p:cNvSpPr/>
            <p:nvPr/>
          </p:nvSpPr>
          <p:spPr bwMode="auto">
            <a:xfrm>
              <a:off x="8911496" y="2698820"/>
              <a:ext cx="831189" cy="28694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a:t>
              </a:r>
              <a:endParaRPr kumimoji="0" lang="en-GB" sz="800" b="0" i="1" u="none" strike="noStrike" cap="none" normalizeH="0" baseline="0">
                <a:ln>
                  <a:noFill/>
                </a:ln>
                <a:effectLst/>
                <a:latin typeface="Trebuchet MS" panose="020B0603020202020204" pitchFamily="34" charset="0"/>
              </a:endParaRPr>
            </a:p>
          </p:txBody>
        </p:sp>
        <p:sp>
          <p:nvSpPr>
            <p:cNvPr id="169" name="Rectangle 168">
              <a:extLst>
                <a:ext uri="{FF2B5EF4-FFF2-40B4-BE49-F238E27FC236}">
                  <a16:creationId xmlns:a16="http://schemas.microsoft.com/office/drawing/2014/main" id="{223EA112-5E89-4FA0-822D-EDAAB4F77197}"/>
                </a:ext>
              </a:extLst>
            </p:cNvPr>
            <p:cNvSpPr/>
            <p:nvPr/>
          </p:nvSpPr>
          <p:spPr bwMode="auto">
            <a:xfrm>
              <a:off x="9466511" y="5900198"/>
              <a:ext cx="387756" cy="26085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a:t>
              </a:r>
              <a:endParaRPr kumimoji="0" lang="en-GB" sz="800" b="0" i="1" u="none" strike="noStrike" cap="none" normalizeH="0" baseline="0">
                <a:ln>
                  <a:noFill/>
                </a:ln>
                <a:effectLst/>
                <a:latin typeface="Trebuchet MS" panose="020B0603020202020204" pitchFamily="34" charset="0"/>
              </a:endParaRPr>
            </a:p>
          </p:txBody>
        </p:sp>
        <p:sp>
          <p:nvSpPr>
            <p:cNvPr id="13" name="Triangle isocèle 12">
              <a:extLst>
                <a:ext uri="{FF2B5EF4-FFF2-40B4-BE49-F238E27FC236}">
                  <a16:creationId xmlns:a16="http://schemas.microsoft.com/office/drawing/2014/main" id="{0D196125-5056-40A9-B5F0-9073B88F9964}"/>
                </a:ext>
              </a:extLst>
            </p:cNvPr>
            <p:cNvSpPr/>
            <p:nvPr/>
          </p:nvSpPr>
          <p:spPr bwMode="auto">
            <a:xfrm rot="5400000">
              <a:off x="5031657" y="2275878"/>
              <a:ext cx="130400" cy="80967"/>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14" name="Groupe 13">
              <a:extLst>
                <a:ext uri="{FF2B5EF4-FFF2-40B4-BE49-F238E27FC236}">
                  <a16:creationId xmlns:a16="http://schemas.microsoft.com/office/drawing/2014/main" id="{801C719C-3380-4E61-B659-B07E6523C3FF}"/>
                </a:ext>
              </a:extLst>
            </p:cNvPr>
            <p:cNvGrpSpPr/>
            <p:nvPr/>
          </p:nvGrpSpPr>
          <p:grpSpPr>
            <a:xfrm>
              <a:off x="5898354" y="3562618"/>
              <a:ext cx="240272" cy="159890"/>
              <a:chOff x="10925367" y="718148"/>
              <a:chExt cx="392950" cy="229697"/>
            </a:xfrm>
          </p:grpSpPr>
          <p:pic>
            <p:nvPicPr>
              <p:cNvPr id="170" name="Picture 2" descr="5 ft x 3 ft 150 x 90 cm-DRAPEAU BELGE Belgique 100% Polyester ...">
                <a:extLst>
                  <a:ext uri="{FF2B5EF4-FFF2-40B4-BE49-F238E27FC236}">
                    <a16:creationId xmlns:a16="http://schemas.microsoft.com/office/drawing/2014/main" id="{2A5470AC-29E3-4130-8090-5B81EC512DD4}"/>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10925367" y="718148"/>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71" name="Picture 2 - 1" descr="Drapeau des Pays-Bas — Wikipédia">
                <a:extLst>
                  <a:ext uri="{FF2B5EF4-FFF2-40B4-BE49-F238E27FC236}">
                    <a16:creationId xmlns:a16="http://schemas.microsoft.com/office/drawing/2014/main" id="{2DAE8BB3-6A67-425F-AC04-EF86E0B644B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048729" y="83984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72" name="Picture 2 - 2" descr="Drapeau du Luxembourg">
                <a:extLst>
                  <a:ext uri="{FF2B5EF4-FFF2-40B4-BE49-F238E27FC236}">
                    <a16:creationId xmlns:a16="http://schemas.microsoft.com/office/drawing/2014/main" id="{C685D789-9EE0-4F2A-9A71-81D32F4E7B1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138315" y="718148"/>
                <a:ext cx="180002" cy="108000"/>
              </a:xfrm>
              <a:prstGeom prst="rect">
                <a:avLst/>
              </a:prstGeom>
              <a:solidFill>
                <a:schemeClr val="bg1"/>
              </a:solidFill>
              <a:ln w="9525" cap="flat" cmpd="sng" algn="ctr">
                <a:noFill/>
                <a:prstDash val="solid"/>
                <a:round/>
                <a:headEnd type="none" w="med" len="med"/>
                <a:tailEnd type="none" w="med" len="med"/>
              </a:ln>
              <a:effectLst/>
            </p:spPr>
          </p:pic>
        </p:grpSp>
        <p:grpSp>
          <p:nvGrpSpPr>
            <p:cNvPr id="173" name="Groupe 172">
              <a:extLst>
                <a:ext uri="{FF2B5EF4-FFF2-40B4-BE49-F238E27FC236}">
                  <a16:creationId xmlns:a16="http://schemas.microsoft.com/office/drawing/2014/main" id="{E89E1EC6-7220-41AC-969E-3CD284125E89}"/>
                </a:ext>
              </a:extLst>
            </p:cNvPr>
            <p:cNvGrpSpPr/>
            <p:nvPr/>
          </p:nvGrpSpPr>
          <p:grpSpPr>
            <a:xfrm>
              <a:off x="6655072" y="3941517"/>
              <a:ext cx="240272" cy="159890"/>
              <a:chOff x="10925367" y="718148"/>
              <a:chExt cx="392950" cy="229697"/>
            </a:xfrm>
          </p:grpSpPr>
          <p:pic>
            <p:nvPicPr>
              <p:cNvPr id="174" name="Picture 2" descr="5 ft x 3 ft 150 x 90 cm-DRAPEAU BELGE Belgique 100% Polyester ...">
                <a:extLst>
                  <a:ext uri="{FF2B5EF4-FFF2-40B4-BE49-F238E27FC236}">
                    <a16:creationId xmlns:a16="http://schemas.microsoft.com/office/drawing/2014/main" id="{8728196D-1201-4C8A-9779-A3E13A8C0521}"/>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10925367" y="718148"/>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75" name="Picture 2 - 1" descr="Drapeau des Pays-Bas — Wikipédia">
                <a:extLst>
                  <a:ext uri="{FF2B5EF4-FFF2-40B4-BE49-F238E27FC236}">
                    <a16:creationId xmlns:a16="http://schemas.microsoft.com/office/drawing/2014/main" id="{D6BF4BCE-D7A8-4926-9F3C-7E24A7006D3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048729" y="83984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76" name="Picture 2 - 2" descr="Drapeau du Luxembourg">
                <a:extLst>
                  <a:ext uri="{FF2B5EF4-FFF2-40B4-BE49-F238E27FC236}">
                    <a16:creationId xmlns:a16="http://schemas.microsoft.com/office/drawing/2014/main" id="{C20469D9-FCAB-4A1C-9CDC-DCF77782324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138315" y="718148"/>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139" name="ZoneTexte 138">
              <a:extLst>
                <a:ext uri="{FF2B5EF4-FFF2-40B4-BE49-F238E27FC236}">
                  <a16:creationId xmlns:a16="http://schemas.microsoft.com/office/drawing/2014/main" id="{E86511A4-A376-40B9-A486-C240A821973B}"/>
                </a:ext>
              </a:extLst>
            </p:cNvPr>
            <p:cNvSpPr txBox="1"/>
            <p:nvPr/>
          </p:nvSpPr>
          <p:spPr>
            <a:xfrm>
              <a:off x="2587507" y="6138792"/>
              <a:ext cx="1920715" cy="36933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sz="900" i="1">
                  <a:solidFill>
                    <a:schemeClr val="tx2"/>
                  </a:solidFill>
                  <a:latin typeface="Trebuchet MS" pitchFamily="34" charset="0"/>
                </a:defRPr>
              </a:lvl1pPr>
            </a:lstStyle>
            <a:p>
              <a:r>
                <a:rPr lang="en-GB" sz="800"/>
                <a:t>Launch of new plug-in solutions in specialized software (e.g. SAP) </a:t>
              </a:r>
            </a:p>
          </p:txBody>
        </p:sp>
        <p:sp>
          <p:nvSpPr>
            <p:cNvPr id="195" name="Rectangle 194">
              <a:extLst>
                <a:ext uri="{FF2B5EF4-FFF2-40B4-BE49-F238E27FC236}">
                  <a16:creationId xmlns:a16="http://schemas.microsoft.com/office/drawing/2014/main" id="{93494226-FCF2-4C58-8D37-D285B0E7783F}"/>
                </a:ext>
              </a:extLst>
            </p:cNvPr>
            <p:cNvSpPr/>
            <p:nvPr/>
          </p:nvSpPr>
          <p:spPr bwMode="auto">
            <a:xfrm>
              <a:off x="1256183" y="5156522"/>
              <a:ext cx="1105174" cy="32176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Combined with </a:t>
              </a:r>
              <a:r>
                <a:rPr lang="en-GB" sz="800" i="1" err="1">
                  <a:latin typeface="Trebuchet MS" panose="020B0603020202020204" pitchFamily="34" charset="0"/>
                </a:rPr>
                <a:t>Manageo</a:t>
              </a:r>
              <a:r>
                <a:rPr lang="en-GB" sz="800" i="1">
                  <a:latin typeface="Trebuchet MS" panose="020B0603020202020204" pitchFamily="34" charset="0"/>
                </a:rPr>
                <a:t> products</a:t>
              </a:r>
              <a:endParaRPr kumimoji="0" lang="en-GB" sz="800" b="0" i="1" u="none" strike="noStrike" cap="none" normalizeH="0" baseline="0">
                <a:ln>
                  <a:noFill/>
                </a:ln>
                <a:effectLst/>
                <a:latin typeface="Trebuchet MS" panose="020B0603020202020204" pitchFamily="34" charset="0"/>
              </a:endParaRPr>
            </a:p>
          </p:txBody>
        </p:sp>
        <p:sp>
          <p:nvSpPr>
            <p:cNvPr id="15" name="Rectangle 14">
              <a:extLst>
                <a:ext uri="{FF2B5EF4-FFF2-40B4-BE49-F238E27FC236}">
                  <a16:creationId xmlns:a16="http://schemas.microsoft.com/office/drawing/2014/main" id="{8D6500A8-7FD9-4C7B-96A5-003DB7BAE898}"/>
                </a:ext>
              </a:extLst>
            </p:cNvPr>
            <p:cNvSpPr/>
            <p:nvPr/>
          </p:nvSpPr>
          <p:spPr bwMode="auto">
            <a:xfrm>
              <a:off x="2430508" y="2170522"/>
              <a:ext cx="692150" cy="259518"/>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2"/>
                  </a:solidFill>
                  <a:effectLst/>
                  <a:latin typeface="Trebuchet MS" panose="020B0603020202020204" pitchFamily="34" charset="0"/>
                </a:rPr>
                <a:t>2020</a:t>
              </a:r>
            </a:p>
          </p:txBody>
        </p:sp>
      </p:grpSp>
      <p:sp>
        <p:nvSpPr>
          <p:cNvPr id="45" name="Freeform 12">
            <a:extLst>
              <a:ext uri="{FF2B5EF4-FFF2-40B4-BE49-F238E27FC236}">
                <a16:creationId xmlns:a16="http://schemas.microsoft.com/office/drawing/2014/main" id="{3D08D22E-F67B-4B9B-AD37-543A2FA0438C}"/>
              </a:ext>
            </a:extLst>
          </p:cNvPr>
          <p:cNvSpPr>
            <a:spLocks noEditPoints="1"/>
          </p:cNvSpPr>
          <p:nvPr/>
        </p:nvSpPr>
        <p:spPr bwMode="auto">
          <a:xfrm>
            <a:off x="465866" y="1020476"/>
            <a:ext cx="220390" cy="238599"/>
          </a:xfrm>
          <a:custGeom>
            <a:avLst/>
            <a:gdLst>
              <a:gd name="T0" fmla="*/ 0 w 135"/>
              <a:gd name="T1" fmla="*/ 65 h 146"/>
              <a:gd name="T2" fmla="*/ 22 w 135"/>
              <a:gd name="T3" fmla="*/ 58 h 146"/>
              <a:gd name="T4" fmla="*/ 67 w 135"/>
              <a:gd name="T5" fmla="*/ 36 h 146"/>
              <a:gd name="T6" fmla="*/ 53 w 135"/>
              <a:gd name="T7" fmla="*/ 112 h 146"/>
              <a:gd name="T8" fmla="*/ 65 w 135"/>
              <a:gd name="T9" fmla="*/ 104 h 146"/>
              <a:gd name="T10" fmla="*/ 57 w 135"/>
              <a:gd name="T11" fmla="*/ 95 h 146"/>
              <a:gd name="T12" fmla="*/ 74 w 135"/>
              <a:gd name="T13" fmla="*/ 91 h 146"/>
              <a:gd name="T14" fmla="*/ 60 w 135"/>
              <a:gd name="T15" fmla="*/ 74 h 146"/>
              <a:gd name="T16" fmla="*/ 66 w 135"/>
              <a:gd name="T17" fmla="*/ 55 h 146"/>
              <a:gd name="T18" fmla="*/ 72 w 135"/>
              <a:gd name="T19" fmla="*/ 45 h 146"/>
              <a:gd name="T20" fmla="*/ 81 w 135"/>
              <a:gd name="T21" fmla="*/ 57 h 146"/>
              <a:gd name="T22" fmla="*/ 71 w 135"/>
              <a:gd name="T23" fmla="*/ 60 h 146"/>
              <a:gd name="T24" fmla="*/ 66 w 135"/>
              <a:gd name="T25" fmla="*/ 71 h 146"/>
              <a:gd name="T26" fmla="*/ 81 w 135"/>
              <a:gd name="T27" fmla="*/ 91 h 146"/>
              <a:gd name="T28" fmla="*/ 71 w 135"/>
              <a:gd name="T29" fmla="*/ 111 h 146"/>
              <a:gd name="T30" fmla="*/ 81 w 135"/>
              <a:gd name="T31" fmla="*/ 112 h 146"/>
              <a:gd name="T32" fmla="*/ 67 w 135"/>
              <a:gd name="T33" fmla="*/ 36 h 146"/>
              <a:gd name="T34" fmla="*/ 94 w 135"/>
              <a:gd name="T35" fmla="*/ 28 h 146"/>
              <a:gd name="T36" fmla="*/ 112 w 135"/>
              <a:gd name="T37" fmla="*/ 21 h 146"/>
              <a:gd name="T38" fmla="*/ 135 w 135"/>
              <a:gd name="T39" fmla="*/ 58 h 146"/>
              <a:gd name="T40" fmla="*/ 113 w 135"/>
              <a:gd name="T41" fmla="*/ 65 h 146"/>
              <a:gd name="T42" fmla="*/ 135 w 135"/>
              <a:gd name="T43" fmla="*/ 58 h 146"/>
              <a:gd name="T44" fmla="*/ 72 w 135"/>
              <a:gd name="T45" fmla="*/ 2 h 146"/>
              <a:gd name="T46" fmla="*/ 64 w 135"/>
              <a:gd name="T47" fmla="*/ 20 h 146"/>
              <a:gd name="T48" fmla="*/ 53 w 135"/>
              <a:gd name="T49" fmla="*/ 125 h 146"/>
              <a:gd name="T50" fmla="*/ 61 w 135"/>
              <a:gd name="T51" fmla="*/ 132 h 146"/>
              <a:gd name="T52" fmla="*/ 68 w 135"/>
              <a:gd name="T53" fmla="*/ 146 h 146"/>
              <a:gd name="T54" fmla="*/ 75 w 135"/>
              <a:gd name="T55" fmla="*/ 132 h 146"/>
              <a:gd name="T56" fmla="*/ 82 w 135"/>
              <a:gd name="T57" fmla="*/ 125 h 146"/>
              <a:gd name="T58" fmla="*/ 53 w 135"/>
              <a:gd name="T59" fmla="*/ 118 h 146"/>
              <a:gd name="T60" fmla="*/ 43 w 135"/>
              <a:gd name="T61" fmla="*/ 30 h 146"/>
              <a:gd name="T62" fmla="*/ 22 w 135"/>
              <a:gd name="T63" fmla="*/ 20 h 146"/>
              <a:gd name="T64" fmla="*/ 43 w 135"/>
              <a:gd name="T65"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5" h="146">
                <a:moveTo>
                  <a:pt x="2" y="58"/>
                </a:moveTo>
                <a:cubicBezTo>
                  <a:pt x="0" y="58"/>
                  <a:pt x="0" y="60"/>
                  <a:pt x="0" y="65"/>
                </a:cubicBezTo>
                <a:cubicBezTo>
                  <a:pt x="20" y="65"/>
                  <a:pt x="20" y="65"/>
                  <a:pt x="20" y="65"/>
                </a:cubicBezTo>
                <a:cubicBezTo>
                  <a:pt x="22" y="65"/>
                  <a:pt x="22" y="63"/>
                  <a:pt x="22" y="58"/>
                </a:cubicBezTo>
                <a:lnTo>
                  <a:pt x="2" y="58"/>
                </a:lnTo>
                <a:close/>
                <a:moveTo>
                  <a:pt x="67" y="36"/>
                </a:moveTo>
                <a:cubicBezTo>
                  <a:pt x="47" y="36"/>
                  <a:pt x="32" y="50"/>
                  <a:pt x="32" y="71"/>
                </a:cubicBezTo>
                <a:cubicBezTo>
                  <a:pt x="32" y="91"/>
                  <a:pt x="53" y="91"/>
                  <a:pt x="53" y="112"/>
                </a:cubicBezTo>
                <a:cubicBezTo>
                  <a:pt x="65" y="112"/>
                  <a:pt x="65" y="112"/>
                  <a:pt x="65" y="112"/>
                </a:cubicBezTo>
                <a:cubicBezTo>
                  <a:pt x="65" y="104"/>
                  <a:pt x="65" y="104"/>
                  <a:pt x="65" y="104"/>
                </a:cubicBezTo>
                <a:cubicBezTo>
                  <a:pt x="58" y="104"/>
                  <a:pt x="56" y="102"/>
                  <a:pt x="56" y="101"/>
                </a:cubicBezTo>
                <a:cubicBezTo>
                  <a:pt x="56" y="100"/>
                  <a:pt x="56" y="97"/>
                  <a:pt x="57" y="95"/>
                </a:cubicBezTo>
                <a:cubicBezTo>
                  <a:pt x="59" y="97"/>
                  <a:pt x="62" y="98"/>
                  <a:pt x="66" y="98"/>
                </a:cubicBezTo>
                <a:cubicBezTo>
                  <a:pt x="71" y="98"/>
                  <a:pt x="74" y="95"/>
                  <a:pt x="74" y="91"/>
                </a:cubicBezTo>
                <a:cubicBezTo>
                  <a:pt x="74" y="88"/>
                  <a:pt x="73" y="86"/>
                  <a:pt x="69" y="83"/>
                </a:cubicBezTo>
                <a:cubicBezTo>
                  <a:pt x="60" y="74"/>
                  <a:pt x="60" y="74"/>
                  <a:pt x="60" y="74"/>
                </a:cubicBezTo>
                <a:cubicBezTo>
                  <a:pt x="57" y="70"/>
                  <a:pt x="56" y="68"/>
                  <a:pt x="56" y="65"/>
                </a:cubicBezTo>
                <a:cubicBezTo>
                  <a:pt x="56" y="59"/>
                  <a:pt x="59" y="56"/>
                  <a:pt x="66" y="55"/>
                </a:cubicBezTo>
                <a:cubicBezTo>
                  <a:pt x="66" y="48"/>
                  <a:pt x="66" y="48"/>
                  <a:pt x="66" y="48"/>
                </a:cubicBezTo>
                <a:cubicBezTo>
                  <a:pt x="66" y="45"/>
                  <a:pt x="68" y="45"/>
                  <a:pt x="72" y="45"/>
                </a:cubicBezTo>
                <a:cubicBezTo>
                  <a:pt x="72" y="55"/>
                  <a:pt x="72" y="55"/>
                  <a:pt x="72" y="55"/>
                </a:cubicBezTo>
                <a:cubicBezTo>
                  <a:pt x="78" y="55"/>
                  <a:pt x="81" y="57"/>
                  <a:pt x="81" y="57"/>
                </a:cubicBezTo>
                <a:cubicBezTo>
                  <a:pt x="81" y="58"/>
                  <a:pt x="80" y="60"/>
                  <a:pt x="79" y="62"/>
                </a:cubicBezTo>
                <a:cubicBezTo>
                  <a:pt x="78" y="61"/>
                  <a:pt x="75" y="60"/>
                  <a:pt x="71" y="60"/>
                </a:cubicBezTo>
                <a:cubicBezTo>
                  <a:pt x="66" y="60"/>
                  <a:pt x="63" y="61"/>
                  <a:pt x="63" y="65"/>
                </a:cubicBezTo>
                <a:cubicBezTo>
                  <a:pt x="63" y="67"/>
                  <a:pt x="64" y="69"/>
                  <a:pt x="66" y="71"/>
                </a:cubicBezTo>
                <a:cubicBezTo>
                  <a:pt x="76" y="81"/>
                  <a:pt x="76" y="81"/>
                  <a:pt x="76" y="81"/>
                </a:cubicBezTo>
                <a:cubicBezTo>
                  <a:pt x="80" y="84"/>
                  <a:pt x="81" y="87"/>
                  <a:pt x="81" y="91"/>
                </a:cubicBezTo>
                <a:cubicBezTo>
                  <a:pt x="81" y="97"/>
                  <a:pt x="79" y="102"/>
                  <a:pt x="71" y="104"/>
                </a:cubicBezTo>
                <a:cubicBezTo>
                  <a:pt x="71" y="111"/>
                  <a:pt x="71" y="111"/>
                  <a:pt x="71" y="111"/>
                </a:cubicBezTo>
                <a:cubicBezTo>
                  <a:pt x="71" y="111"/>
                  <a:pt x="71" y="111"/>
                  <a:pt x="71" y="112"/>
                </a:cubicBezTo>
                <a:cubicBezTo>
                  <a:pt x="81" y="112"/>
                  <a:pt x="81" y="112"/>
                  <a:pt x="81" y="112"/>
                </a:cubicBezTo>
                <a:cubicBezTo>
                  <a:pt x="81" y="91"/>
                  <a:pt x="103" y="91"/>
                  <a:pt x="103" y="71"/>
                </a:cubicBezTo>
                <a:cubicBezTo>
                  <a:pt x="103" y="51"/>
                  <a:pt x="88" y="36"/>
                  <a:pt x="67" y="36"/>
                </a:cubicBezTo>
                <a:moveTo>
                  <a:pt x="108" y="15"/>
                </a:moveTo>
                <a:cubicBezTo>
                  <a:pt x="94" y="28"/>
                  <a:pt x="94" y="28"/>
                  <a:pt x="94" y="28"/>
                </a:cubicBezTo>
                <a:cubicBezTo>
                  <a:pt x="93" y="30"/>
                  <a:pt x="94" y="31"/>
                  <a:pt x="98" y="35"/>
                </a:cubicBezTo>
                <a:cubicBezTo>
                  <a:pt x="112" y="21"/>
                  <a:pt x="112" y="21"/>
                  <a:pt x="112" y="21"/>
                </a:cubicBezTo>
                <a:cubicBezTo>
                  <a:pt x="114" y="20"/>
                  <a:pt x="112" y="18"/>
                  <a:pt x="108" y="15"/>
                </a:cubicBezTo>
                <a:moveTo>
                  <a:pt x="135" y="58"/>
                </a:moveTo>
                <a:cubicBezTo>
                  <a:pt x="115" y="58"/>
                  <a:pt x="115" y="58"/>
                  <a:pt x="115" y="58"/>
                </a:cubicBezTo>
                <a:cubicBezTo>
                  <a:pt x="113" y="58"/>
                  <a:pt x="113" y="60"/>
                  <a:pt x="113" y="65"/>
                </a:cubicBezTo>
                <a:cubicBezTo>
                  <a:pt x="133" y="65"/>
                  <a:pt x="133" y="65"/>
                  <a:pt x="133" y="65"/>
                </a:cubicBezTo>
                <a:cubicBezTo>
                  <a:pt x="135" y="65"/>
                  <a:pt x="135" y="63"/>
                  <a:pt x="135" y="58"/>
                </a:cubicBezTo>
                <a:moveTo>
                  <a:pt x="72" y="22"/>
                </a:moveTo>
                <a:cubicBezTo>
                  <a:pt x="72" y="2"/>
                  <a:pt x="72" y="2"/>
                  <a:pt x="72" y="2"/>
                </a:cubicBezTo>
                <a:cubicBezTo>
                  <a:pt x="72" y="1"/>
                  <a:pt x="70" y="0"/>
                  <a:pt x="64" y="1"/>
                </a:cubicBezTo>
                <a:cubicBezTo>
                  <a:pt x="64" y="20"/>
                  <a:pt x="64" y="20"/>
                  <a:pt x="64" y="20"/>
                </a:cubicBezTo>
                <a:cubicBezTo>
                  <a:pt x="64" y="22"/>
                  <a:pt x="66" y="22"/>
                  <a:pt x="72" y="22"/>
                </a:cubicBezTo>
                <a:moveTo>
                  <a:pt x="53" y="125"/>
                </a:moveTo>
                <a:cubicBezTo>
                  <a:pt x="61" y="125"/>
                  <a:pt x="61" y="125"/>
                  <a:pt x="61" y="125"/>
                </a:cubicBezTo>
                <a:cubicBezTo>
                  <a:pt x="61" y="132"/>
                  <a:pt x="61" y="132"/>
                  <a:pt x="61" y="132"/>
                </a:cubicBezTo>
                <a:cubicBezTo>
                  <a:pt x="54" y="132"/>
                  <a:pt x="54" y="132"/>
                  <a:pt x="54" y="132"/>
                </a:cubicBezTo>
                <a:cubicBezTo>
                  <a:pt x="54" y="140"/>
                  <a:pt x="60" y="146"/>
                  <a:pt x="68" y="146"/>
                </a:cubicBezTo>
                <a:cubicBezTo>
                  <a:pt x="76" y="146"/>
                  <a:pt x="82" y="140"/>
                  <a:pt x="82" y="132"/>
                </a:cubicBezTo>
                <a:cubicBezTo>
                  <a:pt x="75" y="132"/>
                  <a:pt x="75" y="132"/>
                  <a:pt x="75" y="132"/>
                </a:cubicBezTo>
                <a:cubicBezTo>
                  <a:pt x="75" y="125"/>
                  <a:pt x="75" y="125"/>
                  <a:pt x="75" y="125"/>
                </a:cubicBezTo>
                <a:cubicBezTo>
                  <a:pt x="82" y="125"/>
                  <a:pt x="82" y="125"/>
                  <a:pt x="82" y="125"/>
                </a:cubicBezTo>
                <a:cubicBezTo>
                  <a:pt x="82" y="118"/>
                  <a:pt x="82" y="118"/>
                  <a:pt x="82" y="118"/>
                </a:cubicBezTo>
                <a:cubicBezTo>
                  <a:pt x="53" y="118"/>
                  <a:pt x="53" y="118"/>
                  <a:pt x="53" y="118"/>
                </a:cubicBezTo>
                <a:lnTo>
                  <a:pt x="53" y="125"/>
                </a:lnTo>
                <a:close/>
                <a:moveTo>
                  <a:pt x="43" y="30"/>
                </a:moveTo>
                <a:cubicBezTo>
                  <a:pt x="28" y="16"/>
                  <a:pt x="28" y="16"/>
                  <a:pt x="28" y="16"/>
                </a:cubicBezTo>
                <a:cubicBezTo>
                  <a:pt x="27" y="15"/>
                  <a:pt x="26" y="16"/>
                  <a:pt x="22" y="20"/>
                </a:cubicBezTo>
                <a:cubicBezTo>
                  <a:pt x="36" y="34"/>
                  <a:pt x="36" y="34"/>
                  <a:pt x="36" y="34"/>
                </a:cubicBezTo>
                <a:cubicBezTo>
                  <a:pt x="37" y="35"/>
                  <a:pt x="39" y="33"/>
                  <a:pt x="43" y="3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93" name="Freeform 9">
            <a:extLst>
              <a:ext uri="{FF2B5EF4-FFF2-40B4-BE49-F238E27FC236}">
                <a16:creationId xmlns:a16="http://schemas.microsoft.com/office/drawing/2014/main" id="{97BAAD1F-7D57-474C-A51F-0E126062351F}"/>
              </a:ext>
            </a:extLst>
          </p:cNvPr>
          <p:cNvSpPr>
            <a:spLocks noEditPoints="1"/>
          </p:cNvSpPr>
          <p:nvPr/>
        </p:nvSpPr>
        <p:spPr bwMode="auto">
          <a:xfrm>
            <a:off x="8999667" y="1822439"/>
            <a:ext cx="216058" cy="2139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196" name="Flèche : pentagone 195">
            <a:extLst>
              <a:ext uri="{FF2B5EF4-FFF2-40B4-BE49-F238E27FC236}">
                <a16:creationId xmlns:a16="http://schemas.microsoft.com/office/drawing/2014/main" id="{0FDACD1F-DEF8-4D62-B1A7-B39F73FC358C}"/>
              </a:ext>
            </a:extLst>
          </p:cNvPr>
          <p:cNvSpPr/>
          <p:nvPr/>
        </p:nvSpPr>
        <p:spPr bwMode="auto">
          <a:xfrm>
            <a:off x="9153459" y="1875091"/>
            <a:ext cx="677012" cy="151497"/>
          </a:xfrm>
          <a:prstGeom prst="homePlate">
            <a:avLst>
              <a:gd name="adj" fmla="val 0"/>
            </a:avLst>
          </a:prstGeom>
          <a:no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600"/>
              </a:spcAft>
              <a:buClrTx/>
              <a:buSzTx/>
              <a:buFontTx/>
              <a:buNone/>
              <a:tabLst/>
            </a:pPr>
            <a:r>
              <a:rPr kumimoji="0" lang="en-GB" sz="900" i="1" u="none" strike="noStrike" cap="none" normalizeH="0" baseline="0">
                <a:ln>
                  <a:noFill/>
                </a:ln>
                <a:solidFill>
                  <a:schemeClr val="accent1"/>
                </a:solidFill>
                <a:effectLst/>
                <a:latin typeface="Trebuchet MS" panose="020B0603020202020204" pitchFamily="34" charset="0"/>
              </a:rPr>
              <a:t>See infra</a:t>
            </a:r>
          </a:p>
        </p:txBody>
      </p:sp>
      <p:sp>
        <p:nvSpPr>
          <p:cNvPr id="177" name="Rectangle 176">
            <a:extLst>
              <a:ext uri="{FF2B5EF4-FFF2-40B4-BE49-F238E27FC236}">
                <a16:creationId xmlns:a16="http://schemas.microsoft.com/office/drawing/2014/main" id="{1C44DEAE-2BF5-41BA-8C45-C4EA5EDBF819}"/>
              </a:ext>
            </a:extLst>
          </p:cNvPr>
          <p:cNvSpPr/>
          <p:nvPr/>
        </p:nvSpPr>
        <p:spPr bwMode="auto">
          <a:xfrm>
            <a:off x="6441303" y="3066000"/>
            <a:ext cx="822959" cy="37960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Finance score via D&amp;B data blocks</a:t>
            </a:r>
            <a:endParaRPr kumimoji="0" lang="en-GB" sz="800" b="0" i="1" u="none" strike="noStrike" cap="none" normalizeH="0" baseline="0">
              <a:ln>
                <a:noFill/>
              </a:ln>
              <a:effectLst/>
              <a:latin typeface="Trebuchet MS" panose="020B0603020202020204" pitchFamily="34" charset="0"/>
            </a:endParaRPr>
          </a:p>
        </p:txBody>
      </p:sp>
    </p:spTree>
    <p:extLst>
      <p:ext uri="{BB962C8B-B14F-4D97-AF65-F5344CB8AC3E}">
        <p14:creationId xmlns:p14="http://schemas.microsoft.com/office/powerpoint/2010/main" val="4048367762"/>
      </p:ext>
    </p:extLst>
  </p:cSld>
  <p:clrMapOvr>
    <a:masterClrMapping/>
  </p:clrMapOvr>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7F246ACB-2B45-40CB-AE0E-A2C319D00EDD}"/>
              </a:ext>
            </a:extLst>
          </p:cNvPr>
          <p:cNvGraphicFramePr>
            <a:graphicFrameLocks noChangeAspect="1"/>
          </p:cNvGraphicFramePr>
          <p:nvPr>
            <p:custDataLst>
              <p:tags r:id="rId1"/>
            </p:custDataLst>
            <p:extLst>
              <p:ext uri="{D42A27DB-BD31-4B8C-83A1-F6EECF244321}">
                <p14:modId xmlns:p14="http://schemas.microsoft.com/office/powerpoint/2010/main" val="151236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12" name="Objet 11" hidden="1">
                        <a:extLst>
                          <a:ext uri="{FF2B5EF4-FFF2-40B4-BE49-F238E27FC236}">
                            <a16:creationId xmlns:a16="http://schemas.microsoft.com/office/drawing/2014/main" id="{7F246ACB-2B45-40CB-AE0E-A2C319D00E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31B515A2-E36D-4CE5-B75A-F43E65328BE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21" name="Rectangle 220">
            <a:extLst>
              <a:ext uri="{FF2B5EF4-FFF2-40B4-BE49-F238E27FC236}">
                <a16:creationId xmlns:a16="http://schemas.microsoft.com/office/drawing/2014/main" id="{8C2F5084-D87B-4F7A-AFBA-C35B3F83F572}"/>
              </a:ext>
            </a:extLst>
          </p:cNvPr>
          <p:cNvSpPr/>
          <p:nvPr/>
        </p:nvSpPr>
        <p:spPr bwMode="auto">
          <a:xfrm>
            <a:off x="248803" y="1394271"/>
            <a:ext cx="4488154" cy="291789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22" name="Rectangle 221">
            <a:extLst>
              <a:ext uri="{FF2B5EF4-FFF2-40B4-BE49-F238E27FC236}">
                <a16:creationId xmlns:a16="http://schemas.microsoft.com/office/drawing/2014/main" id="{A2A3E0E5-AC14-4486-A547-8AB651FC207B}"/>
              </a:ext>
            </a:extLst>
          </p:cNvPr>
          <p:cNvSpPr/>
          <p:nvPr/>
        </p:nvSpPr>
        <p:spPr bwMode="auto">
          <a:xfrm>
            <a:off x="5152875" y="1496778"/>
            <a:ext cx="4488154" cy="2631255"/>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spcBef>
                <a:spcPts val="600"/>
              </a:spcBef>
              <a:buClr>
                <a:schemeClr val="tx1"/>
              </a:buClr>
            </a:pPr>
            <a:r>
              <a:rPr lang="en-GB" sz="1050">
                <a:effectLst/>
                <a:latin typeface="Trebuchet MS" panose="020B0603020202020204" pitchFamily="34" charset="0"/>
                <a:ea typeface="Calibri" panose="020F0502020204030204" pitchFamily="34" charset="0"/>
                <a:cs typeface="Arial" panose="020B0604020202020204" pitchFamily="34" charset="0"/>
              </a:rPr>
              <a:t>The launch of D&amp;B’s Datablocks in Direct+ API planned in Q4 2020 will allow Altares to: </a:t>
            </a:r>
          </a:p>
          <a:p>
            <a:pPr marL="171450" indent="-171450">
              <a:spcBef>
                <a:spcPts val="600"/>
              </a:spcBef>
              <a:buClr>
                <a:schemeClr val="tx1"/>
              </a:buClr>
              <a:buFont typeface="Arial" panose="020B0604020202020204" pitchFamily="34" charset="0"/>
              <a:buChar char="•"/>
            </a:pPr>
            <a:r>
              <a:rPr lang="en-GB" sz="1050">
                <a:effectLst/>
                <a:latin typeface="Trebuchet MS" panose="020B0603020202020204" pitchFamily="34" charset="0"/>
                <a:ea typeface="Calibri" panose="020F0502020204030204" pitchFamily="34" charset="0"/>
                <a:cs typeface="Arial" panose="020B0604020202020204" pitchFamily="34" charset="0"/>
              </a:rPr>
              <a:t>Facilitate </a:t>
            </a:r>
            <a:r>
              <a:rPr lang="en-GB" sz="1050">
                <a:solidFill>
                  <a:schemeClr val="tx2"/>
                </a:solidFill>
                <a:effectLst/>
                <a:latin typeface="Trebuchet MS" panose="020B0603020202020204" pitchFamily="34" charset="0"/>
                <a:ea typeface="Calibri" panose="020F0502020204030204" pitchFamily="34" charset="0"/>
                <a:cs typeface="Arial" panose="020B0604020202020204" pitchFamily="34" charset="0"/>
              </a:rPr>
              <a:t>product innovation </a:t>
            </a:r>
            <a:r>
              <a:rPr lang="en-GB" sz="1050">
                <a:effectLst/>
                <a:latin typeface="Trebuchet MS" panose="020B0603020202020204" pitchFamily="34" charset="0"/>
                <a:ea typeface="Calibri" panose="020F0502020204030204" pitchFamily="34" charset="0"/>
                <a:cs typeface="Arial" panose="020B0604020202020204" pitchFamily="34" charset="0"/>
              </a:rPr>
              <a:t>(flexibility, clients’ use cases oriented)</a:t>
            </a:r>
          </a:p>
          <a:p>
            <a:pPr marL="171450" indent="-171450">
              <a:spcBef>
                <a:spcPts val="600"/>
              </a:spcBef>
              <a:buClr>
                <a:schemeClr val="tx1"/>
              </a:buClr>
              <a:buFont typeface="Arial" panose="020B0604020202020204" pitchFamily="34" charset="0"/>
              <a:buChar char="•"/>
            </a:pPr>
            <a:r>
              <a:rPr lang="en-GB" sz="1050">
                <a:effectLst/>
                <a:latin typeface="Trebuchet MS" panose="020B0603020202020204" pitchFamily="34" charset="0"/>
                <a:ea typeface="Calibri" panose="020F0502020204030204" pitchFamily="34" charset="0"/>
                <a:cs typeface="Arial" panose="020B0604020202020204" pitchFamily="34" charset="0"/>
              </a:rPr>
              <a:t>Build </a:t>
            </a:r>
            <a:r>
              <a:rPr lang="en-GB" sz="1050">
                <a:solidFill>
                  <a:schemeClr val="tx2"/>
                </a:solidFill>
                <a:effectLst/>
                <a:latin typeface="Trebuchet MS" panose="020B0603020202020204" pitchFamily="34" charset="0"/>
                <a:ea typeface="Calibri" panose="020F0502020204030204" pitchFamily="34" charset="0"/>
                <a:cs typeface="Arial" panose="020B0604020202020204" pitchFamily="34" charset="0"/>
              </a:rPr>
              <a:t>precise use cases </a:t>
            </a:r>
            <a:r>
              <a:rPr lang="en-GB" sz="1050">
                <a:effectLst/>
                <a:latin typeface="Trebuchet MS" panose="020B0603020202020204" pitchFamily="34" charset="0"/>
                <a:ea typeface="Calibri" panose="020F0502020204030204" pitchFamily="34" charset="0"/>
                <a:cs typeface="Arial" panose="020B0604020202020204" pitchFamily="34" charset="0"/>
              </a:rPr>
              <a:t>(combining various data blocks together will address specific customer use cases across domains)</a:t>
            </a:r>
          </a:p>
          <a:p>
            <a:pPr marL="171450" indent="-171450">
              <a:spcBef>
                <a:spcPts val="600"/>
              </a:spcBef>
              <a:buClr>
                <a:schemeClr val="tx1"/>
              </a:buClr>
              <a:buFont typeface="Arial" panose="020B0604020202020204" pitchFamily="34" charset="0"/>
              <a:buChar char="•"/>
            </a:pPr>
            <a:r>
              <a:rPr lang="en-GB" sz="1050">
                <a:effectLst/>
                <a:latin typeface="Trebuchet MS" panose="020B0603020202020204" pitchFamily="34" charset="0"/>
                <a:ea typeface="Calibri" panose="020F0502020204030204" pitchFamily="34" charset="0"/>
                <a:cs typeface="Arial" panose="020B0604020202020204" pitchFamily="34" charset="0"/>
              </a:rPr>
              <a:t>Simplify </a:t>
            </a:r>
            <a:r>
              <a:rPr lang="en-GB" sz="1050">
                <a:solidFill>
                  <a:schemeClr val="tx2"/>
                </a:solidFill>
                <a:effectLst/>
                <a:latin typeface="Trebuchet MS" panose="020B0603020202020204" pitchFamily="34" charset="0"/>
                <a:ea typeface="Calibri" panose="020F0502020204030204" pitchFamily="34" charset="0"/>
                <a:cs typeface="Arial" panose="020B0604020202020204" pitchFamily="34" charset="0"/>
              </a:rPr>
              <a:t>product construction </a:t>
            </a:r>
            <a:r>
              <a:rPr lang="en-GB" sz="1050">
                <a:effectLst/>
                <a:latin typeface="Trebuchet MS" panose="020B0603020202020204" pitchFamily="34" charset="0"/>
                <a:ea typeface="Calibri" panose="020F0502020204030204" pitchFamily="34" charset="0"/>
                <a:cs typeface="Arial" panose="020B0604020202020204" pitchFamily="34" charset="0"/>
              </a:rPr>
              <a:t>(configurations, new way to deliver D&amp;B data with different levels API/File/Monitoring)</a:t>
            </a:r>
          </a:p>
          <a:p>
            <a:pPr marL="171450" indent="-171450">
              <a:spcBef>
                <a:spcPts val="600"/>
              </a:spcBef>
              <a:buClr>
                <a:schemeClr val="tx1"/>
              </a:buClr>
              <a:buFont typeface="Arial" panose="020B0604020202020204" pitchFamily="34" charset="0"/>
              <a:buChar char="•"/>
            </a:pPr>
            <a:r>
              <a:rPr lang="en-GB" sz="1050">
                <a:effectLst/>
                <a:latin typeface="Trebuchet MS" panose="020B0603020202020204" pitchFamily="34" charset="0"/>
                <a:ea typeface="Calibri" panose="020F0502020204030204" pitchFamily="34" charset="0"/>
                <a:cs typeface="Arial" panose="020B0604020202020204" pitchFamily="34" charset="0"/>
              </a:rPr>
              <a:t>Increase </a:t>
            </a:r>
            <a:r>
              <a:rPr lang="en-GB" sz="1050">
                <a:solidFill>
                  <a:schemeClr val="tx2"/>
                </a:solidFill>
                <a:effectLst/>
                <a:latin typeface="Trebuchet MS" panose="020B0603020202020204" pitchFamily="34" charset="0"/>
                <a:ea typeface="Calibri" panose="020F0502020204030204" pitchFamily="34" charset="0"/>
                <a:cs typeface="Arial" panose="020B0604020202020204" pitchFamily="34" charset="0"/>
              </a:rPr>
              <a:t>product reactivity </a:t>
            </a:r>
            <a:r>
              <a:rPr lang="en-GB" sz="1050">
                <a:effectLst/>
                <a:latin typeface="Trebuchet MS" panose="020B0603020202020204" pitchFamily="34" charset="0"/>
                <a:ea typeface="Calibri" panose="020F0502020204030204" pitchFamily="34" charset="0"/>
                <a:cs typeface="Arial" panose="020B0604020202020204" pitchFamily="34" charset="0"/>
              </a:rPr>
              <a:t>(thanks to state-of-the-art technologies allowing Sub-300ms response times for key data)</a:t>
            </a:r>
          </a:p>
          <a:p>
            <a:pPr marL="171450" indent="-171450">
              <a:spcBef>
                <a:spcPts val="600"/>
              </a:spcBef>
              <a:buClr>
                <a:schemeClr val="tx1"/>
              </a:buClr>
              <a:buFont typeface="Arial" panose="020B0604020202020204" pitchFamily="34" charset="0"/>
              <a:buChar char="•"/>
            </a:pPr>
            <a:r>
              <a:rPr lang="en-GB" sz="1050">
                <a:effectLst/>
                <a:latin typeface="Trebuchet MS" panose="020B0603020202020204" pitchFamily="34" charset="0"/>
                <a:ea typeface="Calibri" panose="020F0502020204030204" pitchFamily="34" charset="0"/>
                <a:cs typeface="Arial" panose="020B0604020202020204" pitchFamily="34" charset="0"/>
              </a:rPr>
              <a:t>Optimize </a:t>
            </a:r>
            <a:r>
              <a:rPr lang="en-GB" sz="1050">
                <a:solidFill>
                  <a:schemeClr val="tx2"/>
                </a:solidFill>
                <a:effectLst/>
                <a:latin typeface="Trebuchet MS" panose="020B0603020202020204" pitchFamily="34" charset="0"/>
                <a:ea typeface="Calibri" panose="020F0502020204030204" pitchFamily="34" charset="0"/>
                <a:cs typeface="Arial" panose="020B0604020202020204" pitchFamily="34" charset="0"/>
              </a:rPr>
              <a:t>cost &amp; margin</a:t>
            </a:r>
            <a:r>
              <a:rPr lang="en-GB" sz="1050">
                <a:effectLst/>
                <a:latin typeface="Trebuchet MS" panose="020B0603020202020204" pitchFamily="34" charset="0"/>
                <a:ea typeface="Calibri" panose="020F0502020204030204" pitchFamily="34" charset="0"/>
                <a:cs typeface="Arial" panose="020B0604020202020204" pitchFamily="34" charset="0"/>
              </a:rPr>
              <a:t>, opening up a much better positioning vs competition</a:t>
            </a:r>
          </a:p>
          <a:p>
            <a:pPr>
              <a:spcBef>
                <a:spcPts val="600"/>
              </a:spcBef>
              <a:buClr>
                <a:schemeClr val="tx1"/>
              </a:buClr>
            </a:pPr>
            <a:r>
              <a:rPr lang="en-GB" sz="1050">
                <a:effectLst/>
                <a:latin typeface="Trebuchet MS" panose="020B0603020202020204" pitchFamily="34" charset="0"/>
                <a:ea typeface="Calibri" panose="020F0502020204030204" pitchFamily="34" charset="0"/>
                <a:cs typeface="Arial" panose="020B0604020202020204" pitchFamily="34" charset="0"/>
              </a:rPr>
              <a:t>All current customers will move to data blocks over the next 3 years</a:t>
            </a:r>
          </a:p>
          <a:p>
            <a:pPr marL="171450" indent="-171450">
              <a:spcBef>
                <a:spcPts val="600"/>
              </a:spcBef>
              <a:buClr>
                <a:schemeClr val="tx1"/>
              </a:buClr>
              <a:buFont typeface="Arial" panose="020B0604020202020204" pitchFamily="34" charset="0"/>
              <a:buChar char="•"/>
            </a:pPr>
            <a:endParaRPr lang="en-GB" sz="1050">
              <a:effectLst/>
              <a:latin typeface="Trebuchet MS" panose="020B0603020202020204" pitchFamily="34" charset="0"/>
              <a:ea typeface="Calibri" panose="020F0502020204030204" pitchFamily="34" charset="0"/>
              <a:cs typeface="Arial" panose="020B0604020202020204" pitchFamily="34" charset="0"/>
            </a:endParaRPr>
          </a:p>
          <a:p>
            <a:pPr marL="171450" indent="-171450">
              <a:spcBef>
                <a:spcPts val="600"/>
              </a:spcBef>
              <a:buClr>
                <a:schemeClr val="tx1"/>
              </a:buClr>
              <a:buFont typeface="Arial" panose="020B0604020202020204" pitchFamily="34" charset="0"/>
              <a:buChar char="•"/>
            </a:pPr>
            <a:endParaRPr lang="en-GB" sz="1050">
              <a:latin typeface="Trebuchet MS" panose="020B0603020202020204" pitchFamily="34" charset="0"/>
            </a:endParaRPr>
          </a:p>
        </p:txBody>
      </p:sp>
      <p:sp>
        <p:nvSpPr>
          <p:cNvPr id="2" name="Titre 1">
            <a:extLst>
              <a:ext uri="{FF2B5EF4-FFF2-40B4-BE49-F238E27FC236}">
                <a16:creationId xmlns:a16="http://schemas.microsoft.com/office/drawing/2014/main" id="{74D5A0DE-12A9-42E3-933F-D61611C3682D}"/>
              </a:ext>
            </a:extLst>
          </p:cNvPr>
          <p:cNvSpPr>
            <a:spLocks noGrp="1"/>
          </p:cNvSpPr>
          <p:nvPr>
            <p:ph type="title"/>
          </p:nvPr>
        </p:nvSpPr>
        <p:spPr>
          <a:xfrm>
            <a:off x="366190" y="147600"/>
            <a:ext cx="8185575" cy="684000"/>
          </a:xfrm>
        </p:spPr>
        <p:txBody>
          <a:bodyPr/>
          <a:lstStyle/>
          <a:p>
            <a:r>
              <a:rPr lang="en-GB">
                <a:latin typeface="Trebuchet MS" panose="020B0603020202020204" pitchFamily="34" charset="0"/>
              </a:rPr>
              <a:t>The launch of </a:t>
            </a:r>
            <a:r>
              <a:rPr lang="en-GB">
                <a:solidFill>
                  <a:schemeClr val="tx2"/>
                </a:solidFill>
                <a:latin typeface="Trebuchet MS" panose="020B0603020202020204" pitchFamily="34" charset="0"/>
              </a:rPr>
              <a:t>Dun &amp; Bradstreet’s </a:t>
            </a:r>
            <a:r>
              <a:rPr lang="en-GB" err="1">
                <a:solidFill>
                  <a:schemeClr val="tx2"/>
                </a:solidFill>
                <a:latin typeface="Trebuchet MS" panose="020B0603020202020204" pitchFamily="34" charset="0"/>
              </a:rPr>
              <a:t>Datablocks</a:t>
            </a:r>
            <a:r>
              <a:rPr lang="en-GB">
                <a:solidFill>
                  <a:schemeClr val="tx2"/>
                </a:solidFill>
                <a:latin typeface="Trebuchet MS" panose="020B0603020202020204" pitchFamily="34" charset="0"/>
              </a:rPr>
              <a:t> in Direct+ API </a:t>
            </a:r>
            <a:r>
              <a:rPr lang="en-GB">
                <a:latin typeface="Trebuchet MS" panose="020B0603020202020204" pitchFamily="34" charset="0"/>
              </a:rPr>
              <a:t>is key to the construction of precise clients’ use cases with </a:t>
            </a:r>
            <a:r>
              <a:rPr lang="en-GB">
                <a:solidFill>
                  <a:schemeClr val="tx2"/>
                </a:solidFill>
                <a:latin typeface="Trebuchet MS" panose="020B0603020202020204" pitchFamily="34" charset="0"/>
              </a:rPr>
              <a:t>optimized</a:t>
            </a:r>
            <a:r>
              <a:rPr lang="en-GB">
                <a:latin typeface="Trebuchet MS" panose="020B0603020202020204" pitchFamily="34" charset="0"/>
              </a:rPr>
              <a:t> </a:t>
            </a:r>
            <a:r>
              <a:rPr lang="en-GB">
                <a:solidFill>
                  <a:schemeClr val="tx2"/>
                </a:solidFill>
                <a:latin typeface="Trebuchet MS" panose="020B0603020202020204" pitchFamily="34" charset="0"/>
              </a:rPr>
              <a:t>product</a:t>
            </a:r>
            <a:r>
              <a:rPr lang="en-GB">
                <a:latin typeface="Trebuchet MS" panose="020B0603020202020204" pitchFamily="34" charset="0"/>
              </a:rPr>
              <a:t> </a:t>
            </a:r>
            <a:r>
              <a:rPr lang="en-GB">
                <a:solidFill>
                  <a:schemeClr val="tx2"/>
                </a:solidFill>
                <a:latin typeface="Trebuchet MS" panose="020B0603020202020204" pitchFamily="34" charset="0"/>
              </a:rPr>
              <a:t>development</a:t>
            </a:r>
            <a:r>
              <a:rPr lang="en-GB">
                <a:latin typeface="Trebuchet MS" panose="020B0603020202020204" pitchFamily="34" charset="0"/>
              </a:rPr>
              <a:t> and business model</a:t>
            </a:r>
            <a:endParaRPr lang="en-GB">
              <a:solidFill>
                <a:schemeClr val="tx2"/>
              </a:solidFill>
              <a:latin typeface="Trebuchet MS" panose="020B0603020202020204" pitchFamily="34" charset="0"/>
            </a:endParaRPr>
          </a:p>
        </p:txBody>
      </p:sp>
      <p:sp>
        <p:nvSpPr>
          <p:cNvPr id="3" name="Espace réservé du texte 2">
            <a:extLst>
              <a:ext uri="{FF2B5EF4-FFF2-40B4-BE49-F238E27FC236}">
                <a16:creationId xmlns:a16="http://schemas.microsoft.com/office/drawing/2014/main" id="{020DE023-1F2D-428C-ABA0-8C18A18672CA}"/>
              </a:ext>
            </a:extLst>
          </p:cNvPr>
          <p:cNvSpPr>
            <a:spLocks noGrp="1"/>
          </p:cNvSpPr>
          <p:nvPr>
            <p:ph type="body" sz="quarter" idx="10"/>
          </p:nvPr>
        </p:nvSpPr>
        <p:spPr/>
        <p:txBody>
          <a:bodyPr/>
          <a:lstStyle/>
          <a:p>
            <a:r>
              <a:rPr lang="en-GB" sz="800" i="1" kern="0"/>
              <a:t>Sources: eleven research &amp; analysis, company data, interviews with management</a:t>
            </a:r>
          </a:p>
        </p:txBody>
      </p:sp>
      <p:sp>
        <p:nvSpPr>
          <p:cNvPr id="10" name="Freeform 9">
            <a:extLst>
              <a:ext uri="{FF2B5EF4-FFF2-40B4-BE49-F238E27FC236}">
                <a16:creationId xmlns:a16="http://schemas.microsoft.com/office/drawing/2014/main" id="{10AD4337-CEEE-4700-A13A-7E78CBE8A2E5}"/>
              </a:ext>
            </a:extLst>
          </p:cNvPr>
          <p:cNvSpPr>
            <a:spLocks noEditPoints="1"/>
          </p:cNvSpPr>
          <p:nvPr/>
        </p:nvSpPr>
        <p:spPr bwMode="auto">
          <a:xfrm>
            <a:off x="150133" y="222175"/>
            <a:ext cx="216058" cy="2139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grpSp>
        <p:nvGrpSpPr>
          <p:cNvPr id="13" name="Groupe 12">
            <a:extLst>
              <a:ext uri="{FF2B5EF4-FFF2-40B4-BE49-F238E27FC236}">
                <a16:creationId xmlns:a16="http://schemas.microsoft.com/office/drawing/2014/main" id="{57B613C7-C3DB-47EC-B16A-C4148F53D93D}"/>
              </a:ext>
            </a:extLst>
          </p:cNvPr>
          <p:cNvGrpSpPr/>
          <p:nvPr/>
        </p:nvGrpSpPr>
        <p:grpSpPr>
          <a:xfrm>
            <a:off x="8448150" y="-11528"/>
            <a:ext cx="1435548" cy="711253"/>
            <a:chOff x="8448150" y="-11528"/>
            <a:chExt cx="1435548" cy="711253"/>
          </a:xfrm>
        </p:grpSpPr>
        <p:sp>
          <p:nvSpPr>
            <p:cNvPr id="14" name="Rectangle : coins arrondis 199">
              <a:extLst>
                <a:ext uri="{FF2B5EF4-FFF2-40B4-BE49-F238E27FC236}">
                  <a16:creationId xmlns:a16="http://schemas.microsoft.com/office/drawing/2014/main" id="{FAB51269-0F0F-451A-9AAB-523722E9CCD9}"/>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5" name="Rectangle : coins arrondis 200">
              <a:extLst>
                <a:ext uri="{FF2B5EF4-FFF2-40B4-BE49-F238E27FC236}">
                  <a16:creationId xmlns:a16="http://schemas.microsoft.com/office/drawing/2014/main" id="{832770CF-CDE0-400E-A241-F5696C2EBBF1}"/>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6" name="Rectangle : coins arrondis 201">
              <a:extLst>
                <a:ext uri="{FF2B5EF4-FFF2-40B4-BE49-F238E27FC236}">
                  <a16:creationId xmlns:a16="http://schemas.microsoft.com/office/drawing/2014/main" id="{9AB836E5-BC4A-46BB-88BC-C4B7012169B9}"/>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7" name="ZoneTexte 18">
              <a:extLst>
                <a:ext uri="{FF2B5EF4-FFF2-40B4-BE49-F238E27FC236}">
                  <a16:creationId xmlns:a16="http://schemas.microsoft.com/office/drawing/2014/main" id="{CC2EBF27-6661-44F6-A33C-09F21DC9CEDD}"/>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8" name="Graphique 128" descr="Jauge">
              <a:extLst>
                <a:ext uri="{FF2B5EF4-FFF2-40B4-BE49-F238E27FC236}">
                  <a16:creationId xmlns:a16="http://schemas.microsoft.com/office/drawing/2014/main" id="{F93576DE-8460-414C-B2D8-E368B8A0B3D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9" name="Graphique 90" descr="Poignée de main">
              <a:extLst>
                <a:ext uri="{FF2B5EF4-FFF2-40B4-BE49-F238E27FC236}">
                  <a16:creationId xmlns:a16="http://schemas.microsoft.com/office/drawing/2014/main" id="{BA5B714C-E113-4ECD-8CC0-9D59B318B68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20" name="Graphique 74" descr="Mégaphone">
              <a:extLst>
                <a:ext uri="{FF2B5EF4-FFF2-40B4-BE49-F238E27FC236}">
                  <a16:creationId xmlns:a16="http://schemas.microsoft.com/office/drawing/2014/main" id="{D7D5B730-51D7-4598-8C7F-5D77ED034CE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21" name="Picture 2" descr="Drapeau France">
              <a:extLst>
                <a:ext uri="{FF2B5EF4-FFF2-40B4-BE49-F238E27FC236}">
                  <a16:creationId xmlns:a16="http://schemas.microsoft.com/office/drawing/2014/main" id="{5BCE09F5-0A67-420B-B6EF-83A5E5EC16AF}"/>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22" name="Picture 2" descr="5 ft x 3 ft 150 x 90 cm-DRAPEAU BELGE Belgique 100% Polyester ...">
              <a:extLst>
                <a:ext uri="{FF2B5EF4-FFF2-40B4-BE49-F238E27FC236}">
                  <a16:creationId xmlns:a16="http://schemas.microsoft.com/office/drawing/2014/main" id="{C8BC9F08-6BF2-4680-B834-6B484A7183F3}"/>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23" name="Picture 2 - 1" descr="Drapeau des Pays-Bas — Wikipédia">
              <a:extLst>
                <a:ext uri="{FF2B5EF4-FFF2-40B4-BE49-F238E27FC236}">
                  <a16:creationId xmlns:a16="http://schemas.microsoft.com/office/drawing/2014/main" id="{EF5584E3-04B6-4888-B33E-F49D77226A1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24" name="Picture 2 - 2" descr="Drapeau du Luxembourg">
              <a:extLst>
                <a:ext uri="{FF2B5EF4-FFF2-40B4-BE49-F238E27FC236}">
                  <a16:creationId xmlns:a16="http://schemas.microsoft.com/office/drawing/2014/main" id="{05A3A3B8-E082-4E72-8B29-195F6D08C6F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25" name="ZoneTexte 24">
              <a:extLst>
                <a:ext uri="{FF2B5EF4-FFF2-40B4-BE49-F238E27FC236}">
                  <a16:creationId xmlns:a16="http://schemas.microsoft.com/office/drawing/2014/main" id="{A32C5129-06FB-43BA-8345-18CB99BB650C}"/>
                </a:ext>
              </a:extLst>
            </p:cNvPr>
            <p:cNvSpPr txBox="1"/>
            <p:nvPr/>
          </p:nvSpPr>
          <p:spPr>
            <a:xfrm>
              <a:off x="8506412" y="361171"/>
              <a:ext cx="1165225" cy="338554"/>
            </a:xfrm>
            <a:prstGeom prst="rect">
              <a:avLst/>
            </a:prstGeom>
            <a:noFill/>
          </p:spPr>
          <p:txBody>
            <a:bodyPr wrap="square" rtlCol="0">
              <a:spAutoFit/>
            </a:bodyPr>
            <a:lstStyle/>
            <a:p>
              <a:pPr algn="ctr"/>
              <a:r>
                <a:rPr lang="en-GB" sz="800" i="1">
                  <a:latin typeface="Trebuchet MS" panose="020B0603020202020204" pitchFamily="34" charset="0"/>
                </a:rPr>
                <a:t>Product strategy roll-out</a:t>
              </a:r>
            </a:p>
          </p:txBody>
        </p:sp>
      </p:grpSp>
      <p:sp>
        <p:nvSpPr>
          <p:cNvPr id="80" name="ZoneTexte 79">
            <a:extLst>
              <a:ext uri="{FF2B5EF4-FFF2-40B4-BE49-F238E27FC236}">
                <a16:creationId xmlns:a16="http://schemas.microsoft.com/office/drawing/2014/main" id="{2DC61331-AAC6-4F24-A66D-A5C4D97DDC01}"/>
              </a:ext>
            </a:extLst>
          </p:cNvPr>
          <p:cNvSpPr txBox="1"/>
          <p:nvPr/>
        </p:nvSpPr>
        <p:spPr>
          <a:xfrm>
            <a:off x="312934" y="4356352"/>
            <a:ext cx="4552446" cy="738664"/>
          </a:xfrm>
          <a:prstGeom prst="rect">
            <a:avLst/>
          </a:prstGeom>
          <a:noFill/>
        </p:spPr>
        <p:txBody>
          <a:bodyPr wrap="square">
            <a:spAutoFit/>
          </a:bodyPr>
          <a:lstStyle/>
          <a:p>
            <a:pPr marL="171450" indent="-171450">
              <a:buFont typeface="Arial" panose="020B0604020202020204" pitchFamily="34" charset="0"/>
              <a:buChar char="•"/>
            </a:pPr>
            <a:r>
              <a:rPr lang="en-GB" sz="1050">
                <a:latin typeface="Trebuchet MS" panose="020B0603020202020204" pitchFamily="34" charset="0"/>
              </a:rPr>
              <a:t>This new structure will impact the Direct+ API and its integration of D&amp;B data into all systems and business applications</a:t>
            </a:r>
          </a:p>
          <a:p>
            <a:pPr marL="171450" indent="-171450">
              <a:buFont typeface="Arial" panose="020B0604020202020204" pitchFamily="34" charset="0"/>
              <a:buChar char="•"/>
            </a:pPr>
            <a:r>
              <a:rPr lang="en-GB" sz="1050" err="1">
                <a:latin typeface="Trebuchet MS" panose="020B0603020202020204" pitchFamily="34" charset="0"/>
              </a:rPr>
              <a:t>Altares</a:t>
            </a:r>
            <a:r>
              <a:rPr lang="en-GB" sz="1050">
                <a:latin typeface="Trebuchet MS" panose="020B0603020202020204" pitchFamily="34" charset="0"/>
              </a:rPr>
              <a:t> will use the data blocks both in the </a:t>
            </a:r>
            <a:r>
              <a:rPr lang="en-GB" sz="1050">
                <a:solidFill>
                  <a:schemeClr val="tx2"/>
                </a:solidFill>
                <a:latin typeface="Trebuchet MS" panose="020B0603020202020204" pitchFamily="34" charset="0"/>
              </a:rPr>
              <a:t>development of proprietary products</a:t>
            </a:r>
            <a:r>
              <a:rPr lang="en-GB" sz="1050">
                <a:latin typeface="Trebuchet MS" panose="020B0603020202020204" pitchFamily="34" charset="0"/>
              </a:rPr>
              <a:t> and in the </a:t>
            </a:r>
            <a:r>
              <a:rPr lang="en-GB" sz="1050">
                <a:solidFill>
                  <a:schemeClr val="tx2"/>
                </a:solidFill>
                <a:latin typeface="Trebuchet MS" panose="020B0603020202020204" pitchFamily="34" charset="0"/>
              </a:rPr>
              <a:t>direct sales of the Direct+ API</a:t>
            </a:r>
          </a:p>
        </p:txBody>
      </p:sp>
      <p:sp>
        <p:nvSpPr>
          <p:cNvPr id="230" name="Rectangle 229">
            <a:extLst>
              <a:ext uri="{FF2B5EF4-FFF2-40B4-BE49-F238E27FC236}">
                <a16:creationId xmlns:a16="http://schemas.microsoft.com/office/drawing/2014/main" id="{2862CA9A-0DC5-4F89-A2AC-A71C9A6DF7F0}"/>
              </a:ext>
            </a:extLst>
          </p:cNvPr>
          <p:cNvSpPr/>
          <p:nvPr/>
        </p:nvSpPr>
        <p:spPr bwMode="auto">
          <a:xfrm>
            <a:off x="433549" y="1540645"/>
            <a:ext cx="983987" cy="219254"/>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a:ln>
                  <a:noFill/>
                </a:ln>
                <a:solidFill>
                  <a:schemeClr val="bg1"/>
                </a:solidFill>
                <a:effectLst/>
                <a:latin typeface="Trebuchet MS" panose="020B0603020202020204" pitchFamily="34" charset="0"/>
              </a:rPr>
              <a:t>Data Block</a:t>
            </a:r>
          </a:p>
        </p:txBody>
      </p:sp>
      <p:sp>
        <p:nvSpPr>
          <p:cNvPr id="231" name="Rectangle : coins arrondis 230">
            <a:extLst>
              <a:ext uri="{FF2B5EF4-FFF2-40B4-BE49-F238E27FC236}">
                <a16:creationId xmlns:a16="http://schemas.microsoft.com/office/drawing/2014/main" id="{6031994B-6F7D-4F6C-B65C-5C482C2C20A9}"/>
              </a:ext>
            </a:extLst>
          </p:cNvPr>
          <p:cNvSpPr/>
          <p:nvPr/>
        </p:nvSpPr>
        <p:spPr bwMode="auto">
          <a:xfrm>
            <a:off x="1163196" y="2043330"/>
            <a:ext cx="983987" cy="219254"/>
          </a:xfrm>
          <a:prstGeom prst="roundRect">
            <a:avLst>
              <a:gd name="adj" fmla="val 50000"/>
            </a:avLst>
          </a:prstGeom>
          <a:solidFill>
            <a:srgbClr val="ADD9FD"/>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a:ln>
                  <a:noFill/>
                </a:ln>
                <a:solidFill>
                  <a:schemeClr val="bg1">
                    <a:lumMod val="50000"/>
                  </a:schemeClr>
                </a:solidFill>
                <a:effectLst/>
                <a:latin typeface="Trebuchet MS" panose="020B0603020202020204" pitchFamily="34" charset="0"/>
              </a:rPr>
              <a:t>Data Level</a:t>
            </a:r>
          </a:p>
        </p:txBody>
      </p:sp>
      <p:sp>
        <p:nvSpPr>
          <p:cNvPr id="232" name="Rectangle 231">
            <a:extLst>
              <a:ext uri="{FF2B5EF4-FFF2-40B4-BE49-F238E27FC236}">
                <a16:creationId xmlns:a16="http://schemas.microsoft.com/office/drawing/2014/main" id="{087B148F-19A4-4D25-BA72-DFC5C6DA69F6}"/>
              </a:ext>
            </a:extLst>
          </p:cNvPr>
          <p:cNvSpPr/>
          <p:nvPr/>
        </p:nvSpPr>
        <p:spPr bwMode="auto">
          <a:xfrm>
            <a:off x="1365578" y="1394272"/>
            <a:ext cx="3371379" cy="53158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u="none" strike="noStrike" cap="none" normalizeH="0" baseline="0">
                <a:ln>
                  <a:noFill/>
                </a:ln>
                <a:solidFill>
                  <a:schemeClr val="tx1"/>
                </a:solidFill>
                <a:effectLst/>
                <a:latin typeface="Trebuchet MS" panose="020B0603020202020204" pitchFamily="34" charset="0"/>
              </a:rPr>
              <a:t>A «</a:t>
            </a:r>
            <a:r>
              <a:rPr kumimoji="0" lang="en-GB" sz="1000" b="0" u="none" strike="noStrike" cap="none" normalizeH="0" baseline="0">
                <a:ln>
                  <a:noFill/>
                </a:ln>
                <a:solidFill>
                  <a:schemeClr val="tx2"/>
                </a:solidFill>
                <a:effectLst/>
                <a:latin typeface="Trebuchet MS" panose="020B0603020202020204" pitchFamily="34" charset="0"/>
              </a:rPr>
              <a:t> Data block </a:t>
            </a:r>
            <a:r>
              <a:rPr kumimoji="0" lang="en-GB" sz="1000" b="0" u="none" strike="noStrike" cap="none" normalizeH="0" baseline="0">
                <a:ln>
                  <a:noFill/>
                </a:ln>
                <a:solidFill>
                  <a:schemeClr val="tx1"/>
                </a:solidFill>
                <a:effectLst/>
                <a:latin typeface="Trebuchet MS" panose="020B0603020202020204" pitchFamily="34" charset="0"/>
              </a:rPr>
              <a:t>» is a logical grouping of data elements arranged based on a Data Topic that will be delivered via API and File</a:t>
            </a:r>
          </a:p>
        </p:txBody>
      </p:sp>
      <p:sp>
        <p:nvSpPr>
          <p:cNvPr id="233" name="Rectangle 232">
            <a:extLst>
              <a:ext uri="{FF2B5EF4-FFF2-40B4-BE49-F238E27FC236}">
                <a16:creationId xmlns:a16="http://schemas.microsoft.com/office/drawing/2014/main" id="{89F50210-22A9-44C8-AA14-AD786D159246}"/>
              </a:ext>
            </a:extLst>
          </p:cNvPr>
          <p:cNvSpPr/>
          <p:nvPr/>
        </p:nvSpPr>
        <p:spPr bwMode="auto">
          <a:xfrm>
            <a:off x="2183472" y="1877972"/>
            <a:ext cx="2475249" cy="53158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u="none" strike="noStrike" cap="none" normalizeH="0" baseline="0">
                <a:ln>
                  <a:noFill/>
                </a:ln>
                <a:solidFill>
                  <a:schemeClr val="tx1"/>
                </a:solidFill>
                <a:effectLst/>
                <a:latin typeface="Trebuchet MS" panose="020B0603020202020204" pitchFamily="34" charset="0"/>
              </a:rPr>
              <a:t>« </a:t>
            </a:r>
            <a:r>
              <a:rPr kumimoji="0" lang="en-GB" sz="1000" b="0" u="none" strike="noStrike" cap="none" normalizeH="0" baseline="0">
                <a:ln>
                  <a:noFill/>
                </a:ln>
                <a:solidFill>
                  <a:schemeClr val="tx2"/>
                </a:solidFill>
                <a:effectLst/>
                <a:latin typeface="Trebuchet MS" panose="020B0603020202020204" pitchFamily="34" charset="0"/>
              </a:rPr>
              <a:t>Data levels </a:t>
            </a:r>
            <a:r>
              <a:rPr kumimoji="0" lang="en-GB" sz="1000" b="0" u="none" strike="noStrike" cap="none" normalizeH="0" baseline="0">
                <a:ln>
                  <a:noFill/>
                </a:ln>
                <a:solidFill>
                  <a:schemeClr val="tx1"/>
                </a:solidFill>
                <a:effectLst/>
                <a:latin typeface="Trebuchet MS" panose="020B0603020202020204" pitchFamily="34" charset="0"/>
              </a:rPr>
              <a:t>» are segmented views of the data blocks to address specific customer content requirements</a:t>
            </a:r>
          </a:p>
        </p:txBody>
      </p:sp>
      <p:cxnSp>
        <p:nvCxnSpPr>
          <p:cNvPr id="234" name="Connecteur : en angle 233">
            <a:extLst>
              <a:ext uri="{FF2B5EF4-FFF2-40B4-BE49-F238E27FC236}">
                <a16:creationId xmlns:a16="http://schemas.microsoft.com/office/drawing/2014/main" id="{CC309F7A-F458-4213-98AB-440A17727987}"/>
              </a:ext>
            </a:extLst>
          </p:cNvPr>
          <p:cNvCxnSpPr>
            <a:cxnSpLocks/>
            <a:stCxn id="230" idx="2"/>
            <a:endCxn id="231" idx="1"/>
          </p:cNvCxnSpPr>
          <p:nvPr/>
        </p:nvCxnSpPr>
        <p:spPr bwMode="auto">
          <a:xfrm rot="16200000" flipH="1">
            <a:off x="847840" y="1837601"/>
            <a:ext cx="393058" cy="237653"/>
          </a:xfrm>
          <a:prstGeom prst="bentConnector2">
            <a:avLst/>
          </a:prstGeom>
          <a:solidFill>
            <a:schemeClr val="accent1"/>
          </a:solidFill>
          <a:ln w="9525" cap="flat" cmpd="sng" algn="ctr">
            <a:solidFill>
              <a:schemeClr val="tx1"/>
            </a:solidFill>
            <a:prstDash val="solid"/>
            <a:round/>
            <a:headEnd type="none" w="med" len="med"/>
            <a:tailEnd type="triangle"/>
          </a:ln>
          <a:effectLst/>
        </p:spPr>
      </p:cxnSp>
      <p:cxnSp>
        <p:nvCxnSpPr>
          <p:cNvPr id="315" name="Connecteur droit 208">
            <a:extLst>
              <a:ext uri="{FF2B5EF4-FFF2-40B4-BE49-F238E27FC236}">
                <a16:creationId xmlns:a16="http://schemas.microsoft.com/office/drawing/2014/main" id="{7CEDAE04-75A5-4072-ADE1-28EFA201D9E9}"/>
              </a:ext>
            </a:extLst>
          </p:cNvPr>
          <p:cNvCxnSpPr>
            <a:cxnSpLocks/>
          </p:cNvCxnSpPr>
          <p:nvPr/>
        </p:nvCxnSpPr>
        <p:spPr bwMode="auto">
          <a:xfrm>
            <a:off x="229891" y="1048464"/>
            <a:ext cx="455244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16" name="Rectangle 84">
            <a:extLst>
              <a:ext uri="{FF2B5EF4-FFF2-40B4-BE49-F238E27FC236}">
                <a16:creationId xmlns:a16="http://schemas.microsoft.com/office/drawing/2014/main" id="{4F96669C-77DE-42CB-8127-49B7E45BA344}"/>
              </a:ext>
            </a:extLst>
          </p:cNvPr>
          <p:cNvSpPr/>
          <p:nvPr/>
        </p:nvSpPr>
        <p:spPr bwMode="auto">
          <a:xfrm>
            <a:off x="1014506" y="924918"/>
            <a:ext cx="3126281" cy="247093"/>
          </a:xfrm>
          <a:prstGeom prst="rect">
            <a:avLst/>
          </a:prstGeom>
          <a:solidFill>
            <a:schemeClr val="bg1"/>
          </a:solidFill>
        </p:spPr>
        <p:txBody>
          <a:bodyPr wrap="square" rtlCol="0">
            <a:noAutofit/>
          </a:bodyPr>
          <a:lstStyle/>
          <a:p>
            <a:pPr algn="ctr"/>
            <a:r>
              <a:rPr lang="en-GB" sz="1100">
                <a:solidFill>
                  <a:schemeClr val="tx2"/>
                </a:solidFill>
                <a:latin typeface="Trebuchet MS" panose="020B0603020202020204" pitchFamily="34" charset="0"/>
              </a:rPr>
              <a:t>Dun &amp; Bradstreet </a:t>
            </a:r>
            <a:r>
              <a:rPr lang="en-GB" sz="1100">
                <a:latin typeface="Trebuchet MS" panose="020B0603020202020204" pitchFamily="34" charset="0"/>
              </a:rPr>
              <a:t>is currently moving towards a </a:t>
            </a:r>
            <a:r>
              <a:rPr lang="en-GB" sz="1100" err="1">
                <a:solidFill>
                  <a:schemeClr val="tx2"/>
                </a:solidFill>
                <a:latin typeface="Trebuchet MS" panose="020B0603020202020204" pitchFamily="34" charset="0"/>
              </a:rPr>
              <a:t>Datablock</a:t>
            </a:r>
            <a:r>
              <a:rPr lang="en-GB" sz="1100">
                <a:solidFill>
                  <a:schemeClr val="tx2"/>
                </a:solidFill>
                <a:latin typeface="Trebuchet MS" panose="020B0603020202020204" pitchFamily="34" charset="0"/>
              </a:rPr>
              <a:t> approach </a:t>
            </a:r>
            <a:r>
              <a:rPr lang="en-GB" sz="1100">
                <a:latin typeface="Trebuchet MS" panose="020B0603020202020204" pitchFamily="34" charset="0"/>
              </a:rPr>
              <a:t>for the </a:t>
            </a:r>
            <a:r>
              <a:rPr lang="en-GB" sz="1100">
                <a:solidFill>
                  <a:schemeClr val="tx2"/>
                </a:solidFill>
                <a:latin typeface="Trebuchet MS" panose="020B0603020202020204" pitchFamily="34" charset="0"/>
              </a:rPr>
              <a:t>Direct+ API</a:t>
            </a:r>
            <a:r>
              <a:rPr lang="en-GB" sz="1100">
                <a:latin typeface="Trebuchet MS" panose="020B0603020202020204" pitchFamily="34" charset="0"/>
              </a:rPr>
              <a:t>…</a:t>
            </a:r>
          </a:p>
        </p:txBody>
      </p:sp>
      <p:cxnSp>
        <p:nvCxnSpPr>
          <p:cNvPr id="317" name="Connecteur droit 208">
            <a:extLst>
              <a:ext uri="{FF2B5EF4-FFF2-40B4-BE49-F238E27FC236}">
                <a16:creationId xmlns:a16="http://schemas.microsoft.com/office/drawing/2014/main" id="{2D5E9083-FB0F-4228-95E5-84F380559646}"/>
              </a:ext>
            </a:extLst>
          </p:cNvPr>
          <p:cNvCxnSpPr>
            <a:cxnSpLocks/>
          </p:cNvCxnSpPr>
          <p:nvPr/>
        </p:nvCxnSpPr>
        <p:spPr bwMode="auto">
          <a:xfrm>
            <a:off x="5177693" y="1048464"/>
            <a:ext cx="455244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18" name="Rectangle 84">
            <a:extLst>
              <a:ext uri="{FF2B5EF4-FFF2-40B4-BE49-F238E27FC236}">
                <a16:creationId xmlns:a16="http://schemas.microsoft.com/office/drawing/2014/main" id="{0B8BC33D-9FC3-43AB-80F4-E771C4A8D3B8}"/>
              </a:ext>
            </a:extLst>
          </p:cNvPr>
          <p:cNvSpPr/>
          <p:nvPr/>
        </p:nvSpPr>
        <p:spPr bwMode="auto">
          <a:xfrm>
            <a:off x="5875023" y="887237"/>
            <a:ext cx="3252952" cy="322455"/>
          </a:xfrm>
          <a:prstGeom prst="rect">
            <a:avLst/>
          </a:prstGeom>
          <a:solidFill>
            <a:schemeClr val="bg1"/>
          </a:solidFill>
        </p:spPr>
        <p:txBody>
          <a:bodyPr wrap="square" rtlCol="0">
            <a:noAutofit/>
          </a:bodyPr>
          <a:lstStyle/>
          <a:p>
            <a:pPr algn="ctr"/>
            <a:r>
              <a:rPr lang="en-GB" sz="1100">
                <a:latin typeface="Trebuchet MS" panose="020B0603020202020204" pitchFamily="34" charset="0"/>
              </a:rPr>
              <a:t>...which will </a:t>
            </a:r>
            <a:r>
              <a:rPr lang="en-GB" sz="1100">
                <a:solidFill>
                  <a:schemeClr val="tx2"/>
                </a:solidFill>
                <a:latin typeface="Trebuchet MS" panose="020B0603020202020204" pitchFamily="34" charset="0"/>
              </a:rPr>
              <a:t>simplify configuration</a:t>
            </a:r>
            <a:r>
              <a:rPr lang="en-GB" sz="1100">
                <a:latin typeface="Trebuchet MS" panose="020B0603020202020204" pitchFamily="34" charset="0"/>
              </a:rPr>
              <a:t>, </a:t>
            </a:r>
            <a:r>
              <a:rPr lang="en-GB" sz="1100">
                <a:solidFill>
                  <a:schemeClr val="tx2"/>
                </a:solidFill>
                <a:latin typeface="Trebuchet MS" panose="020B0603020202020204" pitchFamily="34" charset="0"/>
              </a:rPr>
              <a:t>contracts</a:t>
            </a:r>
            <a:r>
              <a:rPr lang="en-GB" sz="1100">
                <a:latin typeface="Trebuchet MS" panose="020B0603020202020204" pitchFamily="34" charset="0"/>
              </a:rPr>
              <a:t>, </a:t>
            </a:r>
            <a:r>
              <a:rPr lang="en-GB" sz="1100">
                <a:solidFill>
                  <a:schemeClr val="tx2"/>
                </a:solidFill>
                <a:latin typeface="Trebuchet MS" panose="020B0603020202020204" pitchFamily="34" charset="0"/>
              </a:rPr>
              <a:t>entitlements</a:t>
            </a:r>
            <a:r>
              <a:rPr lang="en-GB" sz="1100">
                <a:latin typeface="Trebuchet MS" panose="020B0603020202020204" pitchFamily="34" charset="0"/>
              </a:rPr>
              <a:t>, </a:t>
            </a:r>
            <a:r>
              <a:rPr lang="en-GB" sz="1100">
                <a:solidFill>
                  <a:schemeClr val="tx2"/>
                </a:solidFill>
                <a:latin typeface="Trebuchet MS" panose="020B0603020202020204" pitchFamily="34" charset="0"/>
              </a:rPr>
              <a:t>delivery, tracking </a:t>
            </a:r>
            <a:r>
              <a:rPr lang="en-GB" sz="1100">
                <a:latin typeface="Trebuchet MS" panose="020B0603020202020204" pitchFamily="34" charset="0"/>
              </a:rPr>
              <a:t>and reduce manual overhead and </a:t>
            </a:r>
            <a:r>
              <a:rPr lang="en-GB" sz="1100">
                <a:solidFill>
                  <a:schemeClr val="tx2"/>
                </a:solidFill>
                <a:latin typeface="Trebuchet MS" panose="020B0603020202020204" pitchFamily="34" charset="0"/>
              </a:rPr>
              <a:t>costs</a:t>
            </a:r>
            <a:r>
              <a:rPr lang="en-GB" sz="1100">
                <a:latin typeface="Trebuchet MS" panose="020B0603020202020204" pitchFamily="34" charset="0"/>
              </a:rPr>
              <a:t> </a:t>
            </a:r>
            <a:endParaRPr lang="en-GB" sz="1100">
              <a:solidFill>
                <a:schemeClr val="tx2"/>
              </a:solidFill>
              <a:latin typeface="Trebuchet MS" panose="020B0603020202020204" pitchFamily="34" charset="0"/>
            </a:endParaRPr>
          </a:p>
        </p:txBody>
      </p:sp>
      <p:cxnSp>
        <p:nvCxnSpPr>
          <p:cNvPr id="319" name="Connecteur droit 318">
            <a:extLst>
              <a:ext uri="{FF2B5EF4-FFF2-40B4-BE49-F238E27FC236}">
                <a16:creationId xmlns:a16="http://schemas.microsoft.com/office/drawing/2014/main" id="{E818E9EA-72CF-4570-9622-FD6CF4AC7940}"/>
              </a:ext>
            </a:extLst>
          </p:cNvPr>
          <p:cNvCxnSpPr>
            <a:cxnSpLocks/>
          </p:cNvCxnSpPr>
          <p:nvPr/>
        </p:nvCxnSpPr>
        <p:spPr bwMode="auto">
          <a:xfrm>
            <a:off x="4953000" y="1222077"/>
            <a:ext cx="0" cy="5009758"/>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20" name="Rectangle 319">
            <a:extLst>
              <a:ext uri="{FF2B5EF4-FFF2-40B4-BE49-F238E27FC236}">
                <a16:creationId xmlns:a16="http://schemas.microsoft.com/office/drawing/2014/main" id="{E793DE7E-3630-450B-96F0-912352FE13E6}"/>
              </a:ext>
            </a:extLst>
          </p:cNvPr>
          <p:cNvSpPr/>
          <p:nvPr/>
        </p:nvSpPr>
        <p:spPr bwMode="auto">
          <a:xfrm>
            <a:off x="5557547" y="5598817"/>
            <a:ext cx="3797988" cy="857348"/>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72000">
              <a:spcAft>
                <a:spcPts val="0"/>
              </a:spcAft>
            </a:pPr>
            <a:r>
              <a:rPr kumimoji="0" lang="en-GB" sz="1000" b="0" i="1" u="none" strike="noStrike" cap="none" spc="-30" normalizeH="0">
                <a:ln>
                  <a:noFill/>
                </a:ln>
                <a:solidFill>
                  <a:schemeClr val="tx1"/>
                </a:solidFill>
                <a:effectLst/>
                <a:latin typeface="Trebuchet MS" panose="020B0603020202020204" pitchFamily="34" charset="0"/>
              </a:rPr>
              <a:t>“Instead of large packs of data, D&amp;B has re-segmented its data into small groups by themes and levels, which will </a:t>
            </a:r>
            <a:r>
              <a:rPr kumimoji="0" lang="en-GB" sz="1000" b="0" i="1" u="none" strike="noStrike" cap="none" spc="-30" normalizeH="0">
                <a:ln>
                  <a:noFill/>
                </a:ln>
                <a:solidFill>
                  <a:schemeClr val="tx2"/>
                </a:solidFill>
                <a:effectLst/>
                <a:latin typeface="Trebuchet MS" panose="020B0603020202020204" pitchFamily="34" charset="0"/>
              </a:rPr>
              <a:t>bring a lot of flexibility </a:t>
            </a:r>
            <a:r>
              <a:rPr kumimoji="0" lang="en-GB" sz="1000" b="0" i="1" u="none" strike="noStrike" cap="none" spc="-30" normalizeH="0">
                <a:ln>
                  <a:noFill/>
                </a:ln>
                <a:solidFill>
                  <a:schemeClr val="tx1"/>
                </a:solidFill>
                <a:effectLst/>
                <a:latin typeface="Trebuchet MS" panose="020B0603020202020204" pitchFamily="34" charset="0"/>
              </a:rPr>
              <a:t>in terms of </a:t>
            </a:r>
            <a:r>
              <a:rPr kumimoji="0" lang="en-GB" sz="1000" b="0" i="1" u="none" strike="noStrike" cap="none" spc="-30" normalizeH="0">
                <a:ln>
                  <a:noFill/>
                </a:ln>
                <a:solidFill>
                  <a:schemeClr val="tx2"/>
                </a:solidFill>
                <a:effectLst/>
                <a:latin typeface="Trebuchet MS" panose="020B0603020202020204" pitchFamily="34" charset="0"/>
              </a:rPr>
              <a:t>invoicing</a:t>
            </a:r>
            <a:r>
              <a:rPr kumimoji="0" lang="en-GB" sz="1000" b="0" i="1" u="none" strike="noStrike" cap="none" spc="-30" normalizeH="0">
                <a:ln>
                  <a:noFill/>
                </a:ln>
                <a:solidFill>
                  <a:schemeClr val="tx1"/>
                </a:solidFill>
                <a:effectLst/>
                <a:latin typeface="Trebuchet MS" panose="020B0603020202020204" pitchFamily="34" charset="0"/>
              </a:rPr>
              <a:t> by the end of the year, and then impact all other products.</a:t>
            </a:r>
            <a:r>
              <a:rPr lang="en-GB" sz="1000" i="1" spc="-30">
                <a:latin typeface="Trebuchet MS" panose="020B0603020202020204" pitchFamily="34" charset="0"/>
              </a:rPr>
              <a:t>”</a:t>
            </a:r>
          </a:p>
          <a:p>
            <a:pPr marL="72000">
              <a:spcAft>
                <a:spcPts val="0"/>
              </a:spcAft>
            </a:pPr>
            <a:r>
              <a:rPr kumimoji="0" lang="en-GB" sz="1000" b="0" u="none" strike="noStrike" cap="none" spc="-30" normalizeH="0">
                <a:ln>
                  <a:noFill/>
                </a:ln>
                <a:solidFill>
                  <a:schemeClr val="tx1"/>
                </a:solidFill>
                <a:effectLst/>
                <a:latin typeface="Trebuchet MS" panose="020B0603020202020204" pitchFamily="34" charset="0"/>
              </a:rPr>
              <a:t>Product manager at </a:t>
            </a:r>
            <a:r>
              <a:rPr kumimoji="0" lang="en-GB" sz="1000" b="0" u="none" strike="noStrike" cap="none" spc="-30" normalizeH="0" err="1">
                <a:ln>
                  <a:noFill/>
                </a:ln>
                <a:solidFill>
                  <a:schemeClr val="tx1"/>
                </a:solidFill>
                <a:effectLst/>
                <a:latin typeface="Trebuchet MS" panose="020B0603020202020204" pitchFamily="34" charset="0"/>
              </a:rPr>
              <a:t>Altares</a:t>
            </a:r>
            <a:endParaRPr kumimoji="0" lang="en-GB" sz="1000" b="0" u="none" strike="noStrike" cap="none" spc="-30" normalizeH="0">
              <a:ln>
                <a:noFill/>
              </a:ln>
              <a:solidFill>
                <a:schemeClr val="tx1"/>
              </a:solidFill>
              <a:effectLst/>
              <a:latin typeface="Trebuchet MS" panose="020B0603020202020204" pitchFamily="34" charset="0"/>
            </a:endParaRPr>
          </a:p>
        </p:txBody>
      </p:sp>
      <p:sp>
        <p:nvSpPr>
          <p:cNvPr id="321" name="Freeform 663">
            <a:extLst>
              <a:ext uri="{FF2B5EF4-FFF2-40B4-BE49-F238E27FC236}">
                <a16:creationId xmlns:a16="http://schemas.microsoft.com/office/drawing/2014/main" id="{41D11FF6-19F7-4187-825A-629FA70B5B2D}"/>
              </a:ext>
            </a:extLst>
          </p:cNvPr>
          <p:cNvSpPr>
            <a:spLocks noEditPoints="1"/>
          </p:cNvSpPr>
          <p:nvPr/>
        </p:nvSpPr>
        <p:spPr bwMode="auto">
          <a:xfrm>
            <a:off x="5452101" y="5945005"/>
            <a:ext cx="189332" cy="189332"/>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324" name="Rectangle 323">
            <a:extLst>
              <a:ext uri="{FF2B5EF4-FFF2-40B4-BE49-F238E27FC236}">
                <a16:creationId xmlns:a16="http://schemas.microsoft.com/office/drawing/2014/main" id="{FCAEF018-0E99-43FD-8F60-7A41311B9A06}"/>
              </a:ext>
            </a:extLst>
          </p:cNvPr>
          <p:cNvSpPr/>
          <p:nvPr/>
        </p:nvSpPr>
        <p:spPr bwMode="auto">
          <a:xfrm>
            <a:off x="5557547" y="4277200"/>
            <a:ext cx="3797988" cy="70855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72000">
              <a:spcAft>
                <a:spcPts val="0"/>
              </a:spcAft>
            </a:pPr>
            <a:r>
              <a:rPr lang="en-GB" sz="1000" i="1" spc="-30">
                <a:latin typeface="Trebuchet MS" panose="020B0603020202020204" pitchFamily="34" charset="0"/>
              </a:rPr>
              <a:t>“200+ customer interviews and competitive analysis validated the move to data blocks. </a:t>
            </a:r>
            <a:r>
              <a:rPr lang="en-GB" sz="1000" i="1" spc="-30" err="1">
                <a:latin typeface="Trebuchet MS" panose="020B0603020202020204" pitchFamily="34" charset="0"/>
              </a:rPr>
              <a:t>Datablocks</a:t>
            </a:r>
            <a:r>
              <a:rPr lang="en-GB" sz="1000" i="1" spc="-30">
                <a:latin typeface="Trebuchet MS" panose="020B0603020202020204" pitchFamily="34" charset="0"/>
              </a:rPr>
              <a:t> are considered a </a:t>
            </a:r>
            <a:r>
              <a:rPr lang="en-GB" sz="1000" i="1" spc="-30">
                <a:solidFill>
                  <a:schemeClr val="tx2"/>
                </a:solidFill>
                <a:latin typeface="Trebuchet MS" panose="020B0603020202020204" pitchFamily="34" charset="0"/>
              </a:rPr>
              <a:t>best demonstrated practice for commercial content providers</a:t>
            </a:r>
            <a:r>
              <a:rPr lang="en-GB" sz="1000" i="1" spc="-30">
                <a:latin typeface="Trebuchet MS" panose="020B0603020202020204" pitchFamily="34" charset="0"/>
              </a:rPr>
              <a:t>.”</a:t>
            </a:r>
          </a:p>
          <a:p>
            <a:pPr marL="72000">
              <a:spcAft>
                <a:spcPts val="0"/>
              </a:spcAft>
            </a:pPr>
            <a:r>
              <a:rPr kumimoji="0" lang="en-GB" sz="1000" b="0" u="none" strike="noStrike" cap="none" spc="-30" normalizeH="0">
                <a:ln>
                  <a:noFill/>
                </a:ln>
                <a:solidFill>
                  <a:schemeClr val="tx1"/>
                </a:solidFill>
                <a:effectLst/>
                <a:latin typeface="Trebuchet MS" panose="020B0603020202020204" pitchFamily="34" charset="0"/>
              </a:rPr>
              <a:t>Dun &amp; Bradstreet communication to franchisees </a:t>
            </a:r>
          </a:p>
        </p:txBody>
      </p:sp>
      <p:sp>
        <p:nvSpPr>
          <p:cNvPr id="325" name="Freeform 663">
            <a:extLst>
              <a:ext uri="{FF2B5EF4-FFF2-40B4-BE49-F238E27FC236}">
                <a16:creationId xmlns:a16="http://schemas.microsoft.com/office/drawing/2014/main" id="{BA69060F-3F6D-4368-8568-02EC96F15B55}"/>
              </a:ext>
            </a:extLst>
          </p:cNvPr>
          <p:cNvSpPr>
            <a:spLocks noEditPoints="1"/>
          </p:cNvSpPr>
          <p:nvPr/>
        </p:nvSpPr>
        <p:spPr bwMode="auto">
          <a:xfrm>
            <a:off x="5452101" y="4557048"/>
            <a:ext cx="189332" cy="189332"/>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326" name="Rectangle 325">
            <a:extLst>
              <a:ext uri="{FF2B5EF4-FFF2-40B4-BE49-F238E27FC236}">
                <a16:creationId xmlns:a16="http://schemas.microsoft.com/office/drawing/2014/main" id="{74DDE52F-A969-4988-BF27-02F47D182CB0}"/>
              </a:ext>
            </a:extLst>
          </p:cNvPr>
          <p:cNvSpPr/>
          <p:nvPr/>
        </p:nvSpPr>
        <p:spPr bwMode="auto">
          <a:xfrm>
            <a:off x="5557547" y="5041076"/>
            <a:ext cx="3797988" cy="487147"/>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72000">
              <a:spcAft>
                <a:spcPts val="0"/>
              </a:spcAft>
            </a:pPr>
            <a:r>
              <a:rPr kumimoji="0" lang="en-GB" sz="1000" b="0" i="1" u="none" strike="noStrike" cap="none" spc="-30" normalizeH="0">
                <a:ln>
                  <a:noFill/>
                </a:ln>
                <a:solidFill>
                  <a:schemeClr val="tx1"/>
                </a:solidFill>
                <a:effectLst/>
                <a:latin typeface="Trebuchet MS" panose="020B0603020202020204" pitchFamily="34" charset="0"/>
              </a:rPr>
              <a:t>“</a:t>
            </a:r>
            <a:r>
              <a:rPr kumimoji="0" lang="en-GB" sz="1000" b="0" i="1" u="none" strike="noStrike" cap="none" spc="-30" normalizeH="0" err="1">
                <a:ln>
                  <a:noFill/>
                </a:ln>
                <a:solidFill>
                  <a:schemeClr val="tx2"/>
                </a:solidFill>
                <a:effectLst/>
                <a:latin typeface="Trebuchet MS" panose="020B0603020202020204" pitchFamily="34" charset="0"/>
              </a:rPr>
              <a:t>Altares</a:t>
            </a:r>
            <a:r>
              <a:rPr kumimoji="0" lang="en-GB" sz="1000" b="0" i="1" u="none" strike="noStrike" cap="none" spc="-30" normalizeH="0">
                <a:ln>
                  <a:noFill/>
                </a:ln>
                <a:solidFill>
                  <a:schemeClr val="tx2"/>
                </a:solidFill>
                <a:effectLst/>
                <a:latin typeface="Trebuchet MS" panose="020B0603020202020204" pitchFamily="34" charset="0"/>
              </a:rPr>
              <a:t> is an early adopter </a:t>
            </a:r>
            <a:r>
              <a:rPr kumimoji="0" lang="en-GB" sz="1000" b="0" i="1" u="none" strike="noStrike" cap="none" spc="-30" normalizeH="0">
                <a:ln>
                  <a:noFill/>
                </a:ln>
                <a:solidFill>
                  <a:schemeClr val="tx1"/>
                </a:solidFill>
                <a:effectLst/>
                <a:latin typeface="Trebuchet MS" panose="020B0603020202020204" pitchFamily="34" charset="0"/>
              </a:rPr>
              <a:t>of the new API compared to the other franchisees in the network</a:t>
            </a:r>
            <a:r>
              <a:rPr lang="en-GB" sz="1000" i="1" spc="-30">
                <a:latin typeface="Trebuchet MS" panose="020B0603020202020204" pitchFamily="34" charset="0"/>
              </a:rPr>
              <a:t>”</a:t>
            </a:r>
          </a:p>
          <a:p>
            <a:pPr marL="72000">
              <a:spcAft>
                <a:spcPts val="0"/>
              </a:spcAft>
            </a:pPr>
            <a:r>
              <a:rPr kumimoji="0" lang="en-GB" sz="1000" b="0" u="none" strike="noStrike" cap="none" spc="-30" normalizeH="0">
                <a:ln>
                  <a:noFill/>
                </a:ln>
                <a:solidFill>
                  <a:schemeClr val="tx1"/>
                </a:solidFill>
                <a:effectLst/>
                <a:latin typeface="Trebuchet MS" panose="020B0603020202020204" pitchFamily="34" charset="0"/>
              </a:rPr>
              <a:t>Product manager at </a:t>
            </a:r>
            <a:r>
              <a:rPr kumimoji="0" lang="en-GB" sz="1000" b="0" u="none" strike="noStrike" cap="none" spc="-30" normalizeH="0" err="1">
                <a:ln>
                  <a:noFill/>
                </a:ln>
                <a:solidFill>
                  <a:schemeClr val="tx1"/>
                </a:solidFill>
                <a:effectLst/>
                <a:latin typeface="Trebuchet MS" panose="020B0603020202020204" pitchFamily="34" charset="0"/>
              </a:rPr>
              <a:t>Altares</a:t>
            </a:r>
            <a:endParaRPr kumimoji="0" lang="en-GB" sz="1000" b="0" u="none" strike="noStrike" cap="none" spc="-30" normalizeH="0">
              <a:ln>
                <a:noFill/>
              </a:ln>
              <a:solidFill>
                <a:schemeClr val="tx1"/>
              </a:solidFill>
              <a:effectLst/>
              <a:latin typeface="Trebuchet MS" panose="020B0603020202020204" pitchFamily="34" charset="0"/>
            </a:endParaRPr>
          </a:p>
        </p:txBody>
      </p:sp>
      <p:sp>
        <p:nvSpPr>
          <p:cNvPr id="327" name="Freeform 663">
            <a:extLst>
              <a:ext uri="{FF2B5EF4-FFF2-40B4-BE49-F238E27FC236}">
                <a16:creationId xmlns:a16="http://schemas.microsoft.com/office/drawing/2014/main" id="{DA8627B7-0893-4D46-AAD7-2F3B4ED63523}"/>
              </a:ext>
            </a:extLst>
          </p:cNvPr>
          <p:cNvSpPr>
            <a:spLocks noEditPoints="1"/>
          </p:cNvSpPr>
          <p:nvPr/>
        </p:nvSpPr>
        <p:spPr bwMode="auto">
          <a:xfrm>
            <a:off x="5452101" y="5151724"/>
            <a:ext cx="189332" cy="189332"/>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nvGrpSpPr>
          <p:cNvPr id="377" name="Groupe 376">
            <a:extLst>
              <a:ext uri="{FF2B5EF4-FFF2-40B4-BE49-F238E27FC236}">
                <a16:creationId xmlns:a16="http://schemas.microsoft.com/office/drawing/2014/main" id="{209CF195-CAA5-44CD-8A51-74DDC501191B}"/>
              </a:ext>
            </a:extLst>
          </p:cNvPr>
          <p:cNvGrpSpPr/>
          <p:nvPr/>
        </p:nvGrpSpPr>
        <p:grpSpPr>
          <a:xfrm>
            <a:off x="377145" y="2441230"/>
            <a:ext cx="4072866" cy="1750522"/>
            <a:chOff x="377145" y="2441230"/>
            <a:chExt cx="4072866" cy="1750522"/>
          </a:xfrm>
        </p:grpSpPr>
        <p:sp>
          <p:nvSpPr>
            <p:cNvPr id="236" name="Rectangle 235">
              <a:extLst>
                <a:ext uri="{FF2B5EF4-FFF2-40B4-BE49-F238E27FC236}">
                  <a16:creationId xmlns:a16="http://schemas.microsoft.com/office/drawing/2014/main" id="{D99B8154-EA44-4EAD-8A7D-A880C02DBE32}"/>
                </a:ext>
              </a:extLst>
            </p:cNvPr>
            <p:cNvSpPr/>
            <p:nvPr/>
          </p:nvSpPr>
          <p:spPr bwMode="auto">
            <a:xfrm>
              <a:off x="385805" y="2441230"/>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Company Entity Resolution</a:t>
              </a:r>
            </a:p>
          </p:txBody>
        </p:sp>
        <p:sp>
          <p:nvSpPr>
            <p:cNvPr id="237" name="Rectangle 236">
              <a:extLst>
                <a:ext uri="{FF2B5EF4-FFF2-40B4-BE49-F238E27FC236}">
                  <a16:creationId xmlns:a16="http://schemas.microsoft.com/office/drawing/2014/main" id="{6AB88EA4-5A85-45C4-977E-31FB41744671}"/>
                </a:ext>
              </a:extLst>
            </p:cNvPr>
            <p:cNvSpPr/>
            <p:nvPr/>
          </p:nvSpPr>
          <p:spPr bwMode="auto">
            <a:xfrm>
              <a:off x="1762819" y="2441230"/>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Company Information</a:t>
              </a:r>
            </a:p>
          </p:txBody>
        </p:sp>
        <p:sp>
          <p:nvSpPr>
            <p:cNvPr id="238" name="Rectangle 237">
              <a:extLst>
                <a:ext uri="{FF2B5EF4-FFF2-40B4-BE49-F238E27FC236}">
                  <a16:creationId xmlns:a16="http://schemas.microsoft.com/office/drawing/2014/main" id="{9205B30F-00F6-482A-BA9A-567A852F8B5F}"/>
                </a:ext>
              </a:extLst>
            </p:cNvPr>
            <p:cNvSpPr/>
            <p:nvPr/>
          </p:nvSpPr>
          <p:spPr bwMode="auto">
            <a:xfrm>
              <a:off x="3139832" y="2441230"/>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Company News</a:t>
              </a:r>
            </a:p>
          </p:txBody>
        </p:sp>
        <p:sp>
          <p:nvSpPr>
            <p:cNvPr id="239" name="Rectangle 238">
              <a:extLst>
                <a:ext uri="{FF2B5EF4-FFF2-40B4-BE49-F238E27FC236}">
                  <a16:creationId xmlns:a16="http://schemas.microsoft.com/office/drawing/2014/main" id="{0C4F7528-6BF1-4652-B9B9-5B3A4001D3F2}"/>
                </a:ext>
              </a:extLst>
            </p:cNvPr>
            <p:cNvSpPr/>
            <p:nvPr/>
          </p:nvSpPr>
          <p:spPr bwMode="auto">
            <a:xfrm>
              <a:off x="385804" y="2803593"/>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Principals &amp; Contracts</a:t>
              </a:r>
            </a:p>
          </p:txBody>
        </p:sp>
        <p:sp>
          <p:nvSpPr>
            <p:cNvPr id="240" name="Rectangle 239">
              <a:extLst>
                <a:ext uri="{FF2B5EF4-FFF2-40B4-BE49-F238E27FC236}">
                  <a16:creationId xmlns:a16="http://schemas.microsoft.com/office/drawing/2014/main" id="{F9959477-73E9-4D1A-935B-867BC1B8A11A}"/>
                </a:ext>
              </a:extLst>
            </p:cNvPr>
            <p:cNvSpPr/>
            <p:nvPr/>
          </p:nvSpPr>
          <p:spPr bwMode="auto">
            <a:xfrm>
              <a:off x="1762819" y="2803593"/>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Industry profiles</a:t>
              </a:r>
            </a:p>
          </p:txBody>
        </p:sp>
        <p:sp>
          <p:nvSpPr>
            <p:cNvPr id="241" name="Rectangle 240">
              <a:extLst>
                <a:ext uri="{FF2B5EF4-FFF2-40B4-BE49-F238E27FC236}">
                  <a16:creationId xmlns:a16="http://schemas.microsoft.com/office/drawing/2014/main" id="{3AB62AC5-8196-4F8F-AB26-8748B3CE2F48}"/>
                </a:ext>
              </a:extLst>
            </p:cNvPr>
            <p:cNvSpPr/>
            <p:nvPr/>
          </p:nvSpPr>
          <p:spPr bwMode="auto">
            <a:xfrm>
              <a:off x="3139832" y="2803593"/>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Hierarchies &amp; Connections</a:t>
              </a:r>
            </a:p>
          </p:txBody>
        </p:sp>
        <p:sp>
          <p:nvSpPr>
            <p:cNvPr id="242" name="Rectangle 241">
              <a:extLst>
                <a:ext uri="{FF2B5EF4-FFF2-40B4-BE49-F238E27FC236}">
                  <a16:creationId xmlns:a16="http://schemas.microsoft.com/office/drawing/2014/main" id="{12F44CD9-C13B-48B5-AA44-9BF2C5DCA29E}"/>
                </a:ext>
              </a:extLst>
            </p:cNvPr>
            <p:cNvSpPr/>
            <p:nvPr/>
          </p:nvSpPr>
          <p:spPr bwMode="auto">
            <a:xfrm>
              <a:off x="385803" y="3161087"/>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Third-Party Risk Insights</a:t>
              </a:r>
            </a:p>
          </p:txBody>
        </p:sp>
        <p:sp>
          <p:nvSpPr>
            <p:cNvPr id="243" name="Rectangle 242">
              <a:extLst>
                <a:ext uri="{FF2B5EF4-FFF2-40B4-BE49-F238E27FC236}">
                  <a16:creationId xmlns:a16="http://schemas.microsoft.com/office/drawing/2014/main" id="{362CFEE4-C6C5-4698-8919-4477AF71C448}"/>
                </a:ext>
              </a:extLst>
            </p:cNvPr>
            <p:cNvSpPr/>
            <p:nvPr/>
          </p:nvSpPr>
          <p:spPr bwMode="auto">
            <a:xfrm>
              <a:off x="1762819" y="3161087"/>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Sales &amp; Marketing Insights</a:t>
              </a:r>
            </a:p>
          </p:txBody>
        </p:sp>
        <p:sp>
          <p:nvSpPr>
            <p:cNvPr id="244" name="Rectangle 243">
              <a:extLst>
                <a:ext uri="{FF2B5EF4-FFF2-40B4-BE49-F238E27FC236}">
                  <a16:creationId xmlns:a16="http://schemas.microsoft.com/office/drawing/2014/main" id="{185A526A-41BF-4B9C-B71A-F29B5B4A87FD}"/>
                </a:ext>
              </a:extLst>
            </p:cNvPr>
            <p:cNvSpPr/>
            <p:nvPr/>
          </p:nvSpPr>
          <p:spPr bwMode="auto">
            <a:xfrm>
              <a:off x="3139832" y="3161087"/>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Financial Strength Insights</a:t>
              </a:r>
            </a:p>
          </p:txBody>
        </p:sp>
        <p:sp>
          <p:nvSpPr>
            <p:cNvPr id="245" name="Rectangle 244">
              <a:extLst>
                <a:ext uri="{FF2B5EF4-FFF2-40B4-BE49-F238E27FC236}">
                  <a16:creationId xmlns:a16="http://schemas.microsoft.com/office/drawing/2014/main" id="{B15CB26C-D78B-4DD9-87E3-AA241685CC91}"/>
                </a:ext>
              </a:extLst>
            </p:cNvPr>
            <p:cNvSpPr/>
            <p:nvPr/>
          </p:nvSpPr>
          <p:spPr bwMode="auto">
            <a:xfrm>
              <a:off x="377145" y="3518910"/>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Diversity Insights</a:t>
              </a:r>
            </a:p>
          </p:txBody>
        </p:sp>
        <p:sp>
          <p:nvSpPr>
            <p:cNvPr id="246" name="Rectangle 245">
              <a:extLst>
                <a:ext uri="{FF2B5EF4-FFF2-40B4-BE49-F238E27FC236}">
                  <a16:creationId xmlns:a16="http://schemas.microsoft.com/office/drawing/2014/main" id="{15D40090-291B-4DD4-B0C9-09687D96B3D0}"/>
                </a:ext>
              </a:extLst>
            </p:cNvPr>
            <p:cNvSpPr/>
            <p:nvPr/>
          </p:nvSpPr>
          <p:spPr bwMode="auto">
            <a:xfrm>
              <a:off x="1762818" y="3518910"/>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Ownership Insights</a:t>
              </a:r>
            </a:p>
          </p:txBody>
        </p:sp>
        <p:sp>
          <p:nvSpPr>
            <p:cNvPr id="247" name="Rectangle 246">
              <a:extLst>
                <a:ext uri="{FF2B5EF4-FFF2-40B4-BE49-F238E27FC236}">
                  <a16:creationId xmlns:a16="http://schemas.microsoft.com/office/drawing/2014/main" id="{1844E537-8E86-4149-AA3B-F7DDF260061E}"/>
                </a:ext>
              </a:extLst>
            </p:cNvPr>
            <p:cNvSpPr/>
            <p:nvPr/>
          </p:nvSpPr>
          <p:spPr bwMode="auto">
            <a:xfrm>
              <a:off x="3139831" y="3518910"/>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Company Financials</a:t>
              </a:r>
            </a:p>
          </p:txBody>
        </p:sp>
        <p:sp>
          <p:nvSpPr>
            <p:cNvPr id="248" name="Rectangle 247">
              <a:extLst>
                <a:ext uri="{FF2B5EF4-FFF2-40B4-BE49-F238E27FC236}">
                  <a16:creationId xmlns:a16="http://schemas.microsoft.com/office/drawing/2014/main" id="{3C6853C7-7230-4817-A74D-5EE7EDCCCA0B}"/>
                </a:ext>
              </a:extLst>
            </p:cNvPr>
            <p:cNvSpPr/>
            <p:nvPr/>
          </p:nvSpPr>
          <p:spPr bwMode="auto">
            <a:xfrm>
              <a:off x="377145" y="3877538"/>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Payment Insights</a:t>
              </a:r>
            </a:p>
          </p:txBody>
        </p:sp>
        <p:sp>
          <p:nvSpPr>
            <p:cNvPr id="249" name="Rectangle 248">
              <a:extLst>
                <a:ext uri="{FF2B5EF4-FFF2-40B4-BE49-F238E27FC236}">
                  <a16:creationId xmlns:a16="http://schemas.microsoft.com/office/drawing/2014/main" id="{AF09A0A3-EC40-4E6A-8244-39619E4AE361}"/>
                </a:ext>
              </a:extLst>
            </p:cNvPr>
            <p:cNvSpPr/>
            <p:nvPr/>
          </p:nvSpPr>
          <p:spPr bwMode="auto">
            <a:xfrm>
              <a:off x="1762818" y="3877538"/>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Filing &amp; Events</a:t>
              </a:r>
            </a:p>
          </p:txBody>
        </p:sp>
        <p:sp>
          <p:nvSpPr>
            <p:cNvPr id="250" name="Rectangle 249">
              <a:extLst>
                <a:ext uri="{FF2B5EF4-FFF2-40B4-BE49-F238E27FC236}">
                  <a16:creationId xmlns:a16="http://schemas.microsoft.com/office/drawing/2014/main" id="{D146D4AD-A02D-43FB-BD55-B96D86F96D45}"/>
                </a:ext>
              </a:extLst>
            </p:cNvPr>
            <p:cNvSpPr/>
            <p:nvPr/>
          </p:nvSpPr>
          <p:spPr bwMode="auto">
            <a:xfrm>
              <a:off x="3139831" y="3877538"/>
              <a:ext cx="914314"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Monitoring</a:t>
              </a:r>
            </a:p>
          </p:txBody>
        </p:sp>
        <p:sp>
          <p:nvSpPr>
            <p:cNvPr id="251" name="Rectangle 250">
              <a:extLst>
                <a:ext uri="{FF2B5EF4-FFF2-40B4-BE49-F238E27FC236}">
                  <a16:creationId xmlns:a16="http://schemas.microsoft.com/office/drawing/2014/main" id="{786A7353-0FA9-4460-BF8F-4CEB1B8FEF51}"/>
                </a:ext>
              </a:extLst>
            </p:cNvPr>
            <p:cNvSpPr/>
            <p:nvPr/>
          </p:nvSpPr>
          <p:spPr bwMode="auto">
            <a:xfrm>
              <a:off x="4074084" y="3877538"/>
              <a:ext cx="375926"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a:t>
              </a:r>
            </a:p>
          </p:txBody>
        </p:sp>
        <p:sp>
          <p:nvSpPr>
            <p:cNvPr id="252" name="Rectangle : coins arrondis 251">
              <a:extLst>
                <a:ext uri="{FF2B5EF4-FFF2-40B4-BE49-F238E27FC236}">
                  <a16:creationId xmlns:a16="http://schemas.microsoft.com/office/drawing/2014/main" id="{313CBA57-466C-4E06-AB4C-E349B488D2F8}"/>
                </a:ext>
              </a:extLst>
            </p:cNvPr>
            <p:cNvSpPr/>
            <p:nvPr/>
          </p:nvSpPr>
          <p:spPr bwMode="auto">
            <a:xfrm>
              <a:off x="400477"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53" name="Rectangle : coins arrondis 252">
              <a:extLst>
                <a:ext uri="{FF2B5EF4-FFF2-40B4-BE49-F238E27FC236}">
                  <a16:creationId xmlns:a16="http://schemas.microsoft.com/office/drawing/2014/main" id="{26C5D600-54D3-4902-87F6-7E8F580DACB0}"/>
                </a:ext>
              </a:extLst>
            </p:cNvPr>
            <p:cNvSpPr/>
            <p:nvPr/>
          </p:nvSpPr>
          <p:spPr bwMode="auto">
            <a:xfrm>
              <a:off x="735548"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54" name="Rectangle : coins arrondis 253">
              <a:extLst>
                <a:ext uri="{FF2B5EF4-FFF2-40B4-BE49-F238E27FC236}">
                  <a16:creationId xmlns:a16="http://schemas.microsoft.com/office/drawing/2014/main" id="{29184351-E8AA-45A6-A8C8-A7F0E54D296A}"/>
                </a:ext>
              </a:extLst>
            </p:cNvPr>
            <p:cNvSpPr/>
            <p:nvPr/>
          </p:nvSpPr>
          <p:spPr bwMode="auto">
            <a:xfrm>
              <a:off x="1057376"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55" name="Rectangle : coins arrondis 254">
              <a:extLst>
                <a:ext uri="{FF2B5EF4-FFF2-40B4-BE49-F238E27FC236}">
                  <a16:creationId xmlns:a16="http://schemas.microsoft.com/office/drawing/2014/main" id="{80AE8692-D5F5-4EF1-8A36-8C13B62EF360}"/>
                </a:ext>
              </a:extLst>
            </p:cNvPr>
            <p:cNvSpPr/>
            <p:nvPr/>
          </p:nvSpPr>
          <p:spPr bwMode="auto">
            <a:xfrm>
              <a:off x="1387865"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56" name="Rectangle : coins arrondis 255">
              <a:extLst>
                <a:ext uri="{FF2B5EF4-FFF2-40B4-BE49-F238E27FC236}">
                  <a16:creationId xmlns:a16="http://schemas.microsoft.com/office/drawing/2014/main" id="{258C9C2D-0D88-43FD-B877-664D856CE7F0}"/>
                </a:ext>
              </a:extLst>
            </p:cNvPr>
            <p:cNvSpPr/>
            <p:nvPr/>
          </p:nvSpPr>
          <p:spPr bwMode="auto">
            <a:xfrm>
              <a:off x="1777490"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57" name="Rectangle : coins arrondis 256">
              <a:extLst>
                <a:ext uri="{FF2B5EF4-FFF2-40B4-BE49-F238E27FC236}">
                  <a16:creationId xmlns:a16="http://schemas.microsoft.com/office/drawing/2014/main" id="{15CAEE95-166D-48EB-A9AA-BEBE47594043}"/>
                </a:ext>
              </a:extLst>
            </p:cNvPr>
            <p:cNvSpPr/>
            <p:nvPr/>
          </p:nvSpPr>
          <p:spPr bwMode="auto">
            <a:xfrm>
              <a:off x="2112561"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58" name="Rectangle : coins arrondis 257">
              <a:extLst>
                <a:ext uri="{FF2B5EF4-FFF2-40B4-BE49-F238E27FC236}">
                  <a16:creationId xmlns:a16="http://schemas.microsoft.com/office/drawing/2014/main" id="{62EEF214-C2A0-46D7-9BAB-298DE0931B50}"/>
                </a:ext>
              </a:extLst>
            </p:cNvPr>
            <p:cNvSpPr/>
            <p:nvPr/>
          </p:nvSpPr>
          <p:spPr bwMode="auto">
            <a:xfrm>
              <a:off x="2434389"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59" name="Rectangle : coins arrondis 258">
              <a:extLst>
                <a:ext uri="{FF2B5EF4-FFF2-40B4-BE49-F238E27FC236}">
                  <a16:creationId xmlns:a16="http://schemas.microsoft.com/office/drawing/2014/main" id="{FB5861DF-625B-432B-A00E-E5484CD43B6D}"/>
                </a:ext>
              </a:extLst>
            </p:cNvPr>
            <p:cNvSpPr/>
            <p:nvPr/>
          </p:nvSpPr>
          <p:spPr bwMode="auto">
            <a:xfrm>
              <a:off x="2764878"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60" name="Rectangle : coins arrondis 259">
              <a:extLst>
                <a:ext uri="{FF2B5EF4-FFF2-40B4-BE49-F238E27FC236}">
                  <a16:creationId xmlns:a16="http://schemas.microsoft.com/office/drawing/2014/main" id="{DFDD7C4A-4741-43F6-9E80-785975CC8BBB}"/>
                </a:ext>
              </a:extLst>
            </p:cNvPr>
            <p:cNvSpPr/>
            <p:nvPr/>
          </p:nvSpPr>
          <p:spPr bwMode="auto">
            <a:xfrm>
              <a:off x="3154503"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61" name="Rectangle : coins arrondis 260">
              <a:extLst>
                <a:ext uri="{FF2B5EF4-FFF2-40B4-BE49-F238E27FC236}">
                  <a16:creationId xmlns:a16="http://schemas.microsoft.com/office/drawing/2014/main" id="{58411582-D5E0-4F04-B827-FE89BE5E3E05}"/>
                </a:ext>
              </a:extLst>
            </p:cNvPr>
            <p:cNvSpPr/>
            <p:nvPr/>
          </p:nvSpPr>
          <p:spPr bwMode="auto">
            <a:xfrm>
              <a:off x="3489574"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62" name="Rectangle : coins arrondis 261">
              <a:extLst>
                <a:ext uri="{FF2B5EF4-FFF2-40B4-BE49-F238E27FC236}">
                  <a16:creationId xmlns:a16="http://schemas.microsoft.com/office/drawing/2014/main" id="{A70796B0-6DF8-4416-8D4F-70FE78AFBE80}"/>
                </a:ext>
              </a:extLst>
            </p:cNvPr>
            <p:cNvSpPr/>
            <p:nvPr/>
          </p:nvSpPr>
          <p:spPr bwMode="auto">
            <a:xfrm>
              <a:off x="3811402"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63" name="Rectangle : coins arrondis 262">
              <a:extLst>
                <a:ext uri="{FF2B5EF4-FFF2-40B4-BE49-F238E27FC236}">
                  <a16:creationId xmlns:a16="http://schemas.microsoft.com/office/drawing/2014/main" id="{12852E12-833E-49F7-8F75-4B3393E0A31E}"/>
                </a:ext>
              </a:extLst>
            </p:cNvPr>
            <p:cNvSpPr/>
            <p:nvPr/>
          </p:nvSpPr>
          <p:spPr bwMode="auto">
            <a:xfrm>
              <a:off x="4141891"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28" name="Rectangle : coins arrondis 327">
              <a:extLst>
                <a:ext uri="{FF2B5EF4-FFF2-40B4-BE49-F238E27FC236}">
                  <a16:creationId xmlns:a16="http://schemas.microsoft.com/office/drawing/2014/main" id="{C61647DB-4A52-47E2-AAB2-038A5695B410}"/>
                </a:ext>
              </a:extLst>
            </p:cNvPr>
            <p:cNvSpPr/>
            <p:nvPr/>
          </p:nvSpPr>
          <p:spPr bwMode="auto">
            <a:xfrm>
              <a:off x="400477"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29" name="Rectangle : coins arrondis 328">
              <a:extLst>
                <a:ext uri="{FF2B5EF4-FFF2-40B4-BE49-F238E27FC236}">
                  <a16:creationId xmlns:a16="http://schemas.microsoft.com/office/drawing/2014/main" id="{0FE1B2E6-1D7E-4CB9-BA56-DE36A0856B2A}"/>
                </a:ext>
              </a:extLst>
            </p:cNvPr>
            <p:cNvSpPr/>
            <p:nvPr/>
          </p:nvSpPr>
          <p:spPr bwMode="auto">
            <a:xfrm>
              <a:off x="735548"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0" name="Rectangle : coins arrondis 329">
              <a:extLst>
                <a:ext uri="{FF2B5EF4-FFF2-40B4-BE49-F238E27FC236}">
                  <a16:creationId xmlns:a16="http://schemas.microsoft.com/office/drawing/2014/main" id="{71A5ECF9-F577-472A-9FCA-0084881A97C8}"/>
                </a:ext>
              </a:extLst>
            </p:cNvPr>
            <p:cNvSpPr/>
            <p:nvPr/>
          </p:nvSpPr>
          <p:spPr bwMode="auto">
            <a:xfrm>
              <a:off x="1057376"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1" name="Rectangle : coins arrondis 330">
              <a:extLst>
                <a:ext uri="{FF2B5EF4-FFF2-40B4-BE49-F238E27FC236}">
                  <a16:creationId xmlns:a16="http://schemas.microsoft.com/office/drawing/2014/main" id="{0D499858-A281-4A40-B771-BB2F4699B0CE}"/>
                </a:ext>
              </a:extLst>
            </p:cNvPr>
            <p:cNvSpPr/>
            <p:nvPr/>
          </p:nvSpPr>
          <p:spPr bwMode="auto">
            <a:xfrm>
              <a:off x="1387865"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2" name="Rectangle : coins arrondis 331">
              <a:extLst>
                <a:ext uri="{FF2B5EF4-FFF2-40B4-BE49-F238E27FC236}">
                  <a16:creationId xmlns:a16="http://schemas.microsoft.com/office/drawing/2014/main" id="{FC36B08B-B414-4E84-A0EF-881E0C21020E}"/>
                </a:ext>
              </a:extLst>
            </p:cNvPr>
            <p:cNvSpPr/>
            <p:nvPr/>
          </p:nvSpPr>
          <p:spPr bwMode="auto">
            <a:xfrm>
              <a:off x="1777490"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3" name="Rectangle : coins arrondis 332">
              <a:extLst>
                <a:ext uri="{FF2B5EF4-FFF2-40B4-BE49-F238E27FC236}">
                  <a16:creationId xmlns:a16="http://schemas.microsoft.com/office/drawing/2014/main" id="{0CCD45EB-2A6B-4CF0-8ADA-33716CD5383C}"/>
                </a:ext>
              </a:extLst>
            </p:cNvPr>
            <p:cNvSpPr/>
            <p:nvPr/>
          </p:nvSpPr>
          <p:spPr bwMode="auto">
            <a:xfrm>
              <a:off x="2112561"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4" name="Rectangle : coins arrondis 333">
              <a:extLst>
                <a:ext uri="{FF2B5EF4-FFF2-40B4-BE49-F238E27FC236}">
                  <a16:creationId xmlns:a16="http://schemas.microsoft.com/office/drawing/2014/main" id="{41A8D6D9-8E1D-40EE-87E9-773E428B0704}"/>
                </a:ext>
              </a:extLst>
            </p:cNvPr>
            <p:cNvSpPr/>
            <p:nvPr/>
          </p:nvSpPr>
          <p:spPr bwMode="auto">
            <a:xfrm>
              <a:off x="2434389"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5" name="Rectangle : coins arrondis 334">
              <a:extLst>
                <a:ext uri="{FF2B5EF4-FFF2-40B4-BE49-F238E27FC236}">
                  <a16:creationId xmlns:a16="http://schemas.microsoft.com/office/drawing/2014/main" id="{894AC497-76CC-44E7-8CBE-77FC52A8A49B}"/>
                </a:ext>
              </a:extLst>
            </p:cNvPr>
            <p:cNvSpPr/>
            <p:nvPr/>
          </p:nvSpPr>
          <p:spPr bwMode="auto">
            <a:xfrm>
              <a:off x="2764878"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6" name="Rectangle : coins arrondis 335">
              <a:extLst>
                <a:ext uri="{FF2B5EF4-FFF2-40B4-BE49-F238E27FC236}">
                  <a16:creationId xmlns:a16="http://schemas.microsoft.com/office/drawing/2014/main" id="{6D2E8415-17A5-4E6A-B466-CFE14508DC0F}"/>
                </a:ext>
              </a:extLst>
            </p:cNvPr>
            <p:cNvSpPr/>
            <p:nvPr/>
          </p:nvSpPr>
          <p:spPr bwMode="auto">
            <a:xfrm>
              <a:off x="3154503"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7" name="Rectangle : coins arrondis 336">
              <a:extLst>
                <a:ext uri="{FF2B5EF4-FFF2-40B4-BE49-F238E27FC236}">
                  <a16:creationId xmlns:a16="http://schemas.microsoft.com/office/drawing/2014/main" id="{97255F83-76E6-4B4B-B11C-E91EE40DA3E0}"/>
                </a:ext>
              </a:extLst>
            </p:cNvPr>
            <p:cNvSpPr/>
            <p:nvPr/>
          </p:nvSpPr>
          <p:spPr bwMode="auto">
            <a:xfrm>
              <a:off x="3489574"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8" name="Rectangle : coins arrondis 337">
              <a:extLst>
                <a:ext uri="{FF2B5EF4-FFF2-40B4-BE49-F238E27FC236}">
                  <a16:creationId xmlns:a16="http://schemas.microsoft.com/office/drawing/2014/main" id="{3283381C-229C-450F-8F8C-B8DE01AA0B92}"/>
                </a:ext>
              </a:extLst>
            </p:cNvPr>
            <p:cNvSpPr/>
            <p:nvPr/>
          </p:nvSpPr>
          <p:spPr bwMode="auto">
            <a:xfrm>
              <a:off x="3811402"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9" name="Rectangle : coins arrondis 338">
              <a:extLst>
                <a:ext uri="{FF2B5EF4-FFF2-40B4-BE49-F238E27FC236}">
                  <a16:creationId xmlns:a16="http://schemas.microsoft.com/office/drawing/2014/main" id="{F58A4201-ADA0-44C0-9049-B34C736D791D}"/>
                </a:ext>
              </a:extLst>
            </p:cNvPr>
            <p:cNvSpPr/>
            <p:nvPr/>
          </p:nvSpPr>
          <p:spPr bwMode="auto">
            <a:xfrm>
              <a:off x="4141891"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0" name="Rectangle : coins arrondis 339">
              <a:extLst>
                <a:ext uri="{FF2B5EF4-FFF2-40B4-BE49-F238E27FC236}">
                  <a16:creationId xmlns:a16="http://schemas.microsoft.com/office/drawing/2014/main" id="{3F760A78-808A-47EC-B61E-FA893D927D93}"/>
                </a:ext>
              </a:extLst>
            </p:cNvPr>
            <p:cNvSpPr/>
            <p:nvPr/>
          </p:nvSpPr>
          <p:spPr bwMode="auto">
            <a:xfrm>
              <a:off x="400477"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1" name="Rectangle : coins arrondis 340">
              <a:extLst>
                <a:ext uri="{FF2B5EF4-FFF2-40B4-BE49-F238E27FC236}">
                  <a16:creationId xmlns:a16="http://schemas.microsoft.com/office/drawing/2014/main" id="{5E79655B-800D-43F0-B3DD-4B2AC91C4469}"/>
                </a:ext>
              </a:extLst>
            </p:cNvPr>
            <p:cNvSpPr/>
            <p:nvPr/>
          </p:nvSpPr>
          <p:spPr bwMode="auto">
            <a:xfrm>
              <a:off x="735548"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2" name="Rectangle : coins arrondis 341">
              <a:extLst>
                <a:ext uri="{FF2B5EF4-FFF2-40B4-BE49-F238E27FC236}">
                  <a16:creationId xmlns:a16="http://schemas.microsoft.com/office/drawing/2014/main" id="{E9BF3D23-6892-45E5-8D3B-C336832D9731}"/>
                </a:ext>
              </a:extLst>
            </p:cNvPr>
            <p:cNvSpPr/>
            <p:nvPr/>
          </p:nvSpPr>
          <p:spPr bwMode="auto">
            <a:xfrm>
              <a:off x="1057376"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3" name="Rectangle : coins arrondis 342">
              <a:extLst>
                <a:ext uri="{FF2B5EF4-FFF2-40B4-BE49-F238E27FC236}">
                  <a16:creationId xmlns:a16="http://schemas.microsoft.com/office/drawing/2014/main" id="{AB21E8F1-7EB5-425D-8559-D30934747E84}"/>
                </a:ext>
              </a:extLst>
            </p:cNvPr>
            <p:cNvSpPr/>
            <p:nvPr/>
          </p:nvSpPr>
          <p:spPr bwMode="auto">
            <a:xfrm>
              <a:off x="1387865"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4" name="Rectangle : coins arrondis 343">
              <a:extLst>
                <a:ext uri="{FF2B5EF4-FFF2-40B4-BE49-F238E27FC236}">
                  <a16:creationId xmlns:a16="http://schemas.microsoft.com/office/drawing/2014/main" id="{4F265C7B-FA06-48A5-BE21-9199D50CCDA2}"/>
                </a:ext>
              </a:extLst>
            </p:cNvPr>
            <p:cNvSpPr/>
            <p:nvPr/>
          </p:nvSpPr>
          <p:spPr bwMode="auto">
            <a:xfrm>
              <a:off x="1777490"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5" name="Rectangle : coins arrondis 344">
              <a:extLst>
                <a:ext uri="{FF2B5EF4-FFF2-40B4-BE49-F238E27FC236}">
                  <a16:creationId xmlns:a16="http://schemas.microsoft.com/office/drawing/2014/main" id="{AFB7CBDD-55ED-4424-8DDA-5CED3B335997}"/>
                </a:ext>
              </a:extLst>
            </p:cNvPr>
            <p:cNvSpPr/>
            <p:nvPr/>
          </p:nvSpPr>
          <p:spPr bwMode="auto">
            <a:xfrm>
              <a:off x="2112561"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6" name="Rectangle : coins arrondis 345">
              <a:extLst>
                <a:ext uri="{FF2B5EF4-FFF2-40B4-BE49-F238E27FC236}">
                  <a16:creationId xmlns:a16="http://schemas.microsoft.com/office/drawing/2014/main" id="{213676CD-97C6-4FFA-A009-8E32471CD306}"/>
                </a:ext>
              </a:extLst>
            </p:cNvPr>
            <p:cNvSpPr/>
            <p:nvPr/>
          </p:nvSpPr>
          <p:spPr bwMode="auto">
            <a:xfrm>
              <a:off x="2434389"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7" name="Rectangle : coins arrondis 346">
              <a:extLst>
                <a:ext uri="{FF2B5EF4-FFF2-40B4-BE49-F238E27FC236}">
                  <a16:creationId xmlns:a16="http://schemas.microsoft.com/office/drawing/2014/main" id="{D582EE05-B354-4D07-BD07-AF0B65DCA588}"/>
                </a:ext>
              </a:extLst>
            </p:cNvPr>
            <p:cNvSpPr/>
            <p:nvPr/>
          </p:nvSpPr>
          <p:spPr bwMode="auto">
            <a:xfrm>
              <a:off x="2764878"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8" name="Rectangle : coins arrondis 347">
              <a:extLst>
                <a:ext uri="{FF2B5EF4-FFF2-40B4-BE49-F238E27FC236}">
                  <a16:creationId xmlns:a16="http://schemas.microsoft.com/office/drawing/2014/main" id="{39A00A1F-0639-4B95-BA61-05282AFB786E}"/>
                </a:ext>
              </a:extLst>
            </p:cNvPr>
            <p:cNvSpPr/>
            <p:nvPr/>
          </p:nvSpPr>
          <p:spPr bwMode="auto">
            <a:xfrm>
              <a:off x="3154503"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9" name="Rectangle : coins arrondis 348">
              <a:extLst>
                <a:ext uri="{FF2B5EF4-FFF2-40B4-BE49-F238E27FC236}">
                  <a16:creationId xmlns:a16="http://schemas.microsoft.com/office/drawing/2014/main" id="{A466CF34-E461-4AD0-A895-95BEF572026C}"/>
                </a:ext>
              </a:extLst>
            </p:cNvPr>
            <p:cNvSpPr/>
            <p:nvPr/>
          </p:nvSpPr>
          <p:spPr bwMode="auto">
            <a:xfrm>
              <a:off x="3489574"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0" name="Rectangle : coins arrondis 349">
              <a:extLst>
                <a:ext uri="{FF2B5EF4-FFF2-40B4-BE49-F238E27FC236}">
                  <a16:creationId xmlns:a16="http://schemas.microsoft.com/office/drawing/2014/main" id="{D9E490C5-603F-42FB-AFE5-63155FA92242}"/>
                </a:ext>
              </a:extLst>
            </p:cNvPr>
            <p:cNvSpPr/>
            <p:nvPr/>
          </p:nvSpPr>
          <p:spPr bwMode="auto">
            <a:xfrm>
              <a:off x="3811402"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1" name="Rectangle : coins arrondis 350">
              <a:extLst>
                <a:ext uri="{FF2B5EF4-FFF2-40B4-BE49-F238E27FC236}">
                  <a16:creationId xmlns:a16="http://schemas.microsoft.com/office/drawing/2014/main" id="{F6DCE906-EB4E-4146-AA5D-925BB81BAF93}"/>
                </a:ext>
              </a:extLst>
            </p:cNvPr>
            <p:cNvSpPr/>
            <p:nvPr/>
          </p:nvSpPr>
          <p:spPr bwMode="auto">
            <a:xfrm>
              <a:off x="4141891"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2" name="Rectangle : coins arrondis 351">
              <a:extLst>
                <a:ext uri="{FF2B5EF4-FFF2-40B4-BE49-F238E27FC236}">
                  <a16:creationId xmlns:a16="http://schemas.microsoft.com/office/drawing/2014/main" id="{E2D119B3-D17F-4F14-B518-F56B04D6F030}"/>
                </a:ext>
              </a:extLst>
            </p:cNvPr>
            <p:cNvSpPr/>
            <p:nvPr/>
          </p:nvSpPr>
          <p:spPr bwMode="auto">
            <a:xfrm>
              <a:off x="400477"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3" name="Rectangle : coins arrondis 352">
              <a:extLst>
                <a:ext uri="{FF2B5EF4-FFF2-40B4-BE49-F238E27FC236}">
                  <a16:creationId xmlns:a16="http://schemas.microsoft.com/office/drawing/2014/main" id="{35D53738-A37F-47C6-923C-4C663247791A}"/>
                </a:ext>
              </a:extLst>
            </p:cNvPr>
            <p:cNvSpPr/>
            <p:nvPr/>
          </p:nvSpPr>
          <p:spPr bwMode="auto">
            <a:xfrm>
              <a:off x="735548"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4" name="Rectangle : coins arrondis 353">
              <a:extLst>
                <a:ext uri="{FF2B5EF4-FFF2-40B4-BE49-F238E27FC236}">
                  <a16:creationId xmlns:a16="http://schemas.microsoft.com/office/drawing/2014/main" id="{40712D97-D9EB-4596-91D1-9FC6202DBE5C}"/>
                </a:ext>
              </a:extLst>
            </p:cNvPr>
            <p:cNvSpPr/>
            <p:nvPr/>
          </p:nvSpPr>
          <p:spPr bwMode="auto">
            <a:xfrm>
              <a:off x="1057376"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5" name="Rectangle : coins arrondis 354">
              <a:extLst>
                <a:ext uri="{FF2B5EF4-FFF2-40B4-BE49-F238E27FC236}">
                  <a16:creationId xmlns:a16="http://schemas.microsoft.com/office/drawing/2014/main" id="{C06D1F35-6AA6-4B68-AF93-C8E452373FE2}"/>
                </a:ext>
              </a:extLst>
            </p:cNvPr>
            <p:cNvSpPr/>
            <p:nvPr/>
          </p:nvSpPr>
          <p:spPr bwMode="auto">
            <a:xfrm>
              <a:off x="1387865"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6" name="Rectangle : coins arrondis 355">
              <a:extLst>
                <a:ext uri="{FF2B5EF4-FFF2-40B4-BE49-F238E27FC236}">
                  <a16:creationId xmlns:a16="http://schemas.microsoft.com/office/drawing/2014/main" id="{F4E43580-8688-4E7F-A386-BEBA0F14B614}"/>
                </a:ext>
              </a:extLst>
            </p:cNvPr>
            <p:cNvSpPr/>
            <p:nvPr/>
          </p:nvSpPr>
          <p:spPr bwMode="auto">
            <a:xfrm>
              <a:off x="1777490"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7" name="Rectangle : coins arrondis 356">
              <a:extLst>
                <a:ext uri="{FF2B5EF4-FFF2-40B4-BE49-F238E27FC236}">
                  <a16:creationId xmlns:a16="http://schemas.microsoft.com/office/drawing/2014/main" id="{039E6506-E793-4617-89E4-1E14223BEDC7}"/>
                </a:ext>
              </a:extLst>
            </p:cNvPr>
            <p:cNvSpPr/>
            <p:nvPr/>
          </p:nvSpPr>
          <p:spPr bwMode="auto">
            <a:xfrm>
              <a:off x="2112561"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8" name="Rectangle : coins arrondis 357">
              <a:extLst>
                <a:ext uri="{FF2B5EF4-FFF2-40B4-BE49-F238E27FC236}">
                  <a16:creationId xmlns:a16="http://schemas.microsoft.com/office/drawing/2014/main" id="{422E011D-DC4B-4EEC-9FDD-6E075456CE92}"/>
                </a:ext>
              </a:extLst>
            </p:cNvPr>
            <p:cNvSpPr/>
            <p:nvPr/>
          </p:nvSpPr>
          <p:spPr bwMode="auto">
            <a:xfrm>
              <a:off x="2434389"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9" name="Rectangle : coins arrondis 358">
              <a:extLst>
                <a:ext uri="{FF2B5EF4-FFF2-40B4-BE49-F238E27FC236}">
                  <a16:creationId xmlns:a16="http://schemas.microsoft.com/office/drawing/2014/main" id="{B6514994-44C6-44A7-9491-A142EE5C4446}"/>
                </a:ext>
              </a:extLst>
            </p:cNvPr>
            <p:cNvSpPr/>
            <p:nvPr/>
          </p:nvSpPr>
          <p:spPr bwMode="auto">
            <a:xfrm>
              <a:off x="2764878"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0" name="Rectangle : coins arrondis 359">
              <a:extLst>
                <a:ext uri="{FF2B5EF4-FFF2-40B4-BE49-F238E27FC236}">
                  <a16:creationId xmlns:a16="http://schemas.microsoft.com/office/drawing/2014/main" id="{94CA31C4-30C6-43FD-89C8-7DAA9E87CC18}"/>
                </a:ext>
              </a:extLst>
            </p:cNvPr>
            <p:cNvSpPr/>
            <p:nvPr/>
          </p:nvSpPr>
          <p:spPr bwMode="auto">
            <a:xfrm>
              <a:off x="3154503"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1" name="Rectangle : coins arrondis 360">
              <a:extLst>
                <a:ext uri="{FF2B5EF4-FFF2-40B4-BE49-F238E27FC236}">
                  <a16:creationId xmlns:a16="http://schemas.microsoft.com/office/drawing/2014/main" id="{1D348B0E-0257-4B43-8B1E-502BA0652B4E}"/>
                </a:ext>
              </a:extLst>
            </p:cNvPr>
            <p:cNvSpPr/>
            <p:nvPr/>
          </p:nvSpPr>
          <p:spPr bwMode="auto">
            <a:xfrm>
              <a:off x="3489574"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2" name="Rectangle : coins arrondis 361">
              <a:extLst>
                <a:ext uri="{FF2B5EF4-FFF2-40B4-BE49-F238E27FC236}">
                  <a16:creationId xmlns:a16="http://schemas.microsoft.com/office/drawing/2014/main" id="{B983EB59-296D-49CA-B910-225A3B1DA96F}"/>
                </a:ext>
              </a:extLst>
            </p:cNvPr>
            <p:cNvSpPr/>
            <p:nvPr/>
          </p:nvSpPr>
          <p:spPr bwMode="auto">
            <a:xfrm>
              <a:off x="3811402"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3" name="Rectangle : coins arrondis 362">
              <a:extLst>
                <a:ext uri="{FF2B5EF4-FFF2-40B4-BE49-F238E27FC236}">
                  <a16:creationId xmlns:a16="http://schemas.microsoft.com/office/drawing/2014/main" id="{36F816A3-0DFB-4E14-9424-5165E336BF79}"/>
                </a:ext>
              </a:extLst>
            </p:cNvPr>
            <p:cNvSpPr/>
            <p:nvPr/>
          </p:nvSpPr>
          <p:spPr bwMode="auto">
            <a:xfrm>
              <a:off x="4141891"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4" name="Rectangle : coins arrondis 363">
              <a:extLst>
                <a:ext uri="{FF2B5EF4-FFF2-40B4-BE49-F238E27FC236}">
                  <a16:creationId xmlns:a16="http://schemas.microsoft.com/office/drawing/2014/main" id="{CA07A9D5-5EC0-428D-B8F9-851C6E344D14}"/>
                </a:ext>
              </a:extLst>
            </p:cNvPr>
            <p:cNvSpPr/>
            <p:nvPr/>
          </p:nvSpPr>
          <p:spPr bwMode="auto">
            <a:xfrm>
              <a:off x="400477"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5" name="Rectangle : coins arrondis 364">
              <a:extLst>
                <a:ext uri="{FF2B5EF4-FFF2-40B4-BE49-F238E27FC236}">
                  <a16:creationId xmlns:a16="http://schemas.microsoft.com/office/drawing/2014/main" id="{0915ED46-F546-43A4-9AE2-8771F9861EBA}"/>
                </a:ext>
              </a:extLst>
            </p:cNvPr>
            <p:cNvSpPr/>
            <p:nvPr/>
          </p:nvSpPr>
          <p:spPr bwMode="auto">
            <a:xfrm>
              <a:off x="735548"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6" name="Rectangle : coins arrondis 365">
              <a:extLst>
                <a:ext uri="{FF2B5EF4-FFF2-40B4-BE49-F238E27FC236}">
                  <a16:creationId xmlns:a16="http://schemas.microsoft.com/office/drawing/2014/main" id="{4C5D1C1D-6FA1-4B04-AE6B-50E856A931F4}"/>
                </a:ext>
              </a:extLst>
            </p:cNvPr>
            <p:cNvSpPr/>
            <p:nvPr/>
          </p:nvSpPr>
          <p:spPr bwMode="auto">
            <a:xfrm>
              <a:off x="1057376"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7" name="Rectangle : coins arrondis 366">
              <a:extLst>
                <a:ext uri="{FF2B5EF4-FFF2-40B4-BE49-F238E27FC236}">
                  <a16:creationId xmlns:a16="http://schemas.microsoft.com/office/drawing/2014/main" id="{87A7427A-6B1E-45D9-9307-C59DF2B895EC}"/>
                </a:ext>
              </a:extLst>
            </p:cNvPr>
            <p:cNvSpPr/>
            <p:nvPr/>
          </p:nvSpPr>
          <p:spPr bwMode="auto">
            <a:xfrm>
              <a:off x="1387865"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8" name="Rectangle : coins arrondis 367">
              <a:extLst>
                <a:ext uri="{FF2B5EF4-FFF2-40B4-BE49-F238E27FC236}">
                  <a16:creationId xmlns:a16="http://schemas.microsoft.com/office/drawing/2014/main" id="{F27FABC3-B8D4-4BC4-A9CD-4F3D2EE5F623}"/>
                </a:ext>
              </a:extLst>
            </p:cNvPr>
            <p:cNvSpPr/>
            <p:nvPr/>
          </p:nvSpPr>
          <p:spPr bwMode="auto">
            <a:xfrm>
              <a:off x="1777490"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9" name="Rectangle : coins arrondis 368">
              <a:extLst>
                <a:ext uri="{FF2B5EF4-FFF2-40B4-BE49-F238E27FC236}">
                  <a16:creationId xmlns:a16="http://schemas.microsoft.com/office/drawing/2014/main" id="{764B8BFB-C389-4607-850E-0A86EF6CB3D1}"/>
                </a:ext>
              </a:extLst>
            </p:cNvPr>
            <p:cNvSpPr/>
            <p:nvPr/>
          </p:nvSpPr>
          <p:spPr bwMode="auto">
            <a:xfrm>
              <a:off x="2112561"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70" name="Rectangle : coins arrondis 369">
              <a:extLst>
                <a:ext uri="{FF2B5EF4-FFF2-40B4-BE49-F238E27FC236}">
                  <a16:creationId xmlns:a16="http://schemas.microsoft.com/office/drawing/2014/main" id="{44612483-5B1A-48EA-BD96-7DF9C2A950B6}"/>
                </a:ext>
              </a:extLst>
            </p:cNvPr>
            <p:cNvSpPr/>
            <p:nvPr/>
          </p:nvSpPr>
          <p:spPr bwMode="auto">
            <a:xfrm>
              <a:off x="2434389"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71" name="Rectangle : coins arrondis 370">
              <a:extLst>
                <a:ext uri="{FF2B5EF4-FFF2-40B4-BE49-F238E27FC236}">
                  <a16:creationId xmlns:a16="http://schemas.microsoft.com/office/drawing/2014/main" id="{023D76F1-7EDB-4B2A-8903-DBFF7B3E4FE9}"/>
                </a:ext>
              </a:extLst>
            </p:cNvPr>
            <p:cNvSpPr/>
            <p:nvPr/>
          </p:nvSpPr>
          <p:spPr bwMode="auto">
            <a:xfrm>
              <a:off x="2764878"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72" name="Rectangle : coins arrondis 371">
              <a:extLst>
                <a:ext uri="{FF2B5EF4-FFF2-40B4-BE49-F238E27FC236}">
                  <a16:creationId xmlns:a16="http://schemas.microsoft.com/office/drawing/2014/main" id="{7E25AADB-D488-4136-8268-B82FA7D26805}"/>
                </a:ext>
              </a:extLst>
            </p:cNvPr>
            <p:cNvSpPr/>
            <p:nvPr/>
          </p:nvSpPr>
          <p:spPr bwMode="auto">
            <a:xfrm>
              <a:off x="3154503"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73" name="Rectangle : coins arrondis 372">
              <a:extLst>
                <a:ext uri="{FF2B5EF4-FFF2-40B4-BE49-F238E27FC236}">
                  <a16:creationId xmlns:a16="http://schemas.microsoft.com/office/drawing/2014/main" id="{D9AC2EDA-43CE-4713-BFE4-A4DD0FCE76FB}"/>
                </a:ext>
              </a:extLst>
            </p:cNvPr>
            <p:cNvSpPr/>
            <p:nvPr/>
          </p:nvSpPr>
          <p:spPr bwMode="auto">
            <a:xfrm>
              <a:off x="3477473"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74" name="Rectangle : coins arrondis 373">
              <a:extLst>
                <a:ext uri="{FF2B5EF4-FFF2-40B4-BE49-F238E27FC236}">
                  <a16:creationId xmlns:a16="http://schemas.microsoft.com/office/drawing/2014/main" id="{7489F35C-B8DE-4CCB-8899-CEF1974DCEBC}"/>
                </a:ext>
              </a:extLst>
            </p:cNvPr>
            <p:cNvSpPr/>
            <p:nvPr/>
          </p:nvSpPr>
          <p:spPr bwMode="auto">
            <a:xfrm>
              <a:off x="3800442" y="4123655"/>
              <a:ext cx="242517"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600" i="0" u="none" strike="noStrike" cap="none" normalizeH="0" baseline="0">
                  <a:ln>
                    <a:noFill/>
                  </a:ln>
                  <a:solidFill>
                    <a:schemeClr val="bg1">
                      <a:lumMod val="50000"/>
                    </a:schemeClr>
                  </a:solidFill>
                  <a:effectLst/>
                  <a:latin typeface="Trebuchet MS" pitchFamily="34" charset="0"/>
                </a:rPr>
                <a:t>...</a:t>
              </a:r>
            </a:p>
          </p:txBody>
        </p:sp>
        <p:sp>
          <p:nvSpPr>
            <p:cNvPr id="375" name="Rectangle : coins arrondis 374">
              <a:extLst>
                <a:ext uri="{FF2B5EF4-FFF2-40B4-BE49-F238E27FC236}">
                  <a16:creationId xmlns:a16="http://schemas.microsoft.com/office/drawing/2014/main" id="{C076E9BB-5A79-41EE-97ED-7C7C63D4A5AE}"/>
                </a:ext>
              </a:extLst>
            </p:cNvPr>
            <p:cNvSpPr/>
            <p:nvPr/>
          </p:nvSpPr>
          <p:spPr bwMode="auto">
            <a:xfrm>
              <a:off x="4141891"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grpSp>
      <p:grpSp>
        <p:nvGrpSpPr>
          <p:cNvPr id="9" name="Groupe 8">
            <a:extLst>
              <a:ext uri="{FF2B5EF4-FFF2-40B4-BE49-F238E27FC236}">
                <a16:creationId xmlns:a16="http://schemas.microsoft.com/office/drawing/2014/main" id="{559849A5-9BE9-4CFE-82B7-0BD0520B1A4F}"/>
              </a:ext>
            </a:extLst>
          </p:cNvPr>
          <p:cNvGrpSpPr/>
          <p:nvPr/>
        </p:nvGrpSpPr>
        <p:grpSpPr>
          <a:xfrm>
            <a:off x="1282" y="5070698"/>
            <a:ext cx="4850456" cy="1379449"/>
            <a:chOff x="1282" y="4959863"/>
            <a:chExt cx="4850456" cy="1379449"/>
          </a:xfrm>
        </p:grpSpPr>
        <p:sp>
          <p:nvSpPr>
            <p:cNvPr id="52" name="Ellipse 51">
              <a:extLst>
                <a:ext uri="{FF2B5EF4-FFF2-40B4-BE49-F238E27FC236}">
                  <a16:creationId xmlns:a16="http://schemas.microsoft.com/office/drawing/2014/main" id="{7BF02BA7-E407-4654-BB4D-2FEB82639948}"/>
                </a:ext>
              </a:extLst>
            </p:cNvPr>
            <p:cNvSpPr/>
            <p:nvPr/>
          </p:nvSpPr>
          <p:spPr>
            <a:xfrm>
              <a:off x="281753" y="5016752"/>
              <a:ext cx="837352" cy="803941"/>
            </a:xfrm>
            <a:prstGeom prst="ellipse">
              <a:avLst/>
            </a:prstGeom>
            <a:solidFill>
              <a:schemeClr val="bg1">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sp>
          <p:nvSpPr>
            <p:cNvPr id="53" name="Rectangle 52">
              <a:extLst>
                <a:ext uri="{FF2B5EF4-FFF2-40B4-BE49-F238E27FC236}">
                  <a16:creationId xmlns:a16="http://schemas.microsoft.com/office/drawing/2014/main" id="{A27222E1-43DA-411A-B232-D7689A1D7585}"/>
                </a:ext>
              </a:extLst>
            </p:cNvPr>
            <p:cNvSpPr/>
            <p:nvPr/>
          </p:nvSpPr>
          <p:spPr>
            <a:xfrm>
              <a:off x="2572510" y="5381008"/>
              <a:ext cx="1006257" cy="231455"/>
            </a:xfrm>
            <a:prstGeom prst="rect">
              <a:avLst/>
            </a:prstGeom>
            <a:solidFill>
              <a:srgbClr val="FFFFFF"/>
            </a:solidFill>
            <a:ln w="12700" cap="flat" cmpd="sng" algn="ctr">
              <a:solidFill>
                <a:schemeClr val="accent1">
                  <a:lumMod val="75000"/>
                </a:schemeClr>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sp>
          <p:nvSpPr>
            <p:cNvPr id="54" name="ZoneTexte 53">
              <a:extLst>
                <a:ext uri="{FF2B5EF4-FFF2-40B4-BE49-F238E27FC236}">
                  <a16:creationId xmlns:a16="http://schemas.microsoft.com/office/drawing/2014/main" id="{B101C335-45C6-48E9-A903-54831603929E}"/>
                </a:ext>
              </a:extLst>
            </p:cNvPr>
            <p:cNvSpPr txBox="1"/>
            <p:nvPr/>
          </p:nvSpPr>
          <p:spPr>
            <a:xfrm>
              <a:off x="2521225" y="5377411"/>
              <a:ext cx="1191821" cy="246221"/>
            </a:xfrm>
            <a:prstGeom prst="rect">
              <a:avLst/>
            </a:prstGeom>
            <a:noFill/>
          </p:spPr>
          <p:txBody>
            <a:bodyPr wrap="square" rtlCol="0">
              <a:spAutoFit/>
            </a:bodyPr>
            <a:lstStyle/>
            <a:p>
              <a:pPr fontAlgn="auto">
                <a:spcBef>
                  <a:spcPts val="0"/>
                </a:spcBef>
                <a:spcAft>
                  <a:spcPts val="0"/>
                </a:spcAft>
              </a:pPr>
              <a:r>
                <a:rPr lang="en-GB" sz="1000" b="1">
                  <a:latin typeface="Century Gothic" panose="020F0302020204030204"/>
                  <a:cs typeface="+mn-cs"/>
                </a:rPr>
                <a:t>Client’ Systems</a:t>
              </a:r>
            </a:p>
          </p:txBody>
        </p:sp>
        <p:sp>
          <p:nvSpPr>
            <p:cNvPr id="55" name="Rectangle 54">
              <a:extLst>
                <a:ext uri="{FF2B5EF4-FFF2-40B4-BE49-F238E27FC236}">
                  <a16:creationId xmlns:a16="http://schemas.microsoft.com/office/drawing/2014/main" id="{B065E010-93D9-41EE-9EE9-12C1EBCAE243}"/>
                </a:ext>
              </a:extLst>
            </p:cNvPr>
            <p:cNvSpPr/>
            <p:nvPr/>
          </p:nvSpPr>
          <p:spPr>
            <a:xfrm>
              <a:off x="2833938" y="5618299"/>
              <a:ext cx="748524" cy="636638"/>
            </a:xfrm>
            <a:prstGeom prst="rect">
              <a:avLst/>
            </a:prstGeom>
            <a:solidFill>
              <a:schemeClr val="bg1">
                <a:lumMod val="75000"/>
              </a:scheme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sp>
          <p:nvSpPr>
            <p:cNvPr id="56" name="Rectangle 55">
              <a:extLst>
                <a:ext uri="{FF2B5EF4-FFF2-40B4-BE49-F238E27FC236}">
                  <a16:creationId xmlns:a16="http://schemas.microsoft.com/office/drawing/2014/main" id="{7D513FB1-0EF4-43E3-9561-913A5E889C11}"/>
                </a:ext>
              </a:extLst>
            </p:cNvPr>
            <p:cNvSpPr/>
            <p:nvPr/>
          </p:nvSpPr>
          <p:spPr>
            <a:xfrm>
              <a:off x="386485" y="5347354"/>
              <a:ext cx="627889" cy="331766"/>
            </a:xfrm>
            <a:prstGeom prst="rect">
              <a:avLst/>
            </a:prstGeom>
            <a:solidFill>
              <a:srgbClr val="FFFFFF"/>
            </a:solidFill>
            <a:ln w="12700" cap="flat" cmpd="sng" algn="ctr">
              <a:solidFill>
                <a:schemeClr val="accent1">
                  <a:lumMod val="75000"/>
                </a:schemeClr>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sp>
          <p:nvSpPr>
            <p:cNvPr id="57" name="ZoneTexte 56">
              <a:extLst>
                <a:ext uri="{FF2B5EF4-FFF2-40B4-BE49-F238E27FC236}">
                  <a16:creationId xmlns:a16="http://schemas.microsoft.com/office/drawing/2014/main" id="{A4656634-0383-4289-82BA-3A61315126D4}"/>
                </a:ext>
              </a:extLst>
            </p:cNvPr>
            <p:cNvSpPr txBox="1"/>
            <p:nvPr/>
          </p:nvSpPr>
          <p:spPr>
            <a:xfrm>
              <a:off x="193053" y="5311692"/>
              <a:ext cx="1014752" cy="369332"/>
            </a:xfrm>
            <a:prstGeom prst="rect">
              <a:avLst/>
            </a:prstGeom>
            <a:noFill/>
          </p:spPr>
          <p:txBody>
            <a:bodyPr wrap="square" rtlCol="0">
              <a:spAutoFit/>
            </a:bodyPr>
            <a:lstStyle/>
            <a:p>
              <a:pPr algn="ctr" fontAlgn="auto">
                <a:spcBef>
                  <a:spcPts val="0"/>
                </a:spcBef>
                <a:spcAft>
                  <a:spcPts val="0"/>
                </a:spcAft>
              </a:pPr>
              <a:r>
                <a:rPr lang="en-GB" sz="900" b="1">
                  <a:latin typeface="Century Gothic" panose="020F0302020204030204"/>
                  <a:cs typeface="+mn-cs"/>
                </a:rPr>
                <a:t>D&amp;B API Platform</a:t>
              </a:r>
            </a:p>
          </p:txBody>
        </p:sp>
        <p:sp>
          <p:nvSpPr>
            <p:cNvPr id="59" name="ZoneTexte 58">
              <a:extLst>
                <a:ext uri="{FF2B5EF4-FFF2-40B4-BE49-F238E27FC236}">
                  <a16:creationId xmlns:a16="http://schemas.microsoft.com/office/drawing/2014/main" id="{B5B3C23E-EF49-40EE-932B-F95BF5FD32AB}"/>
                </a:ext>
              </a:extLst>
            </p:cNvPr>
            <p:cNvSpPr txBox="1"/>
            <p:nvPr/>
          </p:nvSpPr>
          <p:spPr>
            <a:xfrm>
              <a:off x="2808342" y="5585057"/>
              <a:ext cx="978160" cy="707887"/>
            </a:xfrm>
            <a:prstGeom prst="rect">
              <a:avLst/>
            </a:prstGeom>
            <a:noFill/>
          </p:spPr>
          <p:txBody>
            <a:bodyPr wrap="square" rtlCol="0">
              <a:spAutoFit/>
            </a:bodyPr>
            <a:lstStyle/>
            <a:p>
              <a:pPr marL="87313" indent="-87313" fontAlgn="auto">
                <a:lnSpc>
                  <a:spcPts val="800"/>
                </a:lnSpc>
                <a:spcBef>
                  <a:spcPts val="0"/>
                </a:spcBef>
                <a:spcAft>
                  <a:spcPts val="0"/>
                </a:spcAft>
                <a:buFont typeface="Wingdings" panose="05000000000000000000" pitchFamily="2" charset="2"/>
                <a:buChar char="§"/>
              </a:pPr>
              <a:r>
                <a:rPr lang="en-GB" sz="800">
                  <a:latin typeface="Century Gothic" panose="020F0302020204030204"/>
                  <a:cs typeface="+mn-cs"/>
                </a:rPr>
                <a:t>CRM</a:t>
              </a:r>
            </a:p>
            <a:p>
              <a:pPr marL="87313" indent="-87313" fontAlgn="auto">
                <a:lnSpc>
                  <a:spcPts val="800"/>
                </a:lnSpc>
                <a:spcBef>
                  <a:spcPts val="0"/>
                </a:spcBef>
                <a:spcAft>
                  <a:spcPts val="0"/>
                </a:spcAft>
                <a:buFont typeface="Wingdings" panose="05000000000000000000" pitchFamily="2" charset="2"/>
                <a:buChar char="§"/>
              </a:pPr>
              <a:r>
                <a:rPr lang="en-GB" sz="800">
                  <a:latin typeface="Century Gothic" panose="020F0302020204030204"/>
                  <a:cs typeface="+mn-cs"/>
                </a:rPr>
                <a:t>ERP</a:t>
              </a:r>
            </a:p>
            <a:p>
              <a:pPr marL="87313" indent="-87313" fontAlgn="auto">
                <a:lnSpc>
                  <a:spcPts val="800"/>
                </a:lnSpc>
                <a:spcBef>
                  <a:spcPts val="0"/>
                </a:spcBef>
                <a:spcAft>
                  <a:spcPts val="0"/>
                </a:spcAft>
                <a:buFont typeface="Wingdings" panose="05000000000000000000" pitchFamily="2" charset="2"/>
                <a:buChar char="§"/>
              </a:pPr>
              <a:r>
                <a:rPr lang="en-GB" sz="800">
                  <a:latin typeface="Century Gothic" panose="020F0302020204030204"/>
                  <a:cs typeface="+mn-cs"/>
                </a:rPr>
                <a:t>Web Forms </a:t>
              </a:r>
            </a:p>
            <a:p>
              <a:pPr marL="87313" indent="-87313" fontAlgn="auto">
                <a:lnSpc>
                  <a:spcPts val="800"/>
                </a:lnSpc>
                <a:spcBef>
                  <a:spcPts val="0"/>
                </a:spcBef>
                <a:spcAft>
                  <a:spcPts val="0"/>
                </a:spcAft>
                <a:buFont typeface="Wingdings" panose="05000000000000000000" pitchFamily="2" charset="2"/>
                <a:buChar char="§"/>
              </a:pPr>
              <a:r>
                <a:rPr lang="en-GB" sz="800">
                  <a:latin typeface="Century Gothic" panose="020F0302020204030204"/>
                  <a:cs typeface="+mn-cs"/>
                </a:rPr>
                <a:t>SRM </a:t>
              </a:r>
            </a:p>
            <a:p>
              <a:pPr marL="87313" indent="-87313" fontAlgn="auto">
                <a:lnSpc>
                  <a:spcPts val="800"/>
                </a:lnSpc>
                <a:spcBef>
                  <a:spcPts val="0"/>
                </a:spcBef>
                <a:spcAft>
                  <a:spcPts val="0"/>
                </a:spcAft>
                <a:buFont typeface="Wingdings" panose="05000000000000000000" pitchFamily="2" charset="2"/>
                <a:buChar char="§"/>
              </a:pPr>
              <a:r>
                <a:rPr lang="en-GB" sz="800">
                  <a:latin typeface="Century Gothic" panose="020F0302020204030204"/>
                  <a:cs typeface="+mn-cs"/>
                </a:rPr>
                <a:t>MDM</a:t>
              </a:r>
            </a:p>
            <a:p>
              <a:pPr marL="87313" indent="-87313" fontAlgn="auto">
                <a:lnSpc>
                  <a:spcPts val="800"/>
                </a:lnSpc>
                <a:spcBef>
                  <a:spcPts val="0"/>
                </a:spcBef>
                <a:spcAft>
                  <a:spcPts val="0"/>
                </a:spcAft>
                <a:buFont typeface="Wingdings" panose="05000000000000000000" pitchFamily="2" charset="2"/>
                <a:buChar char="§"/>
              </a:pPr>
              <a:r>
                <a:rPr lang="en-GB" sz="800" b="1">
                  <a:latin typeface="Century Gothic" panose="020F0302020204030204"/>
                  <a:cs typeface="+mn-cs"/>
                </a:rPr>
                <a:t>…</a:t>
              </a:r>
              <a:endParaRPr lang="en-GB" sz="900">
                <a:latin typeface="Century Gothic" panose="020F0302020204030204"/>
                <a:cs typeface="+mn-cs"/>
              </a:endParaRPr>
            </a:p>
          </p:txBody>
        </p:sp>
        <p:cxnSp>
          <p:nvCxnSpPr>
            <p:cNvPr id="60" name="Connecteur droit 59">
              <a:extLst>
                <a:ext uri="{FF2B5EF4-FFF2-40B4-BE49-F238E27FC236}">
                  <a16:creationId xmlns:a16="http://schemas.microsoft.com/office/drawing/2014/main" id="{514902FA-4671-4302-97E1-4E5FD61BFF14}"/>
                </a:ext>
              </a:extLst>
            </p:cNvPr>
            <p:cNvCxnSpPr>
              <a:cxnSpLocks/>
              <a:stCxn id="56" idx="3"/>
              <a:endCxn id="53" idx="1"/>
            </p:cNvCxnSpPr>
            <p:nvPr/>
          </p:nvCxnSpPr>
          <p:spPr>
            <a:xfrm flipV="1">
              <a:off x="1014374" y="5496736"/>
              <a:ext cx="1558136" cy="0"/>
            </a:xfrm>
            <a:prstGeom prst="line">
              <a:avLst/>
            </a:prstGeom>
            <a:noFill/>
            <a:ln w="19050" cap="flat" cmpd="sng" algn="ctr">
              <a:solidFill>
                <a:srgbClr val="0E7696"/>
              </a:solidFill>
              <a:prstDash val="sysDash"/>
              <a:miter lim="800000"/>
            </a:ln>
            <a:effectLst/>
          </p:spPr>
        </p:cxnSp>
        <p:sp>
          <p:nvSpPr>
            <p:cNvPr id="61" name="Rectangle 60">
              <a:extLst>
                <a:ext uri="{FF2B5EF4-FFF2-40B4-BE49-F238E27FC236}">
                  <a16:creationId xmlns:a16="http://schemas.microsoft.com/office/drawing/2014/main" id="{625C47C9-9FA0-46C9-AA93-27BDB6027695}"/>
                </a:ext>
              </a:extLst>
            </p:cNvPr>
            <p:cNvSpPr/>
            <p:nvPr/>
          </p:nvSpPr>
          <p:spPr>
            <a:xfrm>
              <a:off x="3586543" y="4989565"/>
              <a:ext cx="1257886" cy="1342743"/>
            </a:xfrm>
            <a:prstGeom prst="rect">
              <a:avLst/>
            </a:prstGeom>
            <a:solidFill>
              <a:srgbClr val="FFFFFF"/>
            </a:solidFill>
            <a:ln w="12700" cap="flat" cmpd="sng" algn="ctr">
              <a:solidFill>
                <a:srgbClr val="0E7696"/>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pic>
          <p:nvPicPr>
            <p:cNvPr id="62" name="Image 61">
              <a:extLst>
                <a:ext uri="{FF2B5EF4-FFF2-40B4-BE49-F238E27FC236}">
                  <a16:creationId xmlns:a16="http://schemas.microsoft.com/office/drawing/2014/main" id="{9DE7117C-4D2E-48CB-8509-8F07CBB1B48A}"/>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4283100" y="5094596"/>
              <a:ext cx="568638" cy="302998"/>
            </a:xfrm>
            <a:prstGeom prst="rect">
              <a:avLst/>
            </a:prstGeom>
          </p:spPr>
        </p:pic>
        <p:pic>
          <p:nvPicPr>
            <p:cNvPr id="63" name="Image 62">
              <a:extLst>
                <a:ext uri="{FF2B5EF4-FFF2-40B4-BE49-F238E27FC236}">
                  <a16:creationId xmlns:a16="http://schemas.microsoft.com/office/drawing/2014/main" id="{6F676DD5-E07A-4B0B-A2B6-DAD0570FE4C9}"/>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3607581" y="5776984"/>
              <a:ext cx="409033" cy="306838"/>
            </a:xfrm>
            <a:prstGeom prst="rect">
              <a:avLst/>
            </a:prstGeom>
          </p:spPr>
        </p:pic>
        <p:pic>
          <p:nvPicPr>
            <p:cNvPr id="64" name="Image 63">
              <a:extLst>
                <a:ext uri="{FF2B5EF4-FFF2-40B4-BE49-F238E27FC236}">
                  <a16:creationId xmlns:a16="http://schemas.microsoft.com/office/drawing/2014/main" id="{BE9FDB07-5641-4566-B0BB-1D51A303F272}"/>
                </a:ext>
              </a:extLst>
            </p:cNvPr>
            <p:cNvPicPr>
              <a:picLocks noChangeAspect="1"/>
            </p:cNvPicPr>
            <p:nvPr/>
          </p:nvPicPr>
          <p:blipFill rotWithShape="1">
            <a:blip r:embed="rId18" cstate="screen">
              <a:extLst>
                <a:ext uri="{28A0092B-C50C-407E-A947-70E740481C1C}">
                  <a14:useLocalDpi xmlns:a14="http://schemas.microsoft.com/office/drawing/2010/main"/>
                </a:ext>
              </a:extLst>
            </a:blip>
            <a:srcRect l="1326" t="14491" r="-1326" b="17893"/>
            <a:stretch/>
          </p:blipFill>
          <p:spPr>
            <a:xfrm>
              <a:off x="3600846" y="5005930"/>
              <a:ext cx="776629" cy="284180"/>
            </a:xfrm>
            <a:prstGeom prst="rect">
              <a:avLst/>
            </a:prstGeom>
          </p:spPr>
        </p:pic>
        <p:pic>
          <p:nvPicPr>
            <p:cNvPr id="65" name="Image 64">
              <a:extLst>
                <a:ext uri="{FF2B5EF4-FFF2-40B4-BE49-F238E27FC236}">
                  <a16:creationId xmlns:a16="http://schemas.microsoft.com/office/drawing/2014/main" id="{41BCC250-5DF3-44DF-929E-AB398C955EA5}"/>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4344138" y="5499031"/>
              <a:ext cx="374496" cy="262201"/>
            </a:xfrm>
            <a:prstGeom prst="rect">
              <a:avLst/>
            </a:prstGeom>
          </p:spPr>
        </p:pic>
        <p:pic>
          <p:nvPicPr>
            <p:cNvPr id="66" name="Image 65">
              <a:extLst>
                <a:ext uri="{FF2B5EF4-FFF2-40B4-BE49-F238E27FC236}">
                  <a16:creationId xmlns:a16="http://schemas.microsoft.com/office/drawing/2014/main" id="{CE1A7B19-1DD9-4323-8410-79BF4F5034DA}"/>
                </a:ext>
              </a:extLst>
            </p:cNvPr>
            <p:cNvPicPr>
              <a:picLocks noChangeAspect="1"/>
            </p:cNvPicPr>
            <p:nvPr/>
          </p:nvPicPr>
          <p:blipFill rotWithShape="1">
            <a:blip r:embed="rId20" cstate="screen">
              <a:extLst>
                <a:ext uri="{28A0092B-C50C-407E-A947-70E740481C1C}">
                  <a14:useLocalDpi xmlns:a14="http://schemas.microsoft.com/office/drawing/2010/main"/>
                </a:ext>
              </a:extLst>
            </a:blip>
            <a:srcRect t="28776" b="25211"/>
            <a:stretch/>
          </p:blipFill>
          <p:spPr>
            <a:xfrm>
              <a:off x="3999463" y="5771937"/>
              <a:ext cx="724426" cy="333400"/>
            </a:xfrm>
            <a:prstGeom prst="rect">
              <a:avLst/>
            </a:prstGeom>
          </p:spPr>
        </p:pic>
        <p:pic>
          <p:nvPicPr>
            <p:cNvPr id="67" name="Image 66">
              <a:extLst>
                <a:ext uri="{FF2B5EF4-FFF2-40B4-BE49-F238E27FC236}">
                  <a16:creationId xmlns:a16="http://schemas.microsoft.com/office/drawing/2014/main" id="{294EE738-B5C9-4203-B755-8732610C0137}"/>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3628334" y="5272361"/>
              <a:ext cx="638561" cy="354828"/>
            </a:xfrm>
            <a:prstGeom prst="rect">
              <a:avLst/>
            </a:prstGeom>
          </p:spPr>
        </p:pic>
        <p:pic>
          <p:nvPicPr>
            <p:cNvPr id="68" name="Image 67">
              <a:extLst>
                <a:ext uri="{FF2B5EF4-FFF2-40B4-BE49-F238E27FC236}">
                  <a16:creationId xmlns:a16="http://schemas.microsoft.com/office/drawing/2014/main" id="{02761B79-B870-41CF-B2B7-76E2A654F3A2}"/>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3642405" y="5607458"/>
              <a:ext cx="580950" cy="168533"/>
            </a:xfrm>
            <a:prstGeom prst="rect">
              <a:avLst/>
            </a:prstGeom>
          </p:spPr>
        </p:pic>
        <p:pic>
          <p:nvPicPr>
            <p:cNvPr id="69" name="Picture 2" descr="RÃ©sultat de recherche d'images pour &quot;oracle engagement cloud logo&quot;">
              <a:extLst>
                <a:ext uri="{FF2B5EF4-FFF2-40B4-BE49-F238E27FC236}">
                  <a16:creationId xmlns:a16="http://schemas.microsoft.com/office/drawing/2014/main" id="{2DC600BE-03B4-4CC1-AC5B-DBA6CE091D45}"/>
                </a:ext>
              </a:extLst>
            </p:cNvPr>
            <p:cNvPicPr>
              <a:picLocks noChangeAspect="1" noChangeArrowheads="1"/>
            </p:cNvPicPr>
            <p:nvPr/>
          </p:nvPicPr>
          <p:blipFill rotWithShape="1">
            <a:blip r:embed="rId23" cstate="screen">
              <a:extLst>
                <a:ext uri="{28A0092B-C50C-407E-A947-70E740481C1C}">
                  <a14:useLocalDpi xmlns:a14="http://schemas.microsoft.com/office/drawing/2010/main"/>
                </a:ext>
              </a:extLst>
            </a:blip>
            <a:srcRect t="32439" b="32514"/>
            <a:stretch/>
          </p:blipFill>
          <p:spPr bwMode="auto">
            <a:xfrm>
              <a:off x="3627789" y="6083822"/>
              <a:ext cx="533548" cy="187031"/>
            </a:xfrm>
            <a:prstGeom prst="rect">
              <a:avLst/>
            </a:prstGeom>
            <a:noFill/>
            <a:extLst>
              <a:ext uri="{909E8E84-426E-40DD-AFC4-6F175D3DCCD1}">
                <a14:hiddenFill xmlns:a14="http://schemas.microsoft.com/office/drawing/2010/main">
                  <a:solidFill>
                    <a:srgbClr val="FFFFFF"/>
                  </a:solidFill>
                </a14:hiddenFill>
              </a:ext>
            </a:extLst>
          </p:spPr>
        </p:pic>
        <p:pic>
          <p:nvPicPr>
            <p:cNvPr id="70" name="Image 69">
              <a:extLst>
                <a:ext uri="{FF2B5EF4-FFF2-40B4-BE49-F238E27FC236}">
                  <a16:creationId xmlns:a16="http://schemas.microsoft.com/office/drawing/2014/main" id="{7F36547E-F7B3-4B19-AEE9-FA92A87B8E14}"/>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4066940" y="5976120"/>
              <a:ext cx="580988" cy="363192"/>
            </a:xfrm>
            <a:prstGeom prst="rect">
              <a:avLst/>
            </a:prstGeom>
          </p:spPr>
        </p:pic>
        <p:sp>
          <p:nvSpPr>
            <p:cNvPr id="71" name="Ellipse 70">
              <a:extLst>
                <a:ext uri="{FF2B5EF4-FFF2-40B4-BE49-F238E27FC236}">
                  <a16:creationId xmlns:a16="http://schemas.microsoft.com/office/drawing/2014/main" id="{7BB97F26-3145-4F02-AC8A-1BAB98D114CB}"/>
                </a:ext>
              </a:extLst>
            </p:cNvPr>
            <p:cNvSpPr/>
            <p:nvPr/>
          </p:nvSpPr>
          <p:spPr>
            <a:xfrm>
              <a:off x="2942567" y="4959863"/>
              <a:ext cx="411168" cy="411252"/>
            </a:xfrm>
            <a:prstGeom prst="ellipse">
              <a:avLst/>
            </a:prstGeom>
            <a:solidFill>
              <a:schemeClr val="bg1">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pic>
          <p:nvPicPr>
            <p:cNvPr id="72" name="Graphique 71">
              <a:extLst>
                <a:ext uri="{FF2B5EF4-FFF2-40B4-BE49-F238E27FC236}">
                  <a16:creationId xmlns:a16="http://schemas.microsoft.com/office/drawing/2014/main" id="{922FCBEC-C782-4DF4-9545-B6D61ACA714F}"/>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575891" y="5159499"/>
              <a:ext cx="249077" cy="163956"/>
            </a:xfrm>
            <a:prstGeom prst="rect">
              <a:avLst/>
            </a:prstGeom>
          </p:spPr>
        </p:pic>
        <p:pic>
          <p:nvPicPr>
            <p:cNvPr id="73" name="Graphique 72">
              <a:extLst>
                <a:ext uri="{FF2B5EF4-FFF2-40B4-BE49-F238E27FC236}">
                  <a16:creationId xmlns:a16="http://schemas.microsoft.com/office/drawing/2014/main" id="{F10FE332-5E76-4D27-84EB-3AE9B37A6FD4}"/>
                </a:ext>
              </a:extLst>
            </p:cNvPr>
            <p:cNvPicPr>
              <a:picLocks noChangeAspect="1"/>
            </p:cNvPicPr>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3034590" y="5053295"/>
              <a:ext cx="227121" cy="196102"/>
            </a:xfrm>
            <a:prstGeom prst="rect">
              <a:avLst/>
            </a:prstGeom>
          </p:spPr>
        </p:pic>
        <p:sp>
          <p:nvSpPr>
            <p:cNvPr id="28" name="ZoneTexte 27">
              <a:extLst>
                <a:ext uri="{FF2B5EF4-FFF2-40B4-BE49-F238E27FC236}">
                  <a16:creationId xmlns:a16="http://schemas.microsoft.com/office/drawing/2014/main" id="{F7EAA871-DA13-4977-A936-68750B95574F}"/>
                </a:ext>
              </a:extLst>
            </p:cNvPr>
            <p:cNvSpPr txBox="1"/>
            <p:nvPr/>
          </p:nvSpPr>
          <p:spPr>
            <a:xfrm>
              <a:off x="1282" y="5799213"/>
              <a:ext cx="1398294" cy="261610"/>
            </a:xfrm>
            <a:prstGeom prst="rect">
              <a:avLst/>
            </a:prstGeom>
            <a:noFill/>
          </p:spPr>
          <p:txBody>
            <a:bodyPr wrap="square" rtlCol="0">
              <a:spAutoFit/>
            </a:bodyPr>
            <a:lstStyle/>
            <a:p>
              <a:pPr algn="ctr" fontAlgn="auto">
                <a:spcBef>
                  <a:spcPts val="0"/>
                </a:spcBef>
                <a:spcAft>
                  <a:spcPts val="0"/>
                </a:spcAft>
              </a:pPr>
              <a:r>
                <a:rPr lang="en-GB" sz="1050" b="1">
                  <a:solidFill>
                    <a:srgbClr val="000000"/>
                  </a:solidFill>
                  <a:latin typeface="Trebuchet MS" panose="020B0603020202020204" pitchFamily="34" charset="0"/>
                  <a:cs typeface="+mn-cs"/>
                </a:rPr>
                <a:t>D&amp;B Direct +</a:t>
              </a:r>
            </a:p>
          </p:txBody>
        </p:sp>
        <p:sp>
          <p:nvSpPr>
            <p:cNvPr id="142" name="ZoneTexte 141">
              <a:extLst>
                <a:ext uri="{FF2B5EF4-FFF2-40B4-BE49-F238E27FC236}">
                  <a16:creationId xmlns:a16="http://schemas.microsoft.com/office/drawing/2014/main" id="{C1D3946A-626D-4FC0-BD92-D745D13030BB}"/>
                </a:ext>
              </a:extLst>
            </p:cNvPr>
            <p:cNvSpPr txBox="1"/>
            <p:nvPr/>
          </p:nvSpPr>
          <p:spPr>
            <a:xfrm>
              <a:off x="4539500" y="6093122"/>
              <a:ext cx="294654" cy="194925"/>
            </a:xfrm>
            <a:prstGeom prst="rect">
              <a:avLst/>
            </a:prstGeom>
            <a:noFill/>
          </p:spPr>
          <p:txBody>
            <a:bodyPr wrap="square" rtlCol="0">
              <a:spAutoFit/>
            </a:bodyPr>
            <a:lstStyle/>
            <a:p>
              <a:pPr fontAlgn="auto">
                <a:lnSpc>
                  <a:spcPts val="800"/>
                </a:lnSpc>
                <a:spcBef>
                  <a:spcPts val="0"/>
                </a:spcBef>
                <a:spcAft>
                  <a:spcPts val="0"/>
                </a:spcAft>
              </a:pPr>
              <a:r>
                <a:rPr lang="en-GB" sz="900">
                  <a:latin typeface="Century Gothic" panose="020F0302020204030204"/>
                  <a:cs typeface="+mn-cs"/>
                </a:rPr>
                <a:t>…</a:t>
              </a:r>
            </a:p>
          </p:txBody>
        </p:sp>
        <p:sp>
          <p:nvSpPr>
            <p:cNvPr id="147" name="Ellipse 146">
              <a:extLst>
                <a:ext uri="{FF2B5EF4-FFF2-40B4-BE49-F238E27FC236}">
                  <a16:creationId xmlns:a16="http://schemas.microsoft.com/office/drawing/2014/main" id="{0ECF5326-5920-4473-88B1-EDAE65E80751}"/>
                </a:ext>
              </a:extLst>
            </p:cNvPr>
            <p:cNvSpPr/>
            <p:nvPr/>
          </p:nvSpPr>
          <p:spPr>
            <a:xfrm>
              <a:off x="1372806" y="5018574"/>
              <a:ext cx="837352" cy="803941"/>
            </a:xfrm>
            <a:prstGeom prst="ellipse">
              <a:avLst/>
            </a:prstGeom>
            <a:solidFill>
              <a:schemeClr val="bg1">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sp>
          <p:nvSpPr>
            <p:cNvPr id="148" name="Rectangle 147">
              <a:extLst>
                <a:ext uri="{FF2B5EF4-FFF2-40B4-BE49-F238E27FC236}">
                  <a16:creationId xmlns:a16="http://schemas.microsoft.com/office/drawing/2014/main" id="{DE44B919-1F42-4394-9918-3C0E2F9A07F3}"/>
                </a:ext>
              </a:extLst>
            </p:cNvPr>
            <p:cNvSpPr/>
            <p:nvPr/>
          </p:nvSpPr>
          <p:spPr>
            <a:xfrm>
              <a:off x="1477538" y="5349176"/>
              <a:ext cx="627889" cy="331766"/>
            </a:xfrm>
            <a:prstGeom prst="rect">
              <a:avLst/>
            </a:prstGeom>
            <a:solidFill>
              <a:srgbClr val="FFFFFF"/>
            </a:solidFill>
            <a:ln w="12700" cap="flat" cmpd="sng" algn="ctr">
              <a:solidFill>
                <a:schemeClr val="accent1">
                  <a:lumMod val="75000"/>
                </a:schemeClr>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sp>
          <p:nvSpPr>
            <p:cNvPr id="149" name="ZoneTexte 148">
              <a:extLst>
                <a:ext uri="{FF2B5EF4-FFF2-40B4-BE49-F238E27FC236}">
                  <a16:creationId xmlns:a16="http://schemas.microsoft.com/office/drawing/2014/main" id="{49634BFD-08D2-431E-BE93-C114A08FD59E}"/>
                </a:ext>
              </a:extLst>
            </p:cNvPr>
            <p:cNvSpPr txBox="1"/>
            <p:nvPr/>
          </p:nvSpPr>
          <p:spPr>
            <a:xfrm>
              <a:off x="1284106" y="5313514"/>
              <a:ext cx="1014752" cy="369332"/>
            </a:xfrm>
            <a:prstGeom prst="rect">
              <a:avLst/>
            </a:prstGeom>
            <a:noFill/>
          </p:spPr>
          <p:txBody>
            <a:bodyPr wrap="square" rtlCol="0">
              <a:spAutoFit/>
            </a:bodyPr>
            <a:lstStyle/>
            <a:p>
              <a:pPr algn="ctr" fontAlgn="auto">
                <a:spcBef>
                  <a:spcPts val="0"/>
                </a:spcBef>
                <a:spcAft>
                  <a:spcPts val="0"/>
                </a:spcAft>
              </a:pPr>
              <a:r>
                <a:rPr lang="en-GB" sz="900" b="1">
                  <a:latin typeface="Century Gothic" panose="020F0302020204030204"/>
                  <a:cs typeface="+mn-cs"/>
                </a:rPr>
                <a:t>D&amp;B API Platform</a:t>
              </a:r>
            </a:p>
          </p:txBody>
        </p:sp>
        <p:pic>
          <p:nvPicPr>
            <p:cNvPr id="150" name="Graphique 149">
              <a:extLst>
                <a:ext uri="{FF2B5EF4-FFF2-40B4-BE49-F238E27FC236}">
                  <a16:creationId xmlns:a16="http://schemas.microsoft.com/office/drawing/2014/main" id="{390EEB79-E644-4BBB-B484-FB1D12EB94C8}"/>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1666944" y="5161321"/>
              <a:ext cx="249077" cy="163956"/>
            </a:xfrm>
            <a:prstGeom prst="rect">
              <a:avLst/>
            </a:prstGeom>
          </p:spPr>
        </p:pic>
        <p:pic>
          <p:nvPicPr>
            <p:cNvPr id="151" name="Picture 2" descr="ALTARES-D&amp;B - L'ASSOCIATION FRANCAISE DES CREDIT MANAGERS ET CONSEILS">
              <a:extLst>
                <a:ext uri="{FF2B5EF4-FFF2-40B4-BE49-F238E27FC236}">
                  <a16:creationId xmlns:a16="http://schemas.microsoft.com/office/drawing/2014/main" id="{25F4D005-FB84-4211-9A85-558EA8B983A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491365" y="5867783"/>
              <a:ext cx="600104" cy="33613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680654699"/>
      </p:ext>
    </p:extLst>
  </p:cSld>
  <p:clrMapOvr>
    <a:masterClrMapping/>
  </p:clrMapOvr>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A94E4FB2-E1B2-440C-A12D-FFE393924B79}"/>
              </a:ext>
            </a:extLst>
          </p:cNvPr>
          <p:cNvGraphicFramePr>
            <a:graphicFrameLocks noChangeAspect="1"/>
          </p:cNvGraphicFramePr>
          <p:nvPr>
            <p:custDataLst>
              <p:tags r:id="rId1"/>
            </p:custDataLst>
            <p:extLst>
              <p:ext uri="{D42A27DB-BD31-4B8C-83A1-F6EECF244321}">
                <p14:modId xmlns:p14="http://schemas.microsoft.com/office/powerpoint/2010/main" val="2094926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6" name="Objet 5" hidden="1">
                        <a:extLst>
                          <a:ext uri="{FF2B5EF4-FFF2-40B4-BE49-F238E27FC236}">
                            <a16:creationId xmlns:a16="http://schemas.microsoft.com/office/drawing/2014/main" id="{A94E4FB2-E1B2-440C-A12D-FFE393924B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F1E5D7FA-FB46-476D-A5B2-146D2FA2F65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48" name="Rectangle 47">
            <a:extLst>
              <a:ext uri="{FF2B5EF4-FFF2-40B4-BE49-F238E27FC236}">
                <a16:creationId xmlns:a16="http://schemas.microsoft.com/office/drawing/2014/main" id="{E8263A15-2A4A-47D5-B526-687D7D9CFEB9}"/>
              </a:ext>
            </a:extLst>
          </p:cNvPr>
          <p:cNvSpPr/>
          <p:nvPr/>
        </p:nvSpPr>
        <p:spPr bwMode="auto">
          <a:xfrm>
            <a:off x="195483" y="5114836"/>
            <a:ext cx="4695243" cy="124579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effectLst/>
                <a:latin typeface="Trebuchet MS" panose="020B0603020202020204" pitchFamily="34" charset="0"/>
              </a:rPr>
              <a:t>Clients’ environments</a:t>
            </a:r>
          </a:p>
        </p:txBody>
      </p:sp>
      <p:sp>
        <p:nvSpPr>
          <p:cNvPr id="2" name="Titre 1">
            <a:extLst>
              <a:ext uri="{FF2B5EF4-FFF2-40B4-BE49-F238E27FC236}">
                <a16:creationId xmlns:a16="http://schemas.microsoft.com/office/drawing/2014/main" id="{95A8AC71-778E-4B6C-A619-9FC0506ACDFB}"/>
              </a:ext>
            </a:extLst>
          </p:cNvPr>
          <p:cNvSpPr>
            <a:spLocks noGrp="1"/>
          </p:cNvSpPr>
          <p:nvPr>
            <p:ph type="title"/>
          </p:nvPr>
        </p:nvSpPr>
        <p:spPr>
          <a:xfrm>
            <a:off x="383904" y="147600"/>
            <a:ext cx="8090033" cy="684000"/>
          </a:xfrm>
        </p:spPr>
        <p:txBody>
          <a:bodyPr/>
          <a:lstStyle/>
          <a:p>
            <a:r>
              <a:rPr lang="en-GB" err="1">
                <a:solidFill>
                  <a:schemeClr val="tx2"/>
                </a:solidFill>
                <a:latin typeface="Trebuchet MS" panose="020B0603020202020204" pitchFamily="34" charset="0"/>
              </a:rPr>
              <a:t>AltaMarket</a:t>
            </a:r>
            <a:r>
              <a:rPr lang="en-GB">
                <a:solidFill>
                  <a:schemeClr val="tx2"/>
                </a:solidFill>
                <a:latin typeface="Trebuchet MS" panose="020B0603020202020204" pitchFamily="34" charset="0"/>
              </a:rPr>
              <a:t> </a:t>
            </a:r>
            <a:r>
              <a:rPr lang="en-GB">
                <a:latin typeface="Trebuchet MS" panose="020B0603020202020204" pitchFamily="34" charset="0"/>
              </a:rPr>
              <a:t>could be the place where </a:t>
            </a:r>
            <a:r>
              <a:rPr lang="en-GB">
                <a:solidFill>
                  <a:schemeClr val="tx2"/>
                </a:solidFill>
                <a:latin typeface="Trebuchet MS" panose="020B0603020202020204" pitchFamily="34" charset="0"/>
              </a:rPr>
              <a:t>B2B data providers</a:t>
            </a:r>
            <a:r>
              <a:rPr lang="en-GB">
                <a:latin typeface="Trebuchet MS" panose="020B0603020202020204" pitchFamily="34" charset="0"/>
              </a:rPr>
              <a:t> (the “partners”) and their </a:t>
            </a:r>
            <a:r>
              <a:rPr lang="en-GB">
                <a:solidFill>
                  <a:schemeClr val="tx2"/>
                </a:solidFill>
                <a:latin typeface="Trebuchet MS" panose="020B0603020202020204" pitchFamily="34" charset="0"/>
              </a:rPr>
              <a:t>customers </a:t>
            </a:r>
            <a:r>
              <a:rPr lang="en-GB">
                <a:latin typeface="Trebuchet MS" panose="020B0603020202020204" pitchFamily="34" charset="0"/>
              </a:rPr>
              <a:t>connect to </a:t>
            </a:r>
            <a:r>
              <a:rPr lang="en-GB">
                <a:solidFill>
                  <a:schemeClr val="tx2"/>
                </a:solidFill>
                <a:latin typeface="Trebuchet MS" panose="020B0603020202020204" pitchFamily="34" charset="0"/>
              </a:rPr>
              <a:t>buy and sell data</a:t>
            </a:r>
            <a:r>
              <a:rPr lang="en-GB">
                <a:latin typeface="Trebuchet MS" panose="020B0603020202020204" pitchFamily="34" charset="0"/>
              </a:rPr>
              <a:t>, paying </a:t>
            </a:r>
            <a:r>
              <a:rPr lang="en-GB">
                <a:solidFill>
                  <a:schemeClr val="tx2"/>
                </a:solidFill>
                <a:latin typeface="Trebuchet MS" panose="020B0603020202020204" pitchFamily="34" charset="0"/>
              </a:rPr>
              <a:t>broker and infrastructure fees </a:t>
            </a:r>
            <a:r>
              <a:rPr lang="en-GB">
                <a:latin typeface="Trebuchet MS" panose="020B0603020202020204" pitchFamily="34" charset="0"/>
              </a:rPr>
              <a:t>to </a:t>
            </a:r>
            <a:r>
              <a:rPr lang="en-GB" err="1">
                <a:latin typeface="Trebuchet MS" panose="020B0603020202020204" pitchFamily="34" charset="0"/>
              </a:rPr>
              <a:t>Altares</a:t>
            </a:r>
            <a:r>
              <a:rPr lang="en-GB">
                <a:latin typeface="Trebuchet MS" panose="020B0603020202020204" pitchFamily="34" charset="0"/>
              </a:rPr>
              <a:t> in exchange of the service</a:t>
            </a:r>
          </a:p>
        </p:txBody>
      </p:sp>
      <p:sp>
        <p:nvSpPr>
          <p:cNvPr id="3" name="Espace réservé du texte 2">
            <a:extLst>
              <a:ext uri="{FF2B5EF4-FFF2-40B4-BE49-F238E27FC236}">
                <a16:creationId xmlns:a16="http://schemas.microsoft.com/office/drawing/2014/main" id="{10561ADF-A7DF-4CCB-A7DC-6DEDE384578B}"/>
              </a:ext>
            </a:extLst>
          </p:cNvPr>
          <p:cNvSpPr>
            <a:spLocks noGrp="1"/>
          </p:cNvSpPr>
          <p:nvPr>
            <p:ph type="body" sz="quarter" idx="10"/>
          </p:nvPr>
        </p:nvSpPr>
        <p:spPr/>
        <p:txBody>
          <a:bodyPr/>
          <a:lstStyle/>
          <a:p>
            <a:r>
              <a:rPr lang="en-GB" sz="800" i="1" kern="0"/>
              <a:t>Sources: eleven research &amp; analysis, interviews with management</a:t>
            </a:r>
          </a:p>
        </p:txBody>
      </p:sp>
      <p:cxnSp>
        <p:nvCxnSpPr>
          <p:cNvPr id="7" name="Connecteur droit 208">
            <a:extLst>
              <a:ext uri="{FF2B5EF4-FFF2-40B4-BE49-F238E27FC236}">
                <a16:creationId xmlns:a16="http://schemas.microsoft.com/office/drawing/2014/main" id="{8AFCEDC4-9557-43E2-B461-DB37B56C7CE0}"/>
              </a:ext>
            </a:extLst>
          </p:cNvPr>
          <p:cNvCxnSpPr>
            <a:cxnSpLocks/>
          </p:cNvCxnSpPr>
          <p:nvPr/>
        </p:nvCxnSpPr>
        <p:spPr bwMode="auto">
          <a:xfrm>
            <a:off x="384284" y="1198785"/>
            <a:ext cx="455244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Rectangle 84">
            <a:extLst>
              <a:ext uri="{FF2B5EF4-FFF2-40B4-BE49-F238E27FC236}">
                <a16:creationId xmlns:a16="http://schemas.microsoft.com/office/drawing/2014/main" id="{5380CE36-9F8B-4709-88F0-0B5BFF3BF056}"/>
              </a:ext>
            </a:extLst>
          </p:cNvPr>
          <p:cNvSpPr/>
          <p:nvPr/>
        </p:nvSpPr>
        <p:spPr bwMode="auto">
          <a:xfrm>
            <a:off x="1182467" y="981220"/>
            <a:ext cx="3126281" cy="683991"/>
          </a:xfrm>
          <a:prstGeom prst="rect">
            <a:avLst/>
          </a:prstGeom>
          <a:solidFill>
            <a:schemeClr val="bg1"/>
          </a:solidFill>
        </p:spPr>
        <p:txBody>
          <a:bodyPr wrap="square" rtlCol="0">
            <a:noAutofit/>
          </a:bodyPr>
          <a:lstStyle/>
          <a:p>
            <a:pPr algn="ctr"/>
            <a:r>
              <a:rPr lang="en-GB" sz="1100" err="1">
                <a:latin typeface="Trebuchet MS" panose="020B0603020202020204" pitchFamily="34" charset="0"/>
              </a:rPr>
              <a:t>Altares</a:t>
            </a:r>
            <a:r>
              <a:rPr lang="en-GB" sz="1100">
                <a:latin typeface="Trebuchet MS" panose="020B0603020202020204" pitchFamily="34" charset="0"/>
              </a:rPr>
              <a:t>’ objective is to sell the </a:t>
            </a:r>
            <a:r>
              <a:rPr lang="en-GB" sz="1100">
                <a:solidFill>
                  <a:schemeClr val="tx2"/>
                </a:solidFill>
                <a:latin typeface="Trebuchet MS" panose="020B0603020202020204" pitchFamily="34" charset="0"/>
              </a:rPr>
              <a:t>data collection and distribution platform</a:t>
            </a:r>
            <a:r>
              <a:rPr lang="en-GB" sz="1100">
                <a:latin typeface="Trebuchet MS" panose="020B0603020202020204" pitchFamily="34" charset="0"/>
              </a:rPr>
              <a:t> is uses for its own needs creating a </a:t>
            </a:r>
            <a:r>
              <a:rPr lang="en-GB" sz="1100">
                <a:solidFill>
                  <a:schemeClr val="tx2"/>
                </a:solidFill>
                <a:latin typeface="Trebuchet MS" panose="020B0603020202020204" pitchFamily="34" charset="0"/>
              </a:rPr>
              <a:t>marketplace for B2B data</a:t>
            </a:r>
          </a:p>
        </p:txBody>
      </p:sp>
      <p:cxnSp>
        <p:nvCxnSpPr>
          <p:cNvPr id="9" name="Connecteur droit 208">
            <a:extLst>
              <a:ext uri="{FF2B5EF4-FFF2-40B4-BE49-F238E27FC236}">
                <a16:creationId xmlns:a16="http://schemas.microsoft.com/office/drawing/2014/main" id="{459A77D2-0423-479B-9A69-8C7981BEEC7B}"/>
              </a:ext>
            </a:extLst>
          </p:cNvPr>
          <p:cNvCxnSpPr>
            <a:cxnSpLocks/>
          </p:cNvCxnSpPr>
          <p:nvPr/>
        </p:nvCxnSpPr>
        <p:spPr bwMode="auto">
          <a:xfrm>
            <a:off x="5177693" y="1198785"/>
            <a:ext cx="455244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0" name="Rectangle 84">
            <a:extLst>
              <a:ext uri="{FF2B5EF4-FFF2-40B4-BE49-F238E27FC236}">
                <a16:creationId xmlns:a16="http://schemas.microsoft.com/office/drawing/2014/main" id="{280CE774-A8A3-4849-A760-27355C95BFF9}"/>
              </a:ext>
            </a:extLst>
          </p:cNvPr>
          <p:cNvSpPr/>
          <p:nvPr/>
        </p:nvSpPr>
        <p:spPr bwMode="auto">
          <a:xfrm>
            <a:off x="5875023" y="989735"/>
            <a:ext cx="3252952" cy="472106"/>
          </a:xfrm>
          <a:prstGeom prst="rect">
            <a:avLst/>
          </a:prstGeom>
          <a:solidFill>
            <a:schemeClr val="bg1"/>
          </a:solidFill>
        </p:spPr>
        <p:txBody>
          <a:bodyPr wrap="square" rtlCol="0">
            <a:noAutofit/>
          </a:bodyPr>
          <a:lstStyle/>
          <a:p>
            <a:pPr algn="ctr"/>
            <a:r>
              <a:rPr lang="en-GB" sz="1100">
                <a:latin typeface="Trebuchet MS" panose="020B0603020202020204" pitchFamily="34" charset="0"/>
              </a:rPr>
              <a:t>Different types of </a:t>
            </a:r>
            <a:r>
              <a:rPr lang="en-GB" sz="1100">
                <a:solidFill>
                  <a:schemeClr val="tx2"/>
                </a:solidFill>
                <a:latin typeface="Trebuchet MS" panose="020B0603020202020204" pitchFamily="34" charset="0"/>
              </a:rPr>
              <a:t>business models can be leveraged for such a platform</a:t>
            </a:r>
          </a:p>
        </p:txBody>
      </p:sp>
      <p:sp>
        <p:nvSpPr>
          <p:cNvPr id="11" name="Triangle isocèle 10">
            <a:extLst>
              <a:ext uri="{FF2B5EF4-FFF2-40B4-BE49-F238E27FC236}">
                <a16:creationId xmlns:a16="http://schemas.microsoft.com/office/drawing/2014/main" id="{F8F5FC42-70EC-4066-8C52-FB1FE66A9024}"/>
              </a:ext>
            </a:extLst>
          </p:cNvPr>
          <p:cNvSpPr/>
          <p:nvPr/>
        </p:nvSpPr>
        <p:spPr bwMode="auto">
          <a:xfrm rot="5400000">
            <a:off x="4859169" y="3836288"/>
            <a:ext cx="545903" cy="12318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12" name="Connecteur droit 11">
            <a:extLst>
              <a:ext uri="{FF2B5EF4-FFF2-40B4-BE49-F238E27FC236}">
                <a16:creationId xmlns:a16="http://schemas.microsoft.com/office/drawing/2014/main" id="{ACD4DC06-CA8D-4D81-BF2D-DB0FEE949651}"/>
              </a:ext>
            </a:extLst>
          </p:cNvPr>
          <p:cNvCxnSpPr>
            <a:cxnSpLocks/>
          </p:cNvCxnSpPr>
          <p:nvPr/>
        </p:nvCxnSpPr>
        <p:spPr bwMode="auto">
          <a:xfrm>
            <a:off x="5061883" y="1222077"/>
            <a:ext cx="0" cy="5009758"/>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4" name="Rectangle 13">
            <a:extLst>
              <a:ext uri="{FF2B5EF4-FFF2-40B4-BE49-F238E27FC236}">
                <a16:creationId xmlns:a16="http://schemas.microsoft.com/office/drawing/2014/main" id="{58BB45F0-39BD-490D-960A-C00EC3E4283D}"/>
              </a:ext>
            </a:extLst>
          </p:cNvPr>
          <p:cNvSpPr/>
          <p:nvPr/>
        </p:nvSpPr>
        <p:spPr bwMode="auto">
          <a:xfrm>
            <a:off x="1301760" y="1609494"/>
            <a:ext cx="2686640" cy="4152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effectLst/>
                <a:latin typeface="Trebuchet MS" panose="020B0603020202020204" pitchFamily="34" charset="0"/>
              </a:rPr>
              <a:t>Data Partners </a:t>
            </a:r>
          </a:p>
        </p:txBody>
      </p:sp>
      <p:sp>
        <p:nvSpPr>
          <p:cNvPr id="15" name="Rectangle 14">
            <a:extLst>
              <a:ext uri="{FF2B5EF4-FFF2-40B4-BE49-F238E27FC236}">
                <a16:creationId xmlns:a16="http://schemas.microsoft.com/office/drawing/2014/main" id="{1E4D70F9-0F53-44D1-8661-694231D6263D}"/>
              </a:ext>
            </a:extLst>
          </p:cNvPr>
          <p:cNvSpPr/>
          <p:nvPr/>
        </p:nvSpPr>
        <p:spPr bwMode="auto">
          <a:xfrm>
            <a:off x="119164" y="2269851"/>
            <a:ext cx="4843488" cy="2577793"/>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200" err="1">
                <a:solidFill>
                  <a:schemeClr val="tx2"/>
                </a:solidFill>
                <a:latin typeface="Trebuchet MS" panose="020B0603020202020204" pitchFamily="34" charset="0"/>
              </a:rPr>
              <a:t>AltaMarket</a:t>
            </a:r>
            <a:r>
              <a:rPr lang="en-GB" sz="1200">
                <a:solidFill>
                  <a:schemeClr val="tx2"/>
                </a:solidFill>
                <a:latin typeface="Trebuchet MS" panose="020B0603020202020204" pitchFamily="34" charset="0"/>
              </a:rPr>
              <a:t> ®</a:t>
            </a:r>
            <a:endParaRPr kumimoji="0" lang="en-GB" sz="1200" b="0" i="0" u="none" strike="noStrike" cap="none" normalizeH="0" baseline="0">
              <a:ln>
                <a:noFill/>
              </a:ln>
              <a:solidFill>
                <a:schemeClr val="tx2"/>
              </a:solidFill>
              <a:effectLst/>
              <a:latin typeface="Trebuchet MS" panose="020B0603020202020204" pitchFamily="34" charset="0"/>
            </a:endParaRPr>
          </a:p>
        </p:txBody>
      </p:sp>
      <p:graphicFrame>
        <p:nvGraphicFramePr>
          <p:cNvPr id="18" name="Tableau 18">
            <a:extLst>
              <a:ext uri="{FF2B5EF4-FFF2-40B4-BE49-F238E27FC236}">
                <a16:creationId xmlns:a16="http://schemas.microsoft.com/office/drawing/2014/main" id="{35527C43-58CE-430B-888F-253B0DF8D3F3}"/>
              </a:ext>
            </a:extLst>
          </p:cNvPr>
          <p:cNvGraphicFramePr>
            <a:graphicFrameLocks noGrp="1"/>
          </p:cNvGraphicFramePr>
          <p:nvPr>
            <p:extLst>
              <p:ext uri="{D42A27DB-BD31-4B8C-83A1-F6EECF244321}">
                <p14:modId xmlns:p14="http://schemas.microsoft.com/office/powerpoint/2010/main" val="2146733372"/>
              </p:ext>
            </p:extLst>
          </p:nvPr>
        </p:nvGraphicFramePr>
        <p:xfrm>
          <a:off x="206854" y="2980333"/>
          <a:ext cx="1410960" cy="1097279"/>
        </p:xfrm>
        <a:graphic>
          <a:graphicData uri="http://schemas.openxmlformats.org/drawingml/2006/table">
            <a:tbl>
              <a:tblPr firstRow="1" bandRow="1">
                <a:tableStyleId>{5C22544A-7EE6-4342-B048-85BDC9FD1C3A}</a:tableStyleId>
              </a:tblPr>
              <a:tblGrid>
                <a:gridCol w="470320">
                  <a:extLst>
                    <a:ext uri="{9D8B030D-6E8A-4147-A177-3AD203B41FA5}">
                      <a16:colId xmlns:a16="http://schemas.microsoft.com/office/drawing/2014/main" val="2085782551"/>
                    </a:ext>
                  </a:extLst>
                </a:gridCol>
                <a:gridCol w="470320">
                  <a:extLst>
                    <a:ext uri="{9D8B030D-6E8A-4147-A177-3AD203B41FA5}">
                      <a16:colId xmlns:a16="http://schemas.microsoft.com/office/drawing/2014/main" val="3272166263"/>
                    </a:ext>
                  </a:extLst>
                </a:gridCol>
                <a:gridCol w="470320">
                  <a:extLst>
                    <a:ext uri="{9D8B030D-6E8A-4147-A177-3AD203B41FA5}">
                      <a16:colId xmlns:a16="http://schemas.microsoft.com/office/drawing/2014/main" val="1916947636"/>
                    </a:ext>
                  </a:extLst>
                </a:gridCol>
              </a:tblGrid>
              <a:tr h="410741">
                <a:tc>
                  <a:txBody>
                    <a:bodyPr/>
                    <a:lstStyle/>
                    <a:p>
                      <a:pPr algn="ctr"/>
                      <a:r>
                        <a:rPr lang="fr-FR" sz="800"/>
                        <a:t>DUNS</a:t>
                      </a:r>
                    </a:p>
                  </a:txBody>
                  <a:tcPr anchor="ctr">
                    <a:solidFill>
                      <a:schemeClr val="tx2"/>
                    </a:solidFill>
                  </a:tcPr>
                </a:tc>
                <a:tc>
                  <a:txBody>
                    <a:bodyPr/>
                    <a:lstStyle/>
                    <a:p>
                      <a:pPr algn="ctr"/>
                      <a:r>
                        <a:rPr lang="fr-FR" sz="800"/>
                        <a:t>ID</a:t>
                      </a:r>
                    </a:p>
                  </a:txBody>
                  <a:tcPr anchor="ctr">
                    <a:solidFill>
                      <a:schemeClr val="tx2"/>
                    </a:solidFill>
                  </a:tcPr>
                </a:tc>
                <a:tc>
                  <a:txBody>
                    <a:bodyPr/>
                    <a:lstStyle/>
                    <a:p>
                      <a:pPr algn="ctr"/>
                      <a:r>
                        <a:rPr lang="fr-FR" sz="800"/>
                        <a:t>Address</a:t>
                      </a:r>
                    </a:p>
                  </a:txBody>
                  <a:tcPr anchor="ctr">
                    <a:solidFill>
                      <a:schemeClr val="tx2"/>
                    </a:solidFill>
                  </a:tcPr>
                </a:tc>
                <a:extLst>
                  <a:ext uri="{0D108BD9-81ED-4DB2-BD59-A6C34878D82A}">
                    <a16:rowId xmlns:a16="http://schemas.microsoft.com/office/drawing/2014/main" val="3083661297"/>
                  </a:ext>
                </a:extLst>
              </a:tr>
              <a:tr h="228846">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extLst>
                  <a:ext uri="{0D108BD9-81ED-4DB2-BD59-A6C34878D82A}">
                    <a16:rowId xmlns:a16="http://schemas.microsoft.com/office/drawing/2014/main" val="3678107576"/>
                  </a:ext>
                </a:extLst>
              </a:tr>
              <a:tr h="228846">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extLst>
                  <a:ext uri="{0D108BD9-81ED-4DB2-BD59-A6C34878D82A}">
                    <a16:rowId xmlns:a16="http://schemas.microsoft.com/office/drawing/2014/main" val="1431893918"/>
                  </a:ext>
                </a:extLst>
              </a:tr>
              <a:tr h="228846">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extLst>
                  <a:ext uri="{0D108BD9-81ED-4DB2-BD59-A6C34878D82A}">
                    <a16:rowId xmlns:a16="http://schemas.microsoft.com/office/drawing/2014/main" val="3569047151"/>
                  </a:ext>
                </a:extLst>
              </a:tr>
            </a:tbl>
          </a:graphicData>
        </a:graphic>
      </p:graphicFrame>
      <p:graphicFrame>
        <p:nvGraphicFramePr>
          <p:cNvPr id="19" name="Tableau 18">
            <a:extLst>
              <a:ext uri="{FF2B5EF4-FFF2-40B4-BE49-F238E27FC236}">
                <a16:creationId xmlns:a16="http://schemas.microsoft.com/office/drawing/2014/main" id="{18B2F5ED-F526-4922-921D-FAC84BFD1EF7}"/>
              </a:ext>
            </a:extLst>
          </p:cNvPr>
          <p:cNvGraphicFramePr>
            <a:graphicFrameLocks noGrp="1"/>
          </p:cNvGraphicFramePr>
          <p:nvPr>
            <p:extLst>
              <p:ext uri="{D42A27DB-BD31-4B8C-83A1-F6EECF244321}">
                <p14:modId xmlns:p14="http://schemas.microsoft.com/office/powerpoint/2010/main" val="4048432404"/>
              </p:ext>
            </p:extLst>
          </p:nvPr>
        </p:nvGraphicFramePr>
        <p:xfrm>
          <a:off x="1737998" y="2985303"/>
          <a:ext cx="1410963" cy="1097280"/>
        </p:xfrm>
        <a:graphic>
          <a:graphicData uri="http://schemas.openxmlformats.org/drawingml/2006/table">
            <a:tbl>
              <a:tblPr firstRow="1" bandRow="1">
                <a:tableStyleId>{5C22544A-7EE6-4342-B048-85BDC9FD1C3A}</a:tableStyleId>
              </a:tblPr>
              <a:tblGrid>
                <a:gridCol w="470321">
                  <a:extLst>
                    <a:ext uri="{9D8B030D-6E8A-4147-A177-3AD203B41FA5}">
                      <a16:colId xmlns:a16="http://schemas.microsoft.com/office/drawing/2014/main" val="2085782551"/>
                    </a:ext>
                  </a:extLst>
                </a:gridCol>
                <a:gridCol w="470321">
                  <a:extLst>
                    <a:ext uri="{9D8B030D-6E8A-4147-A177-3AD203B41FA5}">
                      <a16:colId xmlns:a16="http://schemas.microsoft.com/office/drawing/2014/main" val="3272166263"/>
                    </a:ext>
                  </a:extLst>
                </a:gridCol>
                <a:gridCol w="470321">
                  <a:extLst>
                    <a:ext uri="{9D8B030D-6E8A-4147-A177-3AD203B41FA5}">
                      <a16:colId xmlns:a16="http://schemas.microsoft.com/office/drawing/2014/main" val="1916947636"/>
                    </a:ext>
                  </a:extLst>
                </a:gridCol>
              </a:tblGrid>
              <a:tr h="0">
                <a:tc>
                  <a:txBody>
                    <a:bodyPr/>
                    <a:lstStyle/>
                    <a:p>
                      <a:pPr algn="ctr"/>
                      <a:r>
                        <a:rPr lang="fr-FR" sz="800"/>
                        <a:t>Pay-dex</a:t>
                      </a:r>
                    </a:p>
                  </a:txBody>
                  <a:tcPr anchor="ctr">
                    <a:solidFill>
                      <a:schemeClr val="tx1"/>
                    </a:solidFill>
                  </a:tcPr>
                </a:tc>
                <a:tc>
                  <a:txBody>
                    <a:bodyPr/>
                    <a:lstStyle/>
                    <a:p>
                      <a:pPr algn="ctr"/>
                      <a:r>
                        <a:rPr lang="fr-FR" sz="800"/>
                        <a:t>Financial info</a:t>
                      </a:r>
                    </a:p>
                  </a:txBody>
                  <a:tcPr anchor="ctr">
                    <a:solidFill>
                      <a:schemeClr val="tx1"/>
                    </a:solidFill>
                  </a:tcPr>
                </a:tc>
                <a:tc>
                  <a:txBody>
                    <a:bodyPr/>
                    <a:lstStyle/>
                    <a:p>
                      <a:pPr algn="ctr"/>
                      <a:r>
                        <a:rPr lang="fr-FR" sz="800"/>
                        <a:t>Compliance info</a:t>
                      </a:r>
                    </a:p>
                  </a:txBody>
                  <a:tcPr anchor="ctr">
                    <a:solidFill>
                      <a:schemeClr val="tx1"/>
                    </a:solidFill>
                  </a:tcPr>
                </a:tc>
                <a:extLst>
                  <a:ext uri="{0D108BD9-81ED-4DB2-BD59-A6C34878D82A}">
                    <a16:rowId xmlns:a16="http://schemas.microsoft.com/office/drawing/2014/main" val="3083661297"/>
                  </a:ext>
                </a:extLst>
              </a:tr>
              <a:tr h="202301">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extLst>
                  <a:ext uri="{0D108BD9-81ED-4DB2-BD59-A6C34878D82A}">
                    <a16:rowId xmlns:a16="http://schemas.microsoft.com/office/drawing/2014/main" val="3678107576"/>
                  </a:ext>
                </a:extLst>
              </a:tr>
              <a:tr h="202301">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extLst>
                  <a:ext uri="{0D108BD9-81ED-4DB2-BD59-A6C34878D82A}">
                    <a16:rowId xmlns:a16="http://schemas.microsoft.com/office/drawing/2014/main" val="1431893918"/>
                  </a:ext>
                </a:extLst>
              </a:tr>
              <a:tr h="202301">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extLst>
                  <a:ext uri="{0D108BD9-81ED-4DB2-BD59-A6C34878D82A}">
                    <a16:rowId xmlns:a16="http://schemas.microsoft.com/office/drawing/2014/main" val="3569047151"/>
                  </a:ext>
                </a:extLst>
              </a:tr>
            </a:tbl>
          </a:graphicData>
        </a:graphic>
      </p:graphicFrame>
      <p:cxnSp>
        <p:nvCxnSpPr>
          <p:cNvPr id="21" name="Connecteur droit avec flèche 20">
            <a:extLst>
              <a:ext uri="{FF2B5EF4-FFF2-40B4-BE49-F238E27FC236}">
                <a16:creationId xmlns:a16="http://schemas.microsoft.com/office/drawing/2014/main" id="{BD168820-3468-40DF-BEC6-466DD32684BE}"/>
              </a:ext>
            </a:extLst>
          </p:cNvPr>
          <p:cNvCxnSpPr/>
          <p:nvPr/>
        </p:nvCxnSpPr>
        <p:spPr bwMode="auto">
          <a:xfrm>
            <a:off x="206854" y="2808910"/>
            <a:ext cx="1410960" cy="0"/>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22" name="Connecteur droit avec flèche 21">
            <a:extLst>
              <a:ext uri="{FF2B5EF4-FFF2-40B4-BE49-F238E27FC236}">
                <a16:creationId xmlns:a16="http://schemas.microsoft.com/office/drawing/2014/main" id="{7C8D9E31-A7AA-4BCB-8CAD-DA85DC5BD60B}"/>
              </a:ext>
            </a:extLst>
          </p:cNvPr>
          <p:cNvCxnSpPr/>
          <p:nvPr/>
        </p:nvCxnSpPr>
        <p:spPr bwMode="auto">
          <a:xfrm>
            <a:off x="1738001" y="2808910"/>
            <a:ext cx="1410960" cy="0"/>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23" name="Connecteur droit avec flèche 22">
            <a:extLst>
              <a:ext uri="{FF2B5EF4-FFF2-40B4-BE49-F238E27FC236}">
                <a16:creationId xmlns:a16="http://schemas.microsoft.com/office/drawing/2014/main" id="{9983D5C5-AB03-48C9-9BD5-BB7795A92403}"/>
              </a:ext>
            </a:extLst>
          </p:cNvPr>
          <p:cNvCxnSpPr>
            <a:cxnSpLocks/>
          </p:cNvCxnSpPr>
          <p:nvPr/>
        </p:nvCxnSpPr>
        <p:spPr bwMode="auto">
          <a:xfrm>
            <a:off x="3246937" y="2808910"/>
            <a:ext cx="1655160" cy="0"/>
          </a:xfrm>
          <a:prstGeom prst="straightConnector1">
            <a:avLst/>
          </a:prstGeom>
          <a:solidFill>
            <a:schemeClr val="accent1"/>
          </a:solidFill>
          <a:ln w="9525" cap="flat" cmpd="sng" algn="ctr">
            <a:solidFill>
              <a:schemeClr val="tx2"/>
            </a:solidFill>
            <a:prstDash val="solid"/>
            <a:round/>
            <a:headEnd type="triangle"/>
            <a:tailEnd type="triangle"/>
          </a:ln>
          <a:effectLst/>
        </p:spPr>
      </p:cxnSp>
      <p:sp>
        <p:nvSpPr>
          <p:cNvPr id="24" name="Rectangle 23">
            <a:extLst>
              <a:ext uri="{FF2B5EF4-FFF2-40B4-BE49-F238E27FC236}">
                <a16:creationId xmlns:a16="http://schemas.microsoft.com/office/drawing/2014/main" id="{A8553FDB-1DB5-46C6-A629-137DA410C89C}"/>
              </a:ext>
            </a:extLst>
          </p:cNvPr>
          <p:cNvSpPr/>
          <p:nvPr/>
        </p:nvSpPr>
        <p:spPr bwMode="auto">
          <a:xfrm>
            <a:off x="3246937" y="2914330"/>
            <a:ext cx="752665" cy="1215687"/>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Multi-verticals</a:t>
            </a:r>
          </a:p>
          <a:p>
            <a:pPr marL="0" marR="0" indent="0" algn="ctr" defTabSz="914400" eaLnBrk="1" fontAlgn="base" latinLnBrk="0" hangingPunct="1">
              <a:lnSpc>
                <a:spcPct val="100000"/>
              </a:lnSpc>
              <a:spcBef>
                <a:spcPct val="0"/>
              </a:spcBef>
              <a:spcAft>
                <a:spcPct val="0"/>
              </a:spcAft>
              <a:buClrTx/>
              <a:buSzTx/>
              <a:buFontTx/>
              <a:buNone/>
              <a:tabLst/>
            </a:pPr>
            <a:endParaRPr lang="en-GB" sz="1000">
              <a:latin typeface="Trebuchet MS" panose="020B0603020202020204"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anose="020B0603020202020204"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lang="en-GB" sz="1000">
              <a:latin typeface="Trebuchet MS" panose="020B0603020202020204"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itchFamily="34" charset="0"/>
              </a:rPr>
              <a:t>…</a:t>
            </a:r>
          </a:p>
        </p:txBody>
      </p:sp>
      <p:pic>
        <p:nvPicPr>
          <p:cNvPr id="183300" name="Picture 4">
            <a:extLst>
              <a:ext uri="{FF2B5EF4-FFF2-40B4-BE49-F238E27FC236}">
                <a16:creationId xmlns:a16="http://schemas.microsoft.com/office/drawing/2014/main" id="{759352EF-9B70-40C7-9CD7-EB89CF1D4E2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39310" y="3395324"/>
            <a:ext cx="611887" cy="98451"/>
          </a:xfrm>
          <a:prstGeom prst="rect">
            <a:avLst/>
          </a:prstGeom>
          <a:noFill/>
          <a:extLst>
            <a:ext uri="{909E8E84-426E-40DD-AFC4-6F175D3DCCD1}">
              <a14:hiddenFill xmlns:a14="http://schemas.microsoft.com/office/drawing/2010/main">
                <a:solidFill>
                  <a:srgbClr val="FFFFFF"/>
                </a:solidFill>
              </a14:hiddenFill>
            </a:ext>
          </a:extLst>
        </p:spPr>
      </p:pic>
      <p:pic>
        <p:nvPicPr>
          <p:cNvPr id="183302" name="Picture 6" descr="Kit média | EcoVadis">
            <a:extLst>
              <a:ext uri="{FF2B5EF4-FFF2-40B4-BE49-F238E27FC236}">
                <a16:creationId xmlns:a16="http://schemas.microsoft.com/office/drawing/2014/main" id="{AF05F350-0CF8-41C4-A977-59EB4E0311E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39310" y="3617229"/>
            <a:ext cx="611887" cy="110414"/>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a:extLst>
              <a:ext uri="{FF2B5EF4-FFF2-40B4-BE49-F238E27FC236}">
                <a16:creationId xmlns:a16="http://schemas.microsoft.com/office/drawing/2014/main" id="{345D7F9B-41D3-4406-8CB7-BCC1E221EBE6}"/>
              </a:ext>
            </a:extLst>
          </p:cNvPr>
          <p:cNvSpPr/>
          <p:nvPr/>
        </p:nvSpPr>
        <p:spPr bwMode="auto">
          <a:xfrm>
            <a:off x="4153422" y="2921130"/>
            <a:ext cx="752665" cy="1215687"/>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Vertical specifics</a:t>
            </a:r>
          </a:p>
        </p:txBody>
      </p:sp>
      <p:sp>
        <p:nvSpPr>
          <p:cNvPr id="31" name="Rectangle 30">
            <a:extLst>
              <a:ext uri="{FF2B5EF4-FFF2-40B4-BE49-F238E27FC236}">
                <a16:creationId xmlns:a16="http://schemas.microsoft.com/office/drawing/2014/main" id="{BA2F5725-355A-45F9-9BB4-EFB15FC7752E}"/>
              </a:ext>
            </a:extLst>
          </p:cNvPr>
          <p:cNvSpPr/>
          <p:nvPr/>
        </p:nvSpPr>
        <p:spPr bwMode="auto">
          <a:xfrm>
            <a:off x="4213499" y="3340718"/>
            <a:ext cx="646421" cy="183923"/>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800" b="0" i="0" u="none" strike="noStrike" cap="none" normalizeH="0" baseline="0">
                <a:ln>
                  <a:noFill/>
                </a:ln>
                <a:solidFill>
                  <a:schemeClr val="tx1"/>
                </a:solidFill>
                <a:effectLst/>
                <a:latin typeface="Trebuchet MS" panose="020B0603020202020204" pitchFamily="34" charset="0"/>
              </a:rPr>
              <a:t>Oil &amp; Gas</a:t>
            </a:r>
          </a:p>
        </p:txBody>
      </p:sp>
      <p:sp>
        <p:nvSpPr>
          <p:cNvPr id="32" name="Rectangle 31">
            <a:extLst>
              <a:ext uri="{FF2B5EF4-FFF2-40B4-BE49-F238E27FC236}">
                <a16:creationId xmlns:a16="http://schemas.microsoft.com/office/drawing/2014/main" id="{0426B964-12EE-41C9-B505-D7E20D186AE7}"/>
              </a:ext>
            </a:extLst>
          </p:cNvPr>
          <p:cNvSpPr/>
          <p:nvPr/>
        </p:nvSpPr>
        <p:spPr bwMode="auto">
          <a:xfrm>
            <a:off x="4213499" y="3566834"/>
            <a:ext cx="646421" cy="183923"/>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800" b="0" i="0" u="none" strike="noStrike" cap="none" normalizeH="0" baseline="0">
                <a:ln>
                  <a:noFill/>
                </a:ln>
                <a:solidFill>
                  <a:schemeClr val="tx1"/>
                </a:solidFill>
                <a:effectLst/>
                <a:latin typeface="Trebuchet MS" panose="020B0603020202020204" pitchFamily="34" charset="0"/>
              </a:rPr>
              <a:t>Infra.</a:t>
            </a:r>
          </a:p>
        </p:txBody>
      </p:sp>
      <p:sp>
        <p:nvSpPr>
          <p:cNvPr id="33" name="Rectangle 32">
            <a:extLst>
              <a:ext uri="{FF2B5EF4-FFF2-40B4-BE49-F238E27FC236}">
                <a16:creationId xmlns:a16="http://schemas.microsoft.com/office/drawing/2014/main" id="{F5F02E2B-B22B-4765-9FE8-1670DF07E9EA}"/>
              </a:ext>
            </a:extLst>
          </p:cNvPr>
          <p:cNvSpPr/>
          <p:nvPr/>
        </p:nvSpPr>
        <p:spPr bwMode="auto">
          <a:xfrm>
            <a:off x="4213499" y="3786693"/>
            <a:ext cx="646421" cy="183923"/>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800" b="0" i="0" u="none" strike="noStrike" cap="none" normalizeH="0" baseline="0">
                <a:ln>
                  <a:noFill/>
                </a:ln>
                <a:solidFill>
                  <a:schemeClr val="tx1"/>
                </a:solidFill>
                <a:effectLst/>
                <a:latin typeface="Trebuchet MS" panose="020B0603020202020204" pitchFamily="34" charset="0"/>
              </a:rPr>
              <a:t>Earth </a:t>
            </a:r>
            <a:r>
              <a:rPr kumimoji="0" lang="en-GB" sz="800" b="0" i="0" u="none" strike="noStrike" cap="none" normalizeH="0" baseline="0" err="1">
                <a:ln>
                  <a:noFill/>
                </a:ln>
                <a:solidFill>
                  <a:schemeClr val="tx1"/>
                </a:solidFill>
                <a:effectLst/>
                <a:latin typeface="Trebuchet MS" panose="020B0603020202020204" pitchFamily="34" charset="0"/>
              </a:rPr>
              <a:t>obs</a:t>
            </a:r>
            <a:endParaRPr kumimoji="0" lang="en-GB" sz="800" b="0" i="0" u="none" strike="noStrike" cap="none" normalizeH="0" baseline="0">
              <a:ln>
                <a:noFill/>
              </a:ln>
              <a:solidFill>
                <a:schemeClr val="tx1"/>
              </a:solidFill>
              <a:effectLst/>
              <a:latin typeface="Trebuchet MS" panose="020B0603020202020204" pitchFamily="34" charset="0"/>
            </a:endParaRPr>
          </a:p>
        </p:txBody>
      </p:sp>
      <p:sp>
        <p:nvSpPr>
          <p:cNvPr id="29" name="ZoneTexte 28">
            <a:extLst>
              <a:ext uri="{FF2B5EF4-FFF2-40B4-BE49-F238E27FC236}">
                <a16:creationId xmlns:a16="http://schemas.microsoft.com/office/drawing/2014/main" id="{4797808D-913D-4B73-85F1-942B3BFF4F24}"/>
              </a:ext>
            </a:extLst>
          </p:cNvPr>
          <p:cNvSpPr txBox="1"/>
          <p:nvPr/>
        </p:nvSpPr>
        <p:spPr>
          <a:xfrm>
            <a:off x="376047" y="2575034"/>
            <a:ext cx="1072574" cy="369332"/>
          </a:xfrm>
          <a:prstGeom prst="rect">
            <a:avLst/>
          </a:prstGeom>
          <a:solidFill>
            <a:srgbClr val="E9F5EC"/>
          </a:solidFill>
        </p:spPr>
        <p:txBody>
          <a:bodyPr wrap="square" rtlCol="0">
            <a:spAutoFit/>
          </a:bodyPr>
          <a:lstStyle/>
          <a:p>
            <a:pPr algn="ctr"/>
            <a:r>
              <a:rPr lang="en-GB" sz="900">
                <a:latin typeface="Trebuchet MS" panose="020B0603020202020204" pitchFamily="34" charset="0"/>
              </a:rPr>
              <a:t>Company referential</a:t>
            </a:r>
          </a:p>
        </p:txBody>
      </p:sp>
      <p:sp>
        <p:nvSpPr>
          <p:cNvPr id="35" name="ZoneTexte 34">
            <a:extLst>
              <a:ext uri="{FF2B5EF4-FFF2-40B4-BE49-F238E27FC236}">
                <a16:creationId xmlns:a16="http://schemas.microsoft.com/office/drawing/2014/main" id="{E3055CDD-FDA9-4576-BD45-9AED148EB31D}"/>
              </a:ext>
            </a:extLst>
          </p:cNvPr>
          <p:cNvSpPr txBox="1"/>
          <p:nvPr/>
        </p:nvSpPr>
        <p:spPr>
          <a:xfrm>
            <a:off x="1865821" y="2575034"/>
            <a:ext cx="1072574" cy="369332"/>
          </a:xfrm>
          <a:prstGeom prst="rect">
            <a:avLst/>
          </a:prstGeom>
          <a:solidFill>
            <a:srgbClr val="E9F5EC"/>
          </a:solidFill>
        </p:spPr>
        <p:txBody>
          <a:bodyPr wrap="square" rtlCol="0">
            <a:spAutoFit/>
          </a:bodyPr>
          <a:lstStyle/>
          <a:p>
            <a:pPr algn="ctr"/>
            <a:r>
              <a:rPr lang="en-GB" sz="900" err="1">
                <a:latin typeface="Trebuchet MS" panose="020B0603020202020204" pitchFamily="34" charset="0"/>
              </a:rPr>
              <a:t>Altares</a:t>
            </a:r>
            <a:r>
              <a:rPr lang="en-GB" sz="900">
                <a:latin typeface="Trebuchet MS" panose="020B0603020202020204" pitchFamily="34" charset="0"/>
              </a:rPr>
              <a:t>’ proprietary data</a:t>
            </a:r>
          </a:p>
        </p:txBody>
      </p:sp>
      <p:sp>
        <p:nvSpPr>
          <p:cNvPr id="36" name="ZoneTexte 35">
            <a:extLst>
              <a:ext uri="{FF2B5EF4-FFF2-40B4-BE49-F238E27FC236}">
                <a16:creationId xmlns:a16="http://schemas.microsoft.com/office/drawing/2014/main" id="{AF2E9534-5B75-478E-B4C3-346B9E15CAF4}"/>
              </a:ext>
            </a:extLst>
          </p:cNvPr>
          <p:cNvSpPr txBox="1"/>
          <p:nvPr/>
        </p:nvSpPr>
        <p:spPr>
          <a:xfrm>
            <a:off x="3552285" y="2665226"/>
            <a:ext cx="1062173" cy="230832"/>
          </a:xfrm>
          <a:prstGeom prst="rect">
            <a:avLst/>
          </a:prstGeom>
          <a:solidFill>
            <a:srgbClr val="E9F5EC"/>
          </a:solidFill>
        </p:spPr>
        <p:txBody>
          <a:bodyPr wrap="square" rtlCol="0">
            <a:spAutoFit/>
          </a:bodyPr>
          <a:lstStyle/>
          <a:p>
            <a:pPr algn="ctr"/>
            <a:r>
              <a:rPr lang="en-GB" sz="900">
                <a:latin typeface="Trebuchet MS" panose="020B0603020202020204" pitchFamily="34" charset="0"/>
              </a:rPr>
              <a:t>Third party data</a:t>
            </a:r>
          </a:p>
        </p:txBody>
      </p:sp>
      <p:cxnSp>
        <p:nvCxnSpPr>
          <p:cNvPr id="40" name="Connecteur droit avec flèche 39">
            <a:extLst>
              <a:ext uri="{FF2B5EF4-FFF2-40B4-BE49-F238E27FC236}">
                <a16:creationId xmlns:a16="http://schemas.microsoft.com/office/drawing/2014/main" id="{B45A3DB4-CE93-45AD-B0C4-F68F9EB3C8E5}"/>
              </a:ext>
            </a:extLst>
          </p:cNvPr>
          <p:cNvCxnSpPr>
            <a:cxnSpLocks/>
          </p:cNvCxnSpPr>
          <p:nvPr/>
        </p:nvCxnSpPr>
        <p:spPr bwMode="auto">
          <a:xfrm>
            <a:off x="918925" y="4823645"/>
            <a:ext cx="0" cy="291191"/>
          </a:xfrm>
          <a:prstGeom prst="straightConnector1">
            <a:avLst/>
          </a:prstGeom>
          <a:solidFill>
            <a:schemeClr val="accent1"/>
          </a:solidFill>
          <a:ln w="9525" cap="flat" cmpd="sng" algn="ctr">
            <a:solidFill>
              <a:schemeClr val="tx1"/>
            </a:solidFill>
            <a:prstDash val="solid"/>
            <a:round/>
            <a:headEnd type="oval"/>
            <a:tailEnd type="oval"/>
          </a:ln>
          <a:effectLst/>
        </p:spPr>
      </p:cxnSp>
      <p:cxnSp>
        <p:nvCxnSpPr>
          <p:cNvPr id="52" name="Connecteur droit avec flèche 51">
            <a:extLst>
              <a:ext uri="{FF2B5EF4-FFF2-40B4-BE49-F238E27FC236}">
                <a16:creationId xmlns:a16="http://schemas.microsoft.com/office/drawing/2014/main" id="{39A63B6B-B2F0-4A65-9C51-AC6915DA4D13}"/>
              </a:ext>
            </a:extLst>
          </p:cNvPr>
          <p:cNvCxnSpPr>
            <a:cxnSpLocks/>
          </p:cNvCxnSpPr>
          <p:nvPr/>
        </p:nvCxnSpPr>
        <p:spPr bwMode="auto">
          <a:xfrm>
            <a:off x="2423542" y="4823645"/>
            <a:ext cx="0" cy="291191"/>
          </a:xfrm>
          <a:prstGeom prst="straightConnector1">
            <a:avLst/>
          </a:prstGeom>
          <a:solidFill>
            <a:schemeClr val="accent1"/>
          </a:solidFill>
          <a:ln w="9525" cap="flat" cmpd="sng" algn="ctr">
            <a:solidFill>
              <a:schemeClr val="tx1"/>
            </a:solidFill>
            <a:prstDash val="solid"/>
            <a:round/>
            <a:headEnd type="oval"/>
            <a:tailEnd type="oval"/>
          </a:ln>
          <a:effectLst/>
        </p:spPr>
      </p:cxnSp>
      <p:cxnSp>
        <p:nvCxnSpPr>
          <p:cNvPr id="53" name="Connecteur droit avec flèche 52">
            <a:extLst>
              <a:ext uri="{FF2B5EF4-FFF2-40B4-BE49-F238E27FC236}">
                <a16:creationId xmlns:a16="http://schemas.microsoft.com/office/drawing/2014/main" id="{0C9125E6-4A5A-4531-92A7-2209D8BAF67A}"/>
              </a:ext>
            </a:extLst>
          </p:cNvPr>
          <p:cNvCxnSpPr>
            <a:cxnSpLocks/>
          </p:cNvCxnSpPr>
          <p:nvPr/>
        </p:nvCxnSpPr>
        <p:spPr bwMode="auto">
          <a:xfrm>
            <a:off x="3137590" y="4823645"/>
            <a:ext cx="0" cy="291191"/>
          </a:xfrm>
          <a:prstGeom prst="straightConnector1">
            <a:avLst/>
          </a:prstGeom>
          <a:solidFill>
            <a:schemeClr val="accent1"/>
          </a:solidFill>
          <a:ln w="9525" cap="flat" cmpd="sng" algn="ctr">
            <a:solidFill>
              <a:schemeClr val="tx1"/>
            </a:solidFill>
            <a:prstDash val="solid"/>
            <a:round/>
            <a:headEnd type="oval"/>
            <a:tailEnd type="oval"/>
          </a:ln>
          <a:effectLst/>
        </p:spPr>
      </p:cxnSp>
      <p:sp>
        <p:nvSpPr>
          <p:cNvPr id="50" name="ZoneTexte 49">
            <a:extLst>
              <a:ext uri="{FF2B5EF4-FFF2-40B4-BE49-F238E27FC236}">
                <a16:creationId xmlns:a16="http://schemas.microsoft.com/office/drawing/2014/main" id="{06FE5ACD-5382-4EDA-9DC6-DFBEB53AC430}"/>
              </a:ext>
            </a:extLst>
          </p:cNvPr>
          <p:cNvSpPr txBox="1"/>
          <p:nvPr/>
        </p:nvSpPr>
        <p:spPr>
          <a:xfrm>
            <a:off x="4476841" y="5661170"/>
            <a:ext cx="298480" cy="276999"/>
          </a:xfrm>
          <a:prstGeom prst="rect">
            <a:avLst/>
          </a:prstGeom>
          <a:noFill/>
        </p:spPr>
        <p:txBody>
          <a:bodyPr wrap="none" rtlCol="0">
            <a:spAutoFit/>
          </a:bodyPr>
          <a:lstStyle/>
          <a:p>
            <a:r>
              <a:rPr lang="en-GB" sz="1200">
                <a:latin typeface="Trebuchet MS" panose="020B0603020202020204" pitchFamily="34" charset="0"/>
              </a:rPr>
              <a:t>…</a:t>
            </a:r>
          </a:p>
        </p:txBody>
      </p:sp>
      <p:sp>
        <p:nvSpPr>
          <p:cNvPr id="56" name="ZoneTexte 55">
            <a:extLst>
              <a:ext uri="{FF2B5EF4-FFF2-40B4-BE49-F238E27FC236}">
                <a16:creationId xmlns:a16="http://schemas.microsoft.com/office/drawing/2014/main" id="{52B98B18-C9BE-4103-ADE4-2D85E5255912}"/>
              </a:ext>
            </a:extLst>
          </p:cNvPr>
          <p:cNvSpPr txBox="1"/>
          <p:nvPr/>
        </p:nvSpPr>
        <p:spPr>
          <a:xfrm>
            <a:off x="6092775" y="1561496"/>
            <a:ext cx="2868093" cy="276999"/>
          </a:xfrm>
          <a:prstGeom prst="rect">
            <a:avLst/>
          </a:prstGeom>
          <a:noFill/>
        </p:spPr>
        <p:txBody>
          <a:bodyPr wrap="none" rtlCol="0">
            <a:spAutoFit/>
          </a:bodyPr>
          <a:lstStyle/>
          <a:p>
            <a:r>
              <a:rPr lang="en-GB" sz="1200" i="1">
                <a:latin typeface="Trebuchet MS" panose="020B0603020202020204" pitchFamily="34" charset="0"/>
              </a:rPr>
              <a:t>Example of a potential business model</a:t>
            </a:r>
          </a:p>
        </p:txBody>
      </p:sp>
      <p:sp>
        <p:nvSpPr>
          <p:cNvPr id="54" name="Triangle isocèle 53">
            <a:extLst>
              <a:ext uri="{FF2B5EF4-FFF2-40B4-BE49-F238E27FC236}">
                <a16:creationId xmlns:a16="http://schemas.microsoft.com/office/drawing/2014/main" id="{9CBA65FC-243A-4783-91D6-D432381446B2}"/>
              </a:ext>
            </a:extLst>
          </p:cNvPr>
          <p:cNvSpPr/>
          <p:nvPr/>
        </p:nvSpPr>
        <p:spPr bwMode="auto">
          <a:xfrm flipV="1">
            <a:off x="2252843" y="2063089"/>
            <a:ext cx="773965" cy="159495"/>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3" name="Rectangle 62">
            <a:extLst>
              <a:ext uri="{FF2B5EF4-FFF2-40B4-BE49-F238E27FC236}">
                <a16:creationId xmlns:a16="http://schemas.microsoft.com/office/drawing/2014/main" id="{F9DF228A-A479-479C-980D-BB78949915A5}"/>
              </a:ext>
            </a:extLst>
          </p:cNvPr>
          <p:cNvSpPr/>
          <p:nvPr/>
        </p:nvSpPr>
        <p:spPr bwMode="auto">
          <a:xfrm>
            <a:off x="6663574" y="3344044"/>
            <a:ext cx="1597088" cy="880338"/>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200" b="0" i="0" u="none" strike="noStrike" cap="none" normalizeH="0" baseline="0" err="1">
                <a:ln>
                  <a:noFill/>
                </a:ln>
                <a:solidFill>
                  <a:schemeClr val="tx2"/>
                </a:solidFill>
                <a:effectLst/>
                <a:latin typeface="Trebuchet MS" panose="020B0603020202020204" pitchFamily="34" charset="0"/>
              </a:rPr>
              <a:t>AltaMarket</a:t>
            </a:r>
            <a:r>
              <a:rPr kumimoji="0" lang="en-GB" sz="1200" b="0" i="0" u="none" strike="noStrike" cap="none" normalizeH="0" baseline="0">
                <a:ln>
                  <a:noFill/>
                </a:ln>
                <a:solidFill>
                  <a:schemeClr val="tx2"/>
                </a:solidFill>
                <a:effectLst/>
                <a:latin typeface="Trebuchet MS" panose="020B0603020202020204" pitchFamily="34" charset="0"/>
              </a:rPr>
              <a:t> ® </a:t>
            </a:r>
          </a:p>
        </p:txBody>
      </p:sp>
      <p:pic>
        <p:nvPicPr>
          <p:cNvPr id="183304" name="Picture 8" descr="Le Groupe | Altares DB France">
            <a:extLst>
              <a:ext uri="{FF2B5EF4-FFF2-40B4-BE49-F238E27FC236}">
                <a16:creationId xmlns:a16="http://schemas.microsoft.com/office/drawing/2014/main" id="{5C26FCF4-5952-4904-994B-7266A904697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43467" y="3732680"/>
            <a:ext cx="732500" cy="375304"/>
          </a:xfrm>
          <a:prstGeom prst="rect">
            <a:avLst/>
          </a:prstGeom>
          <a:noFill/>
          <a:extLst>
            <a:ext uri="{909E8E84-426E-40DD-AFC4-6F175D3DCCD1}">
              <a14:hiddenFill xmlns:a14="http://schemas.microsoft.com/office/drawing/2010/main">
                <a:solidFill>
                  <a:srgbClr val="FFFFFF"/>
                </a:solidFill>
              </a14:hiddenFill>
            </a:ext>
          </a:extLst>
        </p:spPr>
      </p:pic>
      <p:sp>
        <p:nvSpPr>
          <p:cNvPr id="65" name="Rectangle 64">
            <a:extLst>
              <a:ext uri="{FF2B5EF4-FFF2-40B4-BE49-F238E27FC236}">
                <a16:creationId xmlns:a16="http://schemas.microsoft.com/office/drawing/2014/main" id="{469DEA96-37AF-48B9-9667-3C554B72B9CB}"/>
              </a:ext>
            </a:extLst>
          </p:cNvPr>
          <p:cNvSpPr/>
          <p:nvPr/>
        </p:nvSpPr>
        <p:spPr bwMode="auto">
          <a:xfrm>
            <a:off x="6663574" y="4847646"/>
            <a:ext cx="1597088" cy="88033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latin typeface="Trebuchet MS" panose="020B0603020202020204" pitchFamily="34" charset="0"/>
              </a:rPr>
              <a:t>Clients</a:t>
            </a:r>
          </a:p>
          <a:p>
            <a:pPr algn="ctr"/>
            <a:r>
              <a:rPr lang="en-GB" sz="1000" i="1">
                <a:latin typeface="Trebuchet MS" panose="020B0603020202020204" pitchFamily="34" charset="0"/>
              </a:rPr>
              <a:t>(either data partners’ customers or </a:t>
            </a:r>
            <a:r>
              <a:rPr lang="en-GB" sz="1000" i="1" err="1">
                <a:latin typeface="Trebuchet MS" panose="020B0603020202020204" pitchFamily="34" charset="0"/>
              </a:rPr>
              <a:t>Altares</a:t>
            </a:r>
            <a:r>
              <a:rPr lang="en-GB" sz="1000" i="1">
                <a:latin typeface="Trebuchet MS" panose="020B0603020202020204" pitchFamily="34" charset="0"/>
              </a:rPr>
              <a:t>’ customers)</a:t>
            </a:r>
          </a:p>
        </p:txBody>
      </p:sp>
      <p:sp>
        <p:nvSpPr>
          <p:cNvPr id="67" name="Rectangle 66">
            <a:extLst>
              <a:ext uri="{FF2B5EF4-FFF2-40B4-BE49-F238E27FC236}">
                <a16:creationId xmlns:a16="http://schemas.microsoft.com/office/drawing/2014/main" id="{390EF367-2A07-46A5-9933-BA85B759CAD3}"/>
              </a:ext>
            </a:extLst>
          </p:cNvPr>
          <p:cNvSpPr/>
          <p:nvPr/>
        </p:nvSpPr>
        <p:spPr bwMode="auto">
          <a:xfrm>
            <a:off x="6663574" y="1976824"/>
            <a:ext cx="1597088" cy="88033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latin typeface="Trebuchet MS" panose="020B0603020202020204" pitchFamily="34" charset="0"/>
              </a:rPr>
              <a:t>Data partner</a:t>
            </a:r>
          </a:p>
        </p:txBody>
      </p:sp>
      <p:cxnSp>
        <p:nvCxnSpPr>
          <p:cNvPr id="183296" name="Connecteur droit avec flèche 183295">
            <a:extLst>
              <a:ext uri="{FF2B5EF4-FFF2-40B4-BE49-F238E27FC236}">
                <a16:creationId xmlns:a16="http://schemas.microsoft.com/office/drawing/2014/main" id="{CDAC5173-00E4-4F9B-AA23-BF11A19E8F66}"/>
              </a:ext>
            </a:extLst>
          </p:cNvPr>
          <p:cNvCxnSpPr>
            <a:cxnSpLocks/>
          </p:cNvCxnSpPr>
          <p:nvPr/>
        </p:nvCxnSpPr>
        <p:spPr bwMode="auto">
          <a:xfrm flipV="1">
            <a:off x="7679310" y="4249139"/>
            <a:ext cx="0" cy="566912"/>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78" name="ZoneTexte 77">
            <a:extLst>
              <a:ext uri="{FF2B5EF4-FFF2-40B4-BE49-F238E27FC236}">
                <a16:creationId xmlns:a16="http://schemas.microsoft.com/office/drawing/2014/main" id="{1DD592AE-2EBB-4D91-84BD-589677F940F1}"/>
              </a:ext>
            </a:extLst>
          </p:cNvPr>
          <p:cNvSpPr txBox="1"/>
          <p:nvPr/>
        </p:nvSpPr>
        <p:spPr>
          <a:xfrm>
            <a:off x="7693803" y="4409485"/>
            <a:ext cx="472243" cy="246221"/>
          </a:xfrm>
          <a:prstGeom prst="rect">
            <a:avLst/>
          </a:prstGeom>
          <a:noFill/>
        </p:spPr>
        <p:txBody>
          <a:bodyPr wrap="square" rtlCol="0">
            <a:spAutoFit/>
          </a:bodyPr>
          <a:lstStyle/>
          <a:p>
            <a:r>
              <a:rPr lang="en-GB" sz="1000">
                <a:latin typeface="Trebuchet MS" panose="020B0603020202020204" pitchFamily="34" charset="0"/>
              </a:rPr>
              <a:t>100€</a:t>
            </a:r>
          </a:p>
        </p:txBody>
      </p:sp>
      <p:cxnSp>
        <p:nvCxnSpPr>
          <p:cNvPr id="79" name="Connecteur droit avec flèche 78">
            <a:extLst>
              <a:ext uri="{FF2B5EF4-FFF2-40B4-BE49-F238E27FC236}">
                <a16:creationId xmlns:a16="http://schemas.microsoft.com/office/drawing/2014/main" id="{CC04800E-8AD0-4201-AB4A-400817E8C7DF}"/>
              </a:ext>
            </a:extLst>
          </p:cNvPr>
          <p:cNvCxnSpPr>
            <a:cxnSpLocks/>
          </p:cNvCxnSpPr>
          <p:nvPr/>
        </p:nvCxnSpPr>
        <p:spPr bwMode="auto">
          <a:xfrm flipV="1">
            <a:off x="7681326" y="2858471"/>
            <a:ext cx="0" cy="452346"/>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82" name="ZoneTexte 81">
            <a:extLst>
              <a:ext uri="{FF2B5EF4-FFF2-40B4-BE49-F238E27FC236}">
                <a16:creationId xmlns:a16="http://schemas.microsoft.com/office/drawing/2014/main" id="{BB12FB63-76C6-4963-8BEC-8E4F59210E12}"/>
              </a:ext>
            </a:extLst>
          </p:cNvPr>
          <p:cNvSpPr txBox="1"/>
          <p:nvPr/>
        </p:nvSpPr>
        <p:spPr>
          <a:xfrm>
            <a:off x="7681326" y="2991656"/>
            <a:ext cx="386644" cy="246221"/>
          </a:xfrm>
          <a:prstGeom prst="rect">
            <a:avLst/>
          </a:prstGeom>
          <a:noFill/>
        </p:spPr>
        <p:txBody>
          <a:bodyPr wrap="none" rtlCol="0">
            <a:spAutoFit/>
          </a:bodyPr>
          <a:lstStyle/>
          <a:p>
            <a:r>
              <a:rPr lang="en-GB" sz="1000">
                <a:latin typeface="Trebuchet MS" panose="020B0603020202020204" pitchFamily="34" charset="0"/>
              </a:rPr>
              <a:t>85€</a:t>
            </a:r>
          </a:p>
        </p:txBody>
      </p:sp>
      <p:sp>
        <p:nvSpPr>
          <p:cNvPr id="83" name="ZoneTexte 82">
            <a:extLst>
              <a:ext uri="{FF2B5EF4-FFF2-40B4-BE49-F238E27FC236}">
                <a16:creationId xmlns:a16="http://schemas.microsoft.com/office/drawing/2014/main" id="{5BA2871E-5B37-4CD9-9E38-6747D2105BA0}"/>
              </a:ext>
            </a:extLst>
          </p:cNvPr>
          <p:cNvSpPr txBox="1"/>
          <p:nvPr/>
        </p:nvSpPr>
        <p:spPr>
          <a:xfrm>
            <a:off x="7873732" y="3981760"/>
            <a:ext cx="405880" cy="261610"/>
          </a:xfrm>
          <a:prstGeom prst="rect">
            <a:avLst/>
          </a:prstGeom>
          <a:noFill/>
        </p:spPr>
        <p:txBody>
          <a:bodyPr wrap="none" rtlCol="0">
            <a:spAutoFit/>
          </a:bodyPr>
          <a:lstStyle/>
          <a:p>
            <a:r>
              <a:rPr lang="en-GB" sz="1050">
                <a:latin typeface="Trebuchet MS" panose="020B0603020202020204" pitchFamily="34" charset="0"/>
              </a:rPr>
              <a:t>15€</a:t>
            </a:r>
          </a:p>
        </p:txBody>
      </p:sp>
      <p:grpSp>
        <p:nvGrpSpPr>
          <p:cNvPr id="183310" name="Groupe 183309">
            <a:extLst>
              <a:ext uri="{FF2B5EF4-FFF2-40B4-BE49-F238E27FC236}">
                <a16:creationId xmlns:a16="http://schemas.microsoft.com/office/drawing/2014/main" id="{95483298-EFF7-4A54-9F9E-581D041ACBF4}"/>
              </a:ext>
            </a:extLst>
          </p:cNvPr>
          <p:cNvGrpSpPr/>
          <p:nvPr/>
        </p:nvGrpSpPr>
        <p:grpSpPr>
          <a:xfrm>
            <a:off x="3042622" y="3405946"/>
            <a:ext cx="318896" cy="369332"/>
            <a:chOff x="10234044" y="839493"/>
            <a:chExt cx="318896" cy="369332"/>
          </a:xfrm>
        </p:grpSpPr>
        <p:sp>
          <p:nvSpPr>
            <p:cNvPr id="183308" name="Ellipse 183307">
              <a:extLst>
                <a:ext uri="{FF2B5EF4-FFF2-40B4-BE49-F238E27FC236}">
                  <a16:creationId xmlns:a16="http://schemas.microsoft.com/office/drawing/2014/main" id="{0D54E099-6A88-4E2C-BE7D-888A781A540F}"/>
                </a:ext>
              </a:extLst>
            </p:cNvPr>
            <p:cNvSpPr/>
            <p:nvPr/>
          </p:nvSpPr>
          <p:spPr bwMode="auto">
            <a:xfrm>
              <a:off x="10283201" y="923059"/>
              <a:ext cx="220582" cy="209051"/>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a:ln>
                  <a:noFill/>
                </a:ln>
                <a:solidFill>
                  <a:schemeClr val="bg1"/>
                </a:solidFill>
                <a:effectLst/>
                <a:latin typeface="Trebuchet MS" pitchFamily="34" charset="0"/>
              </a:endParaRPr>
            </a:p>
          </p:txBody>
        </p:sp>
        <p:sp>
          <p:nvSpPr>
            <p:cNvPr id="183309" name="ZoneTexte 183308">
              <a:extLst>
                <a:ext uri="{FF2B5EF4-FFF2-40B4-BE49-F238E27FC236}">
                  <a16:creationId xmlns:a16="http://schemas.microsoft.com/office/drawing/2014/main" id="{EDDEFBF3-087D-4A25-B781-C8B05355171E}"/>
                </a:ext>
              </a:extLst>
            </p:cNvPr>
            <p:cNvSpPr txBox="1"/>
            <p:nvPr/>
          </p:nvSpPr>
          <p:spPr>
            <a:xfrm>
              <a:off x="10234044" y="839493"/>
              <a:ext cx="318896" cy="369332"/>
            </a:xfrm>
            <a:prstGeom prst="rect">
              <a:avLst/>
            </a:prstGeom>
            <a:noFill/>
          </p:spPr>
          <p:txBody>
            <a:bodyPr wrap="square" rtlCol="0">
              <a:spAutoFit/>
            </a:bodyPr>
            <a:lstStyle/>
            <a:p>
              <a:r>
                <a:rPr lang="en-GB" sz="1800">
                  <a:solidFill>
                    <a:schemeClr val="bg1"/>
                  </a:solidFill>
                  <a:latin typeface="+mj-lt"/>
                </a:rPr>
                <a:t>+</a:t>
              </a:r>
            </a:p>
          </p:txBody>
        </p:sp>
      </p:grpSp>
      <p:grpSp>
        <p:nvGrpSpPr>
          <p:cNvPr id="95" name="Groupe 94">
            <a:extLst>
              <a:ext uri="{FF2B5EF4-FFF2-40B4-BE49-F238E27FC236}">
                <a16:creationId xmlns:a16="http://schemas.microsoft.com/office/drawing/2014/main" id="{83503B1B-DE76-461D-B13F-E8102A81857D}"/>
              </a:ext>
            </a:extLst>
          </p:cNvPr>
          <p:cNvGrpSpPr/>
          <p:nvPr/>
        </p:nvGrpSpPr>
        <p:grpSpPr>
          <a:xfrm>
            <a:off x="3914890" y="3405946"/>
            <a:ext cx="318896" cy="369332"/>
            <a:chOff x="10234044" y="839493"/>
            <a:chExt cx="318896" cy="369332"/>
          </a:xfrm>
        </p:grpSpPr>
        <p:sp>
          <p:nvSpPr>
            <p:cNvPr id="96" name="Ellipse 95">
              <a:extLst>
                <a:ext uri="{FF2B5EF4-FFF2-40B4-BE49-F238E27FC236}">
                  <a16:creationId xmlns:a16="http://schemas.microsoft.com/office/drawing/2014/main" id="{4C6BC3D0-A2BA-4F5F-99E9-577C1243A01B}"/>
                </a:ext>
              </a:extLst>
            </p:cNvPr>
            <p:cNvSpPr/>
            <p:nvPr/>
          </p:nvSpPr>
          <p:spPr bwMode="auto">
            <a:xfrm>
              <a:off x="10283201" y="923059"/>
              <a:ext cx="220582" cy="209051"/>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a:ln>
                  <a:noFill/>
                </a:ln>
                <a:solidFill>
                  <a:schemeClr val="bg1"/>
                </a:solidFill>
                <a:effectLst/>
                <a:latin typeface="Trebuchet MS" pitchFamily="34" charset="0"/>
              </a:endParaRPr>
            </a:p>
          </p:txBody>
        </p:sp>
        <p:sp>
          <p:nvSpPr>
            <p:cNvPr id="97" name="ZoneTexte 96">
              <a:extLst>
                <a:ext uri="{FF2B5EF4-FFF2-40B4-BE49-F238E27FC236}">
                  <a16:creationId xmlns:a16="http://schemas.microsoft.com/office/drawing/2014/main" id="{19ADEF70-C234-4BCA-A25F-2D43DC0C2CEF}"/>
                </a:ext>
              </a:extLst>
            </p:cNvPr>
            <p:cNvSpPr txBox="1"/>
            <p:nvPr/>
          </p:nvSpPr>
          <p:spPr>
            <a:xfrm>
              <a:off x="10234044" y="839493"/>
              <a:ext cx="318896" cy="369332"/>
            </a:xfrm>
            <a:prstGeom prst="rect">
              <a:avLst/>
            </a:prstGeom>
            <a:noFill/>
          </p:spPr>
          <p:txBody>
            <a:bodyPr wrap="square" rtlCol="0">
              <a:spAutoFit/>
            </a:bodyPr>
            <a:lstStyle/>
            <a:p>
              <a:r>
                <a:rPr lang="en-GB" sz="1800">
                  <a:solidFill>
                    <a:schemeClr val="bg1"/>
                  </a:solidFill>
                  <a:latin typeface="+mj-lt"/>
                </a:rPr>
                <a:t>+</a:t>
              </a:r>
            </a:p>
          </p:txBody>
        </p:sp>
      </p:grpSp>
      <p:grpSp>
        <p:nvGrpSpPr>
          <p:cNvPr id="98" name="Groupe 97">
            <a:extLst>
              <a:ext uri="{FF2B5EF4-FFF2-40B4-BE49-F238E27FC236}">
                <a16:creationId xmlns:a16="http://schemas.microsoft.com/office/drawing/2014/main" id="{B4E5AF45-E86E-420F-BD85-402E26E2F001}"/>
              </a:ext>
            </a:extLst>
          </p:cNvPr>
          <p:cNvGrpSpPr/>
          <p:nvPr/>
        </p:nvGrpSpPr>
        <p:grpSpPr>
          <a:xfrm>
            <a:off x="1496934" y="3405946"/>
            <a:ext cx="318896" cy="369332"/>
            <a:chOff x="10234044" y="839493"/>
            <a:chExt cx="318896" cy="369332"/>
          </a:xfrm>
        </p:grpSpPr>
        <p:sp>
          <p:nvSpPr>
            <p:cNvPr id="99" name="Ellipse 98">
              <a:extLst>
                <a:ext uri="{FF2B5EF4-FFF2-40B4-BE49-F238E27FC236}">
                  <a16:creationId xmlns:a16="http://schemas.microsoft.com/office/drawing/2014/main" id="{2AAA7D61-8013-4A15-BB14-F4F29B257564}"/>
                </a:ext>
              </a:extLst>
            </p:cNvPr>
            <p:cNvSpPr/>
            <p:nvPr/>
          </p:nvSpPr>
          <p:spPr bwMode="auto">
            <a:xfrm>
              <a:off x="10283201" y="923059"/>
              <a:ext cx="220582" cy="209051"/>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a:ln>
                  <a:noFill/>
                </a:ln>
                <a:solidFill>
                  <a:schemeClr val="bg1"/>
                </a:solidFill>
                <a:effectLst/>
                <a:latin typeface="Trebuchet MS" pitchFamily="34" charset="0"/>
              </a:endParaRPr>
            </a:p>
          </p:txBody>
        </p:sp>
        <p:sp>
          <p:nvSpPr>
            <p:cNvPr id="100" name="ZoneTexte 99">
              <a:extLst>
                <a:ext uri="{FF2B5EF4-FFF2-40B4-BE49-F238E27FC236}">
                  <a16:creationId xmlns:a16="http://schemas.microsoft.com/office/drawing/2014/main" id="{F6B1BB31-23E0-4188-9EFB-5D005A15F7DE}"/>
                </a:ext>
              </a:extLst>
            </p:cNvPr>
            <p:cNvSpPr txBox="1"/>
            <p:nvPr/>
          </p:nvSpPr>
          <p:spPr>
            <a:xfrm>
              <a:off x="10234044" y="839493"/>
              <a:ext cx="318896" cy="369332"/>
            </a:xfrm>
            <a:prstGeom prst="rect">
              <a:avLst/>
            </a:prstGeom>
            <a:noFill/>
          </p:spPr>
          <p:txBody>
            <a:bodyPr wrap="square" rtlCol="0">
              <a:spAutoFit/>
            </a:bodyPr>
            <a:lstStyle/>
            <a:p>
              <a:r>
                <a:rPr lang="en-GB" sz="1800">
                  <a:solidFill>
                    <a:schemeClr val="bg1"/>
                  </a:solidFill>
                  <a:latin typeface="+mj-lt"/>
                </a:rPr>
                <a:t>+</a:t>
              </a:r>
            </a:p>
          </p:txBody>
        </p:sp>
      </p:grpSp>
      <p:cxnSp>
        <p:nvCxnSpPr>
          <p:cNvPr id="16" name="Connecteur : en angle 15">
            <a:extLst>
              <a:ext uri="{FF2B5EF4-FFF2-40B4-BE49-F238E27FC236}">
                <a16:creationId xmlns:a16="http://schemas.microsoft.com/office/drawing/2014/main" id="{497A5D4B-D25D-4344-AC18-EE2958953A0C}"/>
              </a:ext>
            </a:extLst>
          </p:cNvPr>
          <p:cNvCxnSpPr>
            <a:stCxn id="67" idx="1"/>
            <a:endCxn id="65" idx="1"/>
          </p:cNvCxnSpPr>
          <p:nvPr/>
        </p:nvCxnSpPr>
        <p:spPr bwMode="auto">
          <a:xfrm rot="10800000" flipV="1">
            <a:off x="6663574" y="2416993"/>
            <a:ext cx="12700" cy="2870822"/>
          </a:xfrm>
          <a:prstGeom prst="bentConnector3">
            <a:avLst>
              <a:gd name="adj1" fmla="val 1800000"/>
            </a:avLst>
          </a:prstGeom>
          <a:solidFill>
            <a:schemeClr val="accent1"/>
          </a:solidFill>
          <a:ln w="9525" cap="flat" cmpd="sng" algn="ctr">
            <a:solidFill>
              <a:schemeClr val="tx1"/>
            </a:solidFill>
            <a:prstDash val="solid"/>
            <a:round/>
            <a:headEnd type="none" w="med" len="med"/>
            <a:tailEnd type="triangle"/>
          </a:ln>
          <a:effectLst/>
        </p:spPr>
      </p:cxnSp>
      <p:sp>
        <p:nvSpPr>
          <p:cNvPr id="76" name="Rectangle: Rounded Corners 71">
            <a:extLst>
              <a:ext uri="{FF2B5EF4-FFF2-40B4-BE49-F238E27FC236}">
                <a16:creationId xmlns:a16="http://schemas.microsoft.com/office/drawing/2014/main" id="{B235BFB5-D869-46B2-83ED-072C48D2FB34}"/>
              </a:ext>
            </a:extLst>
          </p:cNvPr>
          <p:cNvSpPr/>
          <p:nvPr/>
        </p:nvSpPr>
        <p:spPr bwMode="auto">
          <a:xfrm>
            <a:off x="5139851" y="1289502"/>
            <a:ext cx="1029028" cy="328535"/>
          </a:xfrm>
          <a:prstGeom prst="roundRect">
            <a:avLst/>
          </a:prstGeom>
          <a:solidFill>
            <a:schemeClr val="bg1"/>
          </a:solidFill>
          <a:ln w="19050" cap="flat" cmpd="sng" algn="ctr">
            <a:solidFill>
              <a:schemeClr val="bg2"/>
            </a:solidFill>
            <a:prstDash val="solid"/>
            <a:round/>
            <a:headEnd type="none" w="med" len="med"/>
            <a:tailEnd type="none" w="med" len="med"/>
          </a:ln>
          <a:effectLst>
            <a:outerShdw blurRad="50800" dist="38100" algn="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2"/>
                </a:solidFill>
                <a:effectLst/>
                <a:latin typeface="Trebuchet MS" panose="020B0603020202020204" pitchFamily="34" charset="0"/>
              </a:rPr>
              <a:t>For illustrative purpose only </a:t>
            </a:r>
          </a:p>
        </p:txBody>
      </p:sp>
      <p:sp>
        <p:nvSpPr>
          <p:cNvPr id="77" name="ZoneTexte 76">
            <a:extLst>
              <a:ext uri="{FF2B5EF4-FFF2-40B4-BE49-F238E27FC236}">
                <a16:creationId xmlns:a16="http://schemas.microsoft.com/office/drawing/2014/main" id="{E5E54BD2-6F60-43D4-B491-C80D257464B7}"/>
              </a:ext>
            </a:extLst>
          </p:cNvPr>
          <p:cNvSpPr txBox="1"/>
          <p:nvPr/>
        </p:nvSpPr>
        <p:spPr>
          <a:xfrm>
            <a:off x="6213467" y="4409485"/>
            <a:ext cx="984542" cy="246221"/>
          </a:xfrm>
          <a:prstGeom prst="rect">
            <a:avLst/>
          </a:prstGeom>
          <a:noFill/>
        </p:spPr>
        <p:txBody>
          <a:bodyPr wrap="square" rtlCol="0">
            <a:spAutoFit/>
          </a:bodyPr>
          <a:lstStyle/>
          <a:p>
            <a:pPr algn="ctr"/>
            <a:r>
              <a:rPr lang="en-GB" sz="1000" i="1">
                <a:latin typeface="Trebuchet MS" panose="020B0603020202020204" pitchFamily="34" charset="0"/>
              </a:rPr>
              <a:t>Sales</a:t>
            </a:r>
          </a:p>
        </p:txBody>
      </p:sp>
      <p:cxnSp>
        <p:nvCxnSpPr>
          <p:cNvPr id="80" name="Connecteur : en angle 79">
            <a:extLst>
              <a:ext uri="{FF2B5EF4-FFF2-40B4-BE49-F238E27FC236}">
                <a16:creationId xmlns:a16="http://schemas.microsoft.com/office/drawing/2014/main" id="{9F41DE14-6DF1-4A49-9D26-5F5BBA72B9F2}"/>
              </a:ext>
            </a:extLst>
          </p:cNvPr>
          <p:cNvCxnSpPr>
            <a:cxnSpLocks/>
            <a:stCxn id="63" idx="3"/>
            <a:endCxn id="65" idx="3"/>
          </p:cNvCxnSpPr>
          <p:nvPr/>
        </p:nvCxnSpPr>
        <p:spPr bwMode="auto">
          <a:xfrm>
            <a:off x="8260662" y="3784213"/>
            <a:ext cx="12700" cy="1503602"/>
          </a:xfrm>
          <a:prstGeom prst="bentConnector3">
            <a:avLst>
              <a:gd name="adj1" fmla="val 1800000"/>
            </a:avLst>
          </a:prstGeom>
          <a:solidFill>
            <a:schemeClr val="accent1"/>
          </a:solidFill>
          <a:ln w="9525" cap="flat" cmpd="sng" algn="ctr">
            <a:solidFill>
              <a:schemeClr val="tx1"/>
            </a:solidFill>
            <a:prstDash val="solid"/>
            <a:round/>
            <a:headEnd type="none" w="med" len="med"/>
            <a:tailEnd type="triangle"/>
          </a:ln>
          <a:effectLst/>
        </p:spPr>
      </p:cxnSp>
      <p:sp>
        <p:nvSpPr>
          <p:cNvPr id="86" name="ZoneTexte 85">
            <a:extLst>
              <a:ext uri="{FF2B5EF4-FFF2-40B4-BE49-F238E27FC236}">
                <a16:creationId xmlns:a16="http://schemas.microsoft.com/office/drawing/2014/main" id="{E3047BBD-384F-4AB3-B215-90A512F4F3C0}"/>
              </a:ext>
            </a:extLst>
          </p:cNvPr>
          <p:cNvSpPr txBox="1"/>
          <p:nvPr/>
        </p:nvSpPr>
        <p:spPr>
          <a:xfrm>
            <a:off x="8439312" y="4332540"/>
            <a:ext cx="984542" cy="400110"/>
          </a:xfrm>
          <a:prstGeom prst="rect">
            <a:avLst/>
          </a:prstGeom>
          <a:noFill/>
        </p:spPr>
        <p:txBody>
          <a:bodyPr wrap="square" rtlCol="0">
            <a:spAutoFit/>
          </a:bodyPr>
          <a:lstStyle/>
          <a:p>
            <a:pPr algn="ctr"/>
            <a:r>
              <a:rPr lang="en-GB" sz="1000" i="1">
                <a:latin typeface="Trebuchet MS" panose="020B0603020202020204" pitchFamily="34" charset="0"/>
              </a:rPr>
              <a:t>Billing and monitoring </a:t>
            </a:r>
          </a:p>
        </p:txBody>
      </p:sp>
      <p:grpSp>
        <p:nvGrpSpPr>
          <p:cNvPr id="70" name="Groupe 69">
            <a:extLst>
              <a:ext uri="{FF2B5EF4-FFF2-40B4-BE49-F238E27FC236}">
                <a16:creationId xmlns:a16="http://schemas.microsoft.com/office/drawing/2014/main" id="{784D619C-421A-45B9-8457-67ED9D23BCD0}"/>
              </a:ext>
            </a:extLst>
          </p:cNvPr>
          <p:cNvGrpSpPr/>
          <p:nvPr/>
        </p:nvGrpSpPr>
        <p:grpSpPr>
          <a:xfrm>
            <a:off x="58045" y="176773"/>
            <a:ext cx="325859" cy="276999"/>
            <a:chOff x="3287902" y="1242339"/>
            <a:chExt cx="325859" cy="276999"/>
          </a:xfrm>
        </p:grpSpPr>
        <p:sp>
          <p:nvSpPr>
            <p:cNvPr id="71" name="Ellipse 70">
              <a:extLst>
                <a:ext uri="{FF2B5EF4-FFF2-40B4-BE49-F238E27FC236}">
                  <a16:creationId xmlns:a16="http://schemas.microsoft.com/office/drawing/2014/main" id="{DA86FF12-0713-4A96-9BB9-12C497C43C7C}"/>
                </a:ext>
              </a:extLst>
            </p:cNvPr>
            <p:cNvSpPr/>
            <p:nvPr/>
          </p:nvSpPr>
          <p:spPr bwMode="auto">
            <a:xfrm>
              <a:off x="3333135" y="1264289"/>
              <a:ext cx="251317"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72" name="ZoneTexte 71">
              <a:extLst>
                <a:ext uri="{FF2B5EF4-FFF2-40B4-BE49-F238E27FC236}">
                  <a16:creationId xmlns:a16="http://schemas.microsoft.com/office/drawing/2014/main" id="{CA8C8DE9-6858-43B0-9B40-56DA0C5E0D8C}"/>
                </a:ext>
              </a:extLst>
            </p:cNvPr>
            <p:cNvSpPr txBox="1"/>
            <p:nvPr/>
          </p:nvSpPr>
          <p:spPr>
            <a:xfrm>
              <a:off x="3287902" y="1242339"/>
              <a:ext cx="325859" cy="276999"/>
            </a:xfrm>
            <a:prstGeom prst="rect">
              <a:avLst/>
            </a:prstGeom>
            <a:noFill/>
          </p:spPr>
          <p:txBody>
            <a:bodyPr wrap="square" rtlCol="0">
              <a:spAutoFit/>
            </a:bodyPr>
            <a:lstStyle/>
            <a:p>
              <a:pPr algn="ctr"/>
              <a:r>
                <a:rPr lang="en-GB" sz="1200">
                  <a:solidFill>
                    <a:schemeClr val="bg1"/>
                  </a:solidFill>
                  <a:latin typeface="+mj-lt"/>
                </a:rPr>
                <a:t>3</a:t>
              </a:r>
            </a:p>
          </p:txBody>
        </p:sp>
      </p:grpSp>
      <p:grpSp>
        <p:nvGrpSpPr>
          <p:cNvPr id="74" name="Groupe 73">
            <a:extLst>
              <a:ext uri="{FF2B5EF4-FFF2-40B4-BE49-F238E27FC236}">
                <a16:creationId xmlns:a16="http://schemas.microsoft.com/office/drawing/2014/main" id="{43847E8E-AD42-40D4-A9AD-DDDC9725B2AE}"/>
              </a:ext>
            </a:extLst>
          </p:cNvPr>
          <p:cNvGrpSpPr/>
          <p:nvPr/>
        </p:nvGrpSpPr>
        <p:grpSpPr>
          <a:xfrm>
            <a:off x="8448150" y="-11528"/>
            <a:ext cx="1435548" cy="588143"/>
            <a:chOff x="8448150" y="-11528"/>
            <a:chExt cx="1435548" cy="588143"/>
          </a:xfrm>
        </p:grpSpPr>
        <p:sp>
          <p:nvSpPr>
            <p:cNvPr id="75" name="Rectangle : coins arrondis 199">
              <a:extLst>
                <a:ext uri="{FF2B5EF4-FFF2-40B4-BE49-F238E27FC236}">
                  <a16:creationId xmlns:a16="http://schemas.microsoft.com/office/drawing/2014/main" id="{D1E7626A-1E81-4156-86FC-867A39839390}"/>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1" name="Rectangle : coins arrondis 200">
              <a:extLst>
                <a:ext uri="{FF2B5EF4-FFF2-40B4-BE49-F238E27FC236}">
                  <a16:creationId xmlns:a16="http://schemas.microsoft.com/office/drawing/2014/main" id="{B0E7AC09-2BC9-4668-9F94-A291F7BB1E3B}"/>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4" name="Rectangle : coins arrondis 201">
              <a:extLst>
                <a:ext uri="{FF2B5EF4-FFF2-40B4-BE49-F238E27FC236}">
                  <a16:creationId xmlns:a16="http://schemas.microsoft.com/office/drawing/2014/main" id="{D65CBD88-2F8A-414F-BD1F-65B2B1659EBB}"/>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5" name="ZoneTexte 18">
              <a:extLst>
                <a:ext uri="{FF2B5EF4-FFF2-40B4-BE49-F238E27FC236}">
                  <a16:creationId xmlns:a16="http://schemas.microsoft.com/office/drawing/2014/main" id="{38616C3F-2FD8-4206-A580-76C4F09976B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87" name="Graphique 128" descr="Jauge">
              <a:extLst>
                <a:ext uri="{FF2B5EF4-FFF2-40B4-BE49-F238E27FC236}">
                  <a16:creationId xmlns:a16="http://schemas.microsoft.com/office/drawing/2014/main" id="{F9F769C9-B242-40A5-AC54-77C92DBF880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53764" y="187516"/>
              <a:ext cx="234953" cy="218224"/>
            </a:xfrm>
            <a:prstGeom prst="rect">
              <a:avLst/>
            </a:prstGeom>
            <a:effectLst/>
          </p:spPr>
        </p:pic>
        <p:pic>
          <p:nvPicPr>
            <p:cNvPr id="88" name="Graphique 90" descr="Poignée de main">
              <a:extLst>
                <a:ext uri="{FF2B5EF4-FFF2-40B4-BE49-F238E27FC236}">
                  <a16:creationId xmlns:a16="http://schemas.microsoft.com/office/drawing/2014/main" id="{96A11046-A56A-4163-BAA5-1B731A683DF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60868" y="152880"/>
              <a:ext cx="256313" cy="287496"/>
            </a:xfrm>
            <a:prstGeom prst="rect">
              <a:avLst/>
            </a:prstGeom>
            <a:effectLst/>
          </p:spPr>
        </p:pic>
        <p:pic>
          <p:nvPicPr>
            <p:cNvPr id="89" name="Graphique 74" descr="Mégaphone">
              <a:extLst>
                <a:ext uri="{FF2B5EF4-FFF2-40B4-BE49-F238E27FC236}">
                  <a16:creationId xmlns:a16="http://schemas.microsoft.com/office/drawing/2014/main" id="{C6085A54-178C-4B8F-8432-71D05A2F5CA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389331" y="181519"/>
              <a:ext cx="233011" cy="216420"/>
            </a:xfrm>
            <a:prstGeom prst="rect">
              <a:avLst/>
            </a:prstGeom>
            <a:effectLst/>
          </p:spPr>
        </p:pic>
        <p:pic>
          <p:nvPicPr>
            <p:cNvPr id="90" name="Picture 2" descr="Drapeau France">
              <a:extLst>
                <a:ext uri="{FF2B5EF4-FFF2-40B4-BE49-F238E27FC236}">
                  <a16:creationId xmlns:a16="http://schemas.microsoft.com/office/drawing/2014/main" id="{4FDE0F72-8BE6-4FF1-82C8-B17E0A76016A}"/>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91" name="Picture 2" descr="5 ft x 3 ft 150 x 90 cm-DRAPEAU BELGE Belgique 100% Polyester ...">
              <a:extLst>
                <a:ext uri="{FF2B5EF4-FFF2-40B4-BE49-F238E27FC236}">
                  <a16:creationId xmlns:a16="http://schemas.microsoft.com/office/drawing/2014/main" id="{DDBB5C0E-D8BA-4910-B742-0D097E8FFF17}"/>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92" name="Picture 2 - 1" descr="Drapeau des Pays-Bas — Wikipédia">
              <a:extLst>
                <a:ext uri="{FF2B5EF4-FFF2-40B4-BE49-F238E27FC236}">
                  <a16:creationId xmlns:a16="http://schemas.microsoft.com/office/drawing/2014/main" id="{17558527-B437-41D9-B5EA-8B8232F2A4D0}"/>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93" name="Picture 2 - 2" descr="Drapeau du Luxembourg">
              <a:extLst>
                <a:ext uri="{FF2B5EF4-FFF2-40B4-BE49-F238E27FC236}">
                  <a16:creationId xmlns:a16="http://schemas.microsoft.com/office/drawing/2014/main" id="{917D2E36-7FCA-4A48-BBEE-509129C92D9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94" name="ZoneTexte 93">
              <a:extLst>
                <a:ext uri="{FF2B5EF4-FFF2-40B4-BE49-F238E27FC236}">
                  <a16:creationId xmlns:a16="http://schemas.microsoft.com/office/drawing/2014/main" id="{8CDFB941-2F0A-4218-979F-9B72AAFC552D}"/>
                </a:ext>
              </a:extLst>
            </p:cNvPr>
            <p:cNvSpPr txBox="1"/>
            <p:nvPr/>
          </p:nvSpPr>
          <p:spPr>
            <a:xfrm>
              <a:off x="8448150" y="361171"/>
              <a:ext cx="1281748" cy="215444"/>
            </a:xfrm>
            <a:prstGeom prst="rect">
              <a:avLst/>
            </a:prstGeom>
            <a:noFill/>
          </p:spPr>
          <p:txBody>
            <a:bodyPr wrap="square" rtlCol="0">
              <a:spAutoFit/>
            </a:bodyPr>
            <a:lstStyle/>
            <a:p>
              <a:pPr algn="ctr"/>
              <a:r>
                <a:rPr lang="en-GB" sz="800" i="1" err="1">
                  <a:latin typeface="Trebuchet MS" panose="020B0603020202020204" pitchFamily="34" charset="0"/>
                </a:rPr>
                <a:t>AltaMarket</a:t>
              </a:r>
              <a:r>
                <a:rPr lang="en-GB" sz="800" i="1">
                  <a:latin typeface="Trebuchet MS" panose="020B0603020202020204" pitchFamily="34" charset="0"/>
                </a:rPr>
                <a:t>® </a:t>
              </a:r>
            </a:p>
          </p:txBody>
        </p:sp>
      </p:grpSp>
      <p:sp>
        <p:nvSpPr>
          <p:cNvPr id="103" name="ZoneTexte 102">
            <a:extLst>
              <a:ext uri="{FF2B5EF4-FFF2-40B4-BE49-F238E27FC236}">
                <a16:creationId xmlns:a16="http://schemas.microsoft.com/office/drawing/2014/main" id="{6FA02F26-A894-4395-9B64-3A3A9625482D}"/>
              </a:ext>
            </a:extLst>
          </p:cNvPr>
          <p:cNvSpPr txBox="1"/>
          <p:nvPr/>
        </p:nvSpPr>
        <p:spPr>
          <a:xfrm>
            <a:off x="4375115" y="3906659"/>
            <a:ext cx="328367" cy="246221"/>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sp>
        <p:nvSpPr>
          <p:cNvPr id="102" name="ZoneTexte 101">
            <a:extLst>
              <a:ext uri="{FF2B5EF4-FFF2-40B4-BE49-F238E27FC236}">
                <a16:creationId xmlns:a16="http://schemas.microsoft.com/office/drawing/2014/main" id="{E4B09638-68E6-4878-863B-CEBDAC3605F0}"/>
              </a:ext>
            </a:extLst>
          </p:cNvPr>
          <p:cNvSpPr txBox="1"/>
          <p:nvPr/>
        </p:nvSpPr>
        <p:spPr>
          <a:xfrm>
            <a:off x="5298519" y="5818939"/>
            <a:ext cx="4298420" cy="622863"/>
          </a:xfrm>
          <a:prstGeom prst="rect">
            <a:avLst/>
          </a:prstGeom>
          <a:solidFill>
            <a:schemeClr val="bg2">
              <a:lumMod val="20000"/>
              <a:lumOff val="80000"/>
            </a:schemeClr>
          </a:solidFill>
        </p:spPr>
        <p:txBody>
          <a:bodyPr wrap="square">
            <a:spAutoFit/>
          </a:bodyPr>
          <a:lstStyle/>
          <a:p>
            <a:pPr lvl="0" algn="ctr">
              <a:lnSpc>
                <a:spcPct val="107000"/>
              </a:lnSpc>
              <a:spcAft>
                <a:spcPts val="800"/>
              </a:spcAft>
            </a:pPr>
            <a:r>
              <a:rPr lang="en-GB" sz="1100" b="1" err="1">
                <a:effectLst/>
                <a:latin typeface="Trebuchet MS" panose="020B0603020202020204" pitchFamily="34" charset="0"/>
                <a:ea typeface="Calibri" panose="020F0502020204030204" pitchFamily="34" charset="0"/>
                <a:cs typeface="Arial" panose="020B0604020202020204" pitchFamily="34" charset="0"/>
              </a:rPr>
              <a:t>Altamarket</a:t>
            </a:r>
            <a:r>
              <a:rPr lang="en-GB" sz="1100" b="1">
                <a:effectLst/>
                <a:latin typeface="Trebuchet MS" panose="020B0603020202020204" pitchFamily="34" charset="0"/>
                <a:ea typeface="Calibri" panose="020F0502020204030204" pitchFamily="34" charset="0"/>
                <a:cs typeface="Arial" panose="020B0604020202020204" pitchFamily="34" charset="0"/>
              </a:rPr>
              <a:t>®</a:t>
            </a:r>
            <a:r>
              <a:rPr lang="en-GB" sz="1100" b="1">
                <a:latin typeface="Trebuchet MS" panose="020B0603020202020204" pitchFamily="34" charset="0"/>
                <a:ea typeface="Calibri" panose="020F0502020204030204" pitchFamily="34" charset="0"/>
              </a:rPr>
              <a:t> d</a:t>
            </a:r>
            <a:r>
              <a:rPr lang="en-GB" sz="1100" b="1">
                <a:effectLst/>
                <a:latin typeface="Trebuchet MS" panose="020B0603020202020204" pitchFamily="34" charset="0"/>
                <a:ea typeface="Calibri" panose="020F0502020204030204" pitchFamily="34" charset="0"/>
                <a:cs typeface="Arial" panose="020B0604020202020204" pitchFamily="34" charset="0"/>
              </a:rPr>
              <a:t>ata marketplace strategy allows to position </a:t>
            </a:r>
            <a:r>
              <a:rPr lang="en-GB" sz="1100" b="1" err="1">
                <a:effectLst/>
                <a:latin typeface="Trebuchet MS" panose="020B0603020202020204" pitchFamily="34" charset="0"/>
                <a:ea typeface="Calibri" panose="020F0502020204030204" pitchFamily="34" charset="0"/>
                <a:cs typeface="Arial" panose="020B0604020202020204" pitchFamily="34" charset="0"/>
              </a:rPr>
              <a:t>Altares</a:t>
            </a:r>
            <a:r>
              <a:rPr lang="en-GB" sz="1100" b="1">
                <a:effectLst/>
                <a:latin typeface="Trebuchet MS" panose="020B0603020202020204" pitchFamily="34" charset="0"/>
                <a:ea typeface="Calibri" panose="020F0502020204030204" pitchFamily="34" charset="0"/>
                <a:cs typeface="Arial" panose="020B0604020202020204" pitchFamily="34" charset="0"/>
              </a:rPr>
              <a:t> as a the </a:t>
            </a:r>
            <a:r>
              <a:rPr lang="en-GB" sz="1100" b="1">
                <a:solidFill>
                  <a:schemeClr val="tx2"/>
                </a:solidFill>
                <a:effectLst/>
                <a:latin typeface="Trebuchet MS" panose="020B0603020202020204" pitchFamily="34" charset="0"/>
                <a:ea typeface="Calibri" panose="020F0502020204030204" pitchFamily="34" charset="0"/>
                <a:cs typeface="Arial" panose="020B0604020202020204" pitchFamily="34" charset="0"/>
              </a:rPr>
              <a:t>B2B data aggregator marketplace </a:t>
            </a:r>
            <a:r>
              <a:rPr lang="en-GB" sz="1100" b="1">
                <a:effectLst/>
                <a:latin typeface="Trebuchet MS" panose="020B0603020202020204" pitchFamily="34" charset="0"/>
                <a:ea typeface="Calibri" panose="020F0502020204030204" pitchFamily="34" charset="0"/>
                <a:cs typeface="Arial" panose="020B0604020202020204" pitchFamily="34" charset="0"/>
              </a:rPr>
              <a:t>combining </a:t>
            </a:r>
            <a:r>
              <a:rPr lang="en-GB" sz="1100" b="1">
                <a:solidFill>
                  <a:schemeClr val="tx2"/>
                </a:solidFill>
                <a:effectLst/>
                <a:latin typeface="Trebuchet MS" panose="020B0603020202020204" pitchFamily="34" charset="0"/>
                <a:ea typeface="Calibri" panose="020F0502020204030204" pitchFamily="34" charset="0"/>
                <a:cs typeface="Arial" panose="020B0604020202020204" pitchFamily="34" charset="0"/>
              </a:rPr>
              <a:t>multiple data providers </a:t>
            </a:r>
            <a:r>
              <a:rPr lang="en-GB" sz="1100" b="1">
                <a:effectLst/>
                <a:latin typeface="Trebuchet MS" panose="020B0603020202020204" pitchFamily="34" charset="0"/>
                <a:ea typeface="Calibri" panose="020F0502020204030204" pitchFamily="34" charset="0"/>
                <a:cs typeface="Arial" panose="020B0604020202020204" pitchFamily="34" charset="0"/>
              </a:rPr>
              <a:t>into a </a:t>
            </a:r>
            <a:r>
              <a:rPr lang="en-GB" sz="1100" b="1">
                <a:solidFill>
                  <a:schemeClr val="tx2"/>
                </a:solidFill>
                <a:effectLst/>
                <a:latin typeface="Trebuchet MS" panose="020B0603020202020204" pitchFamily="34" charset="0"/>
                <a:ea typeface="Calibri" panose="020F0502020204030204" pitchFamily="34" charset="0"/>
                <a:cs typeface="Arial" panose="020B0604020202020204" pitchFamily="34" charset="0"/>
              </a:rPr>
              <a:t>unique enriched repository</a:t>
            </a:r>
          </a:p>
        </p:txBody>
      </p:sp>
      <p:sp>
        <p:nvSpPr>
          <p:cNvPr id="17" name="Rectangle 16">
            <a:extLst>
              <a:ext uri="{FF2B5EF4-FFF2-40B4-BE49-F238E27FC236}">
                <a16:creationId xmlns:a16="http://schemas.microsoft.com/office/drawing/2014/main" id="{D78D5F1A-514A-466E-9179-022B0BA74612}"/>
              </a:ext>
            </a:extLst>
          </p:cNvPr>
          <p:cNvSpPr/>
          <p:nvPr/>
        </p:nvSpPr>
        <p:spPr bwMode="auto">
          <a:xfrm>
            <a:off x="285935" y="5451980"/>
            <a:ext cx="2634119" cy="813044"/>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Market solutions</a:t>
            </a:r>
          </a:p>
        </p:txBody>
      </p:sp>
      <p:pic>
        <p:nvPicPr>
          <p:cNvPr id="44" name="Picture 2" descr="logo-salesforce - Dolmen">
            <a:extLst>
              <a:ext uri="{FF2B5EF4-FFF2-40B4-BE49-F238E27FC236}">
                <a16:creationId xmlns:a16="http://schemas.microsoft.com/office/drawing/2014/main" id="{694C1A3A-8AFA-4195-BEF2-B19AD4489552}"/>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59740" y="5784881"/>
            <a:ext cx="789911" cy="417867"/>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a:extLst>
              <a:ext uri="{FF2B5EF4-FFF2-40B4-BE49-F238E27FC236}">
                <a16:creationId xmlns:a16="http://schemas.microsoft.com/office/drawing/2014/main" id="{12DA9966-6EAA-483A-B21F-EA40335DF8E0}"/>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10491" y="5838042"/>
            <a:ext cx="555781" cy="27517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Avis Microsoft Dynamics - Comparatifs des outils du Web">
            <a:extLst>
              <a:ext uri="{FF2B5EF4-FFF2-40B4-BE49-F238E27FC236}">
                <a16:creationId xmlns:a16="http://schemas.microsoft.com/office/drawing/2014/main" id="{631D8FC3-AA57-40E1-907F-08E486221E07}"/>
              </a:ext>
            </a:extLst>
          </p:cNvPr>
          <p:cNvPicPr>
            <a:picLocks noChangeAspect="1" noChangeArrowheads="1"/>
          </p:cNvPicPr>
          <p:nvPr/>
        </p:nvPicPr>
        <p:blipFill>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22855" y="5715232"/>
            <a:ext cx="947543" cy="520797"/>
          </a:xfrm>
          <a:prstGeom prst="rect">
            <a:avLst/>
          </a:prstGeom>
          <a:noFill/>
          <a:extLst>
            <a:ext uri="{909E8E84-426E-40DD-AFC4-6F175D3DCCD1}">
              <a14:hiddenFill xmlns:a14="http://schemas.microsoft.com/office/drawing/2010/main">
                <a:solidFill>
                  <a:srgbClr val="FFFFFF"/>
                </a:solidFill>
              </a14:hiddenFill>
            </a:ext>
          </a:extLst>
        </p:spPr>
      </p:pic>
      <p:sp>
        <p:nvSpPr>
          <p:cNvPr id="104" name="Rectangle 103">
            <a:extLst>
              <a:ext uri="{FF2B5EF4-FFF2-40B4-BE49-F238E27FC236}">
                <a16:creationId xmlns:a16="http://schemas.microsoft.com/office/drawing/2014/main" id="{88388C6E-B953-432F-9511-F9BD9EF823BF}"/>
              </a:ext>
            </a:extLst>
          </p:cNvPr>
          <p:cNvSpPr/>
          <p:nvPr/>
        </p:nvSpPr>
        <p:spPr bwMode="auto">
          <a:xfrm>
            <a:off x="2970345" y="5451980"/>
            <a:ext cx="1429371" cy="813044"/>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itchFamily="34" charset="0"/>
              </a:rPr>
              <a:t>Proprietary solutions</a:t>
            </a:r>
          </a:p>
        </p:txBody>
      </p:sp>
      <p:cxnSp>
        <p:nvCxnSpPr>
          <p:cNvPr id="4" name="Connecteur droit avec flèche 104">
            <a:extLst>
              <a:ext uri="{FF2B5EF4-FFF2-40B4-BE49-F238E27FC236}">
                <a16:creationId xmlns:a16="http://schemas.microsoft.com/office/drawing/2014/main" id="{C395DDC5-9FFF-4746-9762-6F789956E984}"/>
              </a:ext>
            </a:extLst>
          </p:cNvPr>
          <p:cNvCxnSpPr>
            <a:cxnSpLocks/>
          </p:cNvCxnSpPr>
          <p:nvPr/>
        </p:nvCxnSpPr>
        <p:spPr bwMode="auto">
          <a:xfrm flipV="1">
            <a:off x="6980945" y="4249139"/>
            <a:ext cx="0" cy="566912"/>
          </a:xfrm>
          <a:prstGeom prst="straightConnector1">
            <a:avLst/>
          </a:prstGeom>
          <a:solidFill>
            <a:schemeClr val="accent1"/>
          </a:solidFill>
          <a:ln w="9525" cap="flat" cmpd="sng" algn="ctr">
            <a:solidFill>
              <a:schemeClr val="tx1"/>
            </a:solidFill>
            <a:prstDash val="solid"/>
            <a:round/>
            <a:headEnd type="triangle" w="med" len="med"/>
            <a:tailEnd type="none" w="med" len="med"/>
          </a:ln>
          <a:effectLst/>
        </p:spPr>
      </p:cxnSp>
      <p:sp>
        <p:nvSpPr>
          <p:cNvPr id="20" name="Accolade fermante 19">
            <a:extLst>
              <a:ext uri="{FF2B5EF4-FFF2-40B4-BE49-F238E27FC236}">
                <a16:creationId xmlns:a16="http://schemas.microsoft.com/office/drawing/2014/main" id="{29C11D97-D835-4974-B916-841FA3662382}"/>
              </a:ext>
            </a:extLst>
          </p:cNvPr>
          <p:cNvSpPr/>
          <p:nvPr/>
        </p:nvSpPr>
        <p:spPr bwMode="auto">
          <a:xfrm rot="5400000">
            <a:off x="2437097" y="1877387"/>
            <a:ext cx="234046" cy="4695241"/>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109" name="ZoneTexte 108">
            <a:extLst>
              <a:ext uri="{FF2B5EF4-FFF2-40B4-BE49-F238E27FC236}">
                <a16:creationId xmlns:a16="http://schemas.microsoft.com/office/drawing/2014/main" id="{501EA85D-7F4C-4930-B693-6234A9FCA73E}"/>
              </a:ext>
            </a:extLst>
          </p:cNvPr>
          <p:cNvSpPr txBox="1"/>
          <p:nvPr/>
        </p:nvSpPr>
        <p:spPr>
          <a:xfrm>
            <a:off x="784112" y="4348941"/>
            <a:ext cx="3513590" cy="400110"/>
          </a:xfrm>
          <a:prstGeom prst="rect">
            <a:avLst/>
          </a:prstGeom>
          <a:noFill/>
        </p:spPr>
        <p:txBody>
          <a:bodyPr wrap="square" rtlCol="0">
            <a:spAutoFit/>
          </a:bodyPr>
          <a:lstStyle>
            <a:defPPr>
              <a:defRPr lang="en-US"/>
            </a:defPPr>
            <a:lvl1pPr algn="ctr">
              <a:defRPr sz="1000" i="1">
                <a:latin typeface="Trebuchet MS" panose="020B0603020202020204" pitchFamily="34" charset="0"/>
              </a:defRPr>
            </a:lvl1pPr>
          </a:lstStyle>
          <a:p>
            <a:r>
              <a:rPr lang="en-GB" b="1"/>
              <a:t>Combination of </a:t>
            </a:r>
            <a:r>
              <a:rPr lang="en-GB" b="1" err="1"/>
              <a:t>Altares</a:t>
            </a:r>
            <a:r>
              <a:rPr lang="en-GB" b="1"/>
              <a:t>’ data and partners’ data enabling a unique value proposition (enriched data)</a:t>
            </a:r>
          </a:p>
        </p:txBody>
      </p:sp>
      <p:sp>
        <p:nvSpPr>
          <p:cNvPr id="110" name="ZoneTexte 109">
            <a:extLst>
              <a:ext uri="{FF2B5EF4-FFF2-40B4-BE49-F238E27FC236}">
                <a16:creationId xmlns:a16="http://schemas.microsoft.com/office/drawing/2014/main" id="{9E829BAA-67C6-4EE1-8E6D-71E780013C76}"/>
              </a:ext>
            </a:extLst>
          </p:cNvPr>
          <p:cNvSpPr txBox="1"/>
          <p:nvPr/>
        </p:nvSpPr>
        <p:spPr>
          <a:xfrm>
            <a:off x="8243605" y="2258247"/>
            <a:ext cx="1455541" cy="721356"/>
          </a:xfrm>
          <a:prstGeom prst="rect">
            <a:avLst/>
          </a:prstGeom>
          <a:noFill/>
        </p:spPr>
        <p:txBody>
          <a:bodyPr wrap="square" rtlCol="0">
            <a:spAutoFit/>
          </a:bodyPr>
          <a:lstStyle/>
          <a:p>
            <a:pPr algn="ctr"/>
            <a:r>
              <a:rPr lang="en-GB" sz="1000" i="1">
                <a:latin typeface="Trebuchet MS" panose="020B0603020202020204" pitchFamily="34" charset="0"/>
              </a:rPr>
              <a:t>+ Data partner can enrich its data for itself (not only for its end customers)</a:t>
            </a:r>
          </a:p>
        </p:txBody>
      </p:sp>
    </p:spTree>
    <p:extLst>
      <p:ext uri="{BB962C8B-B14F-4D97-AF65-F5344CB8AC3E}">
        <p14:creationId xmlns:p14="http://schemas.microsoft.com/office/powerpoint/2010/main" val="3276115457"/>
      </p:ext>
    </p:extLst>
  </p:cSld>
  <p:clrMapOvr>
    <a:masterClrMapping/>
  </p:clrMapOvr>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C6A2E5A5-F6AF-4E11-BED7-46968E5CEE51}"/>
              </a:ext>
            </a:extLst>
          </p:cNvPr>
          <p:cNvGraphicFramePr>
            <a:graphicFrameLocks noChangeAspect="1"/>
          </p:cNvGraphicFramePr>
          <p:nvPr>
            <p:custDataLst>
              <p:tags r:id="rId1"/>
            </p:custDataLst>
            <p:extLst>
              <p:ext uri="{D42A27DB-BD31-4B8C-83A1-F6EECF244321}">
                <p14:modId xmlns:p14="http://schemas.microsoft.com/office/powerpoint/2010/main" val="1775766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14" name="Objet 13" hidden="1">
                        <a:extLst>
                          <a:ext uri="{FF2B5EF4-FFF2-40B4-BE49-F238E27FC236}">
                            <a16:creationId xmlns:a16="http://schemas.microsoft.com/office/drawing/2014/main" id="{C6A2E5A5-F6AF-4E11-BED7-46968E5CEE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3ED64FBE-AAEE-4458-9D85-EB97B61E549E}"/>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cxnSp>
        <p:nvCxnSpPr>
          <p:cNvPr id="89" name="Connecteur droit 88">
            <a:extLst>
              <a:ext uri="{FF2B5EF4-FFF2-40B4-BE49-F238E27FC236}">
                <a16:creationId xmlns:a16="http://schemas.microsoft.com/office/drawing/2014/main" id="{9A499607-9271-4174-B046-C9391DCF87FD}"/>
              </a:ext>
            </a:extLst>
          </p:cNvPr>
          <p:cNvCxnSpPr>
            <a:cxnSpLocks/>
          </p:cNvCxnSpPr>
          <p:nvPr/>
        </p:nvCxnSpPr>
        <p:spPr bwMode="auto">
          <a:xfrm>
            <a:off x="6454286" y="1370155"/>
            <a:ext cx="0" cy="5037683"/>
          </a:xfrm>
          <a:prstGeom prst="line">
            <a:avLst/>
          </a:prstGeom>
          <a:solidFill>
            <a:schemeClr val="accent1"/>
          </a:solidFill>
          <a:ln w="9525" cap="flat" cmpd="sng" algn="ctr">
            <a:solidFill>
              <a:schemeClr val="accent1"/>
            </a:solidFill>
            <a:prstDash val="dash"/>
            <a:round/>
            <a:headEnd type="none" w="med" len="med"/>
            <a:tailEnd type="none" w="med" len="med"/>
          </a:ln>
          <a:effectLst/>
        </p:spPr>
      </p:cxnSp>
      <p:sp>
        <p:nvSpPr>
          <p:cNvPr id="70" name="Espace réservé du texte 2">
            <a:extLst>
              <a:ext uri="{FF2B5EF4-FFF2-40B4-BE49-F238E27FC236}">
                <a16:creationId xmlns:a16="http://schemas.microsoft.com/office/drawing/2014/main" id="{6402FA03-47B4-4889-AEBE-966AE42D2C75}"/>
              </a:ext>
            </a:extLst>
          </p:cNvPr>
          <p:cNvSpPr txBox="1">
            <a:spLocks/>
          </p:cNvSpPr>
          <p:nvPr/>
        </p:nvSpPr>
        <p:spPr>
          <a:xfrm>
            <a:off x="1315274" y="6580025"/>
            <a:ext cx="7131600" cy="244800"/>
          </a:xfrm>
          <a:prstGeom prst="rect">
            <a:avLst/>
          </a:prstGeom>
        </p:spPr>
        <p:txBody>
          <a:bodyPr vert="horz" lIns="0" tIns="0" rIns="0" bIns="0" rtlCol="0" anchor="t">
            <a:noAutofit/>
          </a:bodyPr>
          <a:lstStyle>
            <a:lvl1pPr marL="0" marR="0" indent="0" defTabSz="914400" eaLnBrk="1" latinLnBrk="0" hangingPunct="1">
              <a:lnSpc>
                <a:spcPct val="100000"/>
              </a:lnSpc>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cs typeface="+mn-cs"/>
              </a:defRPr>
            </a:lvl1pPr>
            <a:lvl2pPr marL="720725" indent="-187325" eaLnBrk="1" hangingPunct="1">
              <a:spcBef>
                <a:spcPct val="35000"/>
              </a:spcBef>
              <a:buClr>
                <a:schemeClr val="tx1"/>
              </a:buClr>
              <a:buSzPct val="100000"/>
              <a:buFont typeface="Arial" panose="020B0604020202020204" pitchFamily="34" charset="0"/>
              <a:buChar char="•"/>
              <a:defRPr lang="fr-FR" sz="1200" smtClean="0">
                <a:latin typeface="+mj-lt"/>
              </a:defRPr>
            </a:lvl2pPr>
            <a:lvl3pPr marL="1076325" indent="-228600" eaLnBrk="1" hangingPunct="1">
              <a:spcBef>
                <a:spcPct val="35000"/>
              </a:spcBef>
              <a:buClr>
                <a:schemeClr val="tx1"/>
              </a:buClr>
              <a:buSzPct val="100000"/>
              <a:buFont typeface="Arial" panose="020B0604020202020204" pitchFamily="34" charset="0"/>
              <a:buChar char="•"/>
              <a:defRPr lang="fr-FR" sz="1200" smtClean="0">
                <a:latin typeface="+mj-lt"/>
              </a:defRPr>
            </a:lvl3pPr>
            <a:lvl4pPr marL="1654175" indent="-285750" eaLnBrk="1" hangingPunct="1">
              <a:spcBef>
                <a:spcPct val="35000"/>
              </a:spcBef>
              <a:buClr>
                <a:schemeClr val="tx1"/>
              </a:buClr>
              <a:buSzPct val="100000"/>
              <a:buFont typeface="Arial" panose="020B0604020202020204" pitchFamily="34" charset="0"/>
              <a:buChar char="•"/>
              <a:defRPr lang="fr-FR" altLang="en-GB" sz="1200" smtClean="0">
                <a:latin typeface="+mj-lt"/>
              </a:defRPr>
            </a:lvl4pPr>
            <a:lvl5pPr marL="2152650" indent="-171450" eaLnBrk="1" hangingPunct="1">
              <a:spcBef>
                <a:spcPct val="35000"/>
              </a:spcBef>
              <a:buClr>
                <a:schemeClr val="tx1"/>
              </a:buClr>
              <a:buSzPct val="100000"/>
              <a:buFont typeface="Arial" panose="020B0604020202020204" pitchFamily="34" charset="0"/>
              <a:buChar char="•"/>
              <a:defRPr lang="fr-FR" sz="1200">
                <a:latin typeface="+mj-lt"/>
              </a:defRPr>
            </a:lvl5pPr>
            <a:lvl6pPr marL="2667000" indent="-228600" fontAlgn="base">
              <a:spcBef>
                <a:spcPct val="20000"/>
              </a:spcBef>
              <a:spcAft>
                <a:spcPct val="0"/>
              </a:spcAft>
              <a:buClr>
                <a:srgbClr val="FF6800"/>
              </a:buClr>
              <a:buSzPct val="50000"/>
              <a:buFont typeface="Monotype Sorts" pitchFamily="2" charset="2"/>
              <a:buChar char="n"/>
              <a:defRPr sz="2000">
                <a:latin typeface="Helvetica 65 Medium" pitchFamily="2" charset="0"/>
              </a:defRPr>
            </a:lvl6pPr>
            <a:lvl7pPr marL="3124200" indent="-228600" fontAlgn="base">
              <a:spcBef>
                <a:spcPct val="20000"/>
              </a:spcBef>
              <a:spcAft>
                <a:spcPct val="0"/>
              </a:spcAft>
              <a:buClr>
                <a:srgbClr val="FF6800"/>
              </a:buClr>
              <a:buSzPct val="50000"/>
              <a:buFont typeface="Monotype Sorts" pitchFamily="2" charset="2"/>
              <a:buChar char="n"/>
              <a:defRPr sz="2000">
                <a:latin typeface="Helvetica 65 Medium" pitchFamily="2" charset="0"/>
              </a:defRPr>
            </a:lvl7pPr>
            <a:lvl8pPr marL="3581400" indent="-228600" fontAlgn="base">
              <a:spcBef>
                <a:spcPct val="20000"/>
              </a:spcBef>
              <a:spcAft>
                <a:spcPct val="0"/>
              </a:spcAft>
              <a:buClr>
                <a:srgbClr val="FF6800"/>
              </a:buClr>
              <a:buSzPct val="50000"/>
              <a:buFont typeface="Monotype Sorts" pitchFamily="2" charset="2"/>
              <a:buChar char="n"/>
              <a:defRPr sz="2000">
                <a:latin typeface="Helvetica 65 Medium" pitchFamily="2" charset="0"/>
              </a:defRPr>
            </a:lvl8pPr>
            <a:lvl9pPr marL="4038600" indent="-228600" fontAlgn="base">
              <a:spcBef>
                <a:spcPct val="20000"/>
              </a:spcBef>
              <a:spcAft>
                <a:spcPct val="0"/>
              </a:spcAft>
              <a:buClr>
                <a:srgbClr val="FF6800"/>
              </a:buClr>
              <a:buSzPct val="50000"/>
              <a:buFont typeface="Monotype Sorts" pitchFamily="2" charset="2"/>
              <a:buChar char="n"/>
              <a:defRPr sz="2000">
                <a:latin typeface="Helvetica 65 Medium" pitchFamily="2" charset="0"/>
              </a:defRPr>
            </a:lvl9pPr>
          </a:lstStyle>
          <a:p>
            <a:r>
              <a:rPr lang="en-GB" sz="800" i="1" kern="0"/>
              <a:t>Sources: eleven research &amp; analysis, company data, interviews with management</a:t>
            </a:r>
          </a:p>
        </p:txBody>
      </p:sp>
      <p:sp>
        <p:nvSpPr>
          <p:cNvPr id="3" name="Title 2">
            <a:extLst>
              <a:ext uri="{FF2B5EF4-FFF2-40B4-BE49-F238E27FC236}">
                <a16:creationId xmlns:a16="http://schemas.microsoft.com/office/drawing/2014/main" id="{7786844C-AEC4-4D04-A5F0-675D286957F1}"/>
              </a:ext>
            </a:extLst>
          </p:cNvPr>
          <p:cNvSpPr>
            <a:spLocks noGrp="1"/>
          </p:cNvSpPr>
          <p:nvPr>
            <p:ph type="title"/>
          </p:nvPr>
        </p:nvSpPr>
        <p:spPr>
          <a:xfrm>
            <a:off x="399828" y="147600"/>
            <a:ext cx="7677372" cy="684000"/>
          </a:xfrm>
        </p:spPr>
        <p:txBody>
          <a:bodyPr/>
          <a:lstStyle/>
          <a:p>
            <a:r>
              <a:rPr lang="en-GB" b="0">
                <a:latin typeface="Trebuchet MS" panose="020B0603020202020204" pitchFamily="34" charset="0"/>
              </a:rPr>
              <a:t>Since 2018, </a:t>
            </a:r>
            <a:r>
              <a:rPr lang="en-GB" b="0" err="1">
                <a:latin typeface="Trebuchet MS" panose="020B0603020202020204" pitchFamily="34" charset="0"/>
              </a:rPr>
              <a:t>Altares</a:t>
            </a:r>
            <a:r>
              <a:rPr lang="en-GB" b="0">
                <a:latin typeface="Trebuchet MS" panose="020B0603020202020204" pitchFamily="34" charset="0"/>
              </a:rPr>
              <a:t>' </a:t>
            </a:r>
            <a:r>
              <a:rPr lang="en-GB" b="0">
                <a:solidFill>
                  <a:schemeClr val="tx2"/>
                </a:solidFill>
                <a:latin typeface="Trebuchet MS" panose="020B0603020202020204" pitchFamily="34" charset="0"/>
              </a:rPr>
              <a:t>new management </a:t>
            </a:r>
            <a:r>
              <a:rPr lang="en-GB" b="0">
                <a:latin typeface="Trebuchet MS" panose="020B0603020202020204" pitchFamily="34" charset="0"/>
              </a:rPr>
              <a:t>team has laid the </a:t>
            </a:r>
            <a:r>
              <a:rPr lang="en-GB" b="0">
                <a:solidFill>
                  <a:schemeClr val="tx2"/>
                </a:solidFill>
                <a:latin typeface="Trebuchet MS" panose="020B0603020202020204" pitchFamily="34" charset="0"/>
              </a:rPr>
              <a:t>foundations for three main levers </a:t>
            </a:r>
            <a:r>
              <a:rPr lang="en-GB" b="0">
                <a:latin typeface="Trebuchet MS" panose="020B0603020202020204" pitchFamily="34" charset="0"/>
              </a:rPr>
              <a:t>supporting the group’s future strategy, which are </a:t>
            </a:r>
            <a:r>
              <a:rPr lang="en-GB" b="0">
                <a:solidFill>
                  <a:schemeClr val="tx2"/>
                </a:solidFill>
                <a:latin typeface="Trebuchet MS" panose="020B0603020202020204" pitchFamily="34" charset="0"/>
              </a:rPr>
              <a:t>already delivering profitable growth</a:t>
            </a:r>
          </a:p>
        </p:txBody>
      </p:sp>
      <p:grpSp>
        <p:nvGrpSpPr>
          <p:cNvPr id="95" name="Groupe 94">
            <a:extLst>
              <a:ext uri="{FF2B5EF4-FFF2-40B4-BE49-F238E27FC236}">
                <a16:creationId xmlns:a16="http://schemas.microsoft.com/office/drawing/2014/main" id="{BA81F16F-2A02-4EC5-970D-C7611855B91F}"/>
              </a:ext>
            </a:extLst>
          </p:cNvPr>
          <p:cNvGrpSpPr/>
          <p:nvPr/>
        </p:nvGrpSpPr>
        <p:grpSpPr>
          <a:xfrm>
            <a:off x="8448150" y="-11528"/>
            <a:ext cx="1435548" cy="588143"/>
            <a:chOff x="8448150" y="-11528"/>
            <a:chExt cx="1435548" cy="588143"/>
          </a:xfrm>
        </p:grpSpPr>
        <p:sp>
          <p:nvSpPr>
            <p:cNvPr id="106" name="Rectangle : coins arrondis 199">
              <a:extLst>
                <a:ext uri="{FF2B5EF4-FFF2-40B4-BE49-F238E27FC236}">
                  <a16:creationId xmlns:a16="http://schemas.microsoft.com/office/drawing/2014/main" id="{97F50AB4-C1F2-4A92-BACA-19A8BE369ACB}"/>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7" name="Rectangle : coins arrondis 200">
              <a:extLst>
                <a:ext uri="{FF2B5EF4-FFF2-40B4-BE49-F238E27FC236}">
                  <a16:creationId xmlns:a16="http://schemas.microsoft.com/office/drawing/2014/main" id="{4D738589-EFFB-4FE2-AAEB-463D7A615DAF}"/>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8" name="Rectangle : coins arrondis 201">
              <a:extLst>
                <a:ext uri="{FF2B5EF4-FFF2-40B4-BE49-F238E27FC236}">
                  <a16:creationId xmlns:a16="http://schemas.microsoft.com/office/drawing/2014/main" id="{64D7BDE4-B2B9-4322-980A-151F43EEC038}"/>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1" name="ZoneTexte 18">
              <a:extLst>
                <a:ext uri="{FF2B5EF4-FFF2-40B4-BE49-F238E27FC236}">
                  <a16:creationId xmlns:a16="http://schemas.microsoft.com/office/drawing/2014/main" id="{7083E020-F02E-4594-8353-06855FDF7CFA}"/>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12" name="Graphique 128" descr="Jauge">
              <a:extLst>
                <a:ext uri="{FF2B5EF4-FFF2-40B4-BE49-F238E27FC236}">
                  <a16:creationId xmlns:a16="http://schemas.microsoft.com/office/drawing/2014/main" id="{5F6B2DBE-EB8E-4017-B0E3-BF6F7A2A1C0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126" name="Graphique 90" descr="Poignée de main">
              <a:extLst>
                <a:ext uri="{FF2B5EF4-FFF2-40B4-BE49-F238E27FC236}">
                  <a16:creationId xmlns:a16="http://schemas.microsoft.com/office/drawing/2014/main" id="{D5C0F6DC-BD85-4B49-BACF-0E322DFDAA4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127" name="Graphique 74" descr="Mégaphone">
              <a:extLst>
                <a:ext uri="{FF2B5EF4-FFF2-40B4-BE49-F238E27FC236}">
                  <a16:creationId xmlns:a16="http://schemas.microsoft.com/office/drawing/2014/main" id="{5DBD9207-1F44-4837-AF3A-D8678FE8E3B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128" name="Picture 2" descr="Drapeau France">
              <a:extLst>
                <a:ext uri="{FF2B5EF4-FFF2-40B4-BE49-F238E27FC236}">
                  <a16:creationId xmlns:a16="http://schemas.microsoft.com/office/drawing/2014/main" id="{2DAB760A-8DF1-4E7F-8919-D0B9570145C9}"/>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29" name="Picture 2" descr="5 ft x 3 ft 150 x 90 cm-DRAPEAU BELGE Belgique 100% Polyester ...">
              <a:extLst>
                <a:ext uri="{FF2B5EF4-FFF2-40B4-BE49-F238E27FC236}">
                  <a16:creationId xmlns:a16="http://schemas.microsoft.com/office/drawing/2014/main" id="{E81341C3-B834-40C4-8E56-85950DE76DF3}"/>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30" name="Picture 2 - 1" descr="Drapeau des Pays-Bas — Wikipédia">
              <a:extLst>
                <a:ext uri="{FF2B5EF4-FFF2-40B4-BE49-F238E27FC236}">
                  <a16:creationId xmlns:a16="http://schemas.microsoft.com/office/drawing/2014/main" id="{2679A5F0-955E-4557-AFC5-D39F1137B5B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31" name="Picture 2 - 2" descr="Drapeau du Luxembourg">
              <a:extLst>
                <a:ext uri="{FF2B5EF4-FFF2-40B4-BE49-F238E27FC236}">
                  <a16:creationId xmlns:a16="http://schemas.microsoft.com/office/drawing/2014/main" id="{51A75A5A-310F-41F8-80B0-6BD1517AC15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32" name="ZoneTexte 131">
              <a:extLst>
                <a:ext uri="{FF2B5EF4-FFF2-40B4-BE49-F238E27FC236}">
                  <a16:creationId xmlns:a16="http://schemas.microsoft.com/office/drawing/2014/main" id="{7A0928F4-B9F3-48EE-A0ED-853230AE10AA}"/>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Foundations</a:t>
              </a:r>
            </a:p>
          </p:txBody>
        </p:sp>
      </p:grpSp>
      <p:grpSp>
        <p:nvGrpSpPr>
          <p:cNvPr id="133" name="Groupe 132">
            <a:extLst>
              <a:ext uri="{FF2B5EF4-FFF2-40B4-BE49-F238E27FC236}">
                <a16:creationId xmlns:a16="http://schemas.microsoft.com/office/drawing/2014/main" id="{4F6A62F3-7708-4E30-8E9A-1426A1CD16F7}"/>
              </a:ext>
            </a:extLst>
          </p:cNvPr>
          <p:cNvGrpSpPr/>
          <p:nvPr/>
        </p:nvGrpSpPr>
        <p:grpSpPr>
          <a:xfrm>
            <a:off x="58045" y="176773"/>
            <a:ext cx="325859" cy="276999"/>
            <a:chOff x="3287902" y="1242339"/>
            <a:chExt cx="325859" cy="276999"/>
          </a:xfrm>
        </p:grpSpPr>
        <p:sp>
          <p:nvSpPr>
            <p:cNvPr id="134" name="Ellipse 133">
              <a:extLst>
                <a:ext uri="{FF2B5EF4-FFF2-40B4-BE49-F238E27FC236}">
                  <a16:creationId xmlns:a16="http://schemas.microsoft.com/office/drawing/2014/main" id="{1E16791D-02F2-4842-B7A4-AA41AB44B14C}"/>
                </a:ext>
              </a:extLst>
            </p:cNvPr>
            <p:cNvSpPr/>
            <p:nvPr/>
          </p:nvSpPr>
          <p:spPr bwMode="auto">
            <a:xfrm>
              <a:off x="3333135" y="1264289"/>
              <a:ext cx="251317"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35" name="ZoneTexte 134">
              <a:extLst>
                <a:ext uri="{FF2B5EF4-FFF2-40B4-BE49-F238E27FC236}">
                  <a16:creationId xmlns:a16="http://schemas.microsoft.com/office/drawing/2014/main" id="{64319EEA-820F-4025-A99F-412DAEE5A5C1}"/>
                </a:ext>
              </a:extLst>
            </p:cNvPr>
            <p:cNvSpPr txBox="1"/>
            <p:nvPr/>
          </p:nvSpPr>
          <p:spPr>
            <a:xfrm>
              <a:off x="3287902" y="1242339"/>
              <a:ext cx="325859" cy="276999"/>
            </a:xfrm>
            <a:prstGeom prst="rect">
              <a:avLst/>
            </a:prstGeom>
            <a:noFill/>
          </p:spPr>
          <p:txBody>
            <a:bodyPr wrap="square" rtlCol="0">
              <a:spAutoFit/>
            </a:bodyPr>
            <a:lstStyle/>
            <a:p>
              <a:pPr algn="ctr"/>
              <a:r>
                <a:rPr lang="en-GB" sz="1200">
                  <a:solidFill>
                    <a:schemeClr val="bg1"/>
                  </a:solidFill>
                  <a:latin typeface="+mj-lt"/>
                </a:rPr>
                <a:t>4</a:t>
              </a:r>
            </a:p>
          </p:txBody>
        </p:sp>
      </p:grpSp>
      <p:sp>
        <p:nvSpPr>
          <p:cNvPr id="74" name="Flèche : droite 73">
            <a:extLst>
              <a:ext uri="{FF2B5EF4-FFF2-40B4-BE49-F238E27FC236}">
                <a16:creationId xmlns:a16="http://schemas.microsoft.com/office/drawing/2014/main" id="{4CFDAFC7-7BB9-464D-AFF0-D49CC8D51988}"/>
              </a:ext>
            </a:extLst>
          </p:cNvPr>
          <p:cNvSpPr/>
          <p:nvPr/>
        </p:nvSpPr>
        <p:spPr bwMode="auto">
          <a:xfrm>
            <a:off x="2229742" y="1262368"/>
            <a:ext cx="7653541" cy="303669"/>
          </a:xfrm>
          <a:prstGeom prst="rightArrow">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3" name="Rectangle 82">
            <a:extLst>
              <a:ext uri="{FF2B5EF4-FFF2-40B4-BE49-F238E27FC236}">
                <a16:creationId xmlns:a16="http://schemas.microsoft.com/office/drawing/2014/main" id="{483EF14A-39FD-4BC5-A5BE-A1587D7D36FC}"/>
              </a:ext>
            </a:extLst>
          </p:cNvPr>
          <p:cNvSpPr/>
          <p:nvPr/>
        </p:nvSpPr>
        <p:spPr bwMode="auto">
          <a:xfrm>
            <a:off x="2161952" y="1257194"/>
            <a:ext cx="692150" cy="314017"/>
          </a:xfrm>
          <a:prstGeom prst="rect">
            <a:avLst/>
          </a:prstGeom>
          <a:solidFill>
            <a:schemeClr val="bg2">
              <a:lumMod val="40000"/>
              <a:lumOff val="60000"/>
              <a:alpha val="59000"/>
            </a:schemeClr>
          </a:solid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2018</a:t>
            </a:r>
          </a:p>
        </p:txBody>
      </p:sp>
      <p:sp>
        <p:nvSpPr>
          <p:cNvPr id="84" name="Rectangle 83">
            <a:extLst>
              <a:ext uri="{FF2B5EF4-FFF2-40B4-BE49-F238E27FC236}">
                <a16:creationId xmlns:a16="http://schemas.microsoft.com/office/drawing/2014/main" id="{D930F181-2744-4CE3-AF74-49C50D80BE7A}"/>
              </a:ext>
            </a:extLst>
          </p:cNvPr>
          <p:cNvSpPr/>
          <p:nvPr/>
        </p:nvSpPr>
        <p:spPr bwMode="auto">
          <a:xfrm>
            <a:off x="2910503" y="1257194"/>
            <a:ext cx="692150" cy="314017"/>
          </a:xfrm>
          <a:prstGeom prst="rect">
            <a:avLst/>
          </a:prstGeom>
          <a:solidFill>
            <a:schemeClr val="bg2">
              <a:lumMod val="40000"/>
              <a:lumOff val="60000"/>
              <a:alpha val="59000"/>
            </a:schemeClr>
          </a:solid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2019</a:t>
            </a:r>
          </a:p>
        </p:txBody>
      </p:sp>
      <p:sp>
        <p:nvSpPr>
          <p:cNvPr id="85" name="Rectangle 84">
            <a:extLst>
              <a:ext uri="{FF2B5EF4-FFF2-40B4-BE49-F238E27FC236}">
                <a16:creationId xmlns:a16="http://schemas.microsoft.com/office/drawing/2014/main" id="{6D25002B-EDE8-45AD-BE6B-28BDB99BAC4E}"/>
              </a:ext>
            </a:extLst>
          </p:cNvPr>
          <p:cNvSpPr/>
          <p:nvPr/>
        </p:nvSpPr>
        <p:spPr bwMode="auto">
          <a:xfrm>
            <a:off x="4873004" y="1257194"/>
            <a:ext cx="692150" cy="314017"/>
          </a:xfrm>
          <a:prstGeom prst="rect">
            <a:avLst/>
          </a:prstGeom>
          <a:solidFill>
            <a:schemeClr val="bg2">
              <a:lumMod val="40000"/>
              <a:lumOff val="60000"/>
              <a:alpha val="59000"/>
            </a:schemeClr>
          </a:solid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2020</a:t>
            </a:r>
          </a:p>
        </p:txBody>
      </p:sp>
      <p:sp>
        <p:nvSpPr>
          <p:cNvPr id="92" name="Rectangle 91">
            <a:extLst>
              <a:ext uri="{FF2B5EF4-FFF2-40B4-BE49-F238E27FC236}">
                <a16:creationId xmlns:a16="http://schemas.microsoft.com/office/drawing/2014/main" id="{4034B504-DD0B-494A-9246-92D23B444B29}"/>
              </a:ext>
            </a:extLst>
          </p:cNvPr>
          <p:cNvSpPr/>
          <p:nvPr/>
        </p:nvSpPr>
        <p:spPr bwMode="auto">
          <a:xfrm>
            <a:off x="6835505" y="1257194"/>
            <a:ext cx="692150" cy="314017"/>
          </a:xfrm>
          <a:prstGeom prst="rect">
            <a:avLst/>
          </a:prstGeom>
          <a:solidFill>
            <a:schemeClr val="bg2">
              <a:lumMod val="40000"/>
              <a:lumOff val="60000"/>
              <a:alpha val="59000"/>
            </a:schemeClr>
          </a:solid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2021</a:t>
            </a:r>
          </a:p>
        </p:txBody>
      </p:sp>
      <p:sp>
        <p:nvSpPr>
          <p:cNvPr id="93" name="Rectangle 92">
            <a:extLst>
              <a:ext uri="{FF2B5EF4-FFF2-40B4-BE49-F238E27FC236}">
                <a16:creationId xmlns:a16="http://schemas.microsoft.com/office/drawing/2014/main" id="{84B6EF74-E001-4B67-AAD5-08AD784BF559}"/>
              </a:ext>
            </a:extLst>
          </p:cNvPr>
          <p:cNvSpPr/>
          <p:nvPr/>
        </p:nvSpPr>
        <p:spPr bwMode="auto">
          <a:xfrm>
            <a:off x="8853423" y="1257194"/>
            <a:ext cx="692150" cy="314017"/>
          </a:xfrm>
          <a:prstGeom prst="rect">
            <a:avLst/>
          </a:prstGeom>
          <a:solidFill>
            <a:schemeClr val="bg2">
              <a:lumMod val="40000"/>
              <a:lumOff val="60000"/>
              <a:alpha val="59000"/>
            </a:schemeClr>
          </a:solid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2022</a:t>
            </a:r>
          </a:p>
        </p:txBody>
      </p:sp>
      <p:cxnSp>
        <p:nvCxnSpPr>
          <p:cNvPr id="158" name="Connecteur droit 17">
            <a:extLst>
              <a:ext uri="{FF2B5EF4-FFF2-40B4-BE49-F238E27FC236}">
                <a16:creationId xmlns:a16="http://schemas.microsoft.com/office/drawing/2014/main" id="{D9D8766A-3ABF-4933-8CA6-2BEB067D55AC}"/>
              </a:ext>
            </a:extLst>
          </p:cNvPr>
          <p:cNvCxnSpPr>
            <a:cxnSpLocks/>
          </p:cNvCxnSpPr>
          <p:nvPr/>
        </p:nvCxnSpPr>
        <p:spPr bwMode="auto">
          <a:xfrm>
            <a:off x="166644" y="1626149"/>
            <a:ext cx="1188000" cy="0"/>
          </a:xfrm>
          <a:prstGeom prst="line">
            <a:avLst/>
          </a:prstGeom>
          <a:solidFill>
            <a:schemeClr val="accent1"/>
          </a:solidFill>
          <a:ln w="19050" cap="flat" cmpd="sng" algn="ctr">
            <a:solidFill>
              <a:srgbClr val="007AA9"/>
            </a:solidFill>
            <a:prstDash val="solid"/>
            <a:round/>
            <a:headEnd type="none" w="med" len="med"/>
            <a:tailEnd type="none" w="med" len="med"/>
          </a:ln>
          <a:effectLst/>
        </p:spPr>
      </p:cxnSp>
      <p:sp>
        <p:nvSpPr>
          <p:cNvPr id="159" name="Rectangle 158">
            <a:extLst>
              <a:ext uri="{FF2B5EF4-FFF2-40B4-BE49-F238E27FC236}">
                <a16:creationId xmlns:a16="http://schemas.microsoft.com/office/drawing/2014/main" id="{9FF02F23-11A6-4FBC-B96D-3436A079B145}"/>
              </a:ext>
            </a:extLst>
          </p:cNvPr>
          <p:cNvSpPr/>
          <p:nvPr/>
        </p:nvSpPr>
        <p:spPr bwMode="auto">
          <a:xfrm>
            <a:off x="290730" y="1370155"/>
            <a:ext cx="973383" cy="21894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small" normalizeH="0">
                <a:ln>
                  <a:noFill/>
                </a:ln>
                <a:solidFill>
                  <a:srgbClr val="007AA9"/>
                </a:solidFill>
                <a:effectLst/>
                <a:latin typeface="Trebuchet MS" panose="020B0603020202020204" pitchFamily="34" charset="0"/>
              </a:rPr>
              <a:t>LEVERS</a:t>
            </a:r>
          </a:p>
        </p:txBody>
      </p:sp>
      <p:sp>
        <p:nvSpPr>
          <p:cNvPr id="160" name="Freeform 12">
            <a:extLst>
              <a:ext uri="{FF2B5EF4-FFF2-40B4-BE49-F238E27FC236}">
                <a16:creationId xmlns:a16="http://schemas.microsoft.com/office/drawing/2014/main" id="{88FD53E5-72E1-4902-82B7-436482D676C6}"/>
              </a:ext>
            </a:extLst>
          </p:cNvPr>
          <p:cNvSpPr>
            <a:spLocks noEditPoints="1"/>
          </p:cNvSpPr>
          <p:nvPr/>
        </p:nvSpPr>
        <p:spPr bwMode="auto">
          <a:xfrm>
            <a:off x="344918" y="1354146"/>
            <a:ext cx="212654" cy="221340"/>
          </a:xfrm>
          <a:custGeom>
            <a:avLst/>
            <a:gdLst>
              <a:gd name="T0" fmla="*/ 0 w 135"/>
              <a:gd name="T1" fmla="*/ 65 h 146"/>
              <a:gd name="T2" fmla="*/ 22 w 135"/>
              <a:gd name="T3" fmla="*/ 58 h 146"/>
              <a:gd name="T4" fmla="*/ 67 w 135"/>
              <a:gd name="T5" fmla="*/ 36 h 146"/>
              <a:gd name="T6" fmla="*/ 53 w 135"/>
              <a:gd name="T7" fmla="*/ 112 h 146"/>
              <a:gd name="T8" fmla="*/ 65 w 135"/>
              <a:gd name="T9" fmla="*/ 104 h 146"/>
              <a:gd name="T10" fmla="*/ 57 w 135"/>
              <a:gd name="T11" fmla="*/ 95 h 146"/>
              <a:gd name="T12" fmla="*/ 74 w 135"/>
              <a:gd name="T13" fmla="*/ 91 h 146"/>
              <a:gd name="T14" fmla="*/ 60 w 135"/>
              <a:gd name="T15" fmla="*/ 74 h 146"/>
              <a:gd name="T16" fmla="*/ 66 w 135"/>
              <a:gd name="T17" fmla="*/ 55 h 146"/>
              <a:gd name="T18" fmla="*/ 72 w 135"/>
              <a:gd name="T19" fmla="*/ 45 h 146"/>
              <a:gd name="T20" fmla="*/ 81 w 135"/>
              <a:gd name="T21" fmla="*/ 57 h 146"/>
              <a:gd name="T22" fmla="*/ 71 w 135"/>
              <a:gd name="T23" fmla="*/ 60 h 146"/>
              <a:gd name="T24" fmla="*/ 66 w 135"/>
              <a:gd name="T25" fmla="*/ 71 h 146"/>
              <a:gd name="T26" fmla="*/ 81 w 135"/>
              <a:gd name="T27" fmla="*/ 91 h 146"/>
              <a:gd name="T28" fmla="*/ 71 w 135"/>
              <a:gd name="T29" fmla="*/ 111 h 146"/>
              <a:gd name="T30" fmla="*/ 81 w 135"/>
              <a:gd name="T31" fmla="*/ 112 h 146"/>
              <a:gd name="T32" fmla="*/ 67 w 135"/>
              <a:gd name="T33" fmla="*/ 36 h 146"/>
              <a:gd name="T34" fmla="*/ 94 w 135"/>
              <a:gd name="T35" fmla="*/ 28 h 146"/>
              <a:gd name="T36" fmla="*/ 112 w 135"/>
              <a:gd name="T37" fmla="*/ 21 h 146"/>
              <a:gd name="T38" fmla="*/ 135 w 135"/>
              <a:gd name="T39" fmla="*/ 58 h 146"/>
              <a:gd name="T40" fmla="*/ 113 w 135"/>
              <a:gd name="T41" fmla="*/ 65 h 146"/>
              <a:gd name="T42" fmla="*/ 135 w 135"/>
              <a:gd name="T43" fmla="*/ 58 h 146"/>
              <a:gd name="T44" fmla="*/ 72 w 135"/>
              <a:gd name="T45" fmla="*/ 2 h 146"/>
              <a:gd name="T46" fmla="*/ 64 w 135"/>
              <a:gd name="T47" fmla="*/ 20 h 146"/>
              <a:gd name="T48" fmla="*/ 53 w 135"/>
              <a:gd name="T49" fmla="*/ 125 h 146"/>
              <a:gd name="T50" fmla="*/ 61 w 135"/>
              <a:gd name="T51" fmla="*/ 132 h 146"/>
              <a:gd name="T52" fmla="*/ 68 w 135"/>
              <a:gd name="T53" fmla="*/ 146 h 146"/>
              <a:gd name="T54" fmla="*/ 75 w 135"/>
              <a:gd name="T55" fmla="*/ 132 h 146"/>
              <a:gd name="T56" fmla="*/ 82 w 135"/>
              <a:gd name="T57" fmla="*/ 125 h 146"/>
              <a:gd name="T58" fmla="*/ 53 w 135"/>
              <a:gd name="T59" fmla="*/ 118 h 146"/>
              <a:gd name="T60" fmla="*/ 43 w 135"/>
              <a:gd name="T61" fmla="*/ 30 h 146"/>
              <a:gd name="T62" fmla="*/ 22 w 135"/>
              <a:gd name="T63" fmla="*/ 20 h 146"/>
              <a:gd name="T64" fmla="*/ 43 w 135"/>
              <a:gd name="T65"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5" h="146">
                <a:moveTo>
                  <a:pt x="2" y="58"/>
                </a:moveTo>
                <a:cubicBezTo>
                  <a:pt x="0" y="58"/>
                  <a:pt x="0" y="60"/>
                  <a:pt x="0" y="65"/>
                </a:cubicBezTo>
                <a:cubicBezTo>
                  <a:pt x="20" y="65"/>
                  <a:pt x="20" y="65"/>
                  <a:pt x="20" y="65"/>
                </a:cubicBezTo>
                <a:cubicBezTo>
                  <a:pt x="22" y="65"/>
                  <a:pt x="22" y="63"/>
                  <a:pt x="22" y="58"/>
                </a:cubicBezTo>
                <a:lnTo>
                  <a:pt x="2" y="58"/>
                </a:lnTo>
                <a:close/>
                <a:moveTo>
                  <a:pt x="67" y="36"/>
                </a:moveTo>
                <a:cubicBezTo>
                  <a:pt x="47" y="36"/>
                  <a:pt x="32" y="50"/>
                  <a:pt x="32" y="71"/>
                </a:cubicBezTo>
                <a:cubicBezTo>
                  <a:pt x="32" y="91"/>
                  <a:pt x="53" y="91"/>
                  <a:pt x="53" y="112"/>
                </a:cubicBezTo>
                <a:cubicBezTo>
                  <a:pt x="65" y="112"/>
                  <a:pt x="65" y="112"/>
                  <a:pt x="65" y="112"/>
                </a:cubicBezTo>
                <a:cubicBezTo>
                  <a:pt x="65" y="104"/>
                  <a:pt x="65" y="104"/>
                  <a:pt x="65" y="104"/>
                </a:cubicBezTo>
                <a:cubicBezTo>
                  <a:pt x="58" y="104"/>
                  <a:pt x="56" y="102"/>
                  <a:pt x="56" y="101"/>
                </a:cubicBezTo>
                <a:cubicBezTo>
                  <a:pt x="56" y="100"/>
                  <a:pt x="56" y="97"/>
                  <a:pt x="57" y="95"/>
                </a:cubicBezTo>
                <a:cubicBezTo>
                  <a:pt x="59" y="97"/>
                  <a:pt x="62" y="98"/>
                  <a:pt x="66" y="98"/>
                </a:cubicBezTo>
                <a:cubicBezTo>
                  <a:pt x="71" y="98"/>
                  <a:pt x="74" y="95"/>
                  <a:pt x="74" y="91"/>
                </a:cubicBezTo>
                <a:cubicBezTo>
                  <a:pt x="74" y="88"/>
                  <a:pt x="73" y="86"/>
                  <a:pt x="69" y="83"/>
                </a:cubicBezTo>
                <a:cubicBezTo>
                  <a:pt x="60" y="74"/>
                  <a:pt x="60" y="74"/>
                  <a:pt x="60" y="74"/>
                </a:cubicBezTo>
                <a:cubicBezTo>
                  <a:pt x="57" y="70"/>
                  <a:pt x="56" y="68"/>
                  <a:pt x="56" y="65"/>
                </a:cubicBezTo>
                <a:cubicBezTo>
                  <a:pt x="56" y="59"/>
                  <a:pt x="59" y="56"/>
                  <a:pt x="66" y="55"/>
                </a:cubicBezTo>
                <a:cubicBezTo>
                  <a:pt x="66" y="48"/>
                  <a:pt x="66" y="48"/>
                  <a:pt x="66" y="48"/>
                </a:cubicBezTo>
                <a:cubicBezTo>
                  <a:pt x="66" y="45"/>
                  <a:pt x="68" y="45"/>
                  <a:pt x="72" y="45"/>
                </a:cubicBezTo>
                <a:cubicBezTo>
                  <a:pt x="72" y="55"/>
                  <a:pt x="72" y="55"/>
                  <a:pt x="72" y="55"/>
                </a:cubicBezTo>
                <a:cubicBezTo>
                  <a:pt x="78" y="55"/>
                  <a:pt x="81" y="57"/>
                  <a:pt x="81" y="57"/>
                </a:cubicBezTo>
                <a:cubicBezTo>
                  <a:pt x="81" y="58"/>
                  <a:pt x="80" y="60"/>
                  <a:pt x="79" y="62"/>
                </a:cubicBezTo>
                <a:cubicBezTo>
                  <a:pt x="78" y="61"/>
                  <a:pt x="75" y="60"/>
                  <a:pt x="71" y="60"/>
                </a:cubicBezTo>
                <a:cubicBezTo>
                  <a:pt x="66" y="60"/>
                  <a:pt x="63" y="61"/>
                  <a:pt x="63" y="65"/>
                </a:cubicBezTo>
                <a:cubicBezTo>
                  <a:pt x="63" y="67"/>
                  <a:pt x="64" y="69"/>
                  <a:pt x="66" y="71"/>
                </a:cubicBezTo>
                <a:cubicBezTo>
                  <a:pt x="76" y="81"/>
                  <a:pt x="76" y="81"/>
                  <a:pt x="76" y="81"/>
                </a:cubicBezTo>
                <a:cubicBezTo>
                  <a:pt x="80" y="84"/>
                  <a:pt x="81" y="87"/>
                  <a:pt x="81" y="91"/>
                </a:cubicBezTo>
                <a:cubicBezTo>
                  <a:pt x="81" y="97"/>
                  <a:pt x="79" y="102"/>
                  <a:pt x="71" y="104"/>
                </a:cubicBezTo>
                <a:cubicBezTo>
                  <a:pt x="71" y="111"/>
                  <a:pt x="71" y="111"/>
                  <a:pt x="71" y="111"/>
                </a:cubicBezTo>
                <a:cubicBezTo>
                  <a:pt x="71" y="111"/>
                  <a:pt x="71" y="111"/>
                  <a:pt x="71" y="112"/>
                </a:cubicBezTo>
                <a:cubicBezTo>
                  <a:pt x="81" y="112"/>
                  <a:pt x="81" y="112"/>
                  <a:pt x="81" y="112"/>
                </a:cubicBezTo>
                <a:cubicBezTo>
                  <a:pt x="81" y="91"/>
                  <a:pt x="103" y="91"/>
                  <a:pt x="103" y="71"/>
                </a:cubicBezTo>
                <a:cubicBezTo>
                  <a:pt x="103" y="51"/>
                  <a:pt x="88" y="36"/>
                  <a:pt x="67" y="36"/>
                </a:cubicBezTo>
                <a:moveTo>
                  <a:pt x="108" y="15"/>
                </a:moveTo>
                <a:cubicBezTo>
                  <a:pt x="94" y="28"/>
                  <a:pt x="94" y="28"/>
                  <a:pt x="94" y="28"/>
                </a:cubicBezTo>
                <a:cubicBezTo>
                  <a:pt x="93" y="30"/>
                  <a:pt x="94" y="31"/>
                  <a:pt x="98" y="35"/>
                </a:cubicBezTo>
                <a:cubicBezTo>
                  <a:pt x="112" y="21"/>
                  <a:pt x="112" y="21"/>
                  <a:pt x="112" y="21"/>
                </a:cubicBezTo>
                <a:cubicBezTo>
                  <a:pt x="114" y="20"/>
                  <a:pt x="112" y="18"/>
                  <a:pt x="108" y="15"/>
                </a:cubicBezTo>
                <a:moveTo>
                  <a:pt x="135" y="58"/>
                </a:moveTo>
                <a:cubicBezTo>
                  <a:pt x="115" y="58"/>
                  <a:pt x="115" y="58"/>
                  <a:pt x="115" y="58"/>
                </a:cubicBezTo>
                <a:cubicBezTo>
                  <a:pt x="113" y="58"/>
                  <a:pt x="113" y="60"/>
                  <a:pt x="113" y="65"/>
                </a:cubicBezTo>
                <a:cubicBezTo>
                  <a:pt x="133" y="65"/>
                  <a:pt x="133" y="65"/>
                  <a:pt x="133" y="65"/>
                </a:cubicBezTo>
                <a:cubicBezTo>
                  <a:pt x="135" y="65"/>
                  <a:pt x="135" y="63"/>
                  <a:pt x="135" y="58"/>
                </a:cubicBezTo>
                <a:moveTo>
                  <a:pt x="72" y="22"/>
                </a:moveTo>
                <a:cubicBezTo>
                  <a:pt x="72" y="2"/>
                  <a:pt x="72" y="2"/>
                  <a:pt x="72" y="2"/>
                </a:cubicBezTo>
                <a:cubicBezTo>
                  <a:pt x="72" y="1"/>
                  <a:pt x="70" y="0"/>
                  <a:pt x="64" y="1"/>
                </a:cubicBezTo>
                <a:cubicBezTo>
                  <a:pt x="64" y="20"/>
                  <a:pt x="64" y="20"/>
                  <a:pt x="64" y="20"/>
                </a:cubicBezTo>
                <a:cubicBezTo>
                  <a:pt x="64" y="22"/>
                  <a:pt x="66" y="22"/>
                  <a:pt x="72" y="22"/>
                </a:cubicBezTo>
                <a:moveTo>
                  <a:pt x="53" y="125"/>
                </a:moveTo>
                <a:cubicBezTo>
                  <a:pt x="61" y="125"/>
                  <a:pt x="61" y="125"/>
                  <a:pt x="61" y="125"/>
                </a:cubicBezTo>
                <a:cubicBezTo>
                  <a:pt x="61" y="132"/>
                  <a:pt x="61" y="132"/>
                  <a:pt x="61" y="132"/>
                </a:cubicBezTo>
                <a:cubicBezTo>
                  <a:pt x="54" y="132"/>
                  <a:pt x="54" y="132"/>
                  <a:pt x="54" y="132"/>
                </a:cubicBezTo>
                <a:cubicBezTo>
                  <a:pt x="54" y="140"/>
                  <a:pt x="60" y="146"/>
                  <a:pt x="68" y="146"/>
                </a:cubicBezTo>
                <a:cubicBezTo>
                  <a:pt x="76" y="146"/>
                  <a:pt x="82" y="140"/>
                  <a:pt x="82" y="132"/>
                </a:cubicBezTo>
                <a:cubicBezTo>
                  <a:pt x="75" y="132"/>
                  <a:pt x="75" y="132"/>
                  <a:pt x="75" y="132"/>
                </a:cubicBezTo>
                <a:cubicBezTo>
                  <a:pt x="75" y="125"/>
                  <a:pt x="75" y="125"/>
                  <a:pt x="75" y="125"/>
                </a:cubicBezTo>
                <a:cubicBezTo>
                  <a:pt x="82" y="125"/>
                  <a:pt x="82" y="125"/>
                  <a:pt x="82" y="125"/>
                </a:cubicBezTo>
                <a:cubicBezTo>
                  <a:pt x="82" y="118"/>
                  <a:pt x="82" y="118"/>
                  <a:pt x="82" y="118"/>
                </a:cubicBezTo>
                <a:cubicBezTo>
                  <a:pt x="53" y="118"/>
                  <a:pt x="53" y="118"/>
                  <a:pt x="53" y="118"/>
                </a:cubicBezTo>
                <a:lnTo>
                  <a:pt x="53" y="125"/>
                </a:lnTo>
                <a:close/>
                <a:moveTo>
                  <a:pt x="43" y="30"/>
                </a:moveTo>
                <a:cubicBezTo>
                  <a:pt x="28" y="16"/>
                  <a:pt x="28" y="16"/>
                  <a:pt x="28" y="16"/>
                </a:cubicBezTo>
                <a:cubicBezTo>
                  <a:pt x="27" y="15"/>
                  <a:pt x="26" y="16"/>
                  <a:pt x="22" y="20"/>
                </a:cubicBezTo>
                <a:cubicBezTo>
                  <a:pt x="36" y="34"/>
                  <a:pt x="36" y="34"/>
                  <a:pt x="36" y="34"/>
                </a:cubicBezTo>
                <a:cubicBezTo>
                  <a:pt x="37" y="35"/>
                  <a:pt x="39" y="33"/>
                  <a:pt x="43" y="30"/>
                </a:cubicBezTo>
              </a:path>
            </a:pathLst>
          </a:custGeom>
          <a:solidFill>
            <a:srgbClr val="007A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007AA9"/>
              </a:solidFill>
              <a:effectLst/>
              <a:uLnTx/>
              <a:uFillTx/>
              <a:latin typeface="Trebuchet MS"/>
              <a:ea typeface="+mn-ea"/>
              <a:cs typeface="Arial" pitchFamily="34" charset="0"/>
            </a:endParaRPr>
          </a:p>
        </p:txBody>
      </p:sp>
      <p:sp>
        <p:nvSpPr>
          <p:cNvPr id="162" name="Rectangle 161">
            <a:extLst>
              <a:ext uri="{FF2B5EF4-FFF2-40B4-BE49-F238E27FC236}">
                <a16:creationId xmlns:a16="http://schemas.microsoft.com/office/drawing/2014/main" id="{ABDDB01D-3E05-4D66-91E4-7D7EBFA3B986}"/>
              </a:ext>
            </a:extLst>
          </p:cNvPr>
          <p:cNvSpPr/>
          <p:nvPr/>
        </p:nvSpPr>
        <p:spPr bwMode="auto">
          <a:xfrm>
            <a:off x="164669" y="1683807"/>
            <a:ext cx="1187997" cy="1440000"/>
          </a:xfrm>
          <a:prstGeom prst="rect">
            <a:avLst/>
          </a:prstGeom>
          <a:solidFill>
            <a:srgbClr val="007AA9"/>
          </a:solidFill>
          <a:ln w="3175" cap="flat" cmpd="sng" algn="ctr">
            <a:solidFill>
              <a:srgbClr val="007AA9"/>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Enhanced group’ organization </a:t>
            </a:r>
          </a:p>
        </p:txBody>
      </p:sp>
      <p:sp>
        <p:nvSpPr>
          <p:cNvPr id="163" name="Rectangle 162">
            <a:extLst>
              <a:ext uri="{FF2B5EF4-FFF2-40B4-BE49-F238E27FC236}">
                <a16:creationId xmlns:a16="http://schemas.microsoft.com/office/drawing/2014/main" id="{5C64F8E9-0B57-4D04-9997-51401A076BA3}"/>
              </a:ext>
            </a:extLst>
          </p:cNvPr>
          <p:cNvSpPr/>
          <p:nvPr/>
        </p:nvSpPr>
        <p:spPr bwMode="auto">
          <a:xfrm>
            <a:off x="164669" y="3324900"/>
            <a:ext cx="1187997" cy="1440000"/>
          </a:xfrm>
          <a:prstGeom prst="rect">
            <a:avLst/>
          </a:prstGeom>
          <a:solidFill>
            <a:srgbClr val="007AA9"/>
          </a:solidFill>
          <a:ln w="3175" cap="flat" cmpd="sng" algn="ctr">
            <a:solidFill>
              <a:srgbClr val="007AA9"/>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ENGAGE</a:t>
            </a:r>
          </a:p>
        </p:txBody>
      </p:sp>
      <p:sp>
        <p:nvSpPr>
          <p:cNvPr id="165" name="Rectangle 164">
            <a:extLst>
              <a:ext uri="{FF2B5EF4-FFF2-40B4-BE49-F238E27FC236}">
                <a16:creationId xmlns:a16="http://schemas.microsoft.com/office/drawing/2014/main" id="{99C1C6EE-B268-4D81-9CCF-DB0E63EE5301}"/>
              </a:ext>
            </a:extLst>
          </p:cNvPr>
          <p:cNvSpPr/>
          <p:nvPr/>
        </p:nvSpPr>
        <p:spPr bwMode="auto">
          <a:xfrm>
            <a:off x="164669" y="4945275"/>
            <a:ext cx="1187997" cy="1440000"/>
          </a:xfrm>
          <a:prstGeom prst="rect">
            <a:avLst/>
          </a:prstGeom>
          <a:solidFill>
            <a:srgbClr val="007AA9"/>
          </a:solidFill>
          <a:ln w="3175" cap="flat" cmpd="sng" algn="ctr">
            <a:solidFill>
              <a:srgbClr val="007AA9"/>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DATA HUB</a:t>
            </a:r>
          </a:p>
        </p:txBody>
      </p:sp>
      <p:cxnSp>
        <p:nvCxnSpPr>
          <p:cNvPr id="167" name="Connecteur droit 244">
            <a:extLst>
              <a:ext uri="{FF2B5EF4-FFF2-40B4-BE49-F238E27FC236}">
                <a16:creationId xmlns:a16="http://schemas.microsoft.com/office/drawing/2014/main" id="{39A7C6AB-C3D8-4039-8FA1-C6554E9F5AB8}"/>
              </a:ext>
            </a:extLst>
          </p:cNvPr>
          <p:cNvCxnSpPr>
            <a:cxnSpLocks/>
          </p:cNvCxnSpPr>
          <p:nvPr/>
        </p:nvCxnSpPr>
        <p:spPr bwMode="auto">
          <a:xfrm>
            <a:off x="316226" y="995044"/>
            <a:ext cx="927354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68" name="Rectangle 167">
            <a:extLst>
              <a:ext uri="{FF2B5EF4-FFF2-40B4-BE49-F238E27FC236}">
                <a16:creationId xmlns:a16="http://schemas.microsoft.com/office/drawing/2014/main" id="{17C6C85C-961E-4E69-9FFC-74E122B986BD}"/>
              </a:ext>
            </a:extLst>
          </p:cNvPr>
          <p:cNvSpPr/>
          <p:nvPr/>
        </p:nvSpPr>
        <p:spPr bwMode="auto">
          <a:xfrm>
            <a:off x="3663627" y="789974"/>
            <a:ext cx="2524702" cy="36954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100" err="1">
                <a:latin typeface="Trebuchet MS" panose="020B0603020202020204" pitchFamily="34" charset="0"/>
              </a:rPr>
              <a:t>Altares</a:t>
            </a:r>
            <a:r>
              <a:rPr lang="en-GB" sz="1100">
                <a:latin typeface="Trebuchet MS" panose="020B0603020202020204" pitchFamily="34" charset="0"/>
              </a:rPr>
              <a:t>’ foundation levers</a:t>
            </a:r>
            <a:endParaRPr kumimoji="0" lang="en-GB" sz="1100" b="0" i="0" u="none" strike="noStrike" cap="none" normalizeH="0" baseline="0">
              <a:ln>
                <a:noFill/>
              </a:ln>
              <a:effectLst/>
              <a:latin typeface="Trebuchet MS" panose="020B0603020202020204" pitchFamily="34" charset="0"/>
            </a:endParaRPr>
          </a:p>
        </p:txBody>
      </p:sp>
      <p:sp>
        <p:nvSpPr>
          <p:cNvPr id="169" name="Rectangle 168">
            <a:extLst>
              <a:ext uri="{FF2B5EF4-FFF2-40B4-BE49-F238E27FC236}">
                <a16:creationId xmlns:a16="http://schemas.microsoft.com/office/drawing/2014/main" id="{6CA891D5-BCA2-4B24-885B-692EECC32196}"/>
              </a:ext>
            </a:extLst>
          </p:cNvPr>
          <p:cNvSpPr/>
          <p:nvPr/>
        </p:nvSpPr>
        <p:spPr bwMode="auto">
          <a:xfrm>
            <a:off x="1366916" y="1360579"/>
            <a:ext cx="763668" cy="22852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kumimoji="0" lang="en-GB" sz="800" b="1" i="1" u="none" strike="noStrike" cap="none" normalizeH="0" baseline="0">
                <a:ln>
                  <a:noFill/>
                </a:ln>
                <a:effectLst/>
                <a:latin typeface="Trebuchet MS" panose="020B0603020202020204" pitchFamily="34" charset="0"/>
              </a:rPr>
              <a:t>Progress gauge</a:t>
            </a:r>
          </a:p>
        </p:txBody>
      </p:sp>
      <p:sp>
        <p:nvSpPr>
          <p:cNvPr id="170" name="Triangle isocèle 169">
            <a:extLst>
              <a:ext uri="{FF2B5EF4-FFF2-40B4-BE49-F238E27FC236}">
                <a16:creationId xmlns:a16="http://schemas.microsoft.com/office/drawing/2014/main" id="{96F6BBA4-55CD-4E7E-858A-7F7C6EA60CFF}"/>
              </a:ext>
            </a:extLst>
          </p:cNvPr>
          <p:cNvSpPr/>
          <p:nvPr/>
        </p:nvSpPr>
        <p:spPr bwMode="auto">
          <a:xfrm rot="5400000">
            <a:off x="1961903" y="2312875"/>
            <a:ext cx="442468" cy="115801"/>
          </a:xfrm>
          <a:prstGeom prst="triangle">
            <a:avLst/>
          </a:prstGeom>
          <a:solidFill>
            <a:schemeClr val="bg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1" name="Rectangle 170">
            <a:extLst>
              <a:ext uri="{FF2B5EF4-FFF2-40B4-BE49-F238E27FC236}">
                <a16:creationId xmlns:a16="http://schemas.microsoft.com/office/drawing/2014/main" id="{D2C4B312-0FA5-4190-915E-9D32116C6E39}"/>
              </a:ext>
            </a:extLst>
          </p:cNvPr>
          <p:cNvSpPr/>
          <p:nvPr/>
        </p:nvSpPr>
        <p:spPr bwMode="auto">
          <a:xfrm>
            <a:off x="1420886" y="1704840"/>
            <a:ext cx="655728" cy="1440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solidFill>
                <a:schemeClr val="tx2"/>
              </a:solidFill>
              <a:latin typeface="Trebuchet MS" panose="020B0603020202020204" pitchFamily="34" charset="0"/>
            </a:endParaRPr>
          </a:p>
        </p:txBody>
      </p:sp>
      <p:sp>
        <p:nvSpPr>
          <p:cNvPr id="172" name="Triangle isocèle 171">
            <a:extLst>
              <a:ext uri="{FF2B5EF4-FFF2-40B4-BE49-F238E27FC236}">
                <a16:creationId xmlns:a16="http://schemas.microsoft.com/office/drawing/2014/main" id="{4179423D-85FD-4FAE-A860-4E7B74FDDF54}"/>
              </a:ext>
            </a:extLst>
          </p:cNvPr>
          <p:cNvSpPr/>
          <p:nvPr/>
        </p:nvSpPr>
        <p:spPr bwMode="auto">
          <a:xfrm rot="5400000">
            <a:off x="1961903" y="3993741"/>
            <a:ext cx="442468" cy="115801"/>
          </a:xfrm>
          <a:prstGeom prst="triangle">
            <a:avLst/>
          </a:prstGeom>
          <a:solidFill>
            <a:schemeClr val="bg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3" name="Rectangle 172">
            <a:extLst>
              <a:ext uri="{FF2B5EF4-FFF2-40B4-BE49-F238E27FC236}">
                <a16:creationId xmlns:a16="http://schemas.microsoft.com/office/drawing/2014/main" id="{E36399FB-35D6-4E17-8A75-2E32662D510B}"/>
              </a:ext>
            </a:extLst>
          </p:cNvPr>
          <p:cNvSpPr/>
          <p:nvPr/>
        </p:nvSpPr>
        <p:spPr bwMode="auto">
          <a:xfrm>
            <a:off x="1420886" y="3345933"/>
            <a:ext cx="655728" cy="1440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solidFill>
                <a:schemeClr val="tx2"/>
              </a:solidFill>
              <a:latin typeface="Trebuchet MS" panose="020B0603020202020204" pitchFamily="34" charset="0"/>
            </a:endParaRPr>
          </a:p>
        </p:txBody>
      </p:sp>
      <p:sp>
        <p:nvSpPr>
          <p:cNvPr id="174" name="Triangle isocèle 173">
            <a:extLst>
              <a:ext uri="{FF2B5EF4-FFF2-40B4-BE49-F238E27FC236}">
                <a16:creationId xmlns:a16="http://schemas.microsoft.com/office/drawing/2014/main" id="{0436B4C1-2554-417E-84C6-51693276686A}"/>
              </a:ext>
            </a:extLst>
          </p:cNvPr>
          <p:cNvSpPr/>
          <p:nvPr/>
        </p:nvSpPr>
        <p:spPr bwMode="auto">
          <a:xfrm rot="5400000">
            <a:off x="1961903" y="5574343"/>
            <a:ext cx="442468" cy="115801"/>
          </a:xfrm>
          <a:prstGeom prst="triangle">
            <a:avLst/>
          </a:prstGeom>
          <a:solidFill>
            <a:schemeClr val="bg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5" name="Rectangle 174">
            <a:extLst>
              <a:ext uri="{FF2B5EF4-FFF2-40B4-BE49-F238E27FC236}">
                <a16:creationId xmlns:a16="http://schemas.microsoft.com/office/drawing/2014/main" id="{9C80114C-4E79-4534-B4E4-7227CD32081E}"/>
              </a:ext>
            </a:extLst>
          </p:cNvPr>
          <p:cNvSpPr/>
          <p:nvPr/>
        </p:nvSpPr>
        <p:spPr bwMode="auto">
          <a:xfrm>
            <a:off x="1420886" y="4966308"/>
            <a:ext cx="655728" cy="1440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solidFill>
                <a:schemeClr val="tx2"/>
              </a:solidFill>
              <a:latin typeface="Trebuchet MS" panose="020B0603020202020204" pitchFamily="34" charset="0"/>
            </a:endParaRPr>
          </a:p>
        </p:txBody>
      </p:sp>
      <p:cxnSp>
        <p:nvCxnSpPr>
          <p:cNvPr id="176" name="Connecteur droit 175">
            <a:extLst>
              <a:ext uri="{FF2B5EF4-FFF2-40B4-BE49-F238E27FC236}">
                <a16:creationId xmlns:a16="http://schemas.microsoft.com/office/drawing/2014/main" id="{A3167920-1443-4622-9317-2398D3948FC1}"/>
              </a:ext>
            </a:extLst>
          </p:cNvPr>
          <p:cNvCxnSpPr>
            <a:cxnSpLocks/>
          </p:cNvCxnSpPr>
          <p:nvPr/>
        </p:nvCxnSpPr>
        <p:spPr bwMode="auto">
          <a:xfrm>
            <a:off x="2125236" y="1689779"/>
            <a:ext cx="0" cy="468000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p:spPr>
      </p:cxnSp>
      <p:grpSp>
        <p:nvGrpSpPr>
          <p:cNvPr id="177" name="Groupe 176">
            <a:extLst>
              <a:ext uri="{FF2B5EF4-FFF2-40B4-BE49-F238E27FC236}">
                <a16:creationId xmlns:a16="http://schemas.microsoft.com/office/drawing/2014/main" id="{948C5B2C-334B-4267-9091-F0269151EB6B}"/>
              </a:ext>
            </a:extLst>
          </p:cNvPr>
          <p:cNvGrpSpPr/>
          <p:nvPr/>
        </p:nvGrpSpPr>
        <p:grpSpPr>
          <a:xfrm>
            <a:off x="1452947" y="2289565"/>
            <a:ext cx="591606" cy="186820"/>
            <a:chOff x="6900119" y="6591876"/>
            <a:chExt cx="591606" cy="186820"/>
          </a:xfrm>
        </p:grpSpPr>
        <p:grpSp>
          <p:nvGrpSpPr>
            <p:cNvPr id="178" name="Groupe 177">
              <a:extLst>
                <a:ext uri="{FF2B5EF4-FFF2-40B4-BE49-F238E27FC236}">
                  <a16:creationId xmlns:a16="http://schemas.microsoft.com/office/drawing/2014/main" id="{EAAD4496-6987-4D3C-B9BC-D0095BE35357}"/>
                </a:ext>
              </a:extLst>
            </p:cNvPr>
            <p:cNvGrpSpPr/>
            <p:nvPr/>
          </p:nvGrpSpPr>
          <p:grpSpPr>
            <a:xfrm>
              <a:off x="6900119" y="6591876"/>
              <a:ext cx="591606" cy="186820"/>
              <a:chOff x="6900119" y="6591876"/>
              <a:chExt cx="591606" cy="186820"/>
            </a:xfrm>
          </p:grpSpPr>
          <p:sp>
            <p:nvSpPr>
              <p:cNvPr id="181" name="Rectangle 180">
                <a:extLst>
                  <a:ext uri="{FF2B5EF4-FFF2-40B4-BE49-F238E27FC236}">
                    <a16:creationId xmlns:a16="http://schemas.microsoft.com/office/drawing/2014/main" id="{B2A9A696-9838-4001-8851-E8F03D4EE8AC}"/>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82" name="Ellipse 181">
                <a:extLst>
                  <a:ext uri="{FF2B5EF4-FFF2-40B4-BE49-F238E27FC236}">
                    <a16:creationId xmlns:a16="http://schemas.microsoft.com/office/drawing/2014/main" id="{4C1E4AE4-9932-4603-BCAE-0D2009B050D7}"/>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79" name="Ellipse 178">
              <a:extLst>
                <a:ext uri="{FF2B5EF4-FFF2-40B4-BE49-F238E27FC236}">
                  <a16:creationId xmlns:a16="http://schemas.microsoft.com/office/drawing/2014/main" id="{C2D436DF-0E21-4363-959C-5BEDE7457192}"/>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80" name="Ellipse 179">
              <a:extLst>
                <a:ext uri="{FF2B5EF4-FFF2-40B4-BE49-F238E27FC236}">
                  <a16:creationId xmlns:a16="http://schemas.microsoft.com/office/drawing/2014/main" id="{33A296AD-D7A3-4CE5-8A6F-022BEAAEB55B}"/>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83" name="Groupe 182">
            <a:extLst>
              <a:ext uri="{FF2B5EF4-FFF2-40B4-BE49-F238E27FC236}">
                <a16:creationId xmlns:a16="http://schemas.microsoft.com/office/drawing/2014/main" id="{784031C4-06CB-4533-8043-CEBC71C7017D}"/>
              </a:ext>
            </a:extLst>
          </p:cNvPr>
          <p:cNvGrpSpPr/>
          <p:nvPr/>
        </p:nvGrpSpPr>
        <p:grpSpPr>
          <a:xfrm>
            <a:off x="1452947" y="3966266"/>
            <a:ext cx="591606" cy="186820"/>
            <a:chOff x="6900119" y="6591876"/>
            <a:chExt cx="591606" cy="186820"/>
          </a:xfrm>
        </p:grpSpPr>
        <p:grpSp>
          <p:nvGrpSpPr>
            <p:cNvPr id="184" name="Groupe 183">
              <a:extLst>
                <a:ext uri="{FF2B5EF4-FFF2-40B4-BE49-F238E27FC236}">
                  <a16:creationId xmlns:a16="http://schemas.microsoft.com/office/drawing/2014/main" id="{F8F45313-A602-41E8-B081-37B96E404D8D}"/>
                </a:ext>
              </a:extLst>
            </p:cNvPr>
            <p:cNvGrpSpPr/>
            <p:nvPr/>
          </p:nvGrpSpPr>
          <p:grpSpPr>
            <a:xfrm>
              <a:off x="6900119" y="6591876"/>
              <a:ext cx="591606" cy="186820"/>
              <a:chOff x="6900119" y="6591876"/>
              <a:chExt cx="591606" cy="186820"/>
            </a:xfrm>
          </p:grpSpPr>
          <p:sp>
            <p:nvSpPr>
              <p:cNvPr id="191" name="Rectangle 190">
                <a:extLst>
                  <a:ext uri="{FF2B5EF4-FFF2-40B4-BE49-F238E27FC236}">
                    <a16:creationId xmlns:a16="http://schemas.microsoft.com/office/drawing/2014/main" id="{75931FE7-44DB-456C-B894-9CCA73D84DA4}"/>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2" name="Ellipse 191">
                <a:extLst>
                  <a:ext uri="{FF2B5EF4-FFF2-40B4-BE49-F238E27FC236}">
                    <a16:creationId xmlns:a16="http://schemas.microsoft.com/office/drawing/2014/main" id="{7862E793-61CC-4D4E-BBAA-5100A162D8C5}"/>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85" name="Ellipse 184">
              <a:extLst>
                <a:ext uri="{FF2B5EF4-FFF2-40B4-BE49-F238E27FC236}">
                  <a16:creationId xmlns:a16="http://schemas.microsoft.com/office/drawing/2014/main" id="{C7C816CF-D68D-43AA-AC8C-5B1BEF369D3F}"/>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87" name="Ellipse 186">
              <a:extLst>
                <a:ext uri="{FF2B5EF4-FFF2-40B4-BE49-F238E27FC236}">
                  <a16:creationId xmlns:a16="http://schemas.microsoft.com/office/drawing/2014/main" id="{CFD239D0-0AA5-4F8A-8218-A671B3D2766B}"/>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95" name="Groupe 194">
            <a:extLst>
              <a:ext uri="{FF2B5EF4-FFF2-40B4-BE49-F238E27FC236}">
                <a16:creationId xmlns:a16="http://schemas.microsoft.com/office/drawing/2014/main" id="{BC95BE97-3439-4283-96EC-6A685F976E9E}"/>
              </a:ext>
            </a:extLst>
          </p:cNvPr>
          <p:cNvGrpSpPr/>
          <p:nvPr/>
        </p:nvGrpSpPr>
        <p:grpSpPr>
          <a:xfrm>
            <a:off x="1452947" y="5529666"/>
            <a:ext cx="591606" cy="186820"/>
            <a:chOff x="6900119" y="6591876"/>
            <a:chExt cx="591606" cy="186820"/>
          </a:xfrm>
        </p:grpSpPr>
        <p:sp>
          <p:nvSpPr>
            <p:cNvPr id="196" name="Rectangle 195">
              <a:extLst>
                <a:ext uri="{FF2B5EF4-FFF2-40B4-BE49-F238E27FC236}">
                  <a16:creationId xmlns:a16="http://schemas.microsoft.com/office/drawing/2014/main" id="{53DBAC9D-20A5-4254-BEEA-DC92076704E8}"/>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7" name="Ellipse 196">
              <a:extLst>
                <a:ext uri="{FF2B5EF4-FFF2-40B4-BE49-F238E27FC236}">
                  <a16:creationId xmlns:a16="http://schemas.microsoft.com/office/drawing/2014/main" id="{8437311C-1FA0-4C74-AB79-66F47DEBE8F1}"/>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81" name="Rectangle 80">
            <a:extLst>
              <a:ext uri="{FF2B5EF4-FFF2-40B4-BE49-F238E27FC236}">
                <a16:creationId xmlns:a16="http://schemas.microsoft.com/office/drawing/2014/main" id="{C8E68423-7734-4084-A530-FE3808538581}"/>
              </a:ext>
            </a:extLst>
          </p:cNvPr>
          <p:cNvSpPr/>
          <p:nvPr/>
        </p:nvSpPr>
        <p:spPr bwMode="auto">
          <a:xfrm>
            <a:off x="1366916" y="2478511"/>
            <a:ext cx="763668" cy="22852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kumimoji="0" lang="en-GB" sz="800" b="1" i="1" u="none" strike="noStrike" cap="none" normalizeH="0" baseline="0">
                <a:ln>
                  <a:noFill/>
                </a:ln>
                <a:effectLst/>
                <a:latin typeface="Trebuchet MS" panose="020B0603020202020204" pitchFamily="34" charset="0"/>
              </a:rPr>
              <a:t>fulfilled early 2020</a:t>
            </a:r>
          </a:p>
        </p:txBody>
      </p:sp>
      <p:sp>
        <p:nvSpPr>
          <p:cNvPr id="87" name="Rectangle 86">
            <a:extLst>
              <a:ext uri="{FF2B5EF4-FFF2-40B4-BE49-F238E27FC236}">
                <a16:creationId xmlns:a16="http://schemas.microsoft.com/office/drawing/2014/main" id="{768F6C43-9E7E-4289-90E9-97E4D4D22D61}"/>
              </a:ext>
            </a:extLst>
          </p:cNvPr>
          <p:cNvSpPr/>
          <p:nvPr/>
        </p:nvSpPr>
        <p:spPr bwMode="auto">
          <a:xfrm>
            <a:off x="1366916" y="4159246"/>
            <a:ext cx="763668" cy="22852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kumimoji="0" lang="en-GB" sz="800" b="1" i="1" u="none" strike="noStrike" cap="none" normalizeH="0" baseline="0">
                <a:ln>
                  <a:noFill/>
                </a:ln>
                <a:effectLst/>
                <a:latin typeface="Trebuchet MS" panose="020B0603020202020204" pitchFamily="34" charset="0"/>
              </a:rPr>
              <a:t>Ongoing deployment</a:t>
            </a:r>
          </a:p>
        </p:txBody>
      </p:sp>
      <p:sp>
        <p:nvSpPr>
          <p:cNvPr id="88" name="Rectangle 87">
            <a:extLst>
              <a:ext uri="{FF2B5EF4-FFF2-40B4-BE49-F238E27FC236}">
                <a16:creationId xmlns:a16="http://schemas.microsoft.com/office/drawing/2014/main" id="{B3D0841A-0B3E-4BC5-8CC4-D5C677E13B94}"/>
              </a:ext>
            </a:extLst>
          </p:cNvPr>
          <p:cNvSpPr/>
          <p:nvPr/>
        </p:nvSpPr>
        <p:spPr bwMode="auto">
          <a:xfrm>
            <a:off x="1286731" y="5711813"/>
            <a:ext cx="924039" cy="22852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kumimoji="0" lang="en-GB" sz="800" b="1" i="1" u="none" strike="noStrike" cap="none" normalizeH="0" baseline="0">
                <a:ln>
                  <a:noFill/>
                </a:ln>
                <a:effectLst/>
                <a:latin typeface="Trebuchet MS" panose="020B0603020202020204" pitchFamily="34" charset="0"/>
              </a:rPr>
              <a:t>Ongoing developments</a:t>
            </a:r>
          </a:p>
        </p:txBody>
      </p:sp>
      <p:sp>
        <p:nvSpPr>
          <p:cNvPr id="198" name="Rectangle 197">
            <a:extLst>
              <a:ext uri="{FF2B5EF4-FFF2-40B4-BE49-F238E27FC236}">
                <a16:creationId xmlns:a16="http://schemas.microsoft.com/office/drawing/2014/main" id="{E9C09309-4397-4D0D-9139-8BCDDAC2A071}"/>
              </a:ext>
            </a:extLst>
          </p:cNvPr>
          <p:cNvSpPr/>
          <p:nvPr/>
        </p:nvSpPr>
        <p:spPr bwMode="auto">
          <a:xfrm>
            <a:off x="2910503" y="1890849"/>
            <a:ext cx="1123589" cy="72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buClr>
                <a:schemeClr val="tx1"/>
              </a:buClr>
              <a:buFont typeface="Wingdings" panose="05000000000000000000" pitchFamily="2" charset="2"/>
              <a:buChar char="ü"/>
            </a:pPr>
            <a:r>
              <a:rPr lang="en-GB" sz="900">
                <a:latin typeface="Trebuchet MS" panose="020B0603020202020204" pitchFamily="34" charset="0"/>
              </a:rPr>
              <a:t>Appointment of a new CEO </a:t>
            </a:r>
          </a:p>
          <a:p>
            <a:pPr marL="171450" indent="-171450">
              <a:buClr>
                <a:schemeClr val="tx1"/>
              </a:buClr>
              <a:buFont typeface="Wingdings" panose="05000000000000000000" pitchFamily="2" charset="2"/>
              <a:buChar char="ü"/>
            </a:pPr>
            <a:r>
              <a:rPr lang="en-GB" sz="900">
                <a:latin typeface="Trebuchet MS" panose="020B0603020202020204" pitchFamily="34" charset="0"/>
              </a:rPr>
              <a:t>Creation of a group’s board of directors </a:t>
            </a:r>
            <a:endParaRPr lang="en-GB" sz="900">
              <a:solidFill>
                <a:srgbClr val="007AA9"/>
              </a:solidFill>
              <a:latin typeface="Trebuchet MS" panose="020B0603020202020204" pitchFamily="34" charset="0"/>
            </a:endParaRPr>
          </a:p>
        </p:txBody>
      </p:sp>
      <p:sp>
        <p:nvSpPr>
          <p:cNvPr id="199" name="Rectangle 198">
            <a:extLst>
              <a:ext uri="{FF2B5EF4-FFF2-40B4-BE49-F238E27FC236}">
                <a16:creationId xmlns:a16="http://schemas.microsoft.com/office/drawing/2014/main" id="{BF670DFB-DF36-4588-837A-8D29573F15D2}"/>
              </a:ext>
            </a:extLst>
          </p:cNvPr>
          <p:cNvSpPr/>
          <p:nvPr/>
        </p:nvSpPr>
        <p:spPr bwMode="auto">
          <a:xfrm>
            <a:off x="2234059" y="3465182"/>
            <a:ext cx="2558261" cy="116310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buClr>
                <a:schemeClr val="tx1"/>
              </a:buClr>
              <a:buFont typeface="Wingdings" panose="05000000000000000000" pitchFamily="2" charset="2"/>
              <a:buChar char="ü"/>
            </a:pPr>
            <a:r>
              <a:rPr lang="en-GB" sz="900">
                <a:latin typeface="Trebuchet MS" panose="020B0603020202020204" pitchFamily="34" charset="0"/>
              </a:rPr>
              <a:t>Launch of a project to </a:t>
            </a:r>
            <a:r>
              <a:rPr lang="en-GB" sz="900">
                <a:solidFill>
                  <a:srgbClr val="007AA9"/>
                </a:solidFill>
                <a:latin typeface="Trebuchet MS" panose="020B0603020202020204" pitchFamily="34" charset="0"/>
              </a:rPr>
              <a:t>streamline end-to-end customers relationship operations </a:t>
            </a:r>
            <a:r>
              <a:rPr lang="en-GB" sz="900">
                <a:latin typeface="Trebuchet MS" panose="020B0603020202020204" pitchFamily="34" charset="0"/>
              </a:rPr>
              <a:t>at a </a:t>
            </a:r>
            <a:r>
              <a:rPr lang="en-GB" sz="900">
                <a:solidFill>
                  <a:srgbClr val="007AA9"/>
                </a:solidFill>
                <a:latin typeface="Trebuchet MS" panose="020B0603020202020204" pitchFamily="34" charset="0"/>
              </a:rPr>
              <a:t>group level</a:t>
            </a:r>
            <a:r>
              <a:rPr lang="en-GB" sz="900">
                <a:latin typeface="Trebuchet MS" panose="020B0603020202020204" pitchFamily="34" charset="0"/>
              </a:rPr>
              <a:t>: </a:t>
            </a:r>
          </a:p>
          <a:p>
            <a:pPr marL="628650" lvl="1" indent="-171450">
              <a:buClr>
                <a:schemeClr val="tx1"/>
              </a:buClr>
              <a:buFont typeface="Wingdings" panose="05000000000000000000" pitchFamily="2" charset="2"/>
              <a:buChar char="§"/>
            </a:pPr>
            <a:r>
              <a:rPr lang="en-GB" sz="900">
                <a:latin typeface="Trebuchet MS" panose="020B0603020202020204" pitchFamily="34" charset="0"/>
              </a:rPr>
              <a:t>New group CRM (i.e. </a:t>
            </a:r>
            <a:r>
              <a:rPr lang="en-GB" sz="900">
                <a:solidFill>
                  <a:srgbClr val="007AA9"/>
                </a:solidFill>
                <a:latin typeface="Trebuchet MS" panose="020B0603020202020204" pitchFamily="34" charset="0"/>
              </a:rPr>
              <a:t>Salesforce</a:t>
            </a:r>
            <a:r>
              <a:rPr lang="en-GB" sz="900">
                <a:latin typeface="Trebuchet MS" panose="020B0603020202020204" pitchFamily="34" charset="0"/>
              </a:rPr>
              <a:t> deployment)</a:t>
            </a:r>
          </a:p>
          <a:p>
            <a:pPr marL="628650" lvl="1" indent="-171450">
              <a:buClr>
                <a:schemeClr val="tx1"/>
              </a:buClr>
              <a:buFont typeface="Wingdings" panose="05000000000000000000" pitchFamily="2" charset="2"/>
              <a:buChar char="§"/>
            </a:pPr>
            <a:r>
              <a:rPr lang="en-GB" sz="900">
                <a:latin typeface="Trebuchet MS" panose="020B0603020202020204" pitchFamily="34" charset="0"/>
              </a:rPr>
              <a:t>Booking / Billing…</a:t>
            </a:r>
          </a:p>
          <a:p>
            <a:pPr marL="171450" indent="-171450">
              <a:buClr>
                <a:schemeClr val="tx1"/>
              </a:buClr>
              <a:buFont typeface="Wingdings" panose="05000000000000000000" pitchFamily="2" charset="2"/>
              <a:buChar char="ü"/>
            </a:pPr>
            <a:r>
              <a:rPr lang="en-GB" sz="900">
                <a:solidFill>
                  <a:schemeClr val="accent1">
                    <a:lumMod val="75000"/>
                  </a:schemeClr>
                </a:solidFill>
                <a:latin typeface="Trebuchet MS" panose="020B0603020202020204" pitchFamily="34" charset="0"/>
              </a:rPr>
              <a:t>Cross-ExCom project </a:t>
            </a:r>
            <a:r>
              <a:rPr lang="en-GB" sz="900">
                <a:latin typeface="Trebuchet MS" panose="020B0603020202020204" pitchFamily="34" charset="0"/>
              </a:rPr>
              <a:t>to ensure shared responsibility on their delivery</a:t>
            </a:r>
          </a:p>
        </p:txBody>
      </p:sp>
      <p:sp>
        <p:nvSpPr>
          <p:cNvPr id="200" name="Rectangle 199">
            <a:extLst>
              <a:ext uri="{FF2B5EF4-FFF2-40B4-BE49-F238E27FC236}">
                <a16:creationId xmlns:a16="http://schemas.microsoft.com/office/drawing/2014/main" id="{3A0AB619-BC22-46FF-A2F4-CBDDDFE1A7BA}"/>
              </a:ext>
            </a:extLst>
          </p:cNvPr>
          <p:cNvSpPr/>
          <p:nvPr/>
        </p:nvSpPr>
        <p:spPr bwMode="auto">
          <a:xfrm>
            <a:off x="4873003" y="4927518"/>
            <a:ext cx="1692000" cy="156843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45720" rIns="0" bIns="45720" numCol="1" rtlCol="0" anchor="t" anchorCtr="0" compatLnSpc="1">
            <a:prstTxWarp prst="textNoShape">
              <a:avLst/>
            </a:prstTxWarp>
          </a:bodyPr>
          <a:lstStyle/>
          <a:p>
            <a:pPr marL="171450" indent="-171450">
              <a:buClr>
                <a:schemeClr val="tx1"/>
              </a:buClr>
              <a:buFont typeface="Wingdings" panose="05000000000000000000" pitchFamily="2" charset="2"/>
              <a:buChar char="ü"/>
            </a:pPr>
            <a:r>
              <a:rPr lang="en-GB" sz="900">
                <a:latin typeface="Trebuchet MS" panose="020B0603020202020204" pitchFamily="34" charset="0"/>
              </a:rPr>
              <a:t>Launch of a project to create a </a:t>
            </a:r>
            <a:r>
              <a:rPr lang="en-GB" sz="900">
                <a:solidFill>
                  <a:srgbClr val="007AA9"/>
                </a:solidFill>
                <a:latin typeface="Trebuchet MS" panose="020B0603020202020204" pitchFamily="34" charset="0"/>
              </a:rPr>
              <a:t>unique technological stack </a:t>
            </a:r>
            <a:r>
              <a:rPr lang="en-GB" sz="900">
                <a:latin typeface="Trebuchet MS" panose="020B0603020202020204" pitchFamily="34" charset="0"/>
              </a:rPr>
              <a:t>to </a:t>
            </a:r>
            <a:r>
              <a:rPr lang="en-GB" sz="900">
                <a:solidFill>
                  <a:srgbClr val="007AA9"/>
                </a:solidFill>
                <a:latin typeface="Trebuchet MS" panose="020B0603020202020204" pitchFamily="34" charset="0"/>
              </a:rPr>
              <a:t>support every group’ products </a:t>
            </a:r>
            <a:r>
              <a:rPr lang="en-GB" sz="900">
                <a:effectLst/>
                <a:latin typeface="Trebuchet MS" panose="020B0603020202020204" pitchFamily="34" charset="0"/>
                <a:ea typeface="Calibri" panose="020F0502020204030204" pitchFamily="34" charset="0"/>
                <a:cs typeface="Arial" panose="020B0604020202020204" pitchFamily="34" charset="0"/>
              </a:rPr>
              <a:t>(common back-end between France &amp; Benelux)</a:t>
            </a:r>
            <a:endParaRPr lang="en-GB" sz="900">
              <a:solidFill>
                <a:srgbClr val="007AA9"/>
              </a:solidFill>
              <a:latin typeface="Trebuchet MS" panose="020B0603020202020204" pitchFamily="34" charset="0"/>
            </a:endParaRPr>
          </a:p>
          <a:p>
            <a:pPr marL="171450" indent="-171450">
              <a:buClr>
                <a:schemeClr val="tx1"/>
              </a:buClr>
              <a:buFont typeface="Wingdings" panose="05000000000000000000" pitchFamily="2" charset="2"/>
              <a:buChar char="ü"/>
            </a:pPr>
            <a:r>
              <a:rPr lang="en-GB" sz="900">
                <a:latin typeface="Trebuchet MS" panose="020B0603020202020204" pitchFamily="34" charset="0"/>
              </a:rPr>
              <a:t>Decision to opt for an </a:t>
            </a:r>
            <a:r>
              <a:rPr lang="en-GB" sz="900">
                <a:solidFill>
                  <a:srgbClr val="007AA9"/>
                </a:solidFill>
                <a:latin typeface="Trebuchet MS" panose="020B0603020202020204" pitchFamily="34" charset="0"/>
              </a:rPr>
              <a:t>agile solution </a:t>
            </a:r>
            <a:r>
              <a:rPr lang="en-GB" sz="900">
                <a:latin typeface="Trebuchet MS" panose="020B0603020202020204" pitchFamily="34" charset="0"/>
              </a:rPr>
              <a:t>expected to </a:t>
            </a:r>
            <a:r>
              <a:rPr lang="en-GB" sz="900">
                <a:solidFill>
                  <a:srgbClr val="007AA9"/>
                </a:solidFill>
                <a:latin typeface="Trebuchet MS" panose="020B0603020202020204" pitchFamily="34" charset="0"/>
              </a:rPr>
              <a:t>deliver value </a:t>
            </a:r>
            <a:r>
              <a:rPr lang="en-GB" sz="900">
                <a:latin typeface="Trebuchet MS" panose="020B0603020202020204" pitchFamily="34" charset="0"/>
              </a:rPr>
              <a:t>at </a:t>
            </a:r>
            <a:r>
              <a:rPr lang="en-GB" sz="900">
                <a:solidFill>
                  <a:srgbClr val="007AA9"/>
                </a:solidFill>
                <a:latin typeface="Trebuchet MS" panose="020B0603020202020204" pitchFamily="34" charset="0"/>
              </a:rPr>
              <a:t>each stage of its development </a:t>
            </a:r>
          </a:p>
          <a:p>
            <a:pPr marL="171450" indent="-171450">
              <a:buClr>
                <a:schemeClr val="tx1"/>
              </a:buClr>
              <a:buFont typeface="Wingdings" panose="05000000000000000000" pitchFamily="2" charset="2"/>
              <a:buChar char="ü"/>
            </a:pPr>
            <a:endParaRPr lang="en-GB" sz="900">
              <a:solidFill>
                <a:schemeClr val="tx2"/>
              </a:solidFill>
              <a:latin typeface="Trebuchet MS" panose="020B0603020202020204" pitchFamily="34" charset="0"/>
            </a:endParaRPr>
          </a:p>
        </p:txBody>
      </p:sp>
      <p:sp>
        <p:nvSpPr>
          <p:cNvPr id="202" name="Rectangle 201">
            <a:extLst>
              <a:ext uri="{FF2B5EF4-FFF2-40B4-BE49-F238E27FC236}">
                <a16:creationId xmlns:a16="http://schemas.microsoft.com/office/drawing/2014/main" id="{9B262CE2-7E55-4C11-BCC5-AF32A2E2CEEC}"/>
              </a:ext>
            </a:extLst>
          </p:cNvPr>
          <p:cNvSpPr/>
          <p:nvPr/>
        </p:nvSpPr>
        <p:spPr bwMode="auto">
          <a:xfrm>
            <a:off x="4108455" y="1890849"/>
            <a:ext cx="2153589" cy="72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buClr>
                <a:schemeClr val="tx1"/>
              </a:buClr>
              <a:buFont typeface="Wingdings" panose="05000000000000000000" pitchFamily="2" charset="2"/>
              <a:buChar char="ü"/>
            </a:pPr>
            <a:r>
              <a:rPr lang="en-GB" sz="900">
                <a:latin typeface="Trebuchet MS" panose="020B0603020202020204" pitchFamily="34" charset="0"/>
              </a:rPr>
              <a:t>Creation of a </a:t>
            </a:r>
            <a:r>
              <a:rPr lang="en-GB" sz="900">
                <a:solidFill>
                  <a:srgbClr val="007AA9"/>
                </a:solidFill>
                <a:latin typeface="Trebuchet MS" panose="020B0603020202020204" pitchFamily="34" charset="0"/>
              </a:rPr>
              <a:t>product direction </a:t>
            </a:r>
            <a:r>
              <a:rPr lang="en-GB" sz="900">
                <a:latin typeface="Trebuchet MS" panose="020B0603020202020204" pitchFamily="34" charset="0"/>
              </a:rPr>
              <a:t>to promote a </a:t>
            </a:r>
            <a:r>
              <a:rPr lang="en-GB" sz="900">
                <a:solidFill>
                  <a:srgbClr val="007AA9"/>
                </a:solidFill>
                <a:latin typeface="Trebuchet MS" panose="020B0603020202020204" pitchFamily="34" charset="0"/>
              </a:rPr>
              <a:t>“product-centric” approach </a:t>
            </a:r>
            <a:r>
              <a:rPr lang="en-GB" sz="900">
                <a:latin typeface="Trebuchet MS" panose="020B0603020202020204" pitchFamily="34" charset="0"/>
              </a:rPr>
              <a:t>to better meet customers needs while ensuring scaling capacity</a:t>
            </a:r>
          </a:p>
          <a:p>
            <a:endParaRPr lang="en-GB" sz="900">
              <a:latin typeface="Trebuchet MS" panose="020B0603020202020204" pitchFamily="34" charset="0"/>
            </a:endParaRPr>
          </a:p>
        </p:txBody>
      </p:sp>
      <p:sp>
        <p:nvSpPr>
          <p:cNvPr id="207" name="Rectangle 206">
            <a:extLst>
              <a:ext uri="{FF2B5EF4-FFF2-40B4-BE49-F238E27FC236}">
                <a16:creationId xmlns:a16="http://schemas.microsoft.com/office/drawing/2014/main" id="{9E32D39B-3566-48FA-BD44-D3FBCAAA7633}"/>
              </a:ext>
            </a:extLst>
          </p:cNvPr>
          <p:cNvSpPr/>
          <p:nvPr/>
        </p:nvSpPr>
        <p:spPr bwMode="auto">
          <a:xfrm>
            <a:off x="2910503" y="2656997"/>
            <a:ext cx="3351541"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buClr>
                <a:schemeClr val="tx1"/>
              </a:buClr>
              <a:buFont typeface="Wingdings" panose="05000000000000000000" pitchFamily="2" charset="2"/>
              <a:buChar char="ü"/>
            </a:pPr>
            <a:r>
              <a:rPr lang="en-GB" sz="900">
                <a:solidFill>
                  <a:srgbClr val="007AA9"/>
                </a:solidFill>
                <a:latin typeface="Trebuchet MS" panose="020B0603020202020204" pitchFamily="34" charset="0"/>
              </a:rPr>
              <a:t>Sales team reorganization and alignment of sales processes </a:t>
            </a:r>
            <a:r>
              <a:rPr lang="en-GB" sz="900">
                <a:latin typeface="Trebuchet MS" panose="020B0603020202020204" pitchFamily="34" charset="0"/>
              </a:rPr>
              <a:t>at a </a:t>
            </a:r>
            <a:r>
              <a:rPr lang="en-GB" sz="900">
                <a:solidFill>
                  <a:srgbClr val="007AA9"/>
                </a:solidFill>
                <a:latin typeface="Trebuchet MS" panose="020B0603020202020204" pitchFamily="34" charset="0"/>
              </a:rPr>
              <a:t>group level</a:t>
            </a:r>
          </a:p>
        </p:txBody>
      </p:sp>
      <p:sp>
        <p:nvSpPr>
          <p:cNvPr id="209" name="Rectangle 208">
            <a:extLst>
              <a:ext uri="{FF2B5EF4-FFF2-40B4-BE49-F238E27FC236}">
                <a16:creationId xmlns:a16="http://schemas.microsoft.com/office/drawing/2014/main" id="{C07072E9-E162-4201-ACA3-BB3B73AB4D16}"/>
              </a:ext>
            </a:extLst>
          </p:cNvPr>
          <p:cNvSpPr/>
          <p:nvPr/>
        </p:nvSpPr>
        <p:spPr bwMode="auto">
          <a:xfrm>
            <a:off x="4873004" y="3465182"/>
            <a:ext cx="1529984" cy="74634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1" indent="-171450">
              <a:buClr>
                <a:schemeClr val="tx1"/>
              </a:buClr>
              <a:buFont typeface="Wingdings" panose="05000000000000000000" pitchFamily="2" charset="2"/>
              <a:buChar char="ü"/>
            </a:pPr>
            <a:r>
              <a:rPr lang="en-GB" sz="900">
                <a:solidFill>
                  <a:schemeClr val="accent1">
                    <a:lumMod val="75000"/>
                  </a:schemeClr>
                </a:solidFill>
                <a:latin typeface="Trebuchet MS" panose="020B0603020202020204" pitchFamily="34" charset="0"/>
              </a:rPr>
              <a:t>Deployment</a:t>
            </a:r>
            <a:r>
              <a:rPr lang="en-GB" sz="900">
                <a:latin typeface="Trebuchet MS" panose="020B0603020202020204" pitchFamily="34" charset="0"/>
              </a:rPr>
              <a:t> at group level the </a:t>
            </a:r>
            <a:r>
              <a:rPr lang="en-GB" sz="900">
                <a:solidFill>
                  <a:schemeClr val="accent1">
                    <a:lumMod val="75000"/>
                  </a:schemeClr>
                </a:solidFill>
                <a:latin typeface="Trebuchet MS" panose="020B0603020202020204" pitchFamily="34" charset="0"/>
              </a:rPr>
              <a:t>new commercial processes related to the new CRM </a:t>
            </a:r>
            <a:r>
              <a:rPr lang="en-GB" sz="900">
                <a:latin typeface="Trebuchet MS" panose="020B0603020202020204" pitchFamily="34" charset="0"/>
              </a:rPr>
              <a:t>for D&amp;B products</a:t>
            </a:r>
          </a:p>
        </p:txBody>
      </p:sp>
      <p:cxnSp>
        <p:nvCxnSpPr>
          <p:cNvPr id="6" name="Connecteur droit 5">
            <a:extLst>
              <a:ext uri="{FF2B5EF4-FFF2-40B4-BE49-F238E27FC236}">
                <a16:creationId xmlns:a16="http://schemas.microsoft.com/office/drawing/2014/main" id="{FB6D0D50-CC0E-4723-A6D6-958E909443D6}"/>
              </a:ext>
            </a:extLst>
          </p:cNvPr>
          <p:cNvCxnSpPr/>
          <p:nvPr/>
        </p:nvCxnSpPr>
        <p:spPr bwMode="auto">
          <a:xfrm flipV="1">
            <a:off x="2910503" y="1243658"/>
            <a:ext cx="0" cy="32971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10" name="Connecteur droit 209">
            <a:extLst>
              <a:ext uri="{FF2B5EF4-FFF2-40B4-BE49-F238E27FC236}">
                <a16:creationId xmlns:a16="http://schemas.microsoft.com/office/drawing/2014/main" id="{34E390A6-6761-408F-B37F-F8281ECC3E5E}"/>
              </a:ext>
            </a:extLst>
          </p:cNvPr>
          <p:cNvCxnSpPr/>
          <p:nvPr/>
        </p:nvCxnSpPr>
        <p:spPr bwMode="auto">
          <a:xfrm flipV="1">
            <a:off x="2161952" y="1243658"/>
            <a:ext cx="0" cy="32971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11" name="Connecteur droit 210">
            <a:extLst>
              <a:ext uri="{FF2B5EF4-FFF2-40B4-BE49-F238E27FC236}">
                <a16:creationId xmlns:a16="http://schemas.microsoft.com/office/drawing/2014/main" id="{1A0175DB-F110-4201-9454-77FAB05015F9}"/>
              </a:ext>
            </a:extLst>
          </p:cNvPr>
          <p:cNvCxnSpPr>
            <a:cxnSpLocks/>
          </p:cNvCxnSpPr>
          <p:nvPr/>
        </p:nvCxnSpPr>
        <p:spPr bwMode="auto">
          <a:xfrm flipV="1">
            <a:off x="4873004" y="1243658"/>
            <a:ext cx="0" cy="32971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12" name="Connecteur droit 211">
            <a:extLst>
              <a:ext uri="{FF2B5EF4-FFF2-40B4-BE49-F238E27FC236}">
                <a16:creationId xmlns:a16="http://schemas.microsoft.com/office/drawing/2014/main" id="{A391DA4F-4AA3-480A-800C-23FF6D6AB2F9}"/>
              </a:ext>
            </a:extLst>
          </p:cNvPr>
          <p:cNvCxnSpPr>
            <a:cxnSpLocks/>
          </p:cNvCxnSpPr>
          <p:nvPr/>
        </p:nvCxnSpPr>
        <p:spPr bwMode="auto">
          <a:xfrm flipV="1">
            <a:off x="6835505" y="1243658"/>
            <a:ext cx="0" cy="32971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13" name="Connecteur droit 212">
            <a:extLst>
              <a:ext uri="{FF2B5EF4-FFF2-40B4-BE49-F238E27FC236}">
                <a16:creationId xmlns:a16="http://schemas.microsoft.com/office/drawing/2014/main" id="{DBCFA982-BEFC-423C-A2E8-FDCCD774E26F}"/>
              </a:ext>
            </a:extLst>
          </p:cNvPr>
          <p:cNvCxnSpPr/>
          <p:nvPr/>
        </p:nvCxnSpPr>
        <p:spPr bwMode="auto">
          <a:xfrm flipV="1">
            <a:off x="8853423" y="1243658"/>
            <a:ext cx="0" cy="32971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14" name="Connecteur droit 213">
            <a:extLst>
              <a:ext uri="{FF2B5EF4-FFF2-40B4-BE49-F238E27FC236}">
                <a16:creationId xmlns:a16="http://schemas.microsoft.com/office/drawing/2014/main" id="{E4FF2062-07A4-4FB7-BBC0-598983264C26}"/>
              </a:ext>
            </a:extLst>
          </p:cNvPr>
          <p:cNvCxnSpPr>
            <a:cxnSpLocks/>
          </p:cNvCxnSpPr>
          <p:nvPr/>
        </p:nvCxnSpPr>
        <p:spPr bwMode="auto">
          <a:xfrm flipH="1">
            <a:off x="2208562" y="4891165"/>
            <a:ext cx="7356096" cy="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215" name="Connecteur droit 214">
            <a:extLst>
              <a:ext uri="{FF2B5EF4-FFF2-40B4-BE49-F238E27FC236}">
                <a16:creationId xmlns:a16="http://schemas.microsoft.com/office/drawing/2014/main" id="{B362DA54-42B7-4343-8DB3-C581605CC3DD}"/>
              </a:ext>
            </a:extLst>
          </p:cNvPr>
          <p:cNvCxnSpPr>
            <a:cxnSpLocks/>
          </p:cNvCxnSpPr>
          <p:nvPr/>
        </p:nvCxnSpPr>
        <p:spPr bwMode="auto">
          <a:xfrm flipH="1">
            <a:off x="2208562" y="3228620"/>
            <a:ext cx="7356096" cy="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217" name="Rectangle 216">
            <a:extLst>
              <a:ext uri="{FF2B5EF4-FFF2-40B4-BE49-F238E27FC236}">
                <a16:creationId xmlns:a16="http://schemas.microsoft.com/office/drawing/2014/main" id="{752FBCD1-D327-48C2-8595-FA83932D8B27}"/>
              </a:ext>
            </a:extLst>
          </p:cNvPr>
          <p:cNvSpPr/>
          <p:nvPr/>
        </p:nvSpPr>
        <p:spPr bwMode="auto">
          <a:xfrm>
            <a:off x="6534020" y="3465182"/>
            <a:ext cx="1286681" cy="74634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1" indent="-171450">
              <a:buClr>
                <a:schemeClr val="tx1"/>
              </a:buClr>
              <a:buFont typeface="Wingdings" panose="05000000000000000000" pitchFamily="2" charset="2"/>
              <a:buChar char="ü"/>
            </a:pPr>
            <a:r>
              <a:rPr lang="en-GB" sz="900">
                <a:latin typeface="Trebuchet MS" panose="020B0603020202020204" pitchFamily="34" charset="0"/>
              </a:rPr>
              <a:t>Deployment of new CRM </a:t>
            </a:r>
            <a:r>
              <a:rPr lang="en-GB" sz="900">
                <a:solidFill>
                  <a:schemeClr val="accent1">
                    <a:lumMod val="75000"/>
                  </a:schemeClr>
                </a:solidFill>
                <a:latin typeface="Trebuchet MS" panose="020B0603020202020204" pitchFamily="34" charset="0"/>
              </a:rPr>
              <a:t>for </a:t>
            </a:r>
            <a:r>
              <a:rPr lang="en-GB" sz="900" err="1">
                <a:solidFill>
                  <a:schemeClr val="accent1">
                    <a:lumMod val="75000"/>
                  </a:schemeClr>
                </a:solidFill>
                <a:latin typeface="Trebuchet MS" panose="020B0603020202020204" pitchFamily="34" charset="0"/>
              </a:rPr>
              <a:t>Altares</a:t>
            </a:r>
            <a:r>
              <a:rPr lang="en-GB" sz="900">
                <a:solidFill>
                  <a:schemeClr val="accent1">
                    <a:lumMod val="75000"/>
                  </a:schemeClr>
                </a:solidFill>
                <a:latin typeface="Trebuchet MS" panose="020B0603020202020204" pitchFamily="34" charset="0"/>
              </a:rPr>
              <a:t>’ proprietary products</a:t>
            </a:r>
          </a:p>
          <a:p>
            <a:pPr lvl="1">
              <a:buClr>
                <a:schemeClr val="tx1"/>
              </a:buClr>
            </a:pPr>
            <a:endParaRPr lang="en-GB" sz="900">
              <a:latin typeface="Trebuchet MS" panose="020B0603020202020204" pitchFamily="34" charset="0"/>
            </a:endParaRPr>
          </a:p>
        </p:txBody>
      </p:sp>
      <p:sp>
        <p:nvSpPr>
          <p:cNvPr id="218" name="Rectangle 217">
            <a:extLst>
              <a:ext uri="{FF2B5EF4-FFF2-40B4-BE49-F238E27FC236}">
                <a16:creationId xmlns:a16="http://schemas.microsoft.com/office/drawing/2014/main" id="{2DDB44C2-2429-4E1F-9DFC-F2F9459DF2F0}"/>
              </a:ext>
            </a:extLst>
          </p:cNvPr>
          <p:cNvSpPr/>
          <p:nvPr/>
        </p:nvSpPr>
        <p:spPr bwMode="auto">
          <a:xfrm>
            <a:off x="4873004" y="4263528"/>
            <a:ext cx="2947697" cy="36476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1" indent="-171450">
              <a:buClr>
                <a:schemeClr val="tx1"/>
              </a:buClr>
              <a:buFont typeface="Wingdings" panose="05000000000000000000" pitchFamily="2" charset="2"/>
              <a:buChar char="ü"/>
            </a:pPr>
            <a:r>
              <a:rPr lang="en-GB" sz="900">
                <a:solidFill>
                  <a:schemeClr val="accent1">
                    <a:lumMod val="75000"/>
                  </a:schemeClr>
                </a:solidFill>
                <a:latin typeface="Trebuchet MS" panose="020B0603020202020204" pitchFamily="34" charset="0"/>
              </a:rPr>
              <a:t>Group training </a:t>
            </a:r>
            <a:r>
              <a:rPr lang="en-GB" sz="900">
                <a:latin typeface="Trebuchet MS" panose="020B0603020202020204" pitchFamily="34" charset="0"/>
              </a:rPr>
              <a:t>to ensure sales’ onboarding</a:t>
            </a:r>
          </a:p>
          <a:p>
            <a:pPr marL="171450" lvl="1" indent="-171450">
              <a:buClr>
                <a:schemeClr val="tx1"/>
              </a:buClr>
              <a:buFont typeface="Wingdings" panose="05000000000000000000" pitchFamily="2" charset="2"/>
              <a:buChar char="ü"/>
            </a:pPr>
            <a:r>
              <a:rPr lang="en-GB" sz="900">
                <a:solidFill>
                  <a:schemeClr val="accent1">
                    <a:lumMod val="75000"/>
                  </a:schemeClr>
                </a:solidFill>
                <a:latin typeface="Trebuchet MS" panose="020B0603020202020204" pitchFamily="34" charset="0"/>
              </a:rPr>
              <a:t>Group monitoring </a:t>
            </a:r>
            <a:r>
              <a:rPr lang="en-GB" sz="900">
                <a:latin typeface="Trebuchet MS" panose="020B0603020202020204" pitchFamily="34" charset="0"/>
              </a:rPr>
              <a:t>of sales with unified KPIs</a:t>
            </a:r>
          </a:p>
        </p:txBody>
      </p:sp>
      <p:sp>
        <p:nvSpPr>
          <p:cNvPr id="219" name="Rectangle 218">
            <a:extLst>
              <a:ext uri="{FF2B5EF4-FFF2-40B4-BE49-F238E27FC236}">
                <a16:creationId xmlns:a16="http://schemas.microsoft.com/office/drawing/2014/main" id="{BA014DD9-47C5-4F8A-B2E1-5A959C7E0666}"/>
              </a:ext>
            </a:extLst>
          </p:cNvPr>
          <p:cNvSpPr/>
          <p:nvPr/>
        </p:nvSpPr>
        <p:spPr bwMode="auto">
          <a:xfrm>
            <a:off x="6649376" y="4927518"/>
            <a:ext cx="1487991" cy="156843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0" bIns="45720" numCol="1" rtlCol="0" anchor="t" anchorCtr="0" compatLnSpc="1">
            <a:prstTxWarp prst="textNoShape">
              <a:avLst/>
            </a:prstTxWarp>
          </a:bodyPr>
          <a:lstStyle/>
          <a:p>
            <a:pPr marL="171450" indent="-171450">
              <a:buClr>
                <a:schemeClr val="tx1"/>
              </a:buClr>
              <a:buFont typeface="Wingdings" panose="05000000000000000000" pitchFamily="2" charset="2"/>
              <a:buChar char="ü"/>
            </a:pPr>
            <a:r>
              <a:rPr lang="en-GB" sz="900">
                <a:latin typeface="Trebuchet MS" panose="020B0603020202020204" pitchFamily="34" charset="0"/>
              </a:rPr>
              <a:t>Delivery of the </a:t>
            </a:r>
            <a:r>
              <a:rPr lang="en-GB" sz="900">
                <a:solidFill>
                  <a:schemeClr val="accent1">
                    <a:lumMod val="75000"/>
                  </a:schemeClr>
                </a:solidFill>
                <a:latin typeface="Trebuchet MS" panose="020B0603020202020204" pitchFamily="34" charset="0"/>
              </a:rPr>
              <a:t>Datahub API</a:t>
            </a:r>
            <a:r>
              <a:rPr lang="en-GB" sz="900">
                <a:latin typeface="Trebuchet MS" panose="020B0603020202020204" pitchFamily="34" charset="0"/>
              </a:rPr>
              <a:t> by 2021 enabling  to: </a:t>
            </a:r>
          </a:p>
          <a:p>
            <a:pPr marL="360363" lvl="1" indent="-171450">
              <a:buClr>
                <a:schemeClr val="tx1"/>
              </a:buClr>
              <a:buFont typeface="Wingdings" panose="05000000000000000000" pitchFamily="2" charset="2"/>
              <a:buChar char="ü"/>
              <a:tabLst>
                <a:tab pos="360363" algn="l"/>
              </a:tabLst>
            </a:pPr>
            <a:r>
              <a:rPr lang="en-GB" sz="900">
                <a:latin typeface="Trebuchet MS" panose="020B0603020202020204" pitchFamily="34" charset="0"/>
              </a:rPr>
              <a:t>Launch API-based proprietary solutions in </a:t>
            </a:r>
            <a:r>
              <a:rPr lang="en-GB" sz="900">
                <a:solidFill>
                  <a:schemeClr val="accent1">
                    <a:lumMod val="75000"/>
                  </a:schemeClr>
                </a:solidFill>
                <a:latin typeface="Trebuchet MS" panose="020B0603020202020204" pitchFamily="34" charset="0"/>
              </a:rPr>
              <a:t>Benelux</a:t>
            </a:r>
          </a:p>
          <a:p>
            <a:pPr marL="360363" lvl="1" indent="-171450">
              <a:buClr>
                <a:schemeClr val="tx1"/>
              </a:buClr>
              <a:buFont typeface="Wingdings" panose="05000000000000000000" pitchFamily="2" charset="2"/>
              <a:buChar char="ü"/>
              <a:tabLst>
                <a:tab pos="360363" algn="l"/>
              </a:tabLst>
            </a:pPr>
            <a:r>
              <a:rPr lang="en-GB" sz="900">
                <a:latin typeface="Trebuchet MS" panose="020B0603020202020204" pitchFamily="34" charset="0"/>
              </a:rPr>
              <a:t>Simplify existing product </a:t>
            </a:r>
            <a:r>
              <a:rPr lang="en-GB" sz="900">
                <a:solidFill>
                  <a:schemeClr val="accent1">
                    <a:lumMod val="75000"/>
                  </a:schemeClr>
                </a:solidFill>
                <a:latin typeface="Trebuchet MS" panose="020B0603020202020204" pitchFamily="34" charset="0"/>
              </a:rPr>
              <a:t>maintenance</a:t>
            </a:r>
          </a:p>
          <a:p>
            <a:pPr marL="360363" lvl="1" indent="-171450">
              <a:buClr>
                <a:schemeClr val="tx1"/>
              </a:buClr>
              <a:buFont typeface="Wingdings" panose="05000000000000000000" pitchFamily="2" charset="2"/>
              <a:buChar char="ü"/>
              <a:tabLst>
                <a:tab pos="360363" algn="l"/>
              </a:tabLst>
            </a:pPr>
            <a:r>
              <a:rPr lang="en-GB" sz="900">
                <a:solidFill>
                  <a:schemeClr val="accent1">
                    <a:lumMod val="75000"/>
                  </a:schemeClr>
                </a:solidFill>
                <a:latin typeface="Trebuchet MS" panose="020B0603020202020204" pitchFamily="34" charset="0"/>
              </a:rPr>
              <a:t>Facilitate new data set onboarding</a:t>
            </a:r>
            <a:endParaRPr lang="en-GB" sz="900">
              <a:solidFill>
                <a:schemeClr val="tx2"/>
              </a:solidFill>
              <a:latin typeface="Trebuchet MS" panose="020B0603020202020204" pitchFamily="34" charset="0"/>
            </a:endParaRPr>
          </a:p>
        </p:txBody>
      </p:sp>
      <p:sp>
        <p:nvSpPr>
          <p:cNvPr id="220" name="Rectangle 219">
            <a:extLst>
              <a:ext uri="{FF2B5EF4-FFF2-40B4-BE49-F238E27FC236}">
                <a16:creationId xmlns:a16="http://schemas.microsoft.com/office/drawing/2014/main" id="{0D62FE39-7952-408B-B587-2433D291281D}"/>
              </a:ext>
            </a:extLst>
          </p:cNvPr>
          <p:cNvSpPr/>
          <p:nvPr/>
        </p:nvSpPr>
        <p:spPr bwMode="auto">
          <a:xfrm>
            <a:off x="8221740" y="4927518"/>
            <a:ext cx="1620000" cy="156843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45720" rIns="0" bIns="45720" numCol="1" rtlCol="0" anchor="t" anchorCtr="0" compatLnSpc="1">
            <a:prstTxWarp prst="textNoShape">
              <a:avLst/>
            </a:prstTxWarp>
          </a:bodyPr>
          <a:lstStyle/>
          <a:p>
            <a:pPr marL="171450" indent="-171450">
              <a:buClr>
                <a:schemeClr val="tx1"/>
              </a:buClr>
              <a:buFont typeface="Wingdings" panose="05000000000000000000" pitchFamily="2" charset="2"/>
              <a:buChar char="ü"/>
            </a:pPr>
            <a:r>
              <a:rPr lang="en-GB" sz="900">
                <a:effectLst/>
                <a:latin typeface="Trebuchet MS" panose="020B0603020202020204" pitchFamily="34" charset="0"/>
                <a:ea typeface="Calibri" panose="020F0502020204030204" pitchFamily="34" charset="0"/>
                <a:cs typeface="Arial" panose="020B0604020202020204" pitchFamily="34" charset="0"/>
              </a:rPr>
              <a:t>Delivery of </a:t>
            </a:r>
            <a:r>
              <a:rPr lang="en-GB" sz="900">
                <a:solidFill>
                  <a:schemeClr val="accent1">
                    <a:lumMod val="75000"/>
                  </a:schemeClr>
                </a:solidFill>
                <a:effectLst/>
                <a:latin typeface="Trebuchet MS" panose="020B0603020202020204" pitchFamily="34" charset="0"/>
                <a:ea typeface="Calibri" panose="020F0502020204030204" pitchFamily="34" charset="0"/>
                <a:cs typeface="Arial" panose="020B0604020202020204" pitchFamily="34" charset="0"/>
              </a:rPr>
              <a:t>local market platform </a:t>
            </a:r>
            <a:r>
              <a:rPr lang="en-GB" sz="900">
                <a:effectLst/>
                <a:latin typeface="Trebuchet MS" panose="020B0603020202020204" pitchFamily="34" charset="0"/>
                <a:ea typeface="Calibri" panose="020F0502020204030204" pitchFamily="34" charset="0"/>
                <a:cs typeface="Arial" panose="020B0604020202020204" pitchFamily="34" charset="0"/>
              </a:rPr>
              <a:t>solutions for </a:t>
            </a:r>
            <a:r>
              <a:rPr lang="en-GB" sz="900">
                <a:solidFill>
                  <a:schemeClr val="accent1">
                    <a:lumMod val="75000"/>
                  </a:schemeClr>
                </a:solidFill>
                <a:effectLst/>
                <a:latin typeface="Trebuchet MS" panose="020B0603020202020204" pitchFamily="34" charset="0"/>
                <a:ea typeface="Calibri" panose="020F0502020204030204" pitchFamily="34" charset="0"/>
                <a:cs typeface="Arial" panose="020B0604020202020204" pitchFamily="34" charset="0"/>
              </a:rPr>
              <a:t>Benelux </a:t>
            </a:r>
            <a:r>
              <a:rPr lang="en-GB" sz="900">
                <a:effectLst/>
                <a:latin typeface="Trebuchet MS" panose="020B0603020202020204" pitchFamily="34" charset="0"/>
                <a:ea typeface="Calibri" panose="020F0502020204030204" pitchFamily="34" charset="0"/>
                <a:cs typeface="Arial" panose="020B0604020202020204" pitchFamily="34" charset="0"/>
              </a:rPr>
              <a:t>(Q1 2022)</a:t>
            </a:r>
          </a:p>
          <a:p>
            <a:pPr marL="171450" indent="-171450">
              <a:buClr>
                <a:schemeClr val="tx1"/>
              </a:buClr>
              <a:buFont typeface="Wingdings" panose="05000000000000000000" pitchFamily="2" charset="2"/>
              <a:buChar char="ü"/>
            </a:pPr>
            <a:r>
              <a:rPr lang="en-GB" sz="900">
                <a:latin typeface="Trebuchet MS" panose="020B0603020202020204" pitchFamily="34" charset="0"/>
                <a:ea typeface="Calibri" panose="020F0502020204030204" pitchFamily="34" charset="0"/>
              </a:rPr>
              <a:t>Delivery of </a:t>
            </a:r>
            <a:r>
              <a:rPr lang="en-GB" sz="900">
                <a:solidFill>
                  <a:schemeClr val="accent1">
                    <a:lumMod val="75000"/>
                  </a:schemeClr>
                </a:solidFill>
                <a:effectLst/>
                <a:latin typeface="Trebuchet MS" panose="020B0603020202020204" pitchFamily="34" charset="0"/>
                <a:ea typeface="Calibri" panose="020F0502020204030204" pitchFamily="34" charset="0"/>
                <a:cs typeface="Arial" panose="020B0604020202020204" pitchFamily="34" charset="0"/>
              </a:rPr>
              <a:t>SSO (Single Sign-on) </a:t>
            </a:r>
            <a:r>
              <a:rPr lang="en-GB" sz="900">
                <a:effectLst/>
                <a:latin typeface="Trebuchet MS" panose="020B0603020202020204" pitchFamily="34" charset="0"/>
                <a:ea typeface="Calibri" panose="020F0502020204030204" pitchFamily="34" charset="0"/>
                <a:cs typeface="Arial" panose="020B0604020202020204" pitchFamily="34" charset="0"/>
              </a:rPr>
              <a:t>allowing to navigate between products (2022), thus facilitating cross-sell between products (e.g. between risk &amp; compliance)</a:t>
            </a:r>
            <a:endParaRPr lang="en-GB" sz="900">
              <a:solidFill>
                <a:schemeClr val="tx2"/>
              </a:solidFill>
              <a:highlight>
                <a:srgbClr val="FFFF00"/>
              </a:highlight>
              <a:latin typeface="Trebuchet MS" panose="020B0603020202020204" pitchFamily="34" charset="0"/>
            </a:endParaRPr>
          </a:p>
        </p:txBody>
      </p:sp>
      <p:sp>
        <p:nvSpPr>
          <p:cNvPr id="90" name="Rectangle 89">
            <a:extLst>
              <a:ext uri="{FF2B5EF4-FFF2-40B4-BE49-F238E27FC236}">
                <a16:creationId xmlns:a16="http://schemas.microsoft.com/office/drawing/2014/main" id="{A1290A94-D65C-4816-AD66-B4A12F2731DA}"/>
              </a:ext>
            </a:extLst>
          </p:cNvPr>
          <p:cNvSpPr/>
          <p:nvPr/>
        </p:nvSpPr>
        <p:spPr bwMode="auto">
          <a:xfrm>
            <a:off x="5841869" y="1299020"/>
            <a:ext cx="692151" cy="18531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700" b="0" i="1" u="none" strike="noStrike" cap="none" normalizeH="0" baseline="0">
                <a:ln>
                  <a:noFill/>
                </a:ln>
                <a:solidFill>
                  <a:schemeClr val="accent1"/>
                </a:solidFill>
                <a:effectLst/>
                <a:latin typeface="Trebuchet MS" panose="020B0603020202020204" pitchFamily="34" charset="0"/>
              </a:rPr>
              <a:t>Today</a:t>
            </a:r>
          </a:p>
        </p:txBody>
      </p:sp>
      <p:sp>
        <p:nvSpPr>
          <p:cNvPr id="91" name="Triangle isocèle 90">
            <a:extLst>
              <a:ext uri="{FF2B5EF4-FFF2-40B4-BE49-F238E27FC236}">
                <a16:creationId xmlns:a16="http://schemas.microsoft.com/office/drawing/2014/main" id="{E0B40404-719C-43CC-A2EB-D90237C6D6AE}"/>
              </a:ext>
            </a:extLst>
          </p:cNvPr>
          <p:cNvSpPr/>
          <p:nvPr/>
        </p:nvSpPr>
        <p:spPr bwMode="auto">
          <a:xfrm rot="5400000">
            <a:off x="6314606" y="1370353"/>
            <a:ext cx="130400" cy="80967"/>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50" b="0" i="0" u="none" strike="noStrike" cap="none" normalizeH="0" baseline="0">
              <a:ln>
                <a:noFill/>
              </a:ln>
              <a:solidFill>
                <a:schemeClr val="tx1"/>
              </a:solidFill>
              <a:effectLst/>
              <a:latin typeface="Trebuchet MS" pitchFamily="34" charset="0"/>
            </a:endParaRPr>
          </a:p>
        </p:txBody>
      </p:sp>
    </p:spTree>
    <p:extLst>
      <p:ext uri="{BB962C8B-B14F-4D97-AF65-F5344CB8AC3E}">
        <p14:creationId xmlns:p14="http://schemas.microsoft.com/office/powerpoint/2010/main" val="2646771071"/>
      </p:ext>
    </p:extLst>
  </p:cSld>
  <p:clrMapOvr>
    <a:masterClrMapping/>
  </p:clrMapOvr>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A44C8C8-2F36-450B-A067-045DF42C7170}"/>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59AD0D4C-52B6-4887-95DD-FD6DE794558F}"/>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F0A06676-82C0-4F43-87A1-A34EA0E8CFAF}"/>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347663" marR="338138" indent="-228600">
              <a:spcBef>
                <a:spcPts val="600"/>
              </a:spcBef>
              <a:spcAft>
                <a:spcPts val="0"/>
              </a:spcAft>
              <a:buFont typeface="+mj-lt"/>
              <a:buAutoNum type="arabicPeriod"/>
            </a:pPr>
            <a:r>
              <a:rPr lang="en-GB" sz="1200">
                <a:latin typeface="Trebuchet MS" panose="020B0603020202020204" pitchFamily="34" charset="0"/>
              </a:rPr>
              <a:t>Key strategic levers supporting </a:t>
            </a:r>
            <a:r>
              <a:rPr lang="en-GB" sz="1200" err="1">
                <a:latin typeface="Trebuchet MS" panose="020B0603020202020204" pitchFamily="34" charset="0"/>
              </a:rPr>
              <a:t>Altares</a:t>
            </a:r>
            <a:r>
              <a:rPr lang="en-GB" sz="1200">
                <a:latin typeface="Trebuchet MS" panose="020B0603020202020204" pitchFamily="34" charset="0"/>
              </a:rPr>
              <a:t>’ future growth </a:t>
            </a:r>
          </a:p>
          <a:p>
            <a:pPr marL="347663" marR="338138" indent="-228600">
              <a:spcBef>
                <a:spcPts val="600"/>
              </a:spcBef>
              <a:spcAft>
                <a:spcPts val="0"/>
              </a:spcAft>
              <a:buFont typeface="+mj-lt"/>
              <a:buAutoNum type="arabicPeriod"/>
            </a:pPr>
            <a:r>
              <a:rPr lang="en-GB" sz="1200">
                <a:solidFill>
                  <a:schemeClr val="tx2"/>
                </a:solidFill>
                <a:latin typeface="Trebuchet MS" panose="020B0603020202020204" pitchFamily="34" charset="0"/>
              </a:rPr>
              <a:t>Business plan assessment</a:t>
            </a:r>
          </a:p>
          <a:p>
            <a:pPr marL="804863" marR="338138" lvl="1" indent="-228600">
              <a:spcBef>
                <a:spcPts val="600"/>
              </a:spcBef>
              <a:spcAft>
                <a:spcPts val="0"/>
              </a:spcAft>
              <a:buFont typeface="+mj-lt"/>
              <a:buAutoNum type="arabicPeriod"/>
            </a:pPr>
            <a:r>
              <a:rPr lang="en-GB" sz="1200">
                <a:solidFill>
                  <a:schemeClr val="tx2"/>
                </a:solidFill>
                <a:latin typeface="Trebuchet MS" panose="020B0603020202020204" pitchFamily="34" charset="0"/>
              </a:rPr>
              <a:t>Overall BP presentation</a:t>
            </a:r>
          </a:p>
          <a:p>
            <a:pPr marL="804863" marR="338138" lvl="1" indent="-228600">
              <a:spcBef>
                <a:spcPts val="600"/>
              </a:spcBef>
              <a:spcAft>
                <a:spcPts val="0"/>
              </a:spcAft>
              <a:buFont typeface="+mj-lt"/>
              <a:buAutoNum type="arabicPeriod"/>
            </a:pPr>
            <a:r>
              <a:rPr lang="en-GB" sz="1200">
                <a:latin typeface="Trebuchet MS" panose="020B0603020202020204" pitchFamily="34" charset="0"/>
              </a:rPr>
              <a:t>Detailed growth assessment per activity</a:t>
            </a:r>
          </a:p>
          <a:p>
            <a:pPr marL="1319213" marR="338138" lvl="2" indent="-285750">
              <a:spcBef>
                <a:spcPts val="600"/>
              </a:spcBef>
              <a:spcAft>
                <a:spcPts val="0"/>
              </a:spcAft>
              <a:buFont typeface="+mj-lt"/>
              <a:buAutoNum type="alphaLcPeriod"/>
            </a:pPr>
            <a:r>
              <a:rPr lang="en-GB" sz="1200">
                <a:latin typeface="Trebuchet MS" panose="020B0603020202020204" pitchFamily="34" charset="0"/>
              </a:rPr>
              <a:t>Credit risk</a:t>
            </a:r>
          </a:p>
          <a:p>
            <a:pPr marL="1319213" marR="338138" lvl="2" indent="-285750">
              <a:spcBef>
                <a:spcPts val="600"/>
              </a:spcBef>
              <a:spcAft>
                <a:spcPts val="0"/>
              </a:spcAft>
              <a:buFont typeface="+mj-lt"/>
              <a:buAutoNum type="alphaLcPeriod"/>
            </a:pPr>
            <a:r>
              <a:rPr lang="en-GB" sz="1200">
                <a:latin typeface="Trebuchet MS" panose="020B0603020202020204" pitchFamily="34" charset="0"/>
              </a:rPr>
              <a:t>Compliance</a:t>
            </a:r>
          </a:p>
          <a:p>
            <a:pPr marL="1319213" marR="338138" lvl="2" indent="-285750">
              <a:spcBef>
                <a:spcPts val="600"/>
              </a:spcBef>
              <a:spcAft>
                <a:spcPts val="0"/>
              </a:spcAft>
              <a:buFont typeface="+mj-lt"/>
              <a:buAutoNum type="alphaLcPeriod"/>
            </a:pPr>
            <a:r>
              <a:rPr lang="en-GB" sz="1200">
                <a:latin typeface="Trebuchet MS" panose="020B0603020202020204" pitchFamily="34" charset="0"/>
              </a:rPr>
              <a:t>B2B Marketing</a:t>
            </a:r>
          </a:p>
          <a:p>
            <a:pPr marL="1319213" marR="338138" lvl="2" indent="-285750">
              <a:spcBef>
                <a:spcPts val="600"/>
              </a:spcBef>
              <a:spcAft>
                <a:spcPts val="0"/>
              </a:spcAft>
              <a:buFont typeface="+mj-lt"/>
              <a:buAutoNum type="alphaLcPeriod"/>
            </a:pPr>
            <a:r>
              <a:rPr lang="en-GB" sz="1200">
                <a:latin typeface="Trebuchet MS" panose="020B0603020202020204" pitchFamily="34" charset="0"/>
              </a:rPr>
              <a:t>Other activities</a:t>
            </a:r>
          </a:p>
          <a:p>
            <a:pPr marL="804863" marR="338138" lvl="1" indent="-228600">
              <a:spcBef>
                <a:spcPts val="600"/>
              </a:spcBef>
              <a:spcAft>
                <a:spcPts val="0"/>
              </a:spcAft>
              <a:buFont typeface="+mj-lt"/>
              <a:buAutoNum type="arabicPeriod"/>
            </a:pPr>
            <a:r>
              <a:rPr lang="en-GB" sz="1200">
                <a:latin typeface="Trebuchet MS" panose="020B0603020202020204" pitchFamily="34" charset="0"/>
              </a:rPr>
              <a:t>Synthesis of BP assessment </a:t>
            </a:r>
          </a:p>
          <a:p>
            <a:pPr marL="127000">
              <a:spcBef>
                <a:spcPts val="1200"/>
              </a:spcBef>
            </a:pPr>
            <a:endParaRPr lang="en-GB" sz="1200">
              <a:latin typeface="Trebuchet MS" panose="020B0603020202020204" pitchFamily="34" charset="0"/>
            </a:endParaRPr>
          </a:p>
        </p:txBody>
      </p:sp>
      <p:sp>
        <p:nvSpPr>
          <p:cNvPr id="16" name="Section">
            <a:extLst>
              <a:ext uri="{FF2B5EF4-FFF2-40B4-BE49-F238E27FC236}">
                <a16:creationId xmlns:a16="http://schemas.microsoft.com/office/drawing/2014/main" id="{D2A8C65D-42ED-44C1-BDB8-ADE75A4ED3CA}"/>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6</a:t>
            </a:r>
          </a:p>
        </p:txBody>
      </p:sp>
      <p:sp>
        <p:nvSpPr>
          <p:cNvPr id="71" name="Chevron">
            <a:extLst>
              <a:ext uri="{FF2B5EF4-FFF2-40B4-BE49-F238E27FC236}">
                <a16:creationId xmlns:a16="http://schemas.microsoft.com/office/drawing/2014/main" id="{2A230948-1EC9-463F-98FF-E0E458B9B00C}"/>
              </a:ext>
            </a:extLst>
          </p:cNvPr>
          <p:cNvSpPr/>
          <p:nvPr/>
        </p:nvSpPr>
        <p:spPr bwMode="auto">
          <a:xfrm>
            <a:off x="1418399" y="3189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3" name="Isosceles Triangle">
            <a:extLst>
              <a:ext uri="{FF2B5EF4-FFF2-40B4-BE49-F238E27FC236}">
                <a16:creationId xmlns:a16="http://schemas.microsoft.com/office/drawing/2014/main" id="{2F6A703F-B3C1-47A0-9B67-EA8C250C6378}"/>
              </a:ext>
            </a:extLst>
          </p:cNvPr>
          <p:cNvSpPr/>
          <p:nvPr/>
        </p:nvSpPr>
        <p:spPr bwMode="auto">
          <a:xfrm rot="5400000">
            <a:off x="5731200" y="3295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5" name="Arrow: Pentagon">
            <a:extLst>
              <a:ext uri="{FF2B5EF4-FFF2-40B4-BE49-F238E27FC236}">
                <a16:creationId xmlns:a16="http://schemas.microsoft.com/office/drawing/2014/main" id="{687182C5-600B-4842-941B-D7AA2EC602E8}"/>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77" name="Oval">
            <a:extLst>
              <a:ext uri="{FF2B5EF4-FFF2-40B4-BE49-F238E27FC236}">
                <a16:creationId xmlns:a16="http://schemas.microsoft.com/office/drawing/2014/main" id="{F8B0EA57-1766-4B3D-B7F4-E5BBD4A165F7}"/>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79" name="Arrow: Pentagon">
            <a:extLst>
              <a:ext uri="{FF2B5EF4-FFF2-40B4-BE49-F238E27FC236}">
                <a16:creationId xmlns:a16="http://schemas.microsoft.com/office/drawing/2014/main" id="{10B8981B-19E4-4385-981D-25A5007598AA}"/>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81" name="Oval">
            <a:extLst>
              <a:ext uri="{FF2B5EF4-FFF2-40B4-BE49-F238E27FC236}">
                <a16:creationId xmlns:a16="http://schemas.microsoft.com/office/drawing/2014/main" id="{C413A741-D678-4385-937F-D33EDF42C6AB}"/>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83" name="Arrow: Pentagon">
            <a:extLst>
              <a:ext uri="{FF2B5EF4-FFF2-40B4-BE49-F238E27FC236}">
                <a16:creationId xmlns:a16="http://schemas.microsoft.com/office/drawing/2014/main" id="{64E73FA2-B329-4D2D-8D0E-15D2319094F9}"/>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85" name="Arrow: Pentagon">
            <a:extLst>
              <a:ext uri="{FF2B5EF4-FFF2-40B4-BE49-F238E27FC236}">
                <a16:creationId xmlns:a16="http://schemas.microsoft.com/office/drawing/2014/main" id="{985BA656-5B44-4E71-9925-25139C2373BD}"/>
              </a:ext>
            </a:extLst>
          </p:cNvPr>
          <p:cNvSpPr/>
          <p:nvPr/>
        </p:nvSpPr>
        <p:spPr bwMode="auto">
          <a:xfrm>
            <a:off x="1641598" y="2685599"/>
            <a:ext cx="3960001"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87" name="Oval">
            <a:extLst>
              <a:ext uri="{FF2B5EF4-FFF2-40B4-BE49-F238E27FC236}">
                <a16:creationId xmlns:a16="http://schemas.microsoft.com/office/drawing/2014/main" id="{6BF7EF7B-31D9-4755-B185-D85D836C29A6}"/>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89" name="Arrow: Pentagon">
            <a:extLst>
              <a:ext uri="{FF2B5EF4-FFF2-40B4-BE49-F238E27FC236}">
                <a16:creationId xmlns:a16="http://schemas.microsoft.com/office/drawing/2014/main" id="{3BFE52A2-BA74-4709-B70F-79A099726685}"/>
              </a:ext>
            </a:extLst>
          </p:cNvPr>
          <p:cNvSpPr/>
          <p:nvPr/>
        </p:nvSpPr>
        <p:spPr bwMode="auto">
          <a:xfrm>
            <a:off x="1641599" y="3189599"/>
            <a:ext cx="4319992"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BP assessment &amp; growth avenues</a:t>
            </a:r>
          </a:p>
        </p:txBody>
      </p:sp>
      <p:sp>
        <p:nvSpPr>
          <p:cNvPr id="91" name="Oval">
            <a:extLst>
              <a:ext uri="{FF2B5EF4-FFF2-40B4-BE49-F238E27FC236}">
                <a16:creationId xmlns:a16="http://schemas.microsoft.com/office/drawing/2014/main" id="{D6302CAE-26B1-4743-814E-57949CE9DA2D}"/>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93" name="Oval">
            <a:extLst>
              <a:ext uri="{FF2B5EF4-FFF2-40B4-BE49-F238E27FC236}">
                <a16:creationId xmlns:a16="http://schemas.microsoft.com/office/drawing/2014/main" id="{D9A46FFF-E3EB-45F0-A36C-0F884A650B6B}"/>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2669007869"/>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EB4F6558-37C4-4AAF-840F-170E104DDF1E}"/>
              </a:ext>
            </a:extLst>
          </p:cNvPr>
          <p:cNvGraphicFramePr>
            <a:graphicFrameLocks noChangeAspect="1"/>
          </p:cNvGraphicFramePr>
          <p:nvPr>
            <p:custDataLst>
              <p:tags r:id="rId1"/>
            </p:custDataLst>
            <p:extLst>
              <p:ext uri="{D42A27DB-BD31-4B8C-83A1-F6EECF244321}">
                <p14:modId xmlns:p14="http://schemas.microsoft.com/office/powerpoint/2010/main" val="3663942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6" imgH="423" progId="TCLayout.ActiveDocument.1">
                  <p:embed/>
                </p:oleObj>
              </mc:Choice>
              <mc:Fallback>
                <p:oleObj name="think-cell Slide" r:id="rId7" imgW="416" imgH="423" progId="TCLayout.ActiveDocument.1">
                  <p:embed/>
                  <p:pic>
                    <p:nvPicPr>
                      <p:cNvPr id="17" name="Object 16" hidden="1">
                        <a:extLst>
                          <a:ext uri="{FF2B5EF4-FFF2-40B4-BE49-F238E27FC236}">
                            <a16:creationId xmlns:a16="http://schemas.microsoft.com/office/drawing/2014/main" id="{EB4F6558-37C4-4AAF-840F-170E104DDF1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606C6640-A7FF-4D6D-9A77-0E17AA66E69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2" name="Rectangle 21">
            <a:extLst>
              <a:ext uri="{FF2B5EF4-FFF2-40B4-BE49-F238E27FC236}">
                <a16:creationId xmlns:a16="http://schemas.microsoft.com/office/drawing/2014/main" id="{B9E99B41-30E9-454D-A29F-FC1B9E7412E9}"/>
              </a:ext>
            </a:extLst>
          </p:cNvPr>
          <p:cNvSpPr/>
          <p:nvPr/>
        </p:nvSpPr>
        <p:spPr bwMode="auto">
          <a:xfrm>
            <a:off x="4615368" y="1280008"/>
            <a:ext cx="1179976" cy="2274473"/>
          </a:xfrm>
          <a:prstGeom prst="rect">
            <a:avLst/>
          </a:prstGeom>
          <a:solidFill>
            <a:srgbClr val="F2F2F2"/>
          </a:solidFill>
          <a:ln w="9525" cap="flat" cmpd="sng" algn="ctr">
            <a:solidFill>
              <a:schemeClr val="bg1"/>
            </a:solidFill>
            <a:prstDash val="solid"/>
            <a:round/>
            <a:headEnd type="none" w="med" len="med"/>
            <a:tailEnd type="none" w="med" len="med"/>
          </a:ln>
          <a:effectLst/>
        </p:spPr>
        <p:txBody>
          <a:bodyPr vert="horz" wrap="square" lIns="0" tIns="45720" rIns="0" bIns="45720" numCol="1" rtlCol="0" anchor="b"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6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800" b="1" i="0" u="none" strike="noStrike" cap="none" normalizeH="0" baseline="0">
              <a:ln>
                <a:noFill/>
              </a:ln>
              <a:solidFill>
                <a:schemeClr val="tx2"/>
              </a:solidFill>
              <a:effectLst/>
              <a:latin typeface="Trebuchet MS" pitchFamily="34" charset="0"/>
            </a:endParaRPr>
          </a:p>
        </p:txBody>
      </p:sp>
      <p:sp>
        <p:nvSpPr>
          <p:cNvPr id="73" name="Rectangle 72">
            <a:extLst>
              <a:ext uri="{FF2B5EF4-FFF2-40B4-BE49-F238E27FC236}">
                <a16:creationId xmlns:a16="http://schemas.microsoft.com/office/drawing/2014/main" id="{27D12038-4159-431B-824F-971D58284BDC}"/>
              </a:ext>
            </a:extLst>
          </p:cNvPr>
          <p:cNvSpPr/>
          <p:nvPr/>
        </p:nvSpPr>
        <p:spPr bwMode="auto">
          <a:xfrm>
            <a:off x="4691875" y="1316095"/>
            <a:ext cx="1026963" cy="1457632"/>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vert="horz" wrap="square" lIns="36000" tIns="0" rIns="36000" bIns="0" numCol="1" rtlCol="0" anchor="t" anchorCtr="0" compatLnSpc="1">
            <a:prstTxWarp prst="textNoShape">
              <a:avLst/>
            </a:prstTxWarp>
          </a:bodyPr>
          <a:lstStyle/>
          <a:p>
            <a:pPr algn="ctr"/>
            <a:r>
              <a:rPr lang="en-GB" sz="600" i="1">
                <a:latin typeface="Trebuchet MS" pitchFamily="34" charset="0"/>
              </a:rPr>
              <a:t>French “billings”</a:t>
            </a:r>
          </a:p>
          <a:p>
            <a:pPr algn="ctr"/>
            <a:r>
              <a:rPr lang="en-GB" sz="600" b="1">
                <a:latin typeface="Trebuchet MS" pitchFamily="34" charset="0"/>
              </a:rPr>
              <a:t>53.0 €m</a:t>
            </a:r>
          </a:p>
        </p:txBody>
      </p:sp>
      <mc:AlternateContent xmlns:mc="http://schemas.openxmlformats.org/markup-compatibility/2006" xmlns:cx1="http://schemas.microsoft.com/office/drawing/2015/9/8/chartex">
        <mc:Choice Requires="cx1">
          <p:graphicFrame>
            <p:nvGraphicFramePr>
              <p:cNvPr id="92" name="Chart 91">
                <a:extLst>
                  <a:ext uri="{FF2B5EF4-FFF2-40B4-BE49-F238E27FC236}">
                    <a16:creationId xmlns:a16="http://schemas.microsoft.com/office/drawing/2014/main" id="{A5E2EAAC-F1DB-4E02-BCD9-15F6F2418CC3}"/>
                  </a:ext>
                </a:extLst>
              </p:cNvPr>
              <p:cNvGraphicFramePr/>
              <p:nvPr>
                <p:extLst>
                  <p:ext uri="{D42A27DB-BD31-4B8C-83A1-F6EECF244321}">
                    <p14:modId xmlns:p14="http://schemas.microsoft.com/office/powerpoint/2010/main" val="2953135795"/>
                  </p:ext>
                </p:extLst>
              </p:nvPr>
            </p:nvGraphicFramePr>
            <p:xfrm>
              <a:off x="5875868" y="1110206"/>
              <a:ext cx="3827828" cy="3189853"/>
            </p:xfrm>
            <a:graphic>
              <a:graphicData uri="http://schemas.microsoft.com/office/drawing/2014/chartex">
                <cx:chart xmlns:cx="http://schemas.microsoft.com/office/drawing/2014/chartex" xmlns:r="http://schemas.openxmlformats.org/officeDocument/2006/relationships" r:id="rId9"/>
              </a:graphicData>
            </a:graphic>
          </p:graphicFrame>
        </mc:Choice>
        <mc:Fallback xmlns="">
          <p:pic>
            <p:nvPicPr>
              <p:cNvPr id="92" name="Chart 91">
                <a:extLst>
                  <a:ext uri="{FF2B5EF4-FFF2-40B4-BE49-F238E27FC236}">
                    <a16:creationId xmlns:a16="http://schemas.microsoft.com/office/drawing/2014/main" id="{A5E2EAAC-F1DB-4E02-BCD9-15F6F2418CC3}"/>
                  </a:ext>
                </a:extLst>
              </p:cNvPr>
              <p:cNvPicPr>
                <a:picLocks noGrp="1" noRot="1" noChangeAspect="1" noMove="1" noResize="1" noEditPoints="1" noAdjustHandles="1" noChangeArrowheads="1" noChangeShapeType="1"/>
              </p:cNvPicPr>
              <p:nvPr/>
            </p:nvPicPr>
            <p:blipFill>
              <a:blip r:embed="rId11"/>
              <a:stretch>
                <a:fillRect/>
              </a:stretch>
            </p:blipFill>
            <p:spPr>
              <a:xfrm>
                <a:off x="5875868" y="1110206"/>
                <a:ext cx="3827828" cy="3189853"/>
              </a:xfrm>
              <a:prstGeom prst="rect">
                <a:avLst/>
              </a:prstGeom>
            </p:spPr>
          </p:pic>
        </mc:Fallback>
      </mc:AlternateContent>
      <p:graphicFrame>
        <p:nvGraphicFramePr>
          <p:cNvPr id="90" name="Chart 89">
            <a:extLst>
              <a:ext uri="{FF2B5EF4-FFF2-40B4-BE49-F238E27FC236}">
                <a16:creationId xmlns:a16="http://schemas.microsoft.com/office/drawing/2014/main" id="{80E50A01-A768-4112-A8AB-7E00B35426AD}"/>
              </a:ext>
            </a:extLst>
          </p:cNvPr>
          <p:cNvGraphicFramePr/>
          <p:nvPr>
            <p:extLst>
              <p:ext uri="{D42A27DB-BD31-4B8C-83A1-F6EECF244321}">
                <p14:modId xmlns:p14="http://schemas.microsoft.com/office/powerpoint/2010/main" val="1176305816"/>
              </p:ext>
            </p:extLst>
          </p:nvPr>
        </p:nvGraphicFramePr>
        <p:xfrm>
          <a:off x="165600" y="1283345"/>
          <a:ext cx="4380829" cy="2500978"/>
        </p:xfrm>
        <a:graphic>
          <a:graphicData uri="http://schemas.openxmlformats.org/drawingml/2006/chart">
            <c:chart xmlns:c="http://schemas.openxmlformats.org/drawingml/2006/chart" xmlns:r="http://schemas.openxmlformats.org/officeDocument/2006/relationships" r:id="rId12"/>
          </a:graphicData>
        </a:graphic>
      </p:graphicFrame>
      <p:sp>
        <p:nvSpPr>
          <p:cNvPr id="4" name="Rectangle 3">
            <a:extLst>
              <a:ext uri="{FF2B5EF4-FFF2-40B4-BE49-F238E27FC236}">
                <a16:creationId xmlns:a16="http://schemas.microsoft.com/office/drawing/2014/main" id="{56A18673-ABA4-4D8E-8AB8-7DA4208DCD47}"/>
              </a:ext>
            </a:extLst>
          </p:cNvPr>
          <p:cNvSpPr/>
          <p:nvPr/>
        </p:nvSpPr>
        <p:spPr bwMode="auto">
          <a:xfrm>
            <a:off x="5809536" y="4338336"/>
            <a:ext cx="3864100" cy="209471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highlight>
                <a:srgbClr val="FFFF00"/>
              </a:highlight>
              <a:latin typeface="Trebuchet MS" pitchFamily="34" charset="0"/>
            </a:endParaRPr>
          </a:p>
        </p:txBody>
      </p:sp>
      <p:sp>
        <p:nvSpPr>
          <p:cNvPr id="13" name="Rectangle 12" hidden="1">
            <a:extLst>
              <a:ext uri="{FF2B5EF4-FFF2-40B4-BE49-F238E27FC236}">
                <a16:creationId xmlns:a16="http://schemas.microsoft.com/office/drawing/2014/main" id="{0EA36691-38F8-4EDA-B0BA-DFA2ABEA506A}"/>
              </a:ext>
            </a:extLst>
          </p:cNvPr>
          <p:cNvSpPr/>
          <p:nvPr>
            <p:custDataLst>
              <p:tags r:id="rId3"/>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32453F35-4569-47F3-AC8E-A57F914E3AA8}"/>
              </a:ext>
            </a:extLst>
          </p:cNvPr>
          <p:cNvSpPr>
            <a:spLocks noGrp="1"/>
          </p:cNvSpPr>
          <p:nvPr>
            <p:ph type="title"/>
          </p:nvPr>
        </p:nvSpPr>
        <p:spPr>
          <a:xfrm>
            <a:off x="165600" y="147600"/>
            <a:ext cx="8438650" cy="684000"/>
          </a:xfrm>
        </p:spPr>
        <p:txBody>
          <a:bodyPr/>
          <a:lstStyle/>
          <a:p>
            <a:r>
              <a:rPr lang="en-GB">
                <a:latin typeface="Trebuchet MS" panose="020B0603020202020204" pitchFamily="34" charset="0"/>
              </a:rPr>
              <a:t>In </a:t>
            </a:r>
            <a:r>
              <a:rPr lang="en-GB">
                <a:solidFill>
                  <a:schemeClr val="tx2"/>
                </a:solidFill>
                <a:latin typeface="Trebuchet MS" panose="020B0603020202020204" pitchFamily="34" charset="0"/>
              </a:rPr>
              <a:t>France</a:t>
            </a:r>
            <a:r>
              <a:rPr lang="en-GB">
                <a:latin typeface="Trebuchet MS" panose="020B0603020202020204" pitchFamily="34" charset="0"/>
              </a:rPr>
              <a:t>, </a:t>
            </a:r>
            <a:r>
              <a:rPr lang="en-GB" err="1">
                <a:latin typeface="Trebuchet MS" panose="020B0603020202020204" pitchFamily="34" charset="0"/>
              </a:rPr>
              <a:t>Altares</a:t>
            </a:r>
            <a:r>
              <a:rPr lang="en-GB">
                <a:latin typeface="Trebuchet MS" panose="020B0603020202020204" pitchFamily="34" charset="0"/>
              </a:rPr>
              <a:t> has built a </a:t>
            </a:r>
            <a:r>
              <a:rPr lang="en-GB">
                <a:solidFill>
                  <a:schemeClr val="tx2"/>
                </a:solidFill>
                <a:latin typeface="Trebuchet MS" panose="020B0603020202020204" pitchFamily="34" charset="0"/>
              </a:rPr>
              <a:t>solid and diversified client base </a:t>
            </a:r>
            <a:r>
              <a:rPr lang="en-GB">
                <a:latin typeface="Trebuchet MS" panose="020B0603020202020204" pitchFamily="34" charset="0"/>
              </a:rPr>
              <a:t>relying on a </a:t>
            </a:r>
            <a:r>
              <a:rPr lang="en-GB">
                <a:solidFill>
                  <a:schemeClr val="tx2"/>
                </a:solidFill>
                <a:latin typeface="Trebuchet MS" panose="020B0603020202020204" pitchFamily="34" charset="0"/>
              </a:rPr>
              <a:t>strong customer stickiness</a:t>
            </a:r>
            <a:r>
              <a:rPr lang="en-GB">
                <a:latin typeface="Trebuchet MS" panose="020B0603020202020204" pitchFamily="34" charset="0"/>
              </a:rPr>
              <a:t>, reflecting a </a:t>
            </a:r>
            <a:r>
              <a:rPr lang="en-GB">
                <a:solidFill>
                  <a:schemeClr val="tx2"/>
                </a:solidFill>
                <a:latin typeface="Trebuchet MS" panose="020B0603020202020204" pitchFamily="34" charset="0"/>
              </a:rPr>
              <a:t>refocusing</a:t>
            </a:r>
            <a:r>
              <a:rPr lang="en-GB">
                <a:latin typeface="Trebuchet MS" panose="020B0603020202020204" pitchFamily="34" charset="0"/>
              </a:rPr>
              <a:t> of sales efforts on </a:t>
            </a:r>
            <a:r>
              <a:rPr lang="en-GB">
                <a:solidFill>
                  <a:schemeClr val="tx2"/>
                </a:solidFill>
                <a:latin typeface="Trebuchet MS" panose="020B0603020202020204" pitchFamily="34" charset="0"/>
              </a:rPr>
              <a:t>high-potential clients</a:t>
            </a:r>
          </a:p>
        </p:txBody>
      </p:sp>
      <p:sp>
        <p:nvSpPr>
          <p:cNvPr id="3" name="Espace réservé du texte 2">
            <a:extLst>
              <a:ext uri="{FF2B5EF4-FFF2-40B4-BE49-F238E27FC236}">
                <a16:creationId xmlns:a16="http://schemas.microsoft.com/office/drawing/2014/main" id="{F333C5C0-2D3F-4ACC-B88E-992BE24032E5}"/>
              </a:ext>
            </a:extLst>
          </p:cNvPr>
          <p:cNvSpPr>
            <a:spLocks noGrp="1"/>
          </p:cNvSpPr>
          <p:nvPr>
            <p:ph type="body" sz="quarter" idx="10"/>
          </p:nvPr>
        </p:nvSpPr>
        <p:spPr/>
        <p:txBody>
          <a:bodyPr/>
          <a:lstStyle/>
          <a:p>
            <a:r>
              <a:rPr lang="en-GB"/>
              <a:t>Sources: eleven research &amp; analysis, company data, interviews with management</a:t>
            </a:r>
          </a:p>
          <a:p>
            <a:r>
              <a:rPr lang="en-GB" b="1" u="sng"/>
              <a:t>1</a:t>
            </a:r>
            <a:r>
              <a:rPr lang="en-GB" b="1"/>
              <a:t>:</a:t>
            </a:r>
            <a:r>
              <a:rPr lang="en-GB"/>
              <a:t> mapping performed on 90% of </a:t>
            </a:r>
            <a:r>
              <a:rPr lang="en-GB" err="1"/>
              <a:t>Altares</a:t>
            </a:r>
            <a:r>
              <a:rPr lang="en-GB"/>
              <a:t>’ French clients </a:t>
            </a:r>
          </a:p>
        </p:txBody>
      </p:sp>
      <p:cxnSp>
        <p:nvCxnSpPr>
          <p:cNvPr id="5" name="Connecteur droit 4">
            <a:extLst>
              <a:ext uri="{FF2B5EF4-FFF2-40B4-BE49-F238E27FC236}">
                <a16:creationId xmlns:a16="http://schemas.microsoft.com/office/drawing/2014/main" id="{D5AEA529-A8B8-42C5-AA73-D90233EEBDC1}"/>
              </a:ext>
            </a:extLst>
          </p:cNvPr>
          <p:cNvCxnSpPr>
            <a:cxnSpLocks/>
          </p:cNvCxnSpPr>
          <p:nvPr/>
        </p:nvCxnSpPr>
        <p:spPr bwMode="auto">
          <a:xfrm>
            <a:off x="201074" y="878116"/>
            <a:ext cx="9304762"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19" name="Rectangle : coins arrondis 199">
            <a:extLst>
              <a:ext uri="{FF2B5EF4-FFF2-40B4-BE49-F238E27FC236}">
                <a16:creationId xmlns:a16="http://schemas.microsoft.com/office/drawing/2014/main" id="{4120F4F5-190D-4FA5-876F-3502F6DE7268}"/>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0" name="Rectangle : coins arrondis 200">
            <a:extLst>
              <a:ext uri="{FF2B5EF4-FFF2-40B4-BE49-F238E27FC236}">
                <a16:creationId xmlns:a16="http://schemas.microsoft.com/office/drawing/2014/main" id="{D72337E2-A2D1-4366-AC81-C58EC0E49EB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1" name="Rectangle : coins arrondis 201">
            <a:extLst>
              <a:ext uri="{FF2B5EF4-FFF2-40B4-BE49-F238E27FC236}">
                <a16:creationId xmlns:a16="http://schemas.microsoft.com/office/drawing/2014/main" id="{FF893FF4-BF2B-4223-9757-FF999419F039}"/>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5" name="ZoneTexte 18">
            <a:extLst>
              <a:ext uri="{FF2B5EF4-FFF2-40B4-BE49-F238E27FC236}">
                <a16:creationId xmlns:a16="http://schemas.microsoft.com/office/drawing/2014/main" id="{C4CA90A0-06E5-4702-B6EF-08E5CF4625CB}"/>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key assets</a:t>
            </a:r>
          </a:p>
        </p:txBody>
      </p:sp>
      <p:pic>
        <p:nvPicPr>
          <p:cNvPr id="26" name="Graphique 128" descr="Jauge">
            <a:extLst>
              <a:ext uri="{FF2B5EF4-FFF2-40B4-BE49-F238E27FC236}">
                <a16:creationId xmlns:a16="http://schemas.microsoft.com/office/drawing/2014/main" id="{4F6DEA17-DBC0-4552-B534-4E0E14484B5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553764" y="187516"/>
            <a:ext cx="234953" cy="218224"/>
          </a:xfrm>
          <a:prstGeom prst="rect">
            <a:avLst/>
          </a:prstGeom>
          <a:effectLst/>
        </p:spPr>
      </p:pic>
      <p:pic>
        <p:nvPicPr>
          <p:cNvPr id="28" name="Graphique 90" descr="Poignée de main">
            <a:extLst>
              <a:ext uri="{FF2B5EF4-FFF2-40B4-BE49-F238E27FC236}">
                <a16:creationId xmlns:a16="http://schemas.microsoft.com/office/drawing/2014/main" id="{0A76F6EC-287A-484C-94C5-4DB89CF0627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960868" y="152880"/>
            <a:ext cx="256313" cy="287496"/>
          </a:xfrm>
          <a:prstGeom prst="rect">
            <a:avLst/>
          </a:prstGeom>
          <a:effectLst/>
        </p:spPr>
      </p:pic>
      <p:pic>
        <p:nvPicPr>
          <p:cNvPr id="29" name="Graphique 74" descr="Mégaphone">
            <a:extLst>
              <a:ext uri="{FF2B5EF4-FFF2-40B4-BE49-F238E27FC236}">
                <a16:creationId xmlns:a16="http://schemas.microsoft.com/office/drawing/2014/main" id="{7F8C1226-70DC-4841-ADCB-D4B3E85586B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389331" y="181519"/>
            <a:ext cx="233011" cy="216420"/>
          </a:xfrm>
          <a:prstGeom prst="rect">
            <a:avLst/>
          </a:prstGeom>
          <a:effectLst/>
        </p:spPr>
      </p:pic>
      <p:pic>
        <p:nvPicPr>
          <p:cNvPr id="30" name="Picture 2" descr="Drapeau France">
            <a:extLst>
              <a:ext uri="{FF2B5EF4-FFF2-40B4-BE49-F238E27FC236}">
                <a16:creationId xmlns:a16="http://schemas.microsoft.com/office/drawing/2014/main" id="{A6724232-9824-4F1B-8FB1-21DA6D7C5CDF}"/>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34" name="ZoneTexte 18">
            <a:extLst>
              <a:ext uri="{FF2B5EF4-FFF2-40B4-BE49-F238E27FC236}">
                <a16:creationId xmlns:a16="http://schemas.microsoft.com/office/drawing/2014/main" id="{2AF19A3E-3AB8-443A-A5EA-036D979FB0A5}"/>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French client base</a:t>
            </a:r>
          </a:p>
        </p:txBody>
      </p:sp>
      <p:sp>
        <p:nvSpPr>
          <p:cNvPr id="15" name="Rectangle 14">
            <a:extLst>
              <a:ext uri="{FF2B5EF4-FFF2-40B4-BE49-F238E27FC236}">
                <a16:creationId xmlns:a16="http://schemas.microsoft.com/office/drawing/2014/main" id="{C6A888CB-1E18-4529-842D-C8380587EF4A}"/>
              </a:ext>
            </a:extLst>
          </p:cNvPr>
          <p:cNvSpPr/>
          <p:nvPr/>
        </p:nvSpPr>
        <p:spPr bwMode="auto">
          <a:xfrm>
            <a:off x="193646" y="4338337"/>
            <a:ext cx="5269758" cy="2097124"/>
          </a:xfrm>
          <a:prstGeom prst="rect">
            <a:avLst/>
          </a:prstGeom>
          <a:solidFill>
            <a:schemeClr val="bg1">
              <a:lumMod val="95000"/>
            </a:schemeClr>
          </a:solidFill>
          <a:ln w="9525" cap="flat" cmpd="sng" algn="ctr">
            <a:solidFill>
              <a:srgbClr val="007AA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0"/>
              </a:spcBef>
              <a:spcAft>
                <a:spcPts val="600"/>
              </a:spcAft>
              <a:buClr>
                <a:schemeClr val="tx1"/>
              </a:buClr>
            </a:pPr>
            <a:r>
              <a:rPr lang="en-GB" sz="1000" b="1">
                <a:latin typeface="Trebuchet MS" panose="020B0603020202020204" pitchFamily="34" charset="0"/>
              </a:rPr>
              <a:t>Key take away</a:t>
            </a:r>
          </a:p>
          <a:p>
            <a:pPr marL="171450" indent="-171450">
              <a:spcBef>
                <a:spcPts val="0"/>
              </a:spcBef>
              <a:spcAft>
                <a:spcPts val="600"/>
              </a:spcAft>
              <a:buClr>
                <a:schemeClr val="tx1"/>
              </a:buClr>
              <a:buFont typeface="Arial" panose="020B0604020202020204" pitchFamily="34" charset="0"/>
              <a:buChar char="•"/>
            </a:pPr>
            <a:r>
              <a:rPr lang="en-GB" sz="1000" err="1">
                <a:latin typeface="Trebuchet MS" panose="020B0603020202020204" pitchFamily="34" charset="0"/>
              </a:rPr>
              <a:t>Altares</a:t>
            </a:r>
            <a:r>
              <a:rPr lang="en-GB" sz="1000">
                <a:latin typeface="Trebuchet MS" panose="020B0603020202020204" pitchFamily="34" charset="0"/>
              </a:rPr>
              <a:t> French customer base relies on </a:t>
            </a:r>
            <a:r>
              <a:rPr lang="en-GB" sz="1000">
                <a:solidFill>
                  <a:schemeClr val="tx2"/>
                </a:solidFill>
                <a:latin typeface="Trebuchet MS" panose="020B0603020202020204" pitchFamily="34" charset="0"/>
              </a:rPr>
              <a:t>diversified economic sectors </a:t>
            </a:r>
            <a:r>
              <a:rPr lang="en-GB" sz="1000">
                <a:latin typeface="Trebuchet MS" panose="020B0603020202020204" pitchFamily="34" charset="0"/>
              </a:rPr>
              <a:t>and contains </a:t>
            </a:r>
            <a:r>
              <a:rPr lang="en-GB" sz="1000">
                <a:solidFill>
                  <a:schemeClr val="tx2"/>
                </a:solidFill>
                <a:latin typeface="Trebuchet MS" panose="020B0603020202020204" pitchFamily="34" charset="0"/>
              </a:rPr>
              <a:t>90% of CAC40 </a:t>
            </a:r>
            <a:r>
              <a:rPr lang="en-GB" sz="1000">
                <a:latin typeface="Trebuchet MS" panose="020B0603020202020204" pitchFamily="34" charset="0"/>
              </a:rPr>
              <a:t>firms, thus ensuring a </a:t>
            </a:r>
            <a:r>
              <a:rPr lang="en-GB" sz="1000">
                <a:solidFill>
                  <a:schemeClr val="tx2"/>
                </a:solidFill>
                <a:latin typeface="Trebuchet MS" panose="020B0603020202020204" pitchFamily="34" charset="0"/>
              </a:rPr>
              <a:t>strong resilience</a:t>
            </a:r>
            <a:endParaRPr lang="en-GB" sz="1000">
              <a:latin typeface="Trebuchet MS" panose="020B0603020202020204" pitchFamily="34" charset="0"/>
            </a:endParaRPr>
          </a:p>
          <a:p>
            <a:pPr marL="171450" indent="-171450">
              <a:spcBef>
                <a:spcPts val="0"/>
              </a:spcBef>
              <a:spcAft>
                <a:spcPts val="600"/>
              </a:spcAft>
              <a:buClr>
                <a:schemeClr val="tx1"/>
              </a:buClr>
              <a:buFont typeface="Arial" panose="020B0604020202020204" pitchFamily="34" charset="0"/>
              <a:buChar char="•"/>
            </a:pPr>
            <a:r>
              <a:rPr lang="en-GB" sz="1000" err="1">
                <a:latin typeface="Trebuchet MS" panose="020B0603020202020204" pitchFamily="34" charset="0"/>
              </a:rPr>
              <a:t>Altares</a:t>
            </a:r>
            <a:r>
              <a:rPr lang="en-GB" sz="1000">
                <a:latin typeface="Trebuchet MS" panose="020B0603020202020204" pitchFamily="34" charset="0"/>
              </a:rPr>
              <a:t> commercial dynamic is based on two main effects: </a:t>
            </a:r>
          </a:p>
          <a:p>
            <a:pPr marL="628650" lvl="1" indent="-171450">
              <a:spcBef>
                <a:spcPts val="0"/>
              </a:spcBef>
              <a:spcAft>
                <a:spcPts val="0"/>
              </a:spcAft>
              <a:buClr>
                <a:schemeClr val="tx1"/>
              </a:buClr>
              <a:buFont typeface="Courier New" panose="02070309020205020404" pitchFamily="49" charset="0"/>
              <a:buChar char="o"/>
            </a:pPr>
            <a:r>
              <a:rPr lang="en-GB" sz="1000">
                <a:latin typeface="Trebuchet MS" panose="020B0603020202020204" pitchFamily="34" charset="0"/>
              </a:rPr>
              <a:t>Significant </a:t>
            </a:r>
            <a:r>
              <a:rPr lang="en-GB" sz="1000">
                <a:solidFill>
                  <a:schemeClr val="tx2"/>
                </a:solidFill>
                <a:latin typeface="Trebuchet MS" panose="020B0603020202020204" pitchFamily="34" charset="0"/>
              </a:rPr>
              <a:t>upsell on historical clients </a:t>
            </a:r>
            <a:r>
              <a:rPr lang="en-GB" sz="1000">
                <a:latin typeface="Trebuchet MS" panose="020B0603020202020204" pitchFamily="34" charset="0"/>
              </a:rPr>
              <a:t>reflecting a powerful </a:t>
            </a:r>
            <a:r>
              <a:rPr lang="en-GB" sz="1000">
                <a:solidFill>
                  <a:schemeClr val="tx2"/>
                </a:solidFill>
                <a:latin typeface="Trebuchet MS" pitchFamily="34" charset="0"/>
              </a:rPr>
              <a:t>“customer farming” approach</a:t>
            </a:r>
          </a:p>
          <a:p>
            <a:pPr marL="628650" lvl="1" indent="-171450">
              <a:spcBef>
                <a:spcPts val="0"/>
              </a:spcBef>
              <a:spcAft>
                <a:spcPts val="0"/>
              </a:spcAft>
              <a:buClr>
                <a:schemeClr val="tx1"/>
              </a:buClr>
              <a:buFont typeface="Courier New" panose="02070309020205020404" pitchFamily="49" charset="0"/>
              <a:buChar char="o"/>
            </a:pPr>
            <a:r>
              <a:rPr lang="en-GB" sz="1000">
                <a:solidFill>
                  <a:schemeClr val="tx2"/>
                </a:solidFill>
                <a:latin typeface="Trebuchet MS" pitchFamily="34" charset="0"/>
              </a:rPr>
              <a:t>New business offsetting churn </a:t>
            </a:r>
            <a:r>
              <a:rPr lang="en-GB" sz="1000">
                <a:latin typeface="Trebuchet MS" panose="020B0603020202020204" pitchFamily="34" charset="0"/>
              </a:rPr>
              <a:t>showing an efficient </a:t>
            </a:r>
            <a:r>
              <a:rPr lang="en-GB" sz="1000">
                <a:solidFill>
                  <a:schemeClr val="tx2"/>
                </a:solidFill>
                <a:latin typeface="Trebuchet MS" panose="020B0603020202020204" pitchFamily="34" charset="0"/>
              </a:rPr>
              <a:t>“customer hunting” approach</a:t>
            </a:r>
          </a:p>
          <a:p>
            <a:pPr marL="171450" indent="-171450">
              <a:spcBef>
                <a:spcPts val="600"/>
              </a:spcBef>
              <a:buClr>
                <a:schemeClr val="tx1"/>
              </a:buClr>
              <a:buFont typeface="Arial" panose="020B0604020202020204" pitchFamily="34" charset="0"/>
              <a:buChar char="•"/>
            </a:pPr>
            <a:r>
              <a:rPr lang="en-GB" sz="1000">
                <a:latin typeface="Trebuchet MS" panose="020B0603020202020204" pitchFamily="34" charset="0"/>
              </a:rPr>
              <a:t>Simultaneously, </a:t>
            </a:r>
            <a:r>
              <a:rPr lang="en-GB" sz="1000" err="1">
                <a:latin typeface="Trebuchet MS" panose="020B0603020202020204" pitchFamily="34" charset="0"/>
              </a:rPr>
              <a:t>Altares</a:t>
            </a:r>
            <a:r>
              <a:rPr lang="en-GB" sz="1000">
                <a:latin typeface="Trebuchet MS" panose="020B0603020202020204" pitchFamily="34" charset="0"/>
              </a:rPr>
              <a:t> has tightened its customer base </a:t>
            </a:r>
            <a:r>
              <a:rPr lang="en-GB" sz="1000">
                <a:solidFill>
                  <a:schemeClr val="tx2"/>
                </a:solidFill>
                <a:latin typeface="Trebuchet MS" panose="020B0603020202020204" pitchFamily="34" charset="0"/>
              </a:rPr>
              <a:t>on high </a:t>
            </a:r>
            <a:r>
              <a:rPr lang="en-GB" sz="1000" kern="0">
                <a:solidFill>
                  <a:schemeClr val="tx2"/>
                </a:solidFill>
                <a:latin typeface="Trebuchet MS" panose="020B0603020202020204" pitchFamily="34" charset="0"/>
              </a:rPr>
              <a:t>value-added</a:t>
            </a:r>
            <a:r>
              <a:rPr lang="en-GB" sz="1000">
                <a:solidFill>
                  <a:schemeClr val="tx2"/>
                </a:solidFill>
                <a:latin typeface="Trebuchet MS" panose="020B0603020202020204" pitchFamily="34" charset="0"/>
              </a:rPr>
              <a:t> large accounts </a:t>
            </a:r>
            <a:r>
              <a:rPr lang="en-GB" sz="1000" kern="0">
                <a:latin typeface="Trebuchet MS" panose="020B0603020202020204" pitchFamily="34" charset="0"/>
              </a:rPr>
              <a:t>at </a:t>
            </a:r>
            <a:r>
              <a:rPr lang="en-GB" sz="1000" kern="0">
                <a:solidFill>
                  <a:schemeClr val="tx2"/>
                </a:solidFill>
                <a:latin typeface="Trebuchet MS" panose="020B0603020202020204" pitchFamily="34" charset="0"/>
              </a:rPr>
              <a:t>the expense of unprofitable small accounts</a:t>
            </a:r>
            <a:r>
              <a:rPr lang="en-GB" sz="1000" kern="0">
                <a:latin typeface="Trebuchet MS" panose="020B0603020202020204" pitchFamily="34" charset="0"/>
              </a:rPr>
              <a:t>: the number of clients has decreased from ~2 600 to ~2 100 whereas the ARPU has increased from 19k€ to 24k€ </a:t>
            </a:r>
          </a:p>
          <a:p>
            <a:pPr marL="171450" indent="-171450">
              <a:spcBef>
                <a:spcPts val="0"/>
              </a:spcBef>
              <a:buClr>
                <a:schemeClr val="tx1"/>
              </a:buClr>
              <a:buFont typeface="Arial" panose="020B0604020202020204" pitchFamily="34" charset="0"/>
              <a:buChar char="•"/>
            </a:pPr>
            <a:endParaRPr lang="en-GB" sz="1000">
              <a:latin typeface="Trebuchet MS" panose="020B0603020202020204" pitchFamily="34" charset="0"/>
            </a:endParaRPr>
          </a:p>
        </p:txBody>
      </p:sp>
      <p:sp>
        <p:nvSpPr>
          <p:cNvPr id="43" name="Rectangle 42">
            <a:extLst>
              <a:ext uri="{FF2B5EF4-FFF2-40B4-BE49-F238E27FC236}">
                <a16:creationId xmlns:a16="http://schemas.microsoft.com/office/drawing/2014/main" id="{48F07BE0-0131-46D6-B7F9-D08E1D65C642}"/>
              </a:ext>
            </a:extLst>
          </p:cNvPr>
          <p:cNvSpPr/>
          <p:nvPr/>
        </p:nvSpPr>
        <p:spPr bwMode="auto">
          <a:xfrm>
            <a:off x="258345" y="3810285"/>
            <a:ext cx="4304501" cy="30687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grpSp>
        <p:nvGrpSpPr>
          <p:cNvPr id="44" name="Group 43">
            <a:extLst>
              <a:ext uri="{FF2B5EF4-FFF2-40B4-BE49-F238E27FC236}">
                <a16:creationId xmlns:a16="http://schemas.microsoft.com/office/drawing/2014/main" id="{FB9ACACC-A730-459C-A2D4-F887CEB1ABA3}"/>
              </a:ext>
            </a:extLst>
          </p:cNvPr>
          <p:cNvGrpSpPr/>
          <p:nvPr/>
        </p:nvGrpSpPr>
        <p:grpSpPr>
          <a:xfrm>
            <a:off x="1440030" y="3923622"/>
            <a:ext cx="579314" cy="123111"/>
            <a:chOff x="4490012" y="2434756"/>
            <a:chExt cx="565540" cy="123111"/>
          </a:xfrm>
        </p:grpSpPr>
        <p:cxnSp>
          <p:nvCxnSpPr>
            <p:cNvPr id="58" name="Straight Connector 57">
              <a:extLst>
                <a:ext uri="{FF2B5EF4-FFF2-40B4-BE49-F238E27FC236}">
                  <a16:creationId xmlns:a16="http://schemas.microsoft.com/office/drawing/2014/main" id="{2D8D09DF-B7DA-4774-AF2C-997B3F33EC47}"/>
                </a:ext>
              </a:extLst>
            </p:cNvPr>
            <p:cNvCxnSpPr>
              <a:cxnSpLocks/>
            </p:cNvCxnSpPr>
            <p:nvPr/>
          </p:nvCxnSpPr>
          <p:spPr bwMode="auto">
            <a:xfrm>
              <a:off x="4490012" y="2496311"/>
              <a:ext cx="202948"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59" name="TextBox 58">
              <a:extLst>
                <a:ext uri="{FF2B5EF4-FFF2-40B4-BE49-F238E27FC236}">
                  <a16:creationId xmlns:a16="http://schemas.microsoft.com/office/drawing/2014/main" id="{05C3C10C-88F6-4D15-8688-1D2FE88AABA9}"/>
                </a:ext>
              </a:extLst>
            </p:cNvPr>
            <p:cNvSpPr txBox="1"/>
            <p:nvPr/>
          </p:nvSpPr>
          <p:spPr>
            <a:xfrm>
              <a:off x="4778368" y="2434756"/>
              <a:ext cx="277184" cy="123111"/>
            </a:xfrm>
            <a:prstGeom prst="rect">
              <a:avLst/>
            </a:prstGeom>
            <a:noFill/>
          </p:spPr>
          <p:txBody>
            <a:bodyPr wrap="square" lIns="0" tIns="0" rIns="0" bIns="0" rtlCol="0">
              <a:spAutoFit/>
            </a:bodyPr>
            <a:lstStyle/>
            <a:p>
              <a:r>
                <a:rPr lang="en-GB" sz="800">
                  <a:latin typeface="+mj-lt"/>
                </a:rPr>
                <a:t>&lt;2017</a:t>
              </a:r>
            </a:p>
          </p:txBody>
        </p:sp>
      </p:grpSp>
      <p:grpSp>
        <p:nvGrpSpPr>
          <p:cNvPr id="45" name="Group 44">
            <a:extLst>
              <a:ext uri="{FF2B5EF4-FFF2-40B4-BE49-F238E27FC236}">
                <a16:creationId xmlns:a16="http://schemas.microsoft.com/office/drawing/2014/main" id="{FD66F46C-BA07-45B0-86C5-0A0A0F5B94C7}"/>
              </a:ext>
            </a:extLst>
          </p:cNvPr>
          <p:cNvGrpSpPr/>
          <p:nvPr/>
        </p:nvGrpSpPr>
        <p:grpSpPr>
          <a:xfrm>
            <a:off x="2083407" y="3923622"/>
            <a:ext cx="579313" cy="123111"/>
            <a:chOff x="4490012" y="2633045"/>
            <a:chExt cx="565539" cy="123111"/>
          </a:xfrm>
        </p:grpSpPr>
        <p:cxnSp>
          <p:nvCxnSpPr>
            <p:cNvPr id="56" name="Straight Connector 55">
              <a:extLst>
                <a:ext uri="{FF2B5EF4-FFF2-40B4-BE49-F238E27FC236}">
                  <a16:creationId xmlns:a16="http://schemas.microsoft.com/office/drawing/2014/main" id="{63DA383E-2691-4EBB-9C88-EE2FF23F5F28}"/>
                </a:ext>
              </a:extLst>
            </p:cNvPr>
            <p:cNvCxnSpPr>
              <a:cxnSpLocks/>
            </p:cNvCxnSpPr>
            <p:nvPr/>
          </p:nvCxnSpPr>
          <p:spPr bwMode="auto">
            <a:xfrm>
              <a:off x="4490012" y="2694600"/>
              <a:ext cx="202948"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57" name="TextBox 56">
              <a:extLst>
                <a:ext uri="{FF2B5EF4-FFF2-40B4-BE49-F238E27FC236}">
                  <a16:creationId xmlns:a16="http://schemas.microsoft.com/office/drawing/2014/main" id="{90DF471E-BD71-49EC-BBD8-A3FD0E848E8F}"/>
                </a:ext>
              </a:extLst>
            </p:cNvPr>
            <p:cNvSpPr txBox="1"/>
            <p:nvPr/>
          </p:nvSpPr>
          <p:spPr>
            <a:xfrm>
              <a:off x="4778368" y="2633045"/>
              <a:ext cx="277183" cy="123111"/>
            </a:xfrm>
            <a:prstGeom prst="rect">
              <a:avLst/>
            </a:prstGeom>
            <a:noFill/>
          </p:spPr>
          <p:txBody>
            <a:bodyPr wrap="square" lIns="0" tIns="0" rIns="0" bIns="0" rtlCol="0">
              <a:spAutoFit/>
            </a:bodyPr>
            <a:lstStyle/>
            <a:p>
              <a:r>
                <a:rPr lang="en-GB" sz="800">
                  <a:latin typeface="+mj-lt"/>
                </a:rPr>
                <a:t>2017</a:t>
              </a:r>
            </a:p>
          </p:txBody>
        </p:sp>
      </p:grpSp>
      <p:grpSp>
        <p:nvGrpSpPr>
          <p:cNvPr id="46" name="Group 45">
            <a:extLst>
              <a:ext uri="{FF2B5EF4-FFF2-40B4-BE49-F238E27FC236}">
                <a16:creationId xmlns:a16="http://schemas.microsoft.com/office/drawing/2014/main" id="{566A7B35-CDF0-4397-BFEF-D958CBFC6368}"/>
              </a:ext>
            </a:extLst>
          </p:cNvPr>
          <p:cNvGrpSpPr/>
          <p:nvPr/>
        </p:nvGrpSpPr>
        <p:grpSpPr>
          <a:xfrm>
            <a:off x="2726783" y="3923622"/>
            <a:ext cx="579313" cy="123111"/>
            <a:chOff x="4490012" y="2842696"/>
            <a:chExt cx="565539" cy="123111"/>
          </a:xfrm>
        </p:grpSpPr>
        <p:cxnSp>
          <p:nvCxnSpPr>
            <p:cNvPr id="54" name="Straight Connector 53">
              <a:extLst>
                <a:ext uri="{FF2B5EF4-FFF2-40B4-BE49-F238E27FC236}">
                  <a16:creationId xmlns:a16="http://schemas.microsoft.com/office/drawing/2014/main" id="{3D0B9227-508D-4659-BE5F-0A078F7A3CC5}"/>
                </a:ext>
              </a:extLst>
            </p:cNvPr>
            <p:cNvCxnSpPr>
              <a:cxnSpLocks/>
            </p:cNvCxnSpPr>
            <p:nvPr/>
          </p:nvCxnSpPr>
          <p:spPr bwMode="auto">
            <a:xfrm>
              <a:off x="4490012" y="2904251"/>
              <a:ext cx="202948" cy="0"/>
            </a:xfrm>
            <a:prstGeom prst="line">
              <a:avLst/>
            </a:prstGeom>
            <a:solidFill>
              <a:schemeClr val="bg1"/>
            </a:solidFill>
            <a:ln w="88900" cap="flat" cmpd="sng" algn="ctr">
              <a:solidFill>
                <a:srgbClr val="8FCD9F"/>
              </a:solidFill>
              <a:prstDash val="solid"/>
              <a:round/>
              <a:headEnd type="none" w="med" len="med"/>
              <a:tailEnd type="none" w="med" len="med"/>
            </a:ln>
            <a:effectLst/>
          </p:spPr>
        </p:cxnSp>
        <p:sp>
          <p:nvSpPr>
            <p:cNvPr id="55" name="TextBox 54">
              <a:extLst>
                <a:ext uri="{FF2B5EF4-FFF2-40B4-BE49-F238E27FC236}">
                  <a16:creationId xmlns:a16="http://schemas.microsoft.com/office/drawing/2014/main" id="{E1183EAE-225F-4800-A179-E5A901C2391B}"/>
                </a:ext>
              </a:extLst>
            </p:cNvPr>
            <p:cNvSpPr txBox="1"/>
            <p:nvPr/>
          </p:nvSpPr>
          <p:spPr>
            <a:xfrm>
              <a:off x="4778368" y="2842696"/>
              <a:ext cx="277183" cy="123111"/>
            </a:xfrm>
            <a:prstGeom prst="rect">
              <a:avLst/>
            </a:prstGeom>
            <a:noFill/>
          </p:spPr>
          <p:txBody>
            <a:bodyPr wrap="square" lIns="0" tIns="0" rIns="0" bIns="0" rtlCol="0">
              <a:spAutoFit/>
            </a:bodyPr>
            <a:lstStyle/>
            <a:p>
              <a:r>
                <a:rPr lang="en-GB" sz="800">
                  <a:latin typeface="+mj-lt"/>
                </a:rPr>
                <a:t>2018</a:t>
              </a:r>
            </a:p>
          </p:txBody>
        </p:sp>
      </p:grpSp>
      <p:grpSp>
        <p:nvGrpSpPr>
          <p:cNvPr id="47" name="Group 46">
            <a:extLst>
              <a:ext uri="{FF2B5EF4-FFF2-40B4-BE49-F238E27FC236}">
                <a16:creationId xmlns:a16="http://schemas.microsoft.com/office/drawing/2014/main" id="{569D3FA4-7DFE-4F64-B45D-F78BD7A7DFCC}"/>
              </a:ext>
            </a:extLst>
          </p:cNvPr>
          <p:cNvGrpSpPr/>
          <p:nvPr/>
        </p:nvGrpSpPr>
        <p:grpSpPr>
          <a:xfrm>
            <a:off x="3370159" y="3923622"/>
            <a:ext cx="579313" cy="123111"/>
            <a:chOff x="4490012" y="3045926"/>
            <a:chExt cx="565539" cy="123111"/>
          </a:xfrm>
        </p:grpSpPr>
        <p:cxnSp>
          <p:nvCxnSpPr>
            <p:cNvPr id="52" name="Straight Connector 51">
              <a:extLst>
                <a:ext uri="{FF2B5EF4-FFF2-40B4-BE49-F238E27FC236}">
                  <a16:creationId xmlns:a16="http://schemas.microsoft.com/office/drawing/2014/main" id="{5ED8A991-D67D-4201-BBC6-13F7852012CE}"/>
                </a:ext>
              </a:extLst>
            </p:cNvPr>
            <p:cNvCxnSpPr>
              <a:cxnSpLocks/>
            </p:cNvCxnSpPr>
            <p:nvPr/>
          </p:nvCxnSpPr>
          <p:spPr bwMode="auto">
            <a:xfrm>
              <a:off x="4490012" y="3107481"/>
              <a:ext cx="202948" cy="0"/>
            </a:xfrm>
            <a:prstGeom prst="line">
              <a:avLst/>
            </a:prstGeom>
            <a:solidFill>
              <a:schemeClr val="bg1"/>
            </a:solidFill>
            <a:ln w="88900" cap="flat" cmpd="sng" algn="ctr">
              <a:solidFill>
                <a:srgbClr val="ADD9FD"/>
              </a:solidFill>
              <a:prstDash val="solid"/>
              <a:round/>
              <a:headEnd type="none" w="med" len="med"/>
              <a:tailEnd type="none" w="med" len="med"/>
            </a:ln>
            <a:effectLst/>
          </p:spPr>
        </p:cxnSp>
        <p:sp>
          <p:nvSpPr>
            <p:cNvPr id="53" name="TextBox 52">
              <a:extLst>
                <a:ext uri="{FF2B5EF4-FFF2-40B4-BE49-F238E27FC236}">
                  <a16:creationId xmlns:a16="http://schemas.microsoft.com/office/drawing/2014/main" id="{C0593DC9-6A7E-4375-AFC7-8C1366D362DC}"/>
                </a:ext>
              </a:extLst>
            </p:cNvPr>
            <p:cNvSpPr txBox="1"/>
            <p:nvPr/>
          </p:nvSpPr>
          <p:spPr>
            <a:xfrm>
              <a:off x="4778368" y="3045926"/>
              <a:ext cx="277183" cy="123111"/>
            </a:xfrm>
            <a:prstGeom prst="rect">
              <a:avLst/>
            </a:prstGeom>
            <a:noFill/>
          </p:spPr>
          <p:txBody>
            <a:bodyPr wrap="square" lIns="0" tIns="0" rIns="0" bIns="0" rtlCol="0">
              <a:spAutoFit/>
            </a:bodyPr>
            <a:lstStyle/>
            <a:p>
              <a:r>
                <a:rPr lang="en-GB" sz="800">
                  <a:latin typeface="+mj-lt"/>
                </a:rPr>
                <a:t>2019</a:t>
              </a:r>
            </a:p>
          </p:txBody>
        </p:sp>
      </p:grpSp>
      <p:grpSp>
        <p:nvGrpSpPr>
          <p:cNvPr id="48" name="Group 47">
            <a:extLst>
              <a:ext uri="{FF2B5EF4-FFF2-40B4-BE49-F238E27FC236}">
                <a16:creationId xmlns:a16="http://schemas.microsoft.com/office/drawing/2014/main" id="{6A2E85C4-B0F3-4CBE-8126-1C774F3A18DC}"/>
              </a:ext>
            </a:extLst>
          </p:cNvPr>
          <p:cNvGrpSpPr/>
          <p:nvPr/>
        </p:nvGrpSpPr>
        <p:grpSpPr>
          <a:xfrm>
            <a:off x="4013534" y="3923622"/>
            <a:ext cx="675609" cy="123111"/>
            <a:chOff x="4490012" y="3450640"/>
            <a:chExt cx="659545" cy="123111"/>
          </a:xfrm>
        </p:grpSpPr>
        <p:cxnSp>
          <p:nvCxnSpPr>
            <p:cNvPr id="50" name="Straight Connector 49">
              <a:extLst>
                <a:ext uri="{FF2B5EF4-FFF2-40B4-BE49-F238E27FC236}">
                  <a16:creationId xmlns:a16="http://schemas.microsoft.com/office/drawing/2014/main" id="{B295A6CD-47C6-44A4-B772-31947488ED74}"/>
                </a:ext>
              </a:extLst>
            </p:cNvPr>
            <p:cNvCxnSpPr>
              <a:cxnSpLocks/>
            </p:cNvCxnSpPr>
            <p:nvPr/>
          </p:nvCxnSpPr>
          <p:spPr bwMode="auto">
            <a:xfrm>
              <a:off x="4490012" y="3519851"/>
              <a:ext cx="202948" cy="0"/>
            </a:xfrm>
            <a:prstGeom prst="line">
              <a:avLst/>
            </a:prstGeom>
            <a:solidFill>
              <a:schemeClr val="bg1"/>
            </a:solidFill>
            <a:ln w="19050" cap="flat" cmpd="sng" algn="ctr">
              <a:solidFill>
                <a:schemeClr val="accent1">
                  <a:lumMod val="75000"/>
                </a:schemeClr>
              </a:solidFill>
              <a:prstDash val="solid"/>
              <a:round/>
              <a:headEnd type="none" w="med" len="med"/>
              <a:tailEnd type="none" w="med" len="med"/>
            </a:ln>
            <a:effectLst/>
          </p:spPr>
        </p:cxnSp>
        <p:sp>
          <p:nvSpPr>
            <p:cNvPr id="51" name="TextBox 50">
              <a:extLst>
                <a:ext uri="{FF2B5EF4-FFF2-40B4-BE49-F238E27FC236}">
                  <a16:creationId xmlns:a16="http://schemas.microsoft.com/office/drawing/2014/main" id="{BF70027C-1984-40CB-8929-AF1E2321F654}"/>
                </a:ext>
              </a:extLst>
            </p:cNvPr>
            <p:cNvSpPr txBox="1"/>
            <p:nvPr/>
          </p:nvSpPr>
          <p:spPr>
            <a:xfrm>
              <a:off x="4778368" y="3450640"/>
              <a:ext cx="371189" cy="123111"/>
            </a:xfrm>
            <a:prstGeom prst="rect">
              <a:avLst/>
            </a:prstGeom>
            <a:noFill/>
          </p:spPr>
          <p:txBody>
            <a:bodyPr wrap="square" lIns="0" tIns="0" rIns="0" bIns="0" rtlCol="0">
              <a:spAutoFit/>
            </a:bodyPr>
            <a:lstStyle/>
            <a:p>
              <a:r>
                <a:rPr lang="en-GB" sz="800">
                  <a:latin typeface="+mj-lt"/>
                </a:rPr>
                <a:t>Total</a:t>
              </a:r>
            </a:p>
          </p:txBody>
        </p:sp>
      </p:grpSp>
      <p:sp>
        <p:nvSpPr>
          <p:cNvPr id="49" name="Rectangle 48">
            <a:extLst>
              <a:ext uri="{FF2B5EF4-FFF2-40B4-BE49-F238E27FC236}">
                <a16:creationId xmlns:a16="http://schemas.microsoft.com/office/drawing/2014/main" id="{B843729F-24AD-4AB8-8C2F-29D9F7B89A31}"/>
              </a:ext>
            </a:extLst>
          </p:cNvPr>
          <p:cNvSpPr/>
          <p:nvPr/>
        </p:nvSpPr>
        <p:spPr>
          <a:xfrm>
            <a:off x="320853" y="3779058"/>
            <a:ext cx="1101916" cy="369332"/>
          </a:xfrm>
          <a:prstGeom prst="rect">
            <a:avLst/>
          </a:prstGeom>
        </p:spPr>
        <p:txBody>
          <a:bodyPr wrap="square" lIns="0" rIns="0">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900" b="1">
                <a:solidFill>
                  <a:srgbClr val="6C6C6C"/>
                </a:solidFill>
                <a:latin typeface="Trebuchet MS" panose="020B0603020202020204" pitchFamily="34" charset="0"/>
              </a:rPr>
              <a:t>Customers</a:t>
            </a:r>
            <a:r>
              <a:rPr kumimoji="0" lang="en-GB" sz="900" b="1"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recruitment years: </a:t>
            </a:r>
          </a:p>
        </p:txBody>
      </p:sp>
      <p:sp>
        <p:nvSpPr>
          <p:cNvPr id="79" name="Rectangle 78">
            <a:extLst>
              <a:ext uri="{FF2B5EF4-FFF2-40B4-BE49-F238E27FC236}">
                <a16:creationId xmlns:a16="http://schemas.microsoft.com/office/drawing/2014/main" id="{2E6E3095-6ED4-425A-AF2A-08EBD6553314}"/>
              </a:ext>
            </a:extLst>
          </p:cNvPr>
          <p:cNvSpPr/>
          <p:nvPr/>
        </p:nvSpPr>
        <p:spPr bwMode="auto">
          <a:xfrm>
            <a:off x="201075" y="1052363"/>
            <a:ext cx="4512470" cy="280800"/>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900" b="1" i="1">
                <a:latin typeface="Trebuchet MS" panose="020B0603020202020204" pitchFamily="34" charset="0"/>
              </a:rPr>
              <a:t>Evolution of </a:t>
            </a:r>
            <a:r>
              <a:rPr lang="en-GB" sz="900" b="1" i="1" err="1">
                <a:latin typeface="Trebuchet MS" panose="020B0603020202020204" pitchFamily="34" charset="0"/>
              </a:rPr>
              <a:t>Altares</a:t>
            </a:r>
            <a:r>
              <a:rPr lang="en-GB" sz="900" b="1" i="1">
                <a:latin typeface="Trebuchet MS" panose="020B0603020202020204" pitchFamily="34" charset="0"/>
              </a:rPr>
              <a:t>’ billings (excluding DB&amp;I and one-shot solutions) in France broken down by customers’ recruitment year, in m€</a:t>
            </a:r>
            <a:endParaRPr kumimoji="0" lang="en-GB" sz="900" b="1" i="1" u="none" strike="noStrike" kern="1200" cap="none" spc="0" normalizeH="0" baseline="0" noProof="0">
              <a:ln>
                <a:noFill/>
              </a:ln>
              <a:effectLst/>
              <a:uLnTx/>
              <a:uFillTx/>
              <a:latin typeface="Trebuchet MS" panose="020B0603020202020204" pitchFamily="34" charset="0"/>
            </a:endParaRPr>
          </a:p>
        </p:txBody>
      </p:sp>
      <p:pic>
        <p:nvPicPr>
          <p:cNvPr id="27" name="Graphic 26" descr="Lights On">
            <a:extLst>
              <a:ext uri="{FF2B5EF4-FFF2-40B4-BE49-F238E27FC236}">
                <a16:creationId xmlns:a16="http://schemas.microsoft.com/office/drawing/2014/main" id="{32F4106D-AEEB-4DE5-8CA9-D0A14A1D4DFD}"/>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160760" y="4359433"/>
            <a:ext cx="169459" cy="169459"/>
          </a:xfrm>
          <a:prstGeom prst="rect">
            <a:avLst/>
          </a:prstGeom>
        </p:spPr>
      </p:pic>
      <p:sp>
        <p:nvSpPr>
          <p:cNvPr id="98" name="Triangle isocèle 97">
            <a:extLst>
              <a:ext uri="{FF2B5EF4-FFF2-40B4-BE49-F238E27FC236}">
                <a16:creationId xmlns:a16="http://schemas.microsoft.com/office/drawing/2014/main" id="{7B0454E6-6E5F-4475-9961-FDCBF9A39515}"/>
              </a:ext>
            </a:extLst>
          </p:cNvPr>
          <p:cNvSpPr/>
          <p:nvPr/>
        </p:nvSpPr>
        <p:spPr bwMode="auto">
          <a:xfrm rot="5400000">
            <a:off x="4902597" y="5327283"/>
            <a:ext cx="1302805" cy="107130"/>
          </a:xfrm>
          <a:prstGeom prst="triangle">
            <a:avLst/>
          </a:prstGeom>
          <a:solidFill>
            <a:srgbClr val="007AA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107" name="Straight Connector 190">
            <a:extLst>
              <a:ext uri="{FF2B5EF4-FFF2-40B4-BE49-F238E27FC236}">
                <a16:creationId xmlns:a16="http://schemas.microsoft.com/office/drawing/2014/main" id="{0D10C5DE-8909-4DCC-9AB5-CFAEA8B46EF9}"/>
              </a:ext>
            </a:extLst>
          </p:cNvPr>
          <p:cNvCxnSpPr>
            <a:cxnSpLocks/>
          </p:cNvCxnSpPr>
          <p:nvPr>
            <p:custDataLst>
              <p:tags r:id="rId4"/>
            </p:custDataLst>
          </p:nvPr>
        </p:nvCxnSpPr>
        <p:spPr bwMode="auto">
          <a:xfrm flipV="1">
            <a:off x="1435080" y="1425891"/>
            <a:ext cx="2374920" cy="126664"/>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08" name="Rectangle 107">
            <a:extLst>
              <a:ext uri="{FF2B5EF4-FFF2-40B4-BE49-F238E27FC236}">
                <a16:creationId xmlns:a16="http://schemas.microsoft.com/office/drawing/2014/main" id="{52B1E940-DAAD-4E9A-B70B-326F1BE1AF1A}"/>
              </a:ext>
            </a:extLst>
          </p:cNvPr>
          <p:cNvSpPr/>
          <p:nvPr/>
        </p:nvSpPr>
        <p:spPr bwMode="auto">
          <a:xfrm rot="21387955">
            <a:off x="1974276" y="1339315"/>
            <a:ext cx="100652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16-19</a:t>
            </a:r>
            <a:r>
              <a:rPr lang="en-GB" sz="900">
                <a:latin typeface="Trebuchet MS" panose="020B0603020202020204" pitchFamily="34" charset="0"/>
              </a:rPr>
              <a:t>: +2.54% </a:t>
            </a:r>
            <a:endParaRPr kumimoji="0" lang="en-GB" sz="900" b="0" i="0" u="none" strike="noStrike" cap="none" normalizeH="0" baseline="0">
              <a:ln>
                <a:noFill/>
              </a:ln>
              <a:effectLst/>
              <a:latin typeface="Trebuchet MS" panose="020B0603020202020204" pitchFamily="34" charset="0"/>
            </a:endParaRPr>
          </a:p>
        </p:txBody>
      </p:sp>
      <p:graphicFrame>
        <p:nvGraphicFramePr>
          <p:cNvPr id="60" name="Chart 59">
            <a:extLst>
              <a:ext uri="{FF2B5EF4-FFF2-40B4-BE49-F238E27FC236}">
                <a16:creationId xmlns:a16="http://schemas.microsoft.com/office/drawing/2014/main" id="{12A28C36-BA84-4CF8-893D-17B8E2D7D1C5}"/>
              </a:ext>
            </a:extLst>
          </p:cNvPr>
          <p:cNvGraphicFramePr/>
          <p:nvPr/>
        </p:nvGraphicFramePr>
        <p:xfrm>
          <a:off x="5024269" y="4402737"/>
          <a:ext cx="4527896" cy="2933114"/>
        </p:xfrm>
        <a:graphic>
          <a:graphicData uri="http://schemas.openxmlformats.org/drawingml/2006/chart">
            <c:chart xmlns:c="http://schemas.openxmlformats.org/drawingml/2006/chart" xmlns:r="http://schemas.openxmlformats.org/officeDocument/2006/relationships" r:id="rId22"/>
          </a:graphicData>
        </a:graphic>
      </p:graphicFrame>
      <p:sp>
        <p:nvSpPr>
          <p:cNvPr id="61" name="Rectangle 60">
            <a:extLst>
              <a:ext uri="{FF2B5EF4-FFF2-40B4-BE49-F238E27FC236}">
                <a16:creationId xmlns:a16="http://schemas.microsoft.com/office/drawing/2014/main" id="{73F804CB-2413-45A0-AC42-A6E95CC1DCD5}"/>
              </a:ext>
            </a:extLst>
          </p:cNvPr>
          <p:cNvSpPr/>
          <p:nvPr/>
        </p:nvSpPr>
        <p:spPr bwMode="auto">
          <a:xfrm>
            <a:off x="5831789" y="4352327"/>
            <a:ext cx="3091436" cy="18726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900" b="1" i="1" u="none" strike="noStrike" kern="1200" cap="none" spc="0" normalizeH="0" baseline="0" noProof="0">
                <a:ln>
                  <a:noFill/>
                </a:ln>
                <a:effectLst/>
                <a:uLnTx/>
                <a:uFillTx/>
                <a:latin typeface="Trebuchet MS" panose="020B0603020202020204" pitchFamily="34" charset="0"/>
              </a:rPr>
              <a:t>Sectorial repartition of 2019 </a:t>
            </a:r>
            <a:r>
              <a:rPr kumimoji="0" lang="en-GB" sz="900" b="1" i="1" u="none" strike="noStrike" kern="1200" cap="none" spc="0" normalizeH="0" baseline="0" noProof="0" err="1">
                <a:ln>
                  <a:noFill/>
                </a:ln>
                <a:effectLst/>
                <a:uLnTx/>
                <a:uFillTx/>
                <a:latin typeface="Trebuchet MS" panose="020B0603020202020204" pitchFamily="34" charset="0"/>
              </a:rPr>
              <a:t>Altares</a:t>
            </a:r>
            <a:r>
              <a:rPr lang="en-GB" sz="900" b="1" i="1">
                <a:latin typeface="Trebuchet MS" panose="020B0603020202020204" pitchFamily="34" charset="0"/>
              </a:rPr>
              <a:t>’ billings</a:t>
            </a:r>
            <a:r>
              <a:rPr lang="en-GB" sz="900" b="1" i="1" baseline="30000">
                <a:latin typeface="Trebuchet MS" panose="020B0603020202020204" pitchFamily="34" charset="0"/>
              </a:rPr>
              <a:t>1</a:t>
            </a:r>
            <a:r>
              <a:rPr lang="en-GB" sz="900" b="1" i="1">
                <a:latin typeface="Trebuchet MS" panose="020B0603020202020204" pitchFamily="34" charset="0"/>
              </a:rPr>
              <a:t>:</a:t>
            </a:r>
            <a:endParaRPr kumimoji="0" lang="en-GB" sz="900" b="1" i="1" u="none" strike="noStrike" kern="1200" cap="none" spc="0" normalizeH="0" baseline="0" noProof="0">
              <a:ln>
                <a:noFill/>
              </a:ln>
              <a:effectLst/>
              <a:uLnTx/>
              <a:uFillTx/>
              <a:latin typeface="Trebuchet MS" panose="020B0603020202020204" pitchFamily="34" charset="0"/>
            </a:endParaRPr>
          </a:p>
        </p:txBody>
      </p:sp>
      <p:sp>
        <p:nvSpPr>
          <p:cNvPr id="62" name="Rectangle 84">
            <a:extLst>
              <a:ext uri="{FF2B5EF4-FFF2-40B4-BE49-F238E27FC236}">
                <a16:creationId xmlns:a16="http://schemas.microsoft.com/office/drawing/2014/main" id="{3BBCE49C-B734-48AA-AF2C-B092FC5A4606}"/>
              </a:ext>
            </a:extLst>
          </p:cNvPr>
          <p:cNvSpPr/>
          <p:nvPr/>
        </p:nvSpPr>
        <p:spPr bwMode="auto">
          <a:xfrm>
            <a:off x="2927670" y="753451"/>
            <a:ext cx="3851570" cy="24933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a:solidFill>
                  <a:schemeClr val="accent1">
                    <a:lumMod val="75000"/>
                  </a:schemeClr>
                </a:solidFill>
                <a:latin typeface="Trebuchet MS" panose="020B0603020202020204" pitchFamily="34" charset="0"/>
              </a:rPr>
              <a:t>French customer base analyses (excluding </a:t>
            </a:r>
            <a:r>
              <a:rPr lang="en-GB" sz="1100" err="1">
                <a:solidFill>
                  <a:schemeClr val="accent1">
                    <a:lumMod val="75000"/>
                  </a:schemeClr>
                </a:solidFill>
                <a:latin typeface="Trebuchet MS" panose="020B0603020202020204" pitchFamily="34" charset="0"/>
              </a:rPr>
              <a:t>Manageo</a:t>
            </a:r>
            <a:r>
              <a:rPr lang="en-GB" sz="1100">
                <a:solidFill>
                  <a:schemeClr val="accent1">
                    <a:lumMod val="75000"/>
                  </a:schemeClr>
                </a:solidFill>
                <a:latin typeface="Trebuchet MS" panose="020B0603020202020204" pitchFamily="34" charset="0"/>
              </a:rPr>
              <a:t>) </a:t>
            </a:r>
          </a:p>
        </p:txBody>
      </p:sp>
      <p:sp>
        <p:nvSpPr>
          <p:cNvPr id="67" name="Rectangle 66">
            <a:extLst>
              <a:ext uri="{FF2B5EF4-FFF2-40B4-BE49-F238E27FC236}">
                <a16:creationId xmlns:a16="http://schemas.microsoft.com/office/drawing/2014/main" id="{EE06F1EB-588C-414D-804F-6338DC331E1A}"/>
              </a:ext>
            </a:extLst>
          </p:cNvPr>
          <p:cNvSpPr/>
          <p:nvPr/>
        </p:nvSpPr>
        <p:spPr bwMode="auto">
          <a:xfrm>
            <a:off x="5944806" y="1052363"/>
            <a:ext cx="3561029" cy="280800"/>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900" b="1" i="1">
                <a:latin typeface="Trebuchet MS" panose="020B0603020202020204" pitchFamily="34" charset="0"/>
              </a:rPr>
              <a:t>Waterfall of </a:t>
            </a:r>
            <a:r>
              <a:rPr lang="en-GB" sz="900" b="1" i="1" err="1">
                <a:latin typeface="Trebuchet MS" panose="020B0603020202020204" pitchFamily="34" charset="0"/>
              </a:rPr>
              <a:t>Altares</a:t>
            </a:r>
            <a:r>
              <a:rPr lang="en-GB" sz="900" b="1" i="1">
                <a:latin typeface="Trebuchet MS" panose="020B0603020202020204" pitchFamily="34" charset="0"/>
              </a:rPr>
              <a:t>’ billings (excluding DB&amp;I and one-shot solutions) in France between 2017 and 2019 in m€</a:t>
            </a:r>
            <a:endParaRPr kumimoji="0" lang="en-GB" sz="900" b="1" i="1" u="none" strike="noStrike" kern="1200" cap="none" spc="0" normalizeH="0" baseline="0" noProof="0">
              <a:ln>
                <a:noFill/>
              </a:ln>
              <a:effectLst/>
              <a:uLnTx/>
              <a:uFillTx/>
              <a:latin typeface="Trebuchet MS" panose="020B0603020202020204" pitchFamily="34" charset="0"/>
            </a:endParaRPr>
          </a:p>
        </p:txBody>
      </p:sp>
      <p:sp>
        <p:nvSpPr>
          <p:cNvPr id="103" name="Speech Bubble: Rectangle 102">
            <a:extLst>
              <a:ext uri="{FF2B5EF4-FFF2-40B4-BE49-F238E27FC236}">
                <a16:creationId xmlns:a16="http://schemas.microsoft.com/office/drawing/2014/main" id="{E7CC2369-D145-4906-B0C6-9E32818B2F35}"/>
              </a:ext>
            </a:extLst>
          </p:cNvPr>
          <p:cNvSpPr/>
          <p:nvPr/>
        </p:nvSpPr>
        <p:spPr bwMode="auto">
          <a:xfrm>
            <a:off x="5795343" y="2236575"/>
            <a:ext cx="809543" cy="257158"/>
          </a:xfrm>
          <a:prstGeom prst="wedgeRectCallout">
            <a:avLst>
              <a:gd name="adj1" fmla="val -1910"/>
              <a:gd name="adj2" fmla="val 98114"/>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6000" tIns="45720" rIns="0" bIns="45720" numCol="1" rtlCol="0" anchor="ctr" anchorCtr="0" compatLnSpc="1">
            <a:prstTxWarp prst="textNoShape">
              <a:avLst/>
            </a:prstTxWarp>
          </a:bodyPr>
          <a:lstStyle/>
          <a:p>
            <a:pPr algn="ctr"/>
            <a:r>
              <a:rPr lang="en-GB" sz="900">
                <a:latin typeface="Trebuchet MS" panose="020B0603020202020204" pitchFamily="34" charset="0"/>
              </a:rPr>
              <a:t>ARPU: 18 915€ </a:t>
            </a:r>
          </a:p>
        </p:txBody>
      </p:sp>
      <p:sp>
        <p:nvSpPr>
          <p:cNvPr id="104" name="Speech Bubble: Rectangle 103">
            <a:extLst>
              <a:ext uri="{FF2B5EF4-FFF2-40B4-BE49-F238E27FC236}">
                <a16:creationId xmlns:a16="http://schemas.microsoft.com/office/drawing/2014/main" id="{9960EBBB-F185-4FBF-A9DD-CDED1CEE8D04}"/>
              </a:ext>
            </a:extLst>
          </p:cNvPr>
          <p:cNvSpPr/>
          <p:nvPr/>
        </p:nvSpPr>
        <p:spPr bwMode="auto">
          <a:xfrm>
            <a:off x="6795341" y="2236575"/>
            <a:ext cx="809543" cy="257158"/>
          </a:xfrm>
          <a:prstGeom prst="wedgeRectCallout">
            <a:avLst>
              <a:gd name="adj1" fmla="val 3150"/>
              <a:gd name="adj2" fmla="val 86957"/>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6000" tIns="45720" rIns="0" bIns="45720" numCol="1" rtlCol="0" anchor="ctr" anchorCtr="0" compatLnSpc="1">
            <a:prstTxWarp prst="textNoShape">
              <a:avLst/>
            </a:prstTxWarp>
          </a:bodyPr>
          <a:lstStyle/>
          <a:p>
            <a:pPr algn="ctr"/>
            <a:r>
              <a:rPr lang="en-GB" sz="900">
                <a:latin typeface="Trebuchet MS" panose="020B0603020202020204" pitchFamily="34" charset="0"/>
              </a:rPr>
              <a:t>ARPU: 20 779€ </a:t>
            </a:r>
          </a:p>
        </p:txBody>
      </p:sp>
      <p:sp>
        <p:nvSpPr>
          <p:cNvPr id="105" name="Speech Bubble: Rectangle 104">
            <a:extLst>
              <a:ext uri="{FF2B5EF4-FFF2-40B4-BE49-F238E27FC236}">
                <a16:creationId xmlns:a16="http://schemas.microsoft.com/office/drawing/2014/main" id="{35202EA5-0390-4841-9605-EC6579E9EC26}"/>
              </a:ext>
            </a:extLst>
          </p:cNvPr>
          <p:cNvSpPr/>
          <p:nvPr/>
        </p:nvSpPr>
        <p:spPr bwMode="auto">
          <a:xfrm>
            <a:off x="7862659" y="2236575"/>
            <a:ext cx="809543" cy="257158"/>
          </a:xfrm>
          <a:prstGeom prst="wedgeRectCallout">
            <a:avLst>
              <a:gd name="adj1" fmla="val 5054"/>
              <a:gd name="adj2" fmla="val 81866"/>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6000" tIns="45720" rIns="0" bIns="45720" numCol="1" rtlCol="0" anchor="ctr" anchorCtr="0" compatLnSpc="1">
            <a:prstTxWarp prst="textNoShape">
              <a:avLst/>
            </a:prstTxWarp>
          </a:bodyPr>
          <a:lstStyle/>
          <a:p>
            <a:pPr algn="ctr"/>
            <a:r>
              <a:rPr lang="en-GB" sz="900">
                <a:latin typeface="Trebuchet MS" panose="020B0603020202020204" pitchFamily="34" charset="0"/>
              </a:rPr>
              <a:t>ARPU: 22 647€ </a:t>
            </a:r>
          </a:p>
        </p:txBody>
      </p:sp>
      <p:sp>
        <p:nvSpPr>
          <p:cNvPr id="106" name="Speech Bubble: Rectangle 105">
            <a:extLst>
              <a:ext uri="{FF2B5EF4-FFF2-40B4-BE49-F238E27FC236}">
                <a16:creationId xmlns:a16="http://schemas.microsoft.com/office/drawing/2014/main" id="{B34EE8BA-FD88-42D4-B084-A96D490A2DE9}"/>
              </a:ext>
            </a:extLst>
          </p:cNvPr>
          <p:cNvSpPr/>
          <p:nvPr/>
        </p:nvSpPr>
        <p:spPr bwMode="auto">
          <a:xfrm>
            <a:off x="8862656" y="2236575"/>
            <a:ext cx="809543" cy="257158"/>
          </a:xfrm>
          <a:prstGeom prst="wedgeRectCallout">
            <a:avLst>
              <a:gd name="adj1" fmla="val 18025"/>
              <a:gd name="adj2" fmla="val 91842"/>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6000" tIns="45720" rIns="0" bIns="45720" numCol="1" rtlCol="0" anchor="ctr" anchorCtr="0" compatLnSpc="1">
            <a:prstTxWarp prst="textNoShape">
              <a:avLst/>
            </a:prstTxWarp>
          </a:bodyPr>
          <a:lstStyle/>
          <a:p>
            <a:pPr algn="ctr"/>
            <a:r>
              <a:rPr lang="en-GB" sz="900">
                <a:latin typeface="Trebuchet MS" panose="020B0603020202020204" pitchFamily="34" charset="0"/>
              </a:rPr>
              <a:t>ARPU: 24 313€ </a:t>
            </a:r>
          </a:p>
        </p:txBody>
      </p:sp>
      <p:sp>
        <p:nvSpPr>
          <p:cNvPr id="7" name="Bulle narrative : rectangle 6">
            <a:extLst>
              <a:ext uri="{FF2B5EF4-FFF2-40B4-BE49-F238E27FC236}">
                <a16:creationId xmlns:a16="http://schemas.microsoft.com/office/drawing/2014/main" id="{975274F2-756A-4D52-A87D-7979645FF2DF}"/>
              </a:ext>
            </a:extLst>
          </p:cNvPr>
          <p:cNvSpPr/>
          <p:nvPr/>
        </p:nvSpPr>
        <p:spPr bwMode="auto">
          <a:xfrm>
            <a:off x="5612700" y="6205121"/>
            <a:ext cx="1175136" cy="584650"/>
          </a:xfrm>
          <a:prstGeom prst="wedgeRectCallout">
            <a:avLst>
              <a:gd name="adj1" fmla="val -71869"/>
              <a:gd name="adj2" fmla="val -4489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800" b="0" i="1" u="none" strike="noStrike" cap="none" normalizeH="0" baseline="0">
              <a:ln>
                <a:noFill/>
              </a:ln>
              <a:solidFill>
                <a:schemeClr val="accent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accent1"/>
                </a:solidFill>
                <a:effectLst/>
                <a:latin typeface="Trebuchet MS" pitchFamily="34" charset="0"/>
              </a:rPr>
              <a:t>See scope of customers cohorts’ analysis pages 86-87</a:t>
            </a:r>
          </a:p>
        </p:txBody>
      </p:sp>
      <p:sp>
        <p:nvSpPr>
          <p:cNvPr id="14" name="Freeform 5">
            <a:extLst>
              <a:ext uri="{FF2B5EF4-FFF2-40B4-BE49-F238E27FC236}">
                <a16:creationId xmlns:a16="http://schemas.microsoft.com/office/drawing/2014/main" id="{0F0196F5-98A8-4179-87C3-1F36BC555C8C}"/>
              </a:ext>
            </a:extLst>
          </p:cNvPr>
          <p:cNvSpPr>
            <a:spLocks noEditPoints="1"/>
          </p:cNvSpPr>
          <p:nvPr/>
        </p:nvSpPr>
        <p:spPr bwMode="auto">
          <a:xfrm>
            <a:off x="6105069" y="6207527"/>
            <a:ext cx="187853" cy="173251"/>
          </a:xfrm>
          <a:custGeom>
            <a:avLst/>
            <a:gdLst>
              <a:gd name="T0" fmla="*/ 56 w 60"/>
              <a:gd name="T1" fmla="*/ 28 h 60"/>
              <a:gd name="T2" fmla="*/ 32 w 60"/>
              <a:gd name="T3" fmla="*/ 4 h 60"/>
              <a:gd name="T4" fmla="*/ 32 w 60"/>
              <a:gd name="T5" fmla="*/ 0 h 60"/>
              <a:gd name="T6" fmla="*/ 28 w 60"/>
              <a:gd name="T7" fmla="*/ 0 h 60"/>
              <a:gd name="T8" fmla="*/ 28 w 60"/>
              <a:gd name="T9" fmla="*/ 4 h 60"/>
              <a:gd name="T10" fmla="*/ 5 w 60"/>
              <a:gd name="T11" fmla="*/ 28 h 60"/>
              <a:gd name="T12" fmla="*/ 0 w 60"/>
              <a:gd name="T13" fmla="*/ 28 h 60"/>
              <a:gd name="T14" fmla="*/ 0 w 60"/>
              <a:gd name="T15" fmla="*/ 32 h 60"/>
              <a:gd name="T16" fmla="*/ 5 w 60"/>
              <a:gd name="T17" fmla="*/ 32 h 60"/>
              <a:gd name="T18" fmla="*/ 28 w 60"/>
              <a:gd name="T19" fmla="*/ 56 h 60"/>
              <a:gd name="T20" fmla="*/ 28 w 60"/>
              <a:gd name="T21" fmla="*/ 60 h 60"/>
              <a:gd name="T22" fmla="*/ 32 w 60"/>
              <a:gd name="T23" fmla="*/ 60 h 60"/>
              <a:gd name="T24" fmla="*/ 32 w 60"/>
              <a:gd name="T25" fmla="*/ 56 h 60"/>
              <a:gd name="T26" fmla="*/ 56 w 60"/>
              <a:gd name="T27" fmla="*/ 32 h 60"/>
              <a:gd name="T28" fmla="*/ 60 w 60"/>
              <a:gd name="T29" fmla="*/ 32 h 60"/>
              <a:gd name="T30" fmla="*/ 60 w 60"/>
              <a:gd name="T31" fmla="*/ 28 h 60"/>
              <a:gd name="T32" fmla="*/ 56 w 60"/>
              <a:gd name="T33" fmla="*/ 28 h 60"/>
              <a:gd name="T34" fmla="*/ 52 w 60"/>
              <a:gd name="T35" fmla="*/ 32 h 60"/>
              <a:gd name="T36" fmla="*/ 32 w 60"/>
              <a:gd name="T37" fmla="*/ 52 h 60"/>
              <a:gd name="T38" fmla="*/ 32 w 60"/>
              <a:gd name="T39" fmla="*/ 40 h 60"/>
              <a:gd name="T40" fmla="*/ 28 w 60"/>
              <a:gd name="T41" fmla="*/ 40 h 60"/>
              <a:gd name="T42" fmla="*/ 28 w 60"/>
              <a:gd name="T43" fmla="*/ 52 h 60"/>
              <a:gd name="T44" fmla="*/ 9 w 60"/>
              <a:gd name="T45" fmla="*/ 32 h 60"/>
              <a:gd name="T46" fmla="*/ 20 w 60"/>
              <a:gd name="T47" fmla="*/ 32 h 60"/>
              <a:gd name="T48" fmla="*/ 20 w 60"/>
              <a:gd name="T49" fmla="*/ 28 h 60"/>
              <a:gd name="T50" fmla="*/ 9 w 60"/>
              <a:gd name="T51" fmla="*/ 28 h 60"/>
              <a:gd name="T52" fmla="*/ 28 w 60"/>
              <a:gd name="T53" fmla="*/ 8 h 60"/>
              <a:gd name="T54" fmla="*/ 28 w 60"/>
              <a:gd name="T55" fmla="*/ 20 h 60"/>
              <a:gd name="T56" fmla="*/ 32 w 60"/>
              <a:gd name="T57" fmla="*/ 20 h 60"/>
              <a:gd name="T58" fmla="*/ 32 w 60"/>
              <a:gd name="T59" fmla="*/ 8 h 60"/>
              <a:gd name="T60" fmla="*/ 52 w 60"/>
              <a:gd name="T61" fmla="*/ 28 h 60"/>
              <a:gd name="T62" fmla="*/ 40 w 60"/>
              <a:gd name="T63" fmla="*/ 28 h 60"/>
              <a:gd name="T64" fmla="*/ 40 w 60"/>
              <a:gd name="T65" fmla="*/ 32 h 60"/>
              <a:gd name="T66" fmla="*/ 52 w 60"/>
              <a:gd name="T67" fmla="*/ 3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60">
                <a:moveTo>
                  <a:pt x="56" y="28"/>
                </a:moveTo>
                <a:cubicBezTo>
                  <a:pt x="55" y="15"/>
                  <a:pt x="45" y="5"/>
                  <a:pt x="32" y="4"/>
                </a:cubicBezTo>
                <a:cubicBezTo>
                  <a:pt x="32" y="0"/>
                  <a:pt x="32" y="0"/>
                  <a:pt x="32" y="0"/>
                </a:cubicBezTo>
                <a:cubicBezTo>
                  <a:pt x="28" y="0"/>
                  <a:pt x="28" y="0"/>
                  <a:pt x="28" y="0"/>
                </a:cubicBezTo>
                <a:cubicBezTo>
                  <a:pt x="28" y="4"/>
                  <a:pt x="28" y="4"/>
                  <a:pt x="28" y="4"/>
                </a:cubicBezTo>
                <a:cubicBezTo>
                  <a:pt x="16" y="5"/>
                  <a:pt x="6" y="15"/>
                  <a:pt x="5" y="28"/>
                </a:cubicBezTo>
                <a:cubicBezTo>
                  <a:pt x="0" y="28"/>
                  <a:pt x="0" y="28"/>
                  <a:pt x="0" y="28"/>
                </a:cubicBezTo>
                <a:cubicBezTo>
                  <a:pt x="0" y="32"/>
                  <a:pt x="0" y="32"/>
                  <a:pt x="0" y="32"/>
                </a:cubicBezTo>
                <a:cubicBezTo>
                  <a:pt x="5" y="32"/>
                  <a:pt x="5" y="32"/>
                  <a:pt x="5" y="32"/>
                </a:cubicBezTo>
                <a:cubicBezTo>
                  <a:pt x="6" y="45"/>
                  <a:pt x="16" y="55"/>
                  <a:pt x="28" y="56"/>
                </a:cubicBezTo>
                <a:cubicBezTo>
                  <a:pt x="28" y="60"/>
                  <a:pt x="28" y="60"/>
                  <a:pt x="28" y="60"/>
                </a:cubicBezTo>
                <a:cubicBezTo>
                  <a:pt x="32" y="60"/>
                  <a:pt x="32" y="60"/>
                  <a:pt x="32" y="60"/>
                </a:cubicBezTo>
                <a:cubicBezTo>
                  <a:pt x="32" y="56"/>
                  <a:pt x="32" y="56"/>
                  <a:pt x="32" y="56"/>
                </a:cubicBezTo>
                <a:cubicBezTo>
                  <a:pt x="45" y="55"/>
                  <a:pt x="55" y="45"/>
                  <a:pt x="56" y="32"/>
                </a:cubicBezTo>
                <a:cubicBezTo>
                  <a:pt x="60" y="32"/>
                  <a:pt x="60" y="32"/>
                  <a:pt x="60" y="32"/>
                </a:cubicBezTo>
                <a:cubicBezTo>
                  <a:pt x="60" y="28"/>
                  <a:pt x="60" y="28"/>
                  <a:pt x="60" y="28"/>
                </a:cubicBezTo>
                <a:lnTo>
                  <a:pt x="56" y="28"/>
                </a:lnTo>
                <a:close/>
                <a:moveTo>
                  <a:pt x="52" y="32"/>
                </a:moveTo>
                <a:cubicBezTo>
                  <a:pt x="51" y="43"/>
                  <a:pt x="43" y="51"/>
                  <a:pt x="32" y="52"/>
                </a:cubicBezTo>
                <a:cubicBezTo>
                  <a:pt x="32" y="40"/>
                  <a:pt x="32" y="40"/>
                  <a:pt x="32" y="40"/>
                </a:cubicBezTo>
                <a:cubicBezTo>
                  <a:pt x="28" y="40"/>
                  <a:pt x="28" y="40"/>
                  <a:pt x="28" y="40"/>
                </a:cubicBezTo>
                <a:cubicBezTo>
                  <a:pt x="28" y="52"/>
                  <a:pt x="28" y="52"/>
                  <a:pt x="28" y="52"/>
                </a:cubicBezTo>
                <a:cubicBezTo>
                  <a:pt x="18" y="51"/>
                  <a:pt x="9" y="43"/>
                  <a:pt x="9" y="32"/>
                </a:cubicBezTo>
                <a:cubicBezTo>
                  <a:pt x="20" y="32"/>
                  <a:pt x="20" y="32"/>
                  <a:pt x="20" y="32"/>
                </a:cubicBezTo>
                <a:cubicBezTo>
                  <a:pt x="20" y="28"/>
                  <a:pt x="20" y="28"/>
                  <a:pt x="20" y="28"/>
                </a:cubicBezTo>
                <a:cubicBezTo>
                  <a:pt x="9" y="28"/>
                  <a:pt x="9" y="28"/>
                  <a:pt x="9" y="28"/>
                </a:cubicBezTo>
                <a:cubicBezTo>
                  <a:pt x="9" y="18"/>
                  <a:pt x="18" y="9"/>
                  <a:pt x="28" y="8"/>
                </a:cubicBezTo>
                <a:cubicBezTo>
                  <a:pt x="28" y="20"/>
                  <a:pt x="28" y="20"/>
                  <a:pt x="28" y="20"/>
                </a:cubicBezTo>
                <a:cubicBezTo>
                  <a:pt x="32" y="20"/>
                  <a:pt x="32" y="20"/>
                  <a:pt x="32" y="20"/>
                </a:cubicBezTo>
                <a:cubicBezTo>
                  <a:pt x="32" y="8"/>
                  <a:pt x="32" y="8"/>
                  <a:pt x="32" y="8"/>
                </a:cubicBezTo>
                <a:cubicBezTo>
                  <a:pt x="43" y="9"/>
                  <a:pt x="51" y="18"/>
                  <a:pt x="52" y="28"/>
                </a:cubicBezTo>
                <a:cubicBezTo>
                  <a:pt x="40" y="28"/>
                  <a:pt x="40" y="28"/>
                  <a:pt x="40" y="28"/>
                </a:cubicBezTo>
                <a:cubicBezTo>
                  <a:pt x="40" y="32"/>
                  <a:pt x="40" y="32"/>
                  <a:pt x="40" y="32"/>
                </a:cubicBezTo>
                <a:lnTo>
                  <a:pt x="52" y="3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6" name="Rectangle 5">
            <a:extLst>
              <a:ext uri="{FF2B5EF4-FFF2-40B4-BE49-F238E27FC236}">
                <a16:creationId xmlns:a16="http://schemas.microsoft.com/office/drawing/2014/main" id="{3C9DAC80-53E9-4285-B7D4-A9875E5FBE2A}"/>
              </a:ext>
            </a:extLst>
          </p:cNvPr>
          <p:cNvSpPr/>
          <p:nvPr/>
        </p:nvSpPr>
        <p:spPr bwMode="auto">
          <a:xfrm>
            <a:off x="4763564" y="1524485"/>
            <a:ext cx="883585" cy="355638"/>
          </a:xfrm>
          <a:prstGeom prst="rect">
            <a:avLst/>
          </a:prstGeom>
          <a:solidFill>
            <a:srgbClr val="F2F2F2"/>
          </a:solidFill>
          <a:ln w="19050" cap="flat" cmpd="sng" algn="ctr">
            <a:solidFill>
              <a:srgbClr val="1987B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600" i="1" u="none" strike="noStrike" cap="none" normalizeH="0" baseline="0" err="1">
                <a:ln>
                  <a:noFill/>
                </a:ln>
                <a:effectLst/>
                <a:latin typeface="Trebuchet MS" pitchFamily="34" charset="0"/>
              </a:rPr>
              <a:t>Altares</a:t>
            </a:r>
            <a:r>
              <a:rPr kumimoji="0" lang="en-GB" sz="600" i="1" u="none" strike="noStrike" cap="none" normalizeH="0" baseline="0">
                <a:ln>
                  <a:noFill/>
                </a:ln>
                <a:effectLst/>
                <a:latin typeface="Trebuchet MS" pitchFamily="34" charset="0"/>
              </a:rPr>
              <a:t>’ recurring products billings</a:t>
            </a:r>
            <a:endParaRPr lang="en-GB" sz="600" i="1">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600" b="1" i="1">
                <a:latin typeface="Trebuchet MS" pitchFamily="34" charset="0"/>
              </a:rPr>
              <a:t>39.2 €m</a:t>
            </a:r>
          </a:p>
        </p:txBody>
      </p:sp>
      <p:cxnSp>
        <p:nvCxnSpPr>
          <p:cNvPr id="10" name="Connecteur : en angle 9">
            <a:extLst>
              <a:ext uri="{FF2B5EF4-FFF2-40B4-BE49-F238E27FC236}">
                <a16:creationId xmlns:a16="http://schemas.microsoft.com/office/drawing/2014/main" id="{6AEBEF61-856C-45A1-9EF2-F7469FFCF680}"/>
              </a:ext>
            </a:extLst>
          </p:cNvPr>
          <p:cNvCxnSpPr>
            <a:cxnSpLocks/>
            <a:endCxn id="6" idx="1"/>
          </p:cNvCxnSpPr>
          <p:nvPr/>
        </p:nvCxnSpPr>
        <p:spPr bwMode="auto">
          <a:xfrm>
            <a:off x="4165600" y="1477727"/>
            <a:ext cx="597964" cy="224577"/>
          </a:xfrm>
          <a:prstGeom prst="bentConnector3">
            <a:avLst>
              <a:gd name="adj1" fmla="val 58495"/>
            </a:avLst>
          </a:prstGeom>
          <a:solidFill>
            <a:schemeClr val="accent1"/>
          </a:solidFill>
          <a:ln w="12700" cap="flat" cmpd="sng" algn="ctr">
            <a:solidFill>
              <a:srgbClr val="1987B1"/>
            </a:solidFill>
            <a:prstDash val="solid"/>
            <a:round/>
            <a:headEnd type="none" w="med" len="med"/>
            <a:tailEnd type="triangle"/>
          </a:ln>
          <a:effectLst/>
        </p:spPr>
      </p:cxnSp>
      <p:sp>
        <p:nvSpPr>
          <p:cNvPr id="66" name="Rectangle 65">
            <a:extLst>
              <a:ext uri="{FF2B5EF4-FFF2-40B4-BE49-F238E27FC236}">
                <a16:creationId xmlns:a16="http://schemas.microsoft.com/office/drawing/2014/main" id="{17598A8D-F999-4800-940F-77F9E56E86D3}"/>
              </a:ext>
            </a:extLst>
          </p:cNvPr>
          <p:cNvSpPr/>
          <p:nvPr/>
        </p:nvSpPr>
        <p:spPr bwMode="auto">
          <a:xfrm>
            <a:off x="4763564" y="2059747"/>
            <a:ext cx="883585" cy="265765"/>
          </a:xfrm>
          <a:prstGeom prst="rect">
            <a:avLst/>
          </a:prstGeom>
          <a:solidFill>
            <a:srgbClr val="F2F2F2"/>
          </a:solidFill>
          <a:ln w="3175" cap="flat" cmpd="sng" algn="ctr">
            <a:solidFill>
              <a:schemeClr val="tx1"/>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600" b="0" i="1" u="none" strike="noStrike" cap="none" normalizeH="0" baseline="0" err="1">
                <a:ln>
                  <a:noFill/>
                </a:ln>
                <a:effectLst/>
                <a:latin typeface="Trebuchet MS" pitchFamily="34" charset="0"/>
              </a:rPr>
              <a:t>Altares</a:t>
            </a:r>
            <a:r>
              <a:rPr kumimoji="0" lang="en-GB" sz="600" b="0" i="1" u="none" strike="noStrike" cap="none" normalizeH="0" baseline="0">
                <a:ln>
                  <a:noFill/>
                </a:ln>
                <a:effectLst/>
                <a:latin typeface="Trebuchet MS" pitchFamily="34" charset="0"/>
              </a:rPr>
              <a:t>’ one-shot products</a:t>
            </a:r>
            <a:endParaRPr lang="en-GB" sz="600" i="1">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600" b="0" i="0" u="none" strike="noStrike" cap="none" normalizeH="0" baseline="0">
                <a:ln>
                  <a:noFill/>
                </a:ln>
                <a:effectLst/>
                <a:latin typeface="Trebuchet MS" pitchFamily="34" charset="0"/>
              </a:rPr>
              <a:t>4.1 €m</a:t>
            </a:r>
          </a:p>
        </p:txBody>
      </p:sp>
      <p:sp>
        <p:nvSpPr>
          <p:cNvPr id="69" name="Ellipse 68">
            <a:extLst>
              <a:ext uri="{FF2B5EF4-FFF2-40B4-BE49-F238E27FC236}">
                <a16:creationId xmlns:a16="http://schemas.microsoft.com/office/drawing/2014/main" id="{C5206FD3-E1EA-48F2-8BD4-85DE5DE5342E}"/>
              </a:ext>
            </a:extLst>
          </p:cNvPr>
          <p:cNvSpPr/>
          <p:nvPr/>
        </p:nvSpPr>
        <p:spPr bwMode="auto">
          <a:xfrm>
            <a:off x="5133356" y="1897935"/>
            <a:ext cx="144000" cy="144000"/>
          </a:xfrm>
          <a:prstGeom prst="ellipse">
            <a:avLst/>
          </a:prstGeom>
          <a:solidFill>
            <a:srgbClr val="1987B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fr-FR" sz="1000" b="1" i="0" u="none" strike="noStrike" cap="none" normalizeH="0" baseline="0">
                <a:ln>
                  <a:noFill/>
                </a:ln>
                <a:solidFill>
                  <a:schemeClr val="bg1"/>
                </a:solidFill>
                <a:effectLst/>
                <a:latin typeface="Trebuchet MS" pitchFamily="34" charset="0"/>
              </a:rPr>
              <a:t>+</a:t>
            </a:r>
          </a:p>
        </p:txBody>
      </p:sp>
      <p:sp>
        <p:nvSpPr>
          <p:cNvPr id="65" name="Rectangle 64">
            <a:extLst>
              <a:ext uri="{FF2B5EF4-FFF2-40B4-BE49-F238E27FC236}">
                <a16:creationId xmlns:a16="http://schemas.microsoft.com/office/drawing/2014/main" id="{128A090C-1758-42F2-92C8-1E5EBE7FC784}"/>
              </a:ext>
            </a:extLst>
          </p:cNvPr>
          <p:cNvSpPr/>
          <p:nvPr/>
        </p:nvSpPr>
        <p:spPr bwMode="auto">
          <a:xfrm>
            <a:off x="4763564" y="2505136"/>
            <a:ext cx="883585" cy="199584"/>
          </a:xfrm>
          <a:prstGeom prst="rect">
            <a:avLst/>
          </a:prstGeom>
          <a:solidFill>
            <a:srgbClr val="F2F2F2"/>
          </a:solidFill>
          <a:ln w="3175" cap="flat" cmpd="sng" algn="ctr">
            <a:solidFill>
              <a:schemeClr val="tx1"/>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600" b="0" i="0" u="none" strike="noStrike" cap="none" normalizeH="0" baseline="0" err="1">
                <a:ln>
                  <a:noFill/>
                </a:ln>
                <a:solidFill>
                  <a:schemeClr val="tx1"/>
                </a:solidFill>
                <a:effectLst/>
                <a:latin typeface="Trebuchet MS" pitchFamily="34" charset="0"/>
              </a:rPr>
              <a:t>Manageo’s</a:t>
            </a:r>
            <a:r>
              <a:rPr kumimoji="0" lang="en-GB" sz="600" b="0" i="0" u="none" strike="noStrike" cap="none" normalizeH="0" baseline="0">
                <a:ln>
                  <a:noFill/>
                </a:ln>
                <a:solidFill>
                  <a:schemeClr val="tx1"/>
                </a:solidFill>
                <a:effectLst/>
                <a:latin typeface="Trebuchet MS" pitchFamily="34" charset="0"/>
              </a:rPr>
              <a:t> sales</a:t>
            </a:r>
            <a:endParaRPr lang="en-GB" sz="6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600">
                <a:latin typeface="Trebuchet MS" pitchFamily="34" charset="0"/>
              </a:rPr>
              <a:t>9.7 </a:t>
            </a:r>
            <a:r>
              <a:rPr kumimoji="0" lang="en-GB" sz="600" b="0" i="0" u="none" strike="noStrike" cap="none" normalizeH="0" baseline="0">
                <a:ln>
                  <a:noFill/>
                </a:ln>
                <a:solidFill>
                  <a:schemeClr val="tx1"/>
                </a:solidFill>
                <a:effectLst/>
                <a:latin typeface="Trebuchet MS" pitchFamily="34" charset="0"/>
              </a:rPr>
              <a:t>€m</a:t>
            </a:r>
          </a:p>
        </p:txBody>
      </p:sp>
      <p:sp>
        <p:nvSpPr>
          <p:cNvPr id="72" name="Ellipse 68">
            <a:extLst>
              <a:ext uri="{FF2B5EF4-FFF2-40B4-BE49-F238E27FC236}">
                <a16:creationId xmlns:a16="http://schemas.microsoft.com/office/drawing/2014/main" id="{C18069CC-85C4-4A93-8FB2-4445FA1744C8}"/>
              </a:ext>
            </a:extLst>
          </p:cNvPr>
          <p:cNvSpPr/>
          <p:nvPr/>
        </p:nvSpPr>
        <p:spPr bwMode="auto">
          <a:xfrm>
            <a:off x="5133356" y="2343324"/>
            <a:ext cx="144000" cy="144000"/>
          </a:xfrm>
          <a:prstGeom prst="ellipse">
            <a:avLst/>
          </a:prstGeom>
          <a:solidFill>
            <a:srgbClr val="1987B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fr-FR" sz="1000" b="1" i="0" u="none" strike="noStrike" cap="none" normalizeH="0" baseline="0">
                <a:ln>
                  <a:noFill/>
                </a:ln>
                <a:solidFill>
                  <a:schemeClr val="bg1"/>
                </a:solidFill>
                <a:effectLst/>
                <a:latin typeface="Trebuchet MS" pitchFamily="34" charset="0"/>
              </a:rPr>
              <a:t>+</a:t>
            </a:r>
          </a:p>
        </p:txBody>
      </p:sp>
      <p:sp>
        <p:nvSpPr>
          <p:cNvPr id="23" name="Arrow: Up-Down 22">
            <a:extLst>
              <a:ext uri="{FF2B5EF4-FFF2-40B4-BE49-F238E27FC236}">
                <a16:creationId xmlns:a16="http://schemas.microsoft.com/office/drawing/2014/main" id="{99717361-172F-4B67-B4B2-038F0F4B8DAF}"/>
              </a:ext>
            </a:extLst>
          </p:cNvPr>
          <p:cNvSpPr/>
          <p:nvPr/>
        </p:nvSpPr>
        <p:spPr bwMode="auto">
          <a:xfrm>
            <a:off x="5152846" y="2805165"/>
            <a:ext cx="105020" cy="226155"/>
          </a:xfrm>
          <a:prstGeom prst="upDownArrow">
            <a:avLst/>
          </a:prstGeom>
          <a:solidFill>
            <a:srgbClr val="1987B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tx1"/>
              </a:solidFill>
              <a:effectLst/>
              <a:latin typeface="Trebuchet MS" pitchFamily="34" charset="0"/>
            </a:endParaRPr>
          </a:p>
        </p:txBody>
      </p:sp>
      <p:sp>
        <p:nvSpPr>
          <p:cNvPr id="74" name="Rectangle 73">
            <a:extLst>
              <a:ext uri="{FF2B5EF4-FFF2-40B4-BE49-F238E27FC236}">
                <a16:creationId xmlns:a16="http://schemas.microsoft.com/office/drawing/2014/main" id="{0E6193B6-6BA0-494F-9F9B-19586AC22164}"/>
              </a:ext>
            </a:extLst>
          </p:cNvPr>
          <p:cNvSpPr/>
          <p:nvPr/>
        </p:nvSpPr>
        <p:spPr bwMode="auto">
          <a:xfrm>
            <a:off x="4691875" y="3068823"/>
            <a:ext cx="1026963" cy="360177"/>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a:r>
              <a:rPr lang="en-GB" sz="600" i="1" dirty="0">
                <a:latin typeface="Trebuchet MS" pitchFamily="34" charset="0"/>
              </a:rPr>
              <a:t>French revenue</a:t>
            </a:r>
          </a:p>
          <a:p>
            <a:pPr algn="ctr"/>
            <a:r>
              <a:rPr lang="en-GB" sz="600" b="1" dirty="0">
                <a:latin typeface="Trebuchet MS" pitchFamily="34" charset="0"/>
              </a:rPr>
              <a:t>49.5 €m</a:t>
            </a:r>
          </a:p>
          <a:p>
            <a:pPr algn="ctr"/>
            <a:r>
              <a:rPr lang="en-GB" sz="600" i="1" dirty="0">
                <a:solidFill>
                  <a:schemeClr val="accent1"/>
                </a:solidFill>
                <a:latin typeface="Trebuchet MS" pitchFamily="34" charset="0"/>
              </a:rPr>
              <a:t>(see page 5)</a:t>
            </a:r>
          </a:p>
        </p:txBody>
      </p:sp>
      <p:sp>
        <p:nvSpPr>
          <p:cNvPr id="75" name="Triangle isocèle 7">
            <a:extLst>
              <a:ext uri="{FF2B5EF4-FFF2-40B4-BE49-F238E27FC236}">
                <a16:creationId xmlns:a16="http://schemas.microsoft.com/office/drawing/2014/main" id="{93EEE53F-7D70-48E8-A941-8326657DE997}"/>
              </a:ext>
            </a:extLst>
          </p:cNvPr>
          <p:cNvSpPr/>
          <p:nvPr/>
        </p:nvSpPr>
        <p:spPr bwMode="auto">
          <a:xfrm>
            <a:off x="2177123" y="4199981"/>
            <a:ext cx="1302805" cy="107130"/>
          </a:xfrm>
          <a:prstGeom prst="triangle">
            <a:avLst/>
          </a:prstGeom>
          <a:solidFill>
            <a:srgbClr val="007AA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Tree>
    <p:extLst>
      <p:ext uri="{BB962C8B-B14F-4D97-AF65-F5344CB8AC3E}">
        <p14:creationId xmlns:p14="http://schemas.microsoft.com/office/powerpoint/2010/main" val="1053969278"/>
      </p:ext>
    </p:extLst>
  </p:cSld>
  <p:clrMapOvr>
    <a:masterClrMapping/>
  </p:clrMapOvr>
  <p:transition/>
</p:sld>
</file>

<file path=ppt/slides/slide1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8" name="Objet 77" hidden="1">
            <a:extLst>
              <a:ext uri="{FF2B5EF4-FFF2-40B4-BE49-F238E27FC236}">
                <a16:creationId xmlns:a16="http://schemas.microsoft.com/office/drawing/2014/main" id="{FA595C26-E06D-47CF-A37A-C328DF417698}"/>
              </a:ext>
            </a:extLst>
          </p:cNvPr>
          <p:cNvGraphicFramePr>
            <a:graphicFrameLocks noChangeAspect="1"/>
          </p:cNvGraphicFramePr>
          <p:nvPr>
            <p:custDataLst>
              <p:tags r:id="rId2"/>
            </p:custDataLst>
            <p:extLst>
              <p:ext uri="{D42A27DB-BD31-4B8C-83A1-F6EECF244321}">
                <p14:modId xmlns:p14="http://schemas.microsoft.com/office/powerpoint/2010/main" val="267653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2" progId="TCLayout.ActiveDocument.1">
                  <p:embed/>
                </p:oleObj>
              </mc:Choice>
              <mc:Fallback>
                <p:oleObj name="think-cell Slide" r:id="rId5" imgW="501" imgH="502" progId="TCLayout.ActiveDocument.1">
                  <p:embed/>
                  <p:pic>
                    <p:nvPicPr>
                      <p:cNvPr id="78" name="Objet 77" hidden="1">
                        <a:extLst>
                          <a:ext uri="{FF2B5EF4-FFF2-40B4-BE49-F238E27FC236}">
                            <a16:creationId xmlns:a16="http://schemas.microsoft.com/office/drawing/2014/main" id="{FA595C26-E06D-47CF-A37A-C328DF4176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7" name="Rectangle 76" hidden="1">
            <a:extLst>
              <a:ext uri="{FF2B5EF4-FFF2-40B4-BE49-F238E27FC236}">
                <a16:creationId xmlns:a16="http://schemas.microsoft.com/office/drawing/2014/main" id="{6E3E299C-7714-43EE-A242-7B5255A7008F}"/>
              </a:ext>
            </a:extLst>
          </p:cNvPr>
          <p:cNvSpPr/>
          <p:nvPr>
            <p:custDataLst>
              <p:tags r:id="rId3"/>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94" name="Rectangle 93">
            <a:extLst>
              <a:ext uri="{FF2B5EF4-FFF2-40B4-BE49-F238E27FC236}">
                <a16:creationId xmlns:a16="http://schemas.microsoft.com/office/drawing/2014/main" id="{FC292FC5-EFCC-4348-86E8-009174084256}"/>
              </a:ext>
            </a:extLst>
          </p:cNvPr>
          <p:cNvSpPr/>
          <p:nvPr/>
        </p:nvSpPr>
        <p:spPr bwMode="auto">
          <a:xfrm>
            <a:off x="-4686" y="946336"/>
            <a:ext cx="9915372" cy="558122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99" name="Connecteur droit 4">
            <a:extLst>
              <a:ext uri="{FF2B5EF4-FFF2-40B4-BE49-F238E27FC236}">
                <a16:creationId xmlns:a16="http://schemas.microsoft.com/office/drawing/2014/main" id="{6C9C2C68-6AC0-4154-A072-13F99D0567A0}"/>
              </a:ext>
            </a:extLst>
          </p:cNvPr>
          <p:cNvCxnSpPr>
            <a:cxnSpLocks/>
          </p:cNvCxnSpPr>
          <p:nvPr/>
        </p:nvCxnSpPr>
        <p:spPr bwMode="auto">
          <a:xfrm>
            <a:off x="273000" y="806642"/>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01" name="TextBox 30">
            <a:extLst>
              <a:ext uri="{FF2B5EF4-FFF2-40B4-BE49-F238E27FC236}">
                <a16:creationId xmlns:a16="http://schemas.microsoft.com/office/drawing/2014/main" id="{928856DA-55F9-4DD8-9993-54A51898E8B4}"/>
              </a:ext>
            </a:extLst>
          </p:cNvPr>
          <p:cNvSpPr txBox="1"/>
          <p:nvPr/>
        </p:nvSpPr>
        <p:spPr>
          <a:xfrm>
            <a:off x="2641561" y="704801"/>
            <a:ext cx="4622878" cy="253916"/>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50" err="1">
                <a:latin typeface="Trebuchet MS" panose="020B0603020202020204" pitchFamily="34" charset="0"/>
              </a:rPr>
              <a:t>Altares</a:t>
            </a:r>
            <a:r>
              <a:rPr lang="en-GB" sz="1050">
                <a:latin typeface="Trebuchet MS" panose="020B0603020202020204" pitchFamily="34" charset="0"/>
              </a:rPr>
              <a:t> management’s business plan 2019-2025, in €m</a:t>
            </a:r>
          </a:p>
        </p:txBody>
      </p:sp>
      <p:sp>
        <p:nvSpPr>
          <p:cNvPr id="2" name="Titre 1">
            <a:extLst>
              <a:ext uri="{FF2B5EF4-FFF2-40B4-BE49-F238E27FC236}">
                <a16:creationId xmlns:a16="http://schemas.microsoft.com/office/drawing/2014/main" id="{8F90B4A6-3E62-4E3E-893A-54F984AC8429}"/>
              </a:ext>
            </a:extLst>
          </p:cNvPr>
          <p:cNvSpPr>
            <a:spLocks noGrp="1"/>
          </p:cNvSpPr>
          <p:nvPr>
            <p:ph type="title"/>
          </p:nvPr>
        </p:nvSpPr>
        <p:spPr>
          <a:xfrm>
            <a:off x="165600" y="147600"/>
            <a:ext cx="8342812" cy="684000"/>
          </a:xfrm>
        </p:spPr>
        <p:txBody>
          <a:bodyPr/>
          <a:lstStyle/>
          <a:p>
            <a:r>
              <a:rPr lang="en-GB" err="1">
                <a:latin typeface="Trebuchet MS" panose="020B0603020202020204" pitchFamily="34" charset="0"/>
              </a:rPr>
              <a:t>Altares</a:t>
            </a:r>
            <a:r>
              <a:rPr lang="en-GB">
                <a:latin typeface="Trebuchet MS" panose="020B0603020202020204" pitchFamily="34" charset="0"/>
              </a:rPr>
              <a:t>’ </a:t>
            </a:r>
            <a:r>
              <a:rPr lang="en-GB">
                <a:solidFill>
                  <a:schemeClr val="tx2"/>
                </a:solidFill>
                <a:latin typeface="Trebuchet MS" panose="020B0603020202020204" pitchFamily="34" charset="0"/>
              </a:rPr>
              <a:t>steady</a:t>
            </a:r>
            <a:r>
              <a:rPr lang="en-GB">
                <a:latin typeface="Trebuchet MS" panose="020B0603020202020204" pitchFamily="34" charset="0"/>
              </a:rPr>
              <a:t> </a:t>
            </a:r>
            <a:r>
              <a:rPr lang="en-GB">
                <a:solidFill>
                  <a:schemeClr val="tx2"/>
                </a:solidFill>
                <a:latin typeface="Trebuchet MS" panose="020B0603020202020204" pitchFamily="34" charset="0"/>
              </a:rPr>
              <a:t>pre-</a:t>
            </a:r>
            <a:r>
              <a:rPr lang="en-GB" err="1">
                <a:solidFill>
                  <a:schemeClr val="tx2"/>
                </a:solidFill>
                <a:latin typeface="Trebuchet MS" panose="020B0603020202020204" pitchFamily="34" charset="0"/>
              </a:rPr>
              <a:t>Covid</a:t>
            </a:r>
            <a:r>
              <a:rPr lang="en-GB">
                <a:solidFill>
                  <a:schemeClr val="tx2"/>
                </a:solidFill>
                <a:latin typeface="Trebuchet MS" panose="020B0603020202020204" pitchFamily="34" charset="0"/>
              </a:rPr>
              <a:t> growth </a:t>
            </a:r>
            <a:r>
              <a:rPr lang="en-GB">
                <a:latin typeface="Trebuchet MS" panose="020B0603020202020204" pitchFamily="34" charset="0"/>
              </a:rPr>
              <a:t>has been </a:t>
            </a:r>
            <a:r>
              <a:rPr lang="en-GB">
                <a:solidFill>
                  <a:schemeClr val="tx2"/>
                </a:solidFill>
                <a:latin typeface="Trebuchet MS" panose="020B0603020202020204" pitchFamily="34" charset="0"/>
              </a:rPr>
              <a:t>levelled off </a:t>
            </a:r>
            <a:r>
              <a:rPr lang="en-GB">
                <a:latin typeface="Trebuchet MS" panose="020B0603020202020204" pitchFamily="34" charset="0"/>
              </a:rPr>
              <a:t>by the crisis – generating a “white year”, and is expected to pick-up again with a </a:t>
            </a:r>
            <a:r>
              <a:rPr lang="en-GB">
                <a:solidFill>
                  <a:schemeClr val="tx2"/>
                </a:solidFill>
                <a:latin typeface="Trebuchet MS" panose="020B0603020202020204" pitchFamily="34" charset="0"/>
              </a:rPr>
              <a:t>catch-up effect </a:t>
            </a:r>
            <a:r>
              <a:rPr lang="en-GB">
                <a:latin typeface="Trebuchet MS" panose="020B0603020202020204" pitchFamily="34" charset="0"/>
              </a:rPr>
              <a:t>in 2021</a:t>
            </a:r>
          </a:p>
        </p:txBody>
      </p:sp>
      <p:sp>
        <p:nvSpPr>
          <p:cNvPr id="3" name="Espace réservé du texte 2">
            <a:extLst>
              <a:ext uri="{FF2B5EF4-FFF2-40B4-BE49-F238E27FC236}">
                <a16:creationId xmlns:a16="http://schemas.microsoft.com/office/drawing/2014/main" id="{6F60CA85-8BEB-445B-B9BB-A4B7F1A1066C}"/>
              </a:ext>
            </a:extLst>
          </p:cNvPr>
          <p:cNvSpPr>
            <a:spLocks noGrp="1"/>
          </p:cNvSpPr>
          <p:nvPr>
            <p:ph type="body" sz="quarter" idx="10"/>
          </p:nvPr>
        </p:nvSpPr>
        <p:spPr/>
        <p:txBody>
          <a:bodyPr/>
          <a:lstStyle/>
          <a:p>
            <a:r>
              <a:rPr lang="en-GB"/>
              <a:t>Sources: eleven research &amp; analysis, company data, interviews with management</a:t>
            </a:r>
          </a:p>
        </p:txBody>
      </p:sp>
      <p:graphicFrame>
        <p:nvGraphicFramePr>
          <p:cNvPr id="6" name="Chart 3">
            <a:extLst>
              <a:ext uri="{FF2B5EF4-FFF2-40B4-BE49-F238E27FC236}">
                <a16:creationId xmlns:a16="http://schemas.microsoft.com/office/drawing/2014/main" id="{AD4B08B2-619E-4D59-883D-3F3DAC1E6634}"/>
              </a:ext>
            </a:extLst>
          </p:cNvPr>
          <p:cNvGraphicFramePr/>
          <p:nvPr>
            <p:extLst>
              <p:ext uri="{D42A27DB-BD31-4B8C-83A1-F6EECF244321}">
                <p14:modId xmlns:p14="http://schemas.microsoft.com/office/powerpoint/2010/main" val="751259999"/>
              </p:ext>
            </p:extLst>
          </p:nvPr>
        </p:nvGraphicFramePr>
        <p:xfrm>
          <a:off x="192880" y="1553368"/>
          <a:ext cx="7466013" cy="4122738"/>
        </p:xfrm>
        <a:graphic>
          <a:graphicData uri="http://schemas.openxmlformats.org/drawingml/2006/chart">
            <c:chart xmlns:c="http://schemas.openxmlformats.org/drawingml/2006/chart" xmlns:r="http://schemas.openxmlformats.org/officeDocument/2006/relationships" r:id="rId7"/>
          </a:graphicData>
        </a:graphic>
      </p:graphicFrame>
      <p:cxnSp>
        <p:nvCxnSpPr>
          <p:cNvPr id="20" name="Connecteur droit 19">
            <a:extLst>
              <a:ext uri="{FF2B5EF4-FFF2-40B4-BE49-F238E27FC236}">
                <a16:creationId xmlns:a16="http://schemas.microsoft.com/office/drawing/2014/main" id="{70882B0C-C224-4047-BA7A-80B1DC641E37}"/>
              </a:ext>
            </a:extLst>
          </p:cNvPr>
          <p:cNvCxnSpPr/>
          <p:nvPr/>
        </p:nvCxnSpPr>
        <p:spPr bwMode="auto">
          <a:xfrm>
            <a:off x="4409148" y="2178410"/>
            <a:ext cx="0" cy="15716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21" name="Connecteur droit 20">
            <a:extLst>
              <a:ext uri="{FF2B5EF4-FFF2-40B4-BE49-F238E27FC236}">
                <a16:creationId xmlns:a16="http://schemas.microsoft.com/office/drawing/2014/main" id="{C4A2BBE9-C329-464A-A7A0-49437DFEEDC8}"/>
              </a:ext>
            </a:extLst>
          </p:cNvPr>
          <p:cNvCxnSpPr/>
          <p:nvPr/>
        </p:nvCxnSpPr>
        <p:spPr bwMode="auto">
          <a:xfrm flipV="1">
            <a:off x="3728110" y="2178410"/>
            <a:ext cx="0" cy="293688"/>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2" name="Connecteur droit 21">
            <a:extLst>
              <a:ext uri="{FF2B5EF4-FFF2-40B4-BE49-F238E27FC236}">
                <a16:creationId xmlns:a16="http://schemas.microsoft.com/office/drawing/2014/main" id="{B5C19DF6-E20D-4F95-9853-93B3B1448969}"/>
              </a:ext>
            </a:extLst>
          </p:cNvPr>
          <p:cNvCxnSpPr>
            <a:cxnSpLocks/>
          </p:cNvCxnSpPr>
          <p:nvPr/>
        </p:nvCxnSpPr>
        <p:spPr bwMode="auto">
          <a:xfrm>
            <a:off x="3728110" y="2178410"/>
            <a:ext cx="68103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4" name="Espace réservé du texte 2">
            <a:extLst>
              <a:ext uri="{FF2B5EF4-FFF2-40B4-BE49-F238E27FC236}">
                <a16:creationId xmlns:a16="http://schemas.microsoft.com/office/drawing/2014/main" id="{B4263586-7603-462A-80B8-000DEE331218}"/>
              </a:ext>
            </a:extLst>
          </p:cNvPr>
          <p:cNvSpPr>
            <a:spLocks noGrp="1"/>
          </p:cNvSpPr>
          <p:nvPr/>
        </p:nvSpPr>
        <p:spPr bwMode="auto">
          <a:xfrm>
            <a:off x="3674268" y="5469978"/>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7AA6F39B-38B0-453A-B4C7-151390A4E6F5}" type="datetime'''2''''''''0''''2''''''''''0'''''''">
              <a:rPr lang="en-GB" altLang="en-US" sz="1100" b="1" smtClean="0">
                <a:latin typeface="Trebuchet MS" panose="020B0603020202020204" pitchFamily="34" charset="0"/>
              </a:rPr>
              <a:pPr marL="0" indent="0" algn="ctr">
                <a:spcBef>
                  <a:spcPct val="0"/>
                </a:spcBef>
                <a:buNone/>
              </a:pPr>
              <a:t>2020</a:t>
            </a:fld>
            <a:r>
              <a:rPr lang="en-GB" altLang="en-US" sz="1100" b="1">
                <a:latin typeface="Trebuchet MS" panose="020B0603020202020204" pitchFamily="34" charset="0"/>
              </a:rPr>
              <a:t>F</a:t>
            </a:r>
            <a:endParaRPr lang="en-GB" sz="1100" b="1">
              <a:latin typeface="Trebuchet MS" panose="020B0603020202020204" pitchFamily="34" charset="0"/>
              <a:sym typeface="+mn-lt"/>
            </a:endParaRPr>
          </a:p>
        </p:txBody>
      </p:sp>
      <p:sp>
        <p:nvSpPr>
          <p:cNvPr id="25" name="Espace réservé du texte 2">
            <a:extLst>
              <a:ext uri="{FF2B5EF4-FFF2-40B4-BE49-F238E27FC236}">
                <a16:creationId xmlns:a16="http://schemas.microsoft.com/office/drawing/2014/main" id="{8352403C-FED7-4611-BF46-7190916A174B}"/>
              </a:ext>
            </a:extLst>
          </p:cNvPr>
          <p:cNvSpPr>
            <a:spLocks noGrp="1"/>
          </p:cNvSpPr>
          <p:nvPr/>
        </p:nvSpPr>
        <p:spPr bwMode="gray">
          <a:xfrm>
            <a:off x="4448968" y="5280818"/>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2.3</a:t>
            </a:r>
            <a:endParaRPr lang="en-GB" sz="1100">
              <a:solidFill>
                <a:schemeClr val="bg1"/>
              </a:solidFill>
              <a:latin typeface="Trebuchet MS" panose="020B0603020202020204" pitchFamily="34" charset="0"/>
              <a:sym typeface="+mn-lt"/>
            </a:endParaRPr>
          </a:p>
        </p:txBody>
      </p:sp>
      <p:sp>
        <p:nvSpPr>
          <p:cNvPr id="26" name="Espace réservé du texte 2">
            <a:extLst>
              <a:ext uri="{FF2B5EF4-FFF2-40B4-BE49-F238E27FC236}">
                <a16:creationId xmlns:a16="http://schemas.microsoft.com/office/drawing/2014/main" id="{4B1E798D-4AA6-4CCE-8BB7-11C2520412CA}"/>
              </a:ext>
            </a:extLst>
          </p:cNvPr>
          <p:cNvSpPr>
            <a:spLocks noGrp="1"/>
          </p:cNvSpPr>
          <p:nvPr/>
        </p:nvSpPr>
        <p:spPr bwMode="auto">
          <a:xfrm>
            <a:off x="4393406" y="5469978"/>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31564F0C-64D1-4223-99D0-D69ED87BE297}" type="datetime'''''''''''''''''''''''''''''''20''2''''1'''''''''''''">
              <a:rPr lang="en-GB" altLang="en-US" sz="1100" b="1" smtClean="0">
                <a:latin typeface="Trebuchet MS" panose="020B0603020202020204" pitchFamily="34" charset="0"/>
              </a:rPr>
              <a:pPr marL="0" indent="0" algn="ctr">
                <a:spcBef>
                  <a:spcPct val="0"/>
                </a:spcBef>
                <a:buNone/>
              </a:pPr>
              <a:t>2021</a:t>
            </a:fld>
            <a:r>
              <a:rPr lang="en-GB" altLang="en-US" sz="1100" b="1">
                <a:latin typeface="Trebuchet MS" panose="020B0603020202020204" pitchFamily="34" charset="0"/>
              </a:rPr>
              <a:t>F</a:t>
            </a:r>
            <a:endParaRPr lang="en-GB" sz="1100" b="1">
              <a:latin typeface="Trebuchet MS" panose="020B0603020202020204" pitchFamily="34" charset="0"/>
              <a:sym typeface="+mn-lt"/>
            </a:endParaRPr>
          </a:p>
        </p:txBody>
      </p:sp>
      <p:sp>
        <p:nvSpPr>
          <p:cNvPr id="28" name="Espace réservé du texte 2">
            <a:extLst>
              <a:ext uri="{FF2B5EF4-FFF2-40B4-BE49-F238E27FC236}">
                <a16:creationId xmlns:a16="http://schemas.microsoft.com/office/drawing/2014/main" id="{4F5CD4AA-8FBB-46E3-BA9E-818B7B68C922}"/>
              </a:ext>
            </a:extLst>
          </p:cNvPr>
          <p:cNvSpPr>
            <a:spLocks noGrp="1"/>
          </p:cNvSpPr>
          <p:nvPr/>
        </p:nvSpPr>
        <p:spPr bwMode="gray">
          <a:xfrm>
            <a:off x="5168106" y="5282406"/>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2.4</a:t>
            </a:r>
            <a:endParaRPr lang="en-GB" sz="1100">
              <a:solidFill>
                <a:schemeClr val="bg1"/>
              </a:solidFill>
              <a:latin typeface="Trebuchet MS" panose="020B0603020202020204" pitchFamily="34" charset="0"/>
              <a:sym typeface="+mn-lt"/>
            </a:endParaRPr>
          </a:p>
        </p:txBody>
      </p:sp>
      <p:sp>
        <p:nvSpPr>
          <p:cNvPr id="29" name="Espace réservé du texte 2">
            <a:extLst>
              <a:ext uri="{FF2B5EF4-FFF2-40B4-BE49-F238E27FC236}">
                <a16:creationId xmlns:a16="http://schemas.microsoft.com/office/drawing/2014/main" id="{4F4971B3-0466-45E0-A19E-9153887947C1}"/>
              </a:ext>
            </a:extLst>
          </p:cNvPr>
          <p:cNvSpPr>
            <a:spLocks noGrp="1"/>
          </p:cNvSpPr>
          <p:nvPr/>
        </p:nvSpPr>
        <p:spPr bwMode="auto">
          <a:xfrm>
            <a:off x="5112543" y="5469978"/>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859A8383-412F-49D6-B0D5-9D7FEA6011FE}" type="datetime'2''''''''''''''''''''''''0''''2''''''2'''''''''''''''">
              <a:rPr lang="en-GB" altLang="en-US" sz="1100" b="1" smtClean="0">
                <a:latin typeface="Trebuchet MS" panose="020B0603020202020204" pitchFamily="34" charset="0"/>
              </a:rPr>
              <a:pPr marL="0" indent="0" algn="ctr">
                <a:spcBef>
                  <a:spcPct val="0"/>
                </a:spcBef>
                <a:buNone/>
              </a:pPr>
              <a:t>2022</a:t>
            </a:fld>
            <a:r>
              <a:rPr lang="en-GB" altLang="en-US" sz="1100" b="1">
                <a:latin typeface="Trebuchet MS" panose="020B0603020202020204" pitchFamily="34" charset="0"/>
              </a:rPr>
              <a:t>F</a:t>
            </a:r>
            <a:endParaRPr lang="en-GB" sz="1100" b="1">
              <a:latin typeface="Trebuchet MS" panose="020B0603020202020204" pitchFamily="34" charset="0"/>
              <a:sym typeface="+mn-lt"/>
            </a:endParaRPr>
          </a:p>
        </p:txBody>
      </p:sp>
      <p:sp>
        <p:nvSpPr>
          <p:cNvPr id="30" name="Espace réservé du texte 2">
            <a:extLst>
              <a:ext uri="{FF2B5EF4-FFF2-40B4-BE49-F238E27FC236}">
                <a16:creationId xmlns:a16="http://schemas.microsoft.com/office/drawing/2014/main" id="{0E6C9CBF-402B-4F6A-A8BA-95A99936487A}"/>
              </a:ext>
            </a:extLst>
          </p:cNvPr>
          <p:cNvSpPr>
            <a:spLocks noGrp="1"/>
          </p:cNvSpPr>
          <p:nvPr/>
        </p:nvSpPr>
        <p:spPr bwMode="gray">
          <a:xfrm>
            <a:off x="5885656" y="5283993"/>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2.5</a:t>
            </a:r>
            <a:endParaRPr lang="en-GB" sz="1100">
              <a:solidFill>
                <a:schemeClr val="bg1"/>
              </a:solidFill>
              <a:latin typeface="Trebuchet MS" panose="020B0603020202020204" pitchFamily="34" charset="0"/>
              <a:sym typeface="+mn-lt"/>
            </a:endParaRPr>
          </a:p>
        </p:txBody>
      </p:sp>
      <p:sp>
        <p:nvSpPr>
          <p:cNvPr id="31" name="Espace réservé du texte 2">
            <a:extLst>
              <a:ext uri="{FF2B5EF4-FFF2-40B4-BE49-F238E27FC236}">
                <a16:creationId xmlns:a16="http://schemas.microsoft.com/office/drawing/2014/main" id="{1E880C80-5B90-47B7-93F4-B56506F4B269}"/>
              </a:ext>
            </a:extLst>
          </p:cNvPr>
          <p:cNvSpPr>
            <a:spLocks noGrp="1"/>
          </p:cNvSpPr>
          <p:nvPr/>
        </p:nvSpPr>
        <p:spPr bwMode="gray">
          <a:xfrm>
            <a:off x="6604793" y="5285581"/>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2.7</a:t>
            </a:r>
            <a:endParaRPr lang="en-GB" sz="1100">
              <a:solidFill>
                <a:schemeClr val="bg1"/>
              </a:solidFill>
              <a:latin typeface="Trebuchet MS" panose="020B0603020202020204" pitchFamily="34" charset="0"/>
              <a:sym typeface="+mn-lt"/>
            </a:endParaRPr>
          </a:p>
        </p:txBody>
      </p:sp>
      <p:sp>
        <p:nvSpPr>
          <p:cNvPr id="32" name="Espace réservé du texte 2">
            <a:extLst>
              <a:ext uri="{FF2B5EF4-FFF2-40B4-BE49-F238E27FC236}">
                <a16:creationId xmlns:a16="http://schemas.microsoft.com/office/drawing/2014/main" id="{4DB5AA2A-3239-465E-8F3B-23EC0D53EE8D}"/>
              </a:ext>
            </a:extLst>
          </p:cNvPr>
          <p:cNvSpPr>
            <a:spLocks noGrp="1"/>
          </p:cNvSpPr>
          <p:nvPr/>
        </p:nvSpPr>
        <p:spPr bwMode="auto">
          <a:xfrm>
            <a:off x="6549231" y="5469978"/>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64ABA744-E068-4F20-9243-DB31DCD13FF8}" type="datetime'20''''''''''''''''''''''''''''''''2''''''''''''''''''''''''4'">
              <a:rPr lang="en-GB" altLang="en-US" sz="1100" b="1" smtClean="0">
                <a:latin typeface="Trebuchet MS" panose="020B0603020202020204" pitchFamily="34" charset="0"/>
              </a:rPr>
              <a:pPr marL="0" indent="0" algn="ctr">
                <a:spcBef>
                  <a:spcPct val="0"/>
                </a:spcBef>
                <a:buNone/>
              </a:pPr>
              <a:t>2024</a:t>
            </a:fld>
            <a:r>
              <a:rPr lang="en-GB" altLang="en-US" sz="1100" b="1">
                <a:latin typeface="Trebuchet MS" panose="020B0603020202020204" pitchFamily="34" charset="0"/>
              </a:rPr>
              <a:t>F</a:t>
            </a:r>
            <a:endParaRPr lang="en-GB" sz="1100" b="1">
              <a:latin typeface="Trebuchet MS" panose="020B0603020202020204" pitchFamily="34" charset="0"/>
              <a:sym typeface="+mn-lt"/>
            </a:endParaRPr>
          </a:p>
        </p:txBody>
      </p:sp>
      <p:sp>
        <p:nvSpPr>
          <p:cNvPr id="33" name="Espace réservé du texte 2">
            <a:extLst>
              <a:ext uri="{FF2B5EF4-FFF2-40B4-BE49-F238E27FC236}">
                <a16:creationId xmlns:a16="http://schemas.microsoft.com/office/drawing/2014/main" id="{457BB269-1064-4FDA-9A71-0600145CD7EE}"/>
              </a:ext>
            </a:extLst>
          </p:cNvPr>
          <p:cNvSpPr>
            <a:spLocks noGrp="1"/>
          </p:cNvSpPr>
          <p:nvPr/>
        </p:nvSpPr>
        <p:spPr bwMode="gray">
          <a:xfrm>
            <a:off x="3012281" y="5280818"/>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2.3</a:t>
            </a:r>
            <a:endParaRPr lang="en-GB" sz="1100">
              <a:solidFill>
                <a:schemeClr val="bg1"/>
              </a:solidFill>
              <a:latin typeface="Trebuchet MS" panose="020B0603020202020204" pitchFamily="34" charset="0"/>
              <a:sym typeface="+mn-lt"/>
            </a:endParaRPr>
          </a:p>
        </p:txBody>
      </p:sp>
      <p:sp>
        <p:nvSpPr>
          <p:cNvPr id="34" name="Espace réservé du texte 2">
            <a:extLst>
              <a:ext uri="{FF2B5EF4-FFF2-40B4-BE49-F238E27FC236}">
                <a16:creationId xmlns:a16="http://schemas.microsoft.com/office/drawing/2014/main" id="{08496A17-3A2A-4B90-9025-2A946687FF56}"/>
              </a:ext>
            </a:extLst>
          </p:cNvPr>
          <p:cNvSpPr>
            <a:spLocks noGrp="1"/>
          </p:cNvSpPr>
          <p:nvPr/>
        </p:nvSpPr>
        <p:spPr bwMode="auto">
          <a:xfrm>
            <a:off x="7266781" y="5469978"/>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C02E9C2A-16FF-4170-9501-40AE5FF93A3B}" type="datetime'2''''''''''''0''''''''2''5'''''''">
              <a:rPr lang="en-GB" altLang="en-US" sz="1100" b="1" smtClean="0">
                <a:latin typeface="Trebuchet MS" panose="020B0603020202020204" pitchFamily="34" charset="0"/>
              </a:rPr>
              <a:pPr marL="0" indent="0" algn="ctr">
                <a:spcBef>
                  <a:spcPct val="0"/>
                </a:spcBef>
                <a:buNone/>
              </a:pPr>
              <a:t>2025</a:t>
            </a:fld>
            <a:r>
              <a:rPr lang="en-GB" altLang="en-US" sz="1100" b="1">
                <a:latin typeface="Trebuchet MS" panose="020B0603020202020204" pitchFamily="34" charset="0"/>
              </a:rPr>
              <a:t>F</a:t>
            </a:r>
            <a:endParaRPr lang="en-GB" sz="1100" b="1">
              <a:latin typeface="Trebuchet MS" panose="020B0603020202020204" pitchFamily="34" charset="0"/>
              <a:sym typeface="+mn-lt"/>
            </a:endParaRPr>
          </a:p>
        </p:txBody>
      </p:sp>
      <p:sp>
        <p:nvSpPr>
          <p:cNvPr id="35" name="Espace réservé du texte 2">
            <a:extLst>
              <a:ext uri="{FF2B5EF4-FFF2-40B4-BE49-F238E27FC236}">
                <a16:creationId xmlns:a16="http://schemas.microsoft.com/office/drawing/2014/main" id="{5875C6BD-69C1-45C1-8057-83C317F2F3F2}"/>
              </a:ext>
            </a:extLst>
          </p:cNvPr>
          <p:cNvSpPr>
            <a:spLocks noGrp="1"/>
          </p:cNvSpPr>
          <p:nvPr/>
        </p:nvSpPr>
        <p:spPr bwMode="auto">
          <a:xfrm>
            <a:off x="848518" y="5469978"/>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D6A82BC9-23E0-4D4A-8A5E-AD8A3DC0D59E}" type="datetime'2''''''''''''''0''''''''''''''1''''''''''''7'''''''">
              <a:rPr lang="en-GB" altLang="en-US" sz="1100" b="1" smtClean="0">
                <a:latin typeface="Trebuchet MS" panose="020B0603020202020204" pitchFamily="34" charset="0"/>
              </a:rPr>
              <a:pPr marL="0" indent="0" algn="ctr">
                <a:spcBef>
                  <a:spcPct val="0"/>
                </a:spcBef>
                <a:buNone/>
              </a:pPr>
              <a:t>2017</a:t>
            </a:fld>
            <a:endParaRPr lang="en-GB" sz="1100" b="1">
              <a:latin typeface="Trebuchet MS" panose="020B0603020202020204" pitchFamily="34" charset="0"/>
              <a:sym typeface="+mn-lt"/>
            </a:endParaRPr>
          </a:p>
        </p:txBody>
      </p:sp>
      <p:sp>
        <p:nvSpPr>
          <p:cNvPr id="36" name="Espace réservé du texte 2">
            <a:extLst>
              <a:ext uri="{FF2B5EF4-FFF2-40B4-BE49-F238E27FC236}">
                <a16:creationId xmlns:a16="http://schemas.microsoft.com/office/drawing/2014/main" id="{68A376C5-B0C0-483F-AD89-0C61BBB4920F}"/>
              </a:ext>
            </a:extLst>
          </p:cNvPr>
          <p:cNvSpPr>
            <a:spLocks noGrp="1"/>
          </p:cNvSpPr>
          <p:nvPr/>
        </p:nvSpPr>
        <p:spPr bwMode="auto">
          <a:xfrm>
            <a:off x="5830093" y="5469978"/>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B59AD539-ADBF-4C59-970A-700B10711FF0}" type="datetime'2''''''''''''''''''''''0''''''''2''''''''''''3'">
              <a:rPr lang="en-GB" altLang="en-US" sz="1100" b="1" smtClean="0">
                <a:latin typeface="Trebuchet MS" panose="020B0603020202020204" pitchFamily="34" charset="0"/>
              </a:rPr>
              <a:pPr marL="0" indent="0" algn="ctr">
                <a:spcBef>
                  <a:spcPct val="0"/>
                </a:spcBef>
                <a:buNone/>
              </a:pPr>
              <a:t>2023</a:t>
            </a:fld>
            <a:r>
              <a:rPr lang="en-GB" altLang="en-US" sz="1100" b="1">
                <a:latin typeface="Trebuchet MS" panose="020B0603020202020204" pitchFamily="34" charset="0"/>
              </a:rPr>
              <a:t>F</a:t>
            </a:r>
            <a:endParaRPr lang="en-GB" sz="1100" b="1">
              <a:latin typeface="Trebuchet MS" panose="020B0603020202020204" pitchFamily="34" charset="0"/>
              <a:sym typeface="+mn-lt"/>
            </a:endParaRPr>
          </a:p>
        </p:txBody>
      </p:sp>
      <p:sp>
        <p:nvSpPr>
          <p:cNvPr id="37" name="Espace réservé du texte 2">
            <a:extLst>
              <a:ext uri="{FF2B5EF4-FFF2-40B4-BE49-F238E27FC236}">
                <a16:creationId xmlns:a16="http://schemas.microsoft.com/office/drawing/2014/main" id="{97518191-B53A-4686-A937-FD0D2A91E2A5}"/>
              </a:ext>
            </a:extLst>
          </p:cNvPr>
          <p:cNvSpPr>
            <a:spLocks noGrp="1"/>
          </p:cNvSpPr>
          <p:nvPr/>
        </p:nvSpPr>
        <p:spPr bwMode="gray">
          <a:xfrm>
            <a:off x="7322343" y="5288756"/>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2.9</a:t>
            </a:r>
            <a:endParaRPr lang="en-GB" sz="1100">
              <a:solidFill>
                <a:schemeClr val="bg1"/>
              </a:solidFill>
              <a:latin typeface="Trebuchet MS" panose="020B0603020202020204" pitchFamily="34" charset="0"/>
              <a:sym typeface="+mn-lt"/>
            </a:endParaRPr>
          </a:p>
        </p:txBody>
      </p:sp>
      <p:sp>
        <p:nvSpPr>
          <p:cNvPr id="39" name="Espace réservé du texte 2">
            <a:extLst>
              <a:ext uri="{FF2B5EF4-FFF2-40B4-BE49-F238E27FC236}">
                <a16:creationId xmlns:a16="http://schemas.microsoft.com/office/drawing/2014/main" id="{10B40B40-FB30-4FDB-BE99-591FBB48A108}"/>
              </a:ext>
            </a:extLst>
          </p:cNvPr>
          <p:cNvSpPr>
            <a:spLocks noGrp="1"/>
          </p:cNvSpPr>
          <p:nvPr/>
        </p:nvSpPr>
        <p:spPr bwMode="gray">
          <a:xfrm>
            <a:off x="1575593" y="5266531"/>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1.0</a:t>
            </a:r>
            <a:endParaRPr lang="en-GB" sz="1100">
              <a:solidFill>
                <a:schemeClr val="bg1"/>
              </a:solidFill>
              <a:latin typeface="Trebuchet MS" panose="020B0603020202020204" pitchFamily="34" charset="0"/>
              <a:sym typeface="+mn-lt"/>
            </a:endParaRPr>
          </a:p>
        </p:txBody>
      </p:sp>
      <p:sp>
        <p:nvSpPr>
          <p:cNvPr id="41" name="Espace réservé du texte 2">
            <a:extLst>
              <a:ext uri="{FF2B5EF4-FFF2-40B4-BE49-F238E27FC236}">
                <a16:creationId xmlns:a16="http://schemas.microsoft.com/office/drawing/2014/main" id="{269F1D98-9851-43AF-A172-2DDDE27F369B}"/>
              </a:ext>
            </a:extLst>
          </p:cNvPr>
          <p:cNvSpPr>
            <a:spLocks noGrp="1"/>
          </p:cNvSpPr>
          <p:nvPr/>
        </p:nvSpPr>
        <p:spPr bwMode="gray">
          <a:xfrm>
            <a:off x="856456" y="5266531"/>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1.0</a:t>
            </a:r>
            <a:endParaRPr lang="en-GB" sz="1100">
              <a:solidFill>
                <a:schemeClr val="bg1"/>
              </a:solidFill>
              <a:latin typeface="Trebuchet MS" panose="020B0603020202020204" pitchFamily="34" charset="0"/>
              <a:sym typeface="+mn-lt"/>
            </a:endParaRPr>
          </a:p>
        </p:txBody>
      </p:sp>
      <p:sp>
        <p:nvSpPr>
          <p:cNvPr id="42" name="Espace réservé du texte 2">
            <a:extLst>
              <a:ext uri="{FF2B5EF4-FFF2-40B4-BE49-F238E27FC236}">
                <a16:creationId xmlns:a16="http://schemas.microsoft.com/office/drawing/2014/main" id="{D63DF832-A561-4852-A1F7-6954E229CCA8}"/>
              </a:ext>
            </a:extLst>
          </p:cNvPr>
          <p:cNvSpPr>
            <a:spLocks noGrp="1"/>
          </p:cNvSpPr>
          <p:nvPr/>
        </p:nvSpPr>
        <p:spPr bwMode="auto">
          <a:xfrm>
            <a:off x="2964656" y="5469978"/>
            <a:ext cx="38417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99A1D52C-7F15-4422-A98F-844CC100EF9E}" type="datetime'''''''2''''''''''''''''''''''''02''''''''''''''0''B'''''">
              <a:rPr lang="en-GB" altLang="en-US" sz="1100" b="1" smtClean="0">
                <a:latin typeface="Trebuchet MS" panose="020B0603020202020204" pitchFamily="34" charset="0"/>
              </a:rPr>
              <a:pPr marL="0" indent="0" algn="ctr">
                <a:spcBef>
                  <a:spcPct val="0"/>
                </a:spcBef>
                <a:buNone/>
              </a:pPr>
              <a:t>2020B</a:t>
            </a:fld>
            <a:endParaRPr lang="en-GB" sz="1100" b="1">
              <a:latin typeface="Trebuchet MS" panose="020B0603020202020204" pitchFamily="34" charset="0"/>
              <a:sym typeface="+mn-lt"/>
            </a:endParaRPr>
          </a:p>
        </p:txBody>
      </p:sp>
      <p:sp>
        <p:nvSpPr>
          <p:cNvPr id="43" name="Espace réservé du texte 2">
            <a:extLst>
              <a:ext uri="{FF2B5EF4-FFF2-40B4-BE49-F238E27FC236}">
                <a16:creationId xmlns:a16="http://schemas.microsoft.com/office/drawing/2014/main" id="{308C021F-D920-4FA7-912A-2405D4210D1A}"/>
              </a:ext>
            </a:extLst>
          </p:cNvPr>
          <p:cNvSpPr>
            <a:spLocks noGrp="1"/>
          </p:cNvSpPr>
          <p:nvPr/>
        </p:nvSpPr>
        <p:spPr bwMode="auto">
          <a:xfrm>
            <a:off x="2285206" y="5469978"/>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BAF60A37-A0A4-4A86-91CD-938F35AB6DA2}" type="datetime'''''''''2''''''0''''''''''''''''''''1''9'''''">
              <a:rPr lang="en-GB" altLang="en-US" sz="1100" b="1" smtClean="0">
                <a:latin typeface="Trebuchet MS" panose="020B0603020202020204" pitchFamily="34" charset="0"/>
              </a:rPr>
              <a:pPr marL="0" indent="0" algn="ctr">
                <a:spcBef>
                  <a:spcPct val="0"/>
                </a:spcBef>
                <a:buNone/>
              </a:pPr>
              <a:t>2019</a:t>
            </a:fld>
            <a:endParaRPr lang="en-GB" sz="1100" b="1">
              <a:latin typeface="Trebuchet MS" panose="020B0603020202020204" pitchFamily="34" charset="0"/>
              <a:sym typeface="+mn-lt"/>
            </a:endParaRPr>
          </a:p>
        </p:txBody>
      </p:sp>
      <p:sp>
        <p:nvSpPr>
          <p:cNvPr id="44" name="Espace réservé du texte 2">
            <a:extLst>
              <a:ext uri="{FF2B5EF4-FFF2-40B4-BE49-F238E27FC236}">
                <a16:creationId xmlns:a16="http://schemas.microsoft.com/office/drawing/2014/main" id="{DF753A02-8D13-47BA-9640-80E546CF631E}"/>
              </a:ext>
            </a:extLst>
          </p:cNvPr>
          <p:cNvSpPr>
            <a:spLocks noGrp="1"/>
          </p:cNvSpPr>
          <p:nvPr/>
        </p:nvSpPr>
        <p:spPr bwMode="auto">
          <a:xfrm>
            <a:off x="1567656" y="5469978"/>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306BFC94-75FC-45AC-B5B5-52A9546C6AEB}" type="datetime'20''''''''''''''''''''1''''''''''''''''''''''''''''''''8'">
              <a:rPr lang="en-GB" altLang="en-US" sz="1100" b="1" smtClean="0">
                <a:latin typeface="Trebuchet MS" panose="020B0603020202020204" pitchFamily="34" charset="0"/>
              </a:rPr>
              <a:pPr marL="0" indent="0" algn="ctr">
                <a:spcBef>
                  <a:spcPct val="0"/>
                </a:spcBef>
                <a:buNone/>
              </a:pPr>
              <a:t>2018</a:t>
            </a:fld>
            <a:endParaRPr lang="en-GB" sz="1100" b="1">
              <a:latin typeface="Trebuchet MS" panose="020B0603020202020204" pitchFamily="34" charset="0"/>
              <a:sym typeface="+mn-lt"/>
            </a:endParaRPr>
          </a:p>
        </p:txBody>
      </p:sp>
      <p:sp>
        <p:nvSpPr>
          <p:cNvPr id="47" name="Espace réservé du texte 2">
            <a:extLst>
              <a:ext uri="{FF2B5EF4-FFF2-40B4-BE49-F238E27FC236}">
                <a16:creationId xmlns:a16="http://schemas.microsoft.com/office/drawing/2014/main" id="{2121BC6D-8714-4066-AB51-5035C6A05988}"/>
              </a:ext>
            </a:extLst>
          </p:cNvPr>
          <p:cNvSpPr>
            <a:spLocks noGrp="1"/>
          </p:cNvSpPr>
          <p:nvPr/>
        </p:nvSpPr>
        <p:spPr bwMode="gray">
          <a:xfrm>
            <a:off x="2293143" y="5280818"/>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2.3</a:t>
            </a:r>
            <a:endParaRPr lang="en-GB" sz="1100">
              <a:solidFill>
                <a:schemeClr val="bg1"/>
              </a:solidFill>
              <a:latin typeface="Trebuchet MS" panose="020B0603020202020204" pitchFamily="34" charset="0"/>
              <a:sym typeface="+mn-lt"/>
            </a:endParaRPr>
          </a:p>
        </p:txBody>
      </p:sp>
      <p:sp>
        <p:nvSpPr>
          <p:cNvPr id="49" name="Espace réservé du texte 2">
            <a:extLst>
              <a:ext uri="{FF2B5EF4-FFF2-40B4-BE49-F238E27FC236}">
                <a16:creationId xmlns:a16="http://schemas.microsoft.com/office/drawing/2014/main" id="{CEADB9B1-D966-4314-A0D8-6A7FC6820124}"/>
              </a:ext>
            </a:extLst>
          </p:cNvPr>
          <p:cNvSpPr>
            <a:spLocks noGrp="1"/>
          </p:cNvSpPr>
          <p:nvPr/>
        </p:nvSpPr>
        <p:spPr bwMode="gray">
          <a:xfrm>
            <a:off x="3729831" y="5280818"/>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2.2</a:t>
            </a:r>
            <a:endParaRPr lang="en-GB" sz="1100">
              <a:solidFill>
                <a:schemeClr val="bg1"/>
              </a:solidFill>
              <a:latin typeface="Trebuchet MS" panose="020B0603020202020204" pitchFamily="34" charset="0"/>
              <a:sym typeface="+mn-lt"/>
            </a:endParaRPr>
          </a:p>
        </p:txBody>
      </p:sp>
      <p:sp>
        <p:nvSpPr>
          <p:cNvPr id="59" name="Espace réservé du texte 2">
            <a:extLst>
              <a:ext uri="{FF2B5EF4-FFF2-40B4-BE49-F238E27FC236}">
                <a16:creationId xmlns:a16="http://schemas.microsoft.com/office/drawing/2014/main" id="{F4E946C6-1BFF-4302-85FF-58E286326C81}"/>
              </a:ext>
            </a:extLst>
          </p:cNvPr>
          <p:cNvSpPr>
            <a:spLocks noGrp="1"/>
          </p:cNvSpPr>
          <p:nvPr/>
        </p:nvSpPr>
        <p:spPr bwMode="auto">
          <a:xfrm>
            <a:off x="3963888" y="2097088"/>
            <a:ext cx="207895" cy="162642"/>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sz="800" b="1">
                <a:latin typeface="Trebuchet MS" panose="020B0603020202020204" pitchFamily="34" charset="0"/>
                <a:sym typeface="+mn-lt"/>
              </a:rPr>
              <a:t>+6%</a:t>
            </a:r>
          </a:p>
        </p:txBody>
      </p:sp>
      <p:sp>
        <p:nvSpPr>
          <p:cNvPr id="71" name="Bulle narrative : rectangle à coins arrondis 70">
            <a:extLst>
              <a:ext uri="{FF2B5EF4-FFF2-40B4-BE49-F238E27FC236}">
                <a16:creationId xmlns:a16="http://schemas.microsoft.com/office/drawing/2014/main" id="{89DCF5DA-2116-4628-A777-6A754A54306F}"/>
              </a:ext>
            </a:extLst>
          </p:cNvPr>
          <p:cNvSpPr/>
          <p:nvPr/>
        </p:nvSpPr>
        <p:spPr bwMode="auto">
          <a:xfrm>
            <a:off x="3028293" y="5748197"/>
            <a:ext cx="1501502" cy="756000"/>
          </a:xfrm>
          <a:prstGeom prst="wedgeRoundRectCallout">
            <a:avLst>
              <a:gd name="adj1" fmla="val -40292"/>
              <a:gd name="adj2" fmla="val -66171"/>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2020 revenue </a:t>
            </a:r>
            <a:r>
              <a:rPr lang="en-GB" sz="1000" b="1">
                <a:solidFill>
                  <a:schemeClr val="tx2"/>
                </a:solidFill>
                <a:latin typeface="Trebuchet MS" panose="020B0603020202020204" pitchFamily="34" charset="0"/>
              </a:rPr>
              <a:t>in line with b</a:t>
            </a:r>
            <a:r>
              <a:rPr kumimoji="0" lang="en-GB" sz="1000" b="1" i="0" u="none" strike="noStrike" cap="none" normalizeH="0" baseline="0">
                <a:ln>
                  <a:noFill/>
                </a:ln>
                <a:solidFill>
                  <a:schemeClr val="tx2"/>
                </a:solidFill>
                <a:effectLst/>
                <a:latin typeface="Trebuchet MS" panose="020B0603020202020204" pitchFamily="34" charset="0"/>
              </a:rPr>
              <a:t>udgeted 2020 </a:t>
            </a:r>
            <a:r>
              <a:rPr kumimoji="0" lang="en-GB" sz="1000" b="0" i="0" u="none" strike="noStrike" cap="none" normalizeH="0" baseline="0">
                <a:ln>
                  <a:noFill/>
                </a:ln>
                <a:solidFill>
                  <a:schemeClr val="tx1"/>
                </a:solidFill>
                <a:effectLst/>
                <a:latin typeface="Trebuchet MS" panose="020B0603020202020204" pitchFamily="34" charset="0"/>
              </a:rPr>
              <a:t>growth before the Covid-19 crisis</a:t>
            </a:r>
          </a:p>
        </p:txBody>
      </p:sp>
      <p:sp>
        <p:nvSpPr>
          <p:cNvPr id="73" name="Bulle narrative : rectangle à coins arrondis 72">
            <a:extLst>
              <a:ext uri="{FF2B5EF4-FFF2-40B4-BE49-F238E27FC236}">
                <a16:creationId xmlns:a16="http://schemas.microsoft.com/office/drawing/2014/main" id="{C4A592BD-4F83-42B7-91E4-03EA4491B466}"/>
              </a:ext>
            </a:extLst>
          </p:cNvPr>
          <p:cNvSpPr/>
          <p:nvPr/>
        </p:nvSpPr>
        <p:spPr bwMode="auto">
          <a:xfrm>
            <a:off x="1886695" y="998937"/>
            <a:ext cx="1070283" cy="769918"/>
          </a:xfrm>
          <a:prstGeom prst="wedgeRoundRectCallout">
            <a:avLst>
              <a:gd name="adj1" fmla="val 47774"/>
              <a:gd name="adj2" fmla="val 65350"/>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Flat 2020 with </a:t>
            </a:r>
            <a:r>
              <a:rPr kumimoji="0" lang="en-GB" sz="1000" b="1" i="0" u="none" strike="noStrike" cap="none" normalizeH="0" baseline="0">
                <a:ln>
                  <a:noFill/>
                </a:ln>
                <a:solidFill>
                  <a:schemeClr val="accent4"/>
                </a:solidFill>
                <a:effectLst/>
                <a:latin typeface="Trebuchet MS" panose="020B0603020202020204" pitchFamily="34" charset="0"/>
              </a:rPr>
              <a:t>Covid-19</a:t>
            </a:r>
            <a:r>
              <a:rPr kumimoji="0" lang="en-GB" sz="1000" b="0" i="0" u="none" strike="noStrike" cap="none" normalizeH="0" baseline="0">
                <a:ln>
                  <a:noFill/>
                </a:ln>
                <a:solidFill>
                  <a:schemeClr val="tx1"/>
                </a:solidFill>
                <a:effectLst/>
                <a:latin typeface="Trebuchet MS" panose="020B0603020202020204" pitchFamily="34" charset="0"/>
              </a:rPr>
              <a:t> crisis </a:t>
            </a:r>
            <a:r>
              <a:rPr kumimoji="0" lang="en-GB" sz="1000" b="0" i="0" u="none" strike="noStrike" cap="none" normalizeH="0" baseline="0" err="1">
                <a:ln>
                  <a:noFill/>
                </a:ln>
                <a:solidFill>
                  <a:schemeClr val="tx1"/>
                </a:solidFill>
                <a:effectLst/>
                <a:latin typeface="Trebuchet MS" panose="020B0603020202020204" pitchFamily="34" charset="0"/>
              </a:rPr>
              <a:t>leveling</a:t>
            </a:r>
            <a:r>
              <a:rPr kumimoji="0" lang="en-GB" sz="1000" b="0" i="0" u="none" strike="noStrike" cap="none" normalizeH="0" baseline="0">
                <a:ln>
                  <a:noFill/>
                </a:ln>
                <a:solidFill>
                  <a:schemeClr val="tx1"/>
                </a:solidFill>
                <a:effectLst/>
                <a:latin typeface="Trebuchet MS" panose="020B0603020202020204" pitchFamily="34" charset="0"/>
              </a:rPr>
              <a:t> the actual growth</a:t>
            </a:r>
          </a:p>
        </p:txBody>
      </p:sp>
      <p:sp>
        <p:nvSpPr>
          <p:cNvPr id="74" name="Bulle narrative : rectangle à coins arrondis 73">
            <a:extLst>
              <a:ext uri="{FF2B5EF4-FFF2-40B4-BE49-F238E27FC236}">
                <a16:creationId xmlns:a16="http://schemas.microsoft.com/office/drawing/2014/main" id="{5E6094B5-BE2D-4EE1-915D-CA3BF0FAC358}"/>
              </a:ext>
            </a:extLst>
          </p:cNvPr>
          <p:cNvSpPr/>
          <p:nvPr/>
        </p:nvSpPr>
        <p:spPr bwMode="auto">
          <a:xfrm>
            <a:off x="3062961" y="1000685"/>
            <a:ext cx="794945" cy="515065"/>
          </a:xfrm>
          <a:prstGeom prst="wedgeRoundRectCallout">
            <a:avLst>
              <a:gd name="adj1" fmla="val 62956"/>
              <a:gd name="adj2" fmla="val 144829"/>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Post Covid-19 </a:t>
            </a:r>
            <a:r>
              <a:rPr kumimoji="0" lang="en-GB" sz="1000" b="1" i="0" u="none" strike="noStrike" cap="none" normalizeH="0" baseline="0">
                <a:ln>
                  <a:noFill/>
                </a:ln>
                <a:solidFill>
                  <a:schemeClr val="tx2"/>
                </a:solidFill>
                <a:effectLst/>
                <a:latin typeface="Trebuchet MS" panose="020B0603020202020204" pitchFamily="34" charset="0"/>
              </a:rPr>
              <a:t>catch up effect </a:t>
            </a:r>
          </a:p>
        </p:txBody>
      </p:sp>
      <p:sp>
        <p:nvSpPr>
          <p:cNvPr id="75" name="Bulle narrative : rectangle à coins arrondis 74">
            <a:extLst>
              <a:ext uri="{FF2B5EF4-FFF2-40B4-BE49-F238E27FC236}">
                <a16:creationId xmlns:a16="http://schemas.microsoft.com/office/drawing/2014/main" id="{F2AEEA7C-77ED-4575-A814-87AF7D892142}"/>
              </a:ext>
            </a:extLst>
          </p:cNvPr>
          <p:cNvSpPr/>
          <p:nvPr/>
        </p:nvSpPr>
        <p:spPr bwMode="auto">
          <a:xfrm>
            <a:off x="3963888" y="1003715"/>
            <a:ext cx="2412000" cy="513783"/>
          </a:xfrm>
          <a:prstGeom prst="wedgeRoundRectCallout">
            <a:avLst>
              <a:gd name="adj1" fmla="val -21407"/>
              <a:gd name="adj2" fmla="val 78508"/>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tx2"/>
                </a:solidFill>
                <a:latin typeface="Trebuchet MS" panose="020B0603020202020204" pitchFamily="34" charset="0"/>
              </a:rPr>
              <a:t>Back on growth track record </a:t>
            </a:r>
            <a:r>
              <a:rPr lang="en-GB" sz="1000">
                <a:latin typeface="Trebuchet MS" panose="020B0603020202020204" pitchFamily="34" charset="0"/>
              </a:rPr>
              <a:t>thanks to commercial push organization and the landing of the new product strategy</a:t>
            </a:r>
            <a:endParaRPr kumimoji="0" lang="en-GB" sz="1000" b="0" i="0" u="none" strike="noStrike" cap="none" normalizeH="0" baseline="0">
              <a:ln>
                <a:noFill/>
              </a:ln>
              <a:solidFill>
                <a:schemeClr val="tx1"/>
              </a:solidFill>
              <a:effectLst/>
              <a:latin typeface="Trebuchet MS" panose="020B0603020202020204" pitchFamily="34" charset="0"/>
            </a:endParaRPr>
          </a:p>
        </p:txBody>
      </p:sp>
      <p:sp>
        <p:nvSpPr>
          <p:cNvPr id="76" name="Bulle narrative : rectangle à coins arrondis 75">
            <a:extLst>
              <a:ext uri="{FF2B5EF4-FFF2-40B4-BE49-F238E27FC236}">
                <a16:creationId xmlns:a16="http://schemas.microsoft.com/office/drawing/2014/main" id="{E4C09340-52C9-4A5F-9C01-1DA736DB741C}"/>
              </a:ext>
            </a:extLst>
          </p:cNvPr>
          <p:cNvSpPr/>
          <p:nvPr/>
        </p:nvSpPr>
        <p:spPr bwMode="auto">
          <a:xfrm>
            <a:off x="41417" y="5748198"/>
            <a:ext cx="1908000" cy="756000"/>
          </a:xfrm>
          <a:prstGeom prst="wedgeRoundRectCallout">
            <a:avLst>
              <a:gd name="adj1" fmla="val -9463"/>
              <a:gd name="adj2" fmla="val -16508"/>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Former company organization with </a:t>
            </a:r>
            <a:r>
              <a:rPr kumimoji="0" lang="en-GB" sz="1000" b="1" i="0" u="none" strike="noStrike" cap="none" normalizeH="0" baseline="0">
                <a:ln>
                  <a:noFill/>
                </a:ln>
                <a:solidFill>
                  <a:schemeClr val="tx2"/>
                </a:solidFill>
                <a:effectLst/>
                <a:latin typeface="Trebuchet MS" panose="020B0603020202020204" pitchFamily="34" charset="0"/>
              </a:rPr>
              <a:t>multiple successive management transition </a:t>
            </a:r>
            <a:r>
              <a:rPr kumimoji="0" lang="en-GB" sz="1000" b="0" i="0" u="none" strike="noStrike" cap="none" normalizeH="0" baseline="0">
                <a:ln>
                  <a:noFill/>
                </a:ln>
                <a:solidFill>
                  <a:schemeClr val="tx1"/>
                </a:solidFill>
                <a:effectLst/>
                <a:latin typeface="Trebuchet MS" panose="020B0603020202020204" pitchFamily="34" charset="0"/>
              </a:rPr>
              <a:t>limiting </a:t>
            </a:r>
            <a:r>
              <a:rPr lang="en-GB" sz="1000" err="1">
                <a:latin typeface="Trebuchet MS" panose="020B0603020202020204" pitchFamily="34" charset="0"/>
              </a:rPr>
              <a:t>A</a:t>
            </a:r>
            <a:r>
              <a:rPr kumimoji="0" lang="en-GB" sz="1000" b="0" i="0" u="none" strike="noStrike" cap="none" normalizeH="0" baseline="0" err="1">
                <a:ln>
                  <a:noFill/>
                </a:ln>
                <a:solidFill>
                  <a:schemeClr val="tx1"/>
                </a:solidFill>
                <a:effectLst/>
                <a:latin typeface="Trebuchet MS" panose="020B0603020202020204" pitchFamily="34" charset="0"/>
              </a:rPr>
              <a:t>ltares</a:t>
            </a:r>
            <a:r>
              <a:rPr kumimoji="0" lang="en-GB" sz="1000" b="0" i="0" u="none" strike="noStrike" cap="none" normalizeH="0" baseline="0">
                <a:ln>
                  <a:noFill/>
                </a:ln>
                <a:solidFill>
                  <a:schemeClr val="tx1"/>
                </a:solidFill>
                <a:effectLst/>
                <a:latin typeface="Trebuchet MS" panose="020B0603020202020204" pitchFamily="34" charset="0"/>
              </a:rPr>
              <a:t> ability to grow due to </a:t>
            </a:r>
            <a:r>
              <a:rPr kumimoji="0" lang="en-GB" sz="1000" b="1" i="0" u="none" strike="noStrike" cap="none" normalizeH="0" baseline="0">
                <a:ln>
                  <a:noFill/>
                </a:ln>
                <a:solidFill>
                  <a:schemeClr val="tx2"/>
                </a:solidFill>
                <a:effectLst/>
                <a:latin typeface="Trebuchet MS" panose="020B0603020202020204" pitchFamily="34" charset="0"/>
              </a:rPr>
              <a:t>product disinvestment </a:t>
            </a:r>
          </a:p>
        </p:txBody>
      </p:sp>
      <p:sp>
        <p:nvSpPr>
          <p:cNvPr id="86" name="Bulle narrative : rectangle à coins arrondis 85">
            <a:extLst>
              <a:ext uri="{FF2B5EF4-FFF2-40B4-BE49-F238E27FC236}">
                <a16:creationId xmlns:a16="http://schemas.microsoft.com/office/drawing/2014/main" id="{E540C764-9371-4944-931C-A58CCCE5DA1E}"/>
              </a:ext>
            </a:extLst>
          </p:cNvPr>
          <p:cNvSpPr/>
          <p:nvPr/>
        </p:nvSpPr>
        <p:spPr bwMode="auto">
          <a:xfrm>
            <a:off x="7643660" y="1154898"/>
            <a:ext cx="1584000" cy="612000"/>
          </a:xfrm>
          <a:prstGeom prst="wedgeRoundRectCallout">
            <a:avLst>
              <a:gd name="adj1" fmla="val -91575"/>
              <a:gd name="adj2" fmla="val -1045"/>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tx2"/>
                </a:solidFill>
                <a:latin typeface="Trebuchet MS" panose="020B0603020202020204" pitchFamily="34" charset="0"/>
              </a:rPr>
              <a:t>Growth acceleration </a:t>
            </a:r>
            <a:r>
              <a:rPr lang="en-GB" sz="1000">
                <a:latin typeface="Trebuchet MS" panose="020B0603020202020204" pitchFamily="34" charset="0"/>
              </a:rPr>
              <a:t>with the landing of key structuring projects</a:t>
            </a:r>
            <a:endParaRPr kumimoji="0" lang="en-GB" sz="1000" b="0" i="0" u="none" strike="noStrike" cap="none" normalizeH="0" baseline="0">
              <a:ln>
                <a:noFill/>
              </a:ln>
              <a:solidFill>
                <a:schemeClr val="tx1"/>
              </a:solidFill>
              <a:effectLst/>
              <a:latin typeface="Trebuchet MS" panose="020B0603020202020204" pitchFamily="34" charset="0"/>
            </a:endParaRPr>
          </a:p>
        </p:txBody>
      </p:sp>
      <p:cxnSp>
        <p:nvCxnSpPr>
          <p:cNvPr id="87" name="Connecteur droit 86">
            <a:extLst>
              <a:ext uri="{FF2B5EF4-FFF2-40B4-BE49-F238E27FC236}">
                <a16:creationId xmlns:a16="http://schemas.microsoft.com/office/drawing/2014/main" id="{CC28FEE7-511B-46F6-88C6-01B47C277C64}"/>
              </a:ext>
            </a:extLst>
          </p:cNvPr>
          <p:cNvCxnSpPr/>
          <p:nvPr/>
        </p:nvCxnSpPr>
        <p:spPr bwMode="auto">
          <a:xfrm>
            <a:off x="5156100" y="2036241"/>
            <a:ext cx="0" cy="15716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88" name="Connecteur droit 87">
            <a:extLst>
              <a:ext uri="{FF2B5EF4-FFF2-40B4-BE49-F238E27FC236}">
                <a16:creationId xmlns:a16="http://schemas.microsoft.com/office/drawing/2014/main" id="{09A166F9-6E62-4FEE-8289-E6774562302F}"/>
              </a:ext>
            </a:extLst>
          </p:cNvPr>
          <p:cNvCxnSpPr/>
          <p:nvPr/>
        </p:nvCxnSpPr>
        <p:spPr bwMode="auto">
          <a:xfrm flipV="1">
            <a:off x="4475062" y="2036241"/>
            <a:ext cx="0" cy="293688"/>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89" name="Connecteur droit 88">
            <a:extLst>
              <a:ext uri="{FF2B5EF4-FFF2-40B4-BE49-F238E27FC236}">
                <a16:creationId xmlns:a16="http://schemas.microsoft.com/office/drawing/2014/main" id="{49538314-803F-4AAE-9DDF-29A24C3748F5}"/>
              </a:ext>
            </a:extLst>
          </p:cNvPr>
          <p:cNvCxnSpPr>
            <a:cxnSpLocks/>
          </p:cNvCxnSpPr>
          <p:nvPr/>
        </p:nvCxnSpPr>
        <p:spPr bwMode="auto">
          <a:xfrm>
            <a:off x="4475062" y="2036241"/>
            <a:ext cx="68103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90" name="Espace réservé du texte 2">
            <a:extLst>
              <a:ext uri="{FF2B5EF4-FFF2-40B4-BE49-F238E27FC236}">
                <a16:creationId xmlns:a16="http://schemas.microsoft.com/office/drawing/2014/main" id="{55448A36-EA51-4338-BF14-369F81E1B6F5}"/>
              </a:ext>
            </a:extLst>
          </p:cNvPr>
          <p:cNvSpPr>
            <a:spLocks noGrp="1"/>
          </p:cNvSpPr>
          <p:nvPr/>
        </p:nvSpPr>
        <p:spPr bwMode="auto">
          <a:xfrm>
            <a:off x="4676433" y="1963950"/>
            <a:ext cx="276709" cy="162642"/>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latin typeface="Trebuchet MS" panose="020B0603020202020204" pitchFamily="34" charset="0"/>
              </a:rPr>
              <a:t>+</a:t>
            </a:r>
            <a:r>
              <a:rPr lang="en-GB" altLang="en-US" sz="800" b="1">
                <a:latin typeface="Trebuchet MS" panose="020B0603020202020204" pitchFamily="34" charset="0"/>
              </a:rPr>
              <a:t>5,5</a:t>
            </a:r>
            <a:r>
              <a:rPr lang="en-GB" altLang="en-US" sz="800" b="1">
                <a:effectLst/>
                <a:latin typeface="Trebuchet MS" panose="020B0603020202020204" pitchFamily="34" charset="0"/>
              </a:rPr>
              <a:t>%</a:t>
            </a:r>
            <a:endParaRPr lang="en-GB" sz="800" b="1">
              <a:latin typeface="Trebuchet MS" panose="020B0603020202020204" pitchFamily="34" charset="0"/>
              <a:sym typeface="+mn-lt"/>
            </a:endParaRPr>
          </a:p>
        </p:txBody>
      </p:sp>
      <p:cxnSp>
        <p:nvCxnSpPr>
          <p:cNvPr id="91" name="Connecteur droit 90">
            <a:extLst>
              <a:ext uri="{FF2B5EF4-FFF2-40B4-BE49-F238E27FC236}">
                <a16:creationId xmlns:a16="http://schemas.microsoft.com/office/drawing/2014/main" id="{02D1E337-EE53-4680-82EB-7D6FF5BDDDF3}"/>
              </a:ext>
            </a:extLst>
          </p:cNvPr>
          <p:cNvCxnSpPr>
            <a:cxnSpLocks/>
          </p:cNvCxnSpPr>
          <p:nvPr/>
        </p:nvCxnSpPr>
        <p:spPr bwMode="auto">
          <a:xfrm flipV="1">
            <a:off x="3696728" y="1515750"/>
            <a:ext cx="3567711" cy="574973"/>
          </a:xfrm>
          <a:prstGeom prst="line">
            <a:avLst/>
          </a:prstGeom>
          <a:solidFill>
            <a:schemeClr val="accent1"/>
          </a:solidFill>
          <a:ln w="19050" cap="flat" cmpd="sng" algn="ctr">
            <a:solidFill>
              <a:schemeClr val="tx1"/>
            </a:solidFill>
            <a:prstDash val="solid"/>
            <a:round/>
            <a:headEnd type="none" w="med" len="med"/>
            <a:tailEnd type="triangle" w="med" len="med"/>
          </a:ln>
          <a:effectLst/>
        </p:spPr>
      </p:cxnSp>
      <p:sp>
        <p:nvSpPr>
          <p:cNvPr id="92" name="Espace réservé du texte 2">
            <a:extLst>
              <a:ext uri="{FF2B5EF4-FFF2-40B4-BE49-F238E27FC236}">
                <a16:creationId xmlns:a16="http://schemas.microsoft.com/office/drawing/2014/main" id="{06700BFA-DEE3-4F86-9D33-386D9140B42C}"/>
              </a:ext>
            </a:extLst>
          </p:cNvPr>
          <p:cNvSpPr>
            <a:spLocks noGrp="1"/>
          </p:cNvSpPr>
          <p:nvPr/>
        </p:nvSpPr>
        <p:spPr bwMode="auto">
          <a:xfrm>
            <a:off x="5113260" y="1665565"/>
            <a:ext cx="557213" cy="238125"/>
          </a:xfrm>
          <a:prstGeom prst="ellipse">
            <a:avLst/>
          </a:prstGeom>
          <a:solidFill>
            <a:schemeClr val="bg1"/>
          </a:solidFill>
          <a:ln w="9525" algn="ctr">
            <a:solidFill>
              <a:schemeClr val="bg1">
                <a:lumMod val="50000"/>
              </a:schemeClr>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b="1">
                <a:effectLst/>
                <a:latin typeface="Trebuchet MS" panose="020B0603020202020204" pitchFamily="34" charset="0"/>
                <a:sym typeface="+mn-lt"/>
              </a:rPr>
              <a:t>+</a:t>
            </a:r>
            <a:r>
              <a:rPr lang="en-GB" altLang="en-US" sz="1100" b="1">
                <a:latin typeface="Trebuchet MS" panose="020B0603020202020204" pitchFamily="34" charset="0"/>
                <a:sym typeface="+mn-lt"/>
              </a:rPr>
              <a:t>5,5%</a:t>
            </a:r>
            <a:endParaRPr lang="en-GB" sz="1100" b="1">
              <a:latin typeface="Trebuchet MS" panose="020B0603020202020204" pitchFamily="34" charset="0"/>
              <a:sym typeface="+mn-lt"/>
            </a:endParaRPr>
          </a:p>
        </p:txBody>
      </p:sp>
      <p:sp>
        <p:nvSpPr>
          <p:cNvPr id="93" name="Bulle narrative : rectangle à coins arrondis 92">
            <a:extLst>
              <a:ext uri="{FF2B5EF4-FFF2-40B4-BE49-F238E27FC236}">
                <a16:creationId xmlns:a16="http://schemas.microsoft.com/office/drawing/2014/main" id="{25B70C1C-901B-4693-9BC5-4410EE080BF5}"/>
              </a:ext>
            </a:extLst>
          </p:cNvPr>
          <p:cNvSpPr/>
          <p:nvPr/>
        </p:nvSpPr>
        <p:spPr bwMode="auto">
          <a:xfrm>
            <a:off x="2018062" y="5748198"/>
            <a:ext cx="923704" cy="756000"/>
          </a:xfrm>
          <a:prstGeom prst="wedgeRoundRectCallout">
            <a:avLst>
              <a:gd name="adj1" fmla="val -7437"/>
              <a:gd name="adj2" fmla="val -63677"/>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tx2"/>
                </a:solidFill>
                <a:latin typeface="Trebuchet MS" panose="020B0603020202020204" pitchFamily="34" charset="0"/>
              </a:rPr>
              <a:t>New management </a:t>
            </a:r>
            <a:r>
              <a:rPr lang="en-GB" sz="1000">
                <a:latin typeface="Trebuchet MS" panose="020B0603020202020204" pitchFamily="34" charset="0"/>
              </a:rPr>
              <a:t>and </a:t>
            </a:r>
            <a:r>
              <a:rPr lang="en-GB" sz="1000" err="1">
                <a:latin typeface="Trebuchet MS" panose="020B0603020202020204" pitchFamily="34" charset="0"/>
              </a:rPr>
              <a:t>ExCo</a:t>
            </a:r>
            <a:r>
              <a:rPr lang="en-GB" sz="1000">
                <a:latin typeface="Trebuchet MS" panose="020B0603020202020204" pitchFamily="34" charset="0"/>
              </a:rPr>
              <a:t> organization (2019) </a:t>
            </a:r>
            <a:endParaRPr kumimoji="0" lang="en-GB" sz="1000" b="0" i="0" u="none" strike="noStrike" cap="none" normalizeH="0" baseline="0">
              <a:ln>
                <a:noFill/>
              </a:ln>
              <a:solidFill>
                <a:schemeClr val="tx1"/>
              </a:solidFill>
              <a:effectLst/>
              <a:latin typeface="Trebuchet MS" panose="020B0603020202020204" pitchFamily="34" charset="0"/>
            </a:endParaRPr>
          </a:p>
        </p:txBody>
      </p:sp>
      <p:cxnSp>
        <p:nvCxnSpPr>
          <p:cNvPr id="98" name="Connecteur droit 97">
            <a:extLst>
              <a:ext uri="{FF2B5EF4-FFF2-40B4-BE49-F238E27FC236}">
                <a16:creationId xmlns:a16="http://schemas.microsoft.com/office/drawing/2014/main" id="{BA0AE6B6-63C7-4B2D-9BA0-21DF95055656}"/>
              </a:ext>
            </a:extLst>
          </p:cNvPr>
          <p:cNvCxnSpPr>
            <a:cxnSpLocks/>
          </p:cNvCxnSpPr>
          <p:nvPr/>
        </p:nvCxnSpPr>
        <p:spPr bwMode="auto">
          <a:xfrm flipV="1">
            <a:off x="2409825" y="1990451"/>
            <a:ext cx="1312068" cy="274"/>
          </a:xfrm>
          <a:prstGeom prst="line">
            <a:avLst/>
          </a:prstGeom>
          <a:solidFill>
            <a:schemeClr val="accent1"/>
          </a:solidFill>
          <a:ln w="19050" cap="flat" cmpd="sng" algn="ctr">
            <a:solidFill>
              <a:schemeClr val="accent4"/>
            </a:solidFill>
            <a:prstDash val="solid"/>
            <a:round/>
            <a:headEnd type="none" w="med" len="med"/>
            <a:tailEnd type="triangle" w="med" len="med"/>
          </a:ln>
          <a:effectLst/>
        </p:spPr>
      </p:cxnSp>
      <p:sp>
        <p:nvSpPr>
          <p:cNvPr id="100" name="Espace réservé du texte 2">
            <a:extLst>
              <a:ext uri="{FF2B5EF4-FFF2-40B4-BE49-F238E27FC236}">
                <a16:creationId xmlns:a16="http://schemas.microsoft.com/office/drawing/2014/main" id="{0AA3095B-D11C-4573-9112-D8BEE96FA726}"/>
              </a:ext>
            </a:extLst>
          </p:cNvPr>
          <p:cNvSpPr>
            <a:spLocks noGrp="1"/>
          </p:cNvSpPr>
          <p:nvPr/>
        </p:nvSpPr>
        <p:spPr bwMode="auto">
          <a:xfrm>
            <a:off x="2819495" y="1892053"/>
            <a:ext cx="460506" cy="196797"/>
          </a:xfrm>
          <a:prstGeom prst="ellipse">
            <a:avLst/>
          </a:prstGeom>
          <a:solidFill>
            <a:schemeClr val="bg1"/>
          </a:solidFill>
          <a:ln w="9525" algn="ctr">
            <a:solidFill>
              <a:schemeClr val="accent4"/>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solidFill>
                  <a:schemeClr val="accent4"/>
                </a:solidFill>
                <a:latin typeface="Trebuchet MS" panose="020B0603020202020204" pitchFamily="34" charset="0"/>
                <a:sym typeface="+mn-lt"/>
              </a:rPr>
              <a:t>-0.4%</a:t>
            </a:r>
            <a:endParaRPr lang="en-GB" sz="800" b="1">
              <a:solidFill>
                <a:schemeClr val="accent4"/>
              </a:solidFill>
              <a:latin typeface="Trebuchet MS" panose="020B0603020202020204" pitchFamily="34" charset="0"/>
              <a:sym typeface="+mn-lt"/>
            </a:endParaRPr>
          </a:p>
        </p:txBody>
      </p:sp>
      <p:sp>
        <p:nvSpPr>
          <p:cNvPr id="4" name="Rectangle 3">
            <a:extLst>
              <a:ext uri="{FF2B5EF4-FFF2-40B4-BE49-F238E27FC236}">
                <a16:creationId xmlns:a16="http://schemas.microsoft.com/office/drawing/2014/main" id="{664C49E0-A798-4073-95D4-1E8013BE06E3}"/>
              </a:ext>
            </a:extLst>
          </p:cNvPr>
          <p:cNvSpPr/>
          <p:nvPr/>
        </p:nvSpPr>
        <p:spPr bwMode="auto">
          <a:xfrm>
            <a:off x="2839666" y="2335250"/>
            <a:ext cx="477992" cy="3113843"/>
          </a:xfrm>
          <a:prstGeom prst="rect">
            <a:avLst/>
          </a:prstGeom>
          <a:solidFill>
            <a:schemeClr val="bg1">
              <a:lumMod val="95000"/>
              <a:alpha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102" name="Connecteur droit 101">
            <a:extLst>
              <a:ext uri="{FF2B5EF4-FFF2-40B4-BE49-F238E27FC236}">
                <a16:creationId xmlns:a16="http://schemas.microsoft.com/office/drawing/2014/main" id="{859764EC-F9AA-4E27-A942-4A4CFEBAA088}"/>
              </a:ext>
            </a:extLst>
          </p:cNvPr>
          <p:cNvCxnSpPr>
            <a:cxnSpLocks/>
          </p:cNvCxnSpPr>
          <p:nvPr/>
        </p:nvCxnSpPr>
        <p:spPr bwMode="auto">
          <a:xfrm flipV="1">
            <a:off x="1648187" y="2216061"/>
            <a:ext cx="1418402" cy="208767"/>
          </a:xfrm>
          <a:prstGeom prst="line">
            <a:avLst/>
          </a:prstGeom>
          <a:solidFill>
            <a:schemeClr val="accent1"/>
          </a:solidFill>
          <a:ln w="19050" cap="flat" cmpd="sng" algn="ctr">
            <a:solidFill>
              <a:schemeClr val="tx1"/>
            </a:solidFill>
            <a:prstDash val="solid"/>
            <a:round/>
            <a:headEnd type="none" w="med" len="med"/>
            <a:tailEnd type="triangle" w="med" len="med"/>
          </a:ln>
          <a:effectLst/>
        </p:spPr>
      </p:cxnSp>
      <p:sp>
        <p:nvSpPr>
          <p:cNvPr id="104" name="Espace réservé du texte 2">
            <a:extLst>
              <a:ext uri="{FF2B5EF4-FFF2-40B4-BE49-F238E27FC236}">
                <a16:creationId xmlns:a16="http://schemas.microsoft.com/office/drawing/2014/main" id="{12B151C8-729C-4598-A38C-AAF59E8A5BA2}"/>
              </a:ext>
            </a:extLst>
          </p:cNvPr>
          <p:cNvSpPr>
            <a:spLocks noGrp="1"/>
          </p:cNvSpPr>
          <p:nvPr/>
        </p:nvSpPr>
        <p:spPr bwMode="auto">
          <a:xfrm>
            <a:off x="2001131" y="2157351"/>
            <a:ext cx="557213" cy="238125"/>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b="1">
                <a:effectLst/>
                <a:latin typeface="Trebuchet MS" panose="020B0603020202020204" pitchFamily="34" charset="0"/>
                <a:sym typeface="+mn-lt"/>
              </a:rPr>
              <a:t>+3.4%</a:t>
            </a:r>
            <a:endParaRPr lang="en-GB" sz="1100" b="1">
              <a:latin typeface="Trebuchet MS" panose="020B0603020202020204" pitchFamily="34" charset="0"/>
              <a:sym typeface="+mn-lt"/>
            </a:endParaRPr>
          </a:p>
        </p:txBody>
      </p:sp>
      <p:grpSp>
        <p:nvGrpSpPr>
          <p:cNvPr id="103" name="Groupe 102">
            <a:extLst>
              <a:ext uri="{FF2B5EF4-FFF2-40B4-BE49-F238E27FC236}">
                <a16:creationId xmlns:a16="http://schemas.microsoft.com/office/drawing/2014/main" id="{4E69B328-FF89-4F9F-8462-57B42E89D892}"/>
              </a:ext>
            </a:extLst>
          </p:cNvPr>
          <p:cNvGrpSpPr/>
          <p:nvPr/>
        </p:nvGrpSpPr>
        <p:grpSpPr>
          <a:xfrm>
            <a:off x="8448150" y="-11528"/>
            <a:ext cx="1435548" cy="588143"/>
            <a:chOff x="8448150" y="-11528"/>
            <a:chExt cx="1435548" cy="588143"/>
          </a:xfrm>
        </p:grpSpPr>
        <p:sp>
          <p:nvSpPr>
            <p:cNvPr id="108" name="Rectangle : coins arrondis 199">
              <a:extLst>
                <a:ext uri="{FF2B5EF4-FFF2-40B4-BE49-F238E27FC236}">
                  <a16:creationId xmlns:a16="http://schemas.microsoft.com/office/drawing/2014/main" id="{197C3545-B632-4481-974D-58E8F8B6B25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9" name="Rectangle : coins arrondis 200">
              <a:extLst>
                <a:ext uri="{FF2B5EF4-FFF2-40B4-BE49-F238E27FC236}">
                  <a16:creationId xmlns:a16="http://schemas.microsoft.com/office/drawing/2014/main" id="{49A4E507-06DA-4C8E-A682-5443A3F93257}"/>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0" name="Rectangle : coins arrondis 201">
              <a:extLst>
                <a:ext uri="{FF2B5EF4-FFF2-40B4-BE49-F238E27FC236}">
                  <a16:creationId xmlns:a16="http://schemas.microsoft.com/office/drawing/2014/main" id="{6C79613A-13AF-4CE8-B8F6-86FDA17DC526}"/>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1" name="ZoneTexte 18">
              <a:extLst>
                <a:ext uri="{FF2B5EF4-FFF2-40B4-BE49-F238E27FC236}">
                  <a16:creationId xmlns:a16="http://schemas.microsoft.com/office/drawing/2014/main" id="{84A72B9E-E0AE-4947-9BAB-83E21573350C}"/>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12" name="Graphique 128" descr="Jauge">
              <a:extLst>
                <a:ext uri="{FF2B5EF4-FFF2-40B4-BE49-F238E27FC236}">
                  <a16:creationId xmlns:a16="http://schemas.microsoft.com/office/drawing/2014/main" id="{9AAFF592-69B6-456E-A8B0-075FFF41F0D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3764" y="187516"/>
              <a:ext cx="234953" cy="218224"/>
            </a:xfrm>
            <a:prstGeom prst="rect">
              <a:avLst/>
            </a:prstGeom>
            <a:effectLst/>
          </p:spPr>
        </p:pic>
        <p:pic>
          <p:nvPicPr>
            <p:cNvPr id="113" name="Graphique 90" descr="Poignée de main">
              <a:extLst>
                <a:ext uri="{FF2B5EF4-FFF2-40B4-BE49-F238E27FC236}">
                  <a16:creationId xmlns:a16="http://schemas.microsoft.com/office/drawing/2014/main" id="{A0EB4A94-2341-4F08-8D22-131A1BA713E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60868" y="152880"/>
              <a:ext cx="256313" cy="287496"/>
            </a:xfrm>
            <a:prstGeom prst="rect">
              <a:avLst/>
            </a:prstGeom>
            <a:effectLst/>
          </p:spPr>
        </p:pic>
        <p:pic>
          <p:nvPicPr>
            <p:cNvPr id="114" name="Graphique 74" descr="Mégaphone">
              <a:extLst>
                <a:ext uri="{FF2B5EF4-FFF2-40B4-BE49-F238E27FC236}">
                  <a16:creationId xmlns:a16="http://schemas.microsoft.com/office/drawing/2014/main" id="{24DACB0C-E872-46AE-ACAE-2B214FDBB5A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89331" y="181519"/>
              <a:ext cx="233011" cy="216420"/>
            </a:xfrm>
            <a:prstGeom prst="rect">
              <a:avLst/>
            </a:prstGeom>
            <a:effectLst/>
          </p:spPr>
        </p:pic>
        <p:pic>
          <p:nvPicPr>
            <p:cNvPr id="115" name="Picture 2" descr="Drapeau France">
              <a:extLst>
                <a:ext uri="{FF2B5EF4-FFF2-40B4-BE49-F238E27FC236}">
                  <a16:creationId xmlns:a16="http://schemas.microsoft.com/office/drawing/2014/main" id="{179C7E27-1E74-4270-B4B0-30EBED3517D2}"/>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16" name="Picture 2" descr="5 ft x 3 ft 150 x 90 cm-DRAPEAU BELGE Belgique 100% Polyester ...">
              <a:extLst>
                <a:ext uri="{FF2B5EF4-FFF2-40B4-BE49-F238E27FC236}">
                  <a16:creationId xmlns:a16="http://schemas.microsoft.com/office/drawing/2014/main" id="{E570493D-3025-475F-991C-430FB034F626}"/>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17" name="Picture 2 - 1" descr="Drapeau des Pays-Bas — Wikipédia">
              <a:extLst>
                <a:ext uri="{FF2B5EF4-FFF2-40B4-BE49-F238E27FC236}">
                  <a16:creationId xmlns:a16="http://schemas.microsoft.com/office/drawing/2014/main" id="{0387272D-3364-4E9D-A86A-1E20DE99671C}"/>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18" name="Picture 2 - 2" descr="Drapeau du Luxembourg">
              <a:extLst>
                <a:ext uri="{FF2B5EF4-FFF2-40B4-BE49-F238E27FC236}">
                  <a16:creationId xmlns:a16="http://schemas.microsoft.com/office/drawing/2014/main" id="{DF6B696E-CCAC-4341-A749-A187399A74D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19" name="ZoneTexte 118">
              <a:extLst>
                <a:ext uri="{FF2B5EF4-FFF2-40B4-BE49-F238E27FC236}">
                  <a16:creationId xmlns:a16="http://schemas.microsoft.com/office/drawing/2014/main" id="{9B123706-F682-4BCF-B44D-6DAA2F257B4D}"/>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presentation</a:t>
              </a:r>
            </a:p>
          </p:txBody>
        </p:sp>
      </p:grpSp>
      <p:grpSp>
        <p:nvGrpSpPr>
          <p:cNvPr id="95" name="Groupe 94">
            <a:extLst>
              <a:ext uri="{FF2B5EF4-FFF2-40B4-BE49-F238E27FC236}">
                <a16:creationId xmlns:a16="http://schemas.microsoft.com/office/drawing/2014/main" id="{3547185A-F527-43AB-8293-A0F94AC3024B}"/>
              </a:ext>
            </a:extLst>
          </p:cNvPr>
          <p:cNvGrpSpPr/>
          <p:nvPr/>
        </p:nvGrpSpPr>
        <p:grpSpPr>
          <a:xfrm>
            <a:off x="3156737" y="2028995"/>
            <a:ext cx="543977" cy="388910"/>
            <a:chOff x="1682682" y="2053800"/>
            <a:chExt cx="543977" cy="388910"/>
          </a:xfrm>
        </p:grpSpPr>
        <p:pic>
          <p:nvPicPr>
            <p:cNvPr id="96" name="Graphique 95">
              <a:extLst>
                <a:ext uri="{FF2B5EF4-FFF2-40B4-BE49-F238E27FC236}">
                  <a16:creationId xmlns:a16="http://schemas.microsoft.com/office/drawing/2014/main" id="{F04B7A9D-7A97-45B9-B12A-71B27BDE62C7}"/>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60191" y="2053800"/>
              <a:ext cx="195930" cy="242031"/>
            </a:xfrm>
            <a:prstGeom prst="rect">
              <a:avLst/>
            </a:prstGeom>
          </p:spPr>
        </p:pic>
        <p:sp>
          <p:nvSpPr>
            <p:cNvPr id="97" name="Rectangle 96">
              <a:extLst>
                <a:ext uri="{FF2B5EF4-FFF2-40B4-BE49-F238E27FC236}">
                  <a16:creationId xmlns:a16="http://schemas.microsoft.com/office/drawing/2014/main" id="{B4C2C704-AA83-4F39-B95B-D4301964BFCD}"/>
                </a:ext>
              </a:extLst>
            </p:cNvPr>
            <p:cNvSpPr/>
            <p:nvPr/>
          </p:nvSpPr>
          <p:spPr bwMode="auto">
            <a:xfrm>
              <a:off x="1682682" y="2283963"/>
              <a:ext cx="543977"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err="1">
                  <a:solidFill>
                    <a:schemeClr val="accent4"/>
                  </a:solidFill>
                  <a:latin typeface="Trebuchet MS" panose="020B0603020202020204" pitchFamily="34" charset="0"/>
                </a:rPr>
                <a:t>Covid</a:t>
              </a:r>
              <a:r>
                <a:rPr lang="en-GB" sz="900" i="1">
                  <a:solidFill>
                    <a:schemeClr val="accent4"/>
                  </a:solidFill>
                  <a:latin typeface="Trebuchet MS" panose="020B0603020202020204" pitchFamily="34" charset="0"/>
                </a:rPr>
                <a:t> impact</a:t>
              </a:r>
              <a:endParaRPr kumimoji="0" lang="en-GB" sz="900" b="0" i="1" u="none" strike="noStrike" cap="none" normalizeH="0" baseline="0">
                <a:ln>
                  <a:noFill/>
                </a:ln>
                <a:solidFill>
                  <a:schemeClr val="accent4"/>
                </a:solidFill>
                <a:effectLst/>
                <a:latin typeface="Trebuchet MS" panose="020B0603020202020204" pitchFamily="34" charset="0"/>
              </a:endParaRPr>
            </a:p>
          </p:txBody>
        </p:sp>
      </p:grpSp>
      <p:sp>
        <p:nvSpPr>
          <p:cNvPr id="121" name="Bulle narrative : rectangle à coins arrondis 120">
            <a:extLst>
              <a:ext uri="{FF2B5EF4-FFF2-40B4-BE49-F238E27FC236}">
                <a16:creationId xmlns:a16="http://schemas.microsoft.com/office/drawing/2014/main" id="{A477F45A-F4A7-4A87-A57E-E7D2EF8DB536}"/>
              </a:ext>
            </a:extLst>
          </p:cNvPr>
          <p:cNvSpPr/>
          <p:nvPr/>
        </p:nvSpPr>
        <p:spPr bwMode="auto">
          <a:xfrm>
            <a:off x="775526" y="1252043"/>
            <a:ext cx="1005186" cy="853528"/>
          </a:xfrm>
          <a:prstGeom prst="wedgeRoundRectCallout">
            <a:avLst>
              <a:gd name="adj1" fmla="val 48861"/>
              <a:gd name="adj2" fmla="val 70113"/>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tx2"/>
                </a:solidFill>
                <a:latin typeface="Trebuchet MS" panose="020B0603020202020204" pitchFamily="34" charset="0"/>
              </a:rPr>
              <a:t>Steady growth </a:t>
            </a:r>
            <a:r>
              <a:rPr lang="en-GB" sz="1000">
                <a:latin typeface="Trebuchet MS" panose="020B0603020202020204" pitchFamily="34" charset="0"/>
              </a:rPr>
              <a:t>thanks to new management’ initiatives</a:t>
            </a:r>
            <a:endParaRPr kumimoji="0" lang="en-GB" sz="1000" b="0" i="0" u="none" strike="noStrike" cap="none" normalizeH="0" baseline="0">
              <a:ln>
                <a:noFill/>
              </a:ln>
              <a:solidFill>
                <a:schemeClr val="tx1"/>
              </a:solidFill>
              <a:effectLst/>
              <a:latin typeface="Trebuchet MS" panose="020B0603020202020204" pitchFamily="34" charset="0"/>
            </a:endParaRPr>
          </a:p>
        </p:txBody>
      </p:sp>
      <p:sp>
        <p:nvSpPr>
          <p:cNvPr id="122" name="Bulle narrative : rectangle à coins arrondis 121">
            <a:extLst>
              <a:ext uri="{FF2B5EF4-FFF2-40B4-BE49-F238E27FC236}">
                <a16:creationId xmlns:a16="http://schemas.microsoft.com/office/drawing/2014/main" id="{D7AEC632-BB66-444B-9BEE-C739FFBE7284}"/>
              </a:ext>
            </a:extLst>
          </p:cNvPr>
          <p:cNvSpPr/>
          <p:nvPr/>
        </p:nvSpPr>
        <p:spPr bwMode="auto">
          <a:xfrm>
            <a:off x="4607253" y="5748197"/>
            <a:ext cx="1744909" cy="756000"/>
          </a:xfrm>
          <a:prstGeom prst="wedgeRoundRectCallout">
            <a:avLst>
              <a:gd name="adj1" fmla="val -68204"/>
              <a:gd name="adj2" fmla="val -70203"/>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Effects of the </a:t>
            </a:r>
            <a:r>
              <a:rPr lang="en-GB" sz="1000" b="1">
                <a:solidFill>
                  <a:schemeClr val="tx2"/>
                </a:solidFill>
                <a:latin typeface="Trebuchet MS" panose="020B0603020202020204" pitchFamily="34" charset="0"/>
              </a:rPr>
              <a:t>new investments</a:t>
            </a:r>
            <a:r>
              <a:rPr lang="en-GB" sz="1000">
                <a:latin typeface="Trebuchet MS" panose="020B0603020202020204" pitchFamily="34" charset="0"/>
              </a:rPr>
              <a:t> in IT architecture and in </a:t>
            </a:r>
            <a:r>
              <a:rPr lang="en-GB" sz="1000" b="1">
                <a:solidFill>
                  <a:schemeClr val="tx2"/>
                </a:solidFill>
                <a:latin typeface="Trebuchet MS" panose="020B0603020202020204" pitchFamily="34" charset="0"/>
              </a:rPr>
              <a:t>products</a:t>
            </a:r>
            <a:r>
              <a:rPr lang="en-GB" sz="1000">
                <a:latin typeface="Trebuchet MS" panose="020B0603020202020204" pitchFamily="34" charset="0"/>
              </a:rPr>
              <a:t>, especially </a:t>
            </a:r>
            <a:r>
              <a:rPr lang="en-GB" sz="1000" err="1">
                <a:latin typeface="Trebuchet MS" panose="020B0603020202020204" pitchFamily="34" charset="0"/>
              </a:rPr>
              <a:t>intuiz</a:t>
            </a:r>
            <a:endParaRPr kumimoji="0" lang="en-GB" sz="1000" b="0" i="0" u="none" strike="noStrike" cap="none" normalizeH="0" baseline="0">
              <a:ln>
                <a:noFill/>
              </a:ln>
              <a:solidFill>
                <a:schemeClr val="tx1"/>
              </a:solidFill>
              <a:effectLst/>
              <a:latin typeface="Trebuchet MS" panose="020B0603020202020204" pitchFamily="34" charset="0"/>
            </a:endParaRPr>
          </a:p>
        </p:txBody>
      </p:sp>
      <p:graphicFrame>
        <p:nvGraphicFramePr>
          <p:cNvPr id="84" name="Tableau 83">
            <a:extLst>
              <a:ext uri="{FF2B5EF4-FFF2-40B4-BE49-F238E27FC236}">
                <a16:creationId xmlns:a16="http://schemas.microsoft.com/office/drawing/2014/main" id="{AA5A143F-52B6-4DFB-8692-865A5D3BBD16}"/>
              </a:ext>
            </a:extLst>
          </p:cNvPr>
          <p:cNvGraphicFramePr>
            <a:graphicFrameLocks noGrp="1"/>
          </p:cNvGraphicFramePr>
          <p:nvPr>
            <p:extLst>
              <p:ext uri="{D42A27DB-BD31-4B8C-83A1-F6EECF244321}">
                <p14:modId xmlns:p14="http://schemas.microsoft.com/office/powerpoint/2010/main" val="757055908"/>
              </p:ext>
            </p:extLst>
          </p:nvPr>
        </p:nvGraphicFramePr>
        <p:xfrm>
          <a:off x="7552537" y="2004452"/>
          <a:ext cx="2206743" cy="2901209"/>
        </p:xfrm>
        <a:graphic>
          <a:graphicData uri="http://schemas.openxmlformats.org/drawingml/2006/table">
            <a:tbl>
              <a:tblPr>
                <a:tableStyleId>{5C22544A-7EE6-4342-B048-85BDC9FD1C3A}</a:tableStyleId>
              </a:tblPr>
              <a:tblGrid>
                <a:gridCol w="1228049">
                  <a:extLst>
                    <a:ext uri="{9D8B030D-6E8A-4147-A177-3AD203B41FA5}">
                      <a16:colId xmlns:a16="http://schemas.microsoft.com/office/drawing/2014/main" val="2669294433"/>
                    </a:ext>
                  </a:extLst>
                </a:gridCol>
                <a:gridCol w="489347">
                  <a:extLst>
                    <a:ext uri="{9D8B030D-6E8A-4147-A177-3AD203B41FA5}">
                      <a16:colId xmlns:a16="http://schemas.microsoft.com/office/drawing/2014/main" val="2400317975"/>
                    </a:ext>
                  </a:extLst>
                </a:gridCol>
                <a:gridCol w="489347">
                  <a:extLst>
                    <a:ext uri="{9D8B030D-6E8A-4147-A177-3AD203B41FA5}">
                      <a16:colId xmlns:a16="http://schemas.microsoft.com/office/drawing/2014/main" val="1480459757"/>
                    </a:ext>
                  </a:extLst>
                </a:gridCol>
              </a:tblGrid>
              <a:tr h="309563">
                <a:tc>
                  <a:txBody>
                    <a:bodyPr/>
                    <a:lstStyle/>
                    <a:p>
                      <a:pPr algn="l" fontAlgn="b"/>
                      <a:endParaRPr lang="fr-FR" sz="1100" b="1" i="0" u="none" strike="noStrike">
                        <a:solidFill>
                          <a:srgbClr val="000000"/>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b"/>
                      <a:r>
                        <a:rPr lang="fr-FR" sz="1100" b="1" u="none" strike="noStrike">
                          <a:solidFill>
                            <a:schemeClr val="tx1"/>
                          </a:solidFill>
                          <a:effectLst/>
                          <a:latin typeface="+mn-lt"/>
                        </a:rPr>
                        <a:t>CAGR </a:t>
                      </a:r>
                      <a:r>
                        <a:rPr lang="fr-FR" sz="1100" b="1" u="none" strike="noStrike" baseline="-25000">
                          <a:solidFill>
                            <a:schemeClr val="tx1"/>
                          </a:solidFill>
                          <a:effectLst/>
                          <a:latin typeface="+mn-lt"/>
                        </a:rPr>
                        <a:t>2018-2020B</a:t>
                      </a:r>
                      <a:endParaRPr lang="fr-FR" sz="1100" b="1" i="0" u="none" strike="noStrike" baseline="-25000">
                        <a:solidFill>
                          <a:schemeClr val="tx1"/>
                        </a:solidFill>
                        <a:effectLst/>
                        <a:latin typeface="+mn-lt"/>
                      </a:endParaRPr>
                    </a:p>
                  </a:txBody>
                  <a:tcPr marL="4763" marR="4763" marT="4763"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b"/>
                      <a:r>
                        <a:rPr lang="fr-FR" sz="1100" b="1" u="none" strike="noStrike">
                          <a:solidFill>
                            <a:schemeClr val="tx1"/>
                          </a:solidFill>
                          <a:effectLst/>
                          <a:latin typeface="+mn-lt"/>
                        </a:rPr>
                        <a:t>CAGR </a:t>
                      </a:r>
                      <a:r>
                        <a:rPr lang="fr-FR" sz="1100" b="1" u="none" strike="noStrike" baseline="-25000">
                          <a:solidFill>
                            <a:schemeClr val="tx1"/>
                          </a:solidFill>
                          <a:effectLst/>
                          <a:latin typeface="+mn-lt"/>
                        </a:rPr>
                        <a:t>2020-</a:t>
                      </a:r>
                    </a:p>
                    <a:p>
                      <a:pPr algn="ctr" fontAlgn="b"/>
                      <a:r>
                        <a:rPr lang="fr-FR" sz="1100" b="1" u="none" strike="noStrike" baseline="-25000">
                          <a:solidFill>
                            <a:schemeClr val="tx1"/>
                          </a:solidFill>
                          <a:effectLst/>
                          <a:latin typeface="+mn-lt"/>
                        </a:rPr>
                        <a:t>2025</a:t>
                      </a:r>
                      <a:endParaRPr lang="fr-FR" sz="1100" b="1" i="0" u="none" strike="noStrike" baseline="-25000">
                        <a:solidFill>
                          <a:schemeClr val="tx1"/>
                        </a:solidFill>
                        <a:effectLst/>
                        <a:latin typeface="+mn-lt"/>
                      </a:endParaRPr>
                    </a:p>
                  </a:txBody>
                  <a:tcPr marL="4763" marR="4763" marT="4763"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402692"/>
                  </a:ext>
                </a:extLst>
              </a:tr>
              <a:tr h="176318">
                <a:tc>
                  <a:txBody>
                    <a:bodyPr/>
                    <a:lstStyle/>
                    <a:p>
                      <a:pPr algn="l" fontAlgn="b"/>
                      <a:endParaRPr lang="fr-FR" sz="1000" b="0" i="0" u="none" strike="noStrike">
                        <a:solidFill>
                          <a:srgbClr val="000000"/>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fr-FR" sz="1000" b="1" i="0" u="none" strike="noStrike">
                        <a:solidFill>
                          <a:schemeClr val="tx1"/>
                        </a:solidFill>
                        <a:effectLst/>
                        <a:latin typeface="+mn-lt"/>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fr-FR" sz="1000" b="1" i="0" u="none" strike="noStrike">
                        <a:solidFill>
                          <a:schemeClr val="tx1"/>
                        </a:solidFill>
                        <a:effectLst/>
                        <a:latin typeface="+mn-lt"/>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2187715"/>
                  </a:ext>
                </a:extLst>
              </a:tr>
              <a:tr h="309563">
                <a:tc>
                  <a:txBody>
                    <a:bodyPr/>
                    <a:lstStyle/>
                    <a:p>
                      <a:pPr algn="ctr" fontAlgn="b"/>
                      <a:fld id="{A530F55D-9E72-4896-A929-EA6DE3C205AD}" type="datetime'DB''''I/''W''W''N ''p''''a''''r''''''tne''rs &amp; ''O''t''he''rs'">
                        <a:rPr lang="en-US" altLang="en-US" sz="1000" smtClean="0"/>
                        <a:pPr algn="ctr" fontAlgn="b"/>
                        <a:t>DBI/WWN partners &amp; Others</a:t>
                      </a:fld>
                      <a:endParaRPr lang="fr-FR" sz="1000" b="1" i="0" u="none" strike="noStrike">
                        <a:solidFill>
                          <a:srgbClr val="000000"/>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8FCD9F"/>
                    </a:solidFill>
                  </a:tcPr>
                </a:tc>
                <a:tc>
                  <a:txBody>
                    <a:bodyPr/>
                    <a:lstStyle/>
                    <a:p>
                      <a:pPr marL="0" algn="ctr" defTabSz="914400" rtl="0" eaLnBrk="1" fontAlgn="b" latinLnBrk="0" hangingPunct="1"/>
                      <a:r>
                        <a:rPr lang="fr-FR" sz="1000" b="0" u="none" strike="noStrike" kern="1200">
                          <a:solidFill>
                            <a:schemeClr val="tx1"/>
                          </a:solidFill>
                          <a:effectLst/>
                          <a:latin typeface="+mn-lt"/>
                          <a:ea typeface="+mn-ea"/>
                          <a:cs typeface="+mn-cs"/>
                        </a:rPr>
                        <a:t>12.7%</a:t>
                      </a: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fr-FR" sz="1000" b="0" u="none" strike="noStrike" kern="1200">
                          <a:solidFill>
                            <a:schemeClr val="tx1"/>
                          </a:solidFill>
                          <a:effectLst/>
                          <a:latin typeface="+mn-lt"/>
                          <a:ea typeface="+mn-ea"/>
                          <a:cs typeface="+mn-cs"/>
                        </a:rPr>
                        <a:t>4.1%</a:t>
                      </a: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54361488"/>
                  </a:ext>
                </a:extLst>
              </a:tr>
              <a:tr h="119167">
                <a:tc>
                  <a:txBody>
                    <a:bodyPr/>
                    <a:lstStyle/>
                    <a:p>
                      <a:pPr algn="ctr" fontAlgn="b"/>
                      <a:endParaRPr lang="fr-FR" sz="1000" b="1" i="0" u="none" strike="noStrike">
                        <a:solidFill>
                          <a:srgbClr val="000000"/>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fr-FR" sz="1000" b="0" u="none" strike="noStrike" kern="1200">
                        <a:solidFill>
                          <a:schemeClr val="tx1"/>
                        </a:solidFill>
                        <a:effectLst/>
                        <a:latin typeface="+mn-lt"/>
                        <a:ea typeface="+mn-ea"/>
                        <a:cs typeface="+mn-cs"/>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fr-FR" sz="1000" b="0" u="none" strike="noStrike" kern="1200">
                        <a:solidFill>
                          <a:schemeClr val="tx1"/>
                        </a:solidFill>
                        <a:effectLst/>
                        <a:latin typeface="+mn-lt"/>
                        <a:ea typeface="+mn-ea"/>
                        <a:cs typeface="+mn-cs"/>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87856920"/>
                  </a:ext>
                </a:extLst>
              </a:tr>
              <a:tr h="309563">
                <a:tc>
                  <a:txBody>
                    <a:bodyPr/>
                    <a:lstStyle/>
                    <a:p>
                      <a:pPr algn="ctr" fontAlgn="b"/>
                      <a:r>
                        <a:rPr lang="fr-FR" sz="1000" b="1" u="none" strike="noStrike">
                          <a:solidFill>
                            <a:schemeClr val="bg1"/>
                          </a:solidFill>
                          <a:effectLst/>
                          <a:latin typeface="+mn-lt"/>
                        </a:rPr>
                        <a:t>Risk</a:t>
                      </a:r>
                      <a:endParaRPr lang="fr-FR" sz="1000" b="1" i="0" u="none" strike="noStrike">
                        <a:solidFill>
                          <a:schemeClr val="bg1"/>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364D6E"/>
                    </a:solidFill>
                  </a:tcPr>
                </a:tc>
                <a:tc>
                  <a:txBody>
                    <a:bodyPr/>
                    <a:lstStyle/>
                    <a:p>
                      <a:pPr marL="0" algn="ctr" defTabSz="914400" rtl="0" eaLnBrk="1" fontAlgn="b" latinLnBrk="0" hangingPunct="1"/>
                      <a:r>
                        <a:rPr lang="fr-FR" sz="1000" b="0" u="none" strike="noStrike" kern="1200">
                          <a:solidFill>
                            <a:schemeClr val="tx1"/>
                          </a:solidFill>
                          <a:effectLst/>
                          <a:latin typeface="+mn-lt"/>
                          <a:ea typeface="+mn-ea"/>
                          <a:cs typeface="+mn-cs"/>
                        </a:rPr>
                        <a:t>-2.3%</a:t>
                      </a: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fr-FR" sz="1000" b="0" u="none" strike="noStrike" kern="1200">
                          <a:solidFill>
                            <a:schemeClr val="tx1"/>
                          </a:solidFill>
                          <a:effectLst/>
                          <a:latin typeface="+mn-lt"/>
                          <a:ea typeface="+mn-ea"/>
                          <a:cs typeface="+mn-cs"/>
                        </a:rPr>
                        <a:t>2.5%</a:t>
                      </a: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74334271"/>
                  </a:ext>
                </a:extLst>
              </a:tr>
              <a:tr h="309563">
                <a:tc>
                  <a:txBody>
                    <a:bodyPr/>
                    <a:lstStyle/>
                    <a:p>
                      <a:pPr algn="ctr" fontAlgn="b"/>
                      <a:r>
                        <a:rPr lang="fr-FR" sz="1000" b="1" u="none" strike="noStrike">
                          <a:solidFill>
                            <a:schemeClr val="bg1"/>
                          </a:solidFill>
                          <a:effectLst/>
                          <a:latin typeface="+mn-lt"/>
                        </a:rPr>
                        <a:t>Compliance</a:t>
                      </a:r>
                      <a:endParaRPr lang="fr-FR" sz="1000" b="1" i="0" u="none" strike="noStrike">
                        <a:solidFill>
                          <a:schemeClr val="bg1"/>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A3E2"/>
                    </a:solidFill>
                  </a:tcPr>
                </a:tc>
                <a:tc>
                  <a:txBody>
                    <a:bodyPr/>
                    <a:lstStyle/>
                    <a:p>
                      <a:pPr marL="0" algn="ctr" defTabSz="914400" rtl="0" eaLnBrk="1" fontAlgn="b" latinLnBrk="0" hangingPunct="1"/>
                      <a:r>
                        <a:rPr lang="fr-FR" sz="1000" b="0" u="none" strike="noStrike" kern="1200">
                          <a:solidFill>
                            <a:schemeClr val="tx1"/>
                          </a:solidFill>
                          <a:effectLst/>
                          <a:latin typeface="+mn-lt"/>
                          <a:ea typeface="+mn-ea"/>
                          <a:cs typeface="+mn-cs"/>
                        </a:rPr>
                        <a:t>35.6%</a:t>
                      </a: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fr-FR" sz="1000" b="0" u="none" strike="noStrike" kern="1200">
                          <a:solidFill>
                            <a:schemeClr val="tx1"/>
                          </a:solidFill>
                          <a:effectLst/>
                          <a:latin typeface="+mn-lt"/>
                          <a:ea typeface="+mn-ea"/>
                          <a:cs typeface="+mn-cs"/>
                        </a:rPr>
                        <a:t>16.8%</a:t>
                      </a: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20990343"/>
                  </a:ext>
                </a:extLst>
              </a:tr>
              <a:tr h="309563">
                <a:tc>
                  <a:txBody>
                    <a:bodyPr/>
                    <a:lstStyle/>
                    <a:p>
                      <a:pPr algn="ctr" fontAlgn="b"/>
                      <a:r>
                        <a:rPr lang="fr-FR" sz="1000" b="1" u="none" strike="noStrike">
                          <a:solidFill>
                            <a:schemeClr val="bg1"/>
                          </a:solidFill>
                          <a:effectLst/>
                          <a:latin typeface="+mn-lt"/>
                        </a:rPr>
                        <a:t>B2B Marketing</a:t>
                      </a:r>
                      <a:endParaRPr lang="fr-FR" sz="1000" b="1" i="0" u="none" strike="noStrike">
                        <a:solidFill>
                          <a:schemeClr val="bg1"/>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ADD9FD"/>
                    </a:solidFill>
                  </a:tcPr>
                </a:tc>
                <a:tc>
                  <a:txBody>
                    <a:bodyPr/>
                    <a:lstStyle/>
                    <a:p>
                      <a:pPr marL="0" algn="ctr" defTabSz="914400" rtl="0" eaLnBrk="1" fontAlgn="b" latinLnBrk="0" hangingPunct="1"/>
                      <a:r>
                        <a:rPr lang="fr-FR" sz="1000" b="0" u="none" strike="noStrike" kern="1200">
                          <a:solidFill>
                            <a:schemeClr val="tx1"/>
                          </a:solidFill>
                          <a:effectLst/>
                          <a:latin typeface="+mn-lt"/>
                          <a:ea typeface="+mn-ea"/>
                          <a:cs typeface="+mn-cs"/>
                        </a:rPr>
                        <a:t>2.1%</a:t>
                      </a: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fr-FR" sz="1000" b="0" u="none" strike="noStrike" kern="1200">
                          <a:solidFill>
                            <a:schemeClr val="tx1"/>
                          </a:solidFill>
                          <a:effectLst/>
                          <a:latin typeface="+mn-lt"/>
                          <a:ea typeface="+mn-ea"/>
                          <a:cs typeface="+mn-cs"/>
                        </a:rPr>
                        <a:t>8.7%</a:t>
                      </a: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82520429"/>
                  </a:ext>
                </a:extLst>
              </a:tr>
              <a:tr h="147740">
                <a:tc>
                  <a:txBody>
                    <a:bodyPr/>
                    <a:lstStyle/>
                    <a:p>
                      <a:pPr algn="ctr" fontAlgn="b"/>
                      <a:endParaRPr lang="fr-FR" sz="1000" b="1" i="0" u="none" strike="noStrike">
                        <a:solidFill>
                          <a:srgbClr val="000000"/>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fr-FR" sz="1000" b="0" i="0" u="none" strike="noStrike">
                        <a:solidFill>
                          <a:schemeClr val="tx1"/>
                        </a:solidFill>
                        <a:effectLst/>
                        <a:latin typeface="+mn-lt"/>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fr-FR" sz="1000" b="0" i="0" u="none" strike="noStrike">
                        <a:solidFill>
                          <a:schemeClr val="tx1"/>
                        </a:solidFill>
                        <a:effectLst/>
                        <a:latin typeface="+mn-lt"/>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0745475"/>
                  </a:ext>
                </a:extLst>
              </a:tr>
              <a:tr h="309563">
                <a:tc>
                  <a:txBody>
                    <a:bodyPr/>
                    <a:lstStyle/>
                    <a:p>
                      <a:pPr algn="ctr" fontAlgn="b"/>
                      <a:r>
                        <a:rPr lang="fr-FR" sz="1000" b="1" u="none" strike="noStrike">
                          <a:solidFill>
                            <a:schemeClr val="bg1"/>
                          </a:solidFill>
                          <a:effectLst/>
                          <a:latin typeface="+mn-lt"/>
                        </a:rPr>
                        <a:t>Interco elimination</a:t>
                      </a:r>
                      <a:endParaRPr lang="fr-FR" sz="1000" b="1" i="0" u="none" strike="noStrike">
                        <a:solidFill>
                          <a:schemeClr val="bg1"/>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969696"/>
                    </a:solidFill>
                  </a:tcPr>
                </a:tc>
                <a:tc>
                  <a:txBody>
                    <a:bodyPr/>
                    <a:lstStyle/>
                    <a:p>
                      <a:pPr marL="0" algn="ctr" defTabSz="914400" rtl="0" eaLnBrk="1" fontAlgn="b" latinLnBrk="0" hangingPunct="1"/>
                      <a:endParaRPr lang="fr-FR" sz="1000" b="0" u="none" strike="noStrike" kern="1200">
                        <a:solidFill>
                          <a:schemeClr val="tx1"/>
                        </a:solidFill>
                        <a:effectLst/>
                        <a:latin typeface="+mn-lt"/>
                        <a:ea typeface="+mn-ea"/>
                        <a:cs typeface="+mn-cs"/>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fr-FR" sz="1000" b="0" u="none" strike="noStrike" kern="1200">
                        <a:solidFill>
                          <a:schemeClr val="tx1"/>
                        </a:solidFill>
                        <a:effectLst/>
                        <a:latin typeface="+mn-lt"/>
                        <a:ea typeface="+mn-ea"/>
                        <a:cs typeface="+mn-cs"/>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73535937"/>
                  </a:ext>
                </a:extLst>
              </a:tr>
              <a:tr h="157264">
                <a:tc>
                  <a:txBody>
                    <a:bodyPr/>
                    <a:lstStyle/>
                    <a:p>
                      <a:pPr algn="ctr" fontAlgn="b"/>
                      <a:endParaRPr lang="fr-FR" sz="1000" b="1" i="0" u="none" strike="noStrike">
                        <a:solidFill>
                          <a:srgbClr val="000000"/>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fr-FR" sz="1000" b="1" i="0" u="none" strike="noStrike">
                        <a:solidFill>
                          <a:schemeClr val="tx1"/>
                        </a:solidFill>
                        <a:effectLst/>
                        <a:latin typeface="+mn-lt"/>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fr-FR" sz="1000" b="1" i="0" u="none" strike="noStrike">
                        <a:solidFill>
                          <a:schemeClr val="tx1"/>
                        </a:solidFill>
                        <a:effectLst/>
                        <a:latin typeface="+mn-lt"/>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71858865"/>
                  </a:ext>
                </a:extLst>
              </a:tr>
              <a:tr h="309563">
                <a:tc>
                  <a:txBody>
                    <a:bodyPr/>
                    <a:lstStyle/>
                    <a:p>
                      <a:pPr algn="ctr" fontAlgn="b"/>
                      <a:r>
                        <a:rPr lang="fr-FR" sz="1100" b="1" u="none" strike="noStrike">
                          <a:effectLst/>
                          <a:latin typeface="+mn-lt"/>
                        </a:rPr>
                        <a:t>TOTAL</a:t>
                      </a:r>
                      <a:endParaRPr lang="fr-FR" sz="1100" b="1" i="0" u="none" strike="noStrike">
                        <a:solidFill>
                          <a:srgbClr val="000000"/>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100" b="1" u="none" strike="noStrike">
                          <a:solidFill>
                            <a:schemeClr val="tx1"/>
                          </a:solidFill>
                          <a:effectLst/>
                          <a:latin typeface="+mn-lt"/>
                        </a:rPr>
                        <a:t>3.4%</a:t>
                      </a:r>
                      <a:endParaRPr lang="fr-FR" sz="1100" b="1" i="0" u="none" strike="noStrike">
                        <a:solidFill>
                          <a:schemeClr val="tx1"/>
                        </a:solidFill>
                        <a:effectLst/>
                        <a:latin typeface="+mn-lt"/>
                      </a:endParaRPr>
                    </a:p>
                  </a:txBody>
                  <a:tcPr marL="4763" marR="4763" marT="4763" marB="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100" b="1" u="none" strike="noStrike">
                          <a:solidFill>
                            <a:schemeClr val="tx1"/>
                          </a:solidFill>
                          <a:effectLst/>
                          <a:latin typeface="+mn-lt"/>
                        </a:rPr>
                        <a:t>5,5%</a:t>
                      </a:r>
                      <a:endParaRPr lang="fr-FR" sz="1100" b="1" i="0" u="none" strike="noStrike">
                        <a:solidFill>
                          <a:schemeClr val="tx1"/>
                        </a:solidFill>
                        <a:effectLst/>
                        <a:latin typeface="+mn-lt"/>
                      </a:endParaRPr>
                    </a:p>
                  </a:txBody>
                  <a:tcPr marL="4763" marR="4763" marT="4763" marB="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0059037"/>
                  </a:ext>
                </a:extLst>
              </a:tr>
            </a:tbl>
          </a:graphicData>
        </a:graphic>
      </p:graphicFrame>
      <p:sp>
        <p:nvSpPr>
          <p:cNvPr id="123" name="Bulle narrative : rectangle à coins arrondis 122">
            <a:extLst>
              <a:ext uri="{FF2B5EF4-FFF2-40B4-BE49-F238E27FC236}">
                <a16:creationId xmlns:a16="http://schemas.microsoft.com/office/drawing/2014/main" id="{8F3DAFC8-A909-4F23-821A-21D9F7FA0BBB}"/>
              </a:ext>
            </a:extLst>
          </p:cNvPr>
          <p:cNvSpPr/>
          <p:nvPr/>
        </p:nvSpPr>
        <p:spPr bwMode="auto">
          <a:xfrm>
            <a:off x="6441951" y="5748197"/>
            <a:ext cx="2206749" cy="756000"/>
          </a:xfrm>
          <a:prstGeom prst="wedgeRoundRectCallout">
            <a:avLst>
              <a:gd name="adj1" fmla="val -51609"/>
              <a:gd name="adj2" fmla="val -68187"/>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Landing of </a:t>
            </a:r>
            <a:r>
              <a:rPr lang="en-GB" sz="1000" b="1">
                <a:solidFill>
                  <a:schemeClr val="tx2"/>
                </a:solidFill>
                <a:latin typeface="Trebuchet MS" panose="020B0603020202020204" pitchFamily="34" charset="0"/>
              </a:rPr>
              <a:t>key structuring projects </a:t>
            </a:r>
            <a:r>
              <a:rPr lang="en-GB" sz="1000">
                <a:latin typeface="Trebuchet MS" panose="020B0603020202020204" pitchFamily="34" charset="0"/>
              </a:rPr>
              <a:t>(datahub) with innovative functioning and </a:t>
            </a:r>
            <a:r>
              <a:rPr lang="en-GB" sz="1000" b="1">
                <a:solidFill>
                  <a:schemeClr val="tx2"/>
                </a:solidFill>
                <a:latin typeface="Trebuchet MS" panose="020B0603020202020204" pitchFamily="34" charset="0"/>
              </a:rPr>
              <a:t>business models </a:t>
            </a:r>
            <a:r>
              <a:rPr lang="en-GB" sz="1000">
                <a:latin typeface="Trebuchet MS" panose="020B0603020202020204" pitchFamily="34" charset="0"/>
              </a:rPr>
              <a:t>(e.g. marketplace)</a:t>
            </a:r>
            <a:endParaRPr kumimoji="0" lang="en-GB" sz="1000" b="0" i="0" u="none" strike="noStrike" cap="none" normalizeH="0" baseline="0">
              <a:ln>
                <a:noFill/>
              </a:ln>
              <a:solidFill>
                <a:schemeClr val="tx1"/>
              </a:solidFill>
              <a:effectLst/>
              <a:latin typeface="Trebuchet MS" panose="020B0603020202020204" pitchFamily="34" charset="0"/>
            </a:endParaRPr>
          </a:p>
        </p:txBody>
      </p:sp>
    </p:spTree>
    <p:extLst>
      <p:ext uri="{BB962C8B-B14F-4D97-AF65-F5344CB8AC3E}">
        <p14:creationId xmlns:p14="http://schemas.microsoft.com/office/powerpoint/2010/main" val="172779121"/>
      </p:ext>
    </p:extLst>
  </p:cSld>
  <p:clrMapOvr>
    <a:overrideClrMapping bg1="lt1" tx1="dk1" bg2="lt2" tx2="dk2" accent1="accent1" accent2="accent2" accent3="accent3" accent4="accent4" accent5="accent5" accent6="accent6" hlink="hlink" folHlink="folHlink"/>
  </p:clrMapOvr>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7D38F5E-F154-4DC7-8F4C-7E25FC6151BB}"/>
              </a:ext>
            </a:extLst>
          </p:cNvPr>
          <p:cNvGraphicFramePr>
            <a:graphicFrameLocks noChangeAspect="1"/>
          </p:cNvGraphicFramePr>
          <p:nvPr>
            <p:custDataLst>
              <p:tags r:id="rId1"/>
            </p:custDataLst>
            <p:extLst>
              <p:ext uri="{D42A27DB-BD31-4B8C-83A1-F6EECF244321}">
                <p14:modId xmlns:p14="http://schemas.microsoft.com/office/powerpoint/2010/main" val="469313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8" name="Objet 7" hidden="1">
                        <a:extLst>
                          <a:ext uri="{FF2B5EF4-FFF2-40B4-BE49-F238E27FC236}">
                            <a16:creationId xmlns:a16="http://schemas.microsoft.com/office/drawing/2014/main" id="{E7D38F5E-F154-4DC7-8F4C-7E25FC6151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A6022E3-4DB9-46DF-966E-81EED0537A86}"/>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41BBF145-A48D-4579-9141-BF43E68DBC5B}"/>
              </a:ext>
            </a:extLst>
          </p:cNvPr>
          <p:cNvSpPr>
            <a:spLocks noGrp="1"/>
          </p:cNvSpPr>
          <p:nvPr>
            <p:ph type="title"/>
          </p:nvPr>
        </p:nvSpPr>
        <p:spPr>
          <a:xfrm>
            <a:off x="165600" y="147600"/>
            <a:ext cx="8332871" cy="684000"/>
          </a:xfrm>
        </p:spPr>
        <p:txBody>
          <a:bodyPr/>
          <a:lstStyle/>
          <a:p>
            <a:r>
              <a:rPr lang="en-GB">
                <a:latin typeface="Trebuchet MS" panose="020B0603020202020204" pitchFamily="34" charset="0"/>
              </a:rPr>
              <a:t>Overall, Altares’ business plan forecasts a +5.5% 2020-2025 CAGR growth </a:t>
            </a:r>
            <a:r>
              <a:rPr lang="en-GB">
                <a:solidFill>
                  <a:schemeClr val="tx2"/>
                </a:solidFill>
                <a:latin typeface="Trebuchet MS" panose="020B0603020202020204" pitchFamily="34" charset="0"/>
              </a:rPr>
              <a:t>balanced between the three verticals</a:t>
            </a:r>
          </a:p>
        </p:txBody>
      </p:sp>
      <p:sp>
        <p:nvSpPr>
          <p:cNvPr id="3" name="Espace réservé du texte 2">
            <a:extLst>
              <a:ext uri="{FF2B5EF4-FFF2-40B4-BE49-F238E27FC236}">
                <a16:creationId xmlns:a16="http://schemas.microsoft.com/office/drawing/2014/main" id="{73049BF9-8D13-481B-9A48-46C6C4E9E852}"/>
              </a:ext>
            </a:extLst>
          </p:cNvPr>
          <p:cNvSpPr>
            <a:spLocks noGrp="1"/>
          </p:cNvSpPr>
          <p:nvPr>
            <p:ph type="body" sz="quarter" idx="10"/>
          </p:nvPr>
        </p:nvSpPr>
        <p:spPr/>
        <p:txBody>
          <a:bodyPr/>
          <a:lstStyle/>
          <a:p>
            <a:r>
              <a:rPr lang="en-GB" sz="800" i="1" kern="0"/>
              <a:t>Sources: eleven research &amp; analysis, company data, interviews with management</a:t>
            </a:r>
          </a:p>
        </p:txBody>
      </p:sp>
      <p:cxnSp>
        <p:nvCxnSpPr>
          <p:cNvPr id="6" name="Connecteur droit 4">
            <a:extLst>
              <a:ext uri="{FF2B5EF4-FFF2-40B4-BE49-F238E27FC236}">
                <a16:creationId xmlns:a16="http://schemas.microsoft.com/office/drawing/2014/main" id="{C77CA9A7-4E8D-472A-BDF7-16095C994634}"/>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0" name="TextBox 30">
            <a:extLst>
              <a:ext uri="{FF2B5EF4-FFF2-40B4-BE49-F238E27FC236}">
                <a16:creationId xmlns:a16="http://schemas.microsoft.com/office/drawing/2014/main" id="{99E0C0D1-7BEF-45AF-9AF8-43C5BF48838D}"/>
              </a:ext>
            </a:extLst>
          </p:cNvPr>
          <p:cNvSpPr txBox="1"/>
          <p:nvPr/>
        </p:nvSpPr>
        <p:spPr>
          <a:xfrm>
            <a:off x="2641561" y="978303"/>
            <a:ext cx="4622878"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a:latin typeface="Trebuchet MS" panose="020B0603020202020204" pitchFamily="34" charset="0"/>
              </a:rPr>
              <a:t>Breakdown of revenue growth forecasts by value buckets</a:t>
            </a:r>
          </a:p>
        </p:txBody>
      </p:sp>
      <p:sp>
        <p:nvSpPr>
          <p:cNvPr id="67" name="Rectangle 66">
            <a:extLst>
              <a:ext uri="{FF2B5EF4-FFF2-40B4-BE49-F238E27FC236}">
                <a16:creationId xmlns:a16="http://schemas.microsoft.com/office/drawing/2014/main" id="{395D9023-BB8D-4C07-A58A-9CA420892AF9}"/>
              </a:ext>
            </a:extLst>
          </p:cNvPr>
          <p:cNvSpPr/>
          <p:nvPr/>
        </p:nvSpPr>
        <p:spPr bwMode="auto">
          <a:xfrm>
            <a:off x="5816346" y="1345553"/>
            <a:ext cx="3716504" cy="5064868"/>
          </a:xfrm>
          <a:prstGeom prst="rect">
            <a:avLst/>
          </a:prstGeom>
          <a:pattFill prst="ltUpDiag">
            <a:fgClr>
              <a:schemeClr val="bg2">
                <a:lumMod val="20000"/>
                <a:lumOff val="80000"/>
              </a:schemeClr>
            </a:fgClr>
            <a:bgClr>
              <a:schemeClr val="bg1"/>
            </a:bgClr>
          </a:patt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50" b="0" i="0" u="none" strike="noStrike" cap="none" normalizeH="0" baseline="0">
              <a:ln>
                <a:noFill/>
              </a:ln>
              <a:solidFill>
                <a:schemeClr val="tx1"/>
              </a:solidFill>
              <a:effectLst/>
              <a:latin typeface="Trebuchet MS" pitchFamily="34" charset="0"/>
            </a:endParaRPr>
          </a:p>
        </p:txBody>
      </p:sp>
      <p:sp>
        <p:nvSpPr>
          <p:cNvPr id="68" name="Rectangle 67">
            <a:extLst>
              <a:ext uri="{FF2B5EF4-FFF2-40B4-BE49-F238E27FC236}">
                <a16:creationId xmlns:a16="http://schemas.microsoft.com/office/drawing/2014/main" id="{EACF4C40-5F5A-4F7F-BA6B-57A106712858}"/>
              </a:ext>
            </a:extLst>
          </p:cNvPr>
          <p:cNvSpPr/>
          <p:nvPr/>
        </p:nvSpPr>
        <p:spPr bwMode="auto">
          <a:xfrm>
            <a:off x="6144598" y="3101038"/>
            <a:ext cx="3060000" cy="900000"/>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Compliance</a:t>
            </a:r>
          </a:p>
          <a:p>
            <a:pPr marL="171450" indent="-171450">
              <a:spcBef>
                <a:spcPts val="300"/>
              </a:spcBef>
              <a:buClr>
                <a:schemeClr val="tx1"/>
              </a:buClr>
              <a:buFont typeface="Wingdings" panose="05000000000000000000" pitchFamily="2" charset="2"/>
              <a:buChar char="§"/>
            </a:pPr>
            <a:endParaRPr lang="en-GB" sz="900">
              <a:latin typeface="Trebuchet MS" panose="020B0603020202020204" pitchFamily="34" charset="0"/>
            </a:endParaRPr>
          </a:p>
          <a:p>
            <a:pPr marL="171450" indent="-171450">
              <a:spcBef>
                <a:spcPts val="300"/>
              </a:spcBef>
              <a:buClr>
                <a:schemeClr val="tx1"/>
              </a:buClr>
              <a:buFont typeface="Wingdings" panose="05000000000000000000" pitchFamily="2" charset="2"/>
              <a:buChar char="§"/>
            </a:pPr>
            <a:endParaRPr lang="en-GB" sz="900" kern="1200" noProof="0">
              <a:latin typeface="Trebuchet MS" panose="020B0603020202020204" pitchFamily="34" charset="0"/>
              <a:ea typeface="+mn-ea"/>
              <a:cs typeface="Arial" pitchFamily="34" charset="0"/>
            </a:endParaRPr>
          </a:p>
          <a:p>
            <a:pPr marL="171450" indent="-171450">
              <a:spcBef>
                <a:spcPts val="300"/>
              </a:spcBef>
              <a:buClr>
                <a:schemeClr val="tx1"/>
              </a:buClr>
              <a:buFont typeface="Wingdings" panose="05000000000000000000" pitchFamily="2" charset="2"/>
              <a:buChar char="§"/>
            </a:pPr>
            <a:endParaRPr lang="en-GB" sz="900">
              <a:latin typeface="Trebuchet MS" panose="020B0603020202020204" pitchFamily="34" charset="0"/>
            </a:endParaRPr>
          </a:p>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69" name="Rectangle 68">
            <a:extLst>
              <a:ext uri="{FF2B5EF4-FFF2-40B4-BE49-F238E27FC236}">
                <a16:creationId xmlns:a16="http://schemas.microsoft.com/office/drawing/2014/main" id="{14932ABF-B3F2-4614-9FA3-744906B2F197}"/>
              </a:ext>
            </a:extLst>
          </p:cNvPr>
          <p:cNvSpPr/>
          <p:nvPr/>
        </p:nvSpPr>
        <p:spPr bwMode="auto">
          <a:xfrm>
            <a:off x="6090953" y="1553536"/>
            <a:ext cx="3167290" cy="2184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300"/>
              </a:spcAft>
            </a:pPr>
            <a:r>
              <a:rPr lang="en-GB" sz="1050" b="1" i="1">
                <a:latin typeface="Trebuchet MS" panose="020B0603020202020204" pitchFamily="34" charset="0"/>
              </a:rPr>
              <a:t>BP structure detail: Four value buckets</a:t>
            </a:r>
            <a:endParaRPr lang="en-GB" sz="1050" i="1">
              <a:latin typeface="Trebuchet MS" panose="020B0603020202020204" pitchFamily="34" charset="0"/>
            </a:endParaRPr>
          </a:p>
        </p:txBody>
      </p:sp>
      <p:sp>
        <p:nvSpPr>
          <p:cNvPr id="70" name="Rectangle 69">
            <a:extLst>
              <a:ext uri="{FF2B5EF4-FFF2-40B4-BE49-F238E27FC236}">
                <a16:creationId xmlns:a16="http://schemas.microsoft.com/office/drawing/2014/main" id="{D6ECC423-047F-4FFA-A595-20B725419789}"/>
              </a:ext>
            </a:extLst>
          </p:cNvPr>
          <p:cNvSpPr/>
          <p:nvPr/>
        </p:nvSpPr>
        <p:spPr bwMode="auto">
          <a:xfrm>
            <a:off x="6144598" y="2037363"/>
            <a:ext cx="3060000" cy="900000"/>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Risk</a:t>
            </a:r>
          </a:p>
        </p:txBody>
      </p:sp>
      <p:sp>
        <p:nvSpPr>
          <p:cNvPr id="71" name="Rectangle 70">
            <a:extLst>
              <a:ext uri="{FF2B5EF4-FFF2-40B4-BE49-F238E27FC236}">
                <a16:creationId xmlns:a16="http://schemas.microsoft.com/office/drawing/2014/main" id="{AD9B7B8C-EC95-4D2A-9D6F-36CF469DC9DC}"/>
              </a:ext>
            </a:extLst>
          </p:cNvPr>
          <p:cNvSpPr/>
          <p:nvPr/>
        </p:nvSpPr>
        <p:spPr bwMode="auto">
          <a:xfrm>
            <a:off x="6144598" y="5228389"/>
            <a:ext cx="3060000" cy="900000"/>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Other activities</a:t>
            </a:r>
          </a:p>
        </p:txBody>
      </p:sp>
      <p:sp>
        <p:nvSpPr>
          <p:cNvPr id="80" name="Rectangle 79">
            <a:extLst>
              <a:ext uri="{FF2B5EF4-FFF2-40B4-BE49-F238E27FC236}">
                <a16:creationId xmlns:a16="http://schemas.microsoft.com/office/drawing/2014/main" id="{85224B74-BFCF-40D4-8F5A-4DBD358E4A6A}"/>
              </a:ext>
            </a:extLst>
          </p:cNvPr>
          <p:cNvSpPr/>
          <p:nvPr/>
        </p:nvSpPr>
        <p:spPr bwMode="auto">
          <a:xfrm>
            <a:off x="6196370" y="209739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A</a:t>
            </a:r>
          </a:p>
        </p:txBody>
      </p:sp>
      <p:sp>
        <p:nvSpPr>
          <p:cNvPr id="81" name="Rectangle 80">
            <a:extLst>
              <a:ext uri="{FF2B5EF4-FFF2-40B4-BE49-F238E27FC236}">
                <a16:creationId xmlns:a16="http://schemas.microsoft.com/office/drawing/2014/main" id="{67520AEC-ABAB-415A-ADD8-DF870797CCB0}"/>
              </a:ext>
            </a:extLst>
          </p:cNvPr>
          <p:cNvSpPr/>
          <p:nvPr/>
        </p:nvSpPr>
        <p:spPr bwMode="auto">
          <a:xfrm>
            <a:off x="6196370" y="3165226"/>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B</a:t>
            </a:r>
          </a:p>
        </p:txBody>
      </p:sp>
      <p:sp>
        <p:nvSpPr>
          <p:cNvPr id="82" name="Rectangle 81">
            <a:extLst>
              <a:ext uri="{FF2B5EF4-FFF2-40B4-BE49-F238E27FC236}">
                <a16:creationId xmlns:a16="http://schemas.microsoft.com/office/drawing/2014/main" id="{24EAE7A4-064F-4847-974C-384E1DE8F678}"/>
              </a:ext>
            </a:extLst>
          </p:cNvPr>
          <p:cNvSpPr/>
          <p:nvPr/>
        </p:nvSpPr>
        <p:spPr bwMode="auto">
          <a:xfrm>
            <a:off x="6196370" y="5290463"/>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D</a:t>
            </a:r>
          </a:p>
        </p:txBody>
      </p:sp>
      <p:sp>
        <p:nvSpPr>
          <p:cNvPr id="109" name="Rectangle 108">
            <a:extLst>
              <a:ext uri="{FF2B5EF4-FFF2-40B4-BE49-F238E27FC236}">
                <a16:creationId xmlns:a16="http://schemas.microsoft.com/office/drawing/2014/main" id="{4ECC307B-5762-484B-95C3-CE4E6DCFD810}"/>
              </a:ext>
            </a:extLst>
          </p:cNvPr>
          <p:cNvSpPr/>
          <p:nvPr/>
        </p:nvSpPr>
        <p:spPr bwMode="auto">
          <a:xfrm>
            <a:off x="6144598" y="4164713"/>
            <a:ext cx="3060000" cy="900000"/>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B2B Marketing</a:t>
            </a:r>
            <a:endParaRPr lang="en-GB" sz="900">
              <a:latin typeface="Trebuchet MS" panose="020B0603020202020204" pitchFamily="34" charset="0"/>
            </a:endParaRPr>
          </a:p>
        </p:txBody>
      </p:sp>
      <p:sp>
        <p:nvSpPr>
          <p:cNvPr id="110" name="Rectangle 109">
            <a:extLst>
              <a:ext uri="{FF2B5EF4-FFF2-40B4-BE49-F238E27FC236}">
                <a16:creationId xmlns:a16="http://schemas.microsoft.com/office/drawing/2014/main" id="{31B10026-F685-4E9C-8685-A675CDC44995}"/>
              </a:ext>
            </a:extLst>
          </p:cNvPr>
          <p:cNvSpPr/>
          <p:nvPr/>
        </p:nvSpPr>
        <p:spPr bwMode="auto">
          <a:xfrm>
            <a:off x="6196370" y="424098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C</a:t>
            </a:r>
          </a:p>
        </p:txBody>
      </p:sp>
      <p:grpSp>
        <p:nvGrpSpPr>
          <p:cNvPr id="136" name="Groupe 135">
            <a:extLst>
              <a:ext uri="{FF2B5EF4-FFF2-40B4-BE49-F238E27FC236}">
                <a16:creationId xmlns:a16="http://schemas.microsoft.com/office/drawing/2014/main" id="{0E2E0132-4928-48A3-81A2-F148EDBF5440}"/>
              </a:ext>
            </a:extLst>
          </p:cNvPr>
          <p:cNvGrpSpPr/>
          <p:nvPr/>
        </p:nvGrpSpPr>
        <p:grpSpPr>
          <a:xfrm>
            <a:off x="8448150" y="-11528"/>
            <a:ext cx="1435548" cy="588143"/>
            <a:chOff x="8448150" y="-11528"/>
            <a:chExt cx="1435548" cy="588143"/>
          </a:xfrm>
        </p:grpSpPr>
        <p:sp>
          <p:nvSpPr>
            <p:cNvPr id="137" name="Rectangle : coins arrondis 199">
              <a:extLst>
                <a:ext uri="{FF2B5EF4-FFF2-40B4-BE49-F238E27FC236}">
                  <a16:creationId xmlns:a16="http://schemas.microsoft.com/office/drawing/2014/main" id="{EBC0BF2E-2394-4848-88BE-E5C107D23CA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8" name="Rectangle : coins arrondis 200">
              <a:extLst>
                <a:ext uri="{FF2B5EF4-FFF2-40B4-BE49-F238E27FC236}">
                  <a16:creationId xmlns:a16="http://schemas.microsoft.com/office/drawing/2014/main" id="{7D65E3D7-5DDF-46AE-A0F5-D92B88ECDED2}"/>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9" name="Rectangle : coins arrondis 201">
              <a:extLst>
                <a:ext uri="{FF2B5EF4-FFF2-40B4-BE49-F238E27FC236}">
                  <a16:creationId xmlns:a16="http://schemas.microsoft.com/office/drawing/2014/main" id="{FDF7A913-D092-4B17-A259-CA3F4B6D3405}"/>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0" name="ZoneTexte 18">
              <a:extLst>
                <a:ext uri="{FF2B5EF4-FFF2-40B4-BE49-F238E27FC236}">
                  <a16:creationId xmlns:a16="http://schemas.microsoft.com/office/drawing/2014/main" id="{AB80A9D7-8C95-4C47-AEF4-EB3EA40E903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41" name="Graphique 128" descr="Jauge">
              <a:extLst>
                <a:ext uri="{FF2B5EF4-FFF2-40B4-BE49-F238E27FC236}">
                  <a16:creationId xmlns:a16="http://schemas.microsoft.com/office/drawing/2014/main" id="{0DD5F44C-E7D7-44D8-B4E4-9DA553E775C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42" name="Graphique 90" descr="Poignée de main">
              <a:extLst>
                <a:ext uri="{FF2B5EF4-FFF2-40B4-BE49-F238E27FC236}">
                  <a16:creationId xmlns:a16="http://schemas.microsoft.com/office/drawing/2014/main" id="{E31EE0FA-5612-4059-83C1-5956666D169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143" name="Graphique 74" descr="Mégaphone">
              <a:extLst>
                <a:ext uri="{FF2B5EF4-FFF2-40B4-BE49-F238E27FC236}">
                  <a16:creationId xmlns:a16="http://schemas.microsoft.com/office/drawing/2014/main" id="{786E1D59-B9F4-49AB-91A3-0527AED762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144" name="Picture 2" descr="Drapeau France">
              <a:extLst>
                <a:ext uri="{FF2B5EF4-FFF2-40B4-BE49-F238E27FC236}">
                  <a16:creationId xmlns:a16="http://schemas.microsoft.com/office/drawing/2014/main" id="{A7E884AE-D876-4FDF-9A9E-7F5C91184B02}"/>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45" name="Picture 2" descr="5 ft x 3 ft 150 x 90 cm-DRAPEAU BELGE Belgique 100% Polyester ...">
              <a:extLst>
                <a:ext uri="{FF2B5EF4-FFF2-40B4-BE49-F238E27FC236}">
                  <a16:creationId xmlns:a16="http://schemas.microsoft.com/office/drawing/2014/main" id="{75065C02-6546-4CAB-AD88-515D3D28AF51}"/>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46" name="Picture 2 - 1" descr="Drapeau des Pays-Bas — Wikipédia">
              <a:extLst>
                <a:ext uri="{FF2B5EF4-FFF2-40B4-BE49-F238E27FC236}">
                  <a16:creationId xmlns:a16="http://schemas.microsoft.com/office/drawing/2014/main" id="{D8753B4F-39C7-419A-8207-B0B4FD6E5C1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47" name="Picture 2 - 2" descr="Drapeau du Luxembourg">
              <a:extLst>
                <a:ext uri="{FF2B5EF4-FFF2-40B4-BE49-F238E27FC236}">
                  <a16:creationId xmlns:a16="http://schemas.microsoft.com/office/drawing/2014/main" id="{9264BF57-BC40-42C0-BFA7-82094A957B9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48" name="ZoneTexte 147">
              <a:extLst>
                <a:ext uri="{FF2B5EF4-FFF2-40B4-BE49-F238E27FC236}">
                  <a16:creationId xmlns:a16="http://schemas.microsoft.com/office/drawing/2014/main" id="{25992A77-6B87-4B2B-8D07-B9238BF3F0A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pic>
        <p:nvPicPr>
          <p:cNvPr id="99" name="Graphique 128" descr="Jauge">
            <a:extLst>
              <a:ext uri="{FF2B5EF4-FFF2-40B4-BE49-F238E27FC236}">
                <a16:creationId xmlns:a16="http://schemas.microsoft.com/office/drawing/2014/main" id="{46E0A6A0-B810-4468-9530-AE1896494C0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459616" y="2038268"/>
            <a:ext cx="416232" cy="386597"/>
          </a:xfrm>
          <a:prstGeom prst="rect">
            <a:avLst/>
          </a:prstGeom>
          <a:effectLst/>
        </p:spPr>
      </p:pic>
      <p:pic>
        <p:nvPicPr>
          <p:cNvPr id="100" name="Graphique 90" descr="Poignée de main">
            <a:extLst>
              <a:ext uri="{FF2B5EF4-FFF2-40B4-BE49-F238E27FC236}">
                <a16:creationId xmlns:a16="http://schemas.microsoft.com/office/drawing/2014/main" id="{00075293-23E9-472B-BE89-BB1A47F4A97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421409" y="3034439"/>
            <a:ext cx="454073" cy="509318"/>
          </a:xfrm>
          <a:prstGeom prst="rect">
            <a:avLst/>
          </a:prstGeom>
          <a:effectLst/>
        </p:spPr>
      </p:pic>
      <p:pic>
        <p:nvPicPr>
          <p:cNvPr id="101" name="Graphique 74" descr="Mégaphone">
            <a:extLst>
              <a:ext uri="{FF2B5EF4-FFF2-40B4-BE49-F238E27FC236}">
                <a16:creationId xmlns:a16="http://schemas.microsoft.com/office/drawing/2014/main" id="{5A0ADA0F-D693-45C8-BD0C-C85B9AE358F4}"/>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429437" y="4159549"/>
            <a:ext cx="412793" cy="383402"/>
          </a:xfrm>
          <a:prstGeom prst="rect">
            <a:avLst/>
          </a:prstGeom>
          <a:effectLst/>
        </p:spPr>
      </p:pic>
      <p:pic>
        <p:nvPicPr>
          <p:cNvPr id="150" name="Picture 2" descr="Drapeau France">
            <a:extLst>
              <a:ext uri="{FF2B5EF4-FFF2-40B4-BE49-F238E27FC236}">
                <a16:creationId xmlns:a16="http://schemas.microsoft.com/office/drawing/2014/main" id="{956C883E-46DC-4E4C-9458-B3A100E1E490}"/>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7251249" y="3765931"/>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51" name="Picture 2" descr="5 ft x 3 ft 150 x 90 cm-DRAPEAU BELGE Belgique 100% Polyester ...">
            <a:extLst>
              <a:ext uri="{FF2B5EF4-FFF2-40B4-BE49-F238E27FC236}">
                <a16:creationId xmlns:a16="http://schemas.microsoft.com/office/drawing/2014/main" id="{837ECE35-BA33-420F-8BA4-8D6AC474472D}"/>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7698417" y="3765931"/>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52" name="Picture 2 - 1" descr="Drapeau des Pays-Bas — Wikipédia">
            <a:extLst>
              <a:ext uri="{FF2B5EF4-FFF2-40B4-BE49-F238E27FC236}">
                <a16:creationId xmlns:a16="http://schemas.microsoft.com/office/drawing/2014/main" id="{C46D982D-3982-46B1-B323-B738F5EBE6E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482773" y="3765931"/>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53" name="Picture 2 - 2" descr="Drapeau du Luxembourg">
            <a:extLst>
              <a:ext uri="{FF2B5EF4-FFF2-40B4-BE49-F238E27FC236}">
                <a16:creationId xmlns:a16="http://schemas.microsoft.com/office/drawing/2014/main" id="{C1A14E36-C612-45B1-A052-96B4A7BB70E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925127" y="3765931"/>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60" name="Rectangle 159">
            <a:extLst>
              <a:ext uri="{FF2B5EF4-FFF2-40B4-BE49-F238E27FC236}">
                <a16:creationId xmlns:a16="http://schemas.microsoft.com/office/drawing/2014/main" id="{C3436142-DEEE-4004-BC76-B66DAAB591FB}"/>
              </a:ext>
            </a:extLst>
          </p:cNvPr>
          <p:cNvSpPr/>
          <p:nvPr/>
        </p:nvSpPr>
        <p:spPr bwMode="auto">
          <a:xfrm>
            <a:off x="6935816" y="3511449"/>
            <a:ext cx="1477565" cy="2184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300"/>
              </a:spcAft>
            </a:pPr>
            <a:r>
              <a:rPr lang="en-GB" sz="1050" b="1" i="1">
                <a:latin typeface="Trebuchet MS" panose="020B0603020202020204" pitchFamily="34" charset="0"/>
              </a:rPr>
              <a:t>France + Benelux</a:t>
            </a:r>
            <a:endParaRPr lang="en-GB" sz="1050" i="1">
              <a:latin typeface="Trebuchet MS" panose="020B0603020202020204" pitchFamily="34" charset="0"/>
            </a:endParaRPr>
          </a:p>
        </p:txBody>
      </p:sp>
      <p:sp>
        <p:nvSpPr>
          <p:cNvPr id="164" name="Rectangle 163">
            <a:extLst>
              <a:ext uri="{FF2B5EF4-FFF2-40B4-BE49-F238E27FC236}">
                <a16:creationId xmlns:a16="http://schemas.microsoft.com/office/drawing/2014/main" id="{314291C5-FA83-42E7-B149-349A9AF45727}"/>
              </a:ext>
            </a:extLst>
          </p:cNvPr>
          <p:cNvSpPr/>
          <p:nvPr/>
        </p:nvSpPr>
        <p:spPr bwMode="auto">
          <a:xfrm>
            <a:off x="6368873" y="5579646"/>
            <a:ext cx="2695890" cy="43344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300"/>
              </a:spcAft>
            </a:pPr>
            <a:r>
              <a:rPr lang="en-GB" sz="1050" b="1" i="1">
                <a:latin typeface="Trebuchet MS" panose="020B0603020202020204" pitchFamily="34" charset="0"/>
              </a:rPr>
              <a:t>DBI (Dun &amp; Bradstreet international) and WWN (Worldwide Network)</a:t>
            </a:r>
          </a:p>
        </p:txBody>
      </p:sp>
      <p:pic>
        <p:nvPicPr>
          <p:cNvPr id="126" name="Picture 2" descr="Drapeau France">
            <a:extLst>
              <a:ext uri="{FF2B5EF4-FFF2-40B4-BE49-F238E27FC236}">
                <a16:creationId xmlns:a16="http://schemas.microsoft.com/office/drawing/2014/main" id="{6A881BAC-D6CD-4600-90B8-11CA511E27DD}"/>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7251249" y="4793180"/>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31" name="Picture 2" descr="5 ft x 3 ft 150 x 90 cm-DRAPEAU BELGE Belgique 100% Polyester ...">
            <a:extLst>
              <a:ext uri="{FF2B5EF4-FFF2-40B4-BE49-F238E27FC236}">
                <a16:creationId xmlns:a16="http://schemas.microsoft.com/office/drawing/2014/main" id="{64C406E5-65CF-4560-AE98-6E7FCDA828B1}"/>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7698417" y="4793180"/>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32" name="Picture 2 - 1" descr="Drapeau des Pays-Bas — Wikipédia">
            <a:extLst>
              <a:ext uri="{FF2B5EF4-FFF2-40B4-BE49-F238E27FC236}">
                <a16:creationId xmlns:a16="http://schemas.microsoft.com/office/drawing/2014/main" id="{FCBF7405-92C1-481F-94BB-1F62FB637EE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482773" y="4793180"/>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33" name="Picture 2 - 2" descr="Drapeau du Luxembourg">
            <a:extLst>
              <a:ext uri="{FF2B5EF4-FFF2-40B4-BE49-F238E27FC236}">
                <a16:creationId xmlns:a16="http://schemas.microsoft.com/office/drawing/2014/main" id="{5AA3CF65-2927-4629-BE92-91368317854D}"/>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925127" y="4793180"/>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34" name="Rectangle 133">
            <a:extLst>
              <a:ext uri="{FF2B5EF4-FFF2-40B4-BE49-F238E27FC236}">
                <a16:creationId xmlns:a16="http://schemas.microsoft.com/office/drawing/2014/main" id="{48C4CE87-8086-469F-B871-7FA4934CB80E}"/>
              </a:ext>
            </a:extLst>
          </p:cNvPr>
          <p:cNvSpPr/>
          <p:nvPr/>
        </p:nvSpPr>
        <p:spPr bwMode="auto">
          <a:xfrm>
            <a:off x="6935816" y="4538698"/>
            <a:ext cx="1477565" cy="2184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300"/>
              </a:spcAft>
            </a:pPr>
            <a:r>
              <a:rPr lang="en-GB" sz="1050" b="1" i="1">
                <a:latin typeface="Trebuchet MS" panose="020B0603020202020204" pitchFamily="34" charset="0"/>
              </a:rPr>
              <a:t>France + Benelux</a:t>
            </a:r>
            <a:endParaRPr lang="en-GB" sz="1050" i="1">
              <a:latin typeface="Trebuchet MS" panose="020B0603020202020204" pitchFamily="34" charset="0"/>
            </a:endParaRPr>
          </a:p>
        </p:txBody>
      </p:sp>
      <p:pic>
        <p:nvPicPr>
          <p:cNvPr id="135" name="Picture 2" descr="Drapeau France">
            <a:extLst>
              <a:ext uri="{FF2B5EF4-FFF2-40B4-BE49-F238E27FC236}">
                <a16:creationId xmlns:a16="http://schemas.microsoft.com/office/drawing/2014/main" id="{497D50F3-C1CF-4F62-BF40-2FF065046490}"/>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7251249" y="26790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55" name="Picture 2" descr="5 ft x 3 ft 150 x 90 cm-DRAPEAU BELGE Belgique 100% Polyester ...">
            <a:extLst>
              <a:ext uri="{FF2B5EF4-FFF2-40B4-BE49-F238E27FC236}">
                <a16:creationId xmlns:a16="http://schemas.microsoft.com/office/drawing/2014/main" id="{BDDCE2AD-C69B-465D-B7A5-9EAB7B7D6C6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7698417" y="2679093"/>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56" name="Picture 2 - 1" descr="Drapeau des Pays-Bas — Wikipédia">
            <a:extLst>
              <a:ext uri="{FF2B5EF4-FFF2-40B4-BE49-F238E27FC236}">
                <a16:creationId xmlns:a16="http://schemas.microsoft.com/office/drawing/2014/main" id="{C5B7A39F-2462-4C1B-AA45-F6842B8E0AD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482773" y="2679093"/>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57" name="Picture 2 - 2" descr="Drapeau du Luxembourg">
            <a:extLst>
              <a:ext uri="{FF2B5EF4-FFF2-40B4-BE49-F238E27FC236}">
                <a16:creationId xmlns:a16="http://schemas.microsoft.com/office/drawing/2014/main" id="{4FA041E9-E251-49FD-8221-076B91A9443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925127" y="26790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61" name="Rectangle 160">
            <a:extLst>
              <a:ext uri="{FF2B5EF4-FFF2-40B4-BE49-F238E27FC236}">
                <a16:creationId xmlns:a16="http://schemas.microsoft.com/office/drawing/2014/main" id="{ECD8E6B3-28AA-4BBB-A6AD-28BCF51C3D9F}"/>
              </a:ext>
            </a:extLst>
          </p:cNvPr>
          <p:cNvSpPr/>
          <p:nvPr/>
        </p:nvSpPr>
        <p:spPr bwMode="auto">
          <a:xfrm>
            <a:off x="6935816" y="2424611"/>
            <a:ext cx="1477565" cy="2184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300"/>
              </a:spcAft>
            </a:pPr>
            <a:r>
              <a:rPr lang="en-GB" sz="1050" b="1" i="1">
                <a:latin typeface="Trebuchet MS" panose="020B0603020202020204" pitchFamily="34" charset="0"/>
              </a:rPr>
              <a:t>France + Benelux</a:t>
            </a:r>
            <a:endParaRPr lang="en-GB" sz="1050" i="1">
              <a:latin typeface="Trebuchet MS" panose="020B0603020202020204" pitchFamily="34" charset="0"/>
            </a:endParaRPr>
          </a:p>
        </p:txBody>
      </p:sp>
      <p:grpSp>
        <p:nvGrpSpPr>
          <p:cNvPr id="116" name="Groupe 115">
            <a:extLst>
              <a:ext uri="{FF2B5EF4-FFF2-40B4-BE49-F238E27FC236}">
                <a16:creationId xmlns:a16="http://schemas.microsoft.com/office/drawing/2014/main" id="{6C2F0CB6-ABE4-4B19-A890-ED7BB4E116E9}"/>
              </a:ext>
            </a:extLst>
          </p:cNvPr>
          <p:cNvGrpSpPr/>
          <p:nvPr/>
        </p:nvGrpSpPr>
        <p:grpSpPr>
          <a:xfrm>
            <a:off x="217806" y="1345552"/>
            <a:ext cx="4837426" cy="5090085"/>
            <a:chOff x="217806" y="1345552"/>
            <a:chExt cx="4837426" cy="5090085"/>
          </a:xfrm>
        </p:grpSpPr>
        <p:sp>
          <p:nvSpPr>
            <p:cNvPr id="117" name="Rectangle 116">
              <a:extLst>
                <a:ext uri="{FF2B5EF4-FFF2-40B4-BE49-F238E27FC236}">
                  <a16:creationId xmlns:a16="http://schemas.microsoft.com/office/drawing/2014/main" id="{BCC6F20B-F860-4485-B019-B1FC536696DA}"/>
                </a:ext>
              </a:extLst>
            </p:cNvPr>
            <p:cNvSpPr/>
            <p:nvPr/>
          </p:nvSpPr>
          <p:spPr bwMode="auto">
            <a:xfrm>
              <a:off x="217806" y="1345552"/>
              <a:ext cx="4837426" cy="509008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mc:AlternateContent xmlns:mc="http://schemas.openxmlformats.org/markup-compatibility/2006" xmlns:cx1="http://schemas.microsoft.com/office/drawing/2015/9/8/chartex">
          <mc:Choice Requires="cx1">
            <p:graphicFrame>
              <p:nvGraphicFramePr>
                <p:cNvPr id="118" name="Graphique 117">
                  <a:extLst>
                    <a:ext uri="{FF2B5EF4-FFF2-40B4-BE49-F238E27FC236}">
                      <a16:creationId xmlns:a16="http://schemas.microsoft.com/office/drawing/2014/main" id="{301FB4BB-8209-42F0-8064-E151BBAC1402}"/>
                    </a:ext>
                  </a:extLst>
                </p:cNvPr>
                <p:cNvGraphicFramePr/>
                <p:nvPr>
                  <p:extLst>
                    <p:ext uri="{D42A27DB-BD31-4B8C-83A1-F6EECF244321}">
                      <p14:modId xmlns:p14="http://schemas.microsoft.com/office/powerpoint/2010/main" val="682899271"/>
                    </p:ext>
                  </p:extLst>
                </p:nvPr>
              </p:nvGraphicFramePr>
              <p:xfrm>
                <a:off x="510669" y="2111576"/>
                <a:ext cx="4412176" cy="3240000"/>
              </p:xfrm>
              <a:graphic>
                <a:graphicData uri="http://schemas.microsoft.com/office/drawing/2014/chartex">
                  <cx:chart xmlns:cx="http://schemas.microsoft.com/office/drawing/2014/chartex" xmlns:r="http://schemas.openxmlformats.org/officeDocument/2006/relationships" r:id="rId22"/>
                </a:graphicData>
              </a:graphic>
            </p:graphicFrame>
          </mc:Choice>
          <mc:Fallback xmlns="">
            <p:pic>
              <p:nvPicPr>
                <p:cNvPr id="118" name="Graphique 117">
                  <a:extLst>
                    <a:ext uri="{FF2B5EF4-FFF2-40B4-BE49-F238E27FC236}">
                      <a16:creationId xmlns:a16="http://schemas.microsoft.com/office/drawing/2014/main" id="{301FB4BB-8209-42F0-8064-E151BBAC1402}"/>
                    </a:ext>
                  </a:extLst>
                </p:cNvPr>
                <p:cNvPicPr>
                  <a:picLocks noGrp="1" noRot="1" noChangeAspect="1" noMove="1" noResize="1" noEditPoints="1" noAdjustHandles="1" noChangeArrowheads="1" noChangeShapeType="1"/>
                </p:cNvPicPr>
                <p:nvPr/>
              </p:nvPicPr>
              <p:blipFill>
                <a:blip r:embed="rId24"/>
                <a:stretch>
                  <a:fillRect/>
                </a:stretch>
              </p:blipFill>
              <p:spPr>
                <a:xfrm>
                  <a:off x="510669" y="2111576"/>
                  <a:ext cx="4412176" cy="3240000"/>
                </a:xfrm>
                <a:prstGeom prst="rect">
                  <a:avLst/>
                </a:prstGeom>
              </p:spPr>
            </p:pic>
          </mc:Fallback>
        </mc:AlternateContent>
        <p:sp>
          <p:nvSpPr>
            <p:cNvPr id="119" name="Rectangle 118">
              <a:extLst>
                <a:ext uri="{FF2B5EF4-FFF2-40B4-BE49-F238E27FC236}">
                  <a16:creationId xmlns:a16="http://schemas.microsoft.com/office/drawing/2014/main" id="{D2F48D5B-0410-4768-BF57-73D23F1F07EF}"/>
                </a:ext>
              </a:extLst>
            </p:cNvPr>
            <p:cNvSpPr>
              <a:spLocks/>
            </p:cNvSpPr>
            <p:nvPr/>
          </p:nvSpPr>
          <p:spPr>
            <a:xfrm>
              <a:off x="233430" y="5540269"/>
              <a:ext cx="751606" cy="362093"/>
            </a:xfrm>
            <a:prstGeom prst="rect">
              <a:avLst/>
            </a:prstGeom>
            <a:solidFill>
              <a:schemeClr val="bg1"/>
            </a:solidFill>
            <a:ln>
              <a:solidFill>
                <a:schemeClr val="accent1">
                  <a:lumMod val="75000"/>
                </a:schemeClr>
              </a:solidFill>
            </a:ln>
          </p:spPr>
          <p:txBody>
            <a:bodyPr wrap="square" lIns="0" tIns="36000" rIns="0" bIns="36000" anchor="ctr">
              <a:noAutofit/>
            </a:bodyPr>
            <a:lstStyle/>
            <a:p>
              <a:pPr algn="ctr"/>
              <a:r>
                <a:rPr lang="en-GB" sz="900" b="1">
                  <a:solidFill>
                    <a:schemeClr val="accent1">
                      <a:lumMod val="50000"/>
                    </a:schemeClr>
                  </a:solidFill>
                  <a:latin typeface="Trebuchet MS" pitchFamily="34" charset="0"/>
                </a:rPr>
                <a:t>Contribution to growth</a:t>
              </a:r>
            </a:p>
          </p:txBody>
        </p:sp>
        <p:sp>
          <p:nvSpPr>
            <p:cNvPr id="120" name="Freeform 5">
              <a:extLst>
                <a:ext uri="{FF2B5EF4-FFF2-40B4-BE49-F238E27FC236}">
                  <a16:creationId xmlns:a16="http://schemas.microsoft.com/office/drawing/2014/main" id="{8150A045-D917-4933-926F-2938A9F02BB6}"/>
                </a:ext>
              </a:extLst>
            </p:cNvPr>
            <p:cNvSpPr>
              <a:spLocks/>
            </p:cNvSpPr>
            <p:nvPr/>
          </p:nvSpPr>
          <p:spPr bwMode="auto">
            <a:xfrm>
              <a:off x="4893521" y="5643807"/>
              <a:ext cx="57109" cy="57109"/>
            </a:xfrm>
            <a:custGeom>
              <a:avLst/>
              <a:gdLst>
                <a:gd name="T0" fmla="*/ 0 w 28"/>
                <a:gd name="T1" fmla="*/ 0 h 28"/>
                <a:gd name="T2" fmla="*/ 0 w 28"/>
                <a:gd name="T3" fmla="*/ 28 h 28"/>
                <a:gd name="T4" fmla="*/ 28 w 28"/>
                <a:gd name="T5" fmla="*/ 28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28"/>
                    <a:pt x="0" y="28"/>
                    <a:pt x="0" y="28"/>
                  </a:cubicBezTo>
                  <a:cubicBezTo>
                    <a:pt x="28" y="28"/>
                    <a:pt x="28" y="28"/>
                    <a:pt x="28" y="28"/>
                  </a:cubicBezTo>
                  <a:cubicBezTo>
                    <a:pt x="28" y="13"/>
                    <a:pt x="16" y="0"/>
                    <a:pt x="0" y="0"/>
                  </a:cubicBez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solidFill>
                  <a:schemeClr val="tx2"/>
                </a:solidFill>
              </a:endParaRPr>
            </a:p>
          </p:txBody>
        </p:sp>
        <p:sp>
          <p:nvSpPr>
            <p:cNvPr id="121" name="Freeform 6">
              <a:extLst>
                <a:ext uri="{FF2B5EF4-FFF2-40B4-BE49-F238E27FC236}">
                  <a16:creationId xmlns:a16="http://schemas.microsoft.com/office/drawing/2014/main" id="{CC43BE00-BADD-4478-8D76-AF8C16CA9322}"/>
                </a:ext>
              </a:extLst>
            </p:cNvPr>
            <p:cNvSpPr>
              <a:spLocks noEditPoints="1"/>
            </p:cNvSpPr>
            <p:nvPr/>
          </p:nvSpPr>
          <p:spPr bwMode="auto">
            <a:xfrm>
              <a:off x="4821295" y="5660604"/>
              <a:ext cx="112538" cy="112538"/>
            </a:xfrm>
            <a:custGeom>
              <a:avLst/>
              <a:gdLst>
                <a:gd name="T0" fmla="*/ 28 w 56"/>
                <a:gd name="T1" fmla="*/ 0 h 56"/>
                <a:gd name="T2" fmla="*/ 0 w 56"/>
                <a:gd name="T3" fmla="*/ 28 h 56"/>
                <a:gd name="T4" fmla="*/ 28 w 56"/>
                <a:gd name="T5" fmla="*/ 56 h 56"/>
                <a:gd name="T6" fmla="*/ 56 w 56"/>
                <a:gd name="T7" fmla="*/ 28 h 56"/>
                <a:gd name="T8" fmla="*/ 28 w 56"/>
                <a:gd name="T9" fmla="*/ 28 h 56"/>
                <a:gd name="T10" fmla="*/ 28 w 56"/>
                <a:gd name="T11" fmla="*/ 0 h 56"/>
                <a:gd name="T12" fmla="*/ 52 w 56"/>
                <a:gd name="T13" fmla="*/ 32 h 56"/>
                <a:gd name="T14" fmla="*/ 28 w 56"/>
                <a:gd name="T15" fmla="*/ 52 h 56"/>
                <a:gd name="T16" fmla="*/ 4 w 56"/>
                <a:gd name="T17" fmla="*/ 28 h 56"/>
                <a:gd name="T18" fmla="*/ 24 w 56"/>
                <a:gd name="T19" fmla="*/ 4 h 56"/>
                <a:gd name="T20" fmla="*/ 24 w 56"/>
                <a:gd name="T21" fmla="*/ 32 h 56"/>
                <a:gd name="T22" fmla="*/ 52 w 56"/>
                <a:gd name="T23"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56">
                  <a:moveTo>
                    <a:pt x="28" y="0"/>
                  </a:moveTo>
                  <a:cubicBezTo>
                    <a:pt x="13" y="0"/>
                    <a:pt x="0" y="13"/>
                    <a:pt x="0" y="28"/>
                  </a:cubicBezTo>
                  <a:cubicBezTo>
                    <a:pt x="0" y="44"/>
                    <a:pt x="13" y="56"/>
                    <a:pt x="28" y="56"/>
                  </a:cubicBezTo>
                  <a:cubicBezTo>
                    <a:pt x="44" y="56"/>
                    <a:pt x="56" y="44"/>
                    <a:pt x="56" y="28"/>
                  </a:cubicBezTo>
                  <a:cubicBezTo>
                    <a:pt x="28" y="28"/>
                    <a:pt x="28" y="28"/>
                    <a:pt x="28" y="28"/>
                  </a:cubicBezTo>
                  <a:lnTo>
                    <a:pt x="28" y="0"/>
                  </a:lnTo>
                  <a:close/>
                  <a:moveTo>
                    <a:pt x="52" y="32"/>
                  </a:moveTo>
                  <a:cubicBezTo>
                    <a:pt x="50" y="43"/>
                    <a:pt x="40" y="52"/>
                    <a:pt x="28" y="52"/>
                  </a:cubicBezTo>
                  <a:cubicBezTo>
                    <a:pt x="15" y="52"/>
                    <a:pt x="4" y="41"/>
                    <a:pt x="4" y="28"/>
                  </a:cubicBezTo>
                  <a:cubicBezTo>
                    <a:pt x="4" y="16"/>
                    <a:pt x="13" y="6"/>
                    <a:pt x="24" y="4"/>
                  </a:cubicBezTo>
                  <a:cubicBezTo>
                    <a:pt x="24" y="32"/>
                    <a:pt x="24" y="32"/>
                    <a:pt x="24" y="32"/>
                  </a:cubicBezTo>
                  <a:lnTo>
                    <a:pt x="52" y="32"/>
                  </a:ln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solidFill>
                  <a:schemeClr val="tx2"/>
                </a:solidFill>
              </a:endParaRPr>
            </a:p>
          </p:txBody>
        </p:sp>
        <p:sp>
          <p:nvSpPr>
            <p:cNvPr id="122" name="Rectangle 121">
              <a:extLst>
                <a:ext uri="{FF2B5EF4-FFF2-40B4-BE49-F238E27FC236}">
                  <a16:creationId xmlns:a16="http://schemas.microsoft.com/office/drawing/2014/main" id="{8075563C-1D35-4797-9C74-85C338BB7CA9}"/>
                </a:ext>
              </a:extLst>
            </p:cNvPr>
            <p:cNvSpPr>
              <a:spLocks/>
            </p:cNvSpPr>
            <p:nvPr/>
          </p:nvSpPr>
          <p:spPr>
            <a:xfrm>
              <a:off x="233430" y="5966506"/>
              <a:ext cx="751606" cy="362093"/>
            </a:xfrm>
            <a:prstGeom prst="rect">
              <a:avLst/>
            </a:prstGeom>
            <a:solidFill>
              <a:schemeClr val="bg1"/>
            </a:solidFill>
            <a:ln>
              <a:solidFill>
                <a:schemeClr val="tx1"/>
              </a:solidFill>
            </a:ln>
          </p:spPr>
          <p:txBody>
            <a:bodyPr wrap="square" lIns="0" tIns="36000" rIns="0" bIns="36000" anchor="ctr">
              <a:noAutofit/>
            </a:bodyPr>
            <a:lstStyle/>
            <a:p>
              <a:pPr algn="ctr"/>
              <a:r>
                <a:rPr lang="en-GB" sz="900" b="1">
                  <a:latin typeface="Trebuchet MS" pitchFamily="34" charset="0"/>
                </a:rPr>
                <a:t>Expected CAGR</a:t>
              </a:r>
              <a:r>
                <a:rPr lang="en-GB" sz="900" b="1" baseline="-25000">
                  <a:latin typeface="Trebuchet MS" pitchFamily="34" charset="0"/>
                </a:rPr>
                <a:t>20-25</a:t>
              </a:r>
              <a:endParaRPr lang="en-GB" sz="900" b="1">
                <a:latin typeface="Trebuchet MS" pitchFamily="34" charset="0"/>
              </a:endParaRPr>
            </a:p>
          </p:txBody>
        </p:sp>
        <p:sp>
          <p:nvSpPr>
            <p:cNvPr id="123" name="Rectangle 5">
              <a:extLst>
                <a:ext uri="{FF2B5EF4-FFF2-40B4-BE49-F238E27FC236}">
                  <a16:creationId xmlns:a16="http://schemas.microsoft.com/office/drawing/2014/main" id="{36E3BB9E-54F7-4901-87E2-8769F10BC610}"/>
                </a:ext>
              </a:extLst>
            </p:cNvPr>
            <p:cNvSpPr>
              <a:spLocks noChangeArrowheads="1"/>
            </p:cNvSpPr>
            <p:nvPr/>
          </p:nvSpPr>
          <p:spPr bwMode="auto">
            <a:xfrm>
              <a:off x="4833567" y="6158026"/>
              <a:ext cx="23773" cy="2360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Rectangle 6">
              <a:extLst>
                <a:ext uri="{FF2B5EF4-FFF2-40B4-BE49-F238E27FC236}">
                  <a16:creationId xmlns:a16="http://schemas.microsoft.com/office/drawing/2014/main" id="{3694C639-0A70-4CC6-AF89-2DF0BBE0BB6B}"/>
                </a:ext>
              </a:extLst>
            </p:cNvPr>
            <p:cNvSpPr>
              <a:spLocks noChangeArrowheads="1"/>
            </p:cNvSpPr>
            <p:nvPr/>
          </p:nvSpPr>
          <p:spPr bwMode="auto">
            <a:xfrm>
              <a:off x="4865151" y="6142234"/>
              <a:ext cx="23603" cy="393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Rectangle 7">
              <a:extLst>
                <a:ext uri="{FF2B5EF4-FFF2-40B4-BE49-F238E27FC236}">
                  <a16:creationId xmlns:a16="http://schemas.microsoft.com/office/drawing/2014/main" id="{36843667-20D8-42B0-BC03-215E24083561}"/>
                </a:ext>
              </a:extLst>
            </p:cNvPr>
            <p:cNvSpPr>
              <a:spLocks noChangeArrowheads="1"/>
            </p:cNvSpPr>
            <p:nvPr/>
          </p:nvSpPr>
          <p:spPr bwMode="auto">
            <a:xfrm>
              <a:off x="4896565" y="6126442"/>
              <a:ext cx="23603" cy="55187"/>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7" name="Rectangle 8">
              <a:extLst>
                <a:ext uri="{FF2B5EF4-FFF2-40B4-BE49-F238E27FC236}">
                  <a16:creationId xmlns:a16="http://schemas.microsoft.com/office/drawing/2014/main" id="{EBF64854-68EF-4565-8BDC-747CCD5C739E}"/>
                </a:ext>
              </a:extLst>
            </p:cNvPr>
            <p:cNvSpPr>
              <a:spLocks noChangeArrowheads="1"/>
            </p:cNvSpPr>
            <p:nvPr/>
          </p:nvSpPr>
          <p:spPr bwMode="auto">
            <a:xfrm>
              <a:off x="4928149" y="6110650"/>
              <a:ext cx="23603" cy="70979"/>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8" name="Freeform 9">
              <a:extLst>
                <a:ext uri="{FF2B5EF4-FFF2-40B4-BE49-F238E27FC236}">
                  <a16:creationId xmlns:a16="http://schemas.microsoft.com/office/drawing/2014/main" id="{F7BF6B1E-8B51-4F77-93E9-803CC6007EB2}"/>
                </a:ext>
              </a:extLst>
            </p:cNvPr>
            <p:cNvSpPr>
              <a:spLocks/>
            </p:cNvSpPr>
            <p:nvPr/>
          </p:nvSpPr>
          <p:spPr bwMode="auto">
            <a:xfrm>
              <a:off x="4825756" y="6067349"/>
              <a:ext cx="125996" cy="74885"/>
            </a:xfrm>
            <a:custGeom>
              <a:avLst/>
              <a:gdLst>
                <a:gd name="T0" fmla="*/ 649 w 742"/>
                <a:gd name="T1" fmla="*/ 105 h 441"/>
                <a:gd name="T2" fmla="*/ 510 w 742"/>
                <a:gd name="T3" fmla="*/ 105 h 441"/>
                <a:gd name="T4" fmla="*/ 325 w 742"/>
                <a:gd name="T5" fmla="*/ 244 h 441"/>
                <a:gd name="T6" fmla="*/ 232 w 742"/>
                <a:gd name="T7" fmla="*/ 186 h 441"/>
                <a:gd name="T8" fmla="*/ 0 w 742"/>
                <a:gd name="T9" fmla="*/ 383 h 441"/>
                <a:gd name="T10" fmla="*/ 0 w 742"/>
                <a:gd name="T11" fmla="*/ 441 h 441"/>
                <a:gd name="T12" fmla="*/ 244 w 742"/>
                <a:gd name="T13" fmla="*/ 244 h 441"/>
                <a:gd name="T14" fmla="*/ 336 w 742"/>
                <a:gd name="T15" fmla="*/ 290 h 441"/>
                <a:gd name="T16" fmla="*/ 522 w 742"/>
                <a:gd name="T17" fmla="*/ 151 h 441"/>
                <a:gd name="T18" fmla="*/ 661 w 742"/>
                <a:gd name="T19" fmla="*/ 151 h 441"/>
                <a:gd name="T20" fmla="*/ 742 w 742"/>
                <a:gd name="T21" fmla="*/ 70 h 441"/>
                <a:gd name="T22" fmla="*/ 742 w 742"/>
                <a:gd name="T23" fmla="*/ 0 h 441"/>
                <a:gd name="T24" fmla="*/ 649 w 742"/>
                <a:gd name="T25" fmla="*/ 105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2" h="441">
                  <a:moveTo>
                    <a:pt x="649" y="105"/>
                  </a:moveTo>
                  <a:lnTo>
                    <a:pt x="510" y="105"/>
                  </a:lnTo>
                  <a:lnTo>
                    <a:pt x="325" y="244"/>
                  </a:lnTo>
                  <a:lnTo>
                    <a:pt x="232" y="186"/>
                  </a:lnTo>
                  <a:lnTo>
                    <a:pt x="0" y="383"/>
                  </a:lnTo>
                  <a:lnTo>
                    <a:pt x="0" y="441"/>
                  </a:lnTo>
                  <a:lnTo>
                    <a:pt x="244" y="244"/>
                  </a:lnTo>
                  <a:lnTo>
                    <a:pt x="336" y="290"/>
                  </a:lnTo>
                  <a:lnTo>
                    <a:pt x="522" y="151"/>
                  </a:lnTo>
                  <a:lnTo>
                    <a:pt x="661" y="151"/>
                  </a:lnTo>
                  <a:lnTo>
                    <a:pt x="742" y="70"/>
                  </a:lnTo>
                  <a:lnTo>
                    <a:pt x="742" y="0"/>
                  </a:lnTo>
                  <a:lnTo>
                    <a:pt x="649" y="10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9" name="Rectangle 168">
              <a:extLst>
                <a:ext uri="{FF2B5EF4-FFF2-40B4-BE49-F238E27FC236}">
                  <a16:creationId xmlns:a16="http://schemas.microsoft.com/office/drawing/2014/main" id="{7F1617CF-A5A9-4CD9-806D-B914998695D7}"/>
                </a:ext>
              </a:extLst>
            </p:cNvPr>
            <p:cNvSpPr/>
            <p:nvPr/>
          </p:nvSpPr>
          <p:spPr bwMode="auto">
            <a:xfrm>
              <a:off x="1008978"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170" name="Rectangle 169">
              <a:extLst>
                <a:ext uri="{FF2B5EF4-FFF2-40B4-BE49-F238E27FC236}">
                  <a16:creationId xmlns:a16="http://schemas.microsoft.com/office/drawing/2014/main" id="{3587C7CF-E610-4217-9B50-9BD08E6CB608}"/>
                </a:ext>
              </a:extLst>
            </p:cNvPr>
            <p:cNvSpPr/>
            <p:nvPr/>
          </p:nvSpPr>
          <p:spPr bwMode="auto">
            <a:xfrm>
              <a:off x="1769157"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171" name="Rectangle 170">
              <a:extLst>
                <a:ext uri="{FF2B5EF4-FFF2-40B4-BE49-F238E27FC236}">
                  <a16:creationId xmlns:a16="http://schemas.microsoft.com/office/drawing/2014/main" id="{4DE89761-E9AA-4C56-B23C-4FBEB7943D6B}"/>
                </a:ext>
              </a:extLst>
            </p:cNvPr>
            <p:cNvSpPr/>
            <p:nvPr/>
          </p:nvSpPr>
          <p:spPr bwMode="auto">
            <a:xfrm>
              <a:off x="1290570"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A</a:t>
              </a:r>
            </a:p>
          </p:txBody>
        </p:sp>
        <p:sp>
          <p:nvSpPr>
            <p:cNvPr id="172" name="Rectangle 171">
              <a:extLst>
                <a:ext uri="{FF2B5EF4-FFF2-40B4-BE49-F238E27FC236}">
                  <a16:creationId xmlns:a16="http://schemas.microsoft.com/office/drawing/2014/main" id="{0A92AB54-0042-4F29-AC70-91AD5BC47130}"/>
                </a:ext>
              </a:extLst>
            </p:cNvPr>
            <p:cNvSpPr/>
            <p:nvPr/>
          </p:nvSpPr>
          <p:spPr bwMode="auto">
            <a:xfrm>
              <a:off x="2019252"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B</a:t>
              </a:r>
            </a:p>
          </p:txBody>
        </p:sp>
        <p:sp>
          <p:nvSpPr>
            <p:cNvPr id="173" name="Rectangle 172">
              <a:extLst>
                <a:ext uri="{FF2B5EF4-FFF2-40B4-BE49-F238E27FC236}">
                  <a16:creationId xmlns:a16="http://schemas.microsoft.com/office/drawing/2014/main" id="{3A7BBBC7-F06C-4D9E-967D-99613877AAB5}"/>
                </a:ext>
              </a:extLst>
            </p:cNvPr>
            <p:cNvSpPr/>
            <p:nvPr/>
          </p:nvSpPr>
          <p:spPr bwMode="auto">
            <a:xfrm>
              <a:off x="2824654"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C</a:t>
              </a:r>
            </a:p>
          </p:txBody>
        </p:sp>
        <p:sp>
          <p:nvSpPr>
            <p:cNvPr id="174" name="Rectangle 173">
              <a:extLst>
                <a:ext uri="{FF2B5EF4-FFF2-40B4-BE49-F238E27FC236}">
                  <a16:creationId xmlns:a16="http://schemas.microsoft.com/office/drawing/2014/main" id="{9B1A0EEB-1FFF-46AD-B005-88B3F4EFC10E}"/>
                </a:ext>
              </a:extLst>
            </p:cNvPr>
            <p:cNvSpPr/>
            <p:nvPr/>
          </p:nvSpPr>
          <p:spPr bwMode="auto">
            <a:xfrm>
              <a:off x="3774866" y="1577884"/>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D</a:t>
              </a:r>
            </a:p>
          </p:txBody>
        </p:sp>
        <p:sp>
          <p:nvSpPr>
            <p:cNvPr id="175" name="ZoneTexte 174">
              <a:extLst>
                <a:ext uri="{FF2B5EF4-FFF2-40B4-BE49-F238E27FC236}">
                  <a16:creationId xmlns:a16="http://schemas.microsoft.com/office/drawing/2014/main" id="{99991AD9-E657-4774-BB36-6B61324CC742}"/>
                </a:ext>
              </a:extLst>
            </p:cNvPr>
            <p:cNvSpPr txBox="1"/>
            <p:nvPr/>
          </p:nvSpPr>
          <p:spPr>
            <a:xfrm>
              <a:off x="1061021" y="1866347"/>
              <a:ext cx="659789"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Risk</a:t>
              </a:r>
            </a:p>
          </p:txBody>
        </p:sp>
        <p:sp>
          <p:nvSpPr>
            <p:cNvPr id="176" name="ZoneTexte 175">
              <a:extLst>
                <a:ext uri="{FF2B5EF4-FFF2-40B4-BE49-F238E27FC236}">
                  <a16:creationId xmlns:a16="http://schemas.microsoft.com/office/drawing/2014/main" id="{E0DBF8C8-BE3E-4172-82F0-4CEBC402E733}"/>
                </a:ext>
              </a:extLst>
            </p:cNvPr>
            <p:cNvSpPr txBox="1"/>
            <p:nvPr/>
          </p:nvSpPr>
          <p:spPr>
            <a:xfrm>
              <a:off x="1636309" y="1863615"/>
              <a:ext cx="1012587"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ompliance</a:t>
              </a:r>
            </a:p>
          </p:txBody>
        </p:sp>
        <p:sp>
          <p:nvSpPr>
            <p:cNvPr id="177" name="Rectangle 176">
              <a:extLst>
                <a:ext uri="{FF2B5EF4-FFF2-40B4-BE49-F238E27FC236}">
                  <a16:creationId xmlns:a16="http://schemas.microsoft.com/office/drawing/2014/main" id="{816039AF-D261-4DCB-AE12-DB90079C2A49}"/>
                </a:ext>
              </a:extLst>
            </p:cNvPr>
            <p:cNvSpPr/>
            <p:nvPr/>
          </p:nvSpPr>
          <p:spPr bwMode="auto">
            <a:xfrm>
              <a:off x="2529336"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178" name="ZoneTexte 177">
              <a:extLst>
                <a:ext uri="{FF2B5EF4-FFF2-40B4-BE49-F238E27FC236}">
                  <a16:creationId xmlns:a16="http://schemas.microsoft.com/office/drawing/2014/main" id="{0564E4E3-04B3-45F1-BAAF-A857966380ED}"/>
                </a:ext>
              </a:extLst>
            </p:cNvPr>
            <p:cNvSpPr txBox="1"/>
            <p:nvPr/>
          </p:nvSpPr>
          <p:spPr>
            <a:xfrm>
              <a:off x="2424669" y="1872342"/>
              <a:ext cx="1012587"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B2B Marketing</a:t>
              </a:r>
            </a:p>
          </p:txBody>
        </p:sp>
        <p:sp>
          <p:nvSpPr>
            <p:cNvPr id="179" name="Rectangle 178">
              <a:extLst>
                <a:ext uri="{FF2B5EF4-FFF2-40B4-BE49-F238E27FC236}">
                  <a16:creationId xmlns:a16="http://schemas.microsoft.com/office/drawing/2014/main" id="{DC595800-BAAF-43EE-A838-E48BF4A1F75D}"/>
                </a:ext>
              </a:extLst>
            </p:cNvPr>
            <p:cNvSpPr/>
            <p:nvPr/>
          </p:nvSpPr>
          <p:spPr bwMode="auto">
            <a:xfrm>
              <a:off x="3289514" y="2111575"/>
              <a:ext cx="1152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180" name="ZoneTexte 179">
              <a:extLst>
                <a:ext uri="{FF2B5EF4-FFF2-40B4-BE49-F238E27FC236}">
                  <a16:creationId xmlns:a16="http://schemas.microsoft.com/office/drawing/2014/main" id="{B9B0AE36-DF0E-4C5F-827F-F90B5F4463A1}"/>
                </a:ext>
              </a:extLst>
            </p:cNvPr>
            <p:cNvSpPr txBox="1"/>
            <p:nvPr/>
          </p:nvSpPr>
          <p:spPr>
            <a:xfrm>
              <a:off x="3315097" y="1872342"/>
              <a:ext cx="1113846"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Other activities</a:t>
              </a:r>
            </a:p>
          </p:txBody>
        </p:sp>
        <p:cxnSp>
          <p:nvCxnSpPr>
            <p:cNvPr id="181" name="Straight Connector 156">
              <a:extLst>
                <a:ext uri="{FF2B5EF4-FFF2-40B4-BE49-F238E27FC236}">
                  <a16:creationId xmlns:a16="http://schemas.microsoft.com/office/drawing/2014/main" id="{9236DE85-4818-444C-B1F0-B716219EC4DD}"/>
                </a:ext>
              </a:extLst>
            </p:cNvPr>
            <p:cNvCxnSpPr>
              <a:cxnSpLocks/>
            </p:cNvCxnSpPr>
            <p:nvPr/>
          </p:nvCxnSpPr>
          <p:spPr bwMode="auto">
            <a:xfrm flipV="1">
              <a:off x="640663" y="1489932"/>
              <a:ext cx="0" cy="195116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82" name="Straight Connector 157">
              <a:extLst>
                <a:ext uri="{FF2B5EF4-FFF2-40B4-BE49-F238E27FC236}">
                  <a16:creationId xmlns:a16="http://schemas.microsoft.com/office/drawing/2014/main" id="{9C4897B6-C05A-4B07-B074-FD27FD4FE164}"/>
                </a:ext>
              </a:extLst>
            </p:cNvPr>
            <p:cNvCxnSpPr>
              <a:cxnSpLocks/>
            </p:cNvCxnSpPr>
            <p:nvPr/>
          </p:nvCxnSpPr>
          <p:spPr bwMode="auto">
            <a:xfrm>
              <a:off x="640663" y="1489932"/>
              <a:ext cx="4028379"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83" name="Oval 158">
              <a:extLst>
                <a:ext uri="{FF2B5EF4-FFF2-40B4-BE49-F238E27FC236}">
                  <a16:creationId xmlns:a16="http://schemas.microsoft.com/office/drawing/2014/main" id="{965A5403-2924-4C63-9EAA-45740279EC66}"/>
                </a:ext>
              </a:extLst>
            </p:cNvPr>
            <p:cNvSpPr/>
            <p:nvPr/>
          </p:nvSpPr>
          <p:spPr bwMode="auto">
            <a:xfrm>
              <a:off x="1866783" y="1361923"/>
              <a:ext cx="1453776" cy="206992"/>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a:r>
                <a:rPr lang="en-GB" sz="900" b="1">
                  <a:latin typeface="Trebuchet MS" pitchFamily="34" charset="0"/>
                </a:rPr>
                <a:t>CAGR</a:t>
              </a:r>
              <a:r>
                <a:rPr lang="en-GB" sz="900" b="1" baseline="-25000">
                  <a:latin typeface="Trebuchet MS" pitchFamily="34" charset="0"/>
                </a:rPr>
                <a:t>20-25 </a:t>
              </a:r>
              <a:r>
                <a:rPr kumimoji="0" lang="en-GB" sz="900" b="1" i="0" u="none" strike="noStrike" cap="none" normalizeH="0" baseline="0">
                  <a:ln>
                    <a:noFill/>
                  </a:ln>
                  <a:solidFill>
                    <a:schemeClr val="tx1"/>
                  </a:solidFill>
                  <a:effectLst/>
                  <a:latin typeface="Trebuchet MS" pitchFamily="34" charset="0"/>
                </a:rPr>
                <a:t>: +</a:t>
              </a:r>
              <a:r>
                <a:rPr lang="en-GB" sz="900" b="1">
                  <a:latin typeface="Trebuchet MS" pitchFamily="34" charset="0"/>
                </a:rPr>
                <a:t>5,5</a:t>
              </a:r>
              <a:r>
                <a:rPr kumimoji="0" lang="en-GB" sz="900" b="1" i="0" u="none" strike="noStrike" cap="none" normalizeH="0" baseline="0">
                  <a:ln>
                    <a:noFill/>
                  </a:ln>
                  <a:solidFill>
                    <a:schemeClr val="tx1"/>
                  </a:solidFill>
                  <a:effectLst/>
                  <a:latin typeface="Trebuchet MS" pitchFamily="34" charset="0"/>
                </a:rPr>
                <a:t>%</a:t>
              </a:r>
            </a:p>
          </p:txBody>
        </p:sp>
        <p:cxnSp>
          <p:nvCxnSpPr>
            <p:cNvPr id="184" name="Straight Connector 156">
              <a:extLst>
                <a:ext uri="{FF2B5EF4-FFF2-40B4-BE49-F238E27FC236}">
                  <a16:creationId xmlns:a16="http://schemas.microsoft.com/office/drawing/2014/main" id="{7ED0F90F-1C94-4036-A523-B84F524A8B93}"/>
                </a:ext>
              </a:extLst>
            </p:cNvPr>
            <p:cNvCxnSpPr>
              <a:cxnSpLocks/>
            </p:cNvCxnSpPr>
            <p:nvPr/>
          </p:nvCxnSpPr>
          <p:spPr bwMode="auto">
            <a:xfrm flipV="1">
              <a:off x="4669042" y="1489933"/>
              <a:ext cx="0" cy="751741"/>
            </a:xfrm>
            <a:prstGeom prst="line">
              <a:avLst/>
            </a:prstGeom>
            <a:solidFill>
              <a:schemeClr val="accent1"/>
            </a:solidFill>
            <a:ln w="9525" cap="flat" cmpd="sng" algn="ctr">
              <a:solidFill>
                <a:schemeClr val="tx1"/>
              </a:solidFill>
              <a:prstDash val="solid"/>
              <a:round/>
              <a:headEnd type="triangle" w="med" len="med"/>
              <a:tailEnd type="none" w="med" len="med"/>
            </a:ln>
            <a:effectLst/>
          </p:spPr>
        </p:cxnSp>
        <p:cxnSp>
          <p:nvCxnSpPr>
            <p:cNvPr id="185" name="Connecteur droit 184">
              <a:extLst>
                <a:ext uri="{FF2B5EF4-FFF2-40B4-BE49-F238E27FC236}">
                  <a16:creationId xmlns:a16="http://schemas.microsoft.com/office/drawing/2014/main" id="{57366154-D64F-4663-A660-22CA8BB233F8}"/>
                </a:ext>
              </a:extLst>
            </p:cNvPr>
            <p:cNvCxnSpPr/>
            <p:nvPr/>
          </p:nvCxnSpPr>
          <p:spPr bwMode="auto">
            <a:xfrm flipV="1">
              <a:off x="580240" y="3972348"/>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186" name="Connecteur droit 185">
              <a:extLst>
                <a:ext uri="{FF2B5EF4-FFF2-40B4-BE49-F238E27FC236}">
                  <a16:creationId xmlns:a16="http://schemas.microsoft.com/office/drawing/2014/main" id="{549D0A1D-5471-4175-B000-3A62A236F6C9}"/>
                </a:ext>
              </a:extLst>
            </p:cNvPr>
            <p:cNvCxnSpPr/>
            <p:nvPr/>
          </p:nvCxnSpPr>
          <p:spPr bwMode="auto">
            <a:xfrm flipV="1">
              <a:off x="580240" y="3929062"/>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187" name="Connecteur droit 186">
              <a:extLst>
                <a:ext uri="{FF2B5EF4-FFF2-40B4-BE49-F238E27FC236}">
                  <a16:creationId xmlns:a16="http://schemas.microsoft.com/office/drawing/2014/main" id="{C0C4E755-3623-4DB4-9363-28E8ABFB5A0D}"/>
                </a:ext>
              </a:extLst>
            </p:cNvPr>
            <p:cNvCxnSpPr/>
            <p:nvPr/>
          </p:nvCxnSpPr>
          <p:spPr bwMode="auto">
            <a:xfrm flipV="1">
              <a:off x="4451954" y="3972348"/>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188" name="Connecteur droit 187">
              <a:extLst>
                <a:ext uri="{FF2B5EF4-FFF2-40B4-BE49-F238E27FC236}">
                  <a16:creationId xmlns:a16="http://schemas.microsoft.com/office/drawing/2014/main" id="{D35C1ECF-327B-4954-A369-84FC9CA183D9}"/>
                </a:ext>
              </a:extLst>
            </p:cNvPr>
            <p:cNvCxnSpPr/>
            <p:nvPr/>
          </p:nvCxnSpPr>
          <p:spPr bwMode="auto">
            <a:xfrm flipV="1">
              <a:off x="4451954" y="3929062"/>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grpSp>
      <p:cxnSp>
        <p:nvCxnSpPr>
          <p:cNvPr id="189" name="Connecteur droit 188">
            <a:extLst>
              <a:ext uri="{FF2B5EF4-FFF2-40B4-BE49-F238E27FC236}">
                <a16:creationId xmlns:a16="http://schemas.microsoft.com/office/drawing/2014/main" id="{CC3F2603-E281-49EF-B505-C414178A8731}"/>
              </a:ext>
            </a:extLst>
          </p:cNvPr>
          <p:cNvCxnSpPr>
            <a:cxnSpLocks/>
          </p:cNvCxnSpPr>
          <p:nvPr/>
        </p:nvCxnSpPr>
        <p:spPr bwMode="auto">
          <a:xfrm>
            <a:off x="5179680" y="1353207"/>
            <a:ext cx="0" cy="5040000"/>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190" name="Isosceles Triangle 125">
            <a:extLst>
              <a:ext uri="{FF2B5EF4-FFF2-40B4-BE49-F238E27FC236}">
                <a16:creationId xmlns:a16="http://schemas.microsoft.com/office/drawing/2014/main" id="{18B72B61-722B-465F-B21C-2871F924C6FB}"/>
              </a:ext>
            </a:extLst>
          </p:cNvPr>
          <p:cNvSpPr/>
          <p:nvPr/>
        </p:nvSpPr>
        <p:spPr bwMode="auto">
          <a:xfrm rot="5400000">
            <a:off x="4945346" y="3571330"/>
            <a:ext cx="538015" cy="184234"/>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191" name="Rectangle 190">
            <a:extLst>
              <a:ext uri="{FF2B5EF4-FFF2-40B4-BE49-F238E27FC236}">
                <a16:creationId xmlns:a16="http://schemas.microsoft.com/office/drawing/2014/main" id="{9FE16E0D-FB4A-4D6F-8602-6388DA3FB892}"/>
              </a:ext>
            </a:extLst>
          </p:cNvPr>
          <p:cNvSpPr/>
          <p:nvPr/>
        </p:nvSpPr>
        <p:spPr bwMode="auto">
          <a:xfrm>
            <a:off x="934510" y="5579515"/>
            <a:ext cx="457642"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9.1%</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92" name="Rectangle 191">
            <a:extLst>
              <a:ext uri="{FF2B5EF4-FFF2-40B4-BE49-F238E27FC236}">
                <a16:creationId xmlns:a16="http://schemas.microsoft.com/office/drawing/2014/main" id="{33842B82-7F31-421C-9AED-F4A8C1780615}"/>
              </a:ext>
            </a:extLst>
          </p:cNvPr>
          <p:cNvSpPr/>
          <p:nvPr/>
        </p:nvSpPr>
        <p:spPr bwMode="auto">
          <a:xfrm>
            <a:off x="4412431"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00%</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93" name="Rectangle 192">
            <a:extLst>
              <a:ext uri="{FF2B5EF4-FFF2-40B4-BE49-F238E27FC236}">
                <a16:creationId xmlns:a16="http://schemas.microsoft.com/office/drawing/2014/main" id="{C1D403CC-CA1A-4149-AE95-BB19663BF8FC}"/>
              </a:ext>
            </a:extLst>
          </p:cNvPr>
          <p:cNvSpPr/>
          <p:nvPr/>
        </p:nvSpPr>
        <p:spPr bwMode="auto">
          <a:xfrm>
            <a:off x="1284182"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6.7%</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94" name="Rectangle 193">
            <a:extLst>
              <a:ext uri="{FF2B5EF4-FFF2-40B4-BE49-F238E27FC236}">
                <a16:creationId xmlns:a16="http://schemas.microsoft.com/office/drawing/2014/main" id="{DE838C4A-ED25-4635-BC59-F10D8BAE6580}"/>
              </a:ext>
            </a:extLst>
          </p:cNvPr>
          <p:cNvSpPr/>
          <p:nvPr/>
        </p:nvSpPr>
        <p:spPr bwMode="auto">
          <a:xfrm>
            <a:off x="1695548"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4,6%</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95" name="Rectangle 194">
            <a:extLst>
              <a:ext uri="{FF2B5EF4-FFF2-40B4-BE49-F238E27FC236}">
                <a16:creationId xmlns:a16="http://schemas.microsoft.com/office/drawing/2014/main" id="{DBEEB92D-8259-4EFA-93FB-9F6ED0D35C01}"/>
              </a:ext>
            </a:extLst>
          </p:cNvPr>
          <p:cNvSpPr/>
          <p:nvPr/>
        </p:nvSpPr>
        <p:spPr bwMode="auto">
          <a:xfrm>
            <a:off x="2090984"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8.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96" name="Rectangle 195">
            <a:extLst>
              <a:ext uri="{FF2B5EF4-FFF2-40B4-BE49-F238E27FC236}">
                <a16:creationId xmlns:a16="http://schemas.microsoft.com/office/drawing/2014/main" id="{B13E1BEE-CBB1-4A90-9862-B8A554372458}"/>
              </a:ext>
            </a:extLst>
          </p:cNvPr>
          <p:cNvSpPr/>
          <p:nvPr/>
        </p:nvSpPr>
        <p:spPr bwMode="auto">
          <a:xfrm>
            <a:off x="2469917"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9.5%</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97" name="Rectangle 196">
            <a:extLst>
              <a:ext uri="{FF2B5EF4-FFF2-40B4-BE49-F238E27FC236}">
                <a16:creationId xmlns:a16="http://schemas.microsoft.com/office/drawing/2014/main" id="{C152EBCD-4DF4-40CB-A949-37854F363B9C}"/>
              </a:ext>
            </a:extLst>
          </p:cNvPr>
          <p:cNvSpPr/>
          <p:nvPr/>
        </p:nvSpPr>
        <p:spPr bwMode="auto">
          <a:xfrm>
            <a:off x="2828760"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8.8%</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98" name="Rectangle 197">
            <a:extLst>
              <a:ext uri="{FF2B5EF4-FFF2-40B4-BE49-F238E27FC236}">
                <a16:creationId xmlns:a16="http://schemas.microsoft.com/office/drawing/2014/main" id="{30130B97-4C6D-41B9-8EE4-50714B975FCE}"/>
              </a:ext>
            </a:extLst>
          </p:cNvPr>
          <p:cNvSpPr/>
          <p:nvPr/>
        </p:nvSpPr>
        <p:spPr bwMode="auto">
          <a:xfrm>
            <a:off x="3229206"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99" name="Rectangle 198">
            <a:extLst>
              <a:ext uri="{FF2B5EF4-FFF2-40B4-BE49-F238E27FC236}">
                <a16:creationId xmlns:a16="http://schemas.microsoft.com/office/drawing/2014/main" id="{68258119-FE29-4D13-8326-9714A4B91B10}"/>
              </a:ext>
            </a:extLst>
          </p:cNvPr>
          <p:cNvSpPr/>
          <p:nvPr/>
        </p:nvSpPr>
        <p:spPr bwMode="auto">
          <a:xfrm>
            <a:off x="3608085"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8%</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00" name="Rectangle 199">
            <a:extLst>
              <a:ext uri="{FF2B5EF4-FFF2-40B4-BE49-F238E27FC236}">
                <a16:creationId xmlns:a16="http://schemas.microsoft.com/office/drawing/2014/main" id="{A743F051-0F16-468B-A305-5F2C2E307ED3}"/>
              </a:ext>
            </a:extLst>
          </p:cNvPr>
          <p:cNvSpPr/>
          <p:nvPr/>
        </p:nvSpPr>
        <p:spPr bwMode="auto">
          <a:xfrm>
            <a:off x="4008689"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9%</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01" name="Rectangle 200">
            <a:extLst>
              <a:ext uri="{FF2B5EF4-FFF2-40B4-BE49-F238E27FC236}">
                <a16:creationId xmlns:a16="http://schemas.microsoft.com/office/drawing/2014/main" id="{974AE068-6B68-4B61-8998-3EB142545D3A}"/>
              </a:ext>
            </a:extLst>
          </p:cNvPr>
          <p:cNvSpPr/>
          <p:nvPr/>
        </p:nvSpPr>
        <p:spPr bwMode="auto">
          <a:xfrm>
            <a:off x="934512" y="6013089"/>
            <a:ext cx="457642"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2.1%</a:t>
            </a:r>
            <a:endParaRPr kumimoji="0" lang="en-GB" sz="800" i="0" u="none" strike="noStrike" cap="none" normalizeH="0" baseline="0">
              <a:ln>
                <a:noFill/>
              </a:ln>
              <a:effectLst/>
              <a:latin typeface="Trebuchet MS" pitchFamily="34" charset="0"/>
            </a:endParaRPr>
          </a:p>
        </p:txBody>
      </p:sp>
      <p:sp>
        <p:nvSpPr>
          <p:cNvPr id="202" name="Rectangle 201">
            <a:extLst>
              <a:ext uri="{FF2B5EF4-FFF2-40B4-BE49-F238E27FC236}">
                <a16:creationId xmlns:a16="http://schemas.microsoft.com/office/drawing/2014/main" id="{E46D1829-ECCA-4941-998B-3E688FA295D8}"/>
              </a:ext>
            </a:extLst>
          </p:cNvPr>
          <p:cNvSpPr/>
          <p:nvPr/>
        </p:nvSpPr>
        <p:spPr bwMode="auto">
          <a:xfrm>
            <a:off x="4412433"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5,5%</a:t>
            </a:r>
            <a:endParaRPr kumimoji="0" lang="en-GB" sz="800" i="0" u="none" strike="noStrike" cap="none" normalizeH="0" baseline="0">
              <a:ln>
                <a:noFill/>
              </a:ln>
              <a:effectLst/>
              <a:latin typeface="Trebuchet MS" pitchFamily="34" charset="0"/>
            </a:endParaRPr>
          </a:p>
        </p:txBody>
      </p:sp>
      <p:sp>
        <p:nvSpPr>
          <p:cNvPr id="203" name="Rectangle 202">
            <a:extLst>
              <a:ext uri="{FF2B5EF4-FFF2-40B4-BE49-F238E27FC236}">
                <a16:creationId xmlns:a16="http://schemas.microsoft.com/office/drawing/2014/main" id="{AE512BE9-4929-4FE7-9CC8-D6AA7DC70709}"/>
              </a:ext>
            </a:extLst>
          </p:cNvPr>
          <p:cNvSpPr/>
          <p:nvPr/>
        </p:nvSpPr>
        <p:spPr bwMode="auto">
          <a:xfrm>
            <a:off x="1284184"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3.6%</a:t>
            </a:r>
            <a:endParaRPr kumimoji="0" lang="en-GB" sz="800" i="0" u="none" strike="noStrike" cap="none" normalizeH="0" baseline="0">
              <a:ln>
                <a:noFill/>
              </a:ln>
              <a:effectLst/>
              <a:latin typeface="Trebuchet MS" pitchFamily="34" charset="0"/>
            </a:endParaRPr>
          </a:p>
        </p:txBody>
      </p:sp>
      <p:sp>
        <p:nvSpPr>
          <p:cNvPr id="204" name="Rectangle 203">
            <a:extLst>
              <a:ext uri="{FF2B5EF4-FFF2-40B4-BE49-F238E27FC236}">
                <a16:creationId xmlns:a16="http://schemas.microsoft.com/office/drawing/2014/main" id="{76CC7ECF-0897-487E-AC75-991483DFD952}"/>
              </a:ext>
            </a:extLst>
          </p:cNvPr>
          <p:cNvSpPr/>
          <p:nvPr/>
        </p:nvSpPr>
        <p:spPr bwMode="auto">
          <a:xfrm>
            <a:off x="1695550"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14.7%</a:t>
            </a:r>
            <a:endParaRPr kumimoji="0" lang="en-GB" sz="800" i="0" u="none" strike="noStrike" cap="none" normalizeH="0" baseline="0">
              <a:ln>
                <a:noFill/>
              </a:ln>
              <a:effectLst/>
              <a:latin typeface="Trebuchet MS" pitchFamily="34" charset="0"/>
            </a:endParaRPr>
          </a:p>
        </p:txBody>
      </p:sp>
      <p:sp>
        <p:nvSpPr>
          <p:cNvPr id="205" name="Rectangle 204">
            <a:extLst>
              <a:ext uri="{FF2B5EF4-FFF2-40B4-BE49-F238E27FC236}">
                <a16:creationId xmlns:a16="http://schemas.microsoft.com/office/drawing/2014/main" id="{CE400A8B-2677-4F5F-93AF-4F4B33FBF653}"/>
              </a:ext>
            </a:extLst>
          </p:cNvPr>
          <p:cNvSpPr/>
          <p:nvPr/>
        </p:nvSpPr>
        <p:spPr bwMode="auto">
          <a:xfrm>
            <a:off x="2090986"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15.2%</a:t>
            </a:r>
            <a:endParaRPr kumimoji="0" lang="en-GB" sz="800" i="0" u="none" strike="noStrike" cap="none" normalizeH="0" baseline="0">
              <a:ln>
                <a:noFill/>
              </a:ln>
              <a:effectLst/>
              <a:latin typeface="Trebuchet MS" pitchFamily="34" charset="0"/>
            </a:endParaRPr>
          </a:p>
        </p:txBody>
      </p:sp>
      <p:sp>
        <p:nvSpPr>
          <p:cNvPr id="206" name="Rectangle 205">
            <a:extLst>
              <a:ext uri="{FF2B5EF4-FFF2-40B4-BE49-F238E27FC236}">
                <a16:creationId xmlns:a16="http://schemas.microsoft.com/office/drawing/2014/main" id="{B0D17245-1A03-473A-ADF5-DD297C65295F}"/>
              </a:ext>
            </a:extLst>
          </p:cNvPr>
          <p:cNvSpPr/>
          <p:nvPr/>
        </p:nvSpPr>
        <p:spPr bwMode="auto">
          <a:xfrm>
            <a:off x="2469919"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9.2%</a:t>
            </a:r>
            <a:endParaRPr kumimoji="0" lang="en-GB" sz="800" i="0" u="none" strike="noStrike" cap="none" normalizeH="0" baseline="0">
              <a:ln>
                <a:noFill/>
              </a:ln>
              <a:effectLst/>
              <a:latin typeface="Trebuchet MS" pitchFamily="34" charset="0"/>
            </a:endParaRPr>
          </a:p>
        </p:txBody>
      </p:sp>
      <p:sp>
        <p:nvSpPr>
          <p:cNvPr id="207" name="Rectangle 206">
            <a:extLst>
              <a:ext uri="{FF2B5EF4-FFF2-40B4-BE49-F238E27FC236}">
                <a16:creationId xmlns:a16="http://schemas.microsoft.com/office/drawing/2014/main" id="{7AEB5943-EB8E-446B-B339-797534210291}"/>
              </a:ext>
            </a:extLst>
          </p:cNvPr>
          <p:cNvSpPr/>
          <p:nvPr/>
        </p:nvSpPr>
        <p:spPr bwMode="auto">
          <a:xfrm>
            <a:off x="2828762"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9.2%</a:t>
            </a:r>
            <a:endParaRPr kumimoji="0" lang="en-GB" sz="800" i="0" u="none" strike="noStrike" cap="none" normalizeH="0" baseline="0">
              <a:ln>
                <a:noFill/>
              </a:ln>
              <a:effectLst/>
              <a:latin typeface="Trebuchet MS" pitchFamily="34" charset="0"/>
            </a:endParaRPr>
          </a:p>
        </p:txBody>
      </p:sp>
      <p:sp>
        <p:nvSpPr>
          <p:cNvPr id="208" name="Rectangle 207">
            <a:extLst>
              <a:ext uri="{FF2B5EF4-FFF2-40B4-BE49-F238E27FC236}">
                <a16:creationId xmlns:a16="http://schemas.microsoft.com/office/drawing/2014/main" id="{D8D7A478-8F67-48C5-BFC0-DD2A84BAD683}"/>
              </a:ext>
            </a:extLst>
          </p:cNvPr>
          <p:cNvSpPr/>
          <p:nvPr/>
        </p:nvSpPr>
        <p:spPr bwMode="auto">
          <a:xfrm>
            <a:off x="3229208"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5.7%</a:t>
            </a:r>
            <a:endParaRPr kumimoji="0" lang="en-GB" sz="800" i="0" u="none" strike="noStrike" cap="none" normalizeH="0" baseline="0">
              <a:ln>
                <a:noFill/>
              </a:ln>
              <a:effectLst/>
              <a:latin typeface="Trebuchet MS" pitchFamily="34" charset="0"/>
            </a:endParaRPr>
          </a:p>
        </p:txBody>
      </p:sp>
      <p:sp>
        <p:nvSpPr>
          <p:cNvPr id="209" name="Rectangle 208">
            <a:extLst>
              <a:ext uri="{FF2B5EF4-FFF2-40B4-BE49-F238E27FC236}">
                <a16:creationId xmlns:a16="http://schemas.microsoft.com/office/drawing/2014/main" id="{81AF9597-3576-48A6-AF70-A1EFAAB3044D}"/>
              </a:ext>
            </a:extLst>
          </p:cNvPr>
          <p:cNvSpPr/>
          <p:nvPr/>
        </p:nvSpPr>
        <p:spPr bwMode="auto">
          <a:xfrm>
            <a:off x="3608087"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4.1%</a:t>
            </a:r>
            <a:endParaRPr kumimoji="0" lang="en-GB" sz="800" i="0" u="none" strike="noStrike" cap="none" normalizeH="0" baseline="0">
              <a:ln>
                <a:noFill/>
              </a:ln>
              <a:effectLst/>
              <a:latin typeface="Trebuchet MS" pitchFamily="34" charset="0"/>
            </a:endParaRPr>
          </a:p>
        </p:txBody>
      </p:sp>
      <p:sp>
        <p:nvSpPr>
          <p:cNvPr id="210" name="Rectangle 209">
            <a:extLst>
              <a:ext uri="{FF2B5EF4-FFF2-40B4-BE49-F238E27FC236}">
                <a16:creationId xmlns:a16="http://schemas.microsoft.com/office/drawing/2014/main" id="{2D77B878-8DF4-4BA2-8C43-7BABA8F7B43E}"/>
              </a:ext>
            </a:extLst>
          </p:cNvPr>
          <p:cNvSpPr/>
          <p:nvPr/>
        </p:nvSpPr>
        <p:spPr bwMode="auto">
          <a:xfrm>
            <a:off x="4008691"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5.9%</a:t>
            </a:r>
            <a:endParaRPr kumimoji="0" lang="en-GB" sz="800" i="0" u="none" strike="noStrike" cap="none" normalizeH="0" baseline="0">
              <a:ln>
                <a:noFill/>
              </a:ln>
              <a:effectLst/>
              <a:latin typeface="Trebuchet MS" pitchFamily="34" charset="0"/>
            </a:endParaRPr>
          </a:p>
        </p:txBody>
      </p:sp>
    </p:spTree>
    <p:extLst>
      <p:ext uri="{BB962C8B-B14F-4D97-AF65-F5344CB8AC3E}">
        <p14:creationId xmlns:p14="http://schemas.microsoft.com/office/powerpoint/2010/main" val="692933560"/>
      </p:ext>
    </p:extLst>
  </p:cSld>
  <p:clrMapOvr>
    <a:masterClrMapping/>
  </p:clrMapOvr>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A44C8C8-2F36-450B-A067-045DF42C7170}"/>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59AD0D4C-52B6-4887-95DD-FD6DE794558F}"/>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F0A06676-82C0-4F43-87A1-A34EA0E8CFAF}"/>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347663" marR="338138" indent="-228600">
              <a:spcBef>
                <a:spcPts val="600"/>
              </a:spcBef>
              <a:spcAft>
                <a:spcPts val="0"/>
              </a:spcAft>
              <a:buFont typeface="+mj-lt"/>
              <a:buAutoNum type="arabicPeriod"/>
            </a:pPr>
            <a:r>
              <a:rPr lang="en-GB" sz="1050">
                <a:latin typeface="Trebuchet MS" panose="020B0603020202020204" pitchFamily="34" charset="0"/>
              </a:rPr>
              <a:t>Key strategic levers supporting </a:t>
            </a:r>
            <a:r>
              <a:rPr lang="en-GB" sz="1050" err="1">
                <a:latin typeface="Trebuchet MS" panose="020B0603020202020204" pitchFamily="34" charset="0"/>
              </a:rPr>
              <a:t>Altares</a:t>
            </a:r>
            <a:r>
              <a:rPr lang="en-GB" sz="1050">
                <a:latin typeface="Trebuchet MS" panose="020B0603020202020204" pitchFamily="34" charset="0"/>
              </a:rPr>
              <a:t>’ future growth </a:t>
            </a:r>
          </a:p>
          <a:p>
            <a:pPr marL="347663" marR="338138" indent="-228600">
              <a:spcBef>
                <a:spcPts val="600"/>
              </a:spcBef>
              <a:spcAft>
                <a:spcPts val="0"/>
              </a:spcAft>
              <a:buFont typeface="+mj-lt"/>
              <a:buAutoNum type="arabicPeriod"/>
            </a:pPr>
            <a:r>
              <a:rPr lang="en-GB" sz="1050">
                <a:solidFill>
                  <a:schemeClr val="tx2"/>
                </a:solidFill>
                <a:latin typeface="Trebuchet MS" panose="020B0603020202020204" pitchFamily="34" charset="0"/>
              </a:rPr>
              <a:t>Business plan assessment</a:t>
            </a:r>
          </a:p>
          <a:p>
            <a:pPr marL="804863" marR="338138" lvl="1" indent="-228600">
              <a:spcBef>
                <a:spcPts val="600"/>
              </a:spcBef>
              <a:spcAft>
                <a:spcPts val="0"/>
              </a:spcAft>
              <a:buFont typeface="+mj-lt"/>
              <a:buAutoNum type="arabicPeriod"/>
            </a:pPr>
            <a:r>
              <a:rPr lang="en-GB" sz="1050">
                <a:latin typeface="Trebuchet MS" panose="020B0603020202020204" pitchFamily="34" charset="0"/>
              </a:rPr>
              <a:t>Overall BP presentation</a:t>
            </a:r>
          </a:p>
          <a:p>
            <a:pPr marL="804863" marR="338138" lvl="1" indent="-228600">
              <a:spcBef>
                <a:spcPts val="600"/>
              </a:spcBef>
              <a:spcAft>
                <a:spcPts val="0"/>
              </a:spcAft>
              <a:buFont typeface="+mj-lt"/>
              <a:buAutoNum type="arabicPeriod"/>
            </a:pPr>
            <a:r>
              <a:rPr lang="en-GB" sz="1050">
                <a:solidFill>
                  <a:schemeClr val="tx2"/>
                </a:solidFill>
                <a:latin typeface="Trebuchet MS" panose="020B0603020202020204" pitchFamily="34" charset="0"/>
              </a:rPr>
              <a:t>Detailed growth assessment per activity</a:t>
            </a:r>
          </a:p>
          <a:p>
            <a:pPr marL="1319213" marR="338138" lvl="2" indent="-285750">
              <a:spcBef>
                <a:spcPts val="600"/>
              </a:spcBef>
              <a:spcAft>
                <a:spcPts val="0"/>
              </a:spcAft>
              <a:buFont typeface="+mj-lt"/>
              <a:buAutoNum type="alphaUcPeriod"/>
            </a:pPr>
            <a:r>
              <a:rPr lang="en-GB" sz="1050">
                <a:solidFill>
                  <a:schemeClr val="tx2"/>
                </a:solidFill>
                <a:latin typeface="Trebuchet MS" panose="020B0603020202020204" pitchFamily="34" charset="0"/>
              </a:rPr>
              <a:t>Credit risk</a:t>
            </a:r>
          </a:p>
          <a:p>
            <a:pPr marL="1319213" marR="338138" lvl="2" indent="-285750">
              <a:spcBef>
                <a:spcPts val="600"/>
              </a:spcBef>
              <a:spcAft>
                <a:spcPts val="0"/>
              </a:spcAft>
              <a:buFont typeface="+mj-lt"/>
              <a:buAutoNum type="alphaUcPeriod"/>
            </a:pPr>
            <a:r>
              <a:rPr lang="en-GB" sz="1050">
                <a:latin typeface="Trebuchet MS" panose="020B0603020202020204" pitchFamily="34" charset="0"/>
              </a:rPr>
              <a:t>Compliance</a:t>
            </a:r>
          </a:p>
          <a:p>
            <a:pPr marL="1319213" marR="338138" lvl="2" indent="-285750">
              <a:spcBef>
                <a:spcPts val="600"/>
              </a:spcBef>
              <a:spcAft>
                <a:spcPts val="0"/>
              </a:spcAft>
              <a:buFont typeface="+mj-lt"/>
              <a:buAutoNum type="alphaUcPeriod"/>
            </a:pPr>
            <a:r>
              <a:rPr lang="en-GB" sz="1050">
                <a:latin typeface="Trebuchet MS" panose="020B0603020202020204" pitchFamily="34" charset="0"/>
              </a:rPr>
              <a:t>B2B Marketing</a:t>
            </a:r>
          </a:p>
          <a:p>
            <a:pPr marL="1319213" marR="338138" lvl="2" indent="-285750">
              <a:spcBef>
                <a:spcPts val="600"/>
              </a:spcBef>
              <a:spcAft>
                <a:spcPts val="0"/>
              </a:spcAft>
              <a:buFont typeface="+mj-lt"/>
              <a:buAutoNum type="alphaUcPeriod"/>
            </a:pPr>
            <a:r>
              <a:rPr lang="en-GB" sz="1050">
                <a:latin typeface="Trebuchet MS" panose="020B0603020202020204" pitchFamily="34" charset="0"/>
              </a:rPr>
              <a:t>Other activities</a:t>
            </a:r>
          </a:p>
          <a:p>
            <a:pPr marL="804863" marR="338138" lvl="1" indent="-228600">
              <a:spcBef>
                <a:spcPts val="600"/>
              </a:spcBef>
              <a:spcAft>
                <a:spcPts val="0"/>
              </a:spcAft>
              <a:buFont typeface="+mj-lt"/>
              <a:buAutoNum type="arabicPeriod"/>
            </a:pPr>
            <a:r>
              <a:rPr lang="en-GB" sz="1050">
                <a:latin typeface="Trebuchet MS" panose="020B0603020202020204" pitchFamily="34" charset="0"/>
              </a:rPr>
              <a:t>Synthesis of BP assessment </a:t>
            </a:r>
          </a:p>
          <a:p>
            <a:pPr marL="127000">
              <a:spcBef>
                <a:spcPts val="1200"/>
              </a:spcBef>
            </a:pPr>
            <a:endParaRPr lang="en-GB" sz="1050">
              <a:latin typeface="Trebuchet MS" panose="020B0603020202020204" pitchFamily="34" charset="0"/>
            </a:endParaRPr>
          </a:p>
        </p:txBody>
      </p:sp>
      <p:sp>
        <p:nvSpPr>
          <p:cNvPr id="16" name="Section">
            <a:extLst>
              <a:ext uri="{FF2B5EF4-FFF2-40B4-BE49-F238E27FC236}">
                <a16:creationId xmlns:a16="http://schemas.microsoft.com/office/drawing/2014/main" id="{D2A8C65D-42ED-44C1-BDB8-ADE75A4ED3CA}"/>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6</a:t>
            </a:r>
          </a:p>
        </p:txBody>
      </p:sp>
      <p:sp>
        <p:nvSpPr>
          <p:cNvPr id="71" name="Chevron">
            <a:extLst>
              <a:ext uri="{FF2B5EF4-FFF2-40B4-BE49-F238E27FC236}">
                <a16:creationId xmlns:a16="http://schemas.microsoft.com/office/drawing/2014/main" id="{2A230948-1EC9-463F-98FF-E0E458B9B00C}"/>
              </a:ext>
            </a:extLst>
          </p:cNvPr>
          <p:cNvSpPr/>
          <p:nvPr/>
        </p:nvSpPr>
        <p:spPr bwMode="auto">
          <a:xfrm>
            <a:off x="1418399" y="3189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3" name="Isosceles Triangle">
            <a:extLst>
              <a:ext uri="{FF2B5EF4-FFF2-40B4-BE49-F238E27FC236}">
                <a16:creationId xmlns:a16="http://schemas.microsoft.com/office/drawing/2014/main" id="{2F6A703F-B3C1-47A0-9B67-EA8C250C6378}"/>
              </a:ext>
            </a:extLst>
          </p:cNvPr>
          <p:cNvSpPr/>
          <p:nvPr/>
        </p:nvSpPr>
        <p:spPr bwMode="auto">
          <a:xfrm rot="5400000">
            <a:off x="5731200" y="3295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5" name="Arrow: Pentagon">
            <a:extLst>
              <a:ext uri="{FF2B5EF4-FFF2-40B4-BE49-F238E27FC236}">
                <a16:creationId xmlns:a16="http://schemas.microsoft.com/office/drawing/2014/main" id="{687182C5-600B-4842-941B-D7AA2EC602E8}"/>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77" name="Oval">
            <a:extLst>
              <a:ext uri="{FF2B5EF4-FFF2-40B4-BE49-F238E27FC236}">
                <a16:creationId xmlns:a16="http://schemas.microsoft.com/office/drawing/2014/main" id="{F8B0EA57-1766-4B3D-B7F4-E5BBD4A165F7}"/>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79" name="Arrow: Pentagon">
            <a:extLst>
              <a:ext uri="{FF2B5EF4-FFF2-40B4-BE49-F238E27FC236}">
                <a16:creationId xmlns:a16="http://schemas.microsoft.com/office/drawing/2014/main" id="{10B8981B-19E4-4385-981D-25A5007598AA}"/>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81" name="Oval">
            <a:extLst>
              <a:ext uri="{FF2B5EF4-FFF2-40B4-BE49-F238E27FC236}">
                <a16:creationId xmlns:a16="http://schemas.microsoft.com/office/drawing/2014/main" id="{C413A741-D678-4385-937F-D33EDF42C6AB}"/>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83" name="Arrow: Pentagon">
            <a:extLst>
              <a:ext uri="{FF2B5EF4-FFF2-40B4-BE49-F238E27FC236}">
                <a16:creationId xmlns:a16="http://schemas.microsoft.com/office/drawing/2014/main" id="{64E73FA2-B329-4D2D-8D0E-15D2319094F9}"/>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85" name="Arrow: Pentagon">
            <a:extLst>
              <a:ext uri="{FF2B5EF4-FFF2-40B4-BE49-F238E27FC236}">
                <a16:creationId xmlns:a16="http://schemas.microsoft.com/office/drawing/2014/main" id="{985BA656-5B44-4E71-9925-25139C2373BD}"/>
              </a:ext>
            </a:extLst>
          </p:cNvPr>
          <p:cNvSpPr/>
          <p:nvPr/>
        </p:nvSpPr>
        <p:spPr bwMode="auto">
          <a:xfrm>
            <a:off x="1641598" y="2685599"/>
            <a:ext cx="3960001"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87" name="Oval">
            <a:extLst>
              <a:ext uri="{FF2B5EF4-FFF2-40B4-BE49-F238E27FC236}">
                <a16:creationId xmlns:a16="http://schemas.microsoft.com/office/drawing/2014/main" id="{6BF7EF7B-31D9-4755-B185-D85D836C29A6}"/>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89" name="Arrow: Pentagon">
            <a:extLst>
              <a:ext uri="{FF2B5EF4-FFF2-40B4-BE49-F238E27FC236}">
                <a16:creationId xmlns:a16="http://schemas.microsoft.com/office/drawing/2014/main" id="{3BFE52A2-BA74-4709-B70F-79A099726685}"/>
              </a:ext>
            </a:extLst>
          </p:cNvPr>
          <p:cNvSpPr/>
          <p:nvPr/>
        </p:nvSpPr>
        <p:spPr bwMode="auto">
          <a:xfrm>
            <a:off x="1641599" y="3189599"/>
            <a:ext cx="4319992"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BP assessment &amp; growth avenues</a:t>
            </a:r>
          </a:p>
        </p:txBody>
      </p:sp>
      <p:sp>
        <p:nvSpPr>
          <p:cNvPr id="91" name="Oval">
            <a:extLst>
              <a:ext uri="{FF2B5EF4-FFF2-40B4-BE49-F238E27FC236}">
                <a16:creationId xmlns:a16="http://schemas.microsoft.com/office/drawing/2014/main" id="{D6302CAE-26B1-4743-814E-57949CE9DA2D}"/>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93" name="Oval">
            <a:extLst>
              <a:ext uri="{FF2B5EF4-FFF2-40B4-BE49-F238E27FC236}">
                <a16:creationId xmlns:a16="http://schemas.microsoft.com/office/drawing/2014/main" id="{D9A46FFF-E3EB-45F0-A36C-0F884A650B6B}"/>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3896457780"/>
      </p:ext>
    </p:extLst>
  </p:cSld>
  <p:clrMapOvr>
    <a:masterClrMapping/>
  </p:clrMapOvr>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AAA3A35-C6B3-4EE6-9406-A3DBC2CB7256}"/>
              </a:ext>
            </a:extLst>
          </p:cNvPr>
          <p:cNvGraphicFramePr>
            <a:graphicFrameLocks noChangeAspect="1"/>
          </p:cNvGraphicFramePr>
          <p:nvPr>
            <p:custDataLst>
              <p:tags r:id="rId1"/>
            </p:custDataLst>
            <p:extLst>
              <p:ext uri="{D42A27DB-BD31-4B8C-83A1-F6EECF244321}">
                <p14:modId xmlns:p14="http://schemas.microsoft.com/office/powerpoint/2010/main" val="2296186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Objet 4" hidden="1">
                        <a:extLst>
                          <a:ext uri="{FF2B5EF4-FFF2-40B4-BE49-F238E27FC236}">
                            <a16:creationId xmlns:a16="http://schemas.microsoft.com/office/drawing/2014/main" id="{EAAA3A35-C6B3-4EE6-9406-A3DBC2CB72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DA14E9-D9F6-4D44-A466-BF298653DD7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4" name="Rectangle 13">
            <a:extLst>
              <a:ext uri="{FF2B5EF4-FFF2-40B4-BE49-F238E27FC236}">
                <a16:creationId xmlns:a16="http://schemas.microsoft.com/office/drawing/2014/main" id="{92FC6C6C-155F-4C1A-890E-114863D14568}"/>
              </a:ext>
            </a:extLst>
          </p:cNvPr>
          <p:cNvSpPr/>
          <p:nvPr/>
        </p:nvSpPr>
        <p:spPr bwMode="auto">
          <a:xfrm>
            <a:off x="256803" y="914401"/>
            <a:ext cx="9392393" cy="558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0" name="Rectangle 119">
            <a:extLst>
              <a:ext uri="{FF2B5EF4-FFF2-40B4-BE49-F238E27FC236}">
                <a16:creationId xmlns:a16="http://schemas.microsoft.com/office/drawing/2014/main" id="{451FD8CF-BE07-44B0-868C-DC919AA954D7}"/>
              </a:ext>
            </a:extLst>
          </p:cNvPr>
          <p:cNvSpPr/>
          <p:nvPr/>
        </p:nvSpPr>
        <p:spPr bwMode="auto">
          <a:xfrm>
            <a:off x="579883" y="1343702"/>
            <a:ext cx="4175725" cy="33293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80" name="Rectangle 279">
            <a:extLst>
              <a:ext uri="{FF2B5EF4-FFF2-40B4-BE49-F238E27FC236}">
                <a16:creationId xmlns:a16="http://schemas.microsoft.com/office/drawing/2014/main" id="{A7E7A95C-41FE-40CB-B158-36E75885A03A}"/>
              </a:ext>
            </a:extLst>
          </p:cNvPr>
          <p:cNvSpPr/>
          <p:nvPr/>
        </p:nvSpPr>
        <p:spPr bwMode="auto">
          <a:xfrm>
            <a:off x="5440533" y="1343702"/>
            <a:ext cx="4175725" cy="33293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 name="Espace réservé du texte 2">
            <a:extLst>
              <a:ext uri="{FF2B5EF4-FFF2-40B4-BE49-F238E27FC236}">
                <a16:creationId xmlns:a16="http://schemas.microsoft.com/office/drawing/2014/main" id="{30953E26-7813-417B-AC0B-7AC74C77D79F}"/>
              </a:ext>
            </a:extLst>
          </p:cNvPr>
          <p:cNvSpPr>
            <a:spLocks noGrp="1"/>
          </p:cNvSpPr>
          <p:nvPr>
            <p:ph type="body" sz="quarter" idx="10"/>
          </p:nvPr>
        </p:nvSpPr>
        <p:spPr/>
        <p:txBody>
          <a:bodyPr/>
          <a:lstStyle/>
          <a:p>
            <a:r>
              <a:rPr lang="en-GB"/>
              <a:t>Sources: eleven research &amp; analysis, company data, interviews with management</a:t>
            </a:r>
          </a:p>
        </p:txBody>
      </p:sp>
      <p:sp>
        <p:nvSpPr>
          <p:cNvPr id="16" name="Rectangle 15">
            <a:extLst>
              <a:ext uri="{FF2B5EF4-FFF2-40B4-BE49-F238E27FC236}">
                <a16:creationId xmlns:a16="http://schemas.microsoft.com/office/drawing/2014/main" id="{EACE795C-C806-425F-8AA4-8EFA6F2CB1B5}"/>
              </a:ext>
            </a:extLst>
          </p:cNvPr>
          <p:cNvSpPr/>
          <p:nvPr/>
        </p:nvSpPr>
        <p:spPr bwMode="auto">
          <a:xfrm>
            <a:off x="591509" y="4953143"/>
            <a:ext cx="8918113" cy="1366618"/>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marL="0" lvl="1" algn="ctr">
              <a:spcBef>
                <a:spcPts val="600"/>
              </a:spcBef>
              <a:buClr>
                <a:schemeClr val="tx1"/>
              </a:buClr>
            </a:pPr>
            <a:r>
              <a:rPr lang="en-GB" sz="1000" b="1">
                <a:solidFill>
                  <a:schemeClr val="tx2"/>
                </a:solidFill>
                <a:latin typeface="Trebuchet MS" panose="020B0603020202020204" pitchFamily="34" charset="0"/>
              </a:rPr>
              <a:t>Key growth drivers</a:t>
            </a:r>
            <a:r>
              <a:rPr lang="en-GB" sz="1000" b="1">
                <a:latin typeface="Trebuchet MS" pitchFamily="34" charset="0"/>
              </a:rPr>
              <a:t>:</a:t>
            </a:r>
          </a:p>
          <a:p>
            <a:pPr marL="228600" lvl="1" indent="-228600">
              <a:spcBef>
                <a:spcPts val="300"/>
              </a:spcBef>
              <a:buClr>
                <a:schemeClr val="tx1"/>
              </a:buClr>
              <a:buFont typeface="Arial" panose="020B0604020202020204" pitchFamily="34" charset="0"/>
              <a:buChar char="•"/>
            </a:pPr>
            <a:r>
              <a:rPr lang="en-GB" sz="1000">
                <a:latin typeface="Trebuchet MS" pitchFamily="34" charset="0"/>
              </a:rPr>
              <a:t>Credit risk </a:t>
            </a:r>
            <a:r>
              <a:rPr lang="en-GB" sz="1000">
                <a:solidFill>
                  <a:schemeClr val="tx2"/>
                </a:solidFill>
                <a:latin typeface="Trebuchet MS" pitchFamily="34" charset="0"/>
              </a:rPr>
              <a:t>products portfolio rationalization </a:t>
            </a:r>
            <a:r>
              <a:rPr lang="en-GB" sz="1000">
                <a:latin typeface="Trebuchet MS" pitchFamily="34" charset="0"/>
              </a:rPr>
              <a:t>(decommissioning of obsolete products and relaunch of investment on key products such as </a:t>
            </a:r>
            <a:r>
              <a:rPr lang="en-GB" sz="1000" err="1">
                <a:latin typeface="Trebuchet MS" panose="020B0603020202020204" pitchFamily="34" charset="0"/>
              </a:rPr>
              <a:t>intuiz</a:t>
            </a:r>
            <a:r>
              <a:rPr lang="en-GB" sz="1000">
                <a:latin typeface="Trebuchet MS" pitchFamily="34" charset="0"/>
              </a:rPr>
              <a:t>+) </a:t>
            </a:r>
            <a:r>
              <a:rPr lang="en-GB" sz="1000" i="1">
                <a:solidFill>
                  <a:schemeClr val="accent1"/>
                </a:solidFill>
                <a:latin typeface="Trebuchet MS" pitchFamily="34" charset="0"/>
              </a:rPr>
              <a:t>(France and Benelux)</a:t>
            </a:r>
          </a:p>
          <a:p>
            <a:pPr marL="228600" lvl="1" indent="-228600">
              <a:spcBef>
                <a:spcPts val="300"/>
              </a:spcBef>
              <a:buClr>
                <a:schemeClr val="tx1"/>
              </a:buClr>
              <a:buFont typeface="Arial" panose="020B0604020202020204" pitchFamily="34" charset="0"/>
              <a:buChar char="•"/>
            </a:pPr>
            <a:r>
              <a:rPr lang="en-GB" sz="1000">
                <a:latin typeface="Trebuchet MS" pitchFamily="34" charset="0"/>
              </a:rPr>
              <a:t>Increased </a:t>
            </a:r>
            <a:r>
              <a:rPr lang="en-GB" sz="1000">
                <a:solidFill>
                  <a:schemeClr val="tx2"/>
                </a:solidFill>
                <a:latin typeface="Trebuchet MS" pitchFamily="34" charset="0"/>
              </a:rPr>
              <a:t>commercial local proximity </a:t>
            </a:r>
            <a:r>
              <a:rPr lang="en-GB" sz="1000">
                <a:latin typeface="Trebuchet MS" pitchFamily="34" charset="0"/>
              </a:rPr>
              <a:t>(deployment of sales in regions) </a:t>
            </a:r>
            <a:r>
              <a:rPr lang="en-GB" sz="1000" i="1">
                <a:solidFill>
                  <a:schemeClr val="accent1"/>
                </a:solidFill>
                <a:latin typeface="Trebuchet MS" pitchFamily="34" charset="0"/>
              </a:rPr>
              <a:t>(France only)</a:t>
            </a:r>
          </a:p>
          <a:p>
            <a:pPr marL="228600" lvl="1" indent="-228600">
              <a:spcBef>
                <a:spcPts val="300"/>
              </a:spcBef>
              <a:buClr>
                <a:schemeClr val="tx1"/>
              </a:buClr>
              <a:buFont typeface="Arial" panose="020B0604020202020204" pitchFamily="34" charset="0"/>
              <a:buChar char="•"/>
            </a:pPr>
            <a:r>
              <a:rPr lang="en-GB" sz="1000">
                <a:latin typeface="Trebuchet MS" pitchFamily="34" charset="0"/>
              </a:rPr>
              <a:t>Major </a:t>
            </a:r>
            <a:r>
              <a:rPr lang="en-GB" sz="1000">
                <a:solidFill>
                  <a:schemeClr val="tx2"/>
                </a:solidFill>
                <a:latin typeface="Trebuchet MS" pitchFamily="34" charset="0"/>
              </a:rPr>
              <a:t>contract signed with the European Commission </a:t>
            </a:r>
            <a:r>
              <a:rPr lang="en-GB" sz="1000">
                <a:latin typeface="Trebuchet MS" pitchFamily="34" charset="0"/>
              </a:rPr>
              <a:t>with high potential in the short and long terms </a:t>
            </a:r>
            <a:r>
              <a:rPr lang="en-GB" sz="1000" i="1">
                <a:solidFill>
                  <a:schemeClr val="accent1"/>
                </a:solidFill>
                <a:latin typeface="Trebuchet MS" pitchFamily="34" charset="0"/>
              </a:rPr>
              <a:t>(Benelux only)</a:t>
            </a:r>
            <a:endParaRPr lang="en-GB" sz="1000" i="1">
              <a:latin typeface="Trebuchet MS" pitchFamily="34" charset="0"/>
            </a:endParaRPr>
          </a:p>
          <a:p>
            <a:pPr marL="228600" lvl="1" indent="-228600">
              <a:spcBef>
                <a:spcPts val="300"/>
              </a:spcBef>
              <a:buClr>
                <a:schemeClr val="tx1"/>
              </a:buClr>
              <a:buFont typeface="Arial" panose="020B0604020202020204" pitchFamily="34" charset="0"/>
              <a:buChar char="•"/>
            </a:pPr>
            <a:r>
              <a:rPr lang="en-GB" sz="1000">
                <a:latin typeface="Trebuchet MS" pitchFamily="34" charset="0"/>
              </a:rPr>
              <a:t>Deployment of a range of </a:t>
            </a:r>
            <a:r>
              <a:rPr lang="en-GB" sz="1000">
                <a:solidFill>
                  <a:schemeClr val="tx2"/>
                </a:solidFill>
                <a:latin typeface="Trebuchet MS" panose="020B0603020202020204" pitchFamily="34" charset="0"/>
              </a:rPr>
              <a:t>local proprietary products </a:t>
            </a:r>
            <a:r>
              <a:rPr lang="en-GB" sz="1000">
                <a:latin typeface="Trebuchet MS" pitchFamily="34" charset="0"/>
              </a:rPr>
              <a:t>to best meet customers’ needs than D&amp;B products </a:t>
            </a:r>
            <a:r>
              <a:rPr lang="en-GB" sz="1000" i="1">
                <a:solidFill>
                  <a:schemeClr val="accent1"/>
                </a:solidFill>
                <a:latin typeface="Trebuchet MS" pitchFamily="34" charset="0"/>
              </a:rPr>
              <a:t>(Benelux only)</a:t>
            </a:r>
          </a:p>
          <a:p>
            <a:pPr marL="228600" lvl="1" indent="-228600">
              <a:spcBef>
                <a:spcPts val="300"/>
              </a:spcBef>
              <a:buClr>
                <a:schemeClr val="tx1"/>
              </a:buClr>
              <a:buFont typeface="Arial" panose="020B0604020202020204" pitchFamily="34" charset="0"/>
              <a:buChar char="•"/>
            </a:pPr>
            <a:r>
              <a:rPr lang="en-GB" sz="1000">
                <a:latin typeface="Trebuchet MS" pitchFamily="34" charset="0"/>
              </a:rPr>
              <a:t>Transversal </a:t>
            </a:r>
            <a:r>
              <a:rPr lang="en-GB" sz="1000">
                <a:solidFill>
                  <a:schemeClr val="tx2"/>
                </a:solidFill>
                <a:latin typeface="Trebuchet MS" pitchFamily="34" charset="0"/>
              </a:rPr>
              <a:t>product innovation </a:t>
            </a:r>
            <a:r>
              <a:rPr lang="en-GB" sz="1000">
                <a:latin typeface="Trebuchet MS" pitchFamily="34" charset="0"/>
              </a:rPr>
              <a:t>(API capability, data enrichment, data blocks, </a:t>
            </a:r>
            <a:r>
              <a:rPr lang="en-GB" sz="1000" err="1">
                <a:latin typeface="Trebuchet MS" pitchFamily="34" charset="0"/>
              </a:rPr>
              <a:t>AltaMarket</a:t>
            </a:r>
            <a:r>
              <a:rPr lang="en-GB" sz="1000">
                <a:latin typeface="Trebuchet MS" pitchFamily="34" charset="0"/>
              </a:rPr>
              <a:t>…) </a:t>
            </a:r>
            <a:r>
              <a:rPr lang="en-GB" sz="1000" i="1">
                <a:solidFill>
                  <a:schemeClr val="accent1"/>
                </a:solidFill>
                <a:latin typeface="Trebuchet MS" pitchFamily="34" charset="0"/>
              </a:rPr>
              <a:t>(France and Benelux)</a:t>
            </a:r>
          </a:p>
          <a:p>
            <a:pPr marL="0" lvl="1">
              <a:spcBef>
                <a:spcPts val="300"/>
              </a:spcBef>
              <a:buClr>
                <a:schemeClr val="tx1"/>
              </a:buClr>
            </a:pPr>
            <a:endParaRPr lang="en-GB" sz="1000">
              <a:latin typeface="Trebuchet MS" pitchFamily="34" charset="0"/>
            </a:endParaRPr>
          </a:p>
          <a:p>
            <a:pPr marL="228600" lvl="1" indent="-228600">
              <a:spcBef>
                <a:spcPts val="0"/>
              </a:spcBef>
              <a:buClr>
                <a:schemeClr val="tx1"/>
              </a:buClr>
              <a:buFont typeface="Arial" panose="020B0604020202020204" pitchFamily="34" charset="0"/>
              <a:buChar char="•"/>
            </a:pPr>
            <a:endParaRPr lang="en-GB" sz="1000">
              <a:highlight>
                <a:srgbClr val="FFFF00"/>
              </a:highlight>
              <a:latin typeface="Trebuchet MS" panose="020B0603020202020204" pitchFamily="34" charset="0"/>
            </a:endParaRPr>
          </a:p>
          <a:p>
            <a:pPr marL="228600" lvl="1" indent="-228600">
              <a:spcBef>
                <a:spcPts val="0"/>
              </a:spcBef>
              <a:buClr>
                <a:schemeClr val="tx1"/>
              </a:buClr>
              <a:buFont typeface="Arial" panose="020B0604020202020204" pitchFamily="34" charset="0"/>
              <a:buChar char="•"/>
            </a:pPr>
            <a:endParaRPr lang="en-GB" sz="1000">
              <a:latin typeface="Trebuchet MS" pitchFamily="34" charset="0"/>
            </a:endParaRPr>
          </a:p>
          <a:p>
            <a:pPr marL="228600" lvl="1" indent="-228600">
              <a:spcBef>
                <a:spcPts val="600"/>
              </a:spcBef>
              <a:buClr>
                <a:schemeClr val="tx1"/>
              </a:buClr>
              <a:buFont typeface="+mj-lt"/>
              <a:buAutoNum type="arabicPeriod"/>
            </a:pPr>
            <a:endParaRPr lang="en-GB" sz="1000">
              <a:latin typeface="Trebuchet MS" pitchFamily="34" charset="0"/>
            </a:endParaRPr>
          </a:p>
        </p:txBody>
      </p:sp>
      <p:sp>
        <p:nvSpPr>
          <p:cNvPr id="47" name="Rectangle 46">
            <a:extLst>
              <a:ext uri="{FF2B5EF4-FFF2-40B4-BE49-F238E27FC236}">
                <a16:creationId xmlns:a16="http://schemas.microsoft.com/office/drawing/2014/main" id="{C85B0421-5BDB-4848-914A-867C2D466E74}"/>
              </a:ext>
            </a:extLst>
          </p:cNvPr>
          <p:cNvSpPr/>
          <p:nvPr/>
        </p:nvSpPr>
        <p:spPr bwMode="auto">
          <a:xfrm>
            <a:off x="901580" y="912961"/>
            <a:ext cx="3979494"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dirty="0" err="1">
                <a:ln>
                  <a:noFill/>
                </a:ln>
                <a:effectLst/>
                <a:uLnTx/>
                <a:uFillTx/>
                <a:latin typeface="Trebuchet MS" panose="020B0603020202020204" pitchFamily="34" charset="0"/>
              </a:rPr>
              <a:t>Altares</a:t>
            </a:r>
            <a:r>
              <a:rPr kumimoji="0" lang="en-GB" sz="1000" b="1" i="1" u="none" strike="noStrike" kern="1200" cap="none" spc="0" normalizeH="0" baseline="0" noProof="0" dirty="0">
                <a:ln>
                  <a:noFill/>
                </a:ln>
                <a:effectLst/>
                <a:uLnTx/>
                <a:uFillTx/>
                <a:latin typeface="Trebuchet MS" panose="020B0603020202020204" pitchFamily="34" charset="0"/>
              </a:rPr>
              <a:t>’ expected revenue on Credit &amp; financials risk in the French market, in €m</a:t>
            </a:r>
          </a:p>
        </p:txBody>
      </p:sp>
      <p:sp>
        <p:nvSpPr>
          <p:cNvPr id="48" name="Rectangle 47">
            <a:extLst>
              <a:ext uri="{FF2B5EF4-FFF2-40B4-BE49-F238E27FC236}">
                <a16:creationId xmlns:a16="http://schemas.microsoft.com/office/drawing/2014/main" id="{4A9A9C35-FBD0-4A84-AAD1-D2EF1546575F}"/>
              </a:ext>
            </a:extLst>
          </p:cNvPr>
          <p:cNvSpPr/>
          <p:nvPr/>
        </p:nvSpPr>
        <p:spPr bwMode="auto">
          <a:xfrm>
            <a:off x="5786278" y="912961"/>
            <a:ext cx="3829980"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dirty="0" err="1">
                <a:ln>
                  <a:noFill/>
                </a:ln>
                <a:effectLst/>
                <a:uLnTx/>
                <a:uFillTx/>
                <a:latin typeface="Trebuchet MS" panose="020B0603020202020204" pitchFamily="34" charset="0"/>
              </a:rPr>
              <a:t>Altares</a:t>
            </a:r>
            <a:r>
              <a:rPr kumimoji="0" lang="en-GB" sz="1000" b="1" i="1" u="none" strike="noStrike" kern="1200" cap="none" spc="0" normalizeH="0" baseline="0" noProof="0" dirty="0">
                <a:ln>
                  <a:noFill/>
                </a:ln>
                <a:effectLst/>
                <a:uLnTx/>
                <a:uFillTx/>
                <a:latin typeface="Trebuchet MS" panose="020B0603020202020204" pitchFamily="34" charset="0"/>
              </a:rPr>
              <a:t>’ expected revenue on Credit &amp; financial risk in the Benelux markets, in €m</a:t>
            </a:r>
          </a:p>
        </p:txBody>
      </p:sp>
      <p:sp>
        <p:nvSpPr>
          <p:cNvPr id="32" name="Titre 1">
            <a:extLst>
              <a:ext uri="{FF2B5EF4-FFF2-40B4-BE49-F238E27FC236}">
                <a16:creationId xmlns:a16="http://schemas.microsoft.com/office/drawing/2014/main" id="{67E6AF95-05B2-4079-804A-A740FD7FD88F}"/>
              </a:ext>
            </a:extLst>
          </p:cNvPr>
          <p:cNvSpPr>
            <a:spLocks noGrp="1"/>
          </p:cNvSpPr>
          <p:nvPr>
            <p:ph type="title"/>
          </p:nvPr>
        </p:nvSpPr>
        <p:spPr>
          <a:xfrm>
            <a:off x="495161" y="147600"/>
            <a:ext cx="8199633" cy="584855"/>
          </a:xfrm>
        </p:spPr>
        <p:txBody>
          <a:bodyPr/>
          <a:lstStyle/>
          <a:p>
            <a:r>
              <a:rPr lang="en-GB" err="1">
                <a:latin typeface="Trebuchet MS" panose="020B0603020202020204" pitchFamily="34" charset="0"/>
              </a:rPr>
              <a:t>Altares</a:t>
            </a:r>
            <a:r>
              <a:rPr lang="en-GB">
                <a:latin typeface="Trebuchet MS" panose="020B0603020202020204" pitchFamily="34" charset="0"/>
              </a:rPr>
              <a:t> new management’ </a:t>
            </a:r>
            <a:r>
              <a:rPr lang="en-GB">
                <a:solidFill>
                  <a:schemeClr val="tx2"/>
                </a:solidFill>
                <a:latin typeface="Trebuchet MS" panose="020B0603020202020204" pitchFamily="34" charset="0"/>
              </a:rPr>
              <a:t>reactivation of product development </a:t>
            </a:r>
            <a:r>
              <a:rPr lang="en-GB">
                <a:latin typeface="Trebuchet MS" panose="020B0603020202020204" pitchFamily="34" charset="0"/>
              </a:rPr>
              <a:t>- that had been stopped in the past – will drive future growth on the </a:t>
            </a:r>
            <a:r>
              <a:rPr lang="en-GB">
                <a:solidFill>
                  <a:schemeClr val="tx2"/>
                </a:solidFill>
                <a:latin typeface="Trebuchet MS" panose="020B0603020202020204" pitchFamily="34" charset="0"/>
              </a:rPr>
              <a:t>Credit risk activity</a:t>
            </a:r>
            <a:r>
              <a:rPr lang="en-GB">
                <a:latin typeface="Trebuchet MS" panose="020B0603020202020204" pitchFamily="34" charset="0"/>
              </a:rPr>
              <a:t>, also supported by the winning of a major contract in Benelux</a:t>
            </a:r>
            <a:endParaRPr lang="en-GB">
              <a:solidFill>
                <a:schemeClr val="tx2"/>
              </a:solidFill>
              <a:latin typeface="Trebuchet MS" panose="020B0603020202020204" pitchFamily="34" charset="0"/>
            </a:endParaRPr>
          </a:p>
        </p:txBody>
      </p:sp>
      <p:sp>
        <p:nvSpPr>
          <p:cNvPr id="33" name="Rectangle 32">
            <a:extLst>
              <a:ext uri="{FF2B5EF4-FFF2-40B4-BE49-F238E27FC236}">
                <a16:creationId xmlns:a16="http://schemas.microsoft.com/office/drawing/2014/main" id="{35668BE3-A578-4550-A106-E1FC96FFA984}"/>
              </a:ext>
            </a:extLst>
          </p:cNvPr>
          <p:cNvSpPr/>
          <p:nvPr/>
        </p:nvSpPr>
        <p:spPr bwMode="auto">
          <a:xfrm>
            <a:off x="141716" y="205119"/>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A</a:t>
            </a:r>
          </a:p>
        </p:txBody>
      </p:sp>
      <p:grpSp>
        <p:nvGrpSpPr>
          <p:cNvPr id="34" name="Groupe 33">
            <a:extLst>
              <a:ext uri="{FF2B5EF4-FFF2-40B4-BE49-F238E27FC236}">
                <a16:creationId xmlns:a16="http://schemas.microsoft.com/office/drawing/2014/main" id="{946985AD-0B42-4FA8-B5BE-141FD9AFA17E}"/>
              </a:ext>
            </a:extLst>
          </p:cNvPr>
          <p:cNvGrpSpPr/>
          <p:nvPr/>
        </p:nvGrpSpPr>
        <p:grpSpPr>
          <a:xfrm>
            <a:off x="8448150" y="-11528"/>
            <a:ext cx="1435548" cy="588143"/>
            <a:chOff x="8448150" y="-11528"/>
            <a:chExt cx="1435548" cy="588143"/>
          </a:xfrm>
        </p:grpSpPr>
        <p:sp>
          <p:nvSpPr>
            <p:cNvPr id="35" name="Rectangle : coins arrondis 199">
              <a:extLst>
                <a:ext uri="{FF2B5EF4-FFF2-40B4-BE49-F238E27FC236}">
                  <a16:creationId xmlns:a16="http://schemas.microsoft.com/office/drawing/2014/main" id="{DD3EEF94-FB32-4BB4-9469-0571E622481E}"/>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6" name="Rectangle : coins arrondis 200">
              <a:extLst>
                <a:ext uri="{FF2B5EF4-FFF2-40B4-BE49-F238E27FC236}">
                  <a16:creationId xmlns:a16="http://schemas.microsoft.com/office/drawing/2014/main" id="{B8916949-39E4-4A8B-8267-944AD57E150B}"/>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7" name="Rectangle : coins arrondis 201">
              <a:extLst>
                <a:ext uri="{FF2B5EF4-FFF2-40B4-BE49-F238E27FC236}">
                  <a16:creationId xmlns:a16="http://schemas.microsoft.com/office/drawing/2014/main" id="{3148D036-372E-4EA1-9060-A86BD7DF5E23}"/>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ZoneTexte 18">
              <a:extLst>
                <a:ext uri="{FF2B5EF4-FFF2-40B4-BE49-F238E27FC236}">
                  <a16:creationId xmlns:a16="http://schemas.microsoft.com/office/drawing/2014/main" id="{034CD746-019D-4BB6-823A-21A2F34A127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39" name="Graphique 128" descr="Jauge">
              <a:extLst>
                <a:ext uri="{FF2B5EF4-FFF2-40B4-BE49-F238E27FC236}">
                  <a16:creationId xmlns:a16="http://schemas.microsoft.com/office/drawing/2014/main" id="{5AAD4978-A2D0-4BDA-AE7F-D79E0194ED8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46" name="Graphique 90" descr="Poignée de main">
              <a:extLst>
                <a:ext uri="{FF2B5EF4-FFF2-40B4-BE49-F238E27FC236}">
                  <a16:creationId xmlns:a16="http://schemas.microsoft.com/office/drawing/2014/main" id="{D816E12B-7606-4B34-8932-A3972E8A927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49" name="Graphique 74" descr="Mégaphone">
              <a:extLst>
                <a:ext uri="{FF2B5EF4-FFF2-40B4-BE49-F238E27FC236}">
                  <a16:creationId xmlns:a16="http://schemas.microsoft.com/office/drawing/2014/main" id="{29A9D5F5-C749-45BC-AFD7-B0DD3530BA9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50" name="Picture 2" descr="Drapeau France">
              <a:extLst>
                <a:ext uri="{FF2B5EF4-FFF2-40B4-BE49-F238E27FC236}">
                  <a16:creationId xmlns:a16="http://schemas.microsoft.com/office/drawing/2014/main" id="{973379A0-B424-4EAE-A064-AAF81E37D497}"/>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1" name="Picture 2" descr="5 ft x 3 ft 150 x 90 cm-DRAPEAU BELGE Belgique 100% Polyester ...">
              <a:extLst>
                <a:ext uri="{FF2B5EF4-FFF2-40B4-BE49-F238E27FC236}">
                  <a16:creationId xmlns:a16="http://schemas.microsoft.com/office/drawing/2014/main" id="{5BDE43E3-6D5A-4722-93EB-FD60FD3864AB}"/>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2" name="Picture 2 - 1" descr="Drapeau des Pays-Bas — Wikipédia">
              <a:extLst>
                <a:ext uri="{FF2B5EF4-FFF2-40B4-BE49-F238E27FC236}">
                  <a16:creationId xmlns:a16="http://schemas.microsoft.com/office/drawing/2014/main" id="{C16C26A0-6961-4D9A-8AF0-51BB2D16086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3" name="Picture 2 - 2" descr="Drapeau du Luxembourg">
              <a:extLst>
                <a:ext uri="{FF2B5EF4-FFF2-40B4-BE49-F238E27FC236}">
                  <a16:creationId xmlns:a16="http://schemas.microsoft.com/office/drawing/2014/main" id="{7FD969B5-3A6D-4941-933B-BAC515FF761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4" name="ZoneTexte 53">
              <a:extLst>
                <a:ext uri="{FF2B5EF4-FFF2-40B4-BE49-F238E27FC236}">
                  <a16:creationId xmlns:a16="http://schemas.microsoft.com/office/drawing/2014/main" id="{A3DA0185-9170-45BB-8E7D-7A6648269FBF}"/>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pic>
        <p:nvPicPr>
          <p:cNvPr id="70" name="Picture 2" descr="Drapeau France">
            <a:extLst>
              <a:ext uri="{FF2B5EF4-FFF2-40B4-BE49-F238E27FC236}">
                <a16:creationId xmlns:a16="http://schemas.microsoft.com/office/drawing/2014/main" id="{CF3D94E5-A284-49D4-A8AC-DE3C7AB4329D}"/>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605331" y="1083025"/>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71" name="Picture 2" descr="5 ft x 3 ft 150 x 90 cm-DRAPEAU BELGE Belgique 100% Polyester ...">
            <a:extLst>
              <a:ext uri="{FF2B5EF4-FFF2-40B4-BE49-F238E27FC236}">
                <a16:creationId xmlns:a16="http://schemas.microsoft.com/office/drawing/2014/main" id="{B3A77997-D04F-45A1-8783-D8FE6788F413}"/>
              </a:ext>
            </a:extLst>
          </p:cNvPr>
          <p:cNvPicPr>
            <a:picLocks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5522323" y="108302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2" name="Picture 2 - 1" descr="Drapeau des Pays-Bas — Wikipédia">
            <a:extLst>
              <a:ext uri="{FF2B5EF4-FFF2-40B4-BE49-F238E27FC236}">
                <a16:creationId xmlns:a16="http://schemas.microsoft.com/office/drawing/2014/main" id="{9B128643-634D-4410-BB3C-862F3059746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522323" y="942942"/>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3" name="Picture 2 - 2" descr="Drapeau du Luxembourg">
            <a:extLst>
              <a:ext uri="{FF2B5EF4-FFF2-40B4-BE49-F238E27FC236}">
                <a16:creationId xmlns:a16="http://schemas.microsoft.com/office/drawing/2014/main" id="{8CB16AF1-C190-4F31-8C22-F86E85AEF91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521907" y="1223108"/>
            <a:ext cx="180002" cy="108000"/>
          </a:xfrm>
          <a:prstGeom prst="rect">
            <a:avLst/>
          </a:prstGeom>
          <a:solidFill>
            <a:schemeClr val="bg1"/>
          </a:solidFill>
          <a:ln w="9525" cap="flat" cmpd="sng" algn="ctr">
            <a:noFill/>
            <a:prstDash val="solid"/>
            <a:round/>
            <a:headEnd type="none" w="med" len="med"/>
            <a:tailEnd type="none" w="med" len="med"/>
          </a:ln>
          <a:effectLst/>
        </p:spPr>
      </p:pic>
      <p:grpSp>
        <p:nvGrpSpPr>
          <p:cNvPr id="62" name="Groupe 61">
            <a:extLst>
              <a:ext uri="{FF2B5EF4-FFF2-40B4-BE49-F238E27FC236}">
                <a16:creationId xmlns:a16="http://schemas.microsoft.com/office/drawing/2014/main" id="{9688696B-08F1-4F53-825E-065623B03E37}"/>
              </a:ext>
            </a:extLst>
          </p:cNvPr>
          <p:cNvGrpSpPr/>
          <p:nvPr/>
        </p:nvGrpSpPr>
        <p:grpSpPr>
          <a:xfrm>
            <a:off x="620548" y="5110605"/>
            <a:ext cx="222565" cy="277000"/>
            <a:chOff x="3409503" y="1194238"/>
            <a:chExt cx="269305" cy="368686"/>
          </a:xfrm>
        </p:grpSpPr>
        <p:sp>
          <p:nvSpPr>
            <p:cNvPr id="63" name="Ellipse 62">
              <a:extLst>
                <a:ext uri="{FF2B5EF4-FFF2-40B4-BE49-F238E27FC236}">
                  <a16:creationId xmlns:a16="http://schemas.microsoft.com/office/drawing/2014/main" id="{23D20E3D-A9F6-4996-9AD2-FCB15A969547}"/>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64" name="ZoneTexte 63">
              <a:extLst>
                <a:ext uri="{FF2B5EF4-FFF2-40B4-BE49-F238E27FC236}">
                  <a16:creationId xmlns:a16="http://schemas.microsoft.com/office/drawing/2014/main" id="{9ABEAFC9-2A6D-47FF-ABE2-3FFAD6B0DC6D}"/>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1</a:t>
              </a:r>
            </a:p>
          </p:txBody>
        </p:sp>
      </p:grpSp>
      <p:grpSp>
        <p:nvGrpSpPr>
          <p:cNvPr id="65" name="Groupe 64">
            <a:extLst>
              <a:ext uri="{FF2B5EF4-FFF2-40B4-BE49-F238E27FC236}">
                <a16:creationId xmlns:a16="http://schemas.microsoft.com/office/drawing/2014/main" id="{DBFA3611-9499-45D7-9ACF-F9094E8CD123}"/>
              </a:ext>
            </a:extLst>
          </p:cNvPr>
          <p:cNvGrpSpPr/>
          <p:nvPr/>
        </p:nvGrpSpPr>
        <p:grpSpPr>
          <a:xfrm>
            <a:off x="620548" y="5439691"/>
            <a:ext cx="222565" cy="277000"/>
            <a:chOff x="3409503" y="1194238"/>
            <a:chExt cx="269305" cy="368684"/>
          </a:xfrm>
        </p:grpSpPr>
        <p:sp>
          <p:nvSpPr>
            <p:cNvPr id="66" name="Ellipse 65">
              <a:extLst>
                <a:ext uri="{FF2B5EF4-FFF2-40B4-BE49-F238E27FC236}">
                  <a16:creationId xmlns:a16="http://schemas.microsoft.com/office/drawing/2014/main" id="{B6E3BBDE-273D-4062-9A43-8E45BBAE31A7}"/>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67" name="ZoneTexte 66">
              <a:extLst>
                <a:ext uri="{FF2B5EF4-FFF2-40B4-BE49-F238E27FC236}">
                  <a16:creationId xmlns:a16="http://schemas.microsoft.com/office/drawing/2014/main" id="{F888C264-BFDA-458E-88B2-86C958888D19}"/>
                </a:ext>
              </a:extLst>
            </p:cNvPr>
            <p:cNvSpPr txBox="1"/>
            <p:nvPr/>
          </p:nvSpPr>
          <p:spPr>
            <a:xfrm>
              <a:off x="3409503" y="1194238"/>
              <a:ext cx="269305" cy="368684"/>
            </a:xfrm>
            <a:prstGeom prst="rect">
              <a:avLst/>
            </a:prstGeom>
            <a:noFill/>
          </p:spPr>
          <p:txBody>
            <a:bodyPr wrap="square" rtlCol="0">
              <a:spAutoFit/>
            </a:bodyPr>
            <a:lstStyle/>
            <a:p>
              <a:pPr algn="ctr"/>
              <a:r>
                <a:rPr lang="en-GB" sz="1200">
                  <a:solidFill>
                    <a:schemeClr val="bg1"/>
                  </a:solidFill>
                  <a:latin typeface="+mj-lt"/>
                </a:rPr>
                <a:t>2</a:t>
              </a:r>
            </a:p>
          </p:txBody>
        </p:sp>
      </p:grpSp>
      <p:sp>
        <p:nvSpPr>
          <p:cNvPr id="95" name="Rectangle: Rounded Corners 94">
            <a:extLst>
              <a:ext uri="{FF2B5EF4-FFF2-40B4-BE49-F238E27FC236}">
                <a16:creationId xmlns:a16="http://schemas.microsoft.com/office/drawing/2014/main" id="{92AD7220-4C75-42B1-A0FA-59E9A0490D1F}"/>
              </a:ext>
            </a:extLst>
          </p:cNvPr>
          <p:cNvSpPr/>
          <p:nvPr/>
        </p:nvSpPr>
        <p:spPr bwMode="auto">
          <a:xfrm>
            <a:off x="787424" y="4585807"/>
            <a:ext cx="1421876"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kumimoji="0" lang="en-GB" sz="1000" b="1" i="1" u="none" strike="noStrike" cap="none" normalizeH="0" baseline="-25000">
                <a:ln>
                  <a:noFill/>
                </a:ln>
                <a:solidFill>
                  <a:schemeClr val="tx1"/>
                </a:solidFill>
                <a:effectLst/>
                <a:latin typeface="Trebuchet MS" pitchFamily="34" charset="0"/>
              </a:rPr>
              <a:t>17-20</a:t>
            </a:r>
            <a:r>
              <a:rPr kumimoji="0" lang="en-GB" sz="1000" b="1" i="1" u="none" strike="noStrike" cap="none" normalizeH="0" baseline="0">
                <a:ln>
                  <a:noFill/>
                </a:ln>
                <a:solidFill>
                  <a:schemeClr val="tx1"/>
                </a:solidFill>
                <a:effectLst/>
                <a:latin typeface="Trebuchet MS" pitchFamily="34" charset="0"/>
              </a:rPr>
              <a:t>=-1.8%</a:t>
            </a:r>
          </a:p>
        </p:txBody>
      </p:sp>
      <p:sp>
        <p:nvSpPr>
          <p:cNvPr id="209" name="Rectangle: Rounded Corners 208">
            <a:extLst>
              <a:ext uri="{FF2B5EF4-FFF2-40B4-BE49-F238E27FC236}">
                <a16:creationId xmlns:a16="http://schemas.microsoft.com/office/drawing/2014/main" id="{370E683B-F1A2-4001-9FAE-8438E0423D61}"/>
              </a:ext>
            </a:extLst>
          </p:cNvPr>
          <p:cNvSpPr/>
          <p:nvPr/>
        </p:nvSpPr>
        <p:spPr bwMode="auto">
          <a:xfrm>
            <a:off x="2238339" y="4585807"/>
            <a:ext cx="2480671"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lang="en-GB" sz="1000" b="1" i="1" baseline="-25000">
                <a:latin typeface="Trebuchet MS" pitchFamily="34" charset="0"/>
              </a:rPr>
              <a:t>20-25</a:t>
            </a:r>
            <a:r>
              <a:rPr kumimoji="0" lang="en-GB" sz="1000" b="1" i="1" u="none" strike="noStrike" cap="none" normalizeH="0" baseline="0">
                <a:ln>
                  <a:noFill/>
                </a:ln>
                <a:solidFill>
                  <a:schemeClr val="tx1"/>
                </a:solidFill>
                <a:effectLst/>
                <a:latin typeface="Trebuchet MS" pitchFamily="34" charset="0"/>
              </a:rPr>
              <a:t>=-1.1%</a:t>
            </a:r>
          </a:p>
        </p:txBody>
      </p:sp>
      <p:sp>
        <p:nvSpPr>
          <p:cNvPr id="281" name="Rectangle: Rounded Corners 280">
            <a:extLst>
              <a:ext uri="{FF2B5EF4-FFF2-40B4-BE49-F238E27FC236}">
                <a16:creationId xmlns:a16="http://schemas.microsoft.com/office/drawing/2014/main" id="{B8CAD4E8-C98F-460F-A5D1-B925F30A5C03}"/>
              </a:ext>
            </a:extLst>
          </p:cNvPr>
          <p:cNvSpPr/>
          <p:nvPr/>
        </p:nvSpPr>
        <p:spPr bwMode="auto">
          <a:xfrm>
            <a:off x="5578037" y="4585807"/>
            <a:ext cx="1421876"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kumimoji="0" lang="en-GB" sz="1000" b="1" i="1" u="none" strike="noStrike" cap="none" normalizeH="0" baseline="-25000">
                <a:ln>
                  <a:noFill/>
                </a:ln>
                <a:solidFill>
                  <a:schemeClr val="tx1"/>
                </a:solidFill>
                <a:effectLst/>
                <a:latin typeface="Trebuchet MS" pitchFamily="34" charset="0"/>
              </a:rPr>
              <a:t>17-20</a:t>
            </a:r>
            <a:r>
              <a:rPr lang="en-GB" sz="1000" b="1" i="1">
                <a:latin typeface="Trebuchet MS" pitchFamily="34" charset="0"/>
              </a:rPr>
              <a:t>=+1.6</a:t>
            </a:r>
            <a:r>
              <a:rPr kumimoji="0" lang="en-GB" sz="1000" b="1" i="1" u="none" strike="noStrike" cap="none" normalizeH="0" baseline="0">
                <a:ln>
                  <a:noFill/>
                </a:ln>
                <a:solidFill>
                  <a:schemeClr val="tx1"/>
                </a:solidFill>
                <a:effectLst/>
                <a:latin typeface="Trebuchet MS" pitchFamily="34" charset="0"/>
              </a:rPr>
              <a:t>%</a:t>
            </a:r>
          </a:p>
        </p:txBody>
      </p:sp>
      <p:sp>
        <p:nvSpPr>
          <p:cNvPr id="282" name="Rectangle: Rounded Corners 281">
            <a:extLst>
              <a:ext uri="{FF2B5EF4-FFF2-40B4-BE49-F238E27FC236}">
                <a16:creationId xmlns:a16="http://schemas.microsoft.com/office/drawing/2014/main" id="{1F0F2177-09F5-460B-896D-D63391B41E6C}"/>
              </a:ext>
            </a:extLst>
          </p:cNvPr>
          <p:cNvSpPr/>
          <p:nvPr/>
        </p:nvSpPr>
        <p:spPr bwMode="auto">
          <a:xfrm>
            <a:off x="7028952" y="4585807"/>
            <a:ext cx="2480671"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lang="en-GB" sz="1000" b="1" i="1" baseline="-25000">
                <a:latin typeface="Trebuchet MS" pitchFamily="34" charset="0"/>
              </a:rPr>
              <a:t>20-25</a:t>
            </a:r>
            <a:r>
              <a:rPr kumimoji="0" lang="en-GB" sz="1000" b="1" i="1" u="none" strike="noStrike" cap="none" normalizeH="0" baseline="0">
                <a:ln>
                  <a:noFill/>
                </a:ln>
                <a:solidFill>
                  <a:schemeClr val="tx1"/>
                </a:solidFill>
                <a:effectLst/>
                <a:latin typeface="Trebuchet MS" pitchFamily="34" charset="0"/>
              </a:rPr>
              <a:t>=+1.5%</a:t>
            </a:r>
          </a:p>
        </p:txBody>
      </p:sp>
      <p:grpSp>
        <p:nvGrpSpPr>
          <p:cNvPr id="275" name="Groupe 274">
            <a:extLst>
              <a:ext uri="{FF2B5EF4-FFF2-40B4-BE49-F238E27FC236}">
                <a16:creationId xmlns:a16="http://schemas.microsoft.com/office/drawing/2014/main" id="{32ED6413-41B4-43D1-A830-6576D919E11D}"/>
              </a:ext>
            </a:extLst>
          </p:cNvPr>
          <p:cNvGrpSpPr/>
          <p:nvPr/>
        </p:nvGrpSpPr>
        <p:grpSpPr>
          <a:xfrm>
            <a:off x="620548" y="5640599"/>
            <a:ext cx="222565" cy="277000"/>
            <a:chOff x="3409503" y="1194238"/>
            <a:chExt cx="269305" cy="368684"/>
          </a:xfrm>
        </p:grpSpPr>
        <p:sp>
          <p:nvSpPr>
            <p:cNvPr id="276" name="Ellipse 275">
              <a:extLst>
                <a:ext uri="{FF2B5EF4-FFF2-40B4-BE49-F238E27FC236}">
                  <a16:creationId xmlns:a16="http://schemas.microsoft.com/office/drawing/2014/main" id="{65362891-05A9-4BB1-95AB-513702E4C37D}"/>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283" name="ZoneTexte 282">
              <a:extLst>
                <a:ext uri="{FF2B5EF4-FFF2-40B4-BE49-F238E27FC236}">
                  <a16:creationId xmlns:a16="http://schemas.microsoft.com/office/drawing/2014/main" id="{1F7006A3-9536-47DB-8E8D-9D308688F740}"/>
                </a:ext>
              </a:extLst>
            </p:cNvPr>
            <p:cNvSpPr txBox="1"/>
            <p:nvPr/>
          </p:nvSpPr>
          <p:spPr>
            <a:xfrm>
              <a:off x="3409503" y="1194238"/>
              <a:ext cx="269305" cy="368684"/>
            </a:xfrm>
            <a:prstGeom prst="rect">
              <a:avLst/>
            </a:prstGeom>
            <a:noFill/>
          </p:spPr>
          <p:txBody>
            <a:bodyPr wrap="square" rtlCol="0">
              <a:spAutoFit/>
            </a:bodyPr>
            <a:lstStyle/>
            <a:p>
              <a:pPr algn="ctr"/>
              <a:r>
                <a:rPr lang="en-GB" sz="1200">
                  <a:solidFill>
                    <a:schemeClr val="bg1"/>
                  </a:solidFill>
                  <a:latin typeface="+mj-lt"/>
                </a:rPr>
                <a:t>3</a:t>
              </a:r>
            </a:p>
          </p:txBody>
        </p:sp>
      </p:grpSp>
      <p:grpSp>
        <p:nvGrpSpPr>
          <p:cNvPr id="284" name="Groupe 283">
            <a:extLst>
              <a:ext uri="{FF2B5EF4-FFF2-40B4-BE49-F238E27FC236}">
                <a16:creationId xmlns:a16="http://schemas.microsoft.com/office/drawing/2014/main" id="{F704163F-A488-4BAC-A0C6-EDE9CEE39F2F}"/>
              </a:ext>
            </a:extLst>
          </p:cNvPr>
          <p:cNvGrpSpPr/>
          <p:nvPr/>
        </p:nvGrpSpPr>
        <p:grpSpPr>
          <a:xfrm>
            <a:off x="620548" y="5849167"/>
            <a:ext cx="222565" cy="277000"/>
            <a:chOff x="3409503" y="1194238"/>
            <a:chExt cx="269305" cy="368684"/>
          </a:xfrm>
        </p:grpSpPr>
        <p:sp>
          <p:nvSpPr>
            <p:cNvPr id="285" name="Ellipse 284">
              <a:extLst>
                <a:ext uri="{FF2B5EF4-FFF2-40B4-BE49-F238E27FC236}">
                  <a16:creationId xmlns:a16="http://schemas.microsoft.com/office/drawing/2014/main" id="{10606C06-AC30-48CD-BBC9-0A5CE8C4B678}"/>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286" name="ZoneTexte 285">
              <a:extLst>
                <a:ext uri="{FF2B5EF4-FFF2-40B4-BE49-F238E27FC236}">
                  <a16:creationId xmlns:a16="http://schemas.microsoft.com/office/drawing/2014/main" id="{DDB1588B-481E-4EF5-8A39-E073BED12295}"/>
                </a:ext>
              </a:extLst>
            </p:cNvPr>
            <p:cNvSpPr txBox="1"/>
            <p:nvPr/>
          </p:nvSpPr>
          <p:spPr>
            <a:xfrm>
              <a:off x="3409503" y="1194238"/>
              <a:ext cx="269305" cy="368684"/>
            </a:xfrm>
            <a:prstGeom prst="rect">
              <a:avLst/>
            </a:prstGeom>
            <a:noFill/>
          </p:spPr>
          <p:txBody>
            <a:bodyPr wrap="square" rtlCol="0">
              <a:spAutoFit/>
            </a:bodyPr>
            <a:lstStyle/>
            <a:p>
              <a:pPr algn="ctr"/>
              <a:r>
                <a:rPr lang="en-GB" sz="1200">
                  <a:solidFill>
                    <a:schemeClr val="bg1"/>
                  </a:solidFill>
                  <a:latin typeface="+mj-lt"/>
                </a:rPr>
                <a:t>4</a:t>
              </a:r>
            </a:p>
          </p:txBody>
        </p:sp>
      </p:grpSp>
      <p:grpSp>
        <p:nvGrpSpPr>
          <p:cNvPr id="287" name="Groupe 286">
            <a:extLst>
              <a:ext uri="{FF2B5EF4-FFF2-40B4-BE49-F238E27FC236}">
                <a16:creationId xmlns:a16="http://schemas.microsoft.com/office/drawing/2014/main" id="{E58CAC32-BD85-4DDE-AD85-12C351214B5D}"/>
              </a:ext>
            </a:extLst>
          </p:cNvPr>
          <p:cNvGrpSpPr/>
          <p:nvPr/>
        </p:nvGrpSpPr>
        <p:grpSpPr>
          <a:xfrm>
            <a:off x="620548" y="6065203"/>
            <a:ext cx="222565" cy="277000"/>
            <a:chOff x="3409503" y="1194238"/>
            <a:chExt cx="269305" cy="368684"/>
          </a:xfrm>
        </p:grpSpPr>
        <p:sp>
          <p:nvSpPr>
            <p:cNvPr id="288" name="Ellipse 287">
              <a:extLst>
                <a:ext uri="{FF2B5EF4-FFF2-40B4-BE49-F238E27FC236}">
                  <a16:creationId xmlns:a16="http://schemas.microsoft.com/office/drawing/2014/main" id="{D41359AE-FE2E-42CA-AD56-AE4EC3314135}"/>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289" name="ZoneTexte 288">
              <a:extLst>
                <a:ext uri="{FF2B5EF4-FFF2-40B4-BE49-F238E27FC236}">
                  <a16:creationId xmlns:a16="http://schemas.microsoft.com/office/drawing/2014/main" id="{4FB92E99-4DE1-428F-B405-7CECF54ED383}"/>
                </a:ext>
              </a:extLst>
            </p:cNvPr>
            <p:cNvSpPr txBox="1"/>
            <p:nvPr/>
          </p:nvSpPr>
          <p:spPr>
            <a:xfrm>
              <a:off x="3409503" y="1194238"/>
              <a:ext cx="269305" cy="368684"/>
            </a:xfrm>
            <a:prstGeom prst="rect">
              <a:avLst/>
            </a:prstGeom>
            <a:noFill/>
          </p:spPr>
          <p:txBody>
            <a:bodyPr wrap="square" rtlCol="0">
              <a:spAutoFit/>
            </a:bodyPr>
            <a:lstStyle/>
            <a:p>
              <a:pPr algn="ctr"/>
              <a:r>
                <a:rPr lang="en-GB" sz="1200">
                  <a:solidFill>
                    <a:schemeClr val="bg1"/>
                  </a:solidFill>
                  <a:latin typeface="+mj-lt"/>
                </a:rPr>
                <a:t>5</a:t>
              </a:r>
            </a:p>
          </p:txBody>
        </p:sp>
      </p:grpSp>
      <p:sp>
        <p:nvSpPr>
          <p:cNvPr id="329" name="Espace réservé du texte 2">
            <a:extLst>
              <a:ext uri="{FF2B5EF4-FFF2-40B4-BE49-F238E27FC236}">
                <a16:creationId xmlns:a16="http://schemas.microsoft.com/office/drawing/2014/main" id="{24DBBEC1-2EBC-4025-BAED-993C2FA9EB18}"/>
              </a:ext>
            </a:extLst>
          </p:cNvPr>
          <p:cNvSpPr>
            <a:spLocks noGrp="1"/>
          </p:cNvSpPr>
          <p:nvPr/>
        </p:nvSpPr>
        <p:spPr bwMode="auto">
          <a:xfrm>
            <a:off x="1646984" y="4377990"/>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endParaRPr lang="en-GB" sz="1000">
              <a:latin typeface="+mn-lt"/>
              <a:sym typeface="+mn-lt"/>
            </a:endParaRPr>
          </a:p>
        </p:txBody>
      </p:sp>
      <p:sp>
        <p:nvSpPr>
          <p:cNvPr id="118" name="Rectangle 117">
            <a:extLst>
              <a:ext uri="{FF2B5EF4-FFF2-40B4-BE49-F238E27FC236}">
                <a16:creationId xmlns:a16="http://schemas.microsoft.com/office/drawing/2014/main" id="{AB7F8803-B289-4BFE-AE58-54E4FDC5547B}"/>
              </a:ext>
            </a:extLst>
          </p:cNvPr>
          <p:cNvSpPr/>
          <p:nvPr/>
        </p:nvSpPr>
        <p:spPr bwMode="auto">
          <a:xfrm>
            <a:off x="7539484" y="6587462"/>
            <a:ext cx="79643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err="1">
                <a:solidFill>
                  <a:schemeClr val="tx2"/>
                </a:solidFill>
                <a:latin typeface="Trebuchet MS" panose="020B0603020202020204" pitchFamily="34" charset="0"/>
              </a:rPr>
              <a:t>Covid</a:t>
            </a:r>
            <a:r>
              <a:rPr lang="en-GB" sz="900" i="1">
                <a:solidFill>
                  <a:schemeClr val="tx2"/>
                </a:solidFill>
                <a:latin typeface="Trebuchet MS" panose="020B0603020202020204" pitchFamily="34" charset="0"/>
              </a:rPr>
              <a:t> impact</a:t>
            </a:r>
            <a:endParaRPr kumimoji="0" lang="en-GB" sz="900" b="0" i="1" u="none" strike="noStrike" cap="none" normalizeH="0" baseline="0">
              <a:ln>
                <a:noFill/>
              </a:ln>
              <a:solidFill>
                <a:schemeClr val="tx2"/>
              </a:solidFill>
              <a:effectLst/>
              <a:latin typeface="Trebuchet MS" panose="020B0603020202020204" pitchFamily="34" charset="0"/>
            </a:endParaRPr>
          </a:p>
        </p:txBody>
      </p:sp>
      <p:pic>
        <p:nvPicPr>
          <p:cNvPr id="119" name="Graphique 118">
            <a:extLst>
              <a:ext uri="{FF2B5EF4-FFF2-40B4-BE49-F238E27FC236}">
                <a16:creationId xmlns:a16="http://schemas.microsoft.com/office/drawing/2014/main" id="{76B9673B-B308-4629-9D82-121F73821ED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395874" y="6549466"/>
            <a:ext cx="195930" cy="242031"/>
          </a:xfrm>
          <a:prstGeom prst="rect">
            <a:avLst/>
          </a:prstGeom>
        </p:spPr>
      </p:pic>
      <p:graphicFrame>
        <p:nvGraphicFramePr>
          <p:cNvPr id="21" name="Graphique 20">
            <a:extLst>
              <a:ext uri="{FF2B5EF4-FFF2-40B4-BE49-F238E27FC236}">
                <a16:creationId xmlns:a16="http://schemas.microsoft.com/office/drawing/2014/main" id="{0953B019-8CDB-4DA5-AB11-41AF60A0FCC7}"/>
              </a:ext>
            </a:extLst>
          </p:cNvPr>
          <p:cNvGraphicFramePr/>
          <p:nvPr>
            <p:extLst>
              <p:ext uri="{D42A27DB-BD31-4B8C-83A1-F6EECF244321}">
                <p14:modId xmlns:p14="http://schemas.microsoft.com/office/powerpoint/2010/main" val="2347925310"/>
              </p:ext>
            </p:extLst>
          </p:nvPr>
        </p:nvGraphicFramePr>
        <p:xfrm>
          <a:off x="545898" y="1640466"/>
          <a:ext cx="4265174" cy="2974096"/>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132" name="Graphique 131">
            <a:extLst>
              <a:ext uri="{FF2B5EF4-FFF2-40B4-BE49-F238E27FC236}">
                <a16:creationId xmlns:a16="http://schemas.microsoft.com/office/drawing/2014/main" id="{D1689770-12F0-4D9C-89BD-71B163AF5BF5}"/>
              </a:ext>
            </a:extLst>
          </p:cNvPr>
          <p:cNvGraphicFramePr/>
          <p:nvPr>
            <p:extLst>
              <p:ext uri="{D42A27DB-BD31-4B8C-83A1-F6EECF244321}">
                <p14:modId xmlns:p14="http://schemas.microsoft.com/office/powerpoint/2010/main" val="2831322834"/>
              </p:ext>
            </p:extLst>
          </p:nvPr>
        </p:nvGraphicFramePr>
        <p:xfrm>
          <a:off x="5454184" y="1640466"/>
          <a:ext cx="4265174" cy="2974096"/>
        </p:xfrm>
        <a:graphic>
          <a:graphicData uri="http://schemas.openxmlformats.org/drawingml/2006/chart">
            <c:chart xmlns:c="http://schemas.openxmlformats.org/drawingml/2006/chart" xmlns:r="http://schemas.openxmlformats.org/officeDocument/2006/relationships" r:id="rId19"/>
          </a:graphicData>
        </a:graphic>
      </p:graphicFrame>
      <p:cxnSp>
        <p:nvCxnSpPr>
          <p:cNvPr id="319" name="Straight Connector 318">
            <a:extLst>
              <a:ext uri="{FF2B5EF4-FFF2-40B4-BE49-F238E27FC236}">
                <a16:creationId xmlns:a16="http://schemas.microsoft.com/office/drawing/2014/main" id="{4A55795F-D62D-4477-9539-82C28D7342E9}"/>
              </a:ext>
            </a:extLst>
          </p:cNvPr>
          <p:cNvCxnSpPr>
            <a:cxnSpLocks/>
          </p:cNvCxnSpPr>
          <p:nvPr/>
        </p:nvCxnSpPr>
        <p:spPr bwMode="auto">
          <a:xfrm>
            <a:off x="901580" y="1766155"/>
            <a:ext cx="1345479" cy="84536"/>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cxnSp>
        <p:nvCxnSpPr>
          <p:cNvPr id="320" name="Straight Connector 319">
            <a:extLst>
              <a:ext uri="{FF2B5EF4-FFF2-40B4-BE49-F238E27FC236}">
                <a16:creationId xmlns:a16="http://schemas.microsoft.com/office/drawing/2014/main" id="{21F2F5BF-3771-483E-8D82-70890A498989}"/>
              </a:ext>
            </a:extLst>
          </p:cNvPr>
          <p:cNvCxnSpPr>
            <a:cxnSpLocks/>
          </p:cNvCxnSpPr>
          <p:nvPr/>
        </p:nvCxnSpPr>
        <p:spPr bwMode="auto">
          <a:xfrm flipV="1">
            <a:off x="2247059" y="2038016"/>
            <a:ext cx="0" cy="311484"/>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321" name="Straight Connector 320">
            <a:extLst>
              <a:ext uri="{FF2B5EF4-FFF2-40B4-BE49-F238E27FC236}">
                <a16:creationId xmlns:a16="http://schemas.microsoft.com/office/drawing/2014/main" id="{CCA631A9-EBE4-4A26-8A9C-141C022FFF04}"/>
              </a:ext>
            </a:extLst>
          </p:cNvPr>
          <p:cNvCxnSpPr/>
          <p:nvPr/>
        </p:nvCxnSpPr>
        <p:spPr bwMode="auto">
          <a:xfrm>
            <a:off x="2247059" y="2038015"/>
            <a:ext cx="42068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322" name="Straight Connector 321">
            <a:extLst>
              <a:ext uri="{FF2B5EF4-FFF2-40B4-BE49-F238E27FC236}">
                <a16:creationId xmlns:a16="http://schemas.microsoft.com/office/drawing/2014/main" id="{B290A3BD-3963-4B7E-92DD-9A40BD168973}"/>
              </a:ext>
            </a:extLst>
          </p:cNvPr>
          <p:cNvCxnSpPr/>
          <p:nvPr/>
        </p:nvCxnSpPr>
        <p:spPr bwMode="auto">
          <a:xfrm>
            <a:off x="2667746" y="2038015"/>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323" name="Straight Connector 322">
            <a:extLst>
              <a:ext uri="{FF2B5EF4-FFF2-40B4-BE49-F238E27FC236}">
                <a16:creationId xmlns:a16="http://schemas.microsoft.com/office/drawing/2014/main" id="{FB66F5B6-FEBB-4558-8E36-6FA0131C39A3}"/>
              </a:ext>
            </a:extLst>
          </p:cNvPr>
          <p:cNvCxnSpPr/>
          <p:nvPr/>
        </p:nvCxnSpPr>
        <p:spPr bwMode="auto">
          <a:xfrm flipV="1">
            <a:off x="2743946" y="2026903"/>
            <a:ext cx="0" cy="250825"/>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324" name="Straight Connector 323">
            <a:extLst>
              <a:ext uri="{FF2B5EF4-FFF2-40B4-BE49-F238E27FC236}">
                <a16:creationId xmlns:a16="http://schemas.microsoft.com/office/drawing/2014/main" id="{9F69BC4B-2350-4C37-9B91-5ACC1BCC5EBE}"/>
              </a:ext>
            </a:extLst>
          </p:cNvPr>
          <p:cNvCxnSpPr/>
          <p:nvPr/>
        </p:nvCxnSpPr>
        <p:spPr bwMode="auto">
          <a:xfrm>
            <a:off x="2743947" y="2026903"/>
            <a:ext cx="422275"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325" name="Straight Connector 324">
            <a:extLst>
              <a:ext uri="{FF2B5EF4-FFF2-40B4-BE49-F238E27FC236}">
                <a16:creationId xmlns:a16="http://schemas.microsoft.com/office/drawing/2014/main" id="{0FC3E430-2D11-4503-8A56-046FC19B3A48}"/>
              </a:ext>
            </a:extLst>
          </p:cNvPr>
          <p:cNvCxnSpPr/>
          <p:nvPr/>
        </p:nvCxnSpPr>
        <p:spPr bwMode="auto">
          <a:xfrm>
            <a:off x="3166221" y="2026903"/>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326" name="Straight Connector 325">
            <a:extLst>
              <a:ext uri="{FF2B5EF4-FFF2-40B4-BE49-F238E27FC236}">
                <a16:creationId xmlns:a16="http://schemas.microsoft.com/office/drawing/2014/main" id="{E547190D-30A4-433B-BDA8-6D4B2FF9D2FD}"/>
              </a:ext>
            </a:extLst>
          </p:cNvPr>
          <p:cNvCxnSpPr/>
          <p:nvPr/>
        </p:nvCxnSpPr>
        <p:spPr bwMode="auto">
          <a:xfrm flipV="1">
            <a:off x="2247060" y="1695115"/>
            <a:ext cx="2297113" cy="155575"/>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sp>
        <p:nvSpPr>
          <p:cNvPr id="345" name="Espace réservé du texte 2">
            <a:extLst>
              <a:ext uri="{FF2B5EF4-FFF2-40B4-BE49-F238E27FC236}">
                <a16:creationId xmlns:a16="http://schemas.microsoft.com/office/drawing/2014/main" id="{B88B1108-0092-4AF0-9274-78C36552DF38}"/>
              </a:ext>
            </a:extLst>
          </p:cNvPr>
          <p:cNvSpPr>
            <a:spLocks noGrp="1"/>
          </p:cNvSpPr>
          <p:nvPr/>
        </p:nvSpPr>
        <p:spPr bwMode="auto">
          <a:xfrm>
            <a:off x="1301584" y="1697818"/>
            <a:ext cx="37782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91A8D455-F56E-4DF4-A69D-370BF999A395}" type="datetime'''''''''''''''''''''''''-4.''''3''''''''''''''''''''''''''%'">
              <a:rPr lang="en-GB" altLang="en-US" sz="800" b="1" smtClean="0">
                <a:effectLst/>
                <a:latin typeface="+mn-lt"/>
                <a:sym typeface="+mn-lt"/>
              </a:rPr>
              <a:pPr marL="0" indent="0" algn="ctr">
                <a:spcBef>
                  <a:spcPct val="0"/>
                </a:spcBef>
                <a:buNone/>
              </a:pPr>
              <a:t>-4.3%</a:t>
            </a:fld>
            <a:endParaRPr lang="en-GB" sz="800" b="1">
              <a:latin typeface="+mn-lt"/>
              <a:sym typeface="+mn-lt"/>
            </a:endParaRPr>
          </a:p>
        </p:txBody>
      </p:sp>
      <p:sp>
        <p:nvSpPr>
          <p:cNvPr id="346" name="Espace réservé du texte 2">
            <a:extLst>
              <a:ext uri="{FF2B5EF4-FFF2-40B4-BE49-F238E27FC236}">
                <a16:creationId xmlns:a16="http://schemas.microsoft.com/office/drawing/2014/main" id="{ACC55E45-D91A-4E5A-B55D-CC1C31EE3885}"/>
              </a:ext>
            </a:extLst>
          </p:cNvPr>
          <p:cNvSpPr>
            <a:spLocks noGrp="1"/>
          </p:cNvSpPr>
          <p:nvPr/>
        </p:nvSpPr>
        <p:spPr bwMode="auto">
          <a:xfrm>
            <a:off x="2251821" y="1952290"/>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1.9%</a:t>
            </a:r>
            <a:endParaRPr lang="en-GB" sz="800" b="1">
              <a:latin typeface="+mn-lt"/>
              <a:sym typeface="+mn-lt"/>
            </a:endParaRPr>
          </a:p>
        </p:txBody>
      </p:sp>
      <p:sp>
        <p:nvSpPr>
          <p:cNvPr id="347" name="Espace réservé du texte 2">
            <a:extLst>
              <a:ext uri="{FF2B5EF4-FFF2-40B4-BE49-F238E27FC236}">
                <a16:creationId xmlns:a16="http://schemas.microsoft.com/office/drawing/2014/main" id="{D4489E23-9F70-4A58-BC89-401B9D993A86}"/>
              </a:ext>
            </a:extLst>
          </p:cNvPr>
          <p:cNvSpPr>
            <a:spLocks noGrp="1"/>
          </p:cNvSpPr>
          <p:nvPr/>
        </p:nvSpPr>
        <p:spPr bwMode="auto">
          <a:xfrm>
            <a:off x="2750296" y="1941178"/>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sz="800" b="1">
                <a:latin typeface="+mn-lt"/>
                <a:sym typeface="+mn-lt"/>
              </a:rPr>
              <a:t>+2.2%</a:t>
            </a:r>
          </a:p>
        </p:txBody>
      </p:sp>
      <p:sp>
        <p:nvSpPr>
          <p:cNvPr id="348" name="Espace réservé du texte 2">
            <a:extLst>
              <a:ext uri="{FF2B5EF4-FFF2-40B4-BE49-F238E27FC236}">
                <a16:creationId xmlns:a16="http://schemas.microsoft.com/office/drawing/2014/main" id="{C7A85204-D779-4BC9-8681-F532B6318218}"/>
              </a:ext>
            </a:extLst>
          </p:cNvPr>
          <p:cNvSpPr>
            <a:spLocks noGrp="1"/>
          </p:cNvSpPr>
          <p:nvPr/>
        </p:nvSpPr>
        <p:spPr bwMode="auto">
          <a:xfrm>
            <a:off x="3190034" y="1687178"/>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latin typeface="+mn-lt"/>
                <a:sym typeface="+mn-lt"/>
              </a:rPr>
              <a:t>+2.2%</a:t>
            </a:r>
            <a:endParaRPr lang="en-GB" sz="800" b="1">
              <a:latin typeface="+mn-lt"/>
              <a:sym typeface="+mn-lt"/>
            </a:endParaRPr>
          </a:p>
        </p:txBody>
      </p:sp>
      <p:pic>
        <p:nvPicPr>
          <p:cNvPr id="112" name="Graphique 111">
            <a:extLst>
              <a:ext uri="{FF2B5EF4-FFF2-40B4-BE49-F238E27FC236}">
                <a16:creationId xmlns:a16="http://schemas.microsoft.com/office/drawing/2014/main" id="{33D23670-2F42-41B4-B14F-A9E98F2F30F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945229" y="1990838"/>
            <a:ext cx="195930" cy="242031"/>
          </a:xfrm>
          <a:prstGeom prst="rect">
            <a:avLst/>
          </a:prstGeom>
        </p:spPr>
      </p:pic>
      <p:cxnSp>
        <p:nvCxnSpPr>
          <p:cNvPr id="6" name="Straight Connector 285">
            <a:extLst>
              <a:ext uri="{FF2B5EF4-FFF2-40B4-BE49-F238E27FC236}">
                <a16:creationId xmlns:a16="http://schemas.microsoft.com/office/drawing/2014/main" id="{4A55795F-D62D-4477-9539-82C28D7342E9}"/>
              </a:ext>
            </a:extLst>
          </p:cNvPr>
          <p:cNvCxnSpPr>
            <a:cxnSpLocks/>
          </p:cNvCxnSpPr>
          <p:nvPr/>
        </p:nvCxnSpPr>
        <p:spPr bwMode="auto">
          <a:xfrm>
            <a:off x="5900903" y="1611518"/>
            <a:ext cx="1196975" cy="227807"/>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cxnSp>
        <p:nvCxnSpPr>
          <p:cNvPr id="7" name="Straight Connector 286">
            <a:extLst>
              <a:ext uri="{FF2B5EF4-FFF2-40B4-BE49-F238E27FC236}">
                <a16:creationId xmlns:a16="http://schemas.microsoft.com/office/drawing/2014/main" id="{B290A3BD-3963-4B7E-92DD-9A40BD168973}"/>
              </a:ext>
            </a:extLst>
          </p:cNvPr>
          <p:cNvCxnSpPr/>
          <p:nvPr/>
        </p:nvCxnSpPr>
        <p:spPr bwMode="auto">
          <a:xfrm>
            <a:off x="7505866" y="1954225"/>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8" name="Straight Connector 287">
            <a:extLst>
              <a:ext uri="{FF2B5EF4-FFF2-40B4-BE49-F238E27FC236}">
                <a16:creationId xmlns:a16="http://schemas.microsoft.com/office/drawing/2014/main" id="{CCA631A9-EBE4-4A26-8A9C-141C022FFF04}"/>
              </a:ext>
            </a:extLst>
          </p:cNvPr>
          <p:cNvCxnSpPr/>
          <p:nvPr/>
        </p:nvCxnSpPr>
        <p:spPr bwMode="auto">
          <a:xfrm>
            <a:off x="7097878" y="1954225"/>
            <a:ext cx="40798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9" name="Straight Connector 288">
            <a:extLst>
              <a:ext uri="{FF2B5EF4-FFF2-40B4-BE49-F238E27FC236}">
                <a16:creationId xmlns:a16="http://schemas.microsoft.com/office/drawing/2014/main" id="{21F2F5BF-3771-483E-8D82-70890A498989}"/>
              </a:ext>
            </a:extLst>
          </p:cNvPr>
          <p:cNvCxnSpPr/>
          <p:nvPr/>
        </p:nvCxnSpPr>
        <p:spPr bwMode="auto">
          <a:xfrm flipV="1">
            <a:off x="7097878" y="1954225"/>
            <a:ext cx="0" cy="276225"/>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90" name="Straight Connector 289">
            <a:extLst>
              <a:ext uri="{FF2B5EF4-FFF2-40B4-BE49-F238E27FC236}">
                <a16:creationId xmlns:a16="http://schemas.microsoft.com/office/drawing/2014/main" id="{FB66F5B6-FEBB-4558-8E36-6FA0131C39A3}"/>
              </a:ext>
            </a:extLst>
          </p:cNvPr>
          <p:cNvCxnSpPr/>
          <p:nvPr/>
        </p:nvCxnSpPr>
        <p:spPr bwMode="auto">
          <a:xfrm flipV="1">
            <a:off x="7582066" y="1919300"/>
            <a:ext cx="0" cy="274638"/>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91" name="Straight Connector 290">
            <a:extLst>
              <a:ext uri="{FF2B5EF4-FFF2-40B4-BE49-F238E27FC236}">
                <a16:creationId xmlns:a16="http://schemas.microsoft.com/office/drawing/2014/main" id="{9F69BC4B-2350-4C37-9B91-5ACC1BCC5EBE}"/>
              </a:ext>
            </a:extLst>
          </p:cNvPr>
          <p:cNvCxnSpPr/>
          <p:nvPr/>
        </p:nvCxnSpPr>
        <p:spPr bwMode="auto">
          <a:xfrm>
            <a:off x="7582066" y="1919300"/>
            <a:ext cx="40640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92" name="Straight Connector 291">
            <a:extLst>
              <a:ext uri="{FF2B5EF4-FFF2-40B4-BE49-F238E27FC236}">
                <a16:creationId xmlns:a16="http://schemas.microsoft.com/office/drawing/2014/main" id="{0FC3E430-2D11-4503-8A56-046FC19B3A48}"/>
              </a:ext>
            </a:extLst>
          </p:cNvPr>
          <p:cNvCxnSpPr/>
          <p:nvPr/>
        </p:nvCxnSpPr>
        <p:spPr bwMode="auto">
          <a:xfrm>
            <a:off x="7988466" y="1919300"/>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293" name="Straight Connector 292">
            <a:extLst>
              <a:ext uri="{FF2B5EF4-FFF2-40B4-BE49-F238E27FC236}">
                <a16:creationId xmlns:a16="http://schemas.microsoft.com/office/drawing/2014/main" id="{E547190D-30A4-433B-BDA8-6D4B2FF9D2FD}"/>
              </a:ext>
            </a:extLst>
          </p:cNvPr>
          <p:cNvCxnSpPr/>
          <p:nvPr/>
        </p:nvCxnSpPr>
        <p:spPr bwMode="auto">
          <a:xfrm flipV="1">
            <a:off x="7097879" y="1542463"/>
            <a:ext cx="2227263" cy="296863"/>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sp>
        <p:nvSpPr>
          <p:cNvPr id="312" name="Espace réservé du texte 2">
            <a:extLst>
              <a:ext uri="{FF2B5EF4-FFF2-40B4-BE49-F238E27FC236}">
                <a16:creationId xmlns:a16="http://schemas.microsoft.com/office/drawing/2014/main" id="{B88B1108-0092-4AF0-9274-78C36552DF38}"/>
              </a:ext>
            </a:extLst>
          </p:cNvPr>
          <p:cNvSpPr>
            <a:spLocks noGrp="1"/>
          </p:cNvSpPr>
          <p:nvPr/>
        </p:nvSpPr>
        <p:spPr bwMode="auto">
          <a:xfrm>
            <a:off x="6288975" y="1655969"/>
            <a:ext cx="37782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17124544-1179-4A35-820C-054C41CCAB81}" type="datetime'-''''5.''''0''''''''''''''''''''''''''''''''''''%'''''''''">
              <a:rPr lang="en-GB" altLang="en-US" sz="800" b="1" smtClean="0">
                <a:effectLst/>
              </a:rPr>
              <a:pPr marL="0" indent="0" algn="ctr">
                <a:spcBef>
                  <a:spcPct val="0"/>
                </a:spcBef>
                <a:buNone/>
              </a:pPr>
              <a:t>-5.0%</a:t>
            </a:fld>
            <a:endParaRPr lang="en-GB" sz="800" b="1">
              <a:latin typeface="+mn-lt"/>
              <a:sym typeface="+mn-lt"/>
            </a:endParaRPr>
          </a:p>
        </p:txBody>
      </p:sp>
      <p:sp>
        <p:nvSpPr>
          <p:cNvPr id="313" name="Espace réservé du texte 2">
            <a:extLst>
              <a:ext uri="{FF2B5EF4-FFF2-40B4-BE49-F238E27FC236}">
                <a16:creationId xmlns:a16="http://schemas.microsoft.com/office/drawing/2014/main" id="{ACC55E45-D91A-4E5A-B55D-CC1C31EE3885}"/>
              </a:ext>
            </a:extLst>
          </p:cNvPr>
          <p:cNvSpPr>
            <a:spLocks noGrp="1"/>
          </p:cNvSpPr>
          <p:nvPr/>
        </p:nvSpPr>
        <p:spPr bwMode="auto">
          <a:xfrm>
            <a:off x="7096291" y="1868500"/>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2.7%</a:t>
            </a:r>
            <a:endParaRPr lang="en-GB" sz="800" b="1">
              <a:latin typeface="+mn-lt"/>
              <a:sym typeface="+mn-lt"/>
            </a:endParaRPr>
          </a:p>
        </p:txBody>
      </p:sp>
      <p:sp>
        <p:nvSpPr>
          <p:cNvPr id="314" name="Espace réservé du texte 2">
            <a:extLst>
              <a:ext uri="{FF2B5EF4-FFF2-40B4-BE49-F238E27FC236}">
                <a16:creationId xmlns:a16="http://schemas.microsoft.com/office/drawing/2014/main" id="{D4489E23-9F70-4A58-BC89-401B9D993A86}"/>
              </a:ext>
            </a:extLst>
          </p:cNvPr>
          <p:cNvSpPr>
            <a:spLocks noGrp="1"/>
          </p:cNvSpPr>
          <p:nvPr/>
        </p:nvSpPr>
        <p:spPr bwMode="auto">
          <a:xfrm>
            <a:off x="7580478" y="1833575"/>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3%</a:t>
            </a:r>
            <a:endParaRPr lang="en-GB" sz="800" b="1">
              <a:latin typeface="+mn-lt"/>
              <a:sym typeface="+mn-lt"/>
            </a:endParaRPr>
          </a:p>
        </p:txBody>
      </p:sp>
      <p:sp>
        <p:nvSpPr>
          <p:cNvPr id="315" name="Espace réservé du texte 2">
            <a:extLst>
              <a:ext uri="{FF2B5EF4-FFF2-40B4-BE49-F238E27FC236}">
                <a16:creationId xmlns:a16="http://schemas.microsoft.com/office/drawing/2014/main" id="{C7A85204-D779-4BC9-8681-F532B6318218}"/>
              </a:ext>
            </a:extLst>
          </p:cNvPr>
          <p:cNvSpPr>
            <a:spLocks noGrp="1"/>
          </p:cNvSpPr>
          <p:nvPr/>
        </p:nvSpPr>
        <p:spPr bwMode="auto">
          <a:xfrm>
            <a:off x="8005928" y="1604375"/>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3%</a:t>
            </a:r>
            <a:endParaRPr lang="en-GB" sz="800" b="1">
              <a:latin typeface="+mn-lt"/>
              <a:sym typeface="+mn-lt"/>
            </a:endParaRPr>
          </a:p>
        </p:txBody>
      </p:sp>
      <p:pic>
        <p:nvPicPr>
          <p:cNvPr id="121" name="Graphique 120">
            <a:extLst>
              <a:ext uri="{FF2B5EF4-FFF2-40B4-BE49-F238E27FC236}">
                <a16:creationId xmlns:a16="http://schemas.microsoft.com/office/drawing/2014/main" id="{E5C4FD60-971E-426C-AE10-29252A3D451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796470" y="1927893"/>
            <a:ext cx="195930" cy="242031"/>
          </a:xfrm>
          <a:prstGeom prst="rect">
            <a:avLst/>
          </a:prstGeom>
        </p:spPr>
      </p:pic>
    </p:spTree>
    <p:extLst>
      <p:ext uri="{BB962C8B-B14F-4D97-AF65-F5344CB8AC3E}">
        <p14:creationId xmlns:p14="http://schemas.microsoft.com/office/powerpoint/2010/main" val="2819355768"/>
      </p:ext>
    </p:extLst>
  </p:cSld>
  <p:clrMapOvr>
    <a:masterClrMapping/>
  </p:clrMapOvr>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7ECA7587-5D4D-4C77-BC7A-FBCB26E9B679}"/>
              </a:ext>
            </a:extLst>
          </p:cNvPr>
          <p:cNvGraphicFramePr>
            <a:graphicFrameLocks noChangeAspect="1"/>
          </p:cNvGraphicFramePr>
          <p:nvPr>
            <p:custDataLst>
              <p:tags r:id="rId1"/>
            </p:custDataLst>
            <p:extLst>
              <p:ext uri="{D42A27DB-BD31-4B8C-83A1-F6EECF244321}">
                <p14:modId xmlns:p14="http://schemas.microsoft.com/office/powerpoint/2010/main" val="4192256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14" name="Objet 13" hidden="1">
                        <a:extLst>
                          <a:ext uri="{FF2B5EF4-FFF2-40B4-BE49-F238E27FC236}">
                            <a16:creationId xmlns:a16="http://schemas.microsoft.com/office/drawing/2014/main" id="{7ECA7587-5D4D-4C77-BC7A-FBCB26E9B6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D7D998A4-C0A2-4344-97DF-ADA1A0B203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1D825224-5426-45FB-95E4-C5F4C82DBF4A}"/>
              </a:ext>
            </a:extLst>
          </p:cNvPr>
          <p:cNvSpPr>
            <a:spLocks noGrp="1"/>
          </p:cNvSpPr>
          <p:nvPr>
            <p:ph type="title"/>
          </p:nvPr>
        </p:nvSpPr>
        <p:spPr>
          <a:xfrm>
            <a:off x="605158" y="147600"/>
            <a:ext cx="7869195" cy="684000"/>
          </a:xfrm>
        </p:spPr>
        <p:txBody>
          <a:bodyPr/>
          <a:lstStyle/>
          <a:p>
            <a:r>
              <a:rPr lang="en-GB" sz="1600">
                <a:latin typeface="Trebuchet MS" pitchFamily="34" charset="0"/>
              </a:rPr>
              <a:t>Altares has </a:t>
            </a:r>
            <a:r>
              <a:rPr lang="en-GB">
                <a:solidFill>
                  <a:schemeClr val="tx2"/>
                </a:solidFill>
                <a:latin typeface="Trebuchet MS" pitchFamily="34" charset="0"/>
              </a:rPr>
              <a:t>rationalized its </a:t>
            </a:r>
            <a:r>
              <a:rPr lang="en-GB" sz="1600">
                <a:solidFill>
                  <a:schemeClr val="tx2"/>
                </a:solidFill>
                <a:latin typeface="Trebuchet MS" pitchFamily="34" charset="0"/>
              </a:rPr>
              <a:t>Credit &amp; financial risk products portfolio </a:t>
            </a:r>
            <a:r>
              <a:rPr lang="en-GB" sz="1600">
                <a:latin typeface="Trebuchet MS" pitchFamily="34" charset="0"/>
              </a:rPr>
              <a:t>by </a:t>
            </a:r>
            <a:r>
              <a:rPr lang="en-GB" sz="1600">
                <a:solidFill>
                  <a:schemeClr val="tx2"/>
                </a:solidFill>
                <a:latin typeface="Trebuchet MS" pitchFamily="34" charset="0"/>
              </a:rPr>
              <a:t>decommissioning of obsolete products</a:t>
            </a:r>
            <a:r>
              <a:rPr lang="en-GB" sz="1600">
                <a:latin typeface="Trebuchet MS" pitchFamily="34" charset="0"/>
              </a:rPr>
              <a:t>….</a:t>
            </a:r>
            <a:endParaRPr lang="en-GB"/>
          </a:p>
        </p:txBody>
      </p:sp>
      <p:sp>
        <p:nvSpPr>
          <p:cNvPr id="3" name="Espace réservé du texte 2">
            <a:extLst>
              <a:ext uri="{FF2B5EF4-FFF2-40B4-BE49-F238E27FC236}">
                <a16:creationId xmlns:a16="http://schemas.microsoft.com/office/drawing/2014/main" id="{E5010DA3-233A-4C0B-9142-F7481F6191F9}"/>
              </a:ext>
            </a:extLst>
          </p:cNvPr>
          <p:cNvSpPr>
            <a:spLocks noGrp="1"/>
          </p:cNvSpPr>
          <p:nvPr>
            <p:ph type="body" sz="quarter" idx="10"/>
          </p:nvPr>
        </p:nvSpPr>
        <p:spPr/>
        <p:txBody>
          <a:bodyPr/>
          <a:lstStyle/>
          <a:p>
            <a:r>
              <a:rPr lang="en-GB"/>
              <a:t>Sources: eleven research &amp; analysis, company data, interviews with management</a:t>
            </a:r>
          </a:p>
        </p:txBody>
      </p:sp>
      <p:grpSp>
        <p:nvGrpSpPr>
          <p:cNvPr id="4" name="Groupe 3">
            <a:extLst>
              <a:ext uri="{FF2B5EF4-FFF2-40B4-BE49-F238E27FC236}">
                <a16:creationId xmlns:a16="http://schemas.microsoft.com/office/drawing/2014/main" id="{D034E7ED-A782-44E2-8847-1B05AD8B0822}"/>
              </a:ext>
            </a:extLst>
          </p:cNvPr>
          <p:cNvGrpSpPr/>
          <p:nvPr/>
        </p:nvGrpSpPr>
        <p:grpSpPr>
          <a:xfrm>
            <a:off x="8448150" y="-11528"/>
            <a:ext cx="1435548" cy="588143"/>
            <a:chOff x="8448150" y="-11528"/>
            <a:chExt cx="1435548" cy="588143"/>
          </a:xfrm>
        </p:grpSpPr>
        <p:sp>
          <p:nvSpPr>
            <p:cNvPr id="5" name="Rectangle : coins arrondis 199">
              <a:extLst>
                <a:ext uri="{FF2B5EF4-FFF2-40B4-BE49-F238E27FC236}">
                  <a16:creationId xmlns:a16="http://schemas.microsoft.com/office/drawing/2014/main" id="{29D997DC-0DA8-4DA4-89F2-4DBD2D59A052}"/>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 name="Rectangle : coins arrondis 200">
              <a:extLst>
                <a:ext uri="{FF2B5EF4-FFF2-40B4-BE49-F238E27FC236}">
                  <a16:creationId xmlns:a16="http://schemas.microsoft.com/office/drawing/2014/main" id="{4409088A-28BB-4727-A153-86FAD7EB84FC}"/>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 name="Rectangle : coins arrondis 201">
              <a:extLst>
                <a:ext uri="{FF2B5EF4-FFF2-40B4-BE49-F238E27FC236}">
                  <a16:creationId xmlns:a16="http://schemas.microsoft.com/office/drawing/2014/main" id="{0685641D-9463-4A9F-842A-5FD43CB54C3D}"/>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 name="ZoneTexte 18">
              <a:extLst>
                <a:ext uri="{FF2B5EF4-FFF2-40B4-BE49-F238E27FC236}">
                  <a16:creationId xmlns:a16="http://schemas.microsoft.com/office/drawing/2014/main" id="{C057BD74-C78B-4AC3-94E8-18486BF32FD1}"/>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9" name="Graphique 128" descr="Jauge">
              <a:extLst>
                <a:ext uri="{FF2B5EF4-FFF2-40B4-BE49-F238E27FC236}">
                  <a16:creationId xmlns:a16="http://schemas.microsoft.com/office/drawing/2014/main" id="{BA357842-B228-4D60-B793-F479A38BC64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10" name="Graphique 90" descr="Poignée de main">
              <a:extLst>
                <a:ext uri="{FF2B5EF4-FFF2-40B4-BE49-F238E27FC236}">
                  <a16:creationId xmlns:a16="http://schemas.microsoft.com/office/drawing/2014/main" id="{21DEDB98-032A-4CD4-8663-B73BE8C22E6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11" name="Graphique 74" descr="Mégaphone">
              <a:extLst>
                <a:ext uri="{FF2B5EF4-FFF2-40B4-BE49-F238E27FC236}">
                  <a16:creationId xmlns:a16="http://schemas.microsoft.com/office/drawing/2014/main" id="{76C3F3EF-AA11-499C-9D5E-7870451E9DD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12" name="Picture 2" descr="Drapeau France">
              <a:extLst>
                <a:ext uri="{FF2B5EF4-FFF2-40B4-BE49-F238E27FC236}">
                  <a16:creationId xmlns:a16="http://schemas.microsoft.com/office/drawing/2014/main" id="{08E8FCC3-B27B-4CAF-998D-48B67544D5A3}"/>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3" name="ZoneTexte 12">
              <a:extLst>
                <a:ext uri="{FF2B5EF4-FFF2-40B4-BE49-F238E27FC236}">
                  <a16:creationId xmlns:a16="http://schemas.microsoft.com/office/drawing/2014/main" id="{58290E5D-BAFF-46AF-A116-D469701951CF}"/>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grpSp>
        <p:nvGrpSpPr>
          <p:cNvPr id="15" name="Groupe 14">
            <a:extLst>
              <a:ext uri="{FF2B5EF4-FFF2-40B4-BE49-F238E27FC236}">
                <a16:creationId xmlns:a16="http://schemas.microsoft.com/office/drawing/2014/main" id="{C88EAA25-C61C-4E24-AB02-2694B4B3F4B9}"/>
              </a:ext>
            </a:extLst>
          </p:cNvPr>
          <p:cNvGrpSpPr/>
          <p:nvPr/>
        </p:nvGrpSpPr>
        <p:grpSpPr>
          <a:xfrm>
            <a:off x="362696" y="193605"/>
            <a:ext cx="222565" cy="277000"/>
            <a:chOff x="3409503" y="1194238"/>
            <a:chExt cx="269305" cy="368686"/>
          </a:xfrm>
        </p:grpSpPr>
        <p:sp>
          <p:nvSpPr>
            <p:cNvPr id="16" name="Ellipse 15">
              <a:extLst>
                <a:ext uri="{FF2B5EF4-FFF2-40B4-BE49-F238E27FC236}">
                  <a16:creationId xmlns:a16="http://schemas.microsoft.com/office/drawing/2014/main" id="{C559AF43-BD4F-4D4D-B32D-CC291C49FEA2}"/>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7" name="ZoneTexte 16">
              <a:extLst>
                <a:ext uri="{FF2B5EF4-FFF2-40B4-BE49-F238E27FC236}">
                  <a16:creationId xmlns:a16="http://schemas.microsoft.com/office/drawing/2014/main" id="{85D65150-60A3-4C47-88CD-107E3DDF8567}"/>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1</a:t>
              </a:r>
            </a:p>
          </p:txBody>
        </p:sp>
      </p:grpSp>
      <p:sp>
        <p:nvSpPr>
          <p:cNvPr id="18" name="Rectangle 17">
            <a:extLst>
              <a:ext uri="{FF2B5EF4-FFF2-40B4-BE49-F238E27FC236}">
                <a16:creationId xmlns:a16="http://schemas.microsoft.com/office/drawing/2014/main" id="{FF2A3E71-F790-43F9-895F-DA4FB88A640C}"/>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A</a:t>
            </a:r>
          </a:p>
        </p:txBody>
      </p:sp>
      <p:sp>
        <p:nvSpPr>
          <p:cNvPr id="19" name="Rectangle 18">
            <a:extLst>
              <a:ext uri="{FF2B5EF4-FFF2-40B4-BE49-F238E27FC236}">
                <a16:creationId xmlns:a16="http://schemas.microsoft.com/office/drawing/2014/main" id="{02B34D9D-CAB9-4FC1-90D5-197DB49855F0}"/>
              </a:ext>
            </a:extLst>
          </p:cNvPr>
          <p:cNvSpPr/>
          <p:nvPr/>
        </p:nvSpPr>
        <p:spPr bwMode="auto">
          <a:xfrm>
            <a:off x="141715" y="1265382"/>
            <a:ext cx="7589877" cy="51622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 name="Rectangle 20">
            <a:extLst>
              <a:ext uri="{FF2B5EF4-FFF2-40B4-BE49-F238E27FC236}">
                <a16:creationId xmlns:a16="http://schemas.microsoft.com/office/drawing/2014/main" id="{F639CB13-89E0-4076-8B02-146C16F07D20}"/>
              </a:ext>
            </a:extLst>
          </p:cNvPr>
          <p:cNvSpPr/>
          <p:nvPr/>
        </p:nvSpPr>
        <p:spPr bwMode="auto">
          <a:xfrm>
            <a:off x="7865282" y="1265381"/>
            <a:ext cx="1928415" cy="391084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nSpc>
                <a:spcPct val="107000"/>
              </a:lnSpc>
              <a:spcAft>
                <a:spcPts val="600"/>
              </a:spcAft>
            </a:pPr>
            <a:r>
              <a:rPr lang="en-GB" sz="1100">
                <a:latin typeface="Trebuchet MS" pitchFamily="34" charset="0"/>
              </a:rPr>
              <a:t>Decommissioning of obsolete products consists in: </a:t>
            </a:r>
          </a:p>
          <a:p>
            <a:pPr marL="228600" lvl="0" indent="-228600">
              <a:lnSpc>
                <a:spcPct val="107000"/>
              </a:lnSpc>
              <a:spcAft>
                <a:spcPts val="600"/>
              </a:spcAft>
              <a:buClr>
                <a:schemeClr val="tx1"/>
              </a:buClr>
              <a:buFont typeface="+mj-lt"/>
              <a:buAutoNum type="arabicPeriod"/>
            </a:pPr>
            <a:r>
              <a:rPr lang="en-GB" sz="1100">
                <a:effectLst/>
                <a:latin typeface="Trebuchet MS" panose="020B0603020202020204" pitchFamily="34" charset="0"/>
                <a:ea typeface="Calibri" panose="020F0502020204030204" pitchFamily="34" charset="0"/>
                <a:cs typeface="Arial" panose="020B0604020202020204" pitchFamily="34" charset="0"/>
              </a:rPr>
              <a:t>Recent </a:t>
            </a:r>
            <a:r>
              <a:rPr lang="en-GB" sz="1100">
                <a:solidFill>
                  <a:schemeClr val="tx2"/>
                </a:solidFill>
                <a:effectLst/>
                <a:latin typeface="Trebuchet MS" panose="020B0603020202020204" pitchFamily="34" charset="0"/>
                <a:ea typeface="Calibri" panose="020F0502020204030204" pitchFamily="34" charset="0"/>
                <a:cs typeface="Arial" panose="020B0604020202020204" pitchFamily="34" charset="0"/>
              </a:rPr>
              <a:t>D&amp;B migration of old platform DNBI and DBAI, Toolkit </a:t>
            </a:r>
            <a:r>
              <a:rPr lang="en-GB" sz="1100">
                <a:effectLst/>
                <a:latin typeface="Trebuchet MS" panose="020B0603020202020204" pitchFamily="34" charset="0"/>
                <a:ea typeface="Calibri" panose="020F0502020204030204" pitchFamily="34" charset="0"/>
                <a:cs typeface="Arial" panose="020B0604020202020204" pitchFamily="34" charset="0"/>
              </a:rPr>
              <a:t>(sept 2020) </a:t>
            </a:r>
            <a:r>
              <a:rPr lang="en-GB" sz="1100">
                <a:solidFill>
                  <a:schemeClr val="tx2"/>
                </a:solidFill>
                <a:effectLst/>
                <a:latin typeface="Trebuchet MS" panose="020B0603020202020204" pitchFamily="34" charset="0"/>
                <a:ea typeface="Calibri" panose="020F0502020204030204" pitchFamily="34" charset="0"/>
                <a:cs typeface="Arial" panose="020B0604020202020204" pitchFamily="34" charset="0"/>
              </a:rPr>
              <a:t>toward D&amp;B Credit</a:t>
            </a:r>
          </a:p>
          <a:p>
            <a:pPr marL="228600" lvl="0" indent="-228600">
              <a:lnSpc>
                <a:spcPct val="107000"/>
              </a:lnSpc>
              <a:spcAft>
                <a:spcPts val="600"/>
              </a:spcAft>
              <a:buClr>
                <a:schemeClr val="tx1"/>
              </a:buClr>
              <a:buFont typeface="+mj-lt"/>
              <a:buAutoNum type="arabicPeriod"/>
            </a:pPr>
            <a:r>
              <a:rPr lang="en-GB" sz="1100">
                <a:latin typeface="Trebuchet MS" panose="020B0603020202020204" pitchFamily="34" charset="0"/>
                <a:ea typeface="Calibri" panose="020F0502020204030204" pitchFamily="34" charset="0"/>
              </a:rPr>
              <a:t>Even though </a:t>
            </a:r>
            <a:r>
              <a:rPr lang="en-GB" sz="1100" err="1">
                <a:latin typeface="Trebuchet MS" panose="020B0603020202020204" pitchFamily="34" charset="0"/>
                <a:ea typeface="Calibri" panose="020F0502020204030204" pitchFamily="34" charset="0"/>
              </a:rPr>
              <a:t>Altares</a:t>
            </a:r>
            <a:r>
              <a:rPr lang="en-GB" sz="1100">
                <a:latin typeface="Trebuchet MS" panose="020B0603020202020204" pitchFamily="34" charset="0"/>
                <a:ea typeface="Calibri" panose="020F0502020204030204" pitchFamily="34" charset="0"/>
              </a:rPr>
              <a:t> has lost clients  with the migration from obsolete products towards D&amp;B Credit, </a:t>
            </a:r>
            <a:r>
              <a:rPr lang="en-GB" sz="1100" err="1">
                <a:latin typeface="Trebuchet MS" panose="020B0603020202020204" pitchFamily="34" charset="0"/>
                <a:ea typeface="Calibri" panose="020F0502020204030204" pitchFamily="34" charset="0"/>
              </a:rPr>
              <a:t>Altares</a:t>
            </a:r>
            <a:r>
              <a:rPr lang="en-GB" sz="1100">
                <a:latin typeface="Trebuchet MS" panose="020B0603020202020204" pitchFamily="34" charset="0"/>
                <a:ea typeface="Calibri" panose="020F0502020204030204" pitchFamily="34" charset="0"/>
              </a:rPr>
              <a:t> has </a:t>
            </a:r>
            <a:r>
              <a:rPr lang="en-GB" sz="1100">
                <a:solidFill>
                  <a:schemeClr val="tx2"/>
                </a:solidFill>
                <a:latin typeface="Trebuchet MS" panose="020B0603020202020204" pitchFamily="34" charset="0"/>
                <a:ea typeface="Calibri" panose="020F0502020204030204" pitchFamily="34" charset="0"/>
              </a:rPr>
              <a:t>stabilized its customers’  ARPU </a:t>
            </a:r>
            <a:r>
              <a:rPr lang="en-GB" sz="1100">
                <a:latin typeface="Trebuchet MS" panose="020B0603020202020204" pitchFamily="34" charset="0"/>
                <a:ea typeface="Calibri" panose="020F0502020204030204" pitchFamily="34" charset="0"/>
              </a:rPr>
              <a:t>on this offer</a:t>
            </a:r>
          </a:p>
          <a:p>
            <a:pPr marL="228600" lvl="0" indent="-228600">
              <a:lnSpc>
                <a:spcPct val="107000"/>
              </a:lnSpc>
              <a:spcAft>
                <a:spcPts val="600"/>
              </a:spcAft>
              <a:buClr>
                <a:schemeClr val="tx1"/>
              </a:buClr>
              <a:buFont typeface="+mj-lt"/>
              <a:buAutoNum type="arabicPeriod"/>
            </a:pPr>
            <a:r>
              <a:rPr lang="en-GB" sz="1100">
                <a:solidFill>
                  <a:schemeClr val="tx2"/>
                </a:solidFill>
                <a:effectLst/>
                <a:latin typeface="Trebuchet MS" panose="020B0603020202020204" pitchFamily="34" charset="0"/>
                <a:ea typeface="Calibri" panose="020F0502020204030204" pitchFamily="34" charset="0"/>
                <a:cs typeface="Arial" panose="020B0604020202020204" pitchFamily="34" charset="0"/>
              </a:rPr>
              <a:t>New</a:t>
            </a:r>
            <a:r>
              <a:rPr lang="en-GB" sz="1100">
                <a:effectLst/>
                <a:latin typeface="Trebuchet MS" panose="020B0603020202020204" pitchFamily="34" charset="0"/>
                <a:ea typeface="Calibri" panose="020F0502020204030204" pitchFamily="34" charset="0"/>
                <a:cs typeface="Arial" panose="020B0604020202020204" pitchFamily="34" charset="0"/>
              </a:rPr>
              <a:t> </a:t>
            </a:r>
            <a:r>
              <a:rPr lang="en-GB" sz="1100">
                <a:solidFill>
                  <a:schemeClr val="tx2"/>
                </a:solidFill>
                <a:effectLst/>
                <a:latin typeface="Trebuchet MS" panose="020B0603020202020204" pitchFamily="34" charset="0"/>
                <a:ea typeface="Calibri" panose="020F0502020204030204" pitchFamily="34" charset="0"/>
                <a:cs typeface="Arial" panose="020B0604020202020204" pitchFamily="34" charset="0"/>
              </a:rPr>
              <a:t>solutions</a:t>
            </a:r>
            <a:r>
              <a:rPr lang="en-GB" sz="1100">
                <a:effectLst/>
                <a:latin typeface="Trebuchet MS" panose="020B0603020202020204" pitchFamily="34" charset="0"/>
                <a:ea typeface="Calibri" panose="020F0502020204030204" pitchFamily="34" charset="0"/>
                <a:cs typeface="Arial" panose="020B0604020202020204" pitchFamily="34" charset="0"/>
              </a:rPr>
              <a:t> contribute to the </a:t>
            </a:r>
            <a:r>
              <a:rPr lang="en-GB" sz="1100">
                <a:solidFill>
                  <a:schemeClr val="tx2"/>
                </a:solidFill>
                <a:effectLst/>
                <a:latin typeface="Trebuchet MS" panose="020B0603020202020204" pitchFamily="34" charset="0"/>
                <a:ea typeface="Calibri" panose="020F0502020204030204" pitchFamily="34" charset="0"/>
                <a:cs typeface="Arial" panose="020B0604020202020204" pitchFamily="34" charset="0"/>
              </a:rPr>
              <a:t>churn</a:t>
            </a:r>
            <a:r>
              <a:rPr lang="en-GB" sz="1100">
                <a:effectLst/>
                <a:latin typeface="Trebuchet MS" panose="020B0603020202020204" pitchFamily="34" charset="0"/>
                <a:ea typeface="Calibri" panose="020F0502020204030204" pitchFamily="34" charset="0"/>
                <a:cs typeface="Arial" panose="020B0604020202020204" pitchFamily="34" charset="0"/>
              </a:rPr>
              <a:t> </a:t>
            </a:r>
            <a:r>
              <a:rPr lang="en-GB" sz="1100">
                <a:solidFill>
                  <a:schemeClr val="tx2"/>
                </a:solidFill>
                <a:effectLst/>
                <a:latin typeface="Trebuchet MS" panose="020B0603020202020204" pitchFamily="34" charset="0"/>
                <a:ea typeface="Calibri" panose="020F0502020204030204" pitchFamily="34" charset="0"/>
                <a:cs typeface="Arial" panose="020B0604020202020204" pitchFamily="34" charset="0"/>
              </a:rPr>
              <a:t>reduction</a:t>
            </a:r>
          </a:p>
        </p:txBody>
      </p:sp>
      <p:sp>
        <p:nvSpPr>
          <p:cNvPr id="28" name="Rectangle 27">
            <a:extLst>
              <a:ext uri="{FF2B5EF4-FFF2-40B4-BE49-F238E27FC236}">
                <a16:creationId xmlns:a16="http://schemas.microsoft.com/office/drawing/2014/main" id="{97F94F33-7EAF-42D8-8360-C29C2FD824E8}"/>
              </a:ext>
            </a:extLst>
          </p:cNvPr>
          <p:cNvSpPr/>
          <p:nvPr/>
        </p:nvSpPr>
        <p:spPr bwMode="auto">
          <a:xfrm>
            <a:off x="686639" y="1293733"/>
            <a:ext cx="2742114" cy="2899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billing in France for Credit &amp; financial risk products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aphicFrame>
        <p:nvGraphicFramePr>
          <p:cNvPr id="29" name="Chart 60">
            <a:extLst>
              <a:ext uri="{FF2B5EF4-FFF2-40B4-BE49-F238E27FC236}">
                <a16:creationId xmlns:a16="http://schemas.microsoft.com/office/drawing/2014/main" id="{A596C773-DF43-4F53-880A-86A0BD0C51F7}"/>
              </a:ext>
            </a:extLst>
          </p:cNvPr>
          <p:cNvGraphicFramePr/>
          <p:nvPr>
            <p:extLst>
              <p:ext uri="{D42A27DB-BD31-4B8C-83A1-F6EECF244321}">
                <p14:modId xmlns:p14="http://schemas.microsoft.com/office/powerpoint/2010/main" val="1419276902"/>
              </p:ext>
            </p:extLst>
          </p:nvPr>
        </p:nvGraphicFramePr>
        <p:xfrm>
          <a:off x="332753" y="1594542"/>
          <a:ext cx="3096000" cy="2206505"/>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46" name="Chart 109">
            <a:extLst>
              <a:ext uri="{FF2B5EF4-FFF2-40B4-BE49-F238E27FC236}">
                <a16:creationId xmlns:a16="http://schemas.microsoft.com/office/drawing/2014/main" id="{61C7C36A-75A2-48EE-BB79-4899B9E102F0}"/>
              </a:ext>
            </a:extLst>
          </p:cNvPr>
          <p:cNvGraphicFramePr/>
          <p:nvPr>
            <p:extLst>
              <p:ext uri="{D42A27DB-BD31-4B8C-83A1-F6EECF244321}">
                <p14:modId xmlns:p14="http://schemas.microsoft.com/office/powerpoint/2010/main" val="994479124"/>
              </p:ext>
            </p:extLst>
          </p:nvPr>
        </p:nvGraphicFramePr>
        <p:xfrm>
          <a:off x="4473320" y="1594542"/>
          <a:ext cx="3096000" cy="2206505"/>
        </p:xfrm>
        <a:graphic>
          <a:graphicData uri="http://schemas.openxmlformats.org/drawingml/2006/chart">
            <c:chart xmlns:c="http://schemas.openxmlformats.org/drawingml/2006/chart" xmlns:r="http://schemas.openxmlformats.org/officeDocument/2006/relationships" r:id="rId15"/>
          </a:graphicData>
        </a:graphic>
      </p:graphicFrame>
      <p:sp>
        <p:nvSpPr>
          <p:cNvPr id="47" name="Rectangle 46">
            <a:extLst>
              <a:ext uri="{FF2B5EF4-FFF2-40B4-BE49-F238E27FC236}">
                <a16:creationId xmlns:a16="http://schemas.microsoft.com/office/drawing/2014/main" id="{CE606840-EBDB-45C2-BC52-FC4AB35FAAD2}"/>
              </a:ext>
            </a:extLst>
          </p:cNvPr>
          <p:cNvSpPr/>
          <p:nvPr/>
        </p:nvSpPr>
        <p:spPr bwMode="auto">
          <a:xfrm>
            <a:off x="4811906" y="1292155"/>
            <a:ext cx="2667624" cy="280416"/>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bookings in Benelux for Credit &amp; financial risk products in m€</a:t>
            </a:r>
            <a:endParaRPr kumimoji="0" lang="en-GB" sz="1000" b="1" i="1" u="none" strike="noStrike" kern="1200" cap="none" spc="0" normalizeH="0" baseline="0" noProof="0">
              <a:ln>
                <a:noFill/>
              </a:ln>
              <a:effectLst/>
              <a:uLnTx/>
              <a:uFillTx/>
              <a:latin typeface="Trebuchet MS" panose="020B0603020202020204" pitchFamily="34" charset="0"/>
            </a:endParaRPr>
          </a:p>
        </p:txBody>
      </p:sp>
      <p:cxnSp>
        <p:nvCxnSpPr>
          <p:cNvPr id="62" name="Connecteur droit 4">
            <a:extLst>
              <a:ext uri="{FF2B5EF4-FFF2-40B4-BE49-F238E27FC236}">
                <a16:creationId xmlns:a16="http://schemas.microsoft.com/office/drawing/2014/main" id="{FA88CF65-1036-4B68-A6EC-3ECF3B65EB55}"/>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63" name="TextBox 30">
            <a:extLst>
              <a:ext uri="{FF2B5EF4-FFF2-40B4-BE49-F238E27FC236}">
                <a16:creationId xmlns:a16="http://schemas.microsoft.com/office/drawing/2014/main" id="{A31FAE80-DEAB-4E1D-843B-4F047FD7013E}"/>
              </a:ext>
            </a:extLst>
          </p:cNvPr>
          <p:cNvSpPr txBox="1"/>
          <p:nvPr/>
        </p:nvSpPr>
        <p:spPr>
          <a:xfrm>
            <a:off x="2641561" y="940203"/>
            <a:ext cx="4622878" cy="261610"/>
          </a:xfrm>
          <a:prstGeom prst="rect">
            <a:avLst/>
          </a:prstGeom>
          <a:solidFill>
            <a:schemeClr val="bg1"/>
          </a:solidFill>
        </p:spPr>
        <p:txBody>
          <a:bodyPr wrap="square" lIns="0" rIns="0" rtlCol="0">
            <a:spAutoFit/>
          </a:bodyPr>
          <a:lstStyle/>
          <a:p>
            <a:pPr algn="ctr">
              <a:defRPr/>
            </a:pPr>
            <a:r>
              <a:rPr kumimoji="0" lang="en-GB" sz="1100" u="none" strike="noStrike" kern="1200" cap="none" spc="0" normalizeH="0" baseline="0" noProof="0">
                <a:ln>
                  <a:noFill/>
                </a:ln>
                <a:effectLst/>
                <a:uLnTx/>
                <a:uFillTx/>
                <a:latin typeface="Trebuchet MS" panose="020B0603020202020204" pitchFamily="34" charset="0"/>
              </a:rPr>
              <a:t>Rationalization of old Credit &amp; financials Risk products</a:t>
            </a:r>
          </a:p>
        </p:txBody>
      </p:sp>
      <p:graphicFrame>
        <p:nvGraphicFramePr>
          <p:cNvPr id="34" name="Chart 33">
            <a:extLst>
              <a:ext uri="{FF2B5EF4-FFF2-40B4-BE49-F238E27FC236}">
                <a16:creationId xmlns:a16="http://schemas.microsoft.com/office/drawing/2014/main" id="{BC19E2E8-82C9-46A3-9AF9-EC3F5FC5A9E3}"/>
              </a:ext>
            </a:extLst>
          </p:cNvPr>
          <p:cNvGraphicFramePr/>
          <p:nvPr>
            <p:extLst>
              <p:ext uri="{D42A27DB-BD31-4B8C-83A1-F6EECF244321}">
                <p14:modId xmlns:p14="http://schemas.microsoft.com/office/powerpoint/2010/main" val="1388889001"/>
              </p:ext>
            </p:extLst>
          </p:nvPr>
        </p:nvGraphicFramePr>
        <p:xfrm>
          <a:off x="4473320" y="4193999"/>
          <a:ext cx="3096000" cy="2206505"/>
        </p:xfrm>
        <a:graphic>
          <a:graphicData uri="http://schemas.openxmlformats.org/drawingml/2006/chart">
            <c:chart xmlns:c="http://schemas.openxmlformats.org/drawingml/2006/chart" xmlns:r="http://schemas.openxmlformats.org/officeDocument/2006/relationships" r:id="rId16"/>
          </a:graphicData>
        </a:graphic>
      </p:graphicFrame>
      <p:sp>
        <p:nvSpPr>
          <p:cNvPr id="36" name="Rectangle 35">
            <a:extLst>
              <a:ext uri="{FF2B5EF4-FFF2-40B4-BE49-F238E27FC236}">
                <a16:creationId xmlns:a16="http://schemas.microsoft.com/office/drawing/2014/main" id="{1234A545-2E0C-4675-A1E8-E46286C8B8B6}"/>
              </a:ext>
            </a:extLst>
          </p:cNvPr>
          <p:cNvSpPr/>
          <p:nvPr/>
        </p:nvSpPr>
        <p:spPr bwMode="auto">
          <a:xfrm>
            <a:off x="7865282" y="5274175"/>
            <a:ext cx="1928415" cy="1153448"/>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57" name="Group 56">
            <a:extLst>
              <a:ext uri="{FF2B5EF4-FFF2-40B4-BE49-F238E27FC236}">
                <a16:creationId xmlns:a16="http://schemas.microsoft.com/office/drawing/2014/main" id="{62FA9D16-1206-4618-A5F4-53D58D823F27}"/>
              </a:ext>
            </a:extLst>
          </p:cNvPr>
          <p:cNvGrpSpPr/>
          <p:nvPr/>
        </p:nvGrpSpPr>
        <p:grpSpPr>
          <a:xfrm>
            <a:off x="8030983" y="5419065"/>
            <a:ext cx="2709086" cy="153888"/>
            <a:chOff x="2399778" y="5760920"/>
            <a:chExt cx="2709086" cy="153888"/>
          </a:xfrm>
        </p:grpSpPr>
        <p:cxnSp>
          <p:nvCxnSpPr>
            <p:cNvPr id="44" name="Straight Connector 68">
              <a:extLst>
                <a:ext uri="{FF2B5EF4-FFF2-40B4-BE49-F238E27FC236}">
                  <a16:creationId xmlns:a16="http://schemas.microsoft.com/office/drawing/2014/main" id="{67E0109A-2FE4-47AD-B3F5-2DD5691AA251}"/>
                </a:ext>
              </a:extLst>
            </p:cNvPr>
            <p:cNvCxnSpPr>
              <a:cxnSpLocks/>
            </p:cNvCxnSpPr>
            <p:nvPr/>
          </p:nvCxnSpPr>
          <p:spPr bwMode="auto">
            <a:xfrm>
              <a:off x="2399778" y="5861233"/>
              <a:ext cx="326332"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45" name="TextBox 69">
              <a:extLst>
                <a:ext uri="{FF2B5EF4-FFF2-40B4-BE49-F238E27FC236}">
                  <a16:creationId xmlns:a16="http://schemas.microsoft.com/office/drawing/2014/main" id="{D8F1302E-8CB7-4446-BC21-4C0BE62FBF7F}"/>
                </a:ext>
              </a:extLst>
            </p:cNvPr>
            <p:cNvSpPr txBox="1"/>
            <p:nvPr/>
          </p:nvSpPr>
          <p:spPr>
            <a:xfrm>
              <a:off x="2852414" y="5760920"/>
              <a:ext cx="2256450" cy="153888"/>
            </a:xfrm>
            <a:prstGeom prst="rect">
              <a:avLst/>
            </a:prstGeom>
            <a:noFill/>
          </p:spPr>
          <p:txBody>
            <a:bodyPr wrap="square" lIns="0" tIns="0" rIns="0" bIns="0" rtlCol="0">
              <a:spAutoFit/>
            </a:bodyPr>
            <a:lstStyle/>
            <a:p>
              <a:r>
                <a:rPr lang="en-GB" sz="1000">
                  <a:latin typeface="+mj-lt"/>
                </a:rPr>
                <a:t>DBAI/Toolkit/GDM</a:t>
              </a:r>
            </a:p>
          </p:txBody>
        </p:sp>
      </p:grpSp>
      <p:grpSp>
        <p:nvGrpSpPr>
          <p:cNvPr id="56" name="Group 55">
            <a:extLst>
              <a:ext uri="{FF2B5EF4-FFF2-40B4-BE49-F238E27FC236}">
                <a16:creationId xmlns:a16="http://schemas.microsoft.com/office/drawing/2014/main" id="{015A5411-0643-4245-BEE4-AABF640BF3DF}"/>
              </a:ext>
            </a:extLst>
          </p:cNvPr>
          <p:cNvGrpSpPr/>
          <p:nvPr/>
        </p:nvGrpSpPr>
        <p:grpSpPr>
          <a:xfrm>
            <a:off x="8030983" y="5717642"/>
            <a:ext cx="2701961" cy="153888"/>
            <a:chOff x="2399778" y="5997917"/>
            <a:chExt cx="2701961" cy="153888"/>
          </a:xfrm>
        </p:grpSpPr>
        <p:cxnSp>
          <p:nvCxnSpPr>
            <p:cNvPr id="42" name="Straight Connector 66">
              <a:extLst>
                <a:ext uri="{FF2B5EF4-FFF2-40B4-BE49-F238E27FC236}">
                  <a16:creationId xmlns:a16="http://schemas.microsoft.com/office/drawing/2014/main" id="{6FC116A4-7864-4D91-AC91-578EEC0A1054}"/>
                </a:ext>
              </a:extLst>
            </p:cNvPr>
            <p:cNvCxnSpPr>
              <a:cxnSpLocks/>
            </p:cNvCxnSpPr>
            <p:nvPr/>
          </p:nvCxnSpPr>
          <p:spPr bwMode="auto">
            <a:xfrm>
              <a:off x="2399778" y="6058239"/>
              <a:ext cx="326330"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43" name="TextBox 67">
              <a:extLst>
                <a:ext uri="{FF2B5EF4-FFF2-40B4-BE49-F238E27FC236}">
                  <a16:creationId xmlns:a16="http://schemas.microsoft.com/office/drawing/2014/main" id="{629D3541-DD1F-42D2-A234-B5BA641FC332}"/>
                </a:ext>
              </a:extLst>
            </p:cNvPr>
            <p:cNvSpPr txBox="1"/>
            <p:nvPr/>
          </p:nvSpPr>
          <p:spPr>
            <a:xfrm>
              <a:off x="2859539" y="5997917"/>
              <a:ext cx="2242200" cy="153888"/>
            </a:xfrm>
            <a:prstGeom prst="rect">
              <a:avLst/>
            </a:prstGeom>
            <a:noFill/>
          </p:spPr>
          <p:txBody>
            <a:bodyPr wrap="square" lIns="0" tIns="0" rIns="0" bIns="0" rtlCol="0">
              <a:spAutoFit/>
            </a:bodyPr>
            <a:lstStyle/>
            <a:p>
              <a:r>
                <a:rPr lang="en-GB" sz="1000">
                  <a:latin typeface="+mj-lt"/>
                </a:rPr>
                <a:t>D&amp;B Credit</a:t>
              </a:r>
            </a:p>
          </p:txBody>
        </p:sp>
      </p:grpSp>
      <p:grpSp>
        <p:nvGrpSpPr>
          <p:cNvPr id="39" name="Group 25">
            <a:extLst>
              <a:ext uri="{FF2B5EF4-FFF2-40B4-BE49-F238E27FC236}">
                <a16:creationId xmlns:a16="http://schemas.microsoft.com/office/drawing/2014/main" id="{2966699D-D538-41D1-85B3-E118406142DB}"/>
              </a:ext>
            </a:extLst>
          </p:cNvPr>
          <p:cNvGrpSpPr/>
          <p:nvPr/>
        </p:nvGrpSpPr>
        <p:grpSpPr>
          <a:xfrm>
            <a:off x="8030983" y="5915906"/>
            <a:ext cx="1921816" cy="153888"/>
            <a:chOff x="4292591" y="1979234"/>
            <a:chExt cx="1224306" cy="153888"/>
          </a:xfrm>
        </p:grpSpPr>
        <p:cxnSp>
          <p:nvCxnSpPr>
            <p:cNvPr id="40" name="Straight Connector 89">
              <a:extLst>
                <a:ext uri="{FF2B5EF4-FFF2-40B4-BE49-F238E27FC236}">
                  <a16:creationId xmlns:a16="http://schemas.microsoft.com/office/drawing/2014/main" id="{BE13C273-3426-481B-80BE-345B27C0F0CE}"/>
                </a:ext>
              </a:extLst>
            </p:cNvPr>
            <p:cNvCxnSpPr>
              <a:cxnSpLocks/>
            </p:cNvCxnSpPr>
            <p:nvPr/>
          </p:nvCxnSpPr>
          <p:spPr bwMode="auto">
            <a:xfrm>
              <a:off x="4292591" y="2070719"/>
              <a:ext cx="207892" cy="0"/>
            </a:xfrm>
            <a:prstGeom prst="line">
              <a:avLst/>
            </a:prstGeom>
            <a:solidFill>
              <a:schemeClr val="bg1"/>
            </a:solidFill>
            <a:ln w="88900" cap="flat" cmpd="sng" algn="ctr">
              <a:solidFill>
                <a:srgbClr val="E9F5EC"/>
              </a:solidFill>
              <a:prstDash val="solid"/>
              <a:round/>
              <a:headEnd type="none" w="med" len="med"/>
              <a:tailEnd type="none" w="med" len="med"/>
            </a:ln>
            <a:effectLst/>
          </p:spPr>
        </p:cxnSp>
        <p:sp>
          <p:nvSpPr>
            <p:cNvPr id="41" name="TextBox 90">
              <a:extLst>
                <a:ext uri="{FF2B5EF4-FFF2-40B4-BE49-F238E27FC236}">
                  <a16:creationId xmlns:a16="http://schemas.microsoft.com/office/drawing/2014/main" id="{BAAC0DF8-8716-4AB0-AE9E-B5A580540BE2}"/>
                </a:ext>
              </a:extLst>
            </p:cNvPr>
            <p:cNvSpPr txBox="1"/>
            <p:nvPr/>
          </p:nvSpPr>
          <p:spPr>
            <a:xfrm>
              <a:off x="4575933" y="1979234"/>
              <a:ext cx="940964" cy="153888"/>
            </a:xfrm>
            <a:prstGeom prst="rect">
              <a:avLst/>
            </a:prstGeom>
            <a:noFill/>
          </p:spPr>
          <p:txBody>
            <a:bodyPr wrap="square" lIns="0" tIns="0" rIns="0" bIns="0" rtlCol="0">
              <a:spAutoFit/>
            </a:bodyPr>
            <a:lstStyle/>
            <a:p>
              <a:r>
                <a:rPr lang="en-GB" sz="1000" err="1">
                  <a:latin typeface="+mj-lt"/>
                </a:rPr>
                <a:t>DNBi</a:t>
              </a:r>
              <a:endParaRPr lang="en-GB" sz="1000">
                <a:latin typeface="+mj-lt"/>
              </a:endParaRPr>
            </a:p>
          </p:txBody>
        </p:sp>
      </p:grpSp>
      <p:grpSp>
        <p:nvGrpSpPr>
          <p:cNvPr id="24" name="Group 23">
            <a:extLst>
              <a:ext uri="{FF2B5EF4-FFF2-40B4-BE49-F238E27FC236}">
                <a16:creationId xmlns:a16="http://schemas.microsoft.com/office/drawing/2014/main" id="{CA8EB2D9-CF9B-4B09-AA2A-81CF2357EB58}"/>
              </a:ext>
            </a:extLst>
          </p:cNvPr>
          <p:cNvGrpSpPr/>
          <p:nvPr/>
        </p:nvGrpSpPr>
        <p:grpSpPr>
          <a:xfrm>
            <a:off x="8030983" y="6147297"/>
            <a:ext cx="1761956" cy="153888"/>
            <a:chOff x="8030983" y="5573260"/>
            <a:chExt cx="1761956" cy="153888"/>
          </a:xfrm>
        </p:grpSpPr>
        <p:cxnSp>
          <p:nvCxnSpPr>
            <p:cNvPr id="54" name="Straight Connector 68">
              <a:extLst>
                <a:ext uri="{FF2B5EF4-FFF2-40B4-BE49-F238E27FC236}">
                  <a16:creationId xmlns:a16="http://schemas.microsoft.com/office/drawing/2014/main" id="{92F21C2D-ACB6-46B5-ACEB-A5938AA455A3}"/>
                </a:ext>
              </a:extLst>
            </p:cNvPr>
            <p:cNvCxnSpPr>
              <a:cxnSpLocks/>
            </p:cNvCxnSpPr>
            <p:nvPr/>
          </p:nvCxnSpPr>
          <p:spPr bwMode="auto">
            <a:xfrm>
              <a:off x="8030983" y="5650204"/>
              <a:ext cx="326332" cy="0"/>
            </a:xfrm>
            <a:prstGeom prst="line">
              <a:avLst/>
            </a:prstGeom>
            <a:solidFill>
              <a:schemeClr val="bg1"/>
            </a:solidFill>
            <a:ln w="38100" cap="flat" cmpd="sng" algn="ctr">
              <a:solidFill>
                <a:schemeClr val="tx1"/>
              </a:solidFill>
              <a:prstDash val="solid"/>
              <a:round/>
              <a:headEnd type="none" w="med" len="med"/>
              <a:tailEnd type="none" w="med" len="med"/>
            </a:ln>
            <a:effectLst/>
          </p:spPr>
        </p:cxnSp>
        <p:sp>
          <p:nvSpPr>
            <p:cNvPr id="59" name="TextBox 69">
              <a:extLst>
                <a:ext uri="{FF2B5EF4-FFF2-40B4-BE49-F238E27FC236}">
                  <a16:creationId xmlns:a16="http://schemas.microsoft.com/office/drawing/2014/main" id="{63CA983E-7BD5-4F35-A402-796E11C540E1}"/>
                </a:ext>
              </a:extLst>
            </p:cNvPr>
            <p:cNvSpPr txBox="1"/>
            <p:nvPr/>
          </p:nvSpPr>
          <p:spPr>
            <a:xfrm>
              <a:off x="8474353" y="5573260"/>
              <a:ext cx="1318586" cy="153888"/>
            </a:xfrm>
            <a:prstGeom prst="rect">
              <a:avLst/>
            </a:prstGeom>
            <a:noFill/>
          </p:spPr>
          <p:txBody>
            <a:bodyPr wrap="square" lIns="0" tIns="0" rIns="0" bIns="0" rtlCol="0">
              <a:spAutoFit/>
            </a:bodyPr>
            <a:lstStyle/>
            <a:p>
              <a:r>
                <a:rPr lang="en-GB" sz="1000">
                  <a:latin typeface="+mj-lt"/>
                </a:rPr>
                <a:t>Total ARPU</a:t>
              </a:r>
            </a:p>
          </p:txBody>
        </p:sp>
      </p:grpSp>
      <p:sp>
        <p:nvSpPr>
          <p:cNvPr id="68" name="Rectangle 67">
            <a:extLst>
              <a:ext uri="{FF2B5EF4-FFF2-40B4-BE49-F238E27FC236}">
                <a16:creationId xmlns:a16="http://schemas.microsoft.com/office/drawing/2014/main" id="{E453CFA4-F568-411F-9677-654351120C36}"/>
              </a:ext>
            </a:extLst>
          </p:cNvPr>
          <p:cNvSpPr/>
          <p:nvPr/>
        </p:nvSpPr>
        <p:spPr bwMode="auto">
          <a:xfrm>
            <a:off x="4811906" y="3909261"/>
            <a:ext cx="2742114" cy="280416"/>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a:t>
            </a:r>
            <a:r>
              <a:rPr lang="en-GB" sz="1000" b="1" i="1" err="1">
                <a:latin typeface="Trebuchet MS" panose="020B0603020202020204" pitchFamily="34" charset="0"/>
              </a:rPr>
              <a:t>nb</a:t>
            </a:r>
            <a:r>
              <a:rPr lang="en-GB" sz="1000" b="1" i="1">
                <a:latin typeface="Trebuchet MS" panose="020B0603020202020204" pitchFamily="34" charset="0"/>
              </a:rPr>
              <a:t> of clients and ARPU in Benelux for Credit &amp; financial risk products</a:t>
            </a:r>
            <a:endParaRPr kumimoji="0" lang="en-GB" sz="1000" b="1" i="1" u="none" strike="noStrike" kern="1200" cap="none" spc="0" normalizeH="0" baseline="0" noProof="0">
              <a:ln>
                <a:noFill/>
              </a:ln>
              <a:effectLst/>
              <a:uLnTx/>
              <a:uFillTx/>
              <a:latin typeface="Trebuchet MS" panose="020B0603020202020204" pitchFamily="34" charset="0"/>
            </a:endParaRPr>
          </a:p>
        </p:txBody>
      </p:sp>
      <p:graphicFrame>
        <p:nvGraphicFramePr>
          <p:cNvPr id="69" name="Chart 68">
            <a:extLst>
              <a:ext uri="{FF2B5EF4-FFF2-40B4-BE49-F238E27FC236}">
                <a16:creationId xmlns:a16="http://schemas.microsoft.com/office/drawing/2014/main" id="{C72FD512-ACEE-406D-8E3F-A71E5C093D55}"/>
              </a:ext>
            </a:extLst>
          </p:cNvPr>
          <p:cNvGraphicFramePr/>
          <p:nvPr>
            <p:extLst>
              <p:ext uri="{D42A27DB-BD31-4B8C-83A1-F6EECF244321}">
                <p14:modId xmlns:p14="http://schemas.microsoft.com/office/powerpoint/2010/main" val="1394493679"/>
              </p:ext>
            </p:extLst>
          </p:nvPr>
        </p:nvGraphicFramePr>
        <p:xfrm>
          <a:off x="332753" y="4193999"/>
          <a:ext cx="3096000" cy="2206505"/>
        </p:xfrm>
        <a:graphic>
          <a:graphicData uri="http://schemas.openxmlformats.org/drawingml/2006/chart">
            <c:chart xmlns:c="http://schemas.openxmlformats.org/drawingml/2006/chart" xmlns:r="http://schemas.openxmlformats.org/officeDocument/2006/relationships" r:id="rId17"/>
          </a:graphicData>
        </a:graphic>
      </p:graphicFrame>
      <p:sp>
        <p:nvSpPr>
          <p:cNvPr id="70" name="Rectangle 69">
            <a:extLst>
              <a:ext uri="{FF2B5EF4-FFF2-40B4-BE49-F238E27FC236}">
                <a16:creationId xmlns:a16="http://schemas.microsoft.com/office/drawing/2014/main" id="{963F2C6E-D916-472D-80A0-39A6BF67CCE7}"/>
              </a:ext>
            </a:extLst>
          </p:cNvPr>
          <p:cNvSpPr/>
          <p:nvPr/>
        </p:nvSpPr>
        <p:spPr bwMode="auto">
          <a:xfrm>
            <a:off x="686639" y="3904940"/>
            <a:ext cx="2742114" cy="280416"/>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a:t>
            </a:r>
            <a:r>
              <a:rPr lang="en-GB" sz="1000" b="1" i="1" err="1">
                <a:latin typeface="Trebuchet MS" panose="020B0603020202020204" pitchFamily="34" charset="0"/>
              </a:rPr>
              <a:t>nb</a:t>
            </a:r>
            <a:r>
              <a:rPr lang="en-GB" sz="1000" b="1" i="1">
                <a:latin typeface="Trebuchet MS" panose="020B0603020202020204" pitchFamily="34" charset="0"/>
              </a:rPr>
              <a:t> of clients and ARPU in France for Credit &amp; financial risk products</a:t>
            </a:r>
            <a:endParaRPr kumimoji="0" lang="en-GB" sz="1000" b="1" i="1" u="none" strike="noStrike" kern="1200" cap="none" spc="0" normalizeH="0" baseline="0" noProof="0">
              <a:ln>
                <a:noFill/>
              </a:ln>
              <a:effectLst/>
              <a:uLnTx/>
              <a:uFillTx/>
              <a:latin typeface="Trebuchet MS" panose="020B0603020202020204" pitchFamily="34" charset="0"/>
            </a:endParaRPr>
          </a:p>
        </p:txBody>
      </p:sp>
      <p:pic>
        <p:nvPicPr>
          <p:cNvPr id="71" name="Picture 2" descr="Drapeau France">
            <a:extLst>
              <a:ext uri="{FF2B5EF4-FFF2-40B4-BE49-F238E27FC236}">
                <a16:creationId xmlns:a16="http://schemas.microsoft.com/office/drawing/2014/main" id="{8260EFC0-9CFC-44E0-88FA-F7A304657AA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332753" y="138470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72" name="Picture 2" descr="Drapeau France">
            <a:extLst>
              <a:ext uri="{FF2B5EF4-FFF2-40B4-BE49-F238E27FC236}">
                <a16:creationId xmlns:a16="http://schemas.microsoft.com/office/drawing/2014/main" id="{8C1500FB-9527-4235-8EEE-F08C03A6B165}"/>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332753" y="3991148"/>
            <a:ext cx="180002" cy="108000"/>
          </a:xfrm>
          <a:prstGeom prst="rect">
            <a:avLst/>
          </a:prstGeom>
          <a:solidFill>
            <a:schemeClr val="bg1"/>
          </a:solidFill>
          <a:ln w="9525" cap="flat" cmpd="sng" algn="ctr">
            <a:noFill/>
            <a:prstDash val="solid"/>
            <a:round/>
            <a:headEnd type="none" w="med" len="med"/>
            <a:tailEnd type="none" w="med" len="med"/>
          </a:ln>
          <a:effectLst/>
        </p:spPr>
      </p:pic>
      <p:grpSp>
        <p:nvGrpSpPr>
          <p:cNvPr id="33" name="Group 32">
            <a:extLst>
              <a:ext uri="{FF2B5EF4-FFF2-40B4-BE49-F238E27FC236}">
                <a16:creationId xmlns:a16="http://schemas.microsoft.com/office/drawing/2014/main" id="{B9E6D329-BA5F-4F54-B985-72D1F35AA1EE}"/>
              </a:ext>
            </a:extLst>
          </p:cNvPr>
          <p:cNvGrpSpPr/>
          <p:nvPr/>
        </p:nvGrpSpPr>
        <p:grpSpPr>
          <a:xfrm>
            <a:off x="4469225" y="1299802"/>
            <a:ext cx="180002" cy="265123"/>
            <a:chOff x="5521907" y="942942"/>
            <a:chExt cx="180002" cy="388166"/>
          </a:xfrm>
        </p:grpSpPr>
        <p:pic>
          <p:nvPicPr>
            <p:cNvPr id="73" name="Picture 2" descr="5 ft x 3 ft 150 x 90 cm-DRAPEAU BELGE Belgique 100% Polyester ...">
              <a:extLst>
                <a:ext uri="{FF2B5EF4-FFF2-40B4-BE49-F238E27FC236}">
                  <a16:creationId xmlns:a16="http://schemas.microsoft.com/office/drawing/2014/main" id="{57C99A94-172B-48EB-AB63-E2690C331989}"/>
                </a:ext>
              </a:extLst>
            </p:cNvPr>
            <p:cNvPicPr>
              <a:picLocks noChangeArrowheads="1"/>
            </p:cNvPicPr>
            <p:nvPr/>
          </p:nvPicPr>
          <p:blipFill rotWithShape="1">
            <a:blip r:embed="rId18">
              <a:extLst>
                <a:ext uri="{28A0092B-C50C-407E-A947-70E740481C1C}">
                  <a14:useLocalDpi xmlns:a14="http://schemas.microsoft.com/office/drawing/2010/main" val="0"/>
                </a:ext>
              </a:extLst>
            </a:blip>
            <a:srcRect l="3973"/>
            <a:stretch/>
          </p:blipFill>
          <p:spPr bwMode="auto">
            <a:xfrm>
              <a:off x="5522323" y="108302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4" name="Picture 2 - 1" descr="Drapeau des Pays-Bas — Wikipédia">
              <a:extLst>
                <a:ext uri="{FF2B5EF4-FFF2-40B4-BE49-F238E27FC236}">
                  <a16:creationId xmlns:a16="http://schemas.microsoft.com/office/drawing/2014/main" id="{26130A82-6443-4397-8E6F-3751B4C86733}"/>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522323" y="942942"/>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5" name="Picture 2 - 2" descr="Drapeau du Luxembourg">
              <a:extLst>
                <a:ext uri="{FF2B5EF4-FFF2-40B4-BE49-F238E27FC236}">
                  <a16:creationId xmlns:a16="http://schemas.microsoft.com/office/drawing/2014/main" id="{485AA73C-06D1-4198-BD3B-33F8215D11EF}"/>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907" y="1223108"/>
              <a:ext cx="180002" cy="108000"/>
            </a:xfrm>
            <a:prstGeom prst="rect">
              <a:avLst/>
            </a:prstGeom>
            <a:solidFill>
              <a:schemeClr val="bg1"/>
            </a:solidFill>
            <a:ln w="9525" cap="flat" cmpd="sng" algn="ctr">
              <a:noFill/>
              <a:prstDash val="solid"/>
              <a:round/>
              <a:headEnd type="none" w="med" len="med"/>
              <a:tailEnd type="none" w="med" len="med"/>
            </a:ln>
            <a:effectLst/>
          </p:spPr>
        </p:pic>
      </p:grpSp>
      <p:grpSp>
        <p:nvGrpSpPr>
          <p:cNvPr id="76" name="Group 75">
            <a:extLst>
              <a:ext uri="{FF2B5EF4-FFF2-40B4-BE49-F238E27FC236}">
                <a16:creationId xmlns:a16="http://schemas.microsoft.com/office/drawing/2014/main" id="{A1366D42-8B57-4317-AB35-95FE38C560A6}"/>
              </a:ext>
            </a:extLst>
          </p:cNvPr>
          <p:cNvGrpSpPr/>
          <p:nvPr/>
        </p:nvGrpSpPr>
        <p:grpSpPr>
          <a:xfrm>
            <a:off x="4469225" y="3916908"/>
            <a:ext cx="180002" cy="265123"/>
            <a:chOff x="5521907" y="942942"/>
            <a:chExt cx="180002" cy="388166"/>
          </a:xfrm>
        </p:grpSpPr>
        <p:pic>
          <p:nvPicPr>
            <p:cNvPr id="77" name="Picture 2" descr="5 ft x 3 ft 150 x 90 cm-DRAPEAU BELGE Belgique 100% Polyester ...">
              <a:extLst>
                <a:ext uri="{FF2B5EF4-FFF2-40B4-BE49-F238E27FC236}">
                  <a16:creationId xmlns:a16="http://schemas.microsoft.com/office/drawing/2014/main" id="{8E88F527-B76C-4324-A7D5-ADE6C4C242C1}"/>
                </a:ext>
              </a:extLst>
            </p:cNvPr>
            <p:cNvPicPr>
              <a:picLocks noChangeArrowheads="1"/>
            </p:cNvPicPr>
            <p:nvPr/>
          </p:nvPicPr>
          <p:blipFill rotWithShape="1">
            <a:blip r:embed="rId18">
              <a:extLst>
                <a:ext uri="{28A0092B-C50C-407E-A947-70E740481C1C}">
                  <a14:useLocalDpi xmlns:a14="http://schemas.microsoft.com/office/drawing/2010/main" val="0"/>
                </a:ext>
              </a:extLst>
            </a:blip>
            <a:srcRect l="3973"/>
            <a:stretch/>
          </p:blipFill>
          <p:spPr bwMode="auto">
            <a:xfrm>
              <a:off x="5522323" y="108302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8" name="Picture 2 - 1" descr="Drapeau des Pays-Bas — Wikipédia">
              <a:extLst>
                <a:ext uri="{FF2B5EF4-FFF2-40B4-BE49-F238E27FC236}">
                  <a16:creationId xmlns:a16="http://schemas.microsoft.com/office/drawing/2014/main" id="{7D005227-9705-45B8-8B0A-7D91EEBF4B9F}"/>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522323" y="942942"/>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9" name="Picture 2 - 2" descr="Drapeau du Luxembourg">
              <a:extLst>
                <a:ext uri="{FF2B5EF4-FFF2-40B4-BE49-F238E27FC236}">
                  <a16:creationId xmlns:a16="http://schemas.microsoft.com/office/drawing/2014/main" id="{56E90942-9502-49F5-8F3C-711DEEAC428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907" y="1223108"/>
              <a:ext cx="180002" cy="108000"/>
            </a:xfrm>
            <a:prstGeom prst="rect">
              <a:avLst/>
            </a:prstGeom>
            <a:solidFill>
              <a:schemeClr val="bg1"/>
            </a:solidFill>
            <a:ln w="9525" cap="flat" cmpd="sng" algn="ctr">
              <a:noFill/>
              <a:prstDash val="solid"/>
              <a:round/>
              <a:headEnd type="none" w="med" len="med"/>
              <a:tailEnd type="none" w="med" len="med"/>
            </a:ln>
            <a:effectLst/>
          </p:spPr>
        </p:pic>
      </p:grpSp>
    </p:spTree>
    <p:extLst>
      <p:ext uri="{BB962C8B-B14F-4D97-AF65-F5344CB8AC3E}">
        <p14:creationId xmlns:p14="http://schemas.microsoft.com/office/powerpoint/2010/main" val="1289821407"/>
      </p:ext>
    </p:extLst>
  </p:cSld>
  <p:clrMapOvr>
    <a:masterClrMapping/>
  </p:clrMapOvr>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7ECA7587-5D4D-4C77-BC7A-FBCB26E9B679}"/>
              </a:ext>
            </a:extLst>
          </p:cNvPr>
          <p:cNvGraphicFramePr>
            <a:graphicFrameLocks noChangeAspect="1"/>
          </p:cNvGraphicFramePr>
          <p:nvPr>
            <p:custDataLst>
              <p:tags r:id="rId1"/>
            </p:custDataLst>
            <p:extLst>
              <p:ext uri="{D42A27DB-BD31-4B8C-83A1-F6EECF244321}">
                <p14:modId xmlns:p14="http://schemas.microsoft.com/office/powerpoint/2010/main" val="3370252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4" name="Objet 13" hidden="1">
                        <a:extLst>
                          <a:ext uri="{FF2B5EF4-FFF2-40B4-BE49-F238E27FC236}">
                            <a16:creationId xmlns:a16="http://schemas.microsoft.com/office/drawing/2014/main" id="{7ECA7587-5D4D-4C77-BC7A-FBCB26E9B6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D7D998A4-C0A2-4344-97DF-ADA1A0B203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1D825224-5426-45FB-95E4-C5F4C82DBF4A}"/>
              </a:ext>
            </a:extLst>
          </p:cNvPr>
          <p:cNvSpPr>
            <a:spLocks noGrp="1"/>
          </p:cNvSpPr>
          <p:nvPr>
            <p:ph type="title"/>
          </p:nvPr>
        </p:nvSpPr>
        <p:spPr>
          <a:xfrm>
            <a:off x="630614" y="147600"/>
            <a:ext cx="7923150" cy="684000"/>
          </a:xfrm>
        </p:spPr>
        <p:txBody>
          <a:bodyPr/>
          <a:lstStyle/>
          <a:p>
            <a:r>
              <a:rPr lang="en-GB" sz="1600">
                <a:latin typeface="Trebuchet MS" pitchFamily="34" charset="0"/>
              </a:rPr>
              <a:t>… and </a:t>
            </a:r>
            <a:r>
              <a:rPr lang="en-GB" sz="1600">
                <a:solidFill>
                  <a:schemeClr val="tx2"/>
                </a:solidFill>
                <a:latin typeface="Trebuchet MS" pitchFamily="34" charset="0"/>
              </a:rPr>
              <a:t>relaunching investment </a:t>
            </a:r>
            <a:r>
              <a:rPr lang="en-GB" sz="1600">
                <a:latin typeface="Trebuchet MS" pitchFamily="34" charset="0"/>
              </a:rPr>
              <a:t>on key products such as </a:t>
            </a:r>
            <a:r>
              <a:rPr lang="en-GB" sz="1600" err="1">
                <a:latin typeface="Trebuchet MS" pitchFamily="34" charset="0"/>
              </a:rPr>
              <a:t>intuiz</a:t>
            </a:r>
            <a:r>
              <a:rPr lang="en-GB" sz="1600">
                <a:latin typeface="Trebuchet MS" pitchFamily="34" charset="0"/>
              </a:rPr>
              <a:t>+ </a:t>
            </a:r>
            <a:endParaRPr lang="en-GB"/>
          </a:p>
        </p:txBody>
      </p:sp>
      <p:sp>
        <p:nvSpPr>
          <p:cNvPr id="3" name="Espace réservé du texte 2">
            <a:extLst>
              <a:ext uri="{FF2B5EF4-FFF2-40B4-BE49-F238E27FC236}">
                <a16:creationId xmlns:a16="http://schemas.microsoft.com/office/drawing/2014/main" id="{E5010DA3-233A-4C0B-9142-F7481F6191F9}"/>
              </a:ext>
            </a:extLst>
          </p:cNvPr>
          <p:cNvSpPr>
            <a:spLocks noGrp="1"/>
          </p:cNvSpPr>
          <p:nvPr>
            <p:ph type="body" sz="quarter" idx="10"/>
          </p:nvPr>
        </p:nvSpPr>
        <p:spPr/>
        <p:txBody>
          <a:bodyPr/>
          <a:lstStyle/>
          <a:p>
            <a:r>
              <a:rPr lang="en-GB"/>
              <a:t>Sources: eleven research &amp; analysis, company data, interviews with management</a:t>
            </a:r>
          </a:p>
        </p:txBody>
      </p:sp>
      <p:grpSp>
        <p:nvGrpSpPr>
          <p:cNvPr id="4" name="Groupe 3">
            <a:extLst>
              <a:ext uri="{FF2B5EF4-FFF2-40B4-BE49-F238E27FC236}">
                <a16:creationId xmlns:a16="http://schemas.microsoft.com/office/drawing/2014/main" id="{D034E7ED-A782-44E2-8847-1B05AD8B0822}"/>
              </a:ext>
            </a:extLst>
          </p:cNvPr>
          <p:cNvGrpSpPr/>
          <p:nvPr/>
        </p:nvGrpSpPr>
        <p:grpSpPr>
          <a:xfrm>
            <a:off x="8448150" y="-11528"/>
            <a:ext cx="1435548" cy="588143"/>
            <a:chOff x="8448150" y="-11528"/>
            <a:chExt cx="1435548" cy="588143"/>
          </a:xfrm>
        </p:grpSpPr>
        <p:sp>
          <p:nvSpPr>
            <p:cNvPr id="5" name="Rectangle : coins arrondis 199">
              <a:extLst>
                <a:ext uri="{FF2B5EF4-FFF2-40B4-BE49-F238E27FC236}">
                  <a16:creationId xmlns:a16="http://schemas.microsoft.com/office/drawing/2014/main" id="{29D997DC-0DA8-4DA4-89F2-4DBD2D59A052}"/>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 name="Rectangle : coins arrondis 200">
              <a:extLst>
                <a:ext uri="{FF2B5EF4-FFF2-40B4-BE49-F238E27FC236}">
                  <a16:creationId xmlns:a16="http://schemas.microsoft.com/office/drawing/2014/main" id="{4409088A-28BB-4727-A153-86FAD7EB84FC}"/>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 name="Rectangle : coins arrondis 201">
              <a:extLst>
                <a:ext uri="{FF2B5EF4-FFF2-40B4-BE49-F238E27FC236}">
                  <a16:creationId xmlns:a16="http://schemas.microsoft.com/office/drawing/2014/main" id="{0685641D-9463-4A9F-842A-5FD43CB54C3D}"/>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 name="ZoneTexte 18">
              <a:extLst>
                <a:ext uri="{FF2B5EF4-FFF2-40B4-BE49-F238E27FC236}">
                  <a16:creationId xmlns:a16="http://schemas.microsoft.com/office/drawing/2014/main" id="{C057BD74-C78B-4AC3-94E8-18486BF32FD1}"/>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9" name="Graphique 128" descr="Jauge">
              <a:extLst>
                <a:ext uri="{FF2B5EF4-FFF2-40B4-BE49-F238E27FC236}">
                  <a16:creationId xmlns:a16="http://schemas.microsoft.com/office/drawing/2014/main" id="{BA357842-B228-4D60-B793-F479A38BC64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0" name="Graphique 90" descr="Poignée de main">
              <a:extLst>
                <a:ext uri="{FF2B5EF4-FFF2-40B4-BE49-F238E27FC236}">
                  <a16:creationId xmlns:a16="http://schemas.microsoft.com/office/drawing/2014/main" id="{21DEDB98-032A-4CD4-8663-B73BE8C22E6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11" name="Graphique 74" descr="Mégaphone">
              <a:extLst>
                <a:ext uri="{FF2B5EF4-FFF2-40B4-BE49-F238E27FC236}">
                  <a16:creationId xmlns:a16="http://schemas.microsoft.com/office/drawing/2014/main" id="{76C3F3EF-AA11-499C-9D5E-7870451E9DD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12" name="Picture 2" descr="Drapeau France">
              <a:extLst>
                <a:ext uri="{FF2B5EF4-FFF2-40B4-BE49-F238E27FC236}">
                  <a16:creationId xmlns:a16="http://schemas.microsoft.com/office/drawing/2014/main" id="{08E8FCC3-B27B-4CAF-998D-48B67544D5A3}"/>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3" name="ZoneTexte 12">
              <a:extLst>
                <a:ext uri="{FF2B5EF4-FFF2-40B4-BE49-F238E27FC236}">
                  <a16:creationId xmlns:a16="http://schemas.microsoft.com/office/drawing/2014/main" id="{58290E5D-BAFF-46AF-A116-D469701951CF}"/>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grpSp>
        <p:nvGrpSpPr>
          <p:cNvPr id="15" name="Groupe 14">
            <a:extLst>
              <a:ext uri="{FF2B5EF4-FFF2-40B4-BE49-F238E27FC236}">
                <a16:creationId xmlns:a16="http://schemas.microsoft.com/office/drawing/2014/main" id="{C88EAA25-C61C-4E24-AB02-2694B4B3F4B9}"/>
              </a:ext>
            </a:extLst>
          </p:cNvPr>
          <p:cNvGrpSpPr/>
          <p:nvPr/>
        </p:nvGrpSpPr>
        <p:grpSpPr>
          <a:xfrm>
            <a:off x="362696" y="193605"/>
            <a:ext cx="222565" cy="277000"/>
            <a:chOff x="3409503" y="1194238"/>
            <a:chExt cx="269305" cy="368686"/>
          </a:xfrm>
        </p:grpSpPr>
        <p:sp>
          <p:nvSpPr>
            <p:cNvPr id="16" name="Ellipse 15">
              <a:extLst>
                <a:ext uri="{FF2B5EF4-FFF2-40B4-BE49-F238E27FC236}">
                  <a16:creationId xmlns:a16="http://schemas.microsoft.com/office/drawing/2014/main" id="{C559AF43-BD4F-4D4D-B32D-CC291C49FEA2}"/>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7" name="ZoneTexte 16">
              <a:extLst>
                <a:ext uri="{FF2B5EF4-FFF2-40B4-BE49-F238E27FC236}">
                  <a16:creationId xmlns:a16="http://schemas.microsoft.com/office/drawing/2014/main" id="{85D65150-60A3-4C47-88CD-107E3DDF8567}"/>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1</a:t>
              </a:r>
            </a:p>
          </p:txBody>
        </p:sp>
      </p:grpSp>
      <p:sp>
        <p:nvSpPr>
          <p:cNvPr id="18" name="Rectangle 17">
            <a:extLst>
              <a:ext uri="{FF2B5EF4-FFF2-40B4-BE49-F238E27FC236}">
                <a16:creationId xmlns:a16="http://schemas.microsoft.com/office/drawing/2014/main" id="{FF2A3E71-F790-43F9-895F-DA4FB88A640C}"/>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A</a:t>
            </a:r>
          </a:p>
        </p:txBody>
      </p:sp>
      <p:sp>
        <p:nvSpPr>
          <p:cNvPr id="19" name="Rectangle 18">
            <a:extLst>
              <a:ext uri="{FF2B5EF4-FFF2-40B4-BE49-F238E27FC236}">
                <a16:creationId xmlns:a16="http://schemas.microsoft.com/office/drawing/2014/main" id="{02B34D9D-CAB9-4FC1-90D5-197DB49855F0}"/>
              </a:ext>
            </a:extLst>
          </p:cNvPr>
          <p:cNvSpPr/>
          <p:nvPr/>
        </p:nvSpPr>
        <p:spPr bwMode="auto">
          <a:xfrm>
            <a:off x="141716" y="1265382"/>
            <a:ext cx="6822502" cy="51622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 name="Rectangle 20">
            <a:extLst>
              <a:ext uri="{FF2B5EF4-FFF2-40B4-BE49-F238E27FC236}">
                <a16:creationId xmlns:a16="http://schemas.microsoft.com/office/drawing/2014/main" id="{F639CB13-89E0-4076-8B02-146C16F07D20}"/>
              </a:ext>
            </a:extLst>
          </p:cNvPr>
          <p:cNvSpPr/>
          <p:nvPr/>
        </p:nvSpPr>
        <p:spPr bwMode="auto">
          <a:xfrm>
            <a:off x="6996994" y="1232547"/>
            <a:ext cx="2796703" cy="516224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nSpc>
                <a:spcPct val="107000"/>
              </a:lnSpc>
              <a:spcAft>
                <a:spcPts val="0"/>
              </a:spcAft>
            </a:pPr>
            <a:r>
              <a:rPr lang="en-GB" sz="1000" dirty="0">
                <a:latin typeface="Trebuchet MS" pitchFamily="34" charset="0"/>
              </a:rPr>
              <a:t>Relaunch of investment on key products such as </a:t>
            </a:r>
            <a:r>
              <a:rPr lang="en-GB" sz="1000" dirty="0" err="1">
                <a:latin typeface="Trebuchet MS" pitchFamily="34" charset="0"/>
              </a:rPr>
              <a:t>intuiz</a:t>
            </a:r>
            <a:r>
              <a:rPr lang="en-GB" sz="1000" dirty="0">
                <a:latin typeface="Trebuchet MS" pitchFamily="34" charset="0"/>
              </a:rPr>
              <a:t>+:</a:t>
            </a:r>
            <a:endParaRPr lang="en-GB" sz="1000" dirty="0">
              <a:effectLst/>
              <a:latin typeface="Trebuchet MS" panose="020B0603020202020204" pitchFamily="34" charset="0"/>
              <a:ea typeface="Calibri" panose="020F0502020204030204" pitchFamily="34" charset="0"/>
              <a:cs typeface="Arial" panose="020B0604020202020204" pitchFamily="34" charset="0"/>
            </a:endParaRPr>
          </a:p>
          <a:p>
            <a:pPr marL="342900" lvl="0" indent="-342900">
              <a:lnSpc>
                <a:spcPct val="107000"/>
              </a:lnSpc>
              <a:spcAft>
                <a:spcPts val="0"/>
              </a:spcAft>
              <a:buFont typeface="+mj-lt"/>
              <a:buAutoNum type="arabicPeriod"/>
            </a:pPr>
            <a:r>
              <a:rPr lang="en-GB" sz="1000" dirty="0">
                <a:effectLst/>
                <a:latin typeface="Trebuchet MS" panose="020B0603020202020204" pitchFamily="34" charset="0"/>
                <a:ea typeface="Calibri" panose="020F0502020204030204" pitchFamily="34" charset="0"/>
                <a:cs typeface="Arial" panose="020B0604020202020204" pitchFamily="34" charset="0"/>
              </a:rPr>
              <a:t>Stop of the </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decline of </a:t>
            </a:r>
            <a:r>
              <a:rPr lang="en-GB" sz="1000" dirty="0" err="1">
                <a:solidFill>
                  <a:schemeClr val="tx2"/>
                </a:solidFill>
                <a:effectLst/>
                <a:latin typeface="Trebuchet MS" panose="020B0603020202020204" pitchFamily="34" charset="0"/>
                <a:ea typeface="Calibri" panose="020F0502020204030204" pitchFamily="34" charset="0"/>
                <a:cs typeface="Arial" panose="020B0604020202020204" pitchFamily="34" charset="0"/>
              </a:rPr>
              <a:t>intuiz</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 sales </a:t>
            </a:r>
            <a:r>
              <a:rPr lang="en-GB" sz="1000" dirty="0">
                <a:effectLst/>
                <a:latin typeface="Trebuchet MS" panose="020B0603020202020204" pitchFamily="34" charset="0"/>
                <a:ea typeface="Calibri" panose="020F0502020204030204" pitchFamily="34" charset="0"/>
                <a:cs typeface="Arial" panose="020B0604020202020204" pitchFamily="34" charset="0"/>
              </a:rPr>
              <a:t>(decreasing since 2016 and increasing since 2019) with reinvestment in </a:t>
            </a:r>
            <a:r>
              <a:rPr lang="en-GB" sz="1000" dirty="0" err="1">
                <a:effectLst/>
                <a:latin typeface="Trebuchet MS" panose="020B0603020202020204" pitchFamily="34" charset="0"/>
                <a:ea typeface="Calibri" panose="020F0502020204030204" pitchFamily="34" charset="0"/>
                <a:cs typeface="Arial" panose="020B0604020202020204" pitchFamily="34" charset="0"/>
              </a:rPr>
              <a:t>intuiz</a:t>
            </a:r>
            <a:r>
              <a:rPr lang="en-GB" sz="1000" dirty="0">
                <a:effectLst/>
                <a:latin typeface="Trebuchet MS" panose="020B0603020202020204" pitchFamily="34" charset="0"/>
                <a:ea typeface="Calibri" panose="020F0502020204030204" pitchFamily="34" charset="0"/>
                <a:cs typeface="Arial" panose="020B0604020202020204" pitchFamily="34" charset="0"/>
              </a:rPr>
              <a:t>+ (recruitment of a product manager in 2018) from 2018 to </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catch-up with the market standards and strengthen </a:t>
            </a:r>
            <a:r>
              <a:rPr lang="en-GB" sz="1000" dirty="0" err="1">
                <a:solidFill>
                  <a:schemeClr val="tx2"/>
                </a:solidFill>
                <a:effectLst/>
                <a:latin typeface="Trebuchet MS" panose="020B0603020202020204" pitchFamily="34" charset="0"/>
                <a:ea typeface="Calibri" panose="020F0502020204030204" pitchFamily="34" charset="0"/>
                <a:cs typeface="Arial" panose="020B0604020202020204" pitchFamily="34" charset="0"/>
              </a:rPr>
              <a:t>Altares</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 positioning as premium player</a:t>
            </a:r>
            <a:r>
              <a:rPr lang="en-GB" sz="1000" dirty="0">
                <a:effectLst/>
                <a:latin typeface="Trebuchet MS" panose="020B0603020202020204" pitchFamily="34" charset="0"/>
                <a:ea typeface="Calibri" panose="020F0502020204030204" pitchFamily="34" charset="0"/>
                <a:cs typeface="Arial" panose="020B0604020202020204" pitchFamily="34" charset="0"/>
              </a:rPr>
              <a:t>, i.e. development of new functionalities that are now must-have on the market (e.g. decision tree)</a:t>
            </a:r>
          </a:p>
          <a:p>
            <a:pPr marL="342900" lvl="0" indent="-342900">
              <a:lnSpc>
                <a:spcPct val="107000"/>
              </a:lnSpc>
              <a:spcAft>
                <a:spcPts val="0"/>
              </a:spcAft>
              <a:buFont typeface="+mj-lt"/>
              <a:buAutoNum type="arabicPeriod"/>
            </a:pPr>
            <a:endParaRPr lang="en-GB" sz="1000" dirty="0">
              <a:effectLst/>
              <a:latin typeface="Trebuchet MS" panose="020B0603020202020204" pitchFamily="34" charset="0"/>
              <a:ea typeface="Calibri" panose="020F0502020204030204" pitchFamily="34" charset="0"/>
              <a:cs typeface="Arial" panose="020B0604020202020204" pitchFamily="34" charset="0"/>
            </a:endParaRPr>
          </a:p>
          <a:p>
            <a:pPr marL="342900" indent="-342900">
              <a:lnSpc>
                <a:spcPct val="107000"/>
              </a:lnSpc>
              <a:spcAft>
                <a:spcPts val="0"/>
              </a:spcAft>
              <a:buFont typeface="+mj-lt"/>
              <a:buAutoNum type="arabicPeriod"/>
            </a:pPr>
            <a:r>
              <a:rPr lang="en-GB" sz="1000" dirty="0">
                <a:effectLst/>
                <a:latin typeface="Trebuchet MS" panose="020B0603020202020204" pitchFamily="34" charset="0"/>
                <a:ea typeface="Calibri" panose="020F0502020204030204" pitchFamily="34" charset="0"/>
                <a:cs typeface="Arial" panose="020B0604020202020204" pitchFamily="34" charset="0"/>
              </a:rPr>
              <a:t>Integration of </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new technology-based add-ons </a:t>
            </a:r>
            <a:r>
              <a:rPr lang="en-GB" sz="1000" i="1" dirty="0">
                <a:solidFill>
                  <a:schemeClr val="accent1"/>
                </a:solidFill>
                <a:effectLst/>
                <a:latin typeface="Trebuchet MS" panose="020B0603020202020204" pitchFamily="34" charset="0"/>
                <a:ea typeface="Calibri" panose="020F0502020204030204" pitchFamily="34" charset="0"/>
                <a:cs typeface="Arial" panose="020B0604020202020204" pitchFamily="34" charset="0"/>
              </a:rPr>
              <a:t>(</a:t>
            </a:r>
            <a:r>
              <a:rPr lang="en-GB" sz="1000" i="1" dirty="0">
                <a:solidFill>
                  <a:schemeClr val="accent1"/>
                </a:solidFill>
                <a:latin typeface="Trebuchet MS" panose="020B0603020202020204" pitchFamily="34" charset="0"/>
                <a:ea typeface="Calibri" panose="020F0502020204030204" pitchFamily="34" charset="0"/>
              </a:rPr>
              <a:t>see</a:t>
            </a:r>
            <a:r>
              <a:rPr lang="en-GB" sz="1000" i="1" dirty="0">
                <a:solidFill>
                  <a:schemeClr val="accent1"/>
                </a:solidFill>
                <a:effectLst/>
                <a:latin typeface="Trebuchet MS" panose="020B0603020202020204" pitchFamily="34" charset="0"/>
                <a:ea typeface="Calibri" panose="020F0502020204030204" pitchFamily="34" charset="0"/>
                <a:cs typeface="Arial" panose="020B0604020202020204" pitchFamily="34" charset="0"/>
              </a:rPr>
              <a:t> </a:t>
            </a:r>
            <a:r>
              <a:rPr lang="en-GB" sz="1000" i="1" dirty="0" err="1">
                <a:solidFill>
                  <a:schemeClr val="accent1"/>
                </a:solidFill>
                <a:effectLst/>
                <a:latin typeface="Trebuchet MS" panose="020B0603020202020204" pitchFamily="34" charset="0"/>
                <a:ea typeface="Calibri" panose="020F0502020204030204" pitchFamily="34" charset="0"/>
                <a:cs typeface="Arial" panose="020B0604020202020204" pitchFamily="34" charset="0"/>
              </a:rPr>
              <a:t>intuiz</a:t>
            </a:r>
            <a:r>
              <a:rPr lang="en-GB" sz="1000" i="1" dirty="0">
                <a:solidFill>
                  <a:schemeClr val="accent1"/>
                </a:solidFill>
                <a:effectLst/>
                <a:latin typeface="Trebuchet MS" panose="020B0603020202020204" pitchFamily="34" charset="0"/>
                <a:ea typeface="Calibri" panose="020F0502020204030204" pitchFamily="34" charset="0"/>
                <a:cs typeface="Arial" panose="020B0604020202020204" pitchFamily="34" charset="0"/>
              </a:rPr>
              <a:t>+ roadmap page</a:t>
            </a:r>
            <a:r>
              <a:rPr lang="en-GB" sz="1000" i="1" dirty="0">
                <a:solidFill>
                  <a:schemeClr val="accent1"/>
                </a:solidFill>
                <a:latin typeface="Trebuchet MS" panose="020B0603020202020204" pitchFamily="34" charset="0"/>
                <a:ea typeface="Calibri" panose="020F0502020204030204" pitchFamily="34" charset="0"/>
              </a:rPr>
              <a:t>122</a:t>
            </a:r>
            <a:r>
              <a:rPr lang="en-GB" sz="1000" i="1" dirty="0">
                <a:solidFill>
                  <a:schemeClr val="accent1"/>
                </a:solidFill>
                <a:effectLst/>
                <a:latin typeface="Trebuchet MS" panose="020B0603020202020204" pitchFamily="34" charset="0"/>
                <a:ea typeface="Calibri" panose="020F0502020204030204" pitchFamily="34" charset="0"/>
                <a:cs typeface="Arial" panose="020B0604020202020204" pitchFamily="34" charset="0"/>
              </a:rPr>
              <a:t>)</a:t>
            </a:r>
            <a:endParaRPr lang="en-GB" sz="1000" i="1" dirty="0">
              <a:solidFill>
                <a:schemeClr val="accent1"/>
              </a:solidFill>
              <a:latin typeface="Trebuchet MS" panose="020B0603020202020204" pitchFamily="34" charset="0"/>
              <a:ea typeface="Calibri" panose="020F0502020204030204" pitchFamily="34" charset="0"/>
            </a:endParaRPr>
          </a:p>
          <a:p>
            <a:pPr marL="720725" lvl="1" indent="-263525">
              <a:lnSpc>
                <a:spcPct val="107000"/>
              </a:lnSpc>
              <a:spcAft>
                <a:spcPts val="0"/>
              </a:spcAft>
              <a:buFont typeface="Courier New" panose="02070309020205020404" pitchFamily="49" charset="0"/>
              <a:buChar char="o"/>
            </a:pPr>
            <a:r>
              <a:rPr lang="en-GB" sz="1000" dirty="0">
                <a:effectLst/>
                <a:latin typeface="Trebuchet MS" panose="020B0603020202020204" pitchFamily="34" charset="0"/>
                <a:ea typeface="Calibri" panose="020F0502020204030204" pitchFamily="34" charset="0"/>
                <a:cs typeface="Arial" panose="020B0604020202020204" pitchFamily="34" charset="0"/>
              </a:rPr>
              <a:t>NLP project to integrate companies-related news intelligence into products</a:t>
            </a:r>
          </a:p>
          <a:p>
            <a:pPr marL="742950" lvl="1" indent="-285750">
              <a:lnSpc>
                <a:spcPct val="107000"/>
              </a:lnSpc>
              <a:spcAft>
                <a:spcPts val="0"/>
              </a:spcAft>
              <a:buClr>
                <a:schemeClr val="tx1"/>
              </a:buClr>
              <a:buFont typeface="Courier New" panose="02070309020205020404" pitchFamily="49" charset="0"/>
              <a:buChar char="o"/>
            </a:pPr>
            <a:r>
              <a:rPr lang="en-GB" sz="1000" dirty="0">
                <a:effectLst/>
                <a:latin typeface="Trebuchet MS" panose="020B0603020202020204" pitchFamily="34" charset="0"/>
                <a:ea typeface="Calibri" panose="020F0502020204030204" pitchFamily="34" charset="0"/>
                <a:cs typeface="Arial" panose="020B0604020202020204" pitchFamily="34" charset="0"/>
              </a:rPr>
              <a:t>Adjusted scoring to integrate clients’ inputs into scoring calculation (i.e. outdated annual balance sheet that can be updated)</a:t>
            </a:r>
          </a:p>
          <a:p>
            <a:pPr marL="742950" lvl="1" indent="-285750">
              <a:lnSpc>
                <a:spcPct val="107000"/>
              </a:lnSpc>
              <a:spcAft>
                <a:spcPts val="0"/>
              </a:spcAft>
              <a:buClr>
                <a:schemeClr val="tx1"/>
              </a:buClr>
              <a:buFont typeface="Courier New" panose="02070309020205020404" pitchFamily="49" charset="0"/>
              <a:buChar char="o"/>
            </a:pPr>
            <a:r>
              <a:rPr lang="en-GB" sz="1000" dirty="0">
                <a:latin typeface="Trebuchet MS" panose="020B0603020202020204" pitchFamily="34" charset="0"/>
                <a:ea typeface="Calibri" panose="020F0502020204030204" pitchFamily="34" charset="0"/>
              </a:rPr>
              <a:t>Digital identity (SSO)</a:t>
            </a:r>
            <a:endParaRPr lang="en-GB" sz="1000" dirty="0">
              <a:effectLst/>
              <a:latin typeface="Trebuchet MS" panose="020B0603020202020204" pitchFamily="34" charset="0"/>
              <a:ea typeface="Calibri" panose="020F0502020204030204" pitchFamily="34" charset="0"/>
              <a:cs typeface="Arial" panose="020B0604020202020204" pitchFamily="34" charset="0"/>
            </a:endParaRPr>
          </a:p>
          <a:p>
            <a:pPr marL="742950" lvl="1" indent="-285750">
              <a:lnSpc>
                <a:spcPct val="107000"/>
              </a:lnSpc>
              <a:spcAft>
                <a:spcPts val="0"/>
              </a:spcAft>
              <a:buClr>
                <a:schemeClr val="tx1"/>
              </a:buClr>
              <a:buFont typeface="Courier New" panose="02070309020205020404" pitchFamily="49" charset="0"/>
              <a:buChar char="o"/>
            </a:pPr>
            <a:endParaRPr lang="en-GB" sz="1000" dirty="0">
              <a:effectLst/>
              <a:latin typeface="Trebuchet MS" panose="020B0603020202020204" pitchFamily="34" charset="0"/>
              <a:ea typeface="Calibri" panose="020F0502020204030204" pitchFamily="34" charset="0"/>
              <a:cs typeface="Arial" panose="020B0604020202020204" pitchFamily="34" charset="0"/>
            </a:endParaRPr>
          </a:p>
          <a:p>
            <a:pPr marL="342900" lvl="0" indent="-342900">
              <a:lnSpc>
                <a:spcPct val="107000"/>
              </a:lnSpc>
              <a:spcAft>
                <a:spcPts val="0"/>
              </a:spcAft>
              <a:buClr>
                <a:schemeClr val="tx1"/>
              </a:buClr>
              <a:buFont typeface="+mj-lt"/>
              <a:buAutoNum type="arabicPeriod"/>
            </a:pPr>
            <a:r>
              <a:rPr lang="en-GB" sz="1000" dirty="0">
                <a:effectLst/>
                <a:latin typeface="Trebuchet MS" panose="020B0603020202020204" pitchFamily="34" charset="0"/>
                <a:ea typeface="Calibri" panose="020F0502020204030204" pitchFamily="34" charset="0"/>
                <a:cs typeface="Arial" panose="020B0604020202020204" pitchFamily="34" charset="0"/>
              </a:rPr>
              <a:t>Launch of a </a:t>
            </a:r>
            <a:r>
              <a:rPr lang="en-GB" sz="1000" dirty="0">
                <a:latin typeface="Trebuchet MS" panose="020B0603020202020204" pitchFamily="34" charset="0"/>
                <a:ea typeface="Calibri" panose="020F0502020204030204" pitchFamily="34" charset="0"/>
              </a:rPr>
              <a:t>“</a:t>
            </a:r>
            <a:r>
              <a:rPr lang="en-GB" sz="1000" dirty="0">
                <a:solidFill>
                  <a:schemeClr val="tx2"/>
                </a:solidFill>
                <a:latin typeface="Trebuchet MS" panose="020B0603020202020204" pitchFamily="34" charset="0"/>
                <a:ea typeface="Calibri" panose="020F0502020204030204" pitchFamily="34" charset="0"/>
              </a:rPr>
              <a:t>solidarity offer</a:t>
            </a:r>
            <a:r>
              <a:rPr lang="en-GB" sz="1000" dirty="0">
                <a:latin typeface="Trebuchet MS" panose="020B0603020202020204" pitchFamily="34" charset="0"/>
                <a:ea typeface="Calibri" panose="020F0502020204030204" pitchFamily="34" charset="0"/>
              </a:rPr>
              <a:t>” during </a:t>
            </a:r>
            <a:r>
              <a:rPr lang="en-GB" sz="1000" dirty="0">
                <a:effectLst/>
                <a:latin typeface="Trebuchet MS" panose="020B0603020202020204" pitchFamily="34" charset="0"/>
                <a:ea typeface="Calibri" panose="020F0502020204030204" pitchFamily="34" charset="0"/>
                <a:cs typeface="Arial" panose="020B0604020202020204" pitchFamily="34" charset="0"/>
              </a:rPr>
              <a:t>the </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COVID-19 crisis </a:t>
            </a:r>
            <a:r>
              <a:rPr lang="en-GB" sz="1000" dirty="0">
                <a:effectLst/>
                <a:latin typeface="Trebuchet MS" panose="020B0603020202020204" pitchFamily="34" charset="0"/>
                <a:ea typeface="Calibri" panose="020F0502020204030204" pitchFamily="34" charset="0"/>
                <a:cs typeface="Arial" panose="020B0604020202020204" pitchFamily="34" charset="0"/>
              </a:rPr>
              <a:t>(free access to </a:t>
            </a:r>
            <a:r>
              <a:rPr lang="en-GB" sz="1000" dirty="0" err="1">
                <a:effectLst/>
                <a:latin typeface="Trebuchet MS" panose="020B0603020202020204" pitchFamily="34" charset="0"/>
                <a:ea typeface="Calibri" panose="020F0502020204030204" pitchFamily="34" charset="0"/>
                <a:cs typeface="Arial" panose="020B0604020202020204" pitchFamily="34" charset="0"/>
              </a:rPr>
              <a:t>intuiz</a:t>
            </a:r>
            <a:r>
              <a:rPr lang="en-GB" sz="1000" dirty="0">
                <a:effectLst/>
                <a:latin typeface="Trebuchet MS" panose="020B0603020202020204" pitchFamily="34" charset="0"/>
                <a:ea typeface="Calibri" panose="020F0502020204030204" pitchFamily="34" charset="0"/>
                <a:cs typeface="Arial" panose="020B0604020202020204" pitchFamily="34" charset="0"/>
              </a:rPr>
              <a:t>+) positioning </a:t>
            </a:r>
            <a:r>
              <a:rPr lang="en-GB" sz="1000" dirty="0" err="1">
                <a:effectLst/>
                <a:latin typeface="Trebuchet MS" panose="020B0603020202020204" pitchFamily="34" charset="0"/>
                <a:ea typeface="Calibri" panose="020F0502020204030204" pitchFamily="34" charset="0"/>
                <a:cs typeface="Arial" panose="020B0604020202020204" pitchFamily="34" charset="0"/>
              </a:rPr>
              <a:t>Altares</a:t>
            </a:r>
            <a:r>
              <a:rPr lang="en-GB" sz="1000" dirty="0">
                <a:effectLst/>
                <a:latin typeface="Trebuchet MS" panose="020B0603020202020204" pitchFamily="34" charset="0"/>
                <a:ea typeface="Calibri" panose="020F0502020204030204" pitchFamily="34" charset="0"/>
                <a:cs typeface="Arial" panose="020B0604020202020204" pitchFamily="34" charset="0"/>
              </a:rPr>
              <a:t> as reliable and sustainable partner even during difficult times </a:t>
            </a:r>
          </a:p>
        </p:txBody>
      </p:sp>
      <p:cxnSp>
        <p:nvCxnSpPr>
          <p:cNvPr id="22" name="Connecteur droit 4">
            <a:extLst>
              <a:ext uri="{FF2B5EF4-FFF2-40B4-BE49-F238E27FC236}">
                <a16:creationId xmlns:a16="http://schemas.microsoft.com/office/drawing/2014/main" id="{925D240D-441E-4F67-86A3-9D03E56AB034}"/>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3" name="TextBox 30">
            <a:extLst>
              <a:ext uri="{FF2B5EF4-FFF2-40B4-BE49-F238E27FC236}">
                <a16:creationId xmlns:a16="http://schemas.microsoft.com/office/drawing/2014/main" id="{D037B4D8-E38E-4A63-A9F9-F205C8EB8855}"/>
              </a:ext>
            </a:extLst>
          </p:cNvPr>
          <p:cNvSpPr txBox="1"/>
          <p:nvPr/>
        </p:nvSpPr>
        <p:spPr>
          <a:xfrm>
            <a:off x="2644058" y="907690"/>
            <a:ext cx="4617883" cy="261610"/>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100">
                <a:latin typeface="Trebuchet MS" panose="020B0603020202020204" pitchFamily="34" charset="0"/>
              </a:rPr>
              <a:t>Relaunching of </a:t>
            </a:r>
            <a:r>
              <a:rPr lang="en-GB" sz="1100" err="1">
                <a:latin typeface="Trebuchet MS" panose="020B0603020202020204" pitchFamily="34" charset="0"/>
              </a:rPr>
              <a:t>intuiz</a:t>
            </a:r>
            <a:r>
              <a:rPr lang="en-GB" sz="1100">
                <a:latin typeface="Trebuchet MS" panose="020B0603020202020204" pitchFamily="34" charset="0"/>
              </a:rPr>
              <a:t>+ investments</a:t>
            </a:r>
          </a:p>
        </p:txBody>
      </p:sp>
      <p:graphicFrame>
        <p:nvGraphicFramePr>
          <p:cNvPr id="24" name="Chart 10">
            <a:extLst>
              <a:ext uri="{FF2B5EF4-FFF2-40B4-BE49-F238E27FC236}">
                <a16:creationId xmlns:a16="http://schemas.microsoft.com/office/drawing/2014/main" id="{5411E796-3FD9-4D48-8DCE-F10A17FCAB96}"/>
              </a:ext>
            </a:extLst>
          </p:cNvPr>
          <p:cNvGraphicFramePr/>
          <p:nvPr>
            <p:extLst>
              <p:ext uri="{D42A27DB-BD31-4B8C-83A1-F6EECF244321}">
                <p14:modId xmlns:p14="http://schemas.microsoft.com/office/powerpoint/2010/main" val="1137567413"/>
              </p:ext>
            </p:extLst>
          </p:nvPr>
        </p:nvGraphicFramePr>
        <p:xfrm>
          <a:off x="287746" y="2278813"/>
          <a:ext cx="3096000" cy="3230175"/>
        </p:xfrm>
        <a:graphic>
          <a:graphicData uri="http://schemas.openxmlformats.org/drawingml/2006/chart">
            <c:chart xmlns:c="http://schemas.openxmlformats.org/drawingml/2006/chart" xmlns:r="http://schemas.openxmlformats.org/officeDocument/2006/relationships" r:id="rId13"/>
          </a:graphicData>
        </a:graphic>
      </p:graphicFrame>
      <p:sp>
        <p:nvSpPr>
          <p:cNvPr id="25" name="Rectangle 24">
            <a:extLst>
              <a:ext uri="{FF2B5EF4-FFF2-40B4-BE49-F238E27FC236}">
                <a16:creationId xmlns:a16="http://schemas.microsoft.com/office/drawing/2014/main" id="{E26FA33F-F3AE-4A65-95BC-96B0BF1092AD}"/>
              </a:ext>
            </a:extLst>
          </p:cNvPr>
          <p:cNvSpPr/>
          <p:nvPr/>
        </p:nvSpPr>
        <p:spPr bwMode="auto">
          <a:xfrm>
            <a:off x="285264" y="1774305"/>
            <a:ext cx="3373200"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intuiz</a:t>
            </a:r>
            <a:r>
              <a:rPr lang="en-GB" sz="1000" b="1" i="1">
                <a:latin typeface="Trebuchet MS" panose="020B0603020202020204" pitchFamily="34" charset="0"/>
              </a:rPr>
              <a:t>+ billings in France broken down by customers’ recruitment year,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aphicFrame>
        <p:nvGraphicFramePr>
          <p:cNvPr id="26" name="Chart 41">
            <a:extLst>
              <a:ext uri="{FF2B5EF4-FFF2-40B4-BE49-F238E27FC236}">
                <a16:creationId xmlns:a16="http://schemas.microsoft.com/office/drawing/2014/main" id="{D41CC2C7-7CE5-403E-A96C-1E91EA11AE4D}"/>
              </a:ext>
            </a:extLst>
          </p:cNvPr>
          <p:cNvGraphicFramePr/>
          <p:nvPr>
            <p:extLst>
              <p:ext uri="{D42A27DB-BD31-4B8C-83A1-F6EECF244321}">
                <p14:modId xmlns:p14="http://schemas.microsoft.com/office/powerpoint/2010/main" val="1278161713"/>
              </p:ext>
            </p:extLst>
          </p:nvPr>
        </p:nvGraphicFramePr>
        <p:xfrm>
          <a:off x="3757446" y="2278813"/>
          <a:ext cx="3096000" cy="3230175"/>
        </p:xfrm>
        <a:graphic>
          <a:graphicData uri="http://schemas.openxmlformats.org/drawingml/2006/chart">
            <c:chart xmlns:c="http://schemas.openxmlformats.org/drawingml/2006/chart" xmlns:r="http://schemas.openxmlformats.org/officeDocument/2006/relationships" r:id="rId14"/>
          </a:graphicData>
        </a:graphic>
      </p:graphicFrame>
      <p:sp>
        <p:nvSpPr>
          <p:cNvPr id="27" name="Rectangle 26">
            <a:extLst>
              <a:ext uri="{FF2B5EF4-FFF2-40B4-BE49-F238E27FC236}">
                <a16:creationId xmlns:a16="http://schemas.microsoft.com/office/drawing/2014/main" id="{252F2B65-13E9-40FD-865F-0F2555922003}"/>
              </a:ext>
            </a:extLst>
          </p:cNvPr>
          <p:cNvSpPr/>
          <p:nvPr/>
        </p:nvSpPr>
        <p:spPr bwMode="auto">
          <a:xfrm>
            <a:off x="3754964" y="1769436"/>
            <a:ext cx="3373672"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intuiz</a:t>
            </a:r>
            <a:r>
              <a:rPr lang="en-GB" sz="1000" b="1" i="1">
                <a:latin typeface="Trebuchet MS" panose="020B0603020202020204" pitchFamily="34" charset="0"/>
              </a:rPr>
              <a:t>+ number of clients in France broken down by customers’ recruitment year</a:t>
            </a:r>
            <a:endParaRPr kumimoji="0" lang="en-GB" sz="1000" b="1" i="1" u="none" strike="noStrike" kern="1200" cap="none" spc="0" normalizeH="0" baseline="0" noProof="0">
              <a:ln>
                <a:noFill/>
              </a:ln>
              <a:effectLst/>
              <a:uLnTx/>
              <a:uFillTx/>
              <a:latin typeface="Trebuchet MS" panose="020B0603020202020204" pitchFamily="34" charset="0"/>
            </a:endParaRPr>
          </a:p>
        </p:txBody>
      </p:sp>
      <p:grpSp>
        <p:nvGrpSpPr>
          <p:cNvPr id="47" name="Group 46">
            <a:extLst>
              <a:ext uri="{FF2B5EF4-FFF2-40B4-BE49-F238E27FC236}">
                <a16:creationId xmlns:a16="http://schemas.microsoft.com/office/drawing/2014/main" id="{646E9638-4FB7-4A46-A185-6E06D1E1ABCD}"/>
              </a:ext>
            </a:extLst>
          </p:cNvPr>
          <p:cNvGrpSpPr/>
          <p:nvPr/>
        </p:nvGrpSpPr>
        <p:grpSpPr>
          <a:xfrm>
            <a:off x="1972094" y="5595704"/>
            <a:ext cx="3197004" cy="708169"/>
            <a:chOff x="1454895" y="5595704"/>
            <a:chExt cx="3197004" cy="708169"/>
          </a:xfrm>
        </p:grpSpPr>
        <p:sp>
          <p:nvSpPr>
            <p:cNvPr id="29" name="Rectangle 28">
              <a:extLst>
                <a:ext uri="{FF2B5EF4-FFF2-40B4-BE49-F238E27FC236}">
                  <a16:creationId xmlns:a16="http://schemas.microsoft.com/office/drawing/2014/main" id="{3C5181C2-2E85-491C-BF41-2741A5460214}"/>
                </a:ext>
              </a:extLst>
            </p:cNvPr>
            <p:cNvSpPr/>
            <p:nvPr/>
          </p:nvSpPr>
          <p:spPr bwMode="auto">
            <a:xfrm>
              <a:off x="1454895" y="5595704"/>
              <a:ext cx="3197004" cy="70816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grpSp>
          <p:nvGrpSpPr>
            <p:cNvPr id="46" name="Group 45">
              <a:extLst>
                <a:ext uri="{FF2B5EF4-FFF2-40B4-BE49-F238E27FC236}">
                  <a16:creationId xmlns:a16="http://schemas.microsoft.com/office/drawing/2014/main" id="{BD4CF921-0181-4C85-96F8-A9E9F7847429}"/>
                </a:ext>
              </a:extLst>
            </p:cNvPr>
            <p:cNvGrpSpPr/>
            <p:nvPr/>
          </p:nvGrpSpPr>
          <p:grpSpPr>
            <a:xfrm>
              <a:off x="2452102" y="5765796"/>
              <a:ext cx="2148538" cy="367984"/>
              <a:chOff x="2452102" y="5699070"/>
              <a:chExt cx="2148538" cy="367984"/>
            </a:xfrm>
          </p:grpSpPr>
          <p:grpSp>
            <p:nvGrpSpPr>
              <p:cNvPr id="30" name="Group 29">
                <a:extLst>
                  <a:ext uri="{FF2B5EF4-FFF2-40B4-BE49-F238E27FC236}">
                    <a16:creationId xmlns:a16="http://schemas.microsoft.com/office/drawing/2014/main" id="{E67DD833-E329-4CB2-A7A2-166A2253C73E}"/>
                  </a:ext>
                </a:extLst>
              </p:cNvPr>
              <p:cNvGrpSpPr/>
              <p:nvPr/>
            </p:nvGrpSpPr>
            <p:grpSpPr>
              <a:xfrm>
                <a:off x="2452102" y="5699070"/>
                <a:ext cx="579313" cy="123111"/>
                <a:chOff x="4490012" y="2434756"/>
                <a:chExt cx="565540" cy="138424"/>
              </a:xfrm>
            </p:grpSpPr>
            <p:cxnSp>
              <p:nvCxnSpPr>
                <p:cNvPr id="44" name="Straight Connector 43">
                  <a:extLst>
                    <a:ext uri="{FF2B5EF4-FFF2-40B4-BE49-F238E27FC236}">
                      <a16:creationId xmlns:a16="http://schemas.microsoft.com/office/drawing/2014/main" id="{72910CF7-10C0-4CD4-9E5A-F1097E39635F}"/>
                    </a:ext>
                  </a:extLst>
                </p:cNvPr>
                <p:cNvCxnSpPr>
                  <a:cxnSpLocks/>
                </p:cNvCxnSpPr>
                <p:nvPr/>
              </p:nvCxnSpPr>
              <p:spPr bwMode="auto">
                <a:xfrm>
                  <a:off x="4490012" y="2496311"/>
                  <a:ext cx="202948"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45" name="TextBox 44">
                  <a:extLst>
                    <a:ext uri="{FF2B5EF4-FFF2-40B4-BE49-F238E27FC236}">
                      <a16:creationId xmlns:a16="http://schemas.microsoft.com/office/drawing/2014/main" id="{F8498DD2-2422-4F4A-AE0C-792C4F653E7E}"/>
                    </a:ext>
                  </a:extLst>
                </p:cNvPr>
                <p:cNvSpPr txBox="1"/>
                <p:nvPr/>
              </p:nvSpPr>
              <p:spPr>
                <a:xfrm>
                  <a:off x="4778368" y="2434756"/>
                  <a:ext cx="277184" cy="138424"/>
                </a:xfrm>
                <a:prstGeom prst="rect">
                  <a:avLst/>
                </a:prstGeom>
                <a:noFill/>
              </p:spPr>
              <p:txBody>
                <a:bodyPr wrap="square" lIns="0" tIns="0" rIns="0" bIns="0" rtlCol="0">
                  <a:spAutoFit/>
                </a:bodyPr>
                <a:lstStyle/>
                <a:p>
                  <a:r>
                    <a:rPr lang="en-GB" sz="800">
                      <a:latin typeface="+mj-lt"/>
                    </a:rPr>
                    <a:t>&lt;2017</a:t>
                  </a:r>
                </a:p>
              </p:txBody>
            </p:sp>
          </p:grpSp>
          <p:grpSp>
            <p:nvGrpSpPr>
              <p:cNvPr id="31" name="Group 30">
                <a:extLst>
                  <a:ext uri="{FF2B5EF4-FFF2-40B4-BE49-F238E27FC236}">
                    <a16:creationId xmlns:a16="http://schemas.microsoft.com/office/drawing/2014/main" id="{660A3F8F-244C-4E23-B6ED-4CFA06165D01}"/>
                  </a:ext>
                </a:extLst>
              </p:cNvPr>
              <p:cNvGrpSpPr/>
              <p:nvPr/>
            </p:nvGrpSpPr>
            <p:grpSpPr>
              <a:xfrm>
                <a:off x="3252761" y="5699070"/>
                <a:ext cx="579312" cy="123111"/>
                <a:chOff x="4490012" y="2633045"/>
                <a:chExt cx="565539" cy="138424"/>
              </a:xfrm>
            </p:grpSpPr>
            <p:cxnSp>
              <p:nvCxnSpPr>
                <p:cNvPr id="42" name="Straight Connector 41">
                  <a:extLst>
                    <a:ext uri="{FF2B5EF4-FFF2-40B4-BE49-F238E27FC236}">
                      <a16:creationId xmlns:a16="http://schemas.microsoft.com/office/drawing/2014/main" id="{647D0448-EB1B-4D81-8189-26583047644D}"/>
                    </a:ext>
                  </a:extLst>
                </p:cNvPr>
                <p:cNvCxnSpPr>
                  <a:cxnSpLocks/>
                </p:cNvCxnSpPr>
                <p:nvPr/>
              </p:nvCxnSpPr>
              <p:spPr bwMode="auto">
                <a:xfrm>
                  <a:off x="4490012" y="2694600"/>
                  <a:ext cx="202948"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43" name="TextBox 42">
                  <a:extLst>
                    <a:ext uri="{FF2B5EF4-FFF2-40B4-BE49-F238E27FC236}">
                      <a16:creationId xmlns:a16="http://schemas.microsoft.com/office/drawing/2014/main" id="{C9A91F9C-033D-4938-893D-EBF4D827C001}"/>
                    </a:ext>
                  </a:extLst>
                </p:cNvPr>
                <p:cNvSpPr txBox="1"/>
                <p:nvPr/>
              </p:nvSpPr>
              <p:spPr>
                <a:xfrm>
                  <a:off x="4778368" y="2633045"/>
                  <a:ext cx="277183" cy="138424"/>
                </a:xfrm>
                <a:prstGeom prst="rect">
                  <a:avLst/>
                </a:prstGeom>
                <a:noFill/>
              </p:spPr>
              <p:txBody>
                <a:bodyPr wrap="square" lIns="0" tIns="0" rIns="0" bIns="0" rtlCol="0">
                  <a:spAutoFit/>
                </a:bodyPr>
                <a:lstStyle/>
                <a:p>
                  <a:r>
                    <a:rPr lang="en-GB" sz="800">
                      <a:latin typeface="+mj-lt"/>
                    </a:rPr>
                    <a:t>2017</a:t>
                  </a:r>
                </a:p>
              </p:txBody>
            </p:sp>
          </p:grpSp>
          <p:grpSp>
            <p:nvGrpSpPr>
              <p:cNvPr id="32" name="Group 31">
                <a:extLst>
                  <a:ext uri="{FF2B5EF4-FFF2-40B4-BE49-F238E27FC236}">
                    <a16:creationId xmlns:a16="http://schemas.microsoft.com/office/drawing/2014/main" id="{C4EB064F-92D9-4DE8-B67E-73ABC64284AF}"/>
                  </a:ext>
                </a:extLst>
              </p:cNvPr>
              <p:cNvGrpSpPr/>
              <p:nvPr/>
            </p:nvGrpSpPr>
            <p:grpSpPr>
              <a:xfrm>
                <a:off x="2452102" y="5943943"/>
                <a:ext cx="579312" cy="123111"/>
                <a:chOff x="4490012" y="2842696"/>
                <a:chExt cx="565539" cy="138424"/>
              </a:xfrm>
            </p:grpSpPr>
            <p:cxnSp>
              <p:nvCxnSpPr>
                <p:cNvPr id="40" name="Straight Connector 39">
                  <a:extLst>
                    <a:ext uri="{FF2B5EF4-FFF2-40B4-BE49-F238E27FC236}">
                      <a16:creationId xmlns:a16="http://schemas.microsoft.com/office/drawing/2014/main" id="{CCCFE977-9856-429E-8A94-CF26F7C52FC9}"/>
                    </a:ext>
                  </a:extLst>
                </p:cNvPr>
                <p:cNvCxnSpPr>
                  <a:cxnSpLocks/>
                </p:cNvCxnSpPr>
                <p:nvPr/>
              </p:nvCxnSpPr>
              <p:spPr bwMode="auto">
                <a:xfrm>
                  <a:off x="4490012" y="2904251"/>
                  <a:ext cx="202948" cy="0"/>
                </a:xfrm>
                <a:prstGeom prst="line">
                  <a:avLst/>
                </a:prstGeom>
                <a:solidFill>
                  <a:schemeClr val="bg1"/>
                </a:solidFill>
                <a:ln w="88900" cap="flat" cmpd="sng" algn="ctr">
                  <a:solidFill>
                    <a:srgbClr val="8FCD9F"/>
                  </a:solidFill>
                  <a:prstDash val="solid"/>
                  <a:round/>
                  <a:headEnd type="none" w="med" len="med"/>
                  <a:tailEnd type="none" w="med" len="med"/>
                </a:ln>
                <a:effectLst/>
              </p:spPr>
            </p:cxnSp>
            <p:sp>
              <p:nvSpPr>
                <p:cNvPr id="41" name="TextBox 40">
                  <a:extLst>
                    <a:ext uri="{FF2B5EF4-FFF2-40B4-BE49-F238E27FC236}">
                      <a16:creationId xmlns:a16="http://schemas.microsoft.com/office/drawing/2014/main" id="{8D1E6891-C16C-4539-B544-F6E069EFCDFC}"/>
                    </a:ext>
                  </a:extLst>
                </p:cNvPr>
                <p:cNvSpPr txBox="1"/>
                <p:nvPr/>
              </p:nvSpPr>
              <p:spPr>
                <a:xfrm>
                  <a:off x="4778368" y="2842696"/>
                  <a:ext cx="277183" cy="138424"/>
                </a:xfrm>
                <a:prstGeom prst="rect">
                  <a:avLst/>
                </a:prstGeom>
                <a:noFill/>
              </p:spPr>
              <p:txBody>
                <a:bodyPr wrap="square" lIns="0" tIns="0" rIns="0" bIns="0" rtlCol="0">
                  <a:spAutoFit/>
                </a:bodyPr>
                <a:lstStyle/>
                <a:p>
                  <a:r>
                    <a:rPr lang="en-GB" sz="800">
                      <a:latin typeface="+mj-lt"/>
                    </a:rPr>
                    <a:t>2018</a:t>
                  </a:r>
                </a:p>
              </p:txBody>
            </p:sp>
          </p:grpSp>
          <p:grpSp>
            <p:nvGrpSpPr>
              <p:cNvPr id="33" name="Group 32">
                <a:extLst>
                  <a:ext uri="{FF2B5EF4-FFF2-40B4-BE49-F238E27FC236}">
                    <a16:creationId xmlns:a16="http://schemas.microsoft.com/office/drawing/2014/main" id="{7FC7F5A9-E1F3-42EB-A0D7-48F3498EFE48}"/>
                  </a:ext>
                </a:extLst>
              </p:cNvPr>
              <p:cNvGrpSpPr/>
              <p:nvPr/>
            </p:nvGrpSpPr>
            <p:grpSpPr>
              <a:xfrm>
                <a:off x="3252761" y="5943943"/>
                <a:ext cx="579312" cy="123111"/>
                <a:chOff x="4490012" y="3045926"/>
                <a:chExt cx="565539" cy="138424"/>
              </a:xfrm>
            </p:grpSpPr>
            <p:cxnSp>
              <p:nvCxnSpPr>
                <p:cNvPr id="38" name="Straight Connector 37">
                  <a:extLst>
                    <a:ext uri="{FF2B5EF4-FFF2-40B4-BE49-F238E27FC236}">
                      <a16:creationId xmlns:a16="http://schemas.microsoft.com/office/drawing/2014/main" id="{335FE7A9-E1B2-4343-9C76-F5808446DE67}"/>
                    </a:ext>
                  </a:extLst>
                </p:cNvPr>
                <p:cNvCxnSpPr>
                  <a:cxnSpLocks/>
                </p:cNvCxnSpPr>
                <p:nvPr/>
              </p:nvCxnSpPr>
              <p:spPr bwMode="auto">
                <a:xfrm>
                  <a:off x="4490012" y="3107481"/>
                  <a:ext cx="202948" cy="0"/>
                </a:xfrm>
                <a:prstGeom prst="line">
                  <a:avLst/>
                </a:prstGeom>
                <a:solidFill>
                  <a:schemeClr val="bg1"/>
                </a:solidFill>
                <a:ln w="88900" cap="flat" cmpd="sng" algn="ctr">
                  <a:solidFill>
                    <a:srgbClr val="ADD9FD"/>
                  </a:solidFill>
                  <a:prstDash val="solid"/>
                  <a:round/>
                  <a:headEnd type="none" w="med" len="med"/>
                  <a:tailEnd type="none" w="med" len="med"/>
                </a:ln>
                <a:effectLst/>
              </p:spPr>
            </p:cxnSp>
            <p:sp>
              <p:nvSpPr>
                <p:cNvPr id="39" name="TextBox 38">
                  <a:extLst>
                    <a:ext uri="{FF2B5EF4-FFF2-40B4-BE49-F238E27FC236}">
                      <a16:creationId xmlns:a16="http://schemas.microsoft.com/office/drawing/2014/main" id="{42A8625C-ABBF-4869-B32E-43FCF797709B}"/>
                    </a:ext>
                  </a:extLst>
                </p:cNvPr>
                <p:cNvSpPr txBox="1"/>
                <p:nvPr/>
              </p:nvSpPr>
              <p:spPr>
                <a:xfrm>
                  <a:off x="4778368" y="3045926"/>
                  <a:ext cx="277183" cy="138424"/>
                </a:xfrm>
                <a:prstGeom prst="rect">
                  <a:avLst/>
                </a:prstGeom>
                <a:noFill/>
              </p:spPr>
              <p:txBody>
                <a:bodyPr wrap="square" lIns="0" tIns="0" rIns="0" bIns="0" rtlCol="0">
                  <a:spAutoFit/>
                </a:bodyPr>
                <a:lstStyle/>
                <a:p>
                  <a:r>
                    <a:rPr lang="en-GB" sz="800">
                      <a:latin typeface="+mj-lt"/>
                    </a:rPr>
                    <a:t>2019</a:t>
                  </a:r>
                </a:p>
              </p:txBody>
            </p:sp>
          </p:grpSp>
          <p:grpSp>
            <p:nvGrpSpPr>
              <p:cNvPr id="34" name="Group 33">
                <a:extLst>
                  <a:ext uri="{FF2B5EF4-FFF2-40B4-BE49-F238E27FC236}">
                    <a16:creationId xmlns:a16="http://schemas.microsoft.com/office/drawing/2014/main" id="{F71EAF16-2217-45EF-B524-32326C336CC7}"/>
                  </a:ext>
                </a:extLst>
              </p:cNvPr>
              <p:cNvGrpSpPr/>
              <p:nvPr/>
            </p:nvGrpSpPr>
            <p:grpSpPr>
              <a:xfrm>
                <a:off x="3925032" y="5821506"/>
                <a:ext cx="675608" cy="123111"/>
                <a:chOff x="4490012" y="3450640"/>
                <a:chExt cx="659545" cy="138424"/>
              </a:xfrm>
            </p:grpSpPr>
            <p:cxnSp>
              <p:nvCxnSpPr>
                <p:cNvPr id="36" name="Straight Connector 35">
                  <a:extLst>
                    <a:ext uri="{FF2B5EF4-FFF2-40B4-BE49-F238E27FC236}">
                      <a16:creationId xmlns:a16="http://schemas.microsoft.com/office/drawing/2014/main" id="{EC59C477-1ABB-4AF4-BBDD-0C0BD3D86ABC}"/>
                    </a:ext>
                  </a:extLst>
                </p:cNvPr>
                <p:cNvCxnSpPr>
                  <a:cxnSpLocks/>
                </p:cNvCxnSpPr>
                <p:nvPr/>
              </p:nvCxnSpPr>
              <p:spPr bwMode="auto">
                <a:xfrm>
                  <a:off x="4490012" y="3512195"/>
                  <a:ext cx="202948" cy="0"/>
                </a:xfrm>
                <a:prstGeom prst="line">
                  <a:avLst/>
                </a:prstGeom>
                <a:solidFill>
                  <a:schemeClr val="bg1"/>
                </a:solidFill>
                <a:ln w="19050" cap="flat" cmpd="sng" algn="ctr">
                  <a:solidFill>
                    <a:schemeClr val="accent1">
                      <a:lumMod val="75000"/>
                    </a:schemeClr>
                  </a:solidFill>
                  <a:prstDash val="solid"/>
                  <a:round/>
                  <a:headEnd type="none" w="med" len="med"/>
                  <a:tailEnd type="none" w="med" len="med"/>
                </a:ln>
                <a:effectLst/>
              </p:spPr>
            </p:cxnSp>
            <p:sp>
              <p:nvSpPr>
                <p:cNvPr id="37" name="TextBox 36">
                  <a:extLst>
                    <a:ext uri="{FF2B5EF4-FFF2-40B4-BE49-F238E27FC236}">
                      <a16:creationId xmlns:a16="http://schemas.microsoft.com/office/drawing/2014/main" id="{ACDB6B17-385D-4BDC-B93B-8B86D75F42AF}"/>
                    </a:ext>
                  </a:extLst>
                </p:cNvPr>
                <p:cNvSpPr txBox="1"/>
                <p:nvPr/>
              </p:nvSpPr>
              <p:spPr>
                <a:xfrm>
                  <a:off x="4778368" y="3450640"/>
                  <a:ext cx="371189" cy="138424"/>
                </a:xfrm>
                <a:prstGeom prst="rect">
                  <a:avLst/>
                </a:prstGeom>
                <a:noFill/>
              </p:spPr>
              <p:txBody>
                <a:bodyPr wrap="square" lIns="0" tIns="0" rIns="0" bIns="0" rtlCol="0">
                  <a:spAutoFit/>
                </a:bodyPr>
                <a:lstStyle/>
                <a:p>
                  <a:r>
                    <a:rPr lang="en-GB" sz="800">
                      <a:latin typeface="+mj-lt"/>
                    </a:rPr>
                    <a:t>Total</a:t>
                  </a:r>
                </a:p>
              </p:txBody>
            </p:sp>
          </p:grpSp>
        </p:grpSp>
        <p:sp>
          <p:nvSpPr>
            <p:cNvPr id="35" name="Rectangle 34">
              <a:extLst>
                <a:ext uri="{FF2B5EF4-FFF2-40B4-BE49-F238E27FC236}">
                  <a16:creationId xmlns:a16="http://schemas.microsoft.com/office/drawing/2014/main" id="{F1F125EF-28EF-4823-846E-700E1955F7CC}"/>
                </a:ext>
              </a:extLst>
            </p:cNvPr>
            <p:cNvSpPr/>
            <p:nvPr/>
          </p:nvSpPr>
          <p:spPr>
            <a:xfrm>
              <a:off x="1459126" y="5695873"/>
              <a:ext cx="995226" cy="507831"/>
            </a:xfrm>
            <a:prstGeom prst="rect">
              <a:avLst/>
            </a:prstGeom>
          </p:spPr>
          <p:txBody>
            <a:bodyPr wrap="square">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900" b="1">
                  <a:solidFill>
                    <a:srgbClr val="6C6C6C"/>
                  </a:solidFill>
                  <a:latin typeface="Trebuchet MS" panose="020B0603020202020204" pitchFamily="34" charset="0"/>
                </a:rPr>
                <a:t>Customers</a:t>
              </a:r>
              <a:r>
                <a:rPr kumimoji="0" lang="en-GB" sz="900" b="1"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recruitment years:</a:t>
              </a:r>
            </a:p>
          </p:txBody>
        </p:sp>
      </p:grpSp>
    </p:spTree>
    <p:extLst>
      <p:ext uri="{BB962C8B-B14F-4D97-AF65-F5344CB8AC3E}">
        <p14:creationId xmlns:p14="http://schemas.microsoft.com/office/powerpoint/2010/main" val="631260809"/>
      </p:ext>
    </p:extLst>
  </p:cSld>
  <p:clrMapOvr>
    <a:masterClrMapping/>
  </p:clrMapOvr>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7ECA7587-5D4D-4C77-BC7A-FBCB26E9B679}"/>
              </a:ext>
            </a:extLst>
          </p:cNvPr>
          <p:cNvGraphicFramePr>
            <a:graphicFrameLocks noChangeAspect="1"/>
          </p:cNvGraphicFramePr>
          <p:nvPr>
            <p:custDataLst>
              <p:tags r:id="rId1"/>
            </p:custDataLst>
            <p:extLst>
              <p:ext uri="{D42A27DB-BD31-4B8C-83A1-F6EECF244321}">
                <p14:modId xmlns:p14="http://schemas.microsoft.com/office/powerpoint/2010/main" val="2466618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4" name="Objet 13" hidden="1">
                        <a:extLst>
                          <a:ext uri="{FF2B5EF4-FFF2-40B4-BE49-F238E27FC236}">
                            <a16:creationId xmlns:a16="http://schemas.microsoft.com/office/drawing/2014/main" id="{7ECA7587-5D4D-4C77-BC7A-FBCB26E9B6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D7D998A4-C0A2-4344-97DF-ADA1A0B203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9" name="Rectangle 18">
            <a:extLst>
              <a:ext uri="{FF2B5EF4-FFF2-40B4-BE49-F238E27FC236}">
                <a16:creationId xmlns:a16="http://schemas.microsoft.com/office/drawing/2014/main" id="{02B34D9D-CAB9-4FC1-90D5-197DB49855F0}"/>
              </a:ext>
            </a:extLst>
          </p:cNvPr>
          <p:cNvSpPr/>
          <p:nvPr/>
        </p:nvSpPr>
        <p:spPr bwMode="auto">
          <a:xfrm>
            <a:off x="141716" y="1265382"/>
            <a:ext cx="6822502" cy="51622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4" name="Rectangle 23">
            <a:extLst>
              <a:ext uri="{FF2B5EF4-FFF2-40B4-BE49-F238E27FC236}">
                <a16:creationId xmlns:a16="http://schemas.microsoft.com/office/drawing/2014/main" id="{CD353C21-01C9-4399-A6BB-EA89F502FFC0}"/>
              </a:ext>
            </a:extLst>
          </p:cNvPr>
          <p:cNvSpPr/>
          <p:nvPr/>
        </p:nvSpPr>
        <p:spPr bwMode="auto">
          <a:xfrm>
            <a:off x="4016776" y="1890601"/>
            <a:ext cx="2752921" cy="2453177"/>
          </a:xfrm>
          <a:prstGeom prst="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0" name="Rectangle 89">
            <a:extLst>
              <a:ext uri="{FF2B5EF4-FFF2-40B4-BE49-F238E27FC236}">
                <a16:creationId xmlns:a16="http://schemas.microsoft.com/office/drawing/2014/main" id="{BA66F366-1AC0-43F9-AA56-8D28633680F4}"/>
              </a:ext>
            </a:extLst>
          </p:cNvPr>
          <p:cNvSpPr/>
          <p:nvPr/>
        </p:nvSpPr>
        <p:spPr bwMode="auto">
          <a:xfrm>
            <a:off x="4016776" y="4484673"/>
            <a:ext cx="2752921" cy="1851593"/>
          </a:xfrm>
          <a:prstGeom prst="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re 1">
            <a:extLst>
              <a:ext uri="{FF2B5EF4-FFF2-40B4-BE49-F238E27FC236}">
                <a16:creationId xmlns:a16="http://schemas.microsoft.com/office/drawing/2014/main" id="{1D825224-5426-45FB-95E4-C5F4C82DBF4A}"/>
              </a:ext>
            </a:extLst>
          </p:cNvPr>
          <p:cNvSpPr>
            <a:spLocks noGrp="1"/>
          </p:cNvSpPr>
          <p:nvPr>
            <p:ph type="title"/>
          </p:nvPr>
        </p:nvSpPr>
        <p:spPr>
          <a:xfrm>
            <a:off x="645524" y="147600"/>
            <a:ext cx="7828830" cy="684000"/>
          </a:xfrm>
        </p:spPr>
        <p:txBody>
          <a:bodyPr/>
          <a:lstStyle/>
          <a:p>
            <a:r>
              <a:rPr lang="en-GB" sz="1600" err="1">
                <a:latin typeface="Trebuchet MS" pitchFamily="34" charset="0"/>
              </a:rPr>
              <a:t>Altares</a:t>
            </a:r>
            <a:r>
              <a:rPr lang="en-GB">
                <a:latin typeface="Trebuchet MS" pitchFamily="34" charset="0"/>
              </a:rPr>
              <a:t>, by</a:t>
            </a:r>
            <a:r>
              <a:rPr lang="en-GB" sz="1600">
                <a:latin typeface="Trebuchet MS" pitchFamily="34" charset="0"/>
              </a:rPr>
              <a:t> </a:t>
            </a:r>
            <a:r>
              <a:rPr lang="en-GB" sz="1600">
                <a:solidFill>
                  <a:schemeClr val="tx2"/>
                </a:solidFill>
                <a:latin typeface="Trebuchet MS" pitchFamily="34" charset="0"/>
              </a:rPr>
              <a:t>increasing commercial local proximity </a:t>
            </a:r>
            <a:r>
              <a:rPr lang="en-GB" sz="1600">
                <a:latin typeface="Trebuchet MS" pitchFamily="34" charset="0"/>
              </a:rPr>
              <a:t>through deployment of </a:t>
            </a:r>
            <a:r>
              <a:rPr lang="en-GB" sz="1600">
                <a:solidFill>
                  <a:schemeClr val="tx2"/>
                </a:solidFill>
                <a:latin typeface="Trebuchet MS" pitchFamily="34" charset="0"/>
              </a:rPr>
              <a:t>sales in regions</a:t>
            </a:r>
            <a:r>
              <a:rPr lang="en-GB" sz="1600">
                <a:latin typeface="Trebuchet MS" pitchFamily="34" charset="0"/>
              </a:rPr>
              <a:t> a</a:t>
            </a:r>
            <a:r>
              <a:rPr lang="en-GB">
                <a:latin typeface="Trebuchet MS" pitchFamily="34" charset="0"/>
              </a:rPr>
              <a:t>nd </a:t>
            </a:r>
            <a:r>
              <a:rPr lang="en-GB">
                <a:solidFill>
                  <a:schemeClr val="tx2"/>
                </a:solidFill>
                <a:latin typeface="Trebuchet MS" pitchFamily="34" charset="0"/>
              </a:rPr>
              <a:t>indirect partnerships</a:t>
            </a:r>
            <a:r>
              <a:rPr lang="en-GB">
                <a:latin typeface="Trebuchet MS" pitchFamily="34" charset="0"/>
              </a:rPr>
              <a:t>, aims at </a:t>
            </a:r>
            <a:r>
              <a:rPr lang="en-GB">
                <a:solidFill>
                  <a:schemeClr val="tx2"/>
                </a:solidFill>
                <a:latin typeface="Trebuchet MS" pitchFamily="34" charset="0"/>
              </a:rPr>
              <a:t>efficiently target </a:t>
            </a:r>
            <a:r>
              <a:rPr lang="en-GB">
                <a:latin typeface="Trebuchet MS" pitchFamily="34" charset="0"/>
              </a:rPr>
              <a:t>new geographies and mid-sized companies</a:t>
            </a:r>
            <a:endParaRPr lang="en-GB">
              <a:solidFill>
                <a:schemeClr val="tx2"/>
              </a:solidFill>
            </a:endParaRPr>
          </a:p>
        </p:txBody>
      </p:sp>
      <p:sp>
        <p:nvSpPr>
          <p:cNvPr id="3" name="Espace réservé du texte 2">
            <a:extLst>
              <a:ext uri="{FF2B5EF4-FFF2-40B4-BE49-F238E27FC236}">
                <a16:creationId xmlns:a16="http://schemas.microsoft.com/office/drawing/2014/main" id="{E5010DA3-233A-4C0B-9142-F7481F6191F9}"/>
              </a:ext>
            </a:extLst>
          </p:cNvPr>
          <p:cNvSpPr>
            <a:spLocks noGrp="1"/>
          </p:cNvSpPr>
          <p:nvPr>
            <p:ph type="body" sz="quarter" idx="10"/>
          </p:nvPr>
        </p:nvSpPr>
        <p:spPr/>
        <p:txBody>
          <a:bodyPr/>
          <a:lstStyle/>
          <a:p>
            <a:r>
              <a:rPr lang="en-GB"/>
              <a:t>Sources: eleven research &amp; analysis, company data, interviews with management</a:t>
            </a:r>
          </a:p>
          <a:p>
            <a:r>
              <a:rPr lang="en-GB"/>
              <a:t>1. DPB: Division </a:t>
            </a:r>
            <a:r>
              <a:rPr lang="en-GB" err="1"/>
              <a:t>partenariat</a:t>
            </a:r>
            <a:r>
              <a:rPr lang="en-GB"/>
              <a:t> </a:t>
            </a:r>
            <a:r>
              <a:rPr lang="en-GB" err="1"/>
              <a:t>bancaire</a:t>
            </a:r>
            <a:endParaRPr lang="en-GB"/>
          </a:p>
        </p:txBody>
      </p:sp>
      <p:grpSp>
        <p:nvGrpSpPr>
          <p:cNvPr id="4" name="Groupe 3">
            <a:extLst>
              <a:ext uri="{FF2B5EF4-FFF2-40B4-BE49-F238E27FC236}">
                <a16:creationId xmlns:a16="http://schemas.microsoft.com/office/drawing/2014/main" id="{D034E7ED-A782-44E2-8847-1B05AD8B0822}"/>
              </a:ext>
            </a:extLst>
          </p:cNvPr>
          <p:cNvGrpSpPr/>
          <p:nvPr/>
        </p:nvGrpSpPr>
        <p:grpSpPr>
          <a:xfrm>
            <a:off x="8448150" y="-11528"/>
            <a:ext cx="1435548" cy="588143"/>
            <a:chOff x="8448150" y="-11528"/>
            <a:chExt cx="1435548" cy="588143"/>
          </a:xfrm>
        </p:grpSpPr>
        <p:sp>
          <p:nvSpPr>
            <p:cNvPr id="5" name="Rectangle : coins arrondis 199">
              <a:extLst>
                <a:ext uri="{FF2B5EF4-FFF2-40B4-BE49-F238E27FC236}">
                  <a16:creationId xmlns:a16="http://schemas.microsoft.com/office/drawing/2014/main" id="{29D997DC-0DA8-4DA4-89F2-4DBD2D59A052}"/>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 name="Rectangle : coins arrondis 200">
              <a:extLst>
                <a:ext uri="{FF2B5EF4-FFF2-40B4-BE49-F238E27FC236}">
                  <a16:creationId xmlns:a16="http://schemas.microsoft.com/office/drawing/2014/main" id="{4409088A-28BB-4727-A153-86FAD7EB84FC}"/>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 name="Rectangle : coins arrondis 201">
              <a:extLst>
                <a:ext uri="{FF2B5EF4-FFF2-40B4-BE49-F238E27FC236}">
                  <a16:creationId xmlns:a16="http://schemas.microsoft.com/office/drawing/2014/main" id="{0685641D-9463-4A9F-842A-5FD43CB54C3D}"/>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 name="ZoneTexte 18">
              <a:extLst>
                <a:ext uri="{FF2B5EF4-FFF2-40B4-BE49-F238E27FC236}">
                  <a16:creationId xmlns:a16="http://schemas.microsoft.com/office/drawing/2014/main" id="{C057BD74-C78B-4AC3-94E8-18486BF32FD1}"/>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9" name="Graphique 128" descr="Jauge">
              <a:extLst>
                <a:ext uri="{FF2B5EF4-FFF2-40B4-BE49-F238E27FC236}">
                  <a16:creationId xmlns:a16="http://schemas.microsoft.com/office/drawing/2014/main" id="{BA357842-B228-4D60-B793-F479A38BC64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0" name="Graphique 90" descr="Poignée de main">
              <a:extLst>
                <a:ext uri="{FF2B5EF4-FFF2-40B4-BE49-F238E27FC236}">
                  <a16:creationId xmlns:a16="http://schemas.microsoft.com/office/drawing/2014/main" id="{21DEDB98-032A-4CD4-8663-B73BE8C22E6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11" name="Graphique 74" descr="Mégaphone">
              <a:extLst>
                <a:ext uri="{FF2B5EF4-FFF2-40B4-BE49-F238E27FC236}">
                  <a16:creationId xmlns:a16="http://schemas.microsoft.com/office/drawing/2014/main" id="{76C3F3EF-AA11-499C-9D5E-7870451E9DD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12" name="Picture 2" descr="Drapeau France">
              <a:extLst>
                <a:ext uri="{FF2B5EF4-FFF2-40B4-BE49-F238E27FC236}">
                  <a16:creationId xmlns:a16="http://schemas.microsoft.com/office/drawing/2014/main" id="{08E8FCC3-B27B-4CAF-998D-48B67544D5A3}"/>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3" name="ZoneTexte 12">
              <a:extLst>
                <a:ext uri="{FF2B5EF4-FFF2-40B4-BE49-F238E27FC236}">
                  <a16:creationId xmlns:a16="http://schemas.microsoft.com/office/drawing/2014/main" id="{58290E5D-BAFF-46AF-A116-D469701951CF}"/>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grpSp>
        <p:nvGrpSpPr>
          <p:cNvPr id="15" name="Groupe 14">
            <a:extLst>
              <a:ext uri="{FF2B5EF4-FFF2-40B4-BE49-F238E27FC236}">
                <a16:creationId xmlns:a16="http://schemas.microsoft.com/office/drawing/2014/main" id="{C88EAA25-C61C-4E24-AB02-2694B4B3F4B9}"/>
              </a:ext>
            </a:extLst>
          </p:cNvPr>
          <p:cNvGrpSpPr/>
          <p:nvPr/>
        </p:nvGrpSpPr>
        <p:grpSpPr>
          <a:xfrm>
            <a:off x="362696" y="193602"/>
            <a:ext cx="222565" cy="276999"/>
            <a:chOff x="3409503" y="1194238"/>
            <a:chExt cx="269305" cy="368686"/>
          </a:xfrm>
        </p:grpSpPr>
        <p:sp>
          <p:nvSpPr>
            <p:cNvPr id="16" name="Ellipse 15">
              <a:extLst>
                <a:ext uri="{FF2B5EF4-FFF2-40B4-BE49-F238E27FC236}">
                  <a16:creationId xmlns:a16="http://schemas.microsoft.com/office/drawing/2014/main" id="{C559AF43-BD4F-4D4D-B32D-CC291C49FEA2}"/>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7" name="ZoneTexte 16">
              <a:extLst>
                <a:ext uri="{FF2B5EF4-FFF2-40B4-BE49-F238E27FC236}">
                  <a16:creationId xmlns:a16="http://schemas.microsoft.com/office/drawing/2014/main" id="{85D65150-60A3-4C47-88CD-107E3DDF8567}"/>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2</a:t>
              </a:r>
            </a:p>
          </p:txBody>
        </p:sp>
      </p:grpSp>
      <p:sp>
        <p:nvSpPr>
          <p:cNvPr id="18" name="Rectangle 17">
            <a:extLst>
              <a:ext uri="{FF2B5EF4-FFF2-40B4-BE49-F238E27FC236}">
                <a16:creationId xmlns:a16="http://schemas.microsoft.com/office/drawing/2014/main" id="{FF2A3E71-F790-43F9-895F-DA4FB88A640C}"/>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A</a:t>
            </a:r>
          </a:p>
        </p:txBody>
      </p:sp>
      <p:sp>
        <p:nvSpPr>
          <p:cNvPr id="21" name="Rectangle 20">
            <a:extLst>
              <a:ext uri="{FF2B5EF4-FFF2-40B4-BE49-F238E27FC236}">
                <a16:creationId xmlns:a16="http://schemas.microsoft.com/office/drawing/2014/main" id="{F639CB13-89E0-4076-8B02-146C16F07D20}"/>
              </a:ext>
            </a:extLst>
          </p:cNvPr>
          <p:cNvSpPr/>
          <p:nvPr/>
        </p:nvSpPr>
        <p:spPr bwMode="auto">
          <a:xfrm>
            <a:off x="7128636" y="1232547"/>
            <a:ext cx="2665061" cy="516224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just">
              <a:lnSpc>
                <a:spcPct val="107000"/>
              </a:lnSpc>
              <a:spcAft>
                <a:spcPts val="600"/>
              </a:spcAft>
            </a:pPr>
            <a:r>
              <a:rPr lang="en-GB" sz="1000">
                <a:effectLst/>
                <a:latin typeface="Trebuchet MS" panose="020B0603020202020204" pitchFamily="34" charset="0"/>
                <a:ea typeface="Calibri" panose="020F0502020204030204" pitchFamily="34" charset="0"/>
                <a:cs typeface="Arial" panose="020B0604020202020204" pitchFamily="34" charset="0"/>
              </a:rPr>
              <a:t>Increasing commercial proximity can be materialized in:</a:t>
            </a:r>
          </a:p>
          <a:p>
            <a:pPr marL="342900" lvl="0" indent="-342900" algn="just">
              <a:lnSpc>
                <a:spcPct val="107000"/>
              </a:lnSpc>
              <a:spcAft>
                <a:spcPts val="600"/>
              </a:spcAft>
              <a:buFont typeface="+mj-lt"/>
              <a:buAutoNum type="arabicPeriod"/>
            </a:pPr>
            <a:r>
              <a:rPr lang="en-GB" sz="1000">
                <a:effectLst/>
                <a:latin typeface="Trebuchet MS" panose="020B0603020202020204" pitchFamily="34" charset="0"/>
                <a:ea typeface="Calibri" panose="020F0502020204030204" pitchFamily="34" charset="0"/>
                <a:cs typeface="Arial" panose="020B0604020202020204" pitchFamily="34" charset="0"/>
              </a:rPr>
              <a:t>Sales team </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deployment in region </a:t>
            </a:r>
            <a:r>
              <a:rPr lang="en-GB" sz="1000">
                <a:effectLst/>
                <a:latin typeface="Trebuchet MS" panose="020B0603020202020204" pitchFamily="34" charset="0"/>
                <a:ea typeface="Calibri" panose="020F0502020204030204" pitchFamily="34" charset="0"/>
                <a:cs typeface="Arial" panose="020B0604020202020204" pitchFamily="34" charset="0"/>
              </a:rPr>
              <a:t>(Q2 2020):</a:t>
            </a:r>
          </a:p>
          <a:p>
            <a:pPr marL="450850" lvl="1" indent="-182563">
              <a:lnSpc>
                <a:spcPct val="107000"/>
              </a:lnSpc>
              <a:spcAft>
                <a:spcPts val="600"/>
              </a:spcAft>
              <a:buFont typeface="Arial" panose="020B0604020202020204" pitchFamily="34" charset="0"/>
              <a:buChar char="•"/>
            </a:pPr>
            <a:r>
              <a:rPr lang="en-GB" sz="1000">
                <a:latin typeface="Trebuchet MS" panose="020B0603020202020204" pitchFamily="34" charset="0"/>
              </a:rPr>
              <a:t>Acquire </a:t>
            </a:r>
            <a:r>
              <a:rPr lang="en-GB" sz="1000">
                <a:solidFill>
                  <a:schemeClr val="tx2"/>
                </a:solidFill>
                <a:latin typeface="Trebuchet MS" panose="020B0603020202020204" pitchFamily="34" charset="0"/>
              </a:rPr>
              <a:t>new markets </a:t>
            </a:r>
            <a:r>
              <a:rPr lang="en-GB" sz="1000">
                <a:latin typeface="Trebuchet MS" panose="020B0603020202020204" pitchFamily="34" charset="0"/>
              </a:rPr>
              <a:t>through </a:t>
            </a:r>
            <a:r>
              <a:rPr lang="en-GB" sz="1000">
                <a:solidFill>
                  <a:schemeClr val="tx2"/>
                </a:solidFill>
                <a:latin typeface="Trebuchet MS" panose="020B0603020202020204" pitchFamily="34" charset="0"/>
              </a:rPr>
              <a:t>regional sales </a:t>
            </a:r>
            <a:r>
              <a:rPr lang="en-GB" sz="1000">
                <a:latin typeface="Trebuchet MS" panose="020B0603020202020204" pitchFamily="34" charset="0"/>
              </a:rPr>
              <a:t>deployment</a:t>
            </a:r>
          </a:p>
          <a:p>
            <a:pPr marL="450850" lvl="1" indent="-182563">
              <a:lnSpc>
                <a:spcPct val="107000"/>
              </a:lnSpc>
              <a:spcAft>
                <a:spcPts val="600"/>
              </a:spcAft>
              <a:buFont typeface="Arial" panose="020B0604020202020204" pitchFamily="34" charset="0"/>
              <a:buChar char="•"/>
            </a:pPr>
            <a:r>
              <a:rPr lang="en-GB" sz="1000">
                <a:solidFill>
                  <a:schemeClr val="tx2"/>
                </a:solidFill>
                <a:latin typeface="Trebuchet MS" panose="020B0603020202020204" pitchFamily="34" charset="0"/>
              </a:rPr>
              <a:t>4 sales regional representatives </a:t>
            </a:r>
            <a:r>
              <a:rPr lang="en-GB" sz="1000">
                <a:latin typeface="Trebuchet MS" panose="020B0603020202020204" pitchFamily="34" charset="0"/>
              </a:rPr>
              <a:t>have been engaged  with objective to sell </a:t>
            </a:r>
            <a:r>
              <a:rPr lang="en-GB" sz="1000">
                <a:solidFill>
                  <a:schemeClr val="tx2"/>
                </a:solidFill>
                <a:latin typeface="Trebuchet MS" panose="020B0603020202020204" pitchFamily="34" charset="0"/>
              </a:rPr>
              <a:t>100€k net new contracts per year </a:t>
            </a:r>
            <a:r>
              <a:rPr lang="en-GB" sz="1000">
                <a:latin typeface="Trebuchet MS" panose="020B0603020202020204" pitchFamily="34" charset="0"/>
              </a:rPr>
              <a:t>in targeting </a:t>
            </a:r>
            <a:r>
              <a:rPr lang="en-GB" sz="1000">
                <a:solidFill>
                  <a:schemeClr val="tx2"/>
                </a:solidFill>
                <a:latin typeface="Trebuchet MS" panose="020B0603020202020204" pitchFamily="34" charset="0"/>
              </a:rPr>
              <a:t>mid-sized companies</a:t>
            </a:r>
            <a:endParaRPr lang="en-GB" sz="1000">
              <a:latin typeface="Trebuchet MS" panose="020B0603020202020204" pitchFamily="34" charset="0"/>
            </a:endParaRPr>
          </a:p>
          <a:p>
            <a:pPr marL="450850" lvl="1" indent="-182563">
              <a:lnSpc>
                <a:spcPct val="107000"/>
              </a:lnSpc>
              <a:spcAft>
                <a:spcPts val="600"/>
              </a:spcAft>
              <a:buFont typeface="Arial" panose="020B0604020202020204" pitchFamily="34" charset="0"/>
              <a:buChar char="•"/>
            </a:pPr>
            <a:endParaRPr lang="en-GB" sz="1000">
              <a:latin typeface="Trebuchet MS" panose="020B0603020202020204" pitchFamily="34" charset="0"/>
            </a:endParaRPr>
          </a:p>
          <a:p>
            <a:pPr marL="342900" lvl="0" indent="-342900" algn="just">
              <a:lnSpc>
                <a:spcPct val="107000"/>
              </a:lnSpc>
              <a:spcAft>
                <a:spcPts val="600"/>
              </a:spcAft>
              <a:buFont typeface="+mj-lt"/>
              <a:buAutoNum type="arabicPeriod"/>
            </a:pPr>
            <a:r>
              <a:rPr lang="en-GB" sz="1000">
                <a:effectLst/>
                <a:latin typeface="Trebuchet MS" panose="020B0603020202020204" pitchFamily="34" charset="0"/>
                <a:ea typeface="Calibri" panose="020F0502020204030204" pitchFamily="34" charset="0"/>
                <a:cs typeface="Arial" panose="020B0604020202020204" pitchFamily="34" charset="0"/>
              </a:rPr>
              <a:t>Enhanced indirect </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distribution through partners </a:t>
            </a:r>
            <a:r>
              <a:rPr lang="en-GB" sz="1000">
                <a:effectLst/>
                <a:latin typeface="Trebuchet MS" panose="020B0603020202020204" pitchFamily="34" charset="0"/>
                <a:ea typeface="Calibri" panose="020F0502020204030204" pitchFamily="34" charset="0"/>
                <a:cs typeface="Arial" panose="020B0604020202020204" pitchFamily="34" charset="0"/>
              </a:rPr>
              <a:t>(e.g. CIC):</a:t>
            </a:r>
          </a:p>
          <a:p>
            <a:pPr marL="450850" lvl="1" indent="-182563">
              <a:spcAft>
                <a:spcPts val="600"/>
              </a:spcAft>
              <a:buFont typeface="Courier New" panose="02070309020205020404" pitchFamily="49" charset="0"/>
              <a:buChar char="o"/>
            </a:pPr>
            <a:r>
              <a:rPr lang="en-GB" sz="1000">
                <a:latin typeface="Trebuchet MS" panose="020B0603020202020204" pitchFamily="34" charset="0"/>
              </a:rPr>
              <a:t>Develop an </a:t>
            </a:r>
            <a:r>
              <a:rPr lang="en-GB" sz="1000">
                <a:solidFill>
                  <a:schemeClr val="tx2"/>
                </a:solidFill>
                <a:latin typeface="Trebuchet MS" panose="020B0603020202020204" pitchFamily="34" charset="0"/>
              </a:rPr>
              <a:t>indirect distribution channel</a:t>
            </a:r>
            <a:r>
              <a:rPr lang="en-GB" sz="1000">
                <a:latin typeface="Trebuchet MS" panose="020B0603020202020204" pitchFamily="34" charset="0"/>
              </a:rPr>
              <a:t> allowing the onboarding of new clients with </a:t>
            </a:r>
            <a:r>
              <a:rPr lang="en-GB" sz="1000">
                <a:solidFill>
                  <a:schemeClr val="tx2"/>
                </a:solidFill>
                <a:latin typeface="Trebuchet MS" panose="020B0603020202020204" pitchFamily="34" charset="0"/>
              </a:rPr>
              <a:t>low operational costs</a:t>
            </a:r>
          </a:p>
          <a:p>
            <a:pPr marL="450850" lvl="1" indent="-182563">
              <a:spcAft>
                <a:spcPts val="600"/>
              </a:spcAft>
              <a:buFont typeface="Courier New" panose="02070309020205020404" pitchFamily="49" charset="0"/>
              <a:buChar char="o"/>
            </a:pPr>
            <a:r>
              <a:rPr lang="en-GB" sz="1000">
                <a:latin typeface="Trebuchet MS" panose="020B0603020202020204" pitchFamily="34" charset="0"/>
              </a:rPr>
              <a:t>Target the low addressed market of </a:t>
            </a:r>
            <a:r>
              <a:rPr lang="en-GB" sz="1000">
                <a:solidFill>
                  <a:schemeClr val="tx2"/>
                </a:solidFill>
                <a:latin typeface="Trebuchet MS" panose="020B0603020202020204" pitchFamily="34" charset="0"/>
              </a:rPr>
              <a:t>mid and small companies</a:t>
            </a:r>
          </a:p>
          <a:p>
            <a:pPr marL="450850" lvl="1" indent="-182563">
              <a:spcAft>
                <a:spcPts val="600"/>
              </a:spcAft>
              <a:buFont typeface="Courier New" panose="02070309020205020404" pitchFamily="49" charset="0"/>
              <a:buChar char="o"/>
            </a:pPr>
            <a:r>
              <a:rPr kumimoji="0" lang="en-GB" sz="1000" b="0" i="0" u="none" strike="noStrike" cap="none" normalizeH="0" baseline="0">
                <a:ln>
                  <a:noFill/>
                </a:ln>
                <a:solidFill>
                  <a:schemeClr val="tx1"/>
                </a:solidFill>
                <a:effectLst/>
                <a:latin typeface="Trebuchet MS" pitchFamily="34" charset="0"/>
              </a:rPr>
              <a:t>Objectives: +12% of indirect sales revenus forecasted in 2020 vs 2019; +10 new resellet agreements expected in 2020</a:t>
            </a:r>
          </a:p>
          <a:p>
            <a:pPr marL="268287" lvl="1">
              <a:spcAft>
                <a:spcPts val="600"/>
              </a:spcAft>
            </a:pPr>
            <a:endParaRPr lang="en-GB" sz="1000">
              <a:solidFill>
                <a:schemeClr val="tx2"/>
              </a:solidFill>
              <a:latin typeface="Trebuchet MS" panose="020B0603020202020204" pitchFamily="34" charset="0"/>
            </a:endParaRPr>
          </a:p>
        </p:txBody>
      </p:sp>
      <p:cxnSp>
        <p:nvCxnSpPr>
          <p:cNvPr id="22" name="Connecteur droit 4">
            <a:extLst>
              <a:ext uri="{FF2B5EF4-FFF2-40B4-BE49-F238E27FC236}">
                <a16:creationId xmlns:a16="http://schemas.microsoft.com/office/drawing/2014/main" id="{925D240D-441E-4F67-86A3-9D03E56AB034}"/>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3" name="TextBox 30">
            <a:extLst>
              <a:ext uri="{FF2B5EF4-FFF2-40B4-BE49-F238E27FC236}">
                <a16:creationId xmlns:a16="http://schemas.microsoft.com/office/drawing/2014/main" id="{D037B4D8-E38E-4A63-A9F9-F205C8EB8855}"/>
              </a:ext>
            </a:extLst>
          </p:cNvPr>
          <p:cNvSpPr txBox="1"/>
          <p:nvPr/>
        </p:nvSpPr>
        <p:spPr>
          <a:xfrm>
            <a:off x="2579092" y="942503"/>
            <a:ext cx="4622878"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a:latin typeface="Trebuchet MS" panose="020B0603020202020204" pitchFamily="34" charset="0"/>
              </a:rPr>
              <a:t>Selected initiatives to reinforce commercial proximity with customers  </a:t>
            </a:r>
          </a:p>
        </p:txBody>
      </p:sp>
      <p:grpSp>
        <p:nvGrpSpPr>
          <p:cNvPr id="28" name="Groupe 27">
            <a:extLst>
              <a:ext uri="{FF2B5EF4-FFF2-40B4-BE49-F238E27FC236}">
                <a16:creationId xmlns:a16="http://schemas.microsoft.com/office/drawing/2014/main" id="{A1F49300-1E3F-4836-B15B-3390CE8964B2}"/>
              </a:ext>
            </a:extLst>
          </p:cNvPr>
          <p:cNvGrpSpPr/>
          <p:nvPr/>
        </p:nvGrpSpPr>
        <p:grpSpPr>
          <a:xfrm>
            <a:off x="610918" y="1934494"/>
            <a:ext cx="2862971" cy="2467022"/>
            <a:chOff x="11049069" y="1936743"/>
            <a:chExt cx="3840724" cy="3274320"/>
          </a:xfrm>
        </p:grpSpPr>
        <p:grpSp>
          <p:nvGrpSpPr>
            <p:cNvPr id="29" name="Groupe 28">
              <a:extLst>
                <a:ext uri="{FF2B5EF4-FFF2-40B4-BE49-F238E27FC236}">
                  <a16:creationId xmlns:a16="http://schemas.microsoft.com/office/drawing/2014/main" id="{B31F09AD-C945-458C-9731-A6CD1492A02B}"/>
                </a:ext>
              </a:extLst>
            </p:cNvPr>
            <p:cNvGrpSpPr/>
            <p:nvPr/>
          </p:nvGrpSpPr>
          <p:grpSpPr>
            <a:xfrm>
              <a:off x="11049069" y="1936743"/>
              <a:ext cx="3724235" cy="3274320"/>
              <a:chOff x="784567" y="1441828"/>
              <a:chExt cx="3528464" cy="3091137"/>
            </a:xfrm>
          </p:grpSpPr>
          <p:sp>
            <p:nvSpPr>
              <p:cNvPr id="43" name="Freeform 5">
                <a:extLst>
                  <a:ext uri="{FF2B5EF4-FFF2-40B4-BE49-F238E27FC236}">
                    <a16:creationId xmlns:a16="http://schemas.microsoft.com/office/drawing/2014/main" id="{42F26C4F-F569-4725-98FA-1136F535CD84}"/>
                  </a:ext>
                </a:extLst>
              </p:cNvPr>
              <p:cNvSpPr>
                <a:spLocks/>
              </p:cNvSpPr>
              <p:nvPr/>
            </p:nvSpPr>
            <p:spPr bwMode="auto">
              <a:xfrm>
                <a:off x="2746868" y="1754513"/>
                <a:ext cx="1132625" cy="937262"/>
              </a:xfrm>
              <a:custGeom>
                <a:avLst/>
                <a:gdLst>
                  <a:gd name="T0" fmla="*/ 3099 w 5607"/>
                  <a:gd name="T1" fmla="*/ 1216 h 4724"/>
                  <a:gd name="T2" fmla="*/ 2870 w 5607"/>
                  <a:gd name="T3" fmla="*/ 1153 h 4724"/>
                  <a:gd name="T4" fmla="*/ 2567 w 5607"/>
                  <a:gd name="T5" fmla="*/ 1066 h 4724"/>
                  <a:gd name="T6" fmla="*/ 2370 w 5607"/>
                  <a:gd name="T7" fmla="*/ 1168 h 4724"/>
                  <a:gd name="T8" fmla="*/ 2178 w 5607"/>
                  <a:gd name="T9" fmla="*/ 967 h 4724"/>
                  <a:gd name="T10" fmla="*/ 2004 w 5607"/>
                  <a:gd name="T11" fmla="*/ 832 h 4724"/>
                  <a:gd name="T12" fmla="*/ 1637 w 5607"/>
                  <a:gd name="T13" fmla="*/ 665 h 4724"/>
                  <a:gd name="T14" fmla="*/ 1581 w 5607"/>
                  <a:gd name="T15" fmla="*/ 312 h 4724"/>
                  <a:gd name="T16" fmla="*/ 1657 w 5607"/>
                  <a:gd name="T17" fmla="*/ 45 h 4724"/>
                  <a:gd name="T18" fmla="*/ 1460 w 5607"/>
                  <a:gd name="T19" fmla="*/ 125 h 4724"/>
                  <a:gd name="T20" fmla="*/ 1157 w 5607"/>
                  <a:gd name="T21" fmla="*/ 422 h 4724"/>
                  <a:gd name="T22" fmla="*/ 920 w 5607"/>
                  <a:gd name="T23" fmla="*/ 391 h 4724"/>
                  <a:gd name="T24" fmla="*/ 905 w 5607"/>
                  <a:gd name="T25" fmla="*/ 657 h 4724"/>
                  <a:gd name="T26" fmla="*/ 799 w 5607"/>
                  <a:gd name="T27" fmla="*/ 956 h 4724"/>
                  <a:gd name="T28" fmla="*/ 728 w 5607"/>
                  <a:gd name="T29" fmla="*/ 1377 h 4724"/>
                  <a:gd name="T30" fmla="*/ 545 w 5607"/>
                  <a:gd name="T31" fmla="*/ 1405 h 4724"/>
                  <a:gd name="T32" fmla="*/ 279 w 5607"/>
                  <a:gd name="T33" fmla="*/ 1597 h 4724"/>
                  <a:gd name="T34" fmla="*/ 214 w 5607"/>
                  <a:gd name="T35" fmla="*/ 1896 h 4724"/>
                  <a:gd name="T36" fmla="*/ 236 w 5607"/>
                  <a:gd name="T37" fmla="*/ 2046 h 4724"/>
                  <a:gd name="T38" fmla="*/ 88 w 5607"/>
                  <a:gd name="T39" fmla="*/ 2377 h 4724"/>
                  <a:gd name="T40" fmla="*/ 0 w 5607"/>
                  <a:gd name="T41" fmla="*/ 2500 h 4724"/>
                  <a:gd name="T42" fmla="*/ 176 w 5607"/>
                  <a:gd name="T43" fmla="*/ 2789 h 4724"/>
                  <a:gd name="T44" fmla="*/ 4 w 5607"/>
                  <a:gd name="T45" fmla="*/ 2954 h 4724"/>
                  <a:gd name="T46" fmla="*/ 122 w 5607"/>
                  <a:gd name="T47" fmla="*/ 3244 h 4724"/>
                  <a:gd name="T48" fmla="*/ 324 w 5607"/>
                  <a:gd name="T49" fmla="*/ 3644 h 4724"/>
                  <a:gd name="T50" fmla="*/ 485 w 5607"/>
                  <a:gd name="T51" fmla="*/ 3700 h 4724"/>
                  <a:gd name="T52" fmla="*/ 994 w 5607"/>
                  <a:gd name="T53" fmla="*/ 3970 h 4724"/>
                  <a:gd name="T54" fmla="*/ 1142 w 5607"/>
                  <a:gd name="T55" fmla="*/ 3952 h 4724"/>
                  <a:gd name="T56" fmla="*/ 1456 w 5607"/>
                  <a:gd name="T57" fmla="*/ 3813 h 4724"/>
                  <a:gd name="T58" fmla="*/ 1567 w 5607"/>
                  <a:gd name="T59" fmla="*/ 3827 h 4724"/>
                  <a:gd name="T60" fmla="*/ 1684 w 5607"/>
                  <a:gd name="T61" fmla="*/ 3927 h 4724"/>
                  <a:gd name="T62" fmla="*/ 1750 w 5607"/>
                  <a:gd name="T63" fmla="*/ 4039 h 4724"/>
                  <a:gd name="T64" fmla="*/ 1887 w 5607"/>
                  <a:gd name="T65" fmla="*/ 4112 h 4724"/>
                  <a:gd name="T66" fmla="*/ 1835 w 5607"/>
                  <a:gd name="T67" fmla="*/ 4271 h 4724"/>
                  <a:gd name="T68" fmla="*/ 2169 w 5607"/>
                  <a:gd name="T69" fmla="*/ 4468 h 4724"/>
                  <a:gd name="T70" fmla="*/ 2255 w 5607"/>
                  <a:gd name="T71" fmla="*/ 4595 h 4724"/>
                  <a:gd name="T72" fmla="*/ 2429 w 5607"/>
                  <a:gd name="T73" fmla="*/ 4468 h 4724"/>
                  <a:gd name="T74" fmla="*/ 2683 w 5607"/>
                  <a:gd name="T75" fmla="*/ 4407 h 4724"/>
                  <a:gd name="T76" fmla="*/ 2781 w 5607"/>
                  <a:gd name="T77" fmla="*/ 4137 h 4724"/>
                  <a:gd name="T78" fmla="*/ 2924 w 5607"/>
                  <a:gd name="T79" fmla="*/ 4077 h 4724"/>
                  <a:gd name="T80" fmla="*/ 2983 w 5607"/>
                  <a:gd name="T81" fmla="*/ 3942 h 4724"/>
                  <a:gd name="T82" fmla="*/ 3420 w 5607"/>
                  <a:gd name="T83" fmla="*/ 3899 h 4724"/>
                  <a:gd name="T84" fmla="*/ 3726 w 5607"/>
                  <a:gd name="T85" fmla="*/ 3957 h 4724"/>
                  <a:gd name="T86" fmla="*/ 4117 w 5607"/>
                  <a:gd name="T87" fmla="*/ 4085 h 4724"/>
                  <a:gd name="T88" fmla="*/ 4364 w 5607"/>
                  <a:gd name="T89" fmla="*/ 4211 h 4724"/>
                  <a:gd name="T90" fmla="*/ 4458 w 5607"/>
                  <a:gd name="T91" fmla="*/ 4468 h 4724"/>
                  <a:gd name="T92" fmla="*/ 4595 w 5607"/>
                  <a:gd name="T93" fmla="*/ 4636 h 4724"/>
                  <a:gd name="T94" fmla="*/ 4792 w 5607"/>
                  <a:gd name="T95" fmla="*/ 4724 h 4724"/>
                  <a:gd name="T96" fmla="*/ 4883 w 5607"/>
                  <a:gd name="T97" fmla="*/ 4607 h 4724"/>
                  <a:gd name="T98" fmla="*/ 4972 w 5607"/>
                  <a:gd name="T99" fmla="*/ 4513 h 4724"/>
                  <a:gd name="T100" fmla="*/ 4954 w 5607"/>
                  <a:gd name="T101" fmla="*/ 4231 h 4724"/>
                  <a:gd name="T102" fmla="*/ 4976 w 5607"/>
                  <a:gd name="T103" fmla="*/ 3486 h 4724"/>
                  <a:gd name="T104" fmla="*/ 5190 w 5607"/>
                  <a:gd name="T105" fmla="*/ 2628 h 4724"/>
                  <a:gd name="T106" fmla="*/ 5607 w 5607"/>
                  <a:gd name="T107" fmla="*/ 1925 h 4724"/>
                  <a:gd name="T108" fmla="*/ 4934 w 5607"/>
                  <a:gd name="T109" fmla="*/ 1823 h 4724"/>
                  <a:gd name="T110" fmla="*/ 4510 w 5607"/>
                  <a:gd name="T111" fmla="*/ 1725 h 4724"/>
                  <a:gd name="T112" fmla="*/ 4235 w 5607"/>
                  <a:gd name="T113" fmla="*/ 1726 h 4724"/>
                  <a:gd name="T114" fmla="*/ 4083 w 5607"/>
                  <a:gd name="T115" fmla="*/ 1573 h 4724"/>
                  <a:gd name="T116" fmla="*/ 3994 w 5607"/>
                  <a:gd name="T117" fmla="*/ 1703 h 4724"/>
                  <a:gd name="T118" fmla="*/ 3684 w 5607"/>
                  <a:gd name="T119" fmla="*/ 1418 h 4724"/>
                  <a:gd name="T120" fmla="*/ 3547 w 5607"/>
                  <a:gd name="T121" fmla="*/ 1190 h 4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07" h="4724">
                    <a:moveTo>
                      <a:pt x="3228" y="1115"/>
                    </a:moveTo>
                    <a:lnTo>
                      <a:pt x="3099" y="1216"/>
                    </a:lnTo>
                    <a:lnTo>
                      <a:pt x="3018" y="1219"/>
                    </a:lnTo>
                    <a:lnTo>
                      <a:pt x="2870" y="1153"/>
                    </a:lnTo>
                    <a:lnTo>
                      <a:pt x="2765" y="1066"/>
                    </a:lnTo>
                    <a:lnTo>
                      <a:pt x="2567" y="1066"/>
                    </a:lnTo>
                    <a:lnTo>
                      <a:pt x="2531" y="1146"/>
                    </a:lnTo>
                    <a:lnTo>
                      <a:pt x="2370" y="1168"/>
                    </a:lnTo>
                    <a:lnTo>
                      <a:pt x="2269" y="958"/>
                    </a:lnTo>
                    <a:lnTo>
                      <a:pt x="2178" y="967"/>
                    </a:lnTo>
                    <a:lnTo>
                      <a:pt x="2178" y="875"/>
                    </a:lnTo>
                    <a:lnTo>
                      <a:pt x="2004" y="832"/>
                    </a:lnTo>
                    <a:lnTo>
                      <a:pt x="1808" y="661"/>
                    </a:lnTo>
                    <a:lnTo>
                      <a:pt x="1637" y="665"/>
                    </a:lnTo>
                    <a:lnTo>
                      <a:pt x="1662" y="478"/>
                    </a:lnTo>
                    <a:lnTo>
                      <a:pt x="1581" y="312"/>
                    </a:lnTo>
                    <a:lnTo>
                      <a:pt x="1581" y="192"/>
                    </a:lnTo>
                    <a:lnTo>
                      <a:pt x="1657" y="45"/>
                    </a:lnTo>
                    <a:lnTo>
                      <a:pt x="1580" y="0"/>
                    </a:lnTo>
                    <a:lnTo>
                      <a:pt x="1460" y="125"/>
                    </a:lnTo>
                    <a:lnTo>
                      <a:pt x="1411" y="310"/>
                    </a:lnTo>
                    <a:lnTo>
                      <a:pt x="1157" y="422"/>
                    </a:lnTo>
                    <a:lnTo>
                      <a:pt x="1003" y="372"/>
                    </a:lnTo>
                    <a:lnTo>
                      <a:pt x="920" y="391"/>
                    </a:lnTo>
                    <a:lnTo>
                      <a:pt x="944" y="556"/>
                    </a:lnTo>
                    <a:lnTo>
                      <a:pt x="905" y="657"/>
                    </a:lnTo>
                    <a:lnTo>
                      <a:pt x="944" y="747"/>
                    </a:lnTo>
                    <a:lnTo>
                      <a:pt x="799" y="956"/>
                    </a:lnTo>
                    <a:lnTo>
                      <a:pt x="719" y="963"/>
                    </a:lnTo>
                    <a:lnTo>
                      <a:pt x="728" y="1377"/>
                    </a:lnTo>
                    <a:lnTo>
                      <a:pt x="701" y="1459"/>
                    </a:lnTo>
                    <a:lnTo>
                      <a:pt x="545" y="1405"/>
                    </a:lnTo>
                    <a:lnTo>
                      <a:pt x="316" y="1521"/>
                    </a:lnTo>
                    <a:lnTo>
                      <a:pt x="279" y="1597"/>
                    </a:lnTo>
                    <a:lnTo>
                      <a:pt x="373" y="1832"/>
                    </a:lnTo>
                    <a:lnTo>
                      <a:pt x="214" y="1896"/>
                    </a:lnTo>
                    <a:lnTo>
                      <a:pt x="261" y="1966"/>
                    </a:lnTo>
                    <a:lnTo>
                      <a:pt x="236" y="2046"/>
                    </a:lnTo>
                    <a:lnTo>
                      <a:pt x="308" y="2082"/>
                    </a:lnTo>
                    <a:lnTo>
                      <a:pt x="88" y="2377"/>
                    </a:lnTo>
                    <a:lnTo>
                      <a:pt x="74" y="2435"/>
                    </a:lnTo>
                    <a:lnTo>
                      <a:pt x="0" y="2500"/>
                    </a:lnTo>
                    <a:lnTo>
                      <a:pt x="102" y="2740"/>
                    </a:lnTo>
                    <a:lnTo>
                      <a:pt x="176" y="2789"/>
                    </a:lnTo>
                    <a:lnTo>
                      <a:pt x="89" y="2932"/>
                    </a:lnTo>
                    <a:lnTo>
                      <a:pt x="4" y="2954"/>
                    </a:lnTo>
                    <a:lnTo>
                      <a:pt x="17" y="3201"/>
                    </a:lnTo>
                    <a:lnTo>
                      <a:pt x="122" y="3244"/>
                    </a:lnTo>
                    <a:lnTo>
                      <a:pt x="252" y="3405"/>
                    </a:lnTo>
                    <a:lnTo>
                      <a:pt x="324" y="3644"/>
                    </a:lnTo>
                    <a:lnTo>
                      <a:pt x="381" y="3580"/>
                    </a:lnTo>
                    <a:lnTo>
                      <a:pt x="485" y="3700"/>
                    </a:lnTo>
                    <a:lnTo>
                      <a:pt x="630" y="4017"/>
                    </a:lnTo>
                    <a:lnTo>
                      <a:pt x="994" y="3970"/>
                    </a:lnTo>
                    <a:lnTo>
                      <a:pt x="1079" y="4009"/>
                    </a:lnTo>
                    <a:lnTo>
                      <a:pt x="1142" y="3952"/>
                    </a:lnTo>
                    <a:lnTo>
                      <a:pt x="1320" y="3927"/>
                    </a:lnTo>
                    <a:lnTo>
                      <a:pt x="1456" y="3813"/>
                    </a:lnTo>
                    <a:lnTo>
                      <a:pt x="1567" y="3829"/>
                    </a:lnTo>
                    <a:lnTo>
                      <a:pt x="1567" y="3827"/>
                    </a:lnTo>
                    <a:lnTo>
                      <a:pt x="1669" y="3847"/>
                    </a:lnTo>
                    <a:lnTo>
                      <a:pt x="1684" y="3927"/>
                    </a:lnTo>
                    <a:lnTo>
                      <a:pt x="1760" y="3956"/>
                    </a:lnTo>
                    <a:lnTo>
                      <a:pt x="1750" y="4039"/>
                    </a:lnTo>
                    <a:lnTo>
                      <a:pt x="1835" y="4046"/>
                    </a:lnTo>
                    <a:lnTo>
                      <a:pt x="1887" y="4112"/>
                    </a:lnTo>
                    <a:lnTo>
                      <a:pt x="1916" y="4201"/>
                    </a:lnTo>
                    <a:lnTo>
                      <a:pt x="1835" y="4271"/>
                    </a:lnTo>
                    <a:lnTo>
                      <a:pt x="1902" y="4410"/>
                    </a:lnTo>
                    <a:lnTo>
                      <a:pt x="2169" y="4468"/>
                    </a:lnTo>
                    <a:lnTo>
                      <a:pt x="2255" y="4513"/>
                    </a:lnTo>
                    <a:lnTo>
                      <a:pt x="2255" y="4595"/>
                    </a:lnTo>
                    <a:lnTo>
                      <a:pt x="2394" y="4540"/>
                    </a:lnTo>
                    <a:lnTo>
                      <a:pt x="2429" y="4468"/>
                    </a:lnTo>
                    <a:lnTo>
                      <a:pt x="2618" y="4356"/>
                    </a:lnTo>
                    <a:lnTo>
                      <a:pt x="2683" y="4407"/>
                    </a:lnTo>
                    <a:lnTo>
                      <a:pt x="2772" y="4377"/>
                    </a:lnTo>
                    <a:lnTo>
                      <a:pt x="2781" y="4137"/>
                    </a:lnTo>
                    <a:lnTo>
                      <a:pt x="2841" y="4067"/>
                    </a:lnTo>
                    <a:lnTo>
                      <a:pt x="2924" y="4077"/>
                    </a:lnTo>
                    <a:lnTo>
                      <a:pt x="2989" y="3985"/>
                    </a:lnTo>
                    <a:lnTo>
                      <a:pt x="2983" y="3942"/>
                    </a:lnTo>
                    <a:lnTo>
                      <a:pt x="3218" y="3776"/>
                    </a:lnTo>
                    <a:lnTo>
                      <a:pt x="3420" y="3899"/>
                    </a:lnTo>
                    <a:lnTo>
                      <a:pt x="3585" y="3853"/>
                    </a:lnTo>
                    <a:lnTo>
                      <a:pt x="3726" y="3957"/>
                    </a:lnTo>
                    <a:lnTo>
                      <a:pt x="3875" y="3893"/>
                    </a:lnTo>
                    <a:lnTo>
                      <a:pt x="4117" y="4085"/>
                    </a:lnTo>
                    <a:lnTo>
                      <a:pt x="4144" y="4067"/>
                    </a:lnTo>
                    <a:lnTo>
                      <a:pt x="4364" y="4211"/>
                    </a:lnTo>
                    <a:lnTo>
                      <a:pt x="4377" y="4473"/>
                    </a:lnTo>
                    <a:lnTo>
                      <a:pt x="4458" y="4468"/>
                    </a:lnTo>
                    <a:lnTo>
                      <a:pt x="4519" y="4620"/>
                    </a:lnTo>
                    <a:lnTo>
                      <a:pt x="4595" y="4636"/>
                    </a:lnTo>
                    <a:lnTo>
                      <a:pt x="4572" y="4723"/>
                    </a:lnTo>
                    <a:lnTo>
                      <a:pt x="4792" y="4724"/>
                    </a:lnTo>
                    <a:lnTo>
                      <a:pt x="4869" y="4694"/>
                    </a:lnTo>
                    <a:lnTo>
                      <a:pt x="4883" y="4607"/>
                    </a:lnTo>
                    <a:lnTo>
                      <a:pt x="4966" y="4602"/>
                    </a:lnTo>
                    <a:lnTo>
                      <a:pt x="4972" y="4513"/>
                    </a:lnTo>
                    <a:lnTo>
                      <a:pt x="5037" y="4455"/>
                    </a:lnTo>
                    <a:lnTo>
                      <a:pt x="4954" y="4231"/>
                    </a:lnTo>
                    <a:lnTo>
                      <a:pt x="5032" y="3785"/>
                    </a:lnTo>
                    <a:lnTo>
                      <a:pt x="4976" y="3486"/>
                    </a:lnTo>
                    <a:lnTo>
                      <a:pt x="5148" y="3083"/>
                    </a:lnTo>
                    <a:lnTo>
                      <a:pt x="5190" y="2628"/>
                    </a:lnTo>
                    <a:lnTo>
                      <a:pt x="5493" y="2234"/>
                    </a:lnTo>
                    <a:lnTo>
                      <a:pt x="5607" y="1925"/>
                    </a:lnTo>
                    <a:lnTo>
                      <a:pt x="5360" y="1838"/>
                    </a:lnTo>
                    <a:lnTo>
                      <a:pt x="4934" y="1823"/>
                    </a:lnTo>
                    <a:lnTo>
                      <a:pt x="4693" y="1606"/>
                    </a:lnTo>
                    <a:lnTo>
                      <a:pt x="4510" y="1725"/>
                    </a:lnTo>
                    <a:lnTo>
                      <a:pt x="4310" y="1690"/>
                    </a:lnTo>
                    <a:lnTo>
                      <a:pt x="4235" y="1726"/>
                    </a:lnTo>
                    <a:lnTo>
                      <a:pt x="4171" y="1614"/>
                    </a:lnTo>
                    <a:lnTo>
                      <a:pt x="4083" y="1573"/>
                    </a:lnTo>
                    <a:lnTo>
                      <a:pt x="4002" y="1618"/>
                    </a:lnTo>
                    <a:lnTo>
                      <a:pt x="3994" y="1703"/>
                    </a:lnTo>
                    <a:lnTo>
                      <a:pt x="3915" y="1682"/>
                    </a:lnTo>
                    <a:lnTo>
                      <a:pt x="3684" y="1418"/>
                    </a:lnTo>
                    <a:lnTo>
                      <a:pt x="3634" y="1249"/>
                    </a:lnTo>
                    <a:lnTo>
                      <a:pt x="3547" y="1190"/>
                    </a:lnTo>
                    <a:lnTo>
                      <a:pt x="3228" y="1115"/>
                    </a:lnTo>
                    <a:close/>
                  </a:path>
                </a:pathLst>
              </a:custGeom>
              <a:solidFill>
                <a:schemeClr val="bg2">
                  <a:lumMod val="40000"/>
                  <a:lumOff val="60000"/>
                </a:schemeClr>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Freeform 6">
                <a:extLst>
                  <a:ext uri="{FF2B5EF4-FFF2-40B4-BE49-F238E27FC236}">
                    <a16:creationId xmlns:a16="http://schemas.microsoft.com/office/drawing/2014/main" id="{7D237357-BB3E-453F-93E3-410AE319678B}"/>
                  </a:ext>
                </a:extLst>
              </p:cNvPr>
              <p:cNvSpPr>
                <a:spLocks/>
              </p:cNvSpPr>
              <p:nvPr/>
            </p:nvSpPr>
            <p:spPr bwMode="auto">
              <a:xfrm>
                <a:off x="2269421" y="1441828"/>
                <a:ext cx="668103" cy="784093"/>
              </a:xfrm>
              <a:custGeom>
                <a:avLst/>
                <a:gdLst>
                  <a:gd name="T0" fmla="*/ 800 w 3309"/>
                  <a:gd name="T1" fmla="*/ 117 h 3950"/>
                  <a:gd name="T2" fmla="*/ 237 w 3309"/>
                  <a:gd name="T3" fmla="*/ 385 h 3950"/>
                  <a:gd name="T4" fmla="*/ 319 w 3309"/>
                  <a:gd name="T5" fmla="*/ 1007 h 3950"/>
                  <a:gd name="T6" fmla="*/ 219 w 3309"/>
                  <a:gd name="T7" fmla="*/ 1127 h 3950"/>
                  <a:gd name="T8" fmla="*/ 300 w 3309"/>
                  <a:gd name="T9" fmla="*/ 1285 h 3950"/>
                  <a:gd name="T10" fmla="*/ 182 w 3309"/>
                  <a:gd name="T11" fmla="*/ 1413 h 3950"/>
                  <a:gd name="T12" fmla="*/ 189 w 3309"/>
                  <a:gd name="T13" fmla="*/ 1530 h 3950"/>
                  <a:gd name="T14" fmla="*/ 1 w 3309"/>
                  <a:gd name="T15" fmla="*/ 1788 h 3950"/>
                  <a:gd name="T16" fmla="*/ 463 w 3309"/>
                  <a:gd name="T17" fmla="*/ 2341 h 3950"/>
                  <a:gd name="T18" fmla="*/ 415 w 3309"/>
                  <a:gd name="T19" fmla="*/ 2730 h 3950"/>
                  <a:gd name="T20" fmla="*/ 477 w 3309"/>
                  <a:gd name="T21" fmla="*/ 3205 h 3950"/>
                  <a:gd name="T22" fmla="*/ 407 w 3309"/>
                  <a:gd name="T23" fmla="*/ 3373 h 3950"/>
                  <a:gd name="T24" fmla="*/ 752 w 3309"/>
                  <a:gd name="T25" fmla="*/ 3351 h 3950"/>
                  <a:gd name="T26" fmla="*/ 1083 w 3309"/>
                  <a:gd name="T27" fmla="*/ 3369 h 3950"/>
                  <a:gd name="T28" fmla="*/ 1596 w 3309"/>
                  <a:gd name="T29" fmla="*/ 3583 h 3950"/>
                  <a:gd name="T30" fmla="*/ 1728 w 3309"/>
                  <a:gd name="T31" fmla="*/ 3566 h 3950"/>
                  <a:gd name="T32" fmla="*/ 2038 w 3309"/>
                  <a:gd name="T33" fmla="*/ 3501 h 3950"/>
                  <a:gd name="T34" fmla="*/ 2070 w 3309"/>
                  <a:gd name="T35" fmla="*/ 3656 h 3950"/>
                  <a:gd name="T36" fmla="*/ 2453 w 3309"/>
                  <a:gd name="T37" fmla="*/ 3950 h 3950"/>
                  <a:gd name="T38" fmla="*/ 2601 w 3309"/>
                  <a:gd name="T39" fmla="*/ 3619 h 3950"/>
                  <a:gd name="T40" fmla="*/ 2579 w 3309"/>
                  <a:gd name="T41" fmla="*/ 3469 h 3950"/>
                  <a:gd name="T42" fmla="*/ 2644 w 3309"/>
                  <a:gd name="T43" fmla="*/ 3170 h 3950"/>
                  <a:gd name="T44" fmla="*/ 2910 w 3309"/>
                  <a:gd name="T45" fmla="*/ 2978 h 3950"/>
                  <a:gd name="T46" fmla="*/ 3093 w 3309"/>
                  <a:gd name="T47" fmla="*/ 2950 h 3950"/>
                  <a:gd name="T48" fmla="*/ 3164 w 3309"/>
                  <a:gd name="T49" fmla="*/ 2529 h 3950"/>
                  <a:gd name="T50" fmla="*/ 3270 w 3309"/>
                  <a:gd name="T51" fmla="*/ 2230 h 3950"/>
                  <a:gd name="T52" fmla="*/ 3285 w 3309"/>
                  <a:gd name="T53" fmla="*/ 1964 h 3950"/>
                  <a:gd name="T54" fmla="*/ 3169 w 3309"/>
                  <a:gd name="T55" fmla="*/ 1931 h 3950"/>
                  <a:gd name="T56" fmla="*/ 3178 w 3309"/>
                  <a:gd name="T57" fmla="*/ 1596 h 3950"/>
                  <a:gd name="T58" fmla="*/ 3158 w 3309"/>
                  <a:gd name="T59" fmla="*/ 1427 h 3950"/>
                  <a:gd name="T60" fmla="*/ 2864 w 3309"/>
                  <a:gd name="T61" fmla="*/ 1316 h 3950"/>
                  <a:gd name="T62" fmla="*/ 2642 w 3309"/>
                  <a:gd name="T63" fmla="*/ 1336 h 3950"/>
                  <a:gd name="T64" fmla="*/ 2422 w 3309"/>
                  <a:gd name="T65" fmla="*/ 1036 h 3950"/>
                  <a:gd name="T66" fmla="*/ 2306 w 3309"/>
                  <a:gd name="T67" fmla="*/ 1019 h 3950"/>
                  <a:gd name="T68" fmla="*/ 2126 w 3309"/>
                  <a:gd name="T69" fmla="*/ 743 h 3950"/>
                  <a:gd name="T70" fmla="*/ 2025 w 3309"/>
                  <a:gd name="T71" fmla="*/ 529 h 3950"/>
                  <a:gd name="T72" fmla="*/ 1697 w 3309"/>
                  <a:gd name="T73" fmla="*/ 654 h 3950"/>
                  <a:gd name="T74" fmla="*/ 1528 w 3309"/>
                  <a:gd name="T75" fmla="*/ 466 h 3950"/>
                  <a:gd name="T76" fmla="*/ 1394 w 3309"/>
                  <a:gd name="T77" fmla="*/ 388 h 3950"/>
                  <a:gd name="T78" fmla="*/ 1351 w 3309"/>
                  <a:gd name="T79" fmla="*/ 49 h 3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09" h="3950">
                    <a:moveTo>
                      <a:pt x="1272" y="0"/>
                    </a:moveTo>
                    <a:lnTo>
                      <a:pt x="800" y="117"/>
                    </a:lnTo>
                    <a:lnTo>
                      <a:pt x="405" y="242"/>
                    </a:lnTo>
                    <a:lnTo>
                      <a:pt x="237" y="385"/>
                    </a:lnTo>
                    <a:lnTo>
                      <a:pt x="236" y="907"/>
                    </a:lnTo>
                    <a:lnTo>
                      <a:pt x="319" y="1007"/>
                    </a:lnTo>
                    <a:lnTo>
                      <a:pt x="240" y="957"/>
                    </a:lnTo>
                    <a:lnTo>
                      <a:pt x="219" y="1127"/>
                    </a:lnTo>
                    <a:lnTo>
                      <a:pt x="232" y="1238"/>
                    </a:lnTo>
                    <a:lnTo>
                      <a:pt x="300" y="1285"/>
                    </a:lnTo>
                    <a:lnTo>
                      <a:pt x="192" y="1327"/>
                    </a:lnTo>
                    <a:lnTo>
                      <a:pt x="182" y="1413"/>
                    </a:lnTo>
                    <a:lnTo>
                      <a:pt x="269" y="1573"/>
                    </a:lnTo>
                    <a:lnTo>
                      <a:pt x="189" y="1530"/>
                    </a:lnTo>
                    <a:lnTo>
                      <a:pt x="0" y="1787"/>
                    </a:lnTo>
                    <a:lnTo>
                      <a:pt x="1" y="1788"/>
                    </a:lnTo>
                    <a:lnTo>
                      <a:pt x="365" y="2097"/>
                    </a:lnTo>
                    <a:lnTo>
                      <a:pt x="463" y="2341"/>
                    </a:lnTo>
                    <a:lnTo>
                      <a:pt x="375" y="2476"/>
                    </a:lnTo>
                    <a:lnTo>
                      <a:pt x="415" y="2730"/>
                    </a:lnTo>
                    <a:lnTo>
                      <a:pt x="375" y="2962"/>
                    </a:lnTo>
                    <a:lnTo>
                      <a:pt x="477" y="3205"/>
                    </a:lnTo>
                    <a:lnTo>
                      <a:pt x="361" y="3278"/>
                    </a:lnTo>
                    <a:lnTo>
                      <a:pt x="407" y="3373"/>
                    </a:lnTo>
                    <a:lnTo>
                      <a:pt x="569" y="3405"/>
                    </a:lnTo>
                    <a:lnTo>
                      <a:pt x="752" y="3351"/>
                    </a:lnTo>
                    <a:lnTo>
                      <a:pt x="1018" y="3415"/>
                    </a:lnTo>
                    <a:lnTo>
                      <a:pt x="1083" y="3369"/>
                    </a:lnTo>
                    <a:lnTo>
                      <a:pt x="1397" y="3553"/>
                    </a:lnTo>
                    <a:lnTo>
                      <a:pt x="1596" y="3583"/>
                    </a:lnTo>
                    <a:lnTo>
                      <a:pt x="1654" y="3519"/>
                    </a:lnTo>
                    <a:lnTo>
                      <a:pt x="1728" y="3566"/>
                    </a:lnTo>
                    <a:lnTo>
                      <a:pt x="1962" y="3481"/>
                    </a:lnTo>
                    <a:lnTo>
                      <a:pt x="2038" y="3501"/>
                    </a:lnTo>
                    <a:lnTo>
                      <a:pt x="2088" y="3574"/>
                    </a:lnTo>
                    <a:lnTo>
                      <a:pt x="2070" y="3656"/>
                    </a:lnTo>
                    <a:lnTo>
                      <a:pt x="2182" y="3776"/>
                    </a:lnTo>
                    <a:lnTo>
                      <a:pt x="2453" y="3950"/>
                    </a:lnTo>
                    <a:lnTo>
                      <a:pt x="2673" y="3655"/>
                    </a:lnTo>
                    <a:lnTo>
                      <a:pt x="2601" y="3619"/>
                    </a:lnTo>
                    <a:lnTo>
                      <a:pt x="2626" y="3539"/>
                    </a:lnTo>
                    <a:lnTo>
                      <a:pt x="2579" y="3469"/>
                    </a:lnTo>
                    <a:lnTo>
                      <a:pt x="2738" y="3405"/>
                    </a:lnTo>
                    <a:lnTo>
                      <a:pt x="2644" y="3170"/>
                    </a:lnTo>
                    <a:lnTo>
                      <a:pt x="2681" y="3094"/>
                    </a:lnTo>
                    <a:lnTo>
                      <a:pt x="2910" y="2978"/>
                    </a:lnTo>
                    <a:lnTo>
                      <a:pt x="3066" y="3032"/>
                    </a:lnTo>
                    <a:lnTo>
                      <a:pt x="3093" y="2950"/>
                    </a:lnTo>
                    <a:lnTo>
                      <a:pt x="3084" y="2536"/>
                    </a:lnTo>
                    <a:lnTo>
                      <a:pt x="3164" y="2529"/>
                    </a:lnTo>
                    <a:lnTo>
                      <a:pt x="3309" y="2320"/>
                    </a:lnTo>
                    <a:lnTo>
                      <a:pt x="3270" y="2230"/>
                    </a:lnTo>
                    <a:lnTo>
                      <a:pt x="3309" y="2129"/>
                    </a:lnTo>
                    <a:lnTo>
                      <a:pt x="3285" y="1964"/>
                    </a:lnTo>
                    <a:lnTo>
                      <a:pt x="3276" y="1966"/>
                    </a:lnTo>
                    <a:lnTo>
                      <a:pt x="3169" y="1931"/>
                    </a:lnTo>
                    <a:lnTo>
                      <a:pt x="3266" y="1749"/>
                    </a:lnTo>
                    <a:lnTo>
                      <a:pt x="3178" y="1596"/>
                    </a:lnTo>
                    <a:lnTo>
                      <a:pt x="3238" y="1409"/>
                    </a:lnTo>
                    <a:lnTo>
                      <a:pt x="3158" y="1427"/>
                    </a:lnTo>
                    <a:lnTo>
                      <a:pt x="3038" y="1284"/>
                    </a:lnTo>
                    <a:lnTo>
                      <a:pt x="2864" y="1316"/>
                    </a:lnTo>
                    <a:lnTo>
                      <a:pt x="2706" y="1279"/>
                    </a:lnTo>
                    <a:lnTo>
                      <a:pt x="2642" y="1336"/>
                    </a:lnTo>
                    <a:lnTo>
                      <a:pt x="2579" y="1073"/>
                    </a:lnTo>
                    <a:lnTo>
                      <a:pt x="2422" y="1036"/>
                    </a:lnTo>
                    <a:lnTo>
                      <a:pt x="2390" y="957"/>
                    </a:lnTo>
                    <a:lnTo>
                      <a:pt x="2306" y="1019"/>
                    </a:lnTo>
                    <a:lnTo>
                      <a:pt x="2215" y="988"/>
                    </a:lnTo>
                    <a:lnTo>
                      <a:pt x="2126" y="743"/>
                    </a:lnTo>
                    <a:lnTo>
                      <a:pt x="2140" y="657"/>
                    </a:lnTo>
                    <a:lnTo>
                      <a:pt x="2025" y="529"/>
                    </a:lnTo>
                    <a:lnTo>
                      <a:pt x="1857" y="543"/>
                    </a:lnTo>
                    <a:lnTo>
                      <a:pt x="1697" y="654"/>
                    </a:lnTo>
                    <a:lnTo>
                      <a:pt x="1610" y="617"/>
                    </a:lnTo>
                    <a:lnTo>
                      <a:pt x="1528" y="466"/>
                    </a:lnTo>
                    <a:lnTo>
                      <a:pt x="1433" y="465"/>
                    </a:lnTo>
                    <a:lnTo>
                      <a:pt x="1394" y="388"/>
                    </a:lnTo>
                    <a:lnTo>
                      <a:pt x="1425" y="223"/>
                    </a:lnTo>
                    <a:lnTo>
                      <a:pt x="1351" y="49"/>
                    </a:lnTo>
                    <a:lnTo>
                      <a:pt x="1272" y="0"/>
                    </a:lnTo>
                    <a:close/>
                  </a:path>
                </a:pathLst>
              </a:custGeom>
              <a:solidFill>
                <a:schemeClr val="bg2">
                  <a:lumMod val="75000"/>
                </a:schemeClr>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 name="Freeform 7">
                <a:extLst>
                  <a:ext uri="{FF2B5EF4-FFF2-40B4-BE49-F238E27FC236}">
                    <a16:creationId xmlns:a16="http://schemas.microsoft.com/office/drawing/2014/main" id="{0D97F9E2-644D-4A98-AAD0-549F5B74A02F}"/>
                  </a:ext>
                </a:extLst>
              </p:cNvPr>
              <p:cNvSpPr>
                <a:spLocks/>
              </p:cNvSpPr>
              <p:nvPr/>
            </p:nvSpPr>
            <p:spPr bwMode="auto">
              <a:xfrm>
                <a:off x="2283154" y="2092594"/>
                <a:ext cx="499260" cy="393634"/>
              </a:xfrm>
              <a:custGeom>
                <a:avLst/>
                <a:gdLst>
                  <a:gd name="T0" fmla="*/ 1013 w 2471"/>
                  <a:gd name="T1" fmla="*/ 91 h 1986"/>
                  <a:gd name="T2" fmla="*/ 948 w 2471"/>
                  <a:gd name="T3" fmla="*/ 137 h 1986"/>
                  <a:gd name="T4" fmla="*/ 682 w 2471"/>
                  <a:gd name="T5" fmla="*/ 73 h 1986"/>
                  <a:gd name="T6" fmla="*/ 499 w 2471"/>
                  <a:gd name="T7" fmla="*/ 127 h 1986"/>
                  <a:gd name="T8" fmla="*/ 337 w 2471"/>
                  <a:gd name="T9" fmla="*/ 95 h 1986"/>
                  <a:gd name="T10" fmla="*/ 291 w 2471"/>
                  <a:gd name="T11" fmla="*/ 0 h 1986"/>
                  <a:gd name="T12" fmla="*/ 177 w 2471"/>
                  <a:gd name="T13" fmla="*/ 275 h 1986"/>
                  <a:gd name="T14" fmla="*/ 67 w 2471"/>
                  <a:gd name="T15" fmla="*/ 274 h 1986"/>
                  <a:gd name="T16" fmla="*/ 0 w 2471"/>
                  <a:gd name="T17" fmla="*/ 347 h 1986"/>
                  <a:gd name="T18" fmla="*/ 51 w 2471"/>
                  <a:gd name="T19" fmla="*/ 516 h 1986"/>
                  <a:gd name="T20" fmla="*/ 157 w 2471"/>
                  <a:gd name="T21" fmla="*/ 708 h 1986"/>
                  <a:gd name="T22" fmla="*/ 171 w 2471"/>
                  <a:gd name="T23" fmla="*/ 1022 h 1986"/>
                  <a:gd name="T24" fmla="*/ 349 w 2471"/>
                  <a:gd name="T25" fmla="*/ 1178 h 1986"/>
                  <a:gd name="T26" fmla="*/ 385 w 2471"/>
                  <a:gd name="T27" fmla="*/ 1340 h 1986"/>
                  <a:gd name="T28" fmla="*/ 450 w 2471"/>
                  <a:gd name="T29" fmla="*/ 1403 h 1986"/>
                  <a:gd name="T30" fmla="*/ 539 w 2471"/>
                  <a:gd name="T31" fmla="*/ 1384 h 1986"/>
                  <a:gd name="T32" fmla="*/ 621 w 2471"/>
                  <a:gd name="T33" fmla="*/ 1691 h 1986"/>
                  <a:gd name="T34" fmla="*/ 622 w 2471"/>
                  <a:gd name="T35" fmla="*/ 1691 h 1986"/>
                  <a:gd name="T36" fmla="*/ 822 w 2471"/>
                  <a:gd name="T37" fmla="*/ 1669 h 1986"/>
                  <a:gd name="T38" fmla="*/ 877 w 2471"/>
                  <a:gd name="T39" fmla="*/ 1588 h 1986"/>
                  <a:gd name="T40" fmla="*/ 921 w 2471"/>
                  <a:gd name="T41" fmla="*/ 1664 h 1986"/>
                  <a:gd name="T42" fmla="*/ 1001 w 2471"/>
                  <a:gd name="T43" fmla="*/ 1613 h 1986"/>
                  <a:gd name="T44" fmla="*/ 1109 w 2471"/>
                  <a:gd name="T45" fmla="*/ 1629 h 1986"/>
                  <a:gd name="T46" fmla="*/ 1128 w 2471"/>
                  <a:gd name="T47" fmla="*/ 1719 h 1986"/>
                  <a:gd name="T48" fmla="*/ 1249 w 2471"/>
                  <a:gd name="T49" fmla="*/ 1843 h 1986"/>
                  <a:gd name="T50" fmla="*/ 1234 w 2471"/>
                  <a:gd name="T51" fmla="*/ 1921 h 1986"/>
                  <a:gd name="T52" fmla="*/ 1158 w 2471"/>
                  <a:gd name="T53" fmla="*/ 1965 h 1986"/>
                  <a:gd name="T54" fmla="*/ 1423 w 2471"/>
                  <a:gd name="T55" fmla="*/ 1986 h 1986"/>
                  <a:gd name="T56" fmla="*/ 1747 w 2471"/>
                  <a:gd name="T57" fmla="*/ 1907 h 1986"/>
                  <a:gd name="T58" fmla="*/ 1860 w 2471"/>
                  <a:gd name="T59" fmla="*/ 1753 h 1986"/>
                  <a:gd name="T60" fmla="*/ 1865 w 2471"/>
                  <a:gd name="T61" fmla="*/ 1585 h 1986"/>
                  <a:gd name="T62" fmla="*/ 2312 w 2471"/>
                  <a:gd name="T63" fmla="*/ 1496 h 1986"/>
                  <a:gd name="T64" fmla="*/ 2299 w 2471"/>
                  <a:gd name="T65" fmla="*/ 1249 h 1986"/>
                  <a:gd name="T66" fmla="*/ 2384 w 2471"/>
                  <a:gd name="T67" fmla="*/ 1227 h 1986"/>
                  <a:gd name="T68" fmla="*/ 2471 w 2471"/>
                  <a:gd name="T69" fmla="*/ 1084 h 1986"/>
                  <a:gd name="T70" fmla="*/ 2397 w 2471"/>
                  <a:gd name="T71" fmla="*/ 1035 h 1986"/>
                  <a:gd name="T72" fmla="*/ 2295 w 2471"/>
                  <a:gd name="T73" fmla="*/ 795 h 1986"/>
                  <a:gd name="T74" fmla="*/ 2369 w 2471"/>
                  <a:gd name="T75" fmla="*/ 730 h 1986"/>
                  <a:gd name="T76" fmla="*/ 2383 w 2471"/>
                  <a:gd name="T77" fmla="*/ 672 h 1986"/>
                  <a:gd name="T78" fmla="*/ 2112 w 2471"/>
                  <a:gd name="T79" fmla="*/ 498 h 1986"/>
                  <a:gd name="T80" fmla="*/ 2000 w 2471"/>
                  <a:gd name="T81" fmla="*/ 378 h 1986"/>
                  <a:gd name="T82" fmla="*/ 2018 w 2471"/>
                  <a:gd name="T83" fmla="*/ 296 h 1986"/>
                  <a:gd name="T84" fmla="*/ 1968 w 2471"/>
                  <a:gd name="T85" fmla="*/ 223 h 1986"/>
                  <a:gd name="T86" fmla="*/ 1892 w 2471"/>
                  <a:gd name="T87" fmla="*/ 203 h 1986"/>
                  <a:gd name="T88" fmla="*/ 1658 w 2471"/>
                  <a:gd name="T89" fmla="*/ 288 h 1986"/>
                  <a:gd name="T90" fmla="*/ 1584 w 2471"/>
                  <a:gd name="T91" fmla="*/ 241 h 1986"/>
                  <a:gd name="T92" fmla="*/ 1526 w 2471"/>
                  <a:gd name="T93" fmla="*/ 305 h 1986"/>
                  <a:gd name="T94" fmla="*/ 1327 w 2471"/>
                  <a:gd name="T95" fmla="*/ 275 h 1986"/>
                  <a:gd name="T96" fmla="*/ 1013 w 2471"/>
                  <a:gd name="T97" fmla="*/ 91 h 1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71" h="1986">
                    <a:moveTo>
                      <a:pt x="1013" y="91"/>
                    </a:moveTo>
                    <a:lnTo>
                      <a:pt x="948" y="137"/>
                    </a:lnTo>
                    <a:lnTo>
                      <a:pt x="682" y="73"/>
                    </a:lnTo>
                    <a:lnTo>
                      <a:pt x="499" y="127"/>
                    </a:lnTo>
                    <a:lnTo>
                      <a:pt x="337" y="95"/>
                    </a:lnTo>
                    <a:lnTo>
                      <a:pt x="291" y="0"/>
                    </a:lnTo>
                    <a:lnTo>
                      <a:pt x="177" y="275"/>
                    </a:lnTo>
                    <a:lnTo>
                      <a:pt x="67" y="274"/>
                    </a:lnTo>
                    <a:lnTo>
                      <a:pt x="0" y="347"/>
                    </a:lnTo>
                    <a:lnTo>
                      <a:pt x="51" y="516"/>
                    </a:lnTo>
                    <a:lnTo>
                      <a:pt x="157" y="708"/>
                    </a:lnTo>
                    <a:lnTo>
                      <a:pt x="171" y="1022"/>
                    </a:lnTo>
                    <a:lnTo>
                      <a:pt x="349" y="1178"/>
                    </a:lnTo>
                    <a:lnTo>
                      <a:pt x="385" y="1340"/>
                    </a:lnTo>
                    <a:lnTo>
                      <a:pt x="450" y="1403"/>
                    </a:lnTo>
                    <a:lnTo>
                      <a:pt x="539" y="1384"/>
                    </a:lnTo>
                    <a:lnTo>
                      <a:pt x="621" y="1691"/>
                    </a:lnTo>
                    <a:lnTo>
                      <a:pt x="622" y="1691"/>
                    </a:lnTo>
                    <a:lnTo>
                      <a:pt x="822" y="1669"/>
                    </a:lnTo>
                    <a:lnTo>
                      <a:pt x="877" y="1588"/>
                    </a:lnTo>
                    <a:lnTo>
                      <a:pt x="921" y="1664"/>
                    </a:lnTo>
                    <a:lnTo>
                      <a:pt x="1001" y="1613"/>
                    </a:lnTo>
                    <a:lnTo>
                      <a:pt x="1109" y="1629"/>
                    </a:lnTo>
                    <a:lnTo>
                      <a:pt x="1128" y="1719"/>
                    </a:lnTo>
                    <a:lnTo>
                      <a:pt x="1249" y="1843"/>
                    </a:lnTo>
                    <a:lnTo>
                      <a:pt x="1234" y="1921"/>
                    </a:lnTo>
                    <a:lnTo>
                      <a:pt x="1158" y="1965"/>
                    </a:lnTo>
                    <a:lnTo>
                      <a:pt x="1423" y="1986"/>
                    </a:lnTo>
                    <a:lnTo>
                      <a:pt x="1747" y="1907"/>
                    </a:lnTo>
                    <a:lnTo>
                      <a:pt x="1860" y="1753"/>
                    </a:lnTo>
                    <a:lnTo>
                      <a:pt x="1865" y="1585"/>
                    </a:lnTo>
                    <a:lnTo>
                      <a:pt x="2312" y="1496"/>
                    </a:lnTo>
                    <a:lnTo>
                      <a:pt x="2299" y="1249"/>
                    </a:lnTo>
                    <a:lnTo>
                      <a:pt x="2384" y="1227"/>
                    </a:lnTo>
                    <a:lnTo>
                      <a:pt x="2471" y="1084"/>
                    </a:lnTo>
                    <a:lnTo>
                      <a:pt x="2397" y="1035"/>
                    </a:lnTo>
                    <a:lnTo>
                      <a:pt x="2295" y="795"/>
                    </a:lnTo>
                    <a:lnTo>
                      <a:pt x="2369" y="730"/>
                    </a:lnTo>
                    <a:lnTo>
                      <a:pt x="2383" y="672"/>
                    </a:lnTo>
                    <a:lnTo>
                      <a:pt x="2112" y="498"/>
                    </a:lnTo>
                    <a:lnTo>
                      <a:pt x="2000" y="378"/>
                    </a:lnTo>
                    <a:lnTo>
                      <a:pt x="2018" y="296"/>
                    </a:lnTo>
                    <a:lnTo>
                      <a:pt x="1968" y="223"/>
                    </a:lnTo>
                    <a:lnTo>
                      <a:pt x="1892" y="203"/>
                    </a:lnTo>
                    <a:lnTo>
                      <a:pt x="1658" y="288"/>
                    </a:lnTo>
                    <a:lnTo>
                      <a:pt x="1584" y="241"/>
                    </a:lnTo>
                    <a:lnTo>
                      <a:pt x="1526" y="305"/>
                    </a:lnTo>
                    <a:lnTo>
                      <a:pt x="1327" y="275"/>
                    </a:lnTo>
                    <a:lnTo>
                      <a:pt x="1013" y="91"/>
                    </a:lnTo>
                    <a:close/>
                  </a:path>
                </a:pathLst>
              </a:custGeom>
              <a:solidFill>
                <a:schemeClr val="bg2">
                  <a:lumMod val="75000"/>
                </a:schemeClr>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 name="Freeform 8">
                <a:extLst>
                  <a:ext uri="{FF2B5EF4-FFF2-40B4-BE49-F238E27FC236}">
                    <a16:creationId xmlns:a16="http://schemas.microsoft.com/office/drawing/2014/main" id="{C4DC5AD8-019B-499D-88BF-CD277D9D71DB}"/>
                  </a:ext>
                </a:extLst>
              </p:cNvPr>
              <p:cNvSpPr>
                <a:spLocks/>
              </p:cNvSpPr>
              <p:nvPr/>
            </p:nvSpPr>
            <p:spPr bwMode="auto">
              <a:xfrm>
                <a:off x="2616802" y="2389406"/>
                <a:ext cx="1042952" cy="784887"/>
              </a:xfrm>
              <a:custGeom>
                <a:avLst/>
                <a:gdLst>
                  <a:gd name="T0" fmla="*/ 1723 w 5163"/>
                  <a:gd name="T1" fmla="*/ 808 h 3958"/>
                  <a:gd name="T2" fmla="*/ 1274 w 5163"/>
                  <a:gd name="T3" fmla="*/ 816 h 3958"/>
                  <a:gd name="T4" fmla="*/ 1025 w 5163"/>
                  <a:gd name="T5" fmla="*/ 379 h 3958"/>
                  <a:gd name="T6" fmla="*/ 896 w 5163"/>
                  <a:gd name="T7" fmla="*/ 204 h 3958"/>
                  <a:gd name="T8" fmla="*/ 661 w 5163"/>
                  <a:gd name="T9" fmla="*/ 0 h 3958"/>
                  <a:gd name="T10" fmla="*/ 209 w 5163"/>
                  <a:gd name="T11" fmla="*/ 257 h 3958"/>
                  <a:gd name="T12" fmla="*/ 290 w 5163"/>
                  <a:gd name="T13" fmla="*/ 630 h 3958"/>
                  <a:gd name="T14" fmla="*/ 168 w 5163"/>
                  <a:gd name="T15" fmla="*/ 938 h 3958"/>
                  <a:gd name="T16" fmla="*/ 154 w 5163"/>
                  <a:gd name="T17" fmla="*/ 1091 h 3958"/>
                  <a:gd name="T18" fmla="*/ 88 w 5163"/>
                  <a:gd name="T19" fmla="*/ 1270 h 3958"/>
                  <a:gd name="T20" fmla="*/ 70 w 5163"/>
                  <a:gd name="T21" fmla="*/ 1489 h 3958"/>
                  <a:gd name="T22" fmla="*/ 84 w 5163"/>
                  <a:gd name="T23" fmla="*/ 1747 h 3958"/>
                  <a:gd name="T24" fmla="*/ 114 w 5163"/>
                  <a:gd name="T25" fmla="*/ 1976 h 3958"/>
                  <a:gd name="T26" fmla="*/ 212 w 5163"/>
                  <a:gd name="T27" fmla="*/ 2366 h 3958"/>
                  <a:gd name="T28" fmla="*/ 270 w 5163"/>
                  <a:gd name="T29" fmla="*/ 2592 h 3958"/>
                  <a:gd name="T30" fmla="*/ 397 w 5163"/>
                  <a:gd name="T31" fmla="*/ 3033 h 3958"/>
                  <a:gd name="T32" fmla="*/ 665 w 5163"/>
                  <a:gd name="T33" fmla="*/ 2988 h 3958"/>
                  <a:gd name="T34" fmla="*/ 963 w 5163"/>
                  <a:gd name="T35" fmla="*/ 2921 h 3958"/>
                  <a:gd name="T36" fmla="*/ 1384 w 5163"/>
                  <a:gd name="T37" fmla="*/ 3396 h 3958"/>
                  <a:gd name="T38" fmla="*/ 1417 w 5163"/>
                  <a:gd name="T39" fmla="*/ 3624 h 3958"/>
                  <a:gd name="T40" fmla="*/ 1311 w 5163"/>
                  <a:gd name="T41" fmla="*/ 3846 h 3958"/>
                  <a:gd name="T42" fmla="*/ 1691 w 5163"/>
                  <a:gd name="T43" fmla="*/ 3896 h 3958"/>
                  <a:gd name="T44" fmla="*/ 1916 w 5163"/>
                  <a:gd name="T45" fmla="*/ 3846 h 3958"/>
                  <a:gd name="T46" fmla="*/ 1993 w 5163"/>
                  <a:gd name="T47" fmla="*/ 3705 h 3958"/>
                  <a:gd name="T48" fmla="*/ 2121 w 5163"/>
                  <a:gd name="T49" fmla="*/ 3708 h 3958"/>
                  <a:gd name="T50" fmla="*/ 2239 w 5163"/>
                  <a:gd name="T51" fmla="*/ 3686 h 3958"/>
                  <a:gd name="T52" fmla="*/ 2576 w 5163"/>
                  <a:gd name="T53" fmla="*/ 3303 h 3958"/>
                  <a:gd name="T54" fmla="*/ 2900 w 5163"/>
                  <a:gd name="T55" fmla="*/ 3310 h 3958"/>
                  <a:gd name="T56" fmla="*/ 3041 w 5163"/>
                  <a:gd name="T57" fmla="*/ 3404 h 3958"/>
                  <a:gd name="T58" fmla="*/ 3250 w 5163"/>
                  <a:gd name="T59" fmla="*/ 3628 h 3958"/>
                  <a:gd name="T60" fmla="*/ 3336 w 5163"/>
                  <a:gd name="T61" fmla="*/ 3711 h 3958"/>
                  <a:gd name="T62" fmla="*/ 3548 w 5163"/>
                  <a:gd name="T63" fmla="*/ 3632 h 3958"/>
                  <a:gd name="T64" fmla="*/ 3673 w 5163"/>
                  <a:gd name="T65" fmla="*/ 3707 h 3958"/>
                  <a:gd name="T66" fmla="*/ 3967 w 5163"/>
                  <a:gd name="T67" fmla="*/ 3423 h 3958"/>
                  <a:gd name="T68" fmla="*/ 4065 w 5163"/>
                  <a:gd name="T69" fmla="*/ 3072 h 3958"/>
                  <a:gd name="T70" fmla="*/ 4382 w 5163"/>
                  <a:gd name="T71" fmla="*/ 2478 h 3958"/>
                  <a:gd name="T72" fmla="*/ 4968 w 5163"/>
                  <a:gd name="T73" fmla="*/ 1888 h 3958"/>
                  <a:gd name="T74" fmla="*/ 5029 w 5163"/>
                  <a:gd name="T75" fmla="*/ 1745 h 3958"/>
                  <a:gd name="T76" fmla="*/ 4932 w 5163"/>
                  <a:gd name="T77" fmla="*/ 1555 h 3958"/>
                  <a:gd name="T78" fmla="*/ 5155 w 5163"/>
                  <a:gd name="T79" fmla="*/ 1417 h 3958"/>
                  <a:gd name="T80" fmla="*/ 5102 w 5163"/>
                  <a:gd name="T81" fmla="*/ 1267 h 3958"/>
                  <a:gd name="T82" fmla="*/ 5008 w 5163"/>
                  <a:gd name="T83" fmla="*/ 1010 h 3958"/>
                  <a:gd name="T84" fmla="*/ 4761 w 5163"/>
                  <a:gd name="T85" fmla="*/ 884 h 3958"/>
                  <a:gd name="T86" fmla="*/ 4370 w 5163"/>
                  <a:gd name="T87" fmla="*/ 756 h 3958"/>
                  <a:gd name="T88" fmla="*/ 4064 w 5163"/>
                  <a:gd name="T89" fmla="*/ 698 h 3958"/>
                  <a:gd name="T90" fmla="*/ 3627 w 5163"/>
                  <a:gd name="T91" fmla="*/ 741 h 3958"/>
                  <a:gd name="T92" fmla="*/ 3568 w 5163"/>
                  <a:gd name="T93" fmla="*/ 876 h 3958"/>
                  <a:gd name="T94" fmla="*/ 3425 w 5163"/>
                  <a:gd name="T95" fmla="*/ 936 h 3958"/>
                  <a:gd name="T96" fmla="*/ 3327 w 5163"/>
                  <a:gd name="T97" fmla="*/ 1206 h 3958"/>
                  <a:gd name="T98" fmla="*/ 3073 w 5163"/>
                  <a:gd name="T99" fmla="*/ 1267 h 3958"/>
                  <a:gd name="T100" fmla="*/ 3040 w 5163"/>
                  <a:gd name="T101" fmla="*/ 1339 h 3958"/>
                  <a:gd name="T102" fmla="*/ 3040 w 5163"/>
                  <a:gd name="T103" fmla="*/ 1339 h 3958"/>
                  <a:gd name="T104" fmla="*/ 2899 w 5163"/>
                  <a:gd name="T105" fmla="*/ 1394 h 3958"/>
                  <a:gd name="T106" fmla="*/ 2813 w 5163"/>
                  <a:gd name="T107" fmla="*/ 1267 h 3958"/>
                  <a:gd name="T108" fmla="*/ 2479 w 5163"/>
                  <a:gd name="T109" fmla="*/ 1070 h 3958"/>
                  <a:gd name="T110" fmla="*/ 2531 w 5163"/>
                  <a:gd name="T111" fmla="*/ 911 h 3958"/>
                  <a:gd name="T112" fmla="*/ 2394 w 5163"/>
                  <a:gd name="T113" fmla="*/ 838 h 3958"/>
                  <a:gd name="T114" fmla="*/ 2328 w 5163"/>
                  <a:gd name="T115" fmla="*/ 726 h 3958"/>
                  <a:gd name="T116" fmla="*/ 2211 w 5163"/>
                  <a:gd name="T117" fmla="*/ 626 h 3958"/>
                  <a:gd name="T118" fmla="*/ 2100 w 5163"/>
                  <a:gd name="T119" fmla="*/ 612 h 3958"/>
                  <a:gd name="T120" fmla="*/ 1786 w 5163"/>
                  <a:gd name="T121" fmla="*/ 751 h 3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63" h="3958">
                    <a:moveTo>
                      <a:pt x="1786" y="751"/>
                    </a:moveTo>
                    <a:lnTo>
                      <a:pt x="1723" y="808"/>
                    </a:lnTo>
                    <a:lnTo>
                      <a:pt x="1638" y="769"/>
                    </a:lnTo>
                    <a:lnTo>
                      <a:pt x="1274" y="816"/>
                    </a:lnTo>
                    <a:lnTo>
                      <a:pt x="1129" y="499"/>
                    </a:lnTo>
                    <a:lnTo>
                      <a:pt x="1025" y="379"/>
                    </a:lnTo>
                    <a:lnTo>
                      <a:pt x="968" y="443"/>
                    </a:lnTo>
                    <a:lnTo>
                      <a:pt x="896" y="204"/>
                    </a:lnTo>
                    <a:lnTo>
                      <a:pt x="766" y="43"/>
                    </a:lnTo>
                    <a:lnTo>
                      <a:pt x="661" y="0"/>
                    </a:lnTo>
                    <a:lnTo>
                      <a:pt x="214" y="89"/>
                    </a:lnTo>
                    <a:lnTo>
                      <a:pt x="209" y="257"/>
                    </a:lnTo>
                    <a:lnTo>
                      <a:pt x="96" y="411"/>
                    </a:lnTo>
                    <a:lnTo>
                      <a:pt x="290" y="630"/>
                    </a:lnTo>
                    <a:lnTo>
                      <a:pt x="302" y="796"/>
                    </a:lnTo>
                    <a:lnTo>
                      <a:pt x="168" y="938"/>
                    </a:lnTo>
                    <a:lnTo>
                      <a:pt x="200" y="1023"/>
                    </a:lnTo>
                    <a:lnTo>
                      <a:pt x="154" y="1091"/>
                    </a:lnTo>
                    <a:lnTo>
                      <a:pt x="0" y="1187"/>
                    </a:lnTo>
                    <a:lnTo>
                      <a:pt x="88" y="1270"/>
                    </a:lnTo>
                    <a:lnTo>
                      <a:pt x="152" y="1470"/>
                    </a:lnTo>
                    <a:lnTo>
                      <a:pt x="70" y="1489"/>
                    </a:lnTo>
                    <a:lnTo>
                      <a:pt x="27" y="1559"/>
                    </a:lnTo>
                    <a:lnTo>
                      <a:pt x="84" y="1747"/>
                    </a:lnTo>
                    <a:lnTo>
                      <a:pt x="35" y="1913"/>
                    </a:lnTo>
                    <a:lnTo>
                      <a:pt x="114" y="1976"/>
                    </a:lnTo>
                    <a:lnTo>
                      <a:pt x="204" y="2194"/>
                    </a:lnTo>
                    <a:lnTo>
                      <a:pt x="212" y="2366"/>
                    </a:lnTo>
                    <a:lnTo>
                      <a:pt x="277" y="2422"/>
                    </a:lnTo>
                    <a:lnTo>
                      <a:pt x="270" y="2592"/>
                    </a:lnTo>
                    <a:lnTo>
                      <a:pt x="231" y="2849"/>
                    </a:lnTo>
                    <a:lnTo>
                      <a:pt x="397" y="3033"/>
                    </a:lnTo>
                    <a:lnTo>
                      <a:pt x="583" y="3037"/>
                    </a:lnTo>
                    <a:lnTo>
                      <a:pt x="665" y="2988"/>
                    </a:lnTo>
                    <a:lnTo>
                      <a:pt x="790" y="3095"/>
                    </a:lnTo>
                    <a:lnTo>
                      <a:pt x="963" y="2921"/>
                    </a:lnTo>
                    <a:lnTo>
                      <a:pt x="1157" y="3311"/>
                    </a:lnTo>
                    <a:lnTo>
                      <a:pt x="1384" y="3396"/>
                    </a:lnTo>
                    <a:lnTo>
                      <a:pt x="1432" y="3464"/>
                    </a:lnTo>
                    <a:lnTo>
                      <a:pt x="1417" y="3624"/>
                    </a:lnTo>
                    <a:lnTo>
                      <a:pt x="1311" y="3758"/>
                    </a:lnTo>
                    <a:lnTo>
                      <a:pt x="1311" y="3846"/>
                    </a:lnTo>
                    <a:lnTo>
                      <a:pt x="1459" y="3940"/>
                    </a:lnTo>
                    <a:lnTo>
                      <a:pt x="1691" y="3896"/>
                    </a:lnTo>
                    <a:lnTo>
                      <a:pt x="1751" y="3958"/>
                    </a:lnTo>
                    <a:lnTo>
                      <a:pt x="1916" y="3846"/>
                    </a:lnTo>
                    <a:lnTo>
                      <a:pt x="1925" y="3759"/>
                    </a:lnTo>
                    <a:lnTo>
                      <a:pt x="1993" y="3705"/>
                    </a:lnTo>
                    <a:lnTo>
                      <a:pt x="2055" y="3756"/>
                    </a:lnTo>
                    <a:lnTo>
                      <a:pt x="2121" y="3708"/>
                    </a:lnTo>
                    <a:lnTo>
                      <a:pt x="2193" y="3753"/>
                    </a:lnTo>
                    <a:lnTo>
                      <a:pt x="2239" y="3686"/>
                    </a:lnTo>
                    <a:lnTo>
                      <a:pt x="2404" y="3908"/>
                    </a:lnTo>
                    <a:lnTo>
                      <a:pt x="2576" y="3303"/>
                    </a:lnTo>
                    <a:lnTo>
                      <a:pt x="2744" y="3346"/>
                    </a:lnTo>
                    <a:lnTo>
                      <a:pt x="2900" y="3310"/>
                    </a:lnTo>
                    <a:lnTo>
                      <a:pt x="3040" y="3404"/>
                    </a:lnTo>
                    <a:lnTo>
                      <a:pt x="3041" y="3404"/>
                    </a:lnTo>
                    <a:lnTo>
                      <a:pt x="3165" y="3628"/>
                    </a:lnTo>
                    <a:lnTo>
                      <a:pt x="3250" y="3628"/>
                    </a:lnTo>
                    <a:lnTo>
                      <a:pt x="3251" y="3716"/>
                    </a:lnTo>
                    <a:lnTo>
                      <a:pt x="3336" y="3711"/>
                    </a:lnTo>
                    <a:lnTo>
                      <a:pt x="3452" y="3586"/>
                    </a:lnTo>
                    <a:lnTo>
                      <a:pt x="3548" y="3632"/>
                    </a:lnTo>
                    <a:lnTo>
                      <a:pt x="3560" y="3711"/>
                    </a:lnTo>
                    <a:lnTo>
                      <a:pt x="3673" y="3707"/>
                    </a:lnTo>
                    <a:lnTo>
                      <a:pt x="3831" y="3613"/>
                    </a:lnTo>
                    <a:lnTo>
                      <a:pt x="3967" y="3423"/>
                    </a:lnTo>
                    <a:lnTo>
                      <a:pt x="3962" y="3421"/>
                    </a:lnTo>
                    <a:lnTo>
                      <a:pt x="4065" y="3072"/>
                    </a:lnTo>
                    <a:lnTo>
                      <a:pt x="4405" y="2758"/>
                    </a:lnTo>
                    <a:lnTo>
                      <a:pt x="4382" y="2478"/>
                    </a:lnTo>
                    <a:lnTo>
                      <a:pt x="4629" y="2306"/>
                    </a:lnTo>
                    <a:lnTo>
                      <a:pt x="4968" y="1888"/>
                    </a:lnTo>
                    <a:lnTo>
                      <a:pt x="4962" y="1805"/>
                    </a:lnTo>
                    <a:lnTo>
                      <a:pt x="5029" y="1745"/>
                    </a:lnTo>
                    <a:lnTo>
                      <a:pt x="4904" y="1640"/>
                    </a:lnTo>
                    <a:lnTo>
                      <a:pt x="4932" y="1555"/>
                    </a:lnTo>
                    <a:lnTo>
                      <a:pt x="5042" y="1432"/>
                    </a:lnTo>
                    <a:lnTo>
                      <a:pt x="5155" y="1417"/>
                    </a:lnTo>
                    <a:lnTo>
                      <a:pt x="5163" y="1419"/>
                    </a:lnTo>
                    <a:lnTo>
                      <a:pt x="5102" y="1267"/>
                    </a:lnTo>
                    <a:lnTo>
                      <a:pt x="5021" y="1272"/>
                    </a:lnTo>
                    <a:lnTo>
                      <a:pt x="5008" y="1010"/>
                    </a:lnTo>
                    <a:lnTo>
                      <a:pt x="4788" y="866"/>
                    </a:lnTo>
                    <a:lnTo>
                      <a:pt x="4761" y="884"/>
                    </a:lnTo>
                    <a:lnTo>
                      <a:pt x="4519" y="692"/>
                    </a:lnTo>
                    <a:lnTo>
                      <a:pt x="4370" y="756"/>
                    </a:lnTo>
                    <a:lnTo>
                      <a:pt x="4229" y="652"/>
                    </a:lnTo>
                    <a:lnTo>
                      <a:pt x="4064" y="698"/>
                    </a:lnTo>
                    <a:lnTo>
                      <a:pt x="3862" y="575"/>
                    </a:lnTo>
                    <a:lnTo>
                      <a:pt x="3627" y="741"/>
                    </a:lnTo>
                    <a:lnTo>
                      <a:pt x="3633" y="784"/>
                    </a:lnTo>
                    <a:lnTo>
                      <a:pt x="3568" y="876"/>
                    </a:lnTo>
                    <a:lnTo>
                      <a:pt x="3485" y="866"/>
                    </a:lnTo>
                    <a:lnTo>
                      <a:pt x="3425" y="936"/>
                    </a:lnTo>
                    <a:lnTo>
                      <a:pt x="3416" y="1176"/>
                    </a:lnTo>
                    <a:lnTo>
                      <a:pt x="3327" y="1206"/>
                    </a:lnTo>
                    <a:lnTo>
                      <a:pt x="3262" y="1155"/>
                    </a:lnTo>
                    <a:lnTo>
                      <a:pt x="3073" y="1267"/>
                    </a:lnTo>
                    <a:lnTo>
                      <a:pt x="3038" y="1339"/>
                    </a:lnTo>
                    <a:lnTo>
                      <a:pt x="3040" y="1339"/>
                    </a:lnTo>
                    <a:lnTo>
                      <a:pt x="3118" y="1291"/>
                    </a:lnTo>
                    <a:lnTo>
                      <a:pt x="3040" y="1339"/>
                    </a:lnTo>
                    <a:lnTo>
                      <a:pt x="3038" y="1339"/>
                    </a:lnTo>
                    <a:lnTo>
                      <a:pt x="2899" y="1394"/>
                    </a:lnTo>
                    <a:lnTo>
                      <a:pt x="2899" y="1312"/>
                    </a:lnTo>
                    <a:lnTo>
                      <a:pt x="2813" y="1267"/>
                    </a:lnTo>
                    <a:lnTo>
                      <a:pt x="2546" y="1209"/>
                    </a:lnTo>
                    <a:lnTo>
                      <a:pt x="2479" y="1070"/>
                    </a:lnTo>
                    <a:lnTo>
                      <a:pt x="2560" y="1000"/>
                    </a:lnTo>
                    <a:lnTo>
                      <a:pt x="2531" y="911"/>
                    </a:lnTo>
                    <a:lnTo>
                      <a:pt x="2479" y="845"/>
                    </a:lnTo>
                    <a:lnTo>
                      <a:pt x="2394" y="838"/>
                    </a:lnTo>
                    <a:lnTo>
                      <a:pt x="2404" y="755"/>
                    </a:lnTo>
                    <a:lnTo>
                      <a:pt x="2328" y="726"/>
                    </a:lnTo>
                    <a:lnTo>
                      <a:pt x="2313" y="646"/>
                    </a:lnTo>
                    <a:lnTo>
                      <a:pt x="2211" y="626"/>
                    </a:lnTo>
                    <a:lnTo>
                      <a:pt x="2211" y="628"/>
                    </a:lnTo>
                    <a:lnTo>
                      <a:pt x="2100" y="612"/>
                    </a:lnTo>
                    <a:lnTo>
                      <a:pt x="1964" y="726"/>
                    </a:lnTo>
                    <a:lnTo>
                      <a:pt x="1786" y="751"/>
                    </a:lnTo>
                    <a:close/>
                  </a:path>
                </a:pathLst>
              </a:custGeom>
              <a:solidFill>
                <a:schemeClr val="accent2"/>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 name="Freeform 9">
                <a:extLst>
                  <a:ext uri="{FF2B5EF4-FFF2-40B4-BE49-F238E27FC236}">
                    <a16:creationId xmlns:a16="http://schemas.microsoft.com/office/drawing/2014/main" id="{D1398ABB-1C0C-420A-8C6F-B41B0655FF5A}"/>
                  </a:ext>
                </a:extLst>
              </p:cNvPr>
              <p:cNvSpPr>
                <a:spLocks/>
              </p:cNvSpPr>
              <p:nvPr/>
            </p:nvSpPr>
            <p:spPr bwMode="auto">
              <a:xfrm>
                <a:off x="1930926" y="2194970"/>
                <a:ext cx="747274" cy="918214"/>
              </a:xfrm>
              <a:custGeom>
                <a:avLst/>
                <a:gdLst>
                  <a:gd name="T0" fmla="*/ 2903 w 3698"/>
                  <a:gd name="T1" fmla="*/ 1449 h 4626"/>
                  <a:gd name="T2" fmla="*/ 2994 w 3698"/>
                  <a:gd name="T3" fmla="*/ 1327 h 4626"/>
                  <a:gd name="T4" fmla="*/ 2854 w 3698"/>
                  <a:gd name="T5" fmla="*/ 1113 h 4626"/>
                  <a:gd name="T6" fmla="*/ 2666 w 3698"/>
                  <a:gd name="T7" fmla="*/ 1148 h 4626"/>
                  <a:gd name="T8" fmla="*/ 2567 w 3698"/>
                  <a:gd name="T9" fmla="*/ 1153 h 4626"/>
                  <a:gd name="T10" fmla="*/ 2366 w 3698"/>
                  <a:gd name="T11" fmla="*/ 1175 h 4626"/>
                  <a:gd name="T12" fmla="*/ 2195 w 3698"/>
                  <a:gd name="T13" fmla="*/ 887 h 4626"/>
                  <a:gd name="T14" fmla="*/ 2094 w 3698"/>
                  <a:gd name="T15" fmla="*/ 662 h 4626"/>
                  <a:gd name="T16" fmla="*/ 1902 w 3698"/>
                  <a:gd name="T17" fmla="*/ 192 h 4626"/>
                  <a:gd name="T18" fmla="*/ 1622 w 3698"/>
                  <a:gd name="T19" fmla="*/ 201 h 4626"/>
                  <a:gd name="T20" fmla="*/ 1456 w 3698"/>
                  <a:gd name="T21" fmla="*/ 319 h 4626"/>
                  <a:gd name="T22" fmla="*/ 1220 w 3698"/>
                  <a:gd name="T23" fmla="*/ 366 h 4626"/>
                  <a:gd name="T24" fmla="*/ 978 w 3698"/>
                  <a:gd name="T25" fmla="*/ 471 h 4626"/>
                  <a:gd name="T26" fmla="*/ 1118 w 3698"/>
                  <a:gd name="T27" fmla="*/ 690 h 4626"/>
                  <a:gd name="T28" fmla="*/ 1129 w 3698"/>
                  <a:gd name="T29" fmla="*/ 954 h 4626"/>
                  <a:gd name="T30" fmla="*/ 942 w 3698"/>
                  <a:gd name="T31" fmla="*/ 1319 h 4626"/>
                  <a:gd name="T32" fmla="*/ 1002 w 3698"/>
                  <a:gd name="T33" fmla="*/ 1430 h 4626"/>
                  <a:gd name="T34" fmla="*/ 991 w 3698"/>
                  <a:gd name="T35" fmla="*/ 1484 h 4626"/>
                  <a:gd name="T36" fmla="*/ 983 w 3698"/>
                  <a:gd name="T37" fmla="*/ 1609 h 4626"/>
                  <a:gd name="T38" fmla="*/ 813 w 3698"/>
                  <a:gd name="T39" fmla="*/ 2077 h 4626"/>
                  <a:gd name="T40" fmla="*/ 702 w 3698"/>
                  <a:gd name="T41" fmla="*/ 2208 h 4626"/>
                  <a:gd name="T42" fmla="*/ 399 w 3698"/>
                  <a:gd name="T43" fmla="*/ 2329 h 4626"/>
                  <a:gd name="T44" fmla="*/ 237 w 3698"/>
                  <a:gd name="T45" fmla="*/ 2351 h 4626"/>
                  <a:gd name="T46" fmla="*/ 166 w 3698"/>
                  <a:gd name="T47" fmla="*/ 2689 h 4626"/>
                  <a:gd name="T48" fmla="*/ 1 w 3698"/>
                  <a:gd name="T49" fmla="*/ 3133 h 4626"/>
                  <a:gd name="T50" fmla="*/ 166 w 3698"/>
                  <a:gd name="T51" fmla="*/ 3318 h 4626"/>
                  <a:gd name="T52" fmla="*/ 289 w 3698"/>
                  <a:gd name="T53" fmla="*/ 3487 h 4626"/>
                  <a:gd name="T54" fmla="*/ 660 w 3698"/>
                  <a:gd name="T55" fmla="*/ 3516 h 4626"/>
                  <a:gd name="T56" fmla="*/ 773 w 3698"/>
                  <a:gd name="T57" fmla="*/ 3518 h 4626"/>
                  <a:gd name="T58" fmla="*/ 1046 w 3698"/>
                  <a:gd name="T59" fmla="*/ 3986 h 4626"/>
                  <a:gd name="T60" fmla="*/ 1157 w 3698"/>
                  <a:gd name="T61" fmla="*/ 4280 h 4626"/>
                  <a:gd name="T62" fmla="*/ 1317 w 3698"/>
                  <a:gd name="T63" fmla="*/ 4438 h 4626"/>
                  <a:gd name="T64" fmla="*/ 1345 w 3698"/>
                  <a:gd name="T65" fmla="*/ 4555 h 4626"/>
                  <a:gd name="T66" fmla="*/ 1589 w 3698"/>
                  <a:gd name="T67" fmla="*/ 4557 h 4626"/>
                  <a:gd name="T68" fmla="*/ 1719 w 3698"/>
                  <a:gd name="T69" fmla="*/ 4544 h 4626"/>
                  <a:gd name="T70" fmla="*/ 2105 w 3698"/>
                  <a:gd name="T71" fmla="*/ 4441 h 4626"/>
                  <a:gd name="T72" fmla="*/ 2567 w 3698"/>
                  <a:gd name="T73" fmla="*/ 4495 h 4626"/>
                  <a:gd name="T74" fmla="*/ 2708 w 3698"/>
                  <a:gd name="T75" fmla="*/ 4499 h 4626"/>
                  <a:gd name="T76" fmla="*/ 3063 w 3698"/>
                  <a:gd name="T77" fmla="*/ 4299 h 4626"/>
                  <a:gd name="T78" fmla="*/ 3063 w 3698"/>
                  <a:gd name="T79" fmla="*/ 4075 h 4626"/>
                  <a:gd name="T80" fmla="*/ 3372 w 3698"/>
                  <a:gd name="T81" fmla="*/ 3937 h 4626"/>
                  <a:gd name="T82" fmla="*/ 3627 w 3698"/>
                  <a:gd name="T83" fmla="*/ 3829 h 4626"/>
                  <a:gd name="T84" fmla="*/ 3673 w 3698"/>
                  <a:gd name="T85" fmla="*/ 3402 h 4626"/>
                  <a:gd name="T86" fmla="*/ 3600 w 3698"/>
                  <a:gd name="T87" fmla="*/ 3174 h 4626"/>
                  <a:gd name="T88" fmla="*/ 3431 w 3698"/>
                  <a:gd name="T89" fmla="*/ 2893 h 4626"/>
                  <a:gd name="T90" fmla="*/ 3423 w 3698"/>
                  <a:gd name="T91" fmla="*/ 2539 h 4626"/>
                  <a:gd name="T92" fmla="*/ 3548 w 3698"/>
                  <a:gd name="T93" fmla="*/ 2450 h 4626"/>
                  <a:gd name="T94" fmla="*/ 3396 w 3698"/>
                  <a:gd name="T95" fmla="*/ 2167 h 4626"/>
                  <a:gd name="T96" fmla="*/ 3596 w 3698"/>
                  <a:gd name="T97" fmla="*/ 2003 h 4626"/>
                  <a:gd name="T98" fmla="*/ 3698 w 3698"/>
                  <a:gd name="T99" fmla="*/ 1776 h 4626"/>
                  <a:gd name="T100" fmla="*/ 3492 w 3698"/>
                  <a:gd name="T101" fmla="*/ 1391 h 4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98" h="4626">
                    <a:moveTo>
                      <a:pt x="3168" y="1470"/>
                    </a:moveTo>
                    <a:lnTo>
                      <a:pt x="2903" y="1449"/>
                    </a:lnTo>
                    <a:lnTo>
                      <a:pt x="2979" y="1405"/>
                    </a:lnTo>
                    <a:lnTo>
                      <a:pt x="2994" y="1327"/>
                    </a:lnTo>
                    <a:lnTo>
                      <a:pt x="2873" y="1203"/>
                    </a:lnTo>
                    <a:lnTo>
                      <a:pt x="2854" y="1113"/>
                    </a:lnTo>
                    <a:lnTo>
                      <a:pt x="2746" y="1097"/>
                    </a:lnTo>
                    <a:lnTo>
                      <a:pt x="2666" y="1148"/>
                    </a:lnTo>
                    <a:lnTo>
                      <a:pt x="2622" y="1072"/>
                    </a:lnTo>
                    <a:lnTo>
                      <a:pt x="2567" y="1153"/>
                    </a:lnTo>
                    <a:lnTo>
                      <a:pt x="2367" y="1175"/>
                    </a:lnTo>
                    <a:lnTo>
                      <a:pt x="2366" y="1175"/>
                    </a:lnTo>
                    <a:lnTo>
                      <a:pt x="2284" y="868"/>
                    </a:lnTo>
                    <a:lnTo>
                      <a:pt x="2195" y="887"/>
                    </a:lnTo>
                    <a:lnTo>
                      <a:pt x="2130" y="824"/>
                    </a:lnTo>
                    <a:lnTo>
                      <a:pt x="2094" y="662"/>
                    </a:lnTo>
                    <a:lnTo>
                      <a:pt x="1916" y="506"/>
                    </a:lnTo>
                    <a:lnTo>
                      <a:pt x="1902" y="192"/>
                    </a:lnTo>
                    <a:lnTo>
                      <a:pt x="1796" y="0"/>
                    </a:lnTo>
                    <a:lnTo>
                      <a:pt x="1622" y="201"/>
                    </a:lnTo>
                    <a:lnTo>
                      <a:pt x="1630" y="281"/>
                    </a:lnTo>
                    <a:lnTo>
                      <a:pt x="1456" y="319"/>
                    </a:lnTo>
                    <a:lnTo>
                      <a:pt x="1373" y="273"/>
                    </a:lnTo>
                    <a:lnTo>
                      <a:pt x="1220" y="366"/>
                    </a:lnTo>
                    <a:lnTo>
                      <a:pt x="1048" y="397"/>
                    </a:lnTo>
                    <a:lnTo>
                      <a:pt x="978" y="471"/>
                    </a:lnTo>
                    <a:lnTo>
                      <a:pt x="982" y="565"/>
                    </a:lnTo>
                    <a:lnTo>
                      <a:pt x="1118" y="690"/>
                    </a:lnTo>
                    <a:lnTo>
                      <a:pt x="1115" y="822"/>
                    </a:lnTo>
                    <a:lnTo>
                      <a:pt x="1129" y="954"/>
                    </a:lnTo>
                    <a:lnTo>
                      <a:pt x="911" y="1103"/>
                    </a:lnTo>
                    <a:lnTo>
                      <a:pt x="942" y="1319"/>
                    </a:lnTo>
                    <a:lnTo>
                      <a:pt x="943" y="1320"/>
                    </a:lnTo>
                    <a:lnTo>
                      <a:pt x="1002" y="1430"/>
                    </a:lnTo>
                    <a:lnTo>
                      <a:pt x="991" y="1483"/>
                    </a:lnTo>
                    <a:lnTo>
                      <a:pt x="991" y="1484"/>
                    </a:lnTo>
                    <a:lnTo>
                      <a:pt x="933" y="1543"/>
                    </a:lnTo>
                    <a:lnTo>
                      <a:pt x="983" y="1609"/>
                    </a:lnTo>
                    <a:lnTo>
                      <a:pt x="993" y="1769"/>
                    </a:lnTo>
                    <a:lnTo>
                      <a:pt x="813" y="2077"/>
                    </a:lnTo>
                    <a:lnTo>
                      <a:pt x="720" y="2106"/>
                    </a:lnTo>
                    <a:lnTo>
                      <a:pt x="702" y="2208"/>
                    </a:lnTo>
                    <a:lnTo>
                      <a:pt x="481" y="2338"/>
                    </a:lnTo>
                    <a:lnTo>
                      <a:pt x="399" y="2329"/>
                    </a:lnTo>
                    <a:lnTo>
                      <a:pt x="414" y="2424"/>
                    </a:lnTo>
                    <a:lnTo>
                      <a:pt x="237" y="2351"/>
                    </a:lnTo>
                    <a:lnTo>
                      <a:pt x="215" y="2421"/>
                    </a:lnTo>
                    <a:lnTo>
                      <a:pt x="166" y="2689"/>
                    </a:lnTo>
                    <a:lnTo>
                      <a:pt x="0" y="3132"/>
                    </a:lnTo>
                    <a:lnTo>
                      <a:pt x="1" y="3133"/>
                    </a:lnTo>
                    <a:lnTo>
                      <a:pt x="157" y="3227"/>
                    </a:lnTo>
                    <a:lnTo>
                      <a:pt x="166" y="3318"/>
                    </a:lnTo>
                    <a:lnTo>
                      <a:pt x="251" y="3312"/>
                    </a:lnTo>
                    <a:lnTo>
                      <a:pt x="289" y="3487"/>
                    </a:lnTo>
                    <a:lnTo>
                      <a:pt x="370" y="3528"/>
                    </a:lnTo>
                    <a:lnTo>
                      <a:pt x="660" y="3516"/>
                    </a:lnTo>
                    <a:lnTo>
                      <a:pt x="617" y="3432"/>
                    </a:lnTo>
                    <a:lnTo>
                      <a:pt x="773" y="3518"/>
                    </a:lnTo>
                    <a:lnTo>
                      <a:pt x="780" y="3608"/>
                    </a:lnTo>
                    <a:lnTo>
                      <a:pt x="1046" y="3986"/>
                    </a:lnTo>
                    <a:lnTo>
                      <a:pt x="1023" y="4155"/>
                    </a:lnTo>
                    <a:lnTo>
                      <a:pt x="1157" y="4280"/>
                    </a:lnTo>
                    <a:lnTo>
                      <a:pt x="1242" y="4280"/>
                    </a:lnTo>
                    <a:lnTo>
                      <a:pt x="1317" y="4438"/>
                    </a:lnTo>
                    <a:lnTo>
                      <a:pt x="1389" y="4474"/>
                    </a:lnTo>
                    <a:lnTo>
                      <a:pt x="1345" y="4555"/>
                    </a:lnTo>
                    <a:lnTo>
                      <a:pt x="1421" y="4586"/>
                    </a:lnTo>
                    <a:lnTo>
                      <a:pt x="1589" y="4557"/>
                    </a:lnTo>
                    <a:lnTo>
                      <a:pt x="1636" y="4626"/>
                    </a:lnTo>
                    <a:lnTo>
                      <a:pt x="1719" y="4544"/>
                    </a:lnTo>
                    <a:lnTo>
                      <a:pt x="2050" y="4513"/>
                    </a:lnTo>
                    <a:lnTo>
                      <a:pt x="2105" y="4441"/>
                    </a:lnTo>
                    <a:lnTo>
                      <a:pt x="2488" y="4518"/>
                    </a:lnTo>
                    <a:lnTo>
                      <a:pt x="2567" y="4495"/>
                    </a:lnTo>
                    <a:lnTo>
                      <a:pt x="2708" y="4500"/>
                    </a:lnTo>
                    <a:lnTo>
                      <a:pt x="2708" y="4499"/>
                    </a:lnTo>
                    <a:lnTo>
                      <a:pt x="2809" y="4327"/>
                    </a:lnTo>
                    <a:lnTo>
                      <a:pt x="3063" y="4299"/>
                    </a:lnTo>
                    <a:lnTo>
                      <a:pt x="3112" y="4229"/>
                    </a:lnTo>
                    <a:lnTo>
                      <a:pt x="3063" y="4075"/>
                    </a:lnTo>
                    <a:lnTo>
                      <a:pt x="3127" y="4021"/>
                    </a:lnTo>
                    <a:lnTo>
                      <a:pt x="3372" y="3937"/>
                    </a:lnTo>
                    <a:lnTo>
                      <a:pt x="3510" y="3829"/>
                    </a:lnTo>
                    <a:lnTo>
                      <a:pt x="3627" y="3829"/>
                    </a:lnTo>
                    <a:lnTo>
                      <a:pt x="3666" y="3572"/>
                    </a:lnTo>
                    <a:lnTo>
                      <a:pt x="3673" y="3402"/>
                    </a:lnTo>
                    <a:lnTo>
                      <a:pt x="3608" y="3346"/>
                    </a:lnTo>
                    <a:lnTo>
                      <a:pt x="3600" y="3174"/>
                    </a:lnTo>
                    <a:lnTo>
                      <a:pt x="3510" y="2956"/>
                    </a:lnTo>
                    <a:lnTo>
                      <a:pt x="3431" y="2893"/>
                    </a:lnTo>
                    <a:lnTo>
                      <a:pt x="3480" y="2727"/>
                    </a:lnTo>
                    <a:lnTo>
                      <a:pt x="3423" y="2539"/>
                    </a:lnTo>
                    <a:lnTo>
                      <a:pt x="3466" y="2469"/>
                    </a:lnTo>
                    <a:lnTo>
                      <a:pt x="3548" y="2450"/>
                    </a:lnTo>
                    <a:lnTo>
                      <a:pt x="3484" y="2250"/>
                    </a:lnTo>
                    <a:lnTo>
                      <a:pt x="3396" y="2167"/>
                    </a:lnTo>
                    <a:lnTo>
                      <a:pt x="3550" y="2071"/>
                    </a:lnTo>
                    <a:lnTo>
                      <a:pt x="3596" y="2003"/>
                    </a:lnTo>
                    <a:lnTo>
                      <a:pt x="3564" y="1918"/>
                    </a:lnTo>
                    <a:lnTo>
                      <a:pt x="3698" y="1776"/>
                    </a:lnTo>
                    <a:lnTo>
                      <a:pt x="3686" y="1610"/>
                    </a:lnTo>
                    <a:lnTo>
                      <a:pt x="3492" y="1391"/>
                    </a:lnTo>
                    <a:lnTo>
                      <a:pt x="3168" y="1470"/>
                    </a:lnTo>
                    <a:close/>
                  </a:path>
                </a:pathLst>
              </a:custGeom>
              <a:solidFill>
                <a:schemeClr val="accent2"/>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 name="Freeform 10">
                <a:extLst>
                  <a:ext uri="{FF2B5EF4-FFF2-40B4-BE49-F238E27FC236}">
                    <a16:creationId xmlns:a16="http://schemas.microsoft.com/office/drawing/2014/main" id="{B8DD0E2E-7231-499C-B9CE-D359410C4797}"/>
                  </a:ext>
                </a:extLst>
              </p:cNvPr>
              <p:cNvSpPr>
                <a:spLocks noEditPoints="1"/>
              </p:cNvSpPr>
              <p:nvPr/>
            </p:nvSpPr>
            <p:spPr bwMode="auto">
              <a:xfrm>
                <a:off x="2421299" y="2954462"/>
                <a:ext cx="1295814" cy="932499"/>
              </a:xfrm>
              <a:custGeom>
                <a:avLst/>
                <a:gdLst>
                  <a:gd name="T0" fmla="*/ 683 w 6416"/>
                  <a:gd name="T1" fmla="*/ 400 h 4699"/>
                  <a:gd name="T2" fmla="*/ 279 w 6416"/>
                  <a:gd name="T3" fmla="*/ 670 h 4699"/>
                  <a:gd name="T4" fmla="*/ 525 w 6416"/>
                  <a:gd name="T5" fmla="*/ 925 h 4699"/>
                  <a:gd name="T6" fmla="*/ 681 w 6416"/>
                  <a:gd name="T7" fmla="*/ 1480 h 4699"/>
                  <a:gd name="T8" fmla="*/ 576 w 6416"/>
                  <a:gd name="T9" fmla="*/ 2048 h 4699"/>
                  <a:gd name="T10" fmla="*/ 402 w 6416"/>
                  <a:gd name="T11" fmla="*/ 2464 h 4699"/>
                  <a:gd name="T12" fmla="*/ 216 w 6416"/>
                  <a:gd name="T13" fmla="*/ 2903 h 4699"/>
                  <a:gd name="T14" fmla="*/ 51 w 6416"/>
                  <a:gd name="T15" fmla="*/ 3092 h 4699"/>
                  <a:gd name="T16" fmla="*/ 27 w 6416"/>
                  <a:gd name="T17" fmla="*/ 3402 h 4699"/>
                  <a:gd name="T18" fmla="*/ 181 w 6416"/>
                  <a:gd name="T19" fmla="*/ 3886 h 4699"/>
                  <a:gd name="T20" fmla="*/ 626 w 6416"/>
                  <a:gd name="T21" fmla="*/ 3698 h 4699"/>
                  <a:gd name="T22" fmla="*/ 1001 w 6416"/>
                  <a:gd name="T23" fmla="*/ 3429 h 4699"/>
                  <a:gd name="T24" fmla="*/ 1092 w 6416"/>
                  <a:gd name="T25" fmla="*/ 3684 h 4699"/>
                  <a:gd name="T26" fmla="*/ 1418 w 6416"/>
                  <a:gd name="T27" fmla="*/ 3438 h 4699"/>
                  <a:gd name="T28" fmla="*/ 1752 w 6416"/>
                  <a:gd name="T29" fmla="*/ 3459 h 4699"/>
                  <a:gd name="T30" fmla="*/ 2024 w 6416"/>
                  <a:gd name="T31" fmla="*/ 3419 h 4699"/>
                  <a:gd name="T32" fmla="*/ 2547 w 6416"/>
                  <a:gd name="T33" fmla="*/ 4317 h 4699"/>
                  <a:gd name="T34" fmla="*/ 2981 w 6416"/>
                  <a:gd name="T35" fmla="*/ 4425 h 4699"/>
                  <a:gd name="T36" fmla="*/ 3308 w 6416"/>
                  <a:gd name="T37" fmla="*/ 4458 h 4699"/>
                  <a:gd name="T38" fmla="*/ 3575 w 6416"/>
                  <a:gd name="T39" fmla="*/ 4496 h 4699"/>
                  <a:gd name="T40" fmla="*/ 3969 w 6416"/>
                  <a:gd name="T41" fmla="*/ 4359 h 4699"/>
                  <a:gd name="T42" fmla="*/ 4256 w 6416"/>
                  <a:gd name="T43" fmla="*/ 4634 h 4699"/>
                  <a:gd name="T44" fmla="*/ 4598 w 6416"/>
                  <a:gd name="T45" fmla="*/ 4559 h 4699"/>
                  <a:gd name="T46" fmla="*/ 4344 w 6416"/>
                  <a:gd name="T47" fmla="*/ 4252 h 4699"/>
                  <a:gd name="T48" fmla="*/ 4514 w 6416"/>
                  <a:gd name="T49" fmla="*/ 4068 h 4699"/>
                  <a:gd name="T50" fmla="*/ 4572 w 6416"/>
                  <a:gd name="T51" fmla="*/ 3736 h 4699"/>
                  <a:gd name="T52" fmla="*/ 4776 w 6416"/>
                  <a:gd name="T53" fmla="*/ 3540 h 4699"/>
                  <a:gd name="T54" fmla="*/ 5327 w 6416"/>
                  <a:gd name="T55" fmla="*/ 3312 h 4699"/>
                  <a:gd name="T56" fmla="*/ 5300 w 6416"/>
                  <a:gd name="T57" fmla="*/ 3085 h 4699"/>
                  <a:gd name="T58" fmla="*/ 5519 w 6416"/>
                  <a:gd name="T59" fmla="*/ 2954 h 4699"/>
                  <a:gd name="T60" fmla="*/ 5754 w 6416"/>
                  <a:gd name="T61" fmla="*/ 2862 h 4699"/>
                  <a:gd name="T62" fmla="*/ 6369 w 6416"/>
                  <a:gd name="T63" fmla="*/ 2516 h 4699"/>
                  <a:gd name="T64" fmla="*/ 6203 w 6416"/>
                  <a:gd name="T65" fmla="*/ 2142 h 4699"/>
                  <a:gd name="T66" fmla="*/ 5998 w 6416"/>
                  <a:gd name="T67" fmla="*/ 1828 h 4699"/>
                  <a:gd name="T68" fmla="*/ 5906 w 6416"/>
                  <a:gd name="T69" fmla="*/ 1654 h 4699"/>
                  <a:gd name="T70" fmla="*/ 6076 w 6416"/>
                  <a:gd name="T71" fmla="*/ 1199 h 4699"/>
                  <a:gd name="T72" fmla="*/ 5810 w 6416"/>
                  <a:gd name="T73" fmla="*/ 649 h 4699"/>
                  <a:gd name="T74" fmla="*/ 5483 w 6416"/>
                  <a:gd name="T75" fmla="*/ 564 h 4699"/>
                  <a:gd name="T76" fmla="*/ 5157 w 6416"/>
                  <a:gd name="T77" fmla="*/ 811 h 4699"/>
                  <a:gd name="T78" fmla="*/ 4821 w 6416"/>
                  <a:gd name="T79" fmla="*/ 1083 h 4699"/>
                  <a:gd name="T80" fmla="*/ 5002 w 6416"/>
                  <a:gd name="T81" fmla="*/ 833 h 4699"/>
                  <a:gd name="T82" fmla="*/ 4798 w 6416"/>
                  <a:gd name="T83" fmla="*/ 764 h 4699"/>
                  <a:gd name="T84" fmla="*/ 4515 w 6416"/>
                  <a:gd name="T85" fmla="*/ 783 h 4699"/>
                  <a:gd name="T86" fmla="*/ 4218 w 6416"/>
                  <a:gd name="T87" fmla="*/ 867 h 4699"/>
                  <a:gd name="T88" fmla="*/ 4008 w 6416"/>
                  <a:gd name="T89" fmla="*/ 555 h 4699"/>
                  <a:gd name="T90" fmla="*/ 3711 w 6416"/>
                  <a:gd name="T91" fmla="*/ 497 h 4699"/>
                  <a:gd name="T92" fmla="*/ 3206 w 6416"/>
                  <a:gd name="T93" fmla="*/ 837 h 4699"/>
                  <a:gd name="T94" fmla="*/ 3022 w 6416"/>
                  <a:gd name="T95" fmla="*/ 907 h 4699"/>
                  <a:gd name="T96" fmla="*/ 2883 w 6416"/>
                  <a:gd name="T97" fmla="*/ 997 h 4699"/>
                  <a:gd name="T98" fmla="*/ 2426 w 6416"/>
                  <a:gd name="T99" fmla="*/ 1091 h 4699"/>
                  <a:gd name="T100" fmla="*/ 2384 w 6416"/>
                  <a:gd name="T101" fmla="*/ 775 h 4699"/>
                  <a:gd name="T102" fmla="*/ 2124 w 6416"/>
                  <a:gd name="T103" fmla="*/ 462 h 4699"/>
                  <a:gd name="T104" fmla="*/ 1632 w 6416"/>
                  <a:gd name="T105" fmla="*/ 139 h 4699"/>
                  <a:gd name="T106" fmla="*/ 1198 w 6416"/>
                  <a:gd name="T107" fmla="*/ 0 h 4699"/>
                  <a:gd name="T108" fmla="*/ 698 w 6416"/>
                  <a:gd name="T109" fmla="*/ 192 h 4699"/>
                  <a:gd name="T110" fmla="*/ 3656 w 6416"/>
                  <a:gd name="T111" fmla="*/ 4380 h 4699"/>
                  <a:gd name="T112" fmla="*/ 3711 w 6416"/>
                  <a:gd name="T113" fmla="*/ 4163 h 4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16" h="4699">
                    <a:moveTo>
                      <a:pt x="698" y="192"/>
                    </a:moveTo>
                    <a:lnTo>
                      <a:pt x="634" y="246"/>
                    </a:lnTo>
                    <a:lnTo>
                      <a:pt x="683" y="400"/>
                    </a:lnTo>
                    <a:lnTo>
                      <a:pt x="634" y="470"/>
                    </a:lnTo>
                    <a:lnTo>
                      <a:pt x="380" y="498"/>
                    </a:lnTo>
                    <a:lnTo>
                      <a:pt x="279" y="670"/>
                    </a:lnTo>
                    <a:lnTo>
                      <a:pt x="279" y="671"/>
                    </a:lnTo>
                    <a:lnTo>
                      <a:pt x="311" y="783"/>
                    </a:lnTo>
                    <a:lnTo>
                      <a:pt x="525" y="925"/>
                    </a:lnTo>
                    <a:lnTo>
                      <a:pt x="630" y="1166"/>
                    </a:lnTo>
                    <a:lnTo>
                      <a:pt x="616" y="1284"/>
                    </a:lnTo>
                    <a:lnTo>
                      <a:pt x="681" y="1480"/>
                    </a:lnTo>
                    <a:lnTo>
                      <a:pt x="412" y="1729"/>
                    </a:lnTo>
                    <a:lnTo>
                      <a:pt x="541" y="1888"/>
                    </a:lnTo>
                    <a:lnTo>
                      <a:pt x="576" y="2048"/>
                    </a:lnTo>
                    <a:lnTo>
                      <a:pt x="525" y="2120"/>
                    </a:lnTo>
                    <a:lnTo>
                      <a:pt x="581" y="2522"/>
                    </a:lnTo>
                    <a:lnTo>
                      <a:pt x="402" y="2464"/>
                    </a:lnTo>
                    <a:lnTo>
                      <a:pt x="382" y="2565"/>
                    </a:lnTo>
                    <a:lnTo>
                      <a:pt x="163" y="2839"/>
                    </a:lnTo>
                    <a:lnTo>
                      <a:pt x="216" y="2903"/>
                    </a:lnTo>
                    <a:lnTo>
                      <a:pt x="148" y="2959"/>
                    </a:lnTo>
                    <a:lnTo>
                      <a:pt x="141" y="3059"/>
                    </a:lnTo>
                    <a:lnTo>
                      <a:pt x="51" y="3092"/>
                    </a:lnTo>
                    <a:lnTo>
                      <a:pt x="95" y="3188"/>
                    </a:lnTo>
                    <a:lnTo>
                      <a:pt x="0" y="3244"/>
                    </a:lnTo>
                    <a:lnTo>
                      <a:pt x="27" y="3402"/>
                    </a:lnTo>
                    <a:lnTo>
                      <a:pt x="138" y="3576"/>
                    </a:lnTo>
                    <a:lnTo>
                      <a:pt x="87" y="3742"/>
                    </a:lnTo>
                    <a:lnTo>
                      <a:pt x="181" y="3886"/>
                    </a:lnTo>
                    <a:lnTo>
                      <a:pt x="332" y="3794"/>
                    </a:lnTo>
                    <a:lnTo>
                      <a:pt x="515" y="3839"/>
                    </a:lnTo>
                    <a:lnTo>
                      <a:pt x="626" y="3698"/>
                    </a:lnTo>
                    <a:lnTo>
                      <a:pt x="713" y="3437"/>
                    </a:lnTo>
                    <a:lnTo>
                      <a:pt x="850" y="3313"/>
                    </a:lnTo>
                    <a:lnTo>
                      <a:pt x="1001" y="3429"/>
                    </a:lnTo>
                    <a:lnTo>
                      <a:pt x="1037" y="3552"/>
                    </a:lnTo>
                    <a:lnTo>
                      <a:pt x="1106" y="3597"/>
                    </a:lnTo>
                    <a:lnTo>
                      <a:pt x="1092" y="3684"/>
                    </a:lnTo>
                    <a:lnTo>
                      <a:pt x="1167" y="3832"/>
                    </a:lnTo>
                    <a:lnTo>
                      <a:pt x="1367" y="3372"/>
                    </a:lnTo>
                    <a:lnTo>
                      <a:pt x="1418" y="3438"/>
                    </a:lnTo>
                    <a:lnTo>
                      <a:pt x="1642" y="3245"/>
                    </a:lnTo>
                    <a:lnTo>
                      <a:pt x="1708" y="3294"/>
                    </a:lnTo>
                    <a:lnTo>
                      <a:pt x="1752" y="3459"/>
                    </a:lnTo>
                    <a:lnTo>
                      <a:pt x="1937" y="3495"/>
                    </a:lnTo>
                    <a:lnTo>
                      <a:pt x="1941" y="3412"/>
                    </a:lnTo>
                    <a:lnTo>
                      <a:pt x="2024" y="3419"/>
                    </a:lnTo>
                    <a:lnTo>
                      <a:pt x="2284" y="3642"/>
                    </a:lnTo>
                    <a:lnTo>
                      <a:pt x="2345" y="3903"/>
                    </a:lnTo>
                    <a:lnTo>
                      <a:pt x="2547" y="4317"/>
                    </a:lnTo>
                    <a:lnTo>
                      <a:pt x="2772" y="4461"/>
                    </a:lnTo>
                    <a:lnTo>
                      <a:pt x="2976" y="4334"/>
                    </a:lnTo>
                    <a:lnTo>
                      <a:pt x="2981" y="4425"/>
                    </a:lnTo>
                    <a:lnTo>
                      <a:pt x="3053" y="4359"/>
                    </a:lnTo>
                    <a:lnTo>
                      <a:pt x="3132" y="4359"/>
                    </a:lnTo>
                    <a:lnTo>
                      <a:pt x="3308" y="4458"/>
                    </a:lnTo>
                    <a:lnTo>
                      <a:pt x="3304" y="4353"/>
                    </a:lnTo>
                    <a:lnTo>
                      <a:pt x="3473" y="4372"/>
                    </a:lnTo>
                    <a:lnTo>
                      <a:pt x="3575" y="4496"/>
                    </a:lnTo>
                    <a:lnTo>
                      <a:pt x="3827" y="4382"/>
                    </a:lnTo>
                    <a:lnTo>
                      <a:pt x="3897" y="4424"/>
                    </a:lnTo>
                    <a:lnTo>
                      <a:pt x="3969" y="4359"/>
                    </a:lnTo>
                    <a:lnTo>
                      <a:pt x="3983" y="4527"/>
                    </a:lnTo>
                    <a:lnTo>
                      <a:pt x="4254" y="4551"/>
                    </a:lnTo>
                    <a:lnTo>
                      <a:pt x="4256" y="4634"/>
                    </a:lnTo>
                    <a:lnTo>
                      <a:pt x="4407" y="4699"/>
                    </a:lnTo>
                    <a:lnTo>
                      <a:pt x="4531" y="4562"/>
                    </a:lnTo>
                    <a:lnTo>
                      <a:pt x="4598" y="4559"/>
                    </a:lnTo>
                    <a:lnTo>
                      <a:pt x="4628" y="4553"/>
                    </a:lnTo>
                    <a:lnTo>
                      <a:pt x="4633" y="4416"/>
                    </a:lnTo>
                    <a:lnTo>
                      <a:pt x="4344" y="4252"/>
                    </a:lnTo>
                    <a:lnTo>
                      <a:pt x="4300" y="4174"/>
                    </a:lnTo>
                    <a:lnTo>
                      <a:pt x="4394" y="4028"/>
                    </a:lnTo>
                    <a:lnTo>
                      <a:pt x="4514" y="4068"/>
                    </a:lnTo>
                    <a:lnTo>
                      <a:pt x="4586" y="3996"/>
                    </a:lnTo>
                    <a:lnTo>
                      <a:pt x="4500" y="3932"/>
                    </a:lnTo>
                    <a:lnTo>
                      <a:pt x="4572" y="3736"/>
                    </a:lnTo>
                    <a:lnTo>
                      <a:pt x="4738" y="3725"/>
                    </a:lnTo>
                    <a:lnTo>
                      <a:pt x="4749" y="3629"/>
                    </a:lnTo>
                    <a:lnTo>
                      <a:pt x="4776" y="3540"/>
                    </a:lnTo>
                    <a:lnTo>
                      <a:pt x="4935" y="3505"/>
                    </a:lnTo>
                    <a:lnTo>
                      <a:pt x="4961" y="3423"/>
                    </a:lnTo>
                    <a:lnTo>
                      <a:pt x="5327" y="3312"/>
                    </a:lnTo>
                    <a:lnTo>
                      <a:pt x="5416" y="3344"/>
                    </a:lnTo>
                    <a:lnTo>
                      <a:pt x="5428" y="3174"/>
                    </a:lnTo>
                    <a:lnTo>
                      <a:pt x="5300" y="3085"/>
                    </a:lnTo>
                    <a:lnTo>
                      <a:pt x="5250" y="2964"/>
                    </a:lnTo>
                    <a:lnTo>
                      <a:pt x="5295" y="2853"/>
                    </a:lnTo>
                    <a:lnTo>
                      <a:pt x="5519" y="2954"/>
                    </a:lnTo>
                    <a:lnTo>
                      <a:pt x="5577" y="2897"/>
                    </a:lnTo>
                    <a:lnTo>
                      <a:pt x="5752" y="2862"/>
                    </a:lnTo>
                    <a:lnTo>
                      <a:pt x="5754" y="2862"/>
                    </a:lnTo>
                    <a:lnTo>
                      <a:pt x="5752" y="2861"/>
                    </a:lnTo>
                    <a:lnTo>
                      <a:pt x="6311" y="2621"/>
                    </a:lnTo>
                    <a:lnTo>
                      <a:pt x="6369" y="2516"/>
                    </a:lnTo>
                    <a:lnTo>
                      <a:pt x="6335" y="2440"/>
                    </a:lnTo>
                    <a:lnTo>
                      <a:pt x="6416" y="2290"/>
                    </a:lnTo>
                    <a:lnTo>
                      <a:pt x="6203" y="2142"/>
                    </a:lnTo>
                    <a:lnTo>
                      <a:pt x="6140" y="1984"/>
                    </a:lnTo>
                    <a:lnTo>
                      <a:pt x="6161" y="1893"/>
                    </a:lnTo>
                    <a:lnTo>
                      <a:pt x="5998" y="1828"/>
                    </a:lnTo>
                    <a:lnTo>
                      <a:pt x="5916" y="1750"/>
                    </a:lnTo>
                    <a:lnTo>
                      <a:pt x="5902" y="1658"/>
                    </a:lnTo>
                    <a:lnTo>
                      <a:pt x="5906" y="1654"/>
                    </a:lnTo>
                    <a:lnTo>
                      <a:pt x="6145" y="1421"/>
                    </a:lnTo>
                    <a:lnTo>
                      <a:pt x="6174" y="1330"/>
                    </a:lnTo>
                    <a:lnTo>
                      <a:pt x="6076" y="1199"/>
                    </a:lnTo>
                    <a:lnTo>
                      <a:pt x="5850" y="985"/>
                    </a:lnTo>
                    <a:lnTo>
                      <a:pt x="5917" y="806"/>
                    </a:lnTo>
                    <a:lnTo>
                      <a:pt x="5810" y="649"/>
                    </a:lnTo>
                    <a:lnTo>
                      <a:pt x="5824" y="567"/>
                    </a:lnTo>
                    <a:lnTo>
                      <a:pt x="5727" y="547"/>
                    </a:lnTo>
                    <a:lnTo>
                      <a:pt x="5483" y="564"/>
                    </a:lnTo>
                    <a:lnTo>
                      <a:pt x="5337" y="685"/>
                    </a:lnTo>
                    <a:lnTo>
                      <a:pt x="5238" y="644"/>
                    </a:lnTo>
                    <a:lnTo>
                      <a:pt x="5157" y="811"/>
                    </a:lnTo>
                    <a:lnTo>
                      <a:pt x="5225" y="900"/>
                    </a:lnTo>
                    <a:lnTo>
                      <a:pt x="5024" y="1056"/>
                    </a:lnTo>
                    <a:lnTo>
                      <a:pt x="4821" y="1083"/>
                    </a:lnTo>
                    <a:lnTo>
                      <a:pt x="4821" y="1081"/>
                    </a:lnTo>
                    <a:lnTo>
                      <a:pt x="4836" y="936"/>
                    </a:lnTo>
                    <a:lnTo>
                      <a:pt x="5002" y="833"/>
                    </a:lnTo>
                    <a:lnTo>
                      <a:pt x="5035" y="632"/>
                    </a:lnTo>
                    <a:lnTo>
                      <a:pt x="4934" y="574"/>
                    </a:lnTo>
                    <a:lnTo>
                      <a:pt x="4798" y="764"/>
                    </a:lnTo>
                    <a:lnTo>
                      <a:pt x="4640" y="858"/>
                    </a:lnTo>
                    <a:lnTo>
                      <a:pt x="4527" y="862"/>
                    </a:lnTo>
                    <a:lnTo>
                      <a:pt x="4515" y="783"/>
                    </a:lnTo>
                    <a:lnTo>
                      <a:pt x="4419" y="737"/>
                    </a:lnTo>
                    <a:lnTo>
                      <a:pt x="4303" y="862"/>
                    </a:lnTo>
                    <a:lnTo>
                      <a:pt x="4218" y="867"/>
                    </a:lnTo>
                    <a:lnTo>
                      <a:pt x="4217" y="779"/>
                    </a:lnTo>
                    <a:lnTo>
                      <a:pt x="4132" y="779"/>
                    </a:lnTo>
                    <a:lnTo>
                      <a:pt x="4008" y="555"/>
                    </a:lnTo>
                    <a:lnTo>
                      <a:pt x="4007" y="555"/>
                    </a:lnTo>
                    <a:lnTo>
                      <a:pt x="3867" y="461"/>
                    </a:lnTo>
                    <a:lnTo>
                      <a:pt x="3711" y="497"/>
                    </a:lnTo>
                    <a:lnTo>
                      <a:pt x="3543" y="454"/>
                    </a:lnTo>
                    <a:lnTo>
                      <a:pt x="3371" y="1059"/>
                    </a:lnTo>
                    <a:lnTo>
                      <a:pt x="3206" y="837"/>
                    </a:lnTo>
                    <a:lnTo>
                      <a:pt x="3160" y="904"/>
                    </a:lnTo>
                    <a:lnTo>
                      <a:pt x="3088" y="859"/>
                    </a:lnTo>
                    <a:lnTo>
                      <a:pt x="3022" y="907"/>
                    </a:lnTo>
                    <a:lnTo>
                      <a:pt x="2960" y="856"/>
                    </a:lnTo>
                    <a:lnTo>
                      <a:pt x="2892" y="910"/>
                    </a:lnTo>
                    <a:lnTo>
                      <a:pt x="2883" y="997"/>
                    </a:lnTo>
                    <a:lnTo>
                      <a:pt x="2718" y="1109"/>
                    </a:lnTo>
                    <a:lnTo>
                      <a:pt x="2658" y="1047"/>
                    </a:lnTo>
                    <a:lnTo>
                      <a:pt x="2426" y="1091"/>
                    </a:lnTo>
                    <a:lnTo>
                      <a:pt x="2278" y="997"/>
                    </a:lnTo>
                    <a:lnTo>
                      <a:pt x="2278" y="909"/>
                    </a:lnTo>
                    <a:lnTo>
                      <a:pt x="2384" y="775"/>
                    </a:lnTo>
                    <a:lnTo>
                      <a:pt x="2399" y="615"/>
                    </a:lnTo>
                    <a:lnTo>
                      <a:pt x="2351" y="547"/>
                    </a:lnTo>
                    <a:lnTo>
                      <a:pt x="2124" y="462"/>
                    </a:lnTo>
                    <a:lnTo>
                      <a:pt x="1930" y="72"/>
                    </a:lnTo>
                    <a:lnTo>
                      <a:pt x="1757" y="246"/>
                    </a:lnTo>
                    <a:lnTo>
                      <a:pt x="1632" y="139"/>
                    </a:lnTo>
                    <a:lnTo>
                      <a:pt x="1550" y="188"/>
                    </a:lnTo>
                    <a:lnTo>
                      <a:pt x="1364" y="184"/>
                    </a:lnTo>
                    <a:lnTo>
                      <a:pt x="1198" y="0"/>
                    </a:lnTo>
                    <a:lnTo>
                      <a:pt x="1081" y="0"/>
                    </a:lnTo>
                    <a:lnTo>
                      <a:pt x="943" y="108"/>
                    </a:lnTo>
                    <a:lnTo>
                      <a:pt x="698" y="192"/>
                    </a:lnTo>
                    <a:close/>
                    <a:moveTo>
                      <a:pt x="3842" y="4242"/>
                    </a:moveTo>
                    <a:lnTo>
                      <a:pt x="3772" y="4345"/>
                    </a:lnTo>
                    <a:lnTo>
                      <a:pt x="3656" y="4380"/>
                    </a:lnTo>
                    <a:lnTo>
                      <a:pt x="3598" y="4317"/>
                    </a:lnTo>
                    <a:lnTo>
                      <a:pt x="3635" y="4228"/>
                    </a:lnTo>
                    <a:lnTo>
                      <a:pt x="3711" y="4163"/>
                    </a:lnTo>
                    <a:lnTo>
                      <a:pt x="3842" y="4242"/>
                    </a:lnTo>
                    <a:close/>
                  </a:path>
                </a:pathLst>
              </a:custGeom>
              <a:solidFill>
                <a:srgbClr val="D2EBD9"/>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 name="Freeform 11">
                <a:extLst>
                  <a:ext uri="{FF2B5EF4-FFF2-40B4-BE49-F238E27FC236}">
                    <a16:creationId xmlns:a16="http://schemas.microsoft.com/office/drawing/2014/main" id="{040A561D-5765-4F79-8074-2E1DC359DF3E}"/>
                  </a:ext>
                </a:extLst>
              </p:cNvPr>
              <p:cNvSpPr>
                <a:spLocks noEditPoints="1"/>
              </p:cNvSpPr>
              <p:nvPr/>
            </p:nvSpPr>
            <p:spPr bwMode="auto">
              <a:xfrm>
                <a:off x="1415509" y="2816372"/>
                <a:ext cx="1143935" cy="1541204"/>
              </a:xfrm>
              <a:custGeom>
                <a:avLst/>
                <a:gdLst>
                  <a:gd name="T0" fmla="*/ 5040 w 5662"/>
                  <a:gd name="T1" fmla="*/ 1385 h 7766"/>
                  <a:gd name="T2" fmla="*/ 4271 w 5662"/>
                  <a:gd name="T3" fmla="*/ 1411 h 7766"/>
                  <a:gd name="T4" fmla="*/ 3973 w 5662"/>
                  <a:gd name="T5" fmla="*/ 1453 h 7766"/>
                  <a:gd name="T6" fmla="*/ 3869 w 5662"/>
                  <a:gd name="T7" fmla="*/ 1305 h 7766"/>
                  <a:gd name="T8" fmla="*/ 3575 w 5662"/>
                  <a:gd name="T9" fmla="*/ 1022 h 7766"/>
                  <a:gd name="T10" fmla="*/ 3325 w 5662"/>
                  <a:gd name="T11" fmla="*/ 385 h 7766"/>
                  <a:gd name="T12" fmla="*/ 2922 w 5662"/>
                  <a:gd name="T13" fmla="*/ 395 h 7766"/>
                  <a:gd name="T14" fmla="*/ 2718 w 5662"/>
                  <a:gd name="T15" fmla="*/ 185 h 7766"/>
                  <a:gd name="T16" fmla="*/ 2359 w 5662"/>
                  <a:gd name="T17" fmla="*/ 173 h 7766"/>
                  <a:gd name="T18" fmla="*/ 1852 w 5662"/>
                  <a:gd name="T19" fmla="*/ 135 h 7766"/>
                  <a:gd name="T20" fmla="*/ 1456 w 5662"/>
                  <a:gd name="T21" fmla="*/ 461 h 7766"/>
                  <a:gd name="T22" fmla="*/ 1708 w 5662"/>
                  <a:gd name="T23" fmla="*/ 1314 h 7766"/>
                  <a:gd name="T24" fmla="*/ 1449 w 5662"/>
                  <a:gd name="T25" fmla="*/ 1449 h 7766"/>
                  <a:gd name="T26" fmla="*/ 1046 w 5662"/>
                  <a:gd name="T27" fmla="*/ 1471 h 7766"/>
                  <a:gd name="T28" fmla="*/ 1118 w 5662"/>
                  <a:gd name="T29" fmla="*/ 2008 h 7766"/>
                  <a:gd name="T30" fmla="*/ 998 w 5662"/>
                  <a:gd name="T31" fmla="*/ 2342 h 7766"/>
                  <a:gd name="T32" fmla="*/ 1126 w 5662"/>
                  <a:gd name="T33" fmla="*/ 2702 h 7766"/>
                  <a:gd name="T34" fmla="*/ 1488 w 5662"/>
                  <a:gd name="T35" fmla="*/ 3243 h 7766"/>
                  <a:gd name="T36" fmla="*/ 1369 w 5662"/>
                  <a:gd name="T37" fmla="*/ 3194 h 7766"/>
                  <a:gd name="T38" fmla="*/ 948 w 5662"/>
                  <a:gd name="T39" fmla="*/ 2975 h 7766"/>
                  <a:gd name="T40" fmla="*/ 1012 w 5662"/>
                  <a:gd name="T41" fmla="*/ 4349 h 7766"/>
                  <a:gd name="T42" fmla="*/ 742 w 5662"/>
                  <a:gd name="T43" fmla="*/ 4606 h 7766"/>
                  <a:gd name="T44" fmla="*/ 315 w 5662"/>
                  <a:gd name="T45" fmla="*/ 6395 h 7766"/>
                  <a:gd name="T46" fmla="*/ 0 w 5662"/>
                  <a:gd name="T47" fmla="*/ 6713 h 7766"/>
                  <a:gd name="T48" fmla="*/ 247 w 5662"/>
                  <a:gd name="T49" fmla="*/ 6822 h 7766"/>
                  <a:gd name="T50" fmla="*/ 425 w 5662"/>
                  <a:gd name="T51" fmla="*/ 7113 h 7766"/>
                  <a:gd name="T52" fmla="*/ 498 w 5662"/>
                  <a:gd name="T53" fmla="*/ 7289 h 7766"/>
                  <a:gd name="T54" fmla="*/ 604 w 5662"/>
                  <a:gd name="T55" fmla="*/ 7256 h 7766"/>
                  <a:gd name="T56" fmla="*/ 1235 w 5662"/>
                  <a:gd name="T57" fmla="*/ 7445 h 7766"/>
                  <a:gd name="T58" fmla="*/ 1604 w 5662"/>
                  <a:gd name="T59" fmla="*/ 7719 h 7766"/>
                  <a:gd name="T60" fmla="*/ 1847 w 5662"/>
                  <a:gd name="T61" fmla="*/ 7674 h 7766"/>
                  <a:gd name="T62" fmla="*/ 1930 w 5662"/>
                  <a:gd name="T63" fmla="*/ 7342 h 7766"/>
                  <a:gd name="T64" fmla="*/ 2248 w 5662"/>
                  <a:gd name="T65" fmla="*/ 6966 h 7766"/>
                  <a:gd name="T66" fmla="*/ 2287 w 5662"/>
                  <a:gd name="T67" fmla="*/ 6626 h 7766"/>
                  <a:gd name="T68" fmla="*/ 2175 w 5662"/>
                  <a:gd name="T69" fmla="*/ 6378 h 7766"/>
                  <a:gd name="T70" fmla="*/ 1938 w 5662"/>
                  <a:gd name="T71" fmla="*/ 6289 h 7766"/>
                  <a:gd name="T72" fmla="*/ 2315 w 5662"/>
                  <a:gd name="T73" fmla="*/ 5706 h 7766"/>
                  <a:gd name="T74" fmla="*/ 2417 w 5662"/>
                  <a:gd name="T75" fmla="*/ 5671 h 7766"/>
                  <a:gd name="T76" fmla="*/ 2565 w 5662"/>
                  <a:gd name="T77" fmla="*/ 5616 h 7766"/>
                  <a:gd name="T78" fmla="*/ 3200 w 5662"/>
                  <a:gd name="T79" fmla="*/ 5582 h 7766"/>
                  <a:gd name="T80" fmla="*/ 3462 w 5662"/>
                  <a:gd name="T81" fmla="*/ 5415 h 7766"/>
                  <a:gd name="T82" fmla="*/ 3482 w 5662"/>
                  <a:gd name="T83" fmla="*/ 5136 h 7766"/>
                  <a:gd name="T84" fmla="*/ 3623 w 5662"/>
                  <a:gd name="T85" fmla="*/ 4731 h 7766"/>
                  <a:gd name="T86" fmla="*/ 4031 w 5662"/>
                  <a:gd name="T87" fmla="*/ 4354 h 7766"/>
                  <a:gd name="T88" fmla="*/ 4184 w 5662"/>
                  <a:gd name="T89" fmla="*/ 4004 h 7766"/>
                  <a:gd name="T90" fmla="*/ 4633 w 5662"/>
                  <a:gd name="T91" fmla="*/ 4012 h 7766"/>
                  <a:gd name="T92" fmla="*/ 5076 w 5662"/>
                  <a:gd name="T93" fmla="*/ 3884 h 7766"/>
                  <a:gd name="T94" fmla="*/ 5129 w 5662"/>
                  <a:gd name="T95" fmla="*/ 3655 h 7766"/>
                  <a:gd name="T96" fmla="*/ 5363 w 5662"/>
                  <a:gd name="T97" fmla="*/ 3261 h 7766"/>
                  <a:gd name="T98" fmla="*/ 5506 w 5662"/>
                  <a:gd name="T99" fmla="*/ 2816 h 7766"/>
                  <a:gd name="T100" fmla="*/ 5393 w 5662"/>
                  <a:gd name="T101" fmla="*/ 2425 h 7766"/>
                  <a:gd name="T102" fmla="*/ 5611 w 5662"/>
                  <a:gd name="T103" fmla="*/ 1862 h 7766"/>
                  <a:gd name="T104" fmla="*/ 5260 w 5662"/>
                  <a:gd name="T105" fmla="*/ 1367 h 7766"/>
                  <a:gd name="T106" fmla="*/ 2105 w 5662"/>
                  <a:gd name="T107" fmla="*/ 6913 h 7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662" h="7766">
                    <a:moveTo>
                      <a:pt x="5260" y="1367"/>
                    </a:moveTo>
                    <a:lnTo>
                      <a:pt x="5119" y="1362"/>
                    </a:lnTo>
                    <a:lnTo>
                      <a:pt x="5040" y="1385"/>
                    </a:lnTo>
                    <a:lnTo>
                      <a:pt x="4657" y="1308"/>
                    </a:lnTo>
                    <a:lnTo>
                      <a:pt x="4602" y="1380"/>
                    </a:lnTo>
                    <a:lnTo>
                      <a:pt x="4271" y="1411"/>
                    </a:lnTo>
                    <a:lnTo>
                      <a:pt x="4188" y="1493"/>
                    </a:lnTo>
                    <a:lnTo>
                      <a:pt x="4141" y="1424"/>
                    </a:lnTo>
                    <a:lnTo>
                      <a:pt x="3973" y="1453"/>
                    </a:lnTo>
                    <a:lnTo>
                      <a:pt x="3897" y="1422"/>
                    </a:lnTo>
                    <a:lnTo>
                      <a:pt x="3941" y="1341"/>
                    </a:lnTo>
                    <a:lnTo>
                      <a:pt x="3869" y="1305"/>
                    </a:lnTo>
                    <a:lnTo>
                      <a:pt x="3794" y="1147"/>
                    </a:lnTo>
                    <a:lnTo>
                      <a:pt x="3709" y="1147"/>
                    </a:lnTo>
                    <a:lnTo>
                      <a:pt x="3575" y="1022"/>
                    </a:lnTo>
                    <a:lnTo>
                      <a:pt x="3598" y="853"/>
                    </a:lnTo>
                    <a:lnTo>
                      <a:pt x="3332" y="475"/>
                    </a:lnTo>
                    <a:lnTo>
                      <a:pt x="3325" y="385"/>
                    </a:lnTo>
                    <a:lnTo>
                      <a:pt x="3169" y="299"/>
                    </a:lnTo>
                    <a:lnTo>
                      <a:pt x="3212" y="383"/>
                    </a:lnTo>
                    <a:lnTo>
                      <a:pt x="2922" y="395"/>
                    </a:lnTo>
                    <a:lnTo>
                      <a:pt x="2841" y="354"/>
                    </a:lnTo>
                    <a:lnTo>
                      <a:pt x="2803" y="179"/>
                    </a:lnTo>
                    <a:lnTo>
                      <a:pt x="2718" y="185"/>
                    </a:lnTo>
                    <a:lnTo>
                      <a:pt x="2709" y="94"/>
                    </a:lnTo>
                    <a:lnTo>
                      <a:pt x="2553" y="0"/>
                    </a:lnTo>
                    <a:lnTo>
                      <a:pt x="2359" y="173"/>
                    </a:lnTo>
                    <a:lnTo>
                      <a:pt x="2294" y="107"/>
                    </a:lnTo>
                    <a:lnTo>
                      <a:pt x="2015" y="112"/>
                    </a:lnTo>
                    <a:lnTo>
                      <a:pt x="1852" y="135"/>
                    </a:lnTo>
                    <a:lnTo>
                      <a:pt x="1746" y="273"/>
                    </a:lnTo>
                    <a:lnTo>
                      <a:pt x="1391" y="296"/>
                    </a:lnTo>
                    <a:lnTo>
                      <a:pt x="1456" y="461"/>
                    </a:lnTo>
                    <a:lnTo>
                      <a:pt x="1578" y="580"/>
                    </a:lnTo>
                    <a:lnTo>
                      <a:pt x="1716" y="1099"/>
                    </a:lnTo>
                    <a:lnTo>
                      <a:pt x="1708" y="1314"/>
                    </a:lnTo>
                    <a:lnTo>
                      <a:pt x="1780" y="1371"/>
                    </a:lnTo>
                    <a:lnTo>
                      <a:pt x="1518" y="1500"/>
                    </a:lnTo>
                    <a:lnTo>
                      <a:pt x="1449" y="1449"/>
                    </a:lnTo>
                    <a:lnTo>
                      <a:pt x="1261" y="1457"/>
                    </a:lnTo>
                    <a:lnTo>
                      <a:pt x="1301" y="1372"/>
                    </a:lnTo>
                    <a:lnTo>
                      <a:pt x="1046" y="1471"/>
                    </a:lnTo>
                    <a:lnTo>
                      <a:pt x="915" y="1749"/>
                    </a:lnTo>
                    <a:lnTo>
                      <a:pt x="998" y="1777"/>
                    </a:lnTo>
                    <a:lnTo>
                      <a:pt x="1118" y="2008"/>
                    </a:lnTo>
                    <a:lnTo>
                      <a:pt x="1038" y="2021"/>
                    </a:lnTo>
                    <a:lnTo>
                      <a:pt x="1085" y="2176"/>
                    </a:lnTo>
                    <a:lnTo>
                      <a:pt x="998" y="2342"/>
                    </a:lnTo>
                    <a:lnTo>
                      <a:pt x="862" y="2436"/>
                    </a:lnTo>
                    <a:lnTo>
                      <a:pt x="898" y="2560"/>
                    </a:lnTo>
                    <a:lnTo>
                      <a:pt x="1126" y="2702"/>
                    </a:lnTo>
                    <a:lnTo>
                      <a:pt x="1426" y="3026"/>
                    </a:lnTo>
                    <a:lnTo>
                      <a:pt x="1488" y="3241"/>
                    </a:lnTo>
                    <a:lnTo>
                      <a:pt x="1488" y="3243"/>
                    </a:lnTo>
                    <a:lnTo>
                      <a:pt x="1503" y="3322"/>
                    </a:lnTo>
                    <a:lnTo>
                      <a:pt x="1441" y="3419"/>
                    </a:lnTo>
                    <a:lnTo>
                      <a:pt x="1369" y="3194"/>
                    </a:lnTo>
                    <a:lnTo>
                      <a:pt x="1060" y="2888"/>
                    </a:lnTo>
                    <a:lnTo>
                      <a:pt x="1033" y="2808"/>
                    </a:lnTo>
                    <a:lnTo>
                      <a:pt x="948" y="2975"/>
                    </a:lnTo>
                    <a:lnTo>
                      <a:pt x="769" y="4427"/>
                    </a:lnTo>
                    <a:lnTo>
                      <a:pt x="884" y="4201"/>
                    </a:lnTo>
                    <a:lnTo>
                      <a:pt x="1012" y="4349"/>
                    </a:lnTo>
                    <a:lnTo>
                      <a:pt x="1019" y="4432"/>
                    </a:lnTo>
                    <a:lnTo>
                      <a:pt x="835" y="4406"/>
                    </a:lnTo>
                    <a:lnTo>
                      <a:pt x="742" y="4606"/>
                    </a:lnTo>
                    <a:lnTo>
                      <a:pt x="743" y="4742"/>
                    </a:lnTo>
                    <a:lnTo>
                      <a:pt x="426" y="6190"/>
                    </a:lnTo>
                    <a:lnTo>
                      <a:pt x="315" y="6395"/>
                    </a:lnTo>
                    <a:lnTo>
                      <a:pt x="314" y="6396"/>
                    </a:lnTo>
                    <a:lnTo>
                      <a:pt x="181" y="6579"/>
                    </a:lnTo>
                    <a:lnTo>
                      <a:pt x="0" y="6713"/>
                    </a:lnTo>
                    <a:lnTo>
                      <a:pt x="167" y="6791"/>
                    </a:lnTo>
                    <a:lnTo>
                      <a:pt x="181" y="6882"/>
                    </a:lnTo>
                    <a:lnTo>
                      <a:pt x="247" y="6822"/>
                    </a:lnTo>
                    <a:lnTo>
                      <a:pt x="438" y="6859"/>
                    </a:lnTo>
                    <a:lnTo>
                      <a:pt x="480" y="6941"/>
                    </a:lnTo>
                    <a:lnTo>
                      <a:pt x="425" y="7113"/>
                    </a:lnTo>
                    <a:lnTo>
                      <a:pt x="349" y="7180"/>
                    </a:lnTo>
                    <a:lnTo>
                      <a:pt x="385" y="7262"/>
                    </a:lnTo>
                    <a:lnTo>
                      <a:pt x="498" y="7289"/>
                    </a:lnTo>
                    <a:lnTo>
                      <a:pt x="513" y="7185"/>
                    </a:lnTo>
                    <a:lnTo>
                      <a:pt x="598" y="7158"/>
                    </a:lnTo>
                    <a:lnTo>
                      <a:pt x="604" y="7256"/>
                    </a:lnTo>
                    <a:lnTo>
                      <a:pt x="774" y="7347"/>
                    </a:lnTo>
                    <a:lnTo>
                      <a:pt x="1054" y="7455"/>
                    </a:lnTo>
                    <a:lnTo>
                      <a:pt x="1235" y="7445"/>
                    </a:lnTo>
                    <a:lnTo>
                      <a:pt x="1310" y="7582"/>
                    </a:lnTo>
                    <a:lnTo>
                      <a:pt x="1537" y="7766"/>
                    </a:lnTo>
                    <a:lnTo>
                      <a:pt x="1604" y="7719"/>
                    </a:lnTo>
                    <a:lnTo>
                      <a:pt x="1671" y="7761"/>
                    </a:lnTo>
                    <a:lnTo>
                      <a:pt x="1843" y="7672"/>
                    </a:lnTo>
                    <a:lnTo>
                      <a:pt x="1847" y="7674"/>
                    </a:lnTo>
                    <a:lnTo>
                      <a:pt x="1847" y="7672"/>
                    </a:lnTo>
                    <a:lnTo>
                      <a:pt x="1883" y="7423"/>
                    </a:lnTo>
                    <a:lnTo>
                      <a:pt x="1930" y="7342"/>
                    </a:lnTo>
                    <a:lnTo>
                      <a:pt x="2026" y="7319"/>
                    </a:lnTo>
                    <a:lnTo>
                      <a:pt x="2015" y="7234"/>
                    </a:lnTo>
                    <a:lnTo>
                      <a:pt x="2248" y="6966"/>
                    </a:lnTo>
                    <a:lnTo>
                      <a:pt x="2225" y="6877"/>
                    </a:lnTo>
                    <a:lnTo>
                      <a:pt x="2302" y="6836"/>
                    </a:lnTo>
                    <a:lnTo>
                      <a:pt x="2287" y="6626"/>
                    </a:lnTo>
                    <a:lnTo>
                      <a:pt x="2204" y="6626"/>
                    </a:lnTo>
                    <a:lnTo>
                      <a:pt x="2247" y="6546"/>
                    </a:lnTo>
                    <a:lnTo>
                      <a:pt x="2175" y="6378"/>
                    </a:lnTo>
                    <a:lnTo>
                      <a:pt x="2175" y="6377"/>
                    </a:lnTo>
                    <a:lnTo>
                      <a:pt x="1983" y="6368"/>
                    </a:lnTo>
                    <a:lnTo>
                      <a:pt x="1938" y="6289"/>
                    </a:lnTo>
                    <a:lnTo>
                      <a:pt x="2061" y="5969"/>
                    </a:lnTo>
                    <a:lnTo>
                      <a:pt x="2047" y="5784"/>
                    </a:lnTo>
                    <a:lnTo>
                      <a:pt x="2315" y="5706"/>
                    </a:lnTo>
                    <a:lnTo>
                      <a:pt x="2336" y="5792"/>
                    </a:lnTo>
                    <a:lnTo>
                      <a:pt x="2409" y="5755"/>
                    </a:lnTo>
                    <a:lnTo>
                      <a:pt x="2417" y="5671"/>
                    </a:lnTo>
                    <a:lnTo>
                      <a:pt x="2417" y="5670"/>
                    </a:lnTo>
                    <a:lnTo>
                      <a:pt x="2525" y="5688"/>
                    </a:lnTo>
                    <a:lnTo>
                      <a:pt x="2565" y="5616"/>
                    </a:lnTo>
                    <a:lnTo>
                      <a:pt x="2806" y="5636"/>
                    </a:lnTo>
                    <a:lnTo>
                      <a:pt x="2951" y="5554"/>
                    </a:lnTo>
                    <a:lnTo>
                      <a:pt x="3200" y="5582"/>
                    </a:lnTo>
                    <a:lnTo>
                      <a:pt x="3277" y="5544"/>
                    </a:lnTo>
                    <a:lnTo>
                      <a:pt x="3381" y="5407"/>
                    </a:lnTo>
                    <a:lnTo>
                      <a:pt x="3462" y="5415"/>
                    </a:lnTo>
                    <a:lnTo>
                      <a:pt x="3424" y="5335"/>
                    </a:lnTo>
                    <a:lnTo>
                      <a:pt x="3552" y="5176"/>
                    </a:lnTo>
                    <a:lnTo>
                      <a:pt x="3482" y="5136"/>
                    </a:lnTo>
                    <a:lnTo>
                      <a:pt x="3482" y="5051"/>
                    </a:lnTo>
                    <a:lnTo>
                      <a:pt x="3699" y="4995"/>
                    </a:lnTo>
                    <a:lnTo>
                      <a:pt x="3623" y="4731"/>
                    </a:lnTo>
                    <a:lnTo>
                      <a:pt x="3721" y="4639"/>
                    </a:lnTo>
                    <a:lnTo>
                      <a:pt x="3856" y="4454"/>
                    </a:lnTo>
                    <a:lnTo>
                      <a:pt x="4031" y="4354"/>
                    </a:lnTo>
                    <a:lnTo>
                      <a:pt x="4013" y="4251"/>
                    </a:lnTo>
                    <a:lnTo>
                      <a:pt x="4143" y="4159"/>
                    </a:lnTo>
                    <a:lnTo>
                      <a:pt x="4184" y="4004"/>
                    </a:lnTo>
                    <a:lnTo>
                      <a:pt x="4204" y="3858"/>
                    </a:lnTo>
                    <a:lnTo>
                      <a:pt x="4438" y="3838"/>
                    </a:lnTo>
                    <a:lnTo>
                      <a:pt x="4633" y="4012"/>
                    </a:lnTo>
                    <a:lnTo>
                      <a:pt x="4785" y="3936"/>
                    </a:lnTo>
                    <a:lnTo>
                      <a:pt x="4981" y="3940"/>
                    </a:lnTo>
                    <a:lnTo>
                      <a:pt x="5076" y="3884"/>
                    </a:lnTo>
                    <a:lnTo>
                      <a:pt x="5032" y="3788"/>
                    </a:lnTo>
                    <a:lnTo>
                      <a:pt x="5122" y="3755"/>
                    </a:lnTo>
                    <a:lnTo>
                      <a:pt x="5129" y="3655"/>
                    </a:lnTo>
                    <a:lnTo>
                      <a:pt x="5197" y="3599"/>
                    </a:lnTo>
                    <a:lnTo>
                      <a:pt x="5144" y="3535"/>
                    </a:lnTo>
                    <a:lnTo>
                      <a:pt x="5363" y="3261"/>
                    </a:lnTo>
                    <a:lnTo>
                      <a:pt x="5383" y="3160"/>
                    </a:lnTo>
                    <a:lnTo>
                      <a:pt x="5562" y="3218"/>
                    </a:lnTo>
                    <a:lnTo>
                      <a:pt x="5506" y="2816"/>
                    </a:lnTo>
                    <a:lnTo>
                      <a:pt x="5557" y="2744"/>
                    </a:lnTo>
                    <a:lnTo>
                      <a:pt x="5522" y="2584"/>
                    </a:lnTo>
                    <a:lnTo>
                      <a:pt x="5393" y="2425"/>
                    </a:lnTo>
                    <a:lnTo>
                      <a:pt x="5662" y="2176"/>
                    </a:lnTo>
                    <a:lnTo>
                      <a:pt x="5597" y="1980"/>
                    </a:lnTo>
                    <a:lnTo>
                      <a:pt x="5611" y="1862"/>
                    </a:lnTo>
                    <a:lnTo>
                      <a:pt x="5506" y="1621"/>
                    </a:lnTo>
                    <a:lnTo>
                      <a:pt x="5292" y="1479"/>
                    </a:lnTo>
                    <a:lnTo>
                      <a:pt x="5260" y="1367"/>
                    </a:lnTo>
                    <a:close/>
                    <a:moveTo>
                      <a:pt x="2167" y="6881"/>
                    </a:moveTo>
                    <a:lnTo>
                      <a:pt x="2169" y="6959"/>
                    </a:lnTo>
                    <a:lnTo>
                      <a:pt x="2105" y="6913"/>
                    </a:lnTo>
                    <a:lnTo>
                      <a:pt x="2167" y="6881"/>
                    </a:lnTo>
                    <a:close/>
                  </a:path>
                </a:pathLst>
              </a:custGeom>
              <a:solidFill>
                <a:schemeClr val="bg2">
                  <a:lumMod val="40000"/>
                  <a:lumOff val="60000"/>
                </a:schemeClr>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 name="Freeform 12">
                <a:extLst>
                  <a:ext uri="{FF2B5EF4-FFF2-40B4-BE49-F238E27FC236}">
                    <a16:creationId xmlns:a16="http://schemas.microsoft.com/office/drawing/2014/main" id="{F14B5734-5166-466A-A0A3-56A3B9ED5367}"/>
                  </a:ext>
                </a:extLst>
              </p:cNvPr>
              <p:cNvSpPr>
                <a:spLocks/>
              </p:cNvSpPr>
              <p:nvPr/>
            </p:nvSpPr>
            <p:spPr bwMode="auto">
              <a:xfrm>
                <a:off x="1489832" y="1796575"/>
                <a:ext cx="875724" cy="660289"/>
              </a:xfrm>
              <a:custGeom>
                <a:avLst/>
                <a:gdLst>
                  <a:gd name="T0" fmla="*/ 929 w 4337"/>
                  <a:gd name="T1" fmla="*/ 1191 h 3327"/>
                  <a:gd name="T2" fmla="*/ 814 w 4337"/>
                  <a:gd name="T3" fmla="*/ 659 h 3327"/>
                  <a:gd name="T4" fmla="*/ 597 w 4337"/>
                  <a:gd name="T5" fmla="*/ 560 h 3327"/>
                  <a:gd name="T6" fmla="*/ 335 w 4337"/>
                  <a:gd name="T7" fmla="*/ 624 h 3327"/>
                  <a:gd name="T8" fmla="*/ 0 w 4337"/>
                  <a:gd name="T9" fmla="*/ 570 h 3327"/>
                  <a:gd name="T10" fmla="*/ 111 w 4337"/>
                  <a:gd name="T11" fmla="*/ 766 h 3327"/>
                  <a:gd name="T12" fmla="*/ 129 w 4337"/>
                  <a:gd name="T13" fmla="*/ 1119 h 3327"/>
                  <a:gd name="T14" fmla="*/ 336 w 4337"/>
                  <a:gd name="T15" fmla="*/ 1676 h 3327"/>
                  <a:gd name="T16" fmla="*/ 377 w 4337"/>
                  <a:gd name="T17" fmla="*/ 1930 h 3327"/>
                  <a:gd name="T18" fmla="*/ 433 w 4337"/>
                  <a:gd name="T19" fmla="*/ 2366 h 3327"/>
                  <a:gd name="T20" fmla="*/ 581 w 4337"/>
                  <a:gd name="T21" fmla="*/ 2357 h 3327"/>
                  <a:gd name="T22" fmla="*/ 348 w 4337"/>
                  <a:gd name="T23" fmla="*/ 2465 h 3327"/>
                  <a:gd name="T24" fmla="*/ 562 w 4337"/>
                  <a:gd name="T25" fmla="*/ 2768 h 3327"/>
                  <a:gd name="T26" fmla="*/ 925 w 4337"/>
                  <a:gd name="T27" fmla="*/ 2697 h 3327"/>
                  <a:gd name="T28" fmla="*/ 1272 w 4337"/>
                  <a:gd name="T29" fmla="*/ 2829 h 3327"/>
                  <a:gd name="T30" fmla="*/ 1413 w 4337"/>
                  <a:gd name="T31" fmla="*/ 2831 h 3327"/>
                  <a:gd name="T32" fmla="*/ 1872 w 4337"/>
                  <a:gd name="T33" fmla="*/ 2737 h 3327"/>
                  <a:gd name="T34" fmla="*/ 1971 w 4337"/>
                  <a:gd name="T35" fmla="*/ 2665 h 3327"/>
                  <a:gd name="T36" fmla="*/ 2121 w 4337"/>
                  <a:gd name="T37" fmla="*/ 2884 h 3327"/>
                  <a:gd name="T38" fmla="*/ 2208 w 4337"/>
                  <a:gd name="T39" fmla="*/ 2972 h 3327"/>
                  <a:gd name="T40" fmla="*/ 2606 w 4337"/>
                  <a:gd name="T41" fmla="*/ 2847 h 3327"/>
                  <a:gd name="T42" fmla="*/ 2861 w 4337"/>
                  <a:gd name="T43" fmla="*/ 3233 h 3327"/>
                  <a:gd name="T44" fmla="*/ 3035 w 4337"/>
                  <a:gd name="T45" fmla="*/ 3305 h 3327"/>
                  <a:gd name="T46" fmla="*/ 3128 w 4337"/>
                  <a:gd name="T47" fmla="*/ 3327 h 3327"/>
                  <a:gd name="T48" fmla="*/ 3096 w 4337"/>
                  <a:gd name="T49" fmla="*/ 3110 h 3327"/>
                  <a:gd name="T50" fmla="*/ 3300 w 4337"/>
                  <a:gd name="T51" fmla="*/ 2829 h 3327"/>
                  <a:gd name="T52" fmla="*/ 3167 w 4337"/>
                  <a:gd name="T53" fmla="*/ 2572 h 3327"/>
                  <a:gd name="T54" fmla="*/ 3233 w 4337"/>
                  <a:gd name="T55" fmla="*/ 2404 h 3327"/>
                  <a:gd name="T56" fmla="*/ 3558 w 4337"/>
                  <a:gd name="T57" fmla="*/ 2280 h 3327"/>
                  <a:gd name="T58" fmla="*/ 3815 w 4337"/>
                  <a:gd name="T59" fmla="*/ 2288 h 3327"/>
                  <a:gd name="T60" fmla="*/ 3981 w 4337"/>
                  <a:gd name="T61" fmla="*/ 2007 h 3327"/>
                  <a:gd name="T62" fmla="*/ 3997 w 4337"/>
                  <a:gd name="T63" fmla="*/ 1765 h 3327"/>
                  <a:gd name="T64" fmla="*/ 4221 w 4337"/>
                  <a:gd name="T65" fmla="*/ 1491 h 3327"/>
                  <a:gd name="T66" fmla="*/ 4235 w 4337"/>
                  <a:gd name="T67" fmla="*/ 1175 h 3327"/>
                  <a:gd name="T68" fmla="*/ 4235 w 4337"/>
                  <a:gd name="T69" fmla="*/ 689 h 3327"/>
                  <a:gd name="T70" fmla="*/ 4225 w 4337"/>
                  <a:gd name="T71" fmla="*/ 310 h 3327"/>
                  <a:gd name="T72" fmla="*/ 3860 w 4337"/>
                  <a:gd name="T73" fmla="*/ 0 h 3327"/>
                  <a:gd name="T74" fmla="*/ 3542 w 4337"/>
                  <a:gd name="T75" fmla="*/ 228 h 3327"/>
                  <a:gd name="T76" fmla="*/ 2489 w 4337"/>
                  <a:gd name="T77" fmla="*/ 608 h 3327"/>
                  <a:gd name="T78" fmla="*/ 2371 w 4337"/>
                  <a:gd name="T79" fmla="*/ 1038 h 3327"/>
                  <a:gd name="T80" fmla="*/ 2632 w 4337"/>
                  <a:gd name="T81" fmla="*/ 1097 h 3327"/>
                  <a:gd name="T82" fmla="*/ 2385 w 4337"/>
                  <a:gd name="T83" fmla="*/ 1162 h 3327"/>
                  <a:gd name="T84" fmla="*/ 1965 w 4337"/>
                  <a:gd name="T85" fmla="*/ 1363 h 3327"/>
                  <a:gd name="T86" fmla="*/ 1359 w 4337"/>
                  <a:gd name="T87" fmla="*/ 1220 h 3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37" h="3327">
                    <a:moveTo>
                      <a:pt x="1084" y="1123"/>
                    </a:moveTo>
                    <a:lnTo>
                      <a:pt x="929" y="1191"/>
                    </a:lnTo>
                    <a:lnTo>
                      <a:pt x="743" y="886"/>
                    </a:lnTo>
                    <a:lnTo>
                      <a:pt x="814" y="659"/>
                    </a:lnTo>
                    <a:lnTo>
                      <a:pt x="785" y="579"/>
                    </a:lnTo>
                    <a:lnTo>
                      <a:pt x="597" y="560"/>
                    </a:lnTo>
                    <a:lnTo>
                      <a:pt x="524" y="612"/>
                    </a:lnTo>
                    <a:lnTo>
                      <a:pt x="335" y="624"/>
                    </a:lnTo>
                    <a:lnTo>
                      <a:pt x="6" y="490"/>
                    </a:lnTo>
                    <a:lnTo>
                      <a:pt x="0" y="570"/>
                    </a:lnTo>
                    <a:lnTo>
                      <a:pt x="95" y="624"/>
                    </a:lnTo>
                    <a:lnTo>
                      <a:pt x="111" y="766"/>
                    </a:lnTo>
                    <a:lnTo>
                      <a:pt x="55" y="824"/>
                    </a:lnTo>
                    <a:lnTo>
                      <a:pt x="129" y="1119"/>
                    </a:lnTo>
                    <a:lnTo>
                      <a:pt x="375" y="1383"/>
                    </a:lnTo>
                    <a:lnTo>
                      <a:pt x="336" y="1676"/>
                    </a:lnTo>
                    <a:lnTo>
                      <a:pt x="392" y="1756"/>
                    </a:lnTo>
                    <a:lnTo>
                      <a:pt x="377" y="1930"/>
                    </a:lnTo>
                    <a:lnTo>
                      <a:pt x="313" y="2094"/>
                    </a:lnTo>
                    <a:lnTo>
                      <a:pt x="433" y="2366"/>
                    </a:lnTo>
                    <a:lnTo>
                      <a:pt x="509" y="2404"/>
                    </a:lnTo>
                    <a:lnTo>
                      <a:pt x="581" y="2357"/>
                    </a:lnTo>
                    <a:lnTo>
                      <a:pt x="553" y="2444"/>
                    </a:lnTo>
                    <a:lnTo>
                      <a:pt x="348" y="2465"/>
                    </a:lnTo>
                    <a:lnTo>
                      <a:pt x="484" y="2741"/>
                    </a:lnTo>
                    <a:lnTo>
                      <a:pt x="562" y="2768"/>
                    </a:lnTo>
                    <a:lnTo>
                      <a:pt x="768" y="2632"/>
                    </a:lnTo>
                    <a:lnTo>
                      <a:pt x="925" y="2697"/>
                    </a:lnTo>
                    <a:lnTo>
                      <a:pt x="1175" y="2721"/>
                    </a:lnTo>
                    <a:lnTo>
                      <a:pt x="1272" y="2829"/>
                    </a:lnTo>
                    <a:lnTo>
                      <a:pt x="1341" y="2782"/>
                    </a:lnTo>
                    <a:lnTo>
                      <a:pt x="1413" y="2831"/>
                    </a:lnTo>
                    <a:lnTo>
                      <a:pt x="1609" y="2737"/>
                    </a:lnTo>
                    <a:lnTo>
                      <a:pt x="1872" y="2737"/>
                    </a:lnTo>
                    <a:lnTo>
                      <a:pt x="1891" y="2657"/>
                    </a:lnTo>
                    <a:lnTo>
                      <a:pt x="1971" y="2665"/>
                    </a:lnTo>
                    <a:lnTo>
                      <a:pt x="2028" y="2839"/>
                    </a:lnTo>
                    <a:lnTo>
                      <a:pt x="2121" y="2884"/>
                    </a:lnTo>
                    <a:lnTo>
                      <a:pt x="2121" y="2969"/>
                    </a:lnTo>
                    <a:lnTo>
                      <a:pt x="2208" y="2972"/>
                    </a:lnTo>
                    <a:lnTo>
                      <a:pt x="2526" y="2803"/>
                    </a:lnTo>
                    <a:lnTo>
                      <a:pt x="2606" y="2847"/>
                    </a:lnTo>
                    <a:lnTo>
                      <a:pt x="2651" y="3090"/>
                    </a:lnTo>
                    <a:lnTo>
                      <a:pt x="2861" y="3233"/>
                    </a:lnTo>
                    <a:lnTo>
                      <a:pt x="2944" y="3205"/>
                    </a:lnTo>
                    <a:lnTo>
                      <a:pt x="3035" y="3305"/>
                    </a:lnTo>
                    <a:lnTo>
                      <a:pt x="3127" y="3327"/>
                    </a:lnTo>
                    <a:lnTo>
                      <a:pt x="3128" y="3327"/>
                    </a:lnTo>
                    <a:lnTo>
                      <a:pt x="3127" y="3326"/>
                    </a:lnTo>
                    <a:lnTo>
                      <a:pt x="3096" y="3110"/>
                    </a:lnTo>
                    <a:lnTo>
                      <a:pt x="3314" y="2961"/>
                    </a:lnTo>
                    <a:lnTo>
                      <a:pt x="3300" y="2829"/>
                    </a:lnTo>
                    <a:lnTo>
                      <a:pt x="3303" y="2697"/>
                    </a:lnTo>
                    <a:lnTo>
                      <a:pt x="3167" y="2572"/>
                    </a:lnTo>
                    <a:lnTo>
                      <a:pt x="3163" y="2478"/>
                    </a:lnTo>
                    <a:lnTo>
                      <a:pt x="3233" y="2404"/>
                    </a:lnTo>
                    <a:lnTo>
                      <a:pt x="3405" y="2373"/>
                    </a:lnTo>
                    <a:lnTo>
                      <a:pt x="3558" y="2280"/>
                    </a:lnTo>
                    <a:lnTo>
                      <a:pt x="3641" y="2326"/>
                    </a:lnTo>
                    <a:lnTo>
                      <a:pt x="3815" y="2288"/>
                    </a:lnTo>
                    <a:lnTo>
                      <a:pt x="3807" y="2208"/>
                    </a:lnTo>
                    <a:lnTo>
                      <a:pt x="3981" y="2007"/>
                    </a:lnTo>
                    <a:lnTo>
                      <a:pt x="3930" y="1838"/>
                    </a:lnTo>
                    <a:lnTo>
                      <a:pt x="3997" y="1765"/>
                    </a:lnTo>
                    <a:lnTo>
                      <a:pt x="4107" y="1766"/>
                    </a:lnTo>
                    <a:lnTo>
                      <a:pt x="4221" y="1491"/>
                    </a:lnTo>
                    <a:lnTo>
                      <a:pt x="4337" y="1418"/>
                    </a:lnTo>
                    <a:lnTo>
                      <a:pt x="4235" y="1175"/>
                    </a:lnTo>
                    <a:lnTo>
                      <a:pt x="4275" y="943"/>
                    </a:lnTo>
                    <a:lnTo>
                      <a:pt x="4235" y="689"/>
                    </a:lnTo>
                    <a:lnTo>
                      <a:pt x="4323" y="554"/>
                    </a:lnTo>
                    <a:lnTo>
                      <a:pt x="4225" y="310"/>
                    </a:lnTo>
                    <a:lnTo>
                      <a:pt x="3861" y="1"/>
                    </a:lnTo>
                    <a:lnTo>
                      <a:pt x="3860" y="0"/>
                    </a:lnTo>
                    <a:lnTo>
                      <a:pt x="3855" y="9"/>
                    </a:lnTo>
                    <a:lnTo>
                      <a:pt x="3542" y="228"/>
                    </a:lnTo>
                    <a:lnTo>
                      <a:pt x="2901" y="386"/>
                    </a:lnTo>
                    <a:lnTo>
                      <a:pt x="2489" y="608"/>
                    </a:lnTo>
                    <a:lnTo>
                      <a:pt x="2322" y="974"/>
                    </a:lnTo>
                    <a:lnTo>
                      <a:pt x="2371" y="1038"/>
                    </a:lnTo>
                    <a:lnTo>
                      <a:pt x="2627" y="1096"/>
                    </a:lnTo>
                    <a:lnTo>
                      <a:pt x="2632" y="1097"/>
                    </a:lnTo>
                    <a:lnTo>
                      <a:pt x="2587" y="1115"/>
                    </a:lnTo>
                    <a:lnTo>
                      <a:pt x="2385" y="1162"/>
                    </a:lnTo>
                    <a:lnTo>
                      <a:pt x="2244" y="1284"/>
                    </a:lnTo>
                    <a:lnTo>
                      <a:pt x="1965" y="1363"/>
                    </a:lnTo>
                    <a:lnTo>
                      <a:pt x="1720" y="1260"/>
                    </a:lnTo>
                    <a:lnTo>
                      <a:pt x="1359" y="1220"/>
                    </a:lnTo>
                    <a:lnTo>
                      <a:pt x="1084" y="1123"/>
                    </a:lnTo>
                    <a:close/>
                  </a:path>
                </a:pathLst>
              </a:custGeom>
              <a:solidFill>
                <a:schemeClr val="bg2">
                  <a:lumMod val="75000"/>
                </a:schemeClr>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 name="Freeform 13">
                <a:extLst>
                  <a:ext uri="{FF2B5EF4-FFF2-40B4-BE49-F238E27FC236}">
                    <a16:creationId xmlns:a16="http://schemas.microsoft.com/office/drawing/2014/main" id="{9ED1A2B6-F1FC-4ECE-A00C-76387C7A7578}"/>
                  </a:ext>
                </a:extLst>
              </p:cNvPr>
              <p:cNvSpPr>
                <a:spLocks/>
              </p:cNvSpPr>
              <p:nvPr/>
            </p:nvSpPr>
            <p:spPr bwMode="auto">
              <a:xfrm>
                <a:off x="784567" y="2177511"/>
                <a:ext cx="893497" cy="512677"/>
              </a:xfrm>
              <a:custGeom>
                <a:avLst/>
                <a:gdLst>
                  <a:gd name="T0" fmla="*/ 2497 w 4423"/>
                  <a:gd name="T1" fmla="*/ 703 h 2584"/>
                  <a:gd name="T2" fmla="*/ 2351 w 4423"/>
                  <a:gd name="T3" fmla="*/ 432 h 2584"/>
                  <a:gd name="T4" fmla="*/ 2153 w 4423"/>
                  <a:gd name="T5" fmla="*/ 104 h 2584"/>
                  <a:gd name="T6" fmla="*/ 2056 w 4423"/>
                  <a:gd name="T7" fmla="*/ 10 h 2584"/>
                  <a:gd name="T8" fmla="*/ 1648 w 4423"/>
                  <a:gd name="T9" fmla="*/ 106 h 2584"/>
                  <a:gd name="T10" fmla="*/ 1466 w 4423"/>
                  <a:gd name="T11" fmla="*/ 319 h 2584"/>
                  <a:gd name="T12" fmla="*/ 1149 w 4423"/>
                  <a:gd name="T13" fmla="*/ 265 h 2584"/>
                  <a:gd name="T14" fmla="*/ 1020 w 4423"/>
                  <a:gd name="T15" fmla="*/ 379 h 2584"/>
                  <a:gd name="T16" fmla="*/ 556 w 4423"/>
                  <a:gd name="T17" fmla="*/ 238 h 2584"/>
                  <a:gd name="T18" fmla="*/ 95 w 4423"/>
                  <a:gd name="T19" fmla="*/ 412 h 2584"/>
                  <a:gd name="T20" fmla="*/ 50 w 4423"/>
                  <a:gd name="T21" fmla="*/ 809 h 2584"/>
                  <a:gd name="T22" fmla="*/ 560 w 4423"/>
                  <a:gd name="T23" fmla="*/ 705 h 2584"/>
                  <a:gd name="T24" fmla="*/ 610 w 4423"/>
                  <a:gd name="T25" fmla="*/ 813 h 2584"/>
                  <a:gd name="T26" fmla="*/ 591 w 4423"/>
                  <a:gd name="T27" fmla="*/ 951 h 2584"/>
                  <a:gd name="T28" fmla="*/ 562 w 4423"/>
                  <a:gd name="T29" fmla="*/ 915 h 2584"/>
                  <a:gd name="T30" fmla="*/ 237 w 4423"/>
                  <a:gd name="T31" fmla="*/ 842 h 2584"/>
                  <a:gd name="T32" fmla="*/ 313 w 4423"/>
                  <a:gd name="T33" fmla="*/ 1020 h 2584"/>
                  <a:gd name="T34" fmla="*/ 576 w 4423"/>
                  <a:gd name="T35" fmla="*/ 1210 h 2584"/>
                  <a:gd name="T36" fmla="*/ 95 w 4423"/>
                  <a:gd name="T37" fmla="*/ 1280 h 2584"/>
                  <a:gd name="T38" fmla="*/ 434 w 4423"/>
                  <a:gd name="T39" fmla="*/ 1635 h 2584"/>
                  <a:gd name="T40" fmla="*/ 720 w 4423"/>
                  <a:gd name="T41" fmla="*/ 1693 h 2584"/>
                  <a:gd name="T42" fmla="*/ 698 w 4423"/>
                  <a:gd name="T43" fmla="*/ 1596 h 2584"/>
                  <a:gd name="T44" fmla="*/ 779 w 4423"/>
                  <a:gd name="T45" fmla="*/ 1585 h 2584"/>
                  <a:gd name="T46" fmla="*/ 806 w 4423"/>
                  <a:gd name="T47" fmla="*/ 1738 h 2584"/>
                  <a:gd name="T48" fmla="*/ 1158 w 4423"/>
                  <a:gd name="T49" fmla="*/ 1843 h 2584"/>
                  <a:gd name="T50" fmla="*/ 1168 w 4423"/>
                  <a:gd name="T51" fmla="*/ 1843 h 2584"/>
                  <a:gd name="T52" fmla="*/ 1309 w 4423"/>
                  <a:gd name="T53" fmla="*/ 1917 h 2584"/>
                  <a:gd name="T54" fmla="*/ 1444 w 4423"/>
                  <a:gd name="T55" fmla="*/ 2007 h 2584"/>
                  <a:gd name="T56" fmla="*/ 1596 w 4423"/>
                  <a:gd name="T57" fmla="*/ 2012 h 2584"/>
                  <a:gd name="T58" fmla="*/ 1685 w 4423"/>
                  <a:gd name="T59" fmla="*/ 1948 h 2584"/>
                  <a:gd name="T60" fmla="*/ 1773 w 4423"/>
                  <a:gd name="T61" fmla="*/ 2131 h 2584"/>
                  <a:gd name="T62" fmla="*/ 1787 w 4423"/>
                  <a:gd name="T63" fmla="*/ 2213 h 2584"/>
                  <a:gd name="T64" fmla="*/ 1889 w 4423"/>
                  <a:gd name="T65" fmla="*/ 2468 h 2584"/>
                  <a:gd name="T66" fmla="*/ 2024 w 4423"/>
                  <a:gd name="T67" fmla="*/ 2294 h 2584"/>
                  <a:gd name="T68" fmla="*/ 2149 w 4423"/>
                  <a:gd name="T69" fmla="*/ 2319 h 2584"/>
                  <a:gd name="T70" fmla="*/ 2360 w 4423"/>
                  <a:gd name="T71" fmla="*/ 2332 h 2584"/>
                  <a:gd name="T72" fmla="*/ 2258 w 4423"/>
                  <a:gd name="T73" fmla="*/ 2489 h 2584"/>
                  <a:gd name="T74" fmla="*/ 2610 w 4423"/>
                  <a:gd name="T75" fmla="*/ 2510 h 2584"/>
                  <a:gd name="T76" fmla="*/ 3112 w 4423"/>
                  <a:gd name="T77" fmla="*/ 2279 h 2584"/>
                  <a:gd name="T78" fmla="*/ 3690 w 4423"/>
                  <a:gd name="T79" fmla="*/ 2087 h 2584"/>
                  <a:gd name="T80" fmla="*/ 4160 w 4423"/>
                  <a:gd name="T81" fmla="*/ 2015 h 2584"/>
                  <a:gd name="T82" fmla="*/ 4369 w 4423"/>
                  <a:gd name="T83" fmla="*/ 1198 h 2584"/>
                  <a:gd name="T84" fmla="*/ 4258 w 4423"/>
                  <a:gd name="T85" fmla="*/ 714 h 2584"/>
                  <a:gd name="T86" fmla="*/ 3838 w 4423"/>
                  <a:gd name="T87" fmla="*/ 547 h 2584"/>
                  <a:gd name="T88" fmla="*/ 3418 w 4423"/>
                  <a:gd name="T89" fmla="*/ 407 h 2584"/>
                  <a:gd name="T90" fmla="*/ 3310 w 4423"/>
                  <a:gd name="T91" fmla="*/ 626 h 2584"/>
                  <a:gd name="T92" fmla="*/ 3176 w 4423"/>
                  <a:gd name="T93" fmla="*/ 551 h 2584"/>
                  <a:gd name="T94" fmla="*/ 2941 w 4423"/>
                  <a:gd name="T95" fmla="*/ 513 h 2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423" h="2584">
                    <a:moveTo>
                      <a:pt x="2910" y="437"/>
                    </a:moveTo>
                    <a:lnTo>
                      <a:pt x="2807" y="446"/>
                    </a:lnTo>
                    <a:lnTo>
                      <a:pt x="2497" y="703"/>
                    </a:lnTo>
                    <a:lnTo>
                      <a:pt x="2471" y="598"/>
                    </a:lnTo>
                    <a:lnTo>
                      <a:pt x="2354" y="522"/>
                    </a:lnTo>
                    <a:lnTo>
                      <a:pt x="2351" y="432"/>
                    </a:lnTo>
                    <a:lnTo>
                      <a:pt x="2220" y="205"/>
                    </a:lnTo>
                    <a:lnTo>
                      <a:pt x="2135" y="187"/>
                    </a:lnTo>
                    <a:lnTo>
                      <a:pt x="2153" y="104"/>
                    </a:lnTo>
                    <a:lnTo>
                      <a:pt x="2066" y="115"/>
                    </a:lnTo>
                    <a:lnTo>
                      <a:pt x="2017" y="201"/>
                    </a:lnTo>
                    <a:lnTo>
                      <a:pt x="2056" y="10"/>
                    </a:lnTo>
                    <a:lnTo>
                      <a:pt x="1919" y="103"/>
                    </a:lnTo>
                    <a:lnTo>
                      <a:pt x="1904" y="0"/>
                    </a:lnTo>
                    <a:lnTo>
                      <a:pt x="1648" y="106"/>
                    </a:lnTo>
                    <a:lnTo>
                      <a:pt x="1606" y="35"/>
                    </a:lnTo>
                    <a:lnTo>
                      <a:pt x="1475" y="140"/>
                    </a:lnTo>
                    <a:lnTo>
                      <a:pt x="1466" y="319"/>
                    </a:lnTo>
                    <a:lnTo>
                      <a:pt x="1372" y="334"/>
                    </a:lnTo>
                    <a:lnTo>
                      <a:pt x="1230" y="247"/>
                    </a:lnTo>
                    <a:lnTo>
                      <a:pt x="1149" y="265"/>
                    </a:lnTo>
                    <a:lnTo>
                      <a:pt x="1131" y="363"/>
                    </a:lnTo>
                    <a:lnTo>
                      <a:pt x="1067" y="285"/>
                    </a:lnTo>
                    <a:lnTo>
                      <a:pt x="1020" y="379"/>
                    </a:lnTo>
                    <a:lnTo>
                      <a:pt x="1016" y="191"/>
                    </a:lnTo>
                    <a:lnTo>
                      <a:pt x="600" y="314"/>
                    </a:lnTo>
                    <a:lnTo>
                      <a:pt x="556" y="238"/>
                    </a:lnTo>
                    <a:lnTo>
                      <a:pt x="261" y="398"/>
                    </a:lnTo>
                    <a:lnTo>
                      <a:pt x="336" y="437"/>
                    </a:lnTo>
                    <a:lnTo>
                      <a:pt x="95" y="412"/>
                    </a:lnTo>
                    <a:lnTo>
                      <a:pt x="40" y="482"/>
                    </a:lnTo>
                    <a:lnTo>
                      <a:pt x="0" y="742"/>
                    </a:lnTo>
                    <a:lnTo>
                      <a:pt x="50" y="809"/>
                    </a:lnTo>
                    <a:lnTo>
                      <a:pt x="130" y="775"/>
                    </a:lnTo>
                    <a:lnTo>
                      <a:pt x="206" y="810"/>
                    </a:lnTo>
                    <a:lnTo>
                      <a:pt x="560" y="705"/>
                    </a:lnTo>
                    <a:lnTo>
                      <a:pt x="453" y="756"/>
                    </a:lnTo>
                    <a:lnTo>
                      <a:pt x="438" y="854"/>
                    </a:lnTo>
                    <a:lnTo>
                      <a:pt x="610" y="813"/>
                    </a:lnTo>
                    <a:lnTo>
                      <a:pt x="598" y="895"/>
                    </a:lnTo>
                    <a:lnTo>
                      <a:pt x="681" y="931"/>
                    </a:lnTo>
                    <a:lnTo>
                      <a:pt x="591" y="951"/>
                    </a:lnTo>
                    <a:lnTo>
                      <a:pt x="774" y="1028"/>
                    </a:lnTo>
                    <a:lnTo>
                      <a:pt x="601" y="987"/>
                    </a:lnTo>
                    <a:lnTo>
                      <a:pt x="562" y="915"/>
                    </a:lnTo>
                    <a:lnTo>
                      <a:pt x="453" y="946"/>
                    </a:lnTo>
                    <a:lnTo>
                      <a:pt x="286" y="911"/>
                    </a:lnTo>
                    <a:lnTo>
                      <a:pt x="237" y="842"/>
                    </a:lnTo>
                    <a:lnTo>
                      <a:pt x="192" y="948"/>
                    </a:lnTo>
                    <a:lnTo>
                      <a:pt x="263" y="1099"/>
                    </a:lnTo>
                    <a:lnTo>
                      <a:pt x="313" y="1020"/>
                    </a:lnTo>
                    <a:lnTo>
                      <a:pt x="394" y="1027"/>
                    </a:lnTo>
                    <a:lnTo>
                      <a:pt x="551" y="1117"/>
                    </a:lnTo>
                    <a:lnTo>
                      <a:pt x="576" y="1210"/>
                    </a:lnTo>
                    <a:lnTo>
                      <a:pt x="531" y="1283"/>
                    </a:lnTo>
                    <a:lnTo>
                      <a:pt x="460" y="1244"/>
                    </a:lnTo>
                    <a:lnTo>
                      <a:pt x="95" y="1280"/>
                    </a:lnTo>
                    <a:lnTo>
                      <a:pt x="50" y="1351"/>
                    </a:lnTo>
                    <a:lnTo>
                      <a:pt x="327" y="1456"/>
                    </a:lnTo>
                    <a:lnTo>
                      <a:pt x="434" y="1635"/>
                    </a:lnTo>
                    <a:lnTo>
                      <a:pt x="403" y="1795"/>
                    </a:lnTo>
                    <a:lnTo>
                      <a:pt x="614" y="1814"/>
                    </a:lnTo>
                    <a:lnTo>
                      <a:pt x="720" y="1693"/>
                    </a:lnTo>
                    <a:lnTo>
                      <a:pt x="721" y="1681"/>
                    </a:lnTo>
                    <a:lnTo>
                      <a:pt x="720" y="1679"/>
                    </a:lnTo>
                    <a:lnTo>
                      <a:pt x="698" y="1596"/>
                    </a:lnTo>
                    <a:lnTo>
                      <a:pt x="729" y="1592"/>
                    </a:lnTo>
                    <a:lnTo>
                      <a:pt x="738" y="1502"/>
                    </a:lnTo>
                    <a:lnTo>
                      <a:pt x="779" y="1585"/>
                    </a:lnTo>
                    <a:lnTo>
                      <a:pt x="729" y="1592"/>
                    </a:lnTo>
                    <a:lnTo>
                      <a:pt x="721" y="1681"/>
                    </a:lnTo>
                    <a:lnTo>
                      <a:pt x="806" y="1738"/>
                    </a:lnTo>
                    <a:lnTo>
                      <a:pt x="939" y="1690"/>
                    </a:lnTo>
                    <a:lnTo>
                      <a:pt x="1077" y="1862"/>
                    </a:lnTo>
                    <a:lnTo>
                      <a:pt x="1158" y="1843"/>
                    </a:lnTo>
                    <a:lnTo>
                      <a:pt x="1158" y="1761"/>
                    </a:lnTo>
                    <a:lnTo>
                      <a:pt x="1168" y="1842"/>
                    </a:lnTo>
                    <a:lnTo>
                      <a:pt x="1168" y="1843"/>
                    </a:lnTo>
                    <a:lnTo>
                      <a:pt x="1244" y="1816"/>
                    </a:lnTo>
                    <a:lnTo>
                      <a:pt x="1225" y="1898"/>
                    </a:lnTo>
                    <a:lnTo>
                      <a:pt x="1309" y="1917"/>
                    </a:lnTo>
                    <a:lnTo>
                      <a:pt x="1418" y="1872"/>
                    </a:lnTo>
                    <a:lnTo>
                      <a:pt x="1425" y="1784"/>
                    </a:lnTo>
                    <a:lnTo>
                      <a:pt x="1444" y="2007"/>
                    </a:lnTo>
                    <a:lnTo>
                      <a:pt x="1517" y="2052"/>
                    </a:lnTo>
                    <a:lnTo>
                      <a:pt x="1596" y="2014"/>
                    </a:lnTo>
                    <a:lnTo>
                      <a:pt x="1596" y="2012"/>
                    </a:lnTo>
                    <a:lnTo>
                      <a:pt x="1583" y="1843"/>
                    </a:lnTo>
                    <a:lnTo>
                      <a:pt x="1600" y="1931"/>
                    </a:lnTo>
                    <a:lnTo>
                      <a:pt x="1685" y="1948"/>
                    </a:lnTo>
                    <a:lnTo>
                      <a:pt x="1623" y="2010"/>
                    </a:lnTo>
                    <a:lnTo>
                      <a:pt x="1666" y="2086"/>
                    </a:lnTo>
                    <a:lnTo>
                      <a:pt x="1773" y="2131"/>
                    </a:lnTo>
                    <a:lnTo>
                      <a:pt x="1850" y="2096"/>
                    </a:lnTo>
                    <a:lnTo>
                      <a:pt x="1779" y="2133"/>
                    </a:lnTo>
                    <a:lnTo>
                      <a:pt x="1787" y="2213"/>
                    </a:lnTo>
                    <a:lnTo>
                      <a:pt x="1849" y="2294"/>
                    </a:lnTo>
                    <a:lnTo>
                      <a:pt x="1825" y="2401"/>
                    </a:lnTo>
                    <a:lnTo>
                      <a:pt x="1889" y="2468"/>
                    </a:lnTo>
                    <a:lnTo>
                      <a:pt x="1854" y="2386"/>
                    </a:lnTo>
                    <a:lnTo>
                      <a:pt x="1934" y="2316"/>
                    </a:lnTo>
                    <a:lnTo>
                      <a:pt x="2024" y="2294"/>
                    </a:lnTo>
                    <a:lnTo>
                      <a:pt x="2095" y="2347"/>
                    </a:lnTo>
                    <a:lnTo>
                      <a:pt x="2059" y="2177"/>
                    </a:lnTo>
                    <a:lnTo>
                      <a:pt x="2149" y="2319"/>
                    </a:lnTo>
                    <a:lnTo>
                      <a:pt x="2191" y="2244"/>
                    </a:lnTo>
                    <a:lnTo>
                      <a:pt x="2298" y="2262"/>
                    </a:lnTo>
                    <a:lnTo>
                      <a:pt x="2360" y="2332"/>
                    </a:lnTo>
                    <a:lnTo>
                      <a:pt x="2302" y="2403"/>
                    </a:lnTo>
                    <a:lnTo>
                      <a:pt x="2120" y="2379"/>
                    </a:lnTo>
                    <a:lnTo>
                      <a:pt x="2258" y="2489"/>
                    </a:lnTo>
                    <a:lnTo>
                      <a:pt x="2618" y="2461"/>
                    </a:lnTo>
                    <a:lnTo>
                      <a:pt x="2696" y="2504"/>
                    </a:lnTo>
                    <a:lnTo>
                      <a:pt x="2610" y="2510"/>
                    </a:lnTo>
                    <a:lnTo>
                      <a:pt x="2655" y="2584"/>
                    </a:lnTo>
                    <a:lnTo>
                      <a:pt x="3101" y="2453"/>
                    </a:lnTo>
                    <a:lnTo>
                      <a:pt x="3112" y="2279"/>
                    </a:lnTo>
                    <a:lnTo>
                      <a:pt x="3263" y="2181"/>
                    </a:lnTo>
                    <a:lnTo>
                      <a:pt x="3643" y="2169"/>
                    </a:lnTo>
                    <a:lnTo>
                      <a:pt x="3690" y="2087"/>
                    </a:lnTo>
                    <a:lnTo>
                      <a:pt x="3950" y="1974"/>
                    </a:lnTo>
                    <a:lnTo>
                      <a:pt x="4147" y="2077"/>
                    </a:lnTo>
                    <a:lnTo>
                      <a:pt x="4160" y="2015"/>
                    </a:lnTo>
                    <a:lnTo>
                      <a:pt x="4264" y="1765"/>
                    </a:lnTo>
                    <a:lnTo>
                      <a:pt x="4423" y="1700"/>
                    </a:lnTo>
                    <a:lnTo>
                      <a:pt x="4369" y="1198"/>
                    </a:lnTo>
                    <a:lnTo>
                      <a:pt x="4412" y="1130"/>
                    </a:lnTo>
                    <a:lnTo>
                      <a:pt x="4415" y="779"/>
                    </a:lnTo>
                    <a:lnTo>
                      <a:pt x="4258" y="714"/>
                    </a:lnTo>
                    <a:lnTo>
                      <a:pt x="4052" y="850"/>
                    </a:lnTo>
                    <a:lnTo>
                      <a:pt x="3974" y="823"/>
                    </a:lnTo>
                    <a:lnTo>
                      <a:pt x="3838" y="547"/>
                    </a:lnTo>
                    <a:lnTo>
                      <a:pt x="3504" y="549"/>
                    </a:lnTo>
                    <a:lnTo>
                      <a:pt x="3513" y="385"/>
                    </a:lnTo>
                    <a:lnTo>
                      <a:pt x="3418" y="407"/>
                    </a:lnTo>
                    <a:lnTo>
                      <a:pt x="3303" y="518"/>
                    </a:lnTo>
                    <a:lnTo>
                      <a:pt x="3377" y="680"/>
                    </a:lnTo>
                    <a:lnTo>
                      <a:pt x="3310" y="626"/>
                    </a:lnTo>
                    <a:lnTo>
                      <a:pt x="3259" y="496"/>
                    </a:lnTo>
                    <a:lnTo>
                      <a:pt x="3177" y="496"/>
                    </a:lnTo>
                    <a:lnTo>
                      <a:pt x="3176" y="551"/>
                    </a:lnTo>
                    <a:lnTo>
                      <a:pt x="3058" y="562"/>
                    </a:lnTo>
                    <a:lnTo>
                      <a:pt x="3030" y="471"/>
                    </a:lnTo>
                    <a:lnTo>
                      <a:pt x="2941" y="513"/>
                    </a:lnTo>
                    <a:lnTo>
                      <a:pt x="2910" y="437"/>
                    </a:lnTo>
                    <a:close/>
                  </a:path>
                </a:pathLst>
              </a:custGeom>
              <a:solidFill>
                <a:schemeClr val="bg2">
                  <a:lumMod val="40000"/>
                  <a:lumOff val="60000"/>
                </a:schemeClr>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2" name="Freeform 14">
                <a:extLst>
                  <a:ext uri="{FF2B5EF4-FFF2-40B4-BE49-F238E27FC236}">
                    <a16:creationId xmlns:a16="http://schemas.microsoft.com/office/drawing/2014/main" id="{2A890BFB-A386-4C32-9F67-57D4755B7B01}"/>
                  </a:ext>
                </a:extLst>
              </p:cNvPr>
              <p:cNvSpPr>
                <a:spLocks/>
              </p:cNvSpPr>
              <p:nvPr/>
            </p:nvSpPr>
            <p:spPr bwMode="auto">
              <a:xfrm>
                <a:off x="1295137" y="2324329"/>
                <a:ext cx="838562" cy="797584"/>
              </a:xfrm>
              <a:custGeom>
                <a:avLst/>
                <a:gdLst>
                  <a:gd name="T0" fmla="*/ 1115 w 4149"/>
                  <a:gd name="T1" fmla="*/ 1430 h 4022"/>
                  <a:gd name="T2" fmla="*/ 584 w 4149"/>
                  <a:gd name="T3" fmla="*/ 1540 h 4022"/>
                  <a:gd name="T4" fmla="*/ 127 w 4149"/>
                  <a:gd name="T5" fmla="*/ 1845 h 4022"/>
                  <a:gd name="T6" fmla="*/ 68 w 4149"/>
                  <a:gd name="T7" fmla="*/ 2149 h 4022"/>
                  <a:gd name="T8" fmla="*/ 302 w 4149"/>
                  <a:gd name="T9" fmla="*/ 2236 h 4022"/>
                  <a:gd name="T10" fmla="*/ 654 w 4149"/>
                  <a:gd name="T11" fmla="*/ 2113 h 4022"/>
                  <a:gd name="T12" fmla="*/ 439 w 4149"/>
                  <a:gd name="T13" fmla="*/ 2380 h 4022"/>
                  <a:gd name="T14" fmla="*/ 524 w 4149"/>
                  <a:gd name="T15" fmla="*/ 2478 h 4022"/>
                  <a:gd name="T16" fmla="*/ 436 w 4149"/>
                  <a:gd name="T17" fmla="*/ 2863 h 4022"/>
                  <a:gd name="T18" fmla="*/ 751 w 4149"/>
                  <a:gd name="T19" fmla="*/ 3345 h 4022"/>
                  <a:gd name="T20" fmla="*/ 1046 w 4149"/>
                  <a:gd name="T21" fmla="*/ 3743 h 4022"/>
                  <a:gd name="T22" fmla="*/ 1230 w 4149"/>
                  <a:gd name="T23" fmla="*/ 3877 h 4022"/>
                  <a:gd name="T24" fmla="*/ 1538 w 4149"/>
                  <a:gd name="T25" fmla="*/ 4022 h 4022"/>
                  <a:gd name="T26" fmla="*/ 1641 w 4149"/>
                  <a:gd name="T27" fmla="*/ 3954 h 4022"/>
                  <a:gd name="T28" fmla="*/ 1856 w 4149"/>
                  <a:gd name="T29" fmla="*/ 3940 h 4022"/>
                  <a:gd name="T30" fmla="*/ 2113 w 4149"/>
                  <a:gd name="T31" fmla="*/ 3983 h 4022"/>
                  <a:gd name="T32" fmla="*/ 2303 w 4149"/>
                  <a:gd name="T33" fmla="*/ 3797 h 4022"/>
                  <a:gd name="T34" fmla="*/ 2173 w 4149"/>
                  <a:gd name="T35" fmla="*/ 3063 h 4022"/>
                  <a:gd name="T36" fmla="*/ 1986 w 4149"/>
                  <a:gd name="T37" fmla="*/ 2779 h 4022"/>
                  <a:gd name="T38" fmla="*/ 2447 w 4149"/>
                  <a:gd name="T39" fmla="*/ 2618 h 4022"/>
                  <a:gd name="T40" fmla="*/ 2889 w 4149"/>
                  <a:gd name="T41" fmla="*/ 2590 h 4022"/>
                  <a:gd name="T42" fmla="*/ 3148 w 4149"/>
                  <a:gd name="T43" fmla="*/ 2483 h 4022"/>
                  <a:gd name="T44" fmla="*/ 3313 w 4149"/>
                  <a:gd name="T45" fmla="*/ 2039 h 4022"/>
                  <a:gd name="T46" fmla="*/ 3384 w 4149"/>
                  <a:gd name="T47" fmla="*/ 1701 h 4022"/>
                  <a:gd name="T48" fmla="*/ 3546 w 4149"/>
                  <a:gd name="T49" fmla="*/ 1679 h 4022"/>
                  <a:gd name="T50" fmla="*/ 3849 w 4149"/>
                  <a:gd name="T51" fmla="*/ 1558 h 4022"/>
                  <a:gd name="T52" fmla="*/ 3960 w 4149"/>
                  <a:gd name="T53" fmla="*/ 1427 h 4022"/>
                  <a:gd name="T54" fmla="*/ 4130 w 4149"/>
                  <a:gd name="T55" fmla="*/ 959 h 4022"/>
                  <a:gd name="T56" fmla="*/ 4138 w 4149"/>
                  <a:gd name="T57" fmla="*/ 834 h 4022"/>
                  <a:gd name="T58" fmla="*/ 4149 w 4149"/>
                  <a:gd name="T59" fmla="*/ 780 h 4022"/>
                  <a:gd name="T60" fmla="*/ 4089 w 4149"/>
                  <a:gd name="T61" fmla="*/ 670 h 4022"/>
                  <a:gd name="T62" fmla="*/ 3906 w 4149"/>
                  <a:gd name="T63" fmla="*/ 548 h 4022"/>
                  <a:gd name="T64" fmla="*/ 3613 w 4149"/>
                  <a:gd name="T65" fmla="*/ 433 h 4022"/>
                  <a:gd name="T66" fmla="*/ 3488 w 4149"/>
                  <a:gd name="T67" fmla="*/ 146 h 4022"/>
                  <a:gd name="T68" fmla="*/ 3083 w 4149"/>
                  <a:gd name="T69" fmla="*/ 312 h 4022"/>
                  <a:gd name="T70" fmla="*/ 2990 w 4149"/>
                  <a:gd name="T71" fmla="*/ 182 h 4022"/>
                  <a:gd name="T72" fmla="*/ 2853 w 4149"/>
                  <a:gd name="T73" fmla="*/ 0 h 4022"/>
                  <a:gd name="T74" fmla="*/ 2571 w 4149"/>
                  <a:gd name="T75" fmla="*/ 80 h 4022"/>
                  <a:gd name="T76" fmla="*/ 2303 w 4149"/>
                  <a:gd name="T77" fmla="*/ 125 h 4022"/>
                  <a:gd name="T78" fmla="*/ 2137 w 4149"/>
                  <a:gd name="T79" fmla="*/ 64 h 4022"/>
                  <a:gd name="T80" fmla="*/ 1884 w 4149"/>
                  <a:gd name="T81" fmla="*/ 391 h 4022"/>
                  <a:gd name="T82" fmla="*/ 1895 w 4149"/>
                  <a:gd name="T83" fmla="*/ 961 h 4022"/>
                  <a:gd name="T84" fmla="*/ 1632 w 4149"/>
                  <a:gd name="T85" fmla="*/ 1276 h 4022"/>
                  <a:gd name="T86" fmla="*/ 1422 w 4149"/>
                  <a:gd name="T87" fmla="*/ 1235 h 4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149" h="4022">
                    <a:moveTo>
                      <a:pt x="1162" y="1348"/>
                    </a:moveTo>
                    <a:lnTo>
                      <a:pt x="1115" y="1430"/>
                    </a:lnTo>
                    <a:lnTo>
                      <a:pt x="735" y="1442"/>
                    </a:lnTo>
                    <a:lnTo>
                      <a:pt x="584" y="1540"/>
                    </a:lnTo>
                    <a:lnTo>
                      <a:pt x="573" y="1714"/>
                    </a:lnTo>
                    <a:lnTo>
                      <a:pt x="127" y="1845"/>
                    </a:lnTo>
                    <a:lnTo>
                      <a:pt x="0" y="1970"/>
                    </a:lnTo>
                    <a:lnTo>
                      <a:pt x="68" y="2149"/>
                    </a:lnTo>
                    <a:lnTo>
                      <a:pt x="243" y="2179"/>
                    </a:lnTo>
                    <a:lnTo>
                      <a:pt x="302" y="2236"/>
                    </a:lnTo>
                    <a:lnTo>
                      <a:pt x="445" y="2131"/>
                    </a:lnTo>
                    <a:lnTo>
                      <a:pt x="654" y="2113"/>
                    </a:lnTo>
                    <a:lnTo>
                      <a:pt x="458" y="2188"/>
                    </a:lnTo>
                    <a:lnTo>
                      <a:pt x="439" y="2380"/>
                    </a:lnTo>
                    <a:lnTo>
                      <a:pt x="353" y="2417"/>
                    </a:lnTo>
                    <a:lnTo>
                      <a:pt x="524" y="2478"/>
                    </a:lnTo>
                    <a:lnTo>
                      <a:pt x="663" y="2623"/>
                    </a:lnTo>
                    <a:lnTo>
                      <a:pt x="436" y="2863"/>
                    </a:lnTo>
                    <a:lnTo>
                      <a:pt x="449" y="2992"/>
                    </a:lnTo>
                    <a:lnTo>
                      <a:pt x="751" y="3345"/>
                    </a:lnTo>
                    <a:lnTo>
                      <a:pt x="811" y="3548"/>
                    </a:lnTo>
                    <a:lnTo>
                      <a:pt x="1046" y="3743"/>
                    </a:lnTo>
                    <a:lnTo>
                      <a:pt x="1185" y="3775"/>
                    </a:lnTo>
                    <a:lnTo>
                      <a:pt x="1230" y="3877"/>
                    </a:lnTo>
                    <a:lnTo>
                      <a:pt x="1403" y="3910"/>
                    </a:lnTo>
                    <a:lnTo>
                      <a:pt x="1538" y="4022"/>
                    </a:lnTo>
                    <a:lnTo>
                      <a:pt x="1559" y="3941"/>
                    </a:lnTo>
                    <a:lnTo>
                      <a:pt x="1641" y="3954"/>
                    </a:lnTo>
                    <a:lnTo>
                      <a:pt x="1896" y="3855"/>
                    </a:lnTo>
                    <a:lnTo>
                      <a:pt x="1856" y="3940"/>
                    </a:lnTo>
                    <a:lnTo>
                      <a:pt x="2044" y="3932"/>
                    </a:lnTo>
                    <a:lnTo>
                      <a:pt x="2113" y="3983"/>
                    </a:lnTo>
                    <a:lnTo>
                      <a:pt x="2375" y="3854"/>
                    </a:lnTo>
                    <a:lnTo>
                      <a:pt x="2303" y="3797"/>
                    </a:lnTo>
                    <a:lnTo>
                      <a:pt x="2311" y="3582"/>
                    </a:lnTo>
                    <a:lnTo>
                      <a:pt x="2173" y="3063"/>
                    </a:lnTo>
                    <a:lnTo>
                      <a:pt x="2051" y="2944"/>
                    </a:lnTo>
                    <a:lnTo>
                      <a:pt x="1986" y="2779"/>
                    </a:lnTo>
                    <a:lnTo>
                      <a:pt x="2341" y="2756"/>
                    </a:lnTo>
                    <a:lnTo>
                      <a:pt x="2447" y="2618"/>
                    </a:lnTo>
                    <a:lnTo>
                      <a:pt x="2610" y="2595"/>
                    </a:lnTo>
                    <a:lnTo>
                      <a:pt x="2889" y="2590"/>
                    </a:lnTo>
                    <a:lnTo>
                      <a:pt x="2954" y="2656"/>
                    </a:lnTo>
                    <a:lnTo>
                      <a:pt x="3148" y="2483"/>
                    </a:lnTo>
                    <a:lnTo>
                      <a:pt x="3147" y="2482"/>
                    </a:lnTo>
                    <a:lnTo>
                      <a:pt x="3313" y="2039"/>
                    </a:lnTo>
                    <a:lnTo>
                      <a:pt x="3362" y="1771"/>
                    </a:lnTo>
                    <a:lnTo>
                      <a:pt x="3384" y="1701"/>
                    </a:lnTo>
                    <a:lnTo>
                      <a:pt x="3561" y="1774"/>
                    </a:lnTo>
                    <a:lnTo>
                      <a:pt x="3546" y="1679"/>
                    </a:lnTo>
                    <a:lnTo>
                      <a:pt x="3628" y="1688"/>
                    </a:lnTo>
                    <a:lnTo>
                      <a:pt x="3849" y="1558"/>
                    </a:lnTo>
                    <a:lnTo>
                      <a:pt x="3867" y="1456"/>
                    </a:lnTo>
                    <a:lnTo>
                      <a:pt x="3960" y="1427"/>
                    </a:lnTo>
                    <a:lnTo>
                      <a:pt x="4140" y="1119"/>
                    </a:lnTo>
                    <a:lnTo>
                      <a:pt x="4130" y="959"/>
                    </a:lnTo>
                    <a:lnTo>
                      <a:pt x="4080" y="893"/>
                    </a:lnTo>
                    <a:lnTo>
                      <a:pt x="4138" y="834"/>
                    </a:lnTo>
                    <a:lnTo>
                      <a:pt x="4138" y="833"/>
                    </a:lnTo>
                    <a:lnTo>
                      <a:pt x="4149" y="780"/>
                    </a:lnTo>
                    <a:lnTo>
                      <a:pt x="4090" y="670"/>
                    </a:lnTo>
                    <a:lnTo>
                      <a:pt x="4089" y="670"/>
                    </a:lnTo>
                    <a:lnTo>
                      <a:pt x="3997" y="648"/>
                    </a:lnTo>
                    <a:lnTo>
                      <a:pt x="3906" y="548"/>
                    </a:lnTo>
                    <a:lnTo>
                      <a:pt x="3823" y="576"/>
                    </a:lnTo>
                    <a:lnTo>
                      <a:pt x="3613" y="433"/>
                    </a:lnTo>
                    <a:lnTo>
                      <a:pt x="3568" y="190"/>
                    </a:lnTo>
                    <a:lnTo>
                      <a:pt x="3488" y="146"/>
                    </a:lnTo>
                    <a:lnTo>
                      <a:pt x="3170" y="315"/>
                    </a:lnTo>
                    <a:lnTo>
                      <a:pt x="3083" y="312"/>
                    </a:lnTo>
                    <a:lnTo>
                      <a:pt x="3083" y="227"/>
                    </a:lnTo>
                    <a:lnTo>
                      <a:pt x="2990" y="182"/>
                    </a:lnTo>
                    <a:lnTo>
                      <a:pt x="2933" y="8"/>
                    </a:lnTo>
                    <a:lnTo>
                      <a:pt x="2853" y="0"/>
                    </a:lnTo>
                    <a:lnTo>
                      <a:pt x="2834" y="80"/>
                    </a:lnTo>
                    <a:lnTo>
                      <a:pt x="2571" y="80"/>
                    </a:lnTo>
                    <a:lnTo>
                      <a:pt x="2375" y="174"/>
                    </a:lnTo>
                    <a:lnTo>
                      <a:pt x="2303" y="125"/>
                    </a:lnTo>
                    <a:lnTo>
                      <a:pt x="2234" y="172"/>
                    </a:lnTo>
                    <a:lnTo>
                      <a:pt x="2137" y="64"/>
                    </a:lnTo>
                    <a:lnTo>
                      <a:pt x="1887" y="40"/>
                    </a:lnTo>
                    <a:lnTo>
                      <a:pt x="1884" y="391"/>
                    </a:lnTo>
                    <a:lnTo>
                      <a:pt x="1841" y="459"/>
                    </a:lnTo>
                    <a:lnTo>
                      <a:pt x="1895" y="961"/>
                    </a:lnTo>
                    <a:lnTo>
                      <a:pt x="1736" y="1026"/>
                    </a:lnTo>
                    <a:lnTo>
                      <a:pt x="1632" y="1276"/>
                    </a:lnTo>
                    <a:lnTo>
                      <a:pt x="1619" y="1338"/>
                    </a:lnTo>
                    <a:lnTo>
                      <a:pt x="1422" y="1235"/>
                    </a:lnTo>
                    <a:lnTo>
                      <a:pt x="1162" y="1348"/>
                    </a:lnTo>
                    <a:close/>
                  </a:path>
                </a:pathLst>
              </a:custGeom>
              <a:solidFill>
                <a:schemeClr val="bg2">
                  <a:lumMod val="40000"/>
                  <a:lumOff val="60000"/>
                </a:schemeClr>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15">
                <a:extLst>
                  <a:ext uri="{FF2B5EF4-FFF2-40B4-BE49-F238E27FC236}">
                    <a16:creationId xmlns:a16="http://schemas.microsoft.com/office/drawing/2014/main" id="{16B407CA-22B9-4059-B64A-020D274CCB64}"/>
                  </a:ext>
                </a:extLst>
              </p:cNvPr>
              <p:cNvSpPr>
                <a:spLocks/>
              </p:cNvSpPr>
              <p:nvPr/>
            </p:nvSpPr>
            <p:spPr bwMode="auto">
              <a:xfrm>
                <a:off x="1788742" y="3578244"/>
                <a:ext cx="1353980" cy="954721"/>
              </a:xfrm>
              <a:custGeom>
                <a:avLst/>
                <a:gdLst>
                  <a:gd name="T0" fmla="*/ 2357 w 6705"/>
                  <a:gd name="T1" fmla="*/ 20 h 4814"/>
                  <a:gd name="T2" fmla="*/ 2166 w 6705"/>
                  <a:gd name="T3" fmla="*/ 413 h 4814"/>
                  <a:gd name="T4" fmla="*/ 1874 w 6705"/>
                  <a:gd name="T5" fmla="*/ 801 h 4814"/>
                  <a:gd name="T6" fmla="*/ 1635 w 6705"/>
                  <a:gd name="T7" fmla="*/ 1213 h 4814"/>
                  <a:gd name="T8" fmla="*/ 1577 w 6705"/>
                  <a:gd name="T9" fmla="*/ 1497 h 4814"/>
                  <a:gd name="T10" fmla="*/ 1430 w 6705"/>
                  <a:gd name="T11" fmla="*/ 1706 h 4814"/>
                  <a:gd name="T12" fmla="*/ 959 w 6705"/>
                  <a:gd name="T13" fmla="*/ 1798 h 4814"/>
                  <a:gd name="T14" fmla="*/ 570 w 6705"/>
                  <a:gd name="T15" fmla="*/ 1832 h 4814"/>
                  <a:gd name="T16" fmla="*/ 489 w 6705"/>
                  <a:gd name="T17" fmla="*/ 1954 h 4814"/>
                  <a:gd name="T18" fmla="*/ 214 w 6705"/>
                  <a:gd name="T19" fmla="*/ 2131 h 4814"/>
                  <a:gd name="T20" fmla="*/ 328 w 6705"/>
                  <a:gd name="T21" fmla="*/ 2539 h 4814"/>
                  <a:gd name="T22" fmla="*/ 357 w 6705"/>
                  <a:gd name="T23" fmla="*/ 2788 h 4814"/>
                  <a:gd name="T24" fmla="*/ 378 w 6705"/>
                  <a:gd name="T25" fmla="*/ 3039 h 4814"/>
                  <a:gd name="T26" fmla="*/ 179 w 6705"/>
                  <a:gd name="T27" fmla="*/ 3481 h 4814"/>
                  <a:gd name="T28" fmla="*/ 0 w 6705"/>
                  <a:gd name="T29" fmla="*/ 3834 h 4814"/>
                  <a:gd name="T30" fmla="*/ 677 w 6705"/>
                  <a:gd name="T31" fmla="*/ 4075 h 4814"/>
                  <a:gd name="T32" fmla="*/ 1217 w 6705"/>
                  <a:gd name="T33" fmla="*/ 4142 h 4814"/>
                  <a:gd name="T34" fmla="*/ 1343 w 6705"/>
                  <a:gd name="T35" fmla="*/ 3852 h 4814"/>
                  <a:gd name="T36" fmla="*/ 1965 w 6705"/>
                  <a:gd name="T37" fmla="*/ 4119 h 4814"/>
                  <a:gd name="T38" fmla="*/ 2346 w 6705"/>
                  <a:gd name="T39" fmla="*/ 4241 h 4814"/>
                  <a:gd name="T40" fmla="*/ 2694 w 6705"/>
                  <a:gd name="T41" fmla="*/ 4523 h 4814"/>
                  <a:gd name="T42" fmla="*/ 3108 w 6705"/>
                  <a:gd name="T43" fmla="*/ 4769 h 4814"/>
                  <a:gd name="T44" fmla="*/ 3603 w 6705"/>
                  <a:gd name="T45" fmla="*/ 4710 h 4814"/>
                  <a:gd name="T46" fmla="*/ 3916 w 6705"/>
                  <a:gd name="T47" fmla="*/ 4715 h 4814"/>
                  <a:gd name="T48" fmla="*/ 4582 w 6705"/>
                  <a:gd name="T49" fmla="*/ 4627 h 4814"/>
                  <a:gd name="T50" fmla="*/ 4416 w 6705"/>
                  <a:gd name="T51" fmla="*/ 3624 h 4814"/>
                  <a:gd name="T52" fmla="*/ 4814 w 6705"/>
                  <a:gd name="T53" fmla="*/ 3120 h 4814"/>
                  <a:gd name="T54" fmla="*/ 5518 w 6705"/>
                  <a:gd name="T55" fmla="*/ 2679 h 4814"/>
                  <a:gd name="T56" fmla="*/ 5933 w 6705"/>
                  <a:gd name="T57" fmla="*/ 2775 h 4814"/>
                  <a:gd name="T58" fmla="*/ 6218 w 6705"/>
                  <a:gd name="T59" fmla="*/ 2552 h 4814"/>
                  <a:gd name="T60" fmla="*/ 6406 w 6705"/>
                  <a:gd name="T61" fmla="*/ 2360 h 4814"/>
                  <a:gd name="T62" fmla="*/ 6521 w 6705"/>
                  <a:gd name="T63" fmla="*/ 1605 h 4814"/>
                  <a:gd name="T64" fmla="*/ 6266 w 6705"/>
                  <a:gd name="T65" fmla="*/ 1217 h 4814"/>
                  <a:gd name="T66" fmla="*/ 6110 w 6705"/>
                  <a:gd name="T67" fmla="*/ 1192 h 4814"/>
                  <a:gd name="T68" fmla="*/ 5479 w 6705"/>
                  <a:gd name="T69" fmla="*/ 761 h 4814"/>
                  <a:gd name="T70" fmla="*/ 5075 w 6705"/>
                  <a:gd name="T71" fmla="*/ 270 h 4814"/>
                  <a:gd name="T72" fmla="*/ 4842 w 6705"/>
                  <a:gd name="T73" fmla="*/ 152 h 4814"/>
                  <a:gd name="T74" fmla="*/ 4501 w 6705"/>
                  <a:gd name="T75" fmla="*/ 230 h 4814"/>
                  <a:gd name="T76" fmla="*/ 4240 w 6705"/>
                  <a:gd name="T77" fmla="*/ 455 h 4814"/>
                  <a:gd name="T78" fmla="*/ 3984 w 6705"/>
                  <a:gd name="T79" fmla="*/ 171 h 4814"/>
                  <a:gd name="T80" fmla="*/ 3649 w 6705"/>
                  <a:gd name="T81" fmla="*/ 697 h 4814"/>
                  <a:gd name="T82" fmla="*/ 3221 w 6705"/>
                  <a:gd name="T83" fmla="*/ 600 h 4814"/>
                  <a:gd name="T84" fmla="*/ 3134 w 6705"/>
                  <a:gd name="T85" fmla="*/ 102 h 4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05" h="4814">
                    <a:moveTo>
                      <a:pt x="2786" y="174"/>
                    </a:moveTo>
                    <a:lnTo>
                      <a:pt x="2591" y="0"/>
                    </a:lnTo>
                    <a:lnTo>
                      <a:pt x="2357" y="20"/>
                    </a:lnTo>
                    <a:lnTo>
                      <a:pt x="2337" y="166"/>
                    </a:lnTo>
                    <a:lnTo>
                      <a:pt x="2296" y="321"/>
                    </a:lnTo>
                    <a:lnTo>
                      <a:pt x="2166" y="413"/>
                    </a:lnTo>
                    <a:lnTo>
                      <a:pt x="2184" y="516"/>
                    </a:lnTo>
                    <a:lnTo>
                      <a:pt x="2009" y="616"/>
                    </a:lnTo>
                    <a:lnTo>
                      <a:pt x="1874" y="801"/>
                    </a:lnTo>
                    <a:lnTo>
                      <a:pt x="1776" y="893"/>
                    </a:lnTo>
                    <a:lnTo>
                      <a:pt x="1852" y="1157"/>
                    </a:lnTo>
                    <a:lnTo>
                      <a:pt x="1635" y="1213"/>
                    </a:lnTo>
                    <a:lnTo>
                      <a:pt x="1635" y="1298"/>
                    </a:lnTo>
                    <a:lnTo>
                      <a:pt x="1705" y="1338"/>
                    </a:lnTo>
                    <a:lnTo>
                      <a:pt x="1577" y="1497"/>
                    </a:lnTo>
                    <a:lnTo>
                      <a:pt x="1615" y="1577"/>
                    </a:lnTo>
                    <a:lnTo>
                      <a:pt x="1534" y="1569"/>
                    </a:lnTo>
                    <a:lnTo>
                      <a:pt x="1430" y="1706"/>
                    </a:lnTo>
                    <a:lnTo>
                      <a:pt x="1353" y="1744"/>
                    </a:lnTo>
                    <a:lnTo>
                      <a:pt x="1104" y="1716"/>
                    </a:lnTo>
                    <a:lnTo>
                      <a:pt x="959" y="1798"/>
                    </a:lnTo>
                    <a:lnTo>
                      <a:pt x="718" y="1778"/>
                    </a:lnTo>
                    <a:lnTo>
                      <a:pt x="678" y="1850"/>
                    </a:lnTo>
                    <a:lnTo>
                      <a:pt x="570" y="1832"/>
                    </a:lnTo>
                    <a:lnTo>
                      <a:pt x="570" y="1833"/>
                    </a:lnTo>
                    <a:lnTo>
                      <a:pt x="562" y="1917"/>
                    </a:lnTo>
                    <a:lnTo>
                      <a:pt x="489" y="1954"/>
                    </a:lnTo>
                    <a:lnTo>
                      <a:pt x="468" y="1868"/>
                    </a:lnTo>
                    <a:lnTo>
                      <a:pt x="200" y="1946"/>
                    </a:lnTo>
                    <a:lnTo>
                      <a:pt x="214" y="2131"/>
                    </a:lnTo>
                    <a:lnTo>
                      <a:pt x="91" y="2451"/>
                    </a:lnTo>
                    <a:lnTo>
                      <a:pt x="136" y="2530"/>
                    </a:lnTo>
                    <a:lnTo>
                      <a:pt x="328" y="2539"/>
                    </a:lnTo>
                    <a:lnTo>
                      <a:pt x="328" y="2540"/>
                    </a:lnTo>
                    <a:lnTo>
                      <a:pt x="400" y="2708"/>
                    </a:lnTo>
                    <a:lnTo>
                      <a:pt x="357" y="2788"/>
                    </a:lnTo>
                    <a:lnTo>
                      <a:pt x="440" y="2788"/>
                    </a:lnTo>
                    <a:lnTo>
                      <a:pt x="455" y="2998"/>
                    </a:lnTo>
                    <a:lnTo>
                      <a:pt x="378" y="3039"/>
                    </a:lnTo>
                    <a:lnTo>
                      <a:pt x="401" y="3128"/>
                    </a:lnTo>
                    <a:lnTo>
                      <a:pt x="168" y="3396"/>
                    </a:lnTo>
                    <a:lnTo>
                      <a:pt x="179" y="3481"/>
                    </a:lnTo>
                    <a:lnTo>
                      <a:pt x="83" y="3504"/>
                    </a:lnTo>
                    <a:lnTo>
                      <a:pt x="36" y="3585"/>
                    </a:lnTo>
                    <a:lnTo>
                      <a:pt x="0" y="3834"/>
                    </a:lnTo>
                    <a:lnTo>
                      <a:pt x="0" y="3836"/>
                    </a:lnTo>
                    <a:lnTo>
                      <a:pt x="324" y="4124"/>
                    </a:lnTo>
                    <a:lnTo>
                      <a:pt x="677" y="4075"/>
                    </a:lnTo>
                    <a:lnTo>
                      <a:pt x="749" y="4137"/>
                    </a:lnTo>
                    <a:lnTo>
                      <a:pt x="1035" y="4131"/>
                    </a:lnTo>
                    <a:lnTo>
                      <a:pt x="1217" y="4142"/>
                    </a:lnTo>
                    <a:lnTo>
                      <a:pt x="1282" y="4079"/>
                    </a:lnTo>
                    <a:lnTo>
                      <a:pt x="1272" y="3889"/>
                    </a:lnTo>
                    <a:lnTo>
                      <a:pt x="1343" y="3852"/>
                    </a:lnTo>
                    <a:lnTo>
                      <a:pt x="1539" y="3918"/>
                    </a:lnTo>
                    <a:lnTo>
                      <a:pt x="1826" y="3994"/>
                    </a:lnTo>
                    <a:lnTo>
                      <a:pt x="1965" y="4119"/>
                    </a:lnTo>
                    <a:lnTo>
                      <a:pt x="2151" y="4107"/>
                    </a:lnTo>
                    <a:lnTo>
                      <a:pt x="2316" y="4325"/>
                    </a:lnTo>
                    <a:lnTo>
                      <a:pt x="2346" y="4241"/>
                    </a:lnTo>
                    <a:lnTo>
                      <a:pt x="2442" y="4236"/>
                    </a:lnTo>
                    <a:lnTo>
                      <a:pt x="2748" y="4383"/>
                    </a:lnTo>
                    <a:lnTo>
                      <a:pt x="2694" y="4523"/>
                    </a:lnTo>
                    <a:lnTo>
                      <a:pt x="2947" y="4599"/>
                    </a:lnTo>
                    <a:lnTo>
                      <a:pt x="3015" y="4763"/>
                    </a:lnTo>
                    <a:lnTo>
                      <a:pt x="3108" y="4769"/>
                    </a:lnTo>
                    <a:lnTo>
                      <a:pt x="3237" y="4653"/>
                    </a:lnTo>
                    <a:lnTo>
                      <a:pt x="3328" y="4648"/>
                    </a:lnTo>
                    <a:lnTo>
                      <a:pt x="3603" y="4710"/>
                    </a:lnTo>
                    <a:lnTo>
                      <a:pt x="3735" y="4814"/>
                    </a:lnTo>
                    <a:lnTo>
                      <a:pt x="3916" y="4800"/>
                    </a:lnTo>
                    <a:lnTo>
                      <a:pt x="3916" y="4715"/>
                    </a:lnTo>
                    <a:lnTo>
                      <a:pt x="4150" y="4593"/>
                    </a:lnTo>
                    <a:lnTo>
                      <a:pt x="4333" y="4560"/>
                    </a:lnTo>
                    <a:lnTo>
                      <a:pt x="4582" y="4627"/>
                    </a:lnTo>
                    <a:lnTo>
                      <a:pt x="4414" y="4419"/>
                    </a:lnTo>
                    <a:lnTo>
                      <a:pt x="4403" y="3910"/>
                    </a:lnTo>
                    <a:lnTo>
                      <a:pt x="4416" y="3624"/>
                    </a:lnTo>
                    <a:lnTo>
                      <a:pt x="4579" y="3316"/>
                    </a:lnTo>
                    <a:lnTo>
                      <a:pt x="4657" y="3237"/>
                    </a:lnTo>
                    <a:lnTo>
                      <a:pt x="4814" y="3120"/>
                    </a:lnTo>
                    <a:lnTo>
                      <a:pt x="5010" y="3120"/>
                    </a:lnTo>
                    <a:lnTo>
                      <a:pt x="5202" y="2910"/>
                    </a:lnTo>
                    <a:lnTo>
                      <a:pt x="5518" y="2679"/>
                    </a:lnTo>
                    <a:lnTo>
                      <a:pt x="5762" y="2611"/>
                    </a:lnTo>
                    <a:lnTo>
                      <a:pt x="5847" y="2754"/>
                    </a:lnTo>
                    <a:lnTo>
                      <a:pt x="5933" y="2775"/>
                    </a:lnTo>
                    <a:lnTo>
                      <a:pt x="5940" y="2775"/>
                    </a:lnTo>
                    <a:lnTo>
                      <a:pt x="6051" y="2602"/>
                    </a:lnTo>
                    <a:lnTo>
                      <a:pt x="6218" y="2552"/>
                    </a:lnTo>
                    <a:lnTo>
                      <a:pt x="6188" y="2473"/>
                    </a:lnTo>
                    <a:lnTo>
                      <a:pt x="6311" y="2334"/>
                    </a:lnTo>
                    <a:lnTo>
                      <a:pt x="6406" y="2360"/>
                    </a:lnTo>
                    <a:lnTo>
                      <a:pt x="6460" y="2053"/>
                    </a:lnTo>
                    <a:lnTo>
                      <a:pt x="6705" y="1791"/>
                    </a:lnTo>
                    <a:lnTo>
                      <a:pt x="6521" y="1605"/>
                    </a:lnTo>
                    <a:lnTo>
                      <a:pt x="6517" y="1447"/>
                    </a:lnTo>
                    <a:lnTo>
                      <a:pt x="6442" y="1316"/>
                    </a:lnTo>
                    <a:lnTo>
                      <a:pt x="6266" y="1217"/>
                    </a:lnTo>
                    <a:lnTo>
                      <a:pt x="6187" y="1217"/>
                    </a:lnTo>
                    <a:lnTo>
                      <a:pt x="6115" y="1283"/>
                    </a:lnTo>
                    <a:lnTo>
                      <a:pt x="6110" y="1192"/>
                    </a:lnTo>
                    <a:lnTo>
                      <a:pt x="5906" y="1319"/>
                    </a:lnTo>
                    <a:lnTo>
                      <a:pt x="5681" y="1175"/>
                    </a:lnTo>
                    <a:lnTo>
                      <a:pt x="5479" y="761"/>
                    </a:lnTo>
                    <a:lnTo>
                      <a:pt x="5418" y="500"/>
                    </a:lnTo>
                    <a:lnTo>
                      <a:pt x="5158" y="277"/>
                    </a:lnTo>
                    <a:lnTo>
                      <a:pt x="5075" y="270"/>
                    </a:lnTo>
                    <a:lnTo>
                      <a:pt x="5071" y="353"/>
                    </a:lnTo>
                    <a:lnTo>
                      <a:pt x="4886" y="317"/>
                    </a:lnTo>
                    <a:lnTo>
                      <a:pt x="4842" y="152"/>
                    </a:lnTo>
                    <a:lnTo>
                      <a:pt x="4776" y="103"/>
                    </a:lnTo>
                    <a:lnTo>
                      <a:pt x="4552" y="296"/>
                    </a:lnTo>
                    <a:lnTo>
                      <a:pt x="4501" y="230"/>
                    </a:lnTo>
                    <a:lnTo>
                      <a:pt x="4301" y="690"/>
                    </a:lnTo>
                    <a:lnTo>
                      <a:pt x="4226" y="542"/>
                    </a:lnTo>
                    <a:lnTo>
                      <a:pt x="4240" y="455"/>
                    </a:lnTo>
                    <a:lnTo>
                      <a:pt x="4171" y="410"/>
                    </a:lnTo>
                    <a:lnTo>
                      <a:pt x="4135" y="287"/>
                    </a:lnTo>
                    <a:lnTo>
                      <a:pt x="3984" y="171"/>
                    </a:lnTo>
                    <a:lnTo>
                      <a:pt x="3847" y="295"/>
                    </a:lnTo>
                    <a:lnTo>
                      <a:pt x="3760" y="556"/>
                    </a:lnTo>
                    <a:lnTo>
                      <a:pt x="3649" y="697"/>
                    </a:lnTo>
                    <a:lnTo>
                      <a:pt x="3466" y="652"/>
                    </a:lnTo>
                    <a:lnTo>
                      <a:pt x="3315" y="744"/>
                    </a:lnTo>
                    <a:lnTo>
                      <a:pt x="3221" y="600"/>
                    </a:lnTo>
                    <a:lnTo>
                      <a:pt x="3272" y="434"/>
                    </a:lnTo>
                    <a:lnTo>
                      <a:pt x="3161" y="260"/>
                    </a:lnTo>
                    <a:lnTo>
                      <a:pt x="3134" y="102"/>
                    </a:lnTo>
                    <a:lnTo>
                      <a:pt x="2938" y="98"/>
                    </a:lnTo>
                    <a:lnTo>
                      <a:pt x="2786" y="174"/>
                    </a:lnTo>
                    <a:close/>
                  </a:path>
                </a:pathLst>
              </a:custGeom>
              <a:solidFill>
                <a:schemeClr val="bg2">
                  <a:lumMod val="40000"/>
                  <a:lumOff val="60000"/>
                </a:schemeClr>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16">
                <a:extLst>
                  <a:ext uri="{FF2B5EF4-FFF2-40B4-BE49-F238E27FC236}">
                    <a16:creationId xmlns:a16="http://schemas.microsoft.com/office/drawing/2014/main" id="{67298A90-269E-48F2-AED2-AD501B184835}"/>
                  </a:ext>
                </a:extLst>
              </p:cNvPr>
              <p:cNvSpPr>
                <a:spLocks noEditPoints="1"/>
              </p:cNvSpPr>
              <p:nvPr/>
            </p:nvSpPr>
            <p:spPr bwMode="auto">
              <a:xfrm>
                <a:off x="2988419" y="3521104"/>
                <a:ext cx="896729" cy="742825"/>
              </a:xfrm>
              <a:custGeom>
                <a:avLst/>
                <a:gdLst>
                  <a:gd name="T0" fmla="*/ 3268 w 4438"/>
                  <a:gd name="T1" fmla="*/ 450 h 3744"/>
                  <a:gd name="T2" fmla="*/ 3094 w 4438"/>
                  <a:gd name="T3" fmla="*/ 164 h 3744"/>
                  <a:gd name="T4" fmla="*/ 2948 w 4438"/>
                  <a:gd name="T5" fmla="*/ 9 h 3744"/>
                  <a:gd name="T6" fmla="*/ 2771 w 4438"/>
                  <a:gd name="T7" fmla="*/ 44 h 3744"/>
                  <a:gd name="T8" fmla="*/ 2489 w 4438"/>
                  <a:gd name="T9" fmla="*/ 0 h 3744"/>
                  <a:gd name="T10" fmla="*/ 2494 w 4438"/>
                  <a:gd name="T11" fmla="*/ 232 h 3744"/>
                  <a:gd name="T12" fmla="*/ 2610 w 4438"/>
                  <a:gd name="T13" fmla="*/ 491 h 3744"/>
                  <a:gd name="T14" fmla="*/ 2155 w 4438"/>
                  <a:gd name="T15" fmla="*/ 570 h 3744"/>
                  <a:gd name="T16" fmla="*/ 1970 w 4438"/>
                  <a:gd name="T17" fmla="*/ 687 h 3744"/>
                  <a:gd name="T18" fmla="*/ 1932 w 4438"/>
                  <a:gd name="T19" fmla="*/ 872 h 3744"/>
                  <a:gd name="T20" fmla="*/ 1694 w 4438"/>
                  <a:gd name="T21" fmla="*/ 1079 h 3744"/>
                  <a:gd name="T22" fmla="*/ 1708 w 4438"/>
                  <a:gd name="T23" fmla="*/ 1215 h 3744"/>
                  <a:gd name="T24" fmla="*/ 1494 w 4438"/>
                  <a:gd name="T25" fmla="*/ 1321 h 3744"/>
                  <a:gd name="T26" fmla="*/ 1827 w 4438"/>
                  <a:gd name="T27" fmla="*/ 1563 h 3744"/>
                  <a:gd name="T28" fmla="*/ 1792 w 4438"/>
                  <a:gd name="T29" fmla="*/ 1706 h 3744"/>
                  <a:gd name="T30" fmla="*/ 1601 w 4438"/>
                  <a:gd name="T31" fmla="*/ 1846 h 3744"/>
                  <a:gd name="T32" fmla="*/ 1448 w 4438"/>
                  <a:gd name="T33" fmla="*/ 1698 h 3744"/>
                  <a:gd name="T34" fmla="*/ 1163 w 4438"/>
                  <a:gd name="T35" fmla="*/ 1506 h 3744"/>
                  <a:gd name="T36" fmla="*/ 1021 w 4438"/>
                  <a:gd name="T37" fmla="*/ 1529 h 3744"/>
                  <a:gd name="T38" fmla="*/ 667 w 4438"/>
                  <a:gd name="T39" fmla="*/ 1519 h 3744"/>
                  <a:gd name="T40" fmla="*/ 502 w 4438"/>
                  <a:gd name="T41" fmla="*/ 1605 h 3744"/>
                  <a:gd name="T42" fmla="*/ 581 w 4438"/>
                  <a:gd name="T43" fmla="*/ 1894 h 3744"/>
                  <a:gd name="T44" fmla="*/ 520 w 4438"/>
                  <a:gd name="T45" fmla="*/ 2342 h 3744"/>
                  <a:gd name="T46" fmla="*/ 371 w 4438"/>
                  <a:gd name="T47" fmla="*/ 2623 h 3744"/>
                  <a:gd name="T48" fmla="*/ 278 w 4438"/>
                  <a:gd name="T49" fmla="*/ 2841 h 3744"/>
                  <a:gd name="T50" fmla="*/ 0 w 4438"/>
                  <a:gd name="T51" fmla="*/ 3064 h 3744"/>
                  <a:gd name="T52" fmla="*/ 471 w 4438"/>
                  <a:gd name="T53" fmla="*/ 3148 h 3744"/>
                  <a:gd name="T54" fmla="*/ 563 w 4438"/>
                  <a:gd name="T55" fmla="*/ 3252 h 3744"/>
                  <a:gd name="T56" fmla="*/ 781 w 4438"/>
                  <a:gd name="T57" fmla="*/ 3154 h 3744"/>
                  <a:gd name="T58" fmla="*/ 896 w 4438"/>
                  <a:gd name="T59" fmla="*/ 3088 h 3744"/>
                  <a:gd name="T60" fmla="*/ 1412 w 4438"/>
                  <a:gd name="T61" fmla="*/ 3203 h 3744"/>
                  <a:gd name="T62" fmla="*/ 1806 w 4438"/>
                  <a:gd name="T63" fmla="*/ 3526 h 3744"/>
                  <a:gd name="T64" fmla="*/ 1891 w 4438"/>
                  <a:gd name="T65" fmla="*/ 3506 h 3744"/>
                  <a:gd name="T66" fmla="*/ 2059 w 4438"/>
                  <a:gd name="T67" fmla="*/ 3690 h 3744"/>
                  <a:gd name="T68" fmla="*/ 2489 w 4438"/>
                  <a:gd name="T69" fmla="*/ 3662 h 3744"/>
                  <a:gd name="T70" fmla="*/ 2582 w 4438"/>
                  <a:gd name="T71" fmla="*/ 3583 h 3744"/>
                  <a:gd name="T72" fmla="*/ 2797 w 4438"/>
                  <a:gd name="T73" fmla="*/ 3537 h 3744"/>
                  <a:gd name="T74" fmla="*/ 3038 w 4438"/>
                  <a:gd name="T75" fmla="*/ 3430 h 3744"/>
                  <a:gd name="T76" fmla="*/ 3212 w 4438"/>
                  <a:gd name="T77" fmla="*/ 3283 h 3744"/>
                  <a:gd name="T78" fmla="*/ 3286 w 4438"/>
                  <a:gd name="T79" fmla="*/ 3001 h 3744"/>
                  <a:gd name="T80" fmla="*/ 3570 w 4438"/>
                  <a:gd name="T81" fmla="*/ 2757 h 3744"/>
                  <a:gd name="T82" fmla="*/ 3767 w 4438"/>
                  <a:gd name="T83" fmla="*/ 2559 h 3744"/>
                  <a:gd name="T84" fmla="*/ 4199 w 4438"/>
                  <a:gd name="T85" fmla="*/ 2122 h 3744"/>
                  <a:gd name="T86" fmla="*/ 4438 w 4438"/>
                  <a:gd name="T87" fmla="*/ 1746 h 3744"/>
                  <a:gd name="T88" fmla="*/ 3977 w 4438"/>
                  <a:gd name="T89" fmla="*/ 1716 h 3744"/>
                  <a:gd name="T90" fmla="*/ 3530 w 4438"/>
                  <a:gd name="T91" fmla="*/ 1538 h 3744"/>
                  <a:gd name="T92" fmla="*/ 3347 w 4438"/>
                  <a:gd name="T93" fmla="*/ 1321 h 3744"/>
                  <a:gd name="T94" fmla="*/ 3289 w 4438"/>
                  <a:gd name="T95" fmla="*/ 1021 h 3744"/>
                  <a:gd name="T96" fmla="*/ 3393 w 4438"/>
                  <a:gd name="T97" fmla="*/ 796 h 3744"/>
                  <a:gd name="T98" fmla="*/ 3397 w 4438"/>
                  <a:gd name="T99" fmla="*/ 787 h 3744"/>
                  <a:gd name="T100" fmla="*/ 3553 w 4438"/>
                  <a:gd name="T101" fmla="*/ 729 h 3744"/>
                  <a:gd name="T102" fmla="*/ 1186 w 4438"/>
                  <a:gd name="T103" fmla="*/ 3030 h 3744"/>
                  <a:gd name="T104" fmla="*/ 1219 w 4438"/>
                  <a:gd name="T105" fmla="*/ 3100 h 3744"/>
                  <a:gd name="T106" fmla="*/ 993 w 4438"/>
                  <a:gd name="T107" fmla="*/ 3007 h 3744"/>
                  <a:gd name="T108" fmla="*/ 1126 w 4438"/>
                  <a:gd name="T109" fmla="*/ 2912 h 3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38" h="3744">
                    <a:moveTo>
                      <a:pt x="3444" y="459"/>
                    </a:moveTo>
                    <a:lnTo>
                      <a:pt x="3268" y="450"/>
                    </a:lnTo>
                    <a:lnTo>
                      <a:pt x="3118" y="355"/>
                    </a:lnTo>
                    <a:lnTo>
                      <a:pt x="3094" y="164"/>
                    </a:lnTo>
                    <a:lnTo>
                      <a:pt x="3013" y="161"/>
                    </a:lnTo>
                    <a:lnTo>
                      <a:pt x="2948" y="9"/>
                    </a:lnTo>
                    <a:lnTo>
                      <a:pt x="2946" y="9"/>
                    </a:lnTo>
                    <a:lnTo>
                      <a:pt x="2771" y="44"/>
                    </a:lnTo>
                    <a:lnTo>
                      <a:pt x="2713" y="101"/>
                    </a:lnTo>
                    <a:lnTo>
                      <a:pt x="2489" y="0"/>
                    </a:lnTo>
                    <a:lnTo>
                      <a:pt x="2444" y="111"/>
                    </a:lnTo>
                    <a:lnTo>
                      <a:pt x="2494" y="232"/>
                    </a:lnTo>
                    <a:lnTo>
                      <a:pt x="2622" y="321"/>
                    </a:lnTo>
                    <a:lnTo>
                      <a:pt x="2610" y="491"/>
                    </a:lnTo>
                    <a:lnTo>
                      <a:pt x="2521" y="459"/>
                    </a:lnTo>
                    <a:lnTo>
                      <a:pt x="2155" y="570"/>
                    </a:lnTo>
                    <a:lnTo>
                      <a:pt x="2129" y="652"/>
                    </a:lnTo>
                    <a:lnTo>
                      <a:pt x="1970" y="687"/>
                    </a:lnTo>
                    <a:lnTo>
                      <a:pt x="1943" y="776"/>
                    </a:lnTo>
                    <a:lnTo>
                      <a:pt x="1932" y="872"/>
                    </a:lnTo>
                    <a:lnTo>
                      <a:pt x="1766" y="883"/>
                    </a:lnTo>
                    <a:lnTo>
                      <a:pt x="1694" y="1079"/>
                    </a:lnTo>
                    <a:lnTo>
                      <a:pt x="1780" y="1143"/>
                    </a:lnTo>
                    <a:lnTo>
                      <a:pt x="1708" y="1215"/>
                    </a:lnTo>
                    <a:lnTo>
                      <a:pt x="1588" y="1175"/>
                    </a:lnTo>
                    <a:lnTo>
                      <a:pt x="1494" y="1321"/>
                    </a:lnTo>
                    <a:lnTo>
                      <a:pt x="1538" y="1399"/>
                    </a:lnTo>
                    <a:lnTo>
                      <a:pt x="1827" y="1563"/>
                    </a:lnTo>
                    <a:lnTo>
                      <a:pt x="1822" y="1700"/>
                    </a:lnTo>
                    <a:lnTo>
                      <a:pt x="1792" y="1706"/>
                    </a:lnTo>
                    <a:lnTo>
                      <a:pt x="1725" y="1709"/>
                    </a:lnTo>
                    <a:lnTo>
                      <a:pt x="1601" y="1846"/>
                    </a:lnTo>
                    <a:lnTo>
                      <a:pt x="1450" y="1781"/>
                    </a:lnTo>
                    <a:lnTo>
                      <a:pt x="1448" y="1698"/>
                    </a:lnTo>
                    <a:lnTo>
                      <a:pt x="1177" y="1674"/>
                    </a:lnTo>
                    <a:lnTo>
                      <a:pt x="1163" y="1506"/>
                    </a:lnTo>
                    <a:lnTo>
                      <a:pt x="1091" y="1571"/>
                    </a:lnTo>
                    <a:lnTo>
                      <a:pt x="1021" y="1529"/>
                    </a:lnTo>
                    <a:lnTo>
                      <a:pt x="769" y="1643"/>
                    </a:lnTo>
                    <a:lnTo>
                      <a:pt x="667" y="1519"/>
                    </a:lnTo>
                    <a:lnTo>
                      <a:pt x="498" y="1500"/>
                    </a:lnTo>
                    <a:lnTo>
                      <a:pt x="502" y="1605"/>
                    </a:lnTo>
                    <a:lnTo>
                      <a:pt x="577" y="1736"/>
                    </a:lnTo>
                    <a:lnTo>
                      <a:pt x="581" y="1894"/>
                    </a:lnTo>
                    <a:lnTo>
                      <a:pt x="765" y="2080"/>
                    </a:lnTo>
                    <a:lnTo>
                      <a:pt x="520" y="2342"/>
                    </a:lnTo>
                    <a:lnTo>
                      <a:pt x="466" y="2649"/>
                    </a:lnTo>
                    <a:lnTo>
                      <a:pt x="371" y="2623"/>
                    </a:lnTo>
                    <a:lnTo>
                      <a:pt x="248" y="2762"/>
                    </a:lnTo>
                    <a:lnTo>
                      <a:pt x="278" y="2841"/>
                    </a:lnTo>
                    <a:lnTo>
                      <a:pt x="111" y="2891"/>
                    </a:lnTo>
                    <a:lnTo>
                      <a:pt x="0" y="3064"/>
                    </a:lnTo>
                    <a:lnTo>
                      <a:pt x="413" y="3077"/>
                    </a:lnTo>
                    <a:lnTo>
                      <a:pt x="471" y="3148"/>
                    </a:lnTo>
                    <a:lnTo>
                      <a:pt x="457" y="3229"/>
                    </a:lnTo>
                    <a:lnTo>
                      <a:pt x="563" y="3252"/>
                    </a:lnTo>
                    <a:lnTo>
                      <a:pt x="844" y="3221"/>
                    </a:lnTo>
                    <a:lnTo>
                      <a:pt x="781" y="3154"/>
                    </a:lnTo>
                    <a:lnTo>
                      <a:pt x="817" y="3082"/>
                    </a:lnTo>
                    <a:lnTo>
                      <a:pt x="896" y="3088"/>
                    </a:lnTo>
                    <a:lnTo>
                      <a:pt x="1029" y="3247"/>
                    </a:lnTo>
                    <a:lnTo>
                      <a:pt x="1412" y="3203"/>
                    </a:lnTo>
                    <a:lnTo>
                      <a:pt x="1525" y="3457"/>
                    </a:lnTo>
                    <a:lnTo>
                      <a:pt x="1806" y="3526"/>
                    </a:lnTo>
                    <a:lnTo>
                      <a:pt x="1885" y="3502"/>
                    </a:lnTo>
                    <a:lnTo>
                      <a:pt x="1891" y="3506"/>
                    </a:lnTo>
                    <a:lnTo>
                      <a:pt x="2068" y="3609"/>
                    </a:lnTo>
                    <a:lnTo>
                      <a:pt x="2059" y="3690"/>
                    </a:lnTo>
                    <a:lnTo>
                      <a:pt x="2316" y="3615"/>
                    </a:lnTo>
                    <a:lnTo>
                      <a:pt x="2489" y="3662"/>
                    </a:lnTo>
                    <a:lnTo>
                      <a:pt x="2521" y="3744"/>
                    </a:lnTo>
                    <a:lnTo>
                      <a:pt x="2582" y="3583"/>
                    </a:lnTo>
                    <a:lnTo>
                      <a:pt x="2796" y="3619"/>
                    </a:lnTo>
                    <a:lnTo>
                      <a:pt x="2797" y="3537"/>
                    </a:lnTo>
                    <a:lnTo>
                      <a:pt x="2959" y="3501"/>
                    </a:lnTo>
                    <a:lnTo>
                      <a:pt x="3038" y="3430"/>
                    </a:lnTo>
                    <a:lnTo>
                      <a:pt x="3147" y="3439"/>
                    </a:lnTo>
                    <a:lnTo>
                      <a:pt x="3212" y="3283"/>
                    </a:lnTo>
                    <a:lnTo>
                      <a:pt x="3110" y="3235"/>
                    </a:lnTo>
                    <a:lnTo>
                      <a:pt x="3286" y="3001"/>
                    </a:lnTo>
                    <a:lnTo>
                      <a:pt x="3444" y="2980"/>
                    </a:lnTo>
                    <a:lnTo>
                      <a:pt x="3570" y="2757"/>
                    </a:lnTo>
                    <a:lnTo>
                      <a:pt x="3735" y="2679"/>
                    </a:lnTo>
                    <a:lnTo>
                      <a:pt x="3767" y="2559"/>
                    </a:lnTo>
                    <a:lnTo>
                      <a:pt x="4184" y="2332"/>
                    </a:lnTo>
                    <a:lnTo>
                      <a:pt x="4199" y="2122"/>
                    </a:lnTo>
                    <a:lnTo>
                      <a:pt x="4378" y="1872"/>
                    </a:lnTo>
                    <a:lnTo>
                      <a:pt x="4438" y="1746"/>
                    </a:lnTo>
                    <a:lnTo>
                      <a:pt x="4321" y="1594"/>
                    </a:lnTo>
                    <a:lnTo>
                      <a:pt x="3977" y="1716"/>
                    </a:lnTo>
                    <a:lnTo>
                      <a:pt x="3713" y="1575"/>
                    </a:lnTo>
                    <a:lnTo>
                      <a:pt x="3530" y="1538"/>
                    </a:lnTo>
                    <a:lnTo>
                      <a:pt x="3352" y="1325"/>
                    </a:lnTo>
                    <a:lnTo>
                      <a:pt x="3347" y="1321"/>
                    </a:lnTo>
                    <a:lnTo>
                      <a:pt x="3402" y="1178"/>
                    </a:lnTo>
                    <a:lnTo>
                      <a:pt x="3289" y="1021"/>
                    </a:lnTo>
                    <a:lnTo>
                      <a:pt x="3353" y="968"/>
                    </a:lnTo>
                    <a:lnTo>
                      <a:pt x="3393" y="796"/>
                    </a:lnTo>
                    <a:lnTo>
                      <a:pt x="3393" y="794"/>
                    </a:lnTo>
                    <a:lnTo>
                      <a:pt x="3397" y="787"/>
                    </a:lnTo>
                    <a:lnTo>
                      <a:pt x="3450" y="727"/>
                    </a:lnTo>
                    <a:lnTo>
                      <a:pt x="3553" y="729"/>
                    </a:lnTo>
                    <a:lnTo>
                      <a:pt x="3444" y="459"/>
                    </a:lnTo>
                    <a:close/>
                    <a:moveTo>
                      <a:pt x="1186" y="3030"/>
                    </a:moveTo>
                    <a:lnTo>
                      <a:pt x="1282" y="2990"/>
                    </a:lnTo>
                    <a:lnTo>
                      <a:pt x="1219" y="3100"/>
                    </a:lnTo>
                    <a:lnTo>
                      <a:pt x="1126" y="3132"/>
                    </a:lnTo>
                    <a:lnTo>
                      <a:pt x="993" y="3007"/>
                    </a:lnTo>
                    <a:lnTo>
                      <a:pt x="1009" y="2912"/>
                    </a:lnTo>
                    <a:lnTo>
                      <a:pt x="1126" y="2912"/>
                    </a:lnTo>
                    <a:lnTo>
                      <a:pt x="1186" y="3030"/>
                    </a:lnTo>
                    <a:close/>
                  </a:path>
                </a:pathLst>
              </a:custGeom>
              <a:solidFill>
                <a:schemeClr val="bg2">
                  <a:lumMod val="40000"/>
                  <a:lumOff val="60000"/>
                </a:schemeClr>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17">
                <a:extLst>
                  <a:ext uri="{FF2B5EF4-FFF2-40B4-BE49-F238E27FC236}">
                    <a16:creationId xmlns:a16="http://schemas.microsoft.com/office/drawing/2014/main" id="{C257F22A-ED6A-40E7-85A0-5A65710DD0C0}"/>
                  </a:ext>
                </a:extLst>
              </p:cNvPr>
              <p:cNvSpPr>
                <a:spLocks/>
              </p:cNvSpPr>
              <p:nvPr/>
            </p:nvSpPr>
            <p:spPr bwMode="auto">
              <a:xfrm>
                <a:off x="1123062" y="2706853"/>
                <a:ext cx="46048" cy="26983"/>
              </a:xfrm>
              <a:custGeom>
                <a:avLst/>
                <a:gdLst>
                  <a:gd name="T0" fmla="*/ 117 w 229"/>
                  <a:gd name="T1" fmla="*/ 134 h 134"/>
                  <a:gd name="T2" fmla="*/ 229 w 229"/>
                  <a:gd name="T3" fmla="*/ 99 h 134"/>
                  <a:gd name="T4" fmla="*/ 82 w 229"/>
                  <a:gd name="T5" fmla="*/ 0 h 134"/>
                  <a:gd name="T6" fmla="*/ 0 w 229"/>
                  <a:gd name="T7" fmla="*/ 11 h 134"/>
                  <a:gd name="T8" fmla="*/ 24 w 229"/>
                  <a:gd name="T9" fmla="*/ 107 h 134"/>
                  <a:gd name="T10" fmla="*/ 117 w 229"/>
                  <a:gd name="T11" fmla="*/ 134 h 134"/>
                </a:gdLst>
                <a:ahLst/>
                <a:cxnLst>
                  <a:cxn ang="0">
                    <a:pos x="T0" y="T1"/>
                  </a:cxn>
                  <a:cxn ang="0">
                    <a:pos x="T2" y="T3"/>
                  </a:cxn>
                  <a:cxn ang="0">
                    <a:pos x="T4" y="T5"/>
                  </a:cxn>
                  <a:cxn ang="0">
                    <a:pos x="T6" y="T7"/>
                  </a:cxn>
                  <a:cxn ang="0">
                    <a:pos x="T8" y="T9"/>
                  </a:cxn>
                  <a:cxn ang="0">
                    <a:pos x="T10" y="T11"/>
                  </a:cxn>
                </a:cxnLst>
                <a:rect l="0" t="0" r="r" b="b"/>
                <a:pathLst>
                  <a:path w="229" h="134">
                    <a:moveTo>
                      <a:pt x="117" y="134"/>
                    </a:moveTo>
                    <a:lnTo>
                      <a:pt x="229" y="99"/>
                    </a:lnTo>
                    <a:lnTo>
                      <a:pt x="82" y="0"/>
                    </a:lnTo>
                    <a:lnTo>
                      <a:pt x="0" y="11"/>
                    </a:lnTo>
                    <a:lnTo>
                      <a:pt x="24" y="107"/>
                    </a:lnTo>
                    <a:lnTo>
                      <a:pt x="117" y="134"/>
                    </a:lnTo>
                    <a:close/>
                  </a:path>
                </a:pathLst>
              </a:custGeom>
              <a:solidFill>
                <a:schemeClr val="bg1"/>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20">
                <a:extLst>
                  <a:ext uri="{FF2B5EF4-FFF2-40B4-BE49-F238E27FC236}">
                    <a16:creationId xmlns:a16="http://schemas.microsoft.com/office/drawing/2014/main" id="{7037BADD-D00E-4859-875D-2BA05B6B8888}"/>
                  </a:ext>
                </a:extLst>
              </p:cNvPr>
              <p:cNvSpPr>
                <a:spLocks/>
              </p:cNvSpPr>
              <p:nvPr/>
            </p:nvSpPr>
            <p:spPr bwMode="auto">
              <a:xfrm>
                <a:off x="4040781" y="3891343"/>
                <a:ext cx="272250" cy="584102"/>
              </a:xfrm>
              <a:custGeom>
                <a:avLst/>
                <a:gdLst>
                  <a:gd name="T0" fmla="*/ 1122 w 1350"/>
                  <a:gd name="T1" fmla="*/ 602 h 2941"/>
                  <a:gd name="T2" fmla="*/ 1139 w 1350"/>
                  <a:gd name="T3" fmla="*/ 294 h 2941"/>
                  <a:gd name="T4" fmla="*/ 1087 w 1350"/>
                  <a:gd name="T5" fmla="*/ 31 h 2941"/>
                  <a:gd name="T6" fmla="*/ 1005 w 1350"/>
                  <a:gd name="T7" fmla="*/ 0 h 2941"/>
                  <a:gd name="T8" fmla="*/ 937 w 1350"/>
                  <a:gd name="T9" fmla="*/ 58 h 2941"/>
                  <a:gd name="T10" fmla="*/ 951 w 1350"/>
                  <a:gd name="T11" fmla="*/ 562 h 2941"/>
                  <a:gd name="T12" fmla="*/ 701 w 1350"/>
                  <a:gd name="T13" fmla="*/ 523 h 2941"/>
                  <a:gd name="T14" fmla="*/ 599 w 1350"/>
                  <a:gd name="T15" fmla="*/ 665 h 2941"/>
                  <a:gd name="T16" fmla="*/ 289 w 1350"/>
                  <a:gd name="T17" fmla="*/ 787 h 2941"/>
                  <a:gd name="T18" fmla="*/ 264 w 1350"/>
                  <a:gd name="T19" fmla="*/ 870 h 2941"/>
                  <a:gd name="T20" fmla="*/ 183 w 1350"/>
                  <a:gd name="T21" fmla="*/ 879 h 2941"/>
                  <a:gd name="T22" fmla="*/ 120 w 1350"/>
                  <a:gd name="T23" fmla="*/ 960 h 2941"/>
                  <a:gd name="T24" fmla="*/ 129 w 1350"/>
                  <a:gd name="T25" fmla="*/ 1059 h 2941"/>
                  <a:gd name="T26" fmla="*/ 15 w 1350"/>
                  <a:gd name="T27" fmla="*/ 1205 h 2941"/>
                  <a:gd name="T28" fmla="*/ 0 w 1350"/>
                  <a:gd name="T29" fmla="*/ 1288 h 2941"/>
                  <a:gd name="T30" fmla="*/ 75 w 1350"/>
                  <a:gd name="T31" fmla="*/ 1260 h 2941"/>
                  <a:gd name="T32" fmla="*/ 185 w 1350"/>
                  <a:gd name="T33" fmla="*/ 1381 h 2941"/>
                  <a:gd name="T34" fmla="*/ 33 w 1350"/>
                  <a:gd name="T35" fmla="*/ 1489 h 2941"/>
                  <a:gd name="T36" fmla="*/ 64 w 1350"/>
                  <a:gd name="T37" fmla="*/ 1649 h 2941"/>
                  <a:gd name="T38" fmla="*/ 292 w 1350"/>
                  <a:gd name="T39" fmla="*/ 1777 h 2941"/>
                  <a:gd name="T40" fmla="*/ 218 w 1350"/>
                  <a:gd name="T41" fmla="*/ 1824 h 2941"/>
                  <a:gd name="T42" fmla="*/ 130 w 1350"/>
                  <a:gd name="T43" fmla="*/ 2065 h 2941"/>
                  <a:gd name="T44" fmla="*/ 340 w 1350"/>
                  <a:gd name="T45" fmla="*/ 1992 h 2941"/>
                  <a:gd name="T46" fmla="*/ 367 w 1350"/>
                  <a:gd name="T47" fmla="*/ 2158 h 2941"/>
                  <a:gd name="T48" fmla="*/ 290 w 1350"/>
                  <a:gd name="T49" fmla="*/ 2361 h 2941"/>
                  <a:gd name="T50" fmla="*/ 564 w 1350"/>
                  <a:gd name="T51" fmla="*/ 2416 h 2941"/>
                  <a:gd name="T52" fmla="*/ 424 w 1350"/>
                  <a:gd name="T53" fmla="*/ 2511 h 2941"/>
                  <a:gd name="T54" fmla="*/ 417 w 1350"/>
                  <a:gd name="T55" fmla="*/ 2599 h 2941"/>
                  <a:gd name="T56" fmla="*/ 556 w 1350"/>
                  <a:gd name="T57" fmla="*/ 2725 h 2941"/>
                  <a:gd name="T58" fmla="*/ 880 w 1350"/>
                  <a:gd name="T59" fmla="*/ 2824 h 2941"/>
                  <a:gd name="T60" fmla="*/ 916 w 1350"/>
                  <a:gd name="T61" fmla="*/ 2905 h 2941"/>
                  <a:gd name="T62" fmla="*/ 1004 w 1350"/>
                  <a:gd name="T63" fmla="*/ 2941 h 2941"/>
                  <a:gd name="T64" fmla="*/ 1172 w 1350"/>
                  <a:gd name="T65" fmla="*/ 2515 h 2941"/>
                  <a:gd name="T66" fmla="*/ 1077 w 1350"/>
                  <a:gd name="T67" fmla="*/ 2504 h 2941"/>
                  <a:gd name="T68" fmla="*/ 1154 w 1350"/>
                  <a:gd name="T69" fmla="*/ 2448 h 2941"/>
                  <a:gd name="T70" fmla="*/ 1214 w 1350"/>
                  <a:gd name="T71" fmla="*/ 2291 h 2941"/>
                  <a:gd name="T72" fmla="*/ 1192 w 1350"/>
                  <a:gd name="T73" fmla="*/ 2041 h 2941"/>
                  <a:gd name="T74" fmla="*/ 1193 w 1350"/>
                  <a:gd name="T75" fmla="*/ 1862 h 2941"/>
                  <a:gd name="T76" fmla="*/ 1350 w 1350"/>
                  <a:gd name="T77" fmla="*/ 1518 h 2941"/>
                  <a:gd name="T78" fmla="*/ 1239 w 1350"/>
                  <a:gd name="T79" fmla="*/ 765 h 2941"/>
                  <a:gd name="T80" fmla="*/ 1122 w 1350"/>
                  <a:gd name="T81" fmla="*/ 602 h 2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0" h="2941">
                    <a:moveTo>
                      <a:pt x="1122" y="602"/>
                    </a:moveTo>
                    <a:lnTo>
                      <a:pt x="1139" y="294"/>
                    </a:lnTo>
                    <a:lnTo>
                      <a:pt x="1087" y="31"/>
                    </a:lnTo>
                    <a:lnTo>
                      <a:pt x="1005" y="0"/>
                    </a:lnTo>
                    <a:lnTo>
                      <a:pt x="937" y="58"/>
                    </a:lnTo>
                    <a:lnTo>
                      <a:pt x="951" y="562"/>
                    </a:lnTo>
                    <a:lnTo>
                      <a:pt x="701" y="523"/>
                    </a:lnTo>
                    <a:lnTo>
                      <a:pt x="599" y="665"/>
                    </a:lnTo>
                    <a:lnTo>
                      <a:pt x="289" y="787"/>
                    </a:lnTo>
                    <a:lnTo>
                      <a:pt x="264" y="870"/>
                    </a:lnTo>
                    <a:lnTo>
                      <a:pt x="183" y="879"/>
                    </a:lnTo>
                    <a:lnTo>
                      <a:pt x="120" y="960"/>
                    </a:lnTo>
                    <a:lnTo>
                      <a:pt x="129" y="1059"/>
                    </a:lnTo>
                    <a:lnTo>
                      <a:pt x="15" y="1205"/>
                    </a:lnTo>
                    <a:lnTo>
                      <a:pt x="0" y="1288"/>
                    </a:lnTo>
                    <a:lnTo>
                      <a:pt x="75" y="1260"/>
                    </a:lnTo>
                    <a:lnTo>
                      <a:pt x="185" y="1381"/>
                    </a:lnTo>
                    <a:lnTo>
                      <a:pt x="33" y="1489"/>
                    </a:lnTo>
                    <a:lnTo>
                      <a:pt x="64" y="1649"/>
                    </a:lnTo>
                    <a:lnTo>
                      <a:pt x="292" y="1777"/>
                    </a:lnTo>
                    <a:lnTo>
                      <a:pt x="218" y="1824"/>
                    </a:lnTo>
                    <a:lnTo>
                      <a:pt x="130" y="2065"/>
                    </a:lnTo>
                    <a:lnTo>
                      <a:pt x="340" y="1992"/>
                    </a:lnTo>
                    <a:lnTo>
                      <a:pt x="367" y="2158"/>
                    </a:lnTo>
                    <a:lnTo>
                      <a:pt x="290" y="2361"/>
                    </a:lnTo>
                    <a:lnTo>
                      <a:pt x="564" y="2416"/>
                    </a:lnTo>
                    <a:lnTo>
                      <a:pt x="424" y="2511"/>
                    </a:lnTo>
                    <a:lnTo>
                      <a:pt x="417" y="2599"/>
                    </a:lnTo>
                    <a:lnTo>
                      <a:pt x="556" y="2725"/>
                    </a:lnTo>
                    <a:lnTo>
                      <a:pt x="880" y="2824"/>
                    </a:lnTo>
                    <a:lnTo>
                      <a:pt x="916" y="2905"/>
                    </a:lnTo>
                    <a:lnTo>
                      <a:pt x="1004" y="2941"/>
                    </a:lnTo>
                    <a:lnTo>
                      <a:pt x="1172" y="2515"/>
                    </a:lnTo>
                    <a:lnTo>
                      <a:pt x="1077" y="2504"/>
                    </a:lnTo>
                    <a:lnTo>
                      <a:pt x="1154" y="2448"/>
                    </a:lnTo>
                    <a:lnTo>
                      <a:pt x="1214" y="2291"/>
                    </a:lnTo>
                    <a:lnTo>
                      <a:pt x="1192" y="2041"/>
                    </a:lnTo>
                    <a:lnTo>
                      <a:pt x="1193" y="1862"/>
                    </a:lnTo>
                    <a:lnTo>
                      <a:pt x="1350" y="1518"/>
                    </a:lnTo>
                    <a:lnTo>
                      <a:pt x="1239" y="765"/>
                    </a:lnTo>
                    <a:lnTo>
                      <a:pt x="1122" y="602"/>
                    </a:lnTo>
                    <a:close/>
                  </a:path>
                </a:pathLst>
              </a:custGeom>
              <a:solidFill>
                <a:schemeClr val="accent2"/>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 name="Line 21">
                <a:extLst>
                  <a:ext uri="{FF2B5EF4-FFF2-40B4-BE49-F238E27FC236}">
                    <a16:creationId xmlns:a16="http://schemas.microsoft.com/office/drawing/2014/main" id="{F777F927-F172-44F7-80A8-701252FFA1ED}"/>
                  </a:ext>
                </a:extLst>
              </p:cNvPr>
              <p:cNvSpPr>
                <a:spLocks noChangeShapeType="1"/>
              </p:cNvSpPr>
              <p:nvPr/>
            </p:nvSpPr>
            <p:spPr bwMode="auto">
              <a:xfrm flipV="1">
                <a:off x="3673488" y="3676653"/>
                <a:ext cx="808" cy="2381"/>
              </a:xfrm>
              <a:prstGeom prst="line">
                <a:avLst/>
              </a:pr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8" name="Freeform 22">
                <a:extLst>
                  <a:ext uri="{FF2B5EF4-FFF2-40B4-BE49-F238E27FC236}">
                    <a16:creationId xmlns:a16="http://schemas.microsoft.com/office/drawing/2014/main" id="{2BED5A5C-E47A-4173-B510-1D70DC0D5093}"/>
                  </a:ext>
                </a:extLst>
              </p:cNvPr>
              <p:cNvSpPr>
                <a:spLocks/>
              </p:cNvSpPr>
              <p:nvPr/>
            </p:nvSpPr>
            <p:spPr bwMode="auto">
              <a:xfrm>
                <a:off x="1841253" y="4181393"/>
                <a:ext cx="12926" cy="15872"/>
              </a:xfrm>
              <a:custGeom>
                <a:avLst/>
                <a:gdLst>
                  <a:gd name="T0" fmla="*/ 64 w 64"/>
                  <a:gd name="T1" fmla="*/ 78 h 78"/>
                  <a:gd name="T2" fmla="*/ 0 w 64"/>
                  <a:gd name="T3" fmla="*/ 32 h 78"/>
                  <a:gd name="T4" fmla="*/ 62 w 64"/>
                  <a:gd name="T5" fmla="*/ 0 h 78"/>
                  <a:gd name="T6" fmla="*/ 64 w 64"/>
                  <a:gd name="T7" fmla="*/ 78 h 78"/>
                </a:gdLst>
                <a:ahLst/>
                <a:cxnLst>
                  <a:cxn ang="0">
                    <a:pos x="T0" y="T1"/>
                  </a:cxn>
                  <a:cxn ang="0">
                    <a:pos x="T2" y="T3"/>
                  </a:cxn>
                  <a:cxn ang="0">
                    <a:pos x="T4" y="T5"/>
                  </a:cxn>
                  <a:cxn ang="0">
                    <a:pos x="T6" y="T7"/>
                  </a:cxn>
                </a:cxnLst>
                <a:rect l="0" t="0" r="r" b="b"/>
                <a:pathLst>
                  <a:path w="64" h="78">
                    <a:moveTo>
                      <a:pt x="64" y="78"/>
                    </a:moveTo>
                    <a:lnTo>
                      <a:pt x="0" y="32"/>
                    </a:lnTo>
                    <a:lnTo>
                      <a:pt x="62" y="0"/>
                    </a:lnTo>
                    <a:lnTo>
                      <a:pt x="64" y="78"/>
                    </a:lnTo>
                  </a:path>
                </a:pathLst>
              </a:cu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9" name="Line 36">
                <a:extLst>
                  <a:ext uri="{FF2B5EF4-FFF2-40B4-BE49-F238E27FC236}">
                    <a16:creationId xmlns:a16="http://schemas.microsoft.com/office/drawing/2014/main" id="{8CE197A8-44E2-438D-B96B-60B97A4A4B9A}"/>
                  </a:ext>
                </a:extLst>
              </p:cNvPr>
              <p:cNvSpPr>
                <a:spLocks noChangeShapeType="1"/>
              </p:cNvSpPr>
              <p:nvPr/>
            </p:nvSpPr>
            <p:spPr bwMode="auto">
              <a:xfrm>
                <a:off x="3230778" y="2655268"/>
                <a:ext cx="0" cy="0"/>
              </a:xfrm>
              <a:prstGeom prst="line">
                <a:avLst/>
              </a:pr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0" name="Line 37">
                <a:extLst>
                  <a:ext uri="{FF2B5EF4-FFF2-40B4-BE49-F238E27FC236}">
                    <a16:creationId xmlns:a16="http://schemas.microsoft.com/office/drawing/2014/main" id="{0E2DC8F2-D4D7-498F-9594-F6A17837E2F2}"/>
                  </a:ext>
                </a:extLst>
              </p:cNvPr>
              <p:cNvSpPr>
                <a:spLocks noChangeShapeType="1"/>
              </p:cNvSpPr>
              <p:nvPr/>
            </p:nvSpPr>
            <p:spPr bwMode="auto">
              <a:xfrm>
                <a:off x="3230778" y="2655268"/>
                <a:ext cx="0" cy="0"/>
              </a:xfrm>
              <a:prstGeom prst="line">
                <a:avLst/>
              </a:pr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1" name="Line 38">
                <a:extLst>
                  <a:ext uri="{FF2B5EF4-FFF2-40B4-BE49-F238E27FC236}">
                    <a16:creationId xmlns:a16="http://schemas.microsoft.com/office/drawing/2014/main" id="{4BC89956-9F24-4ED8-98D9-720B63A70BF8}"/>
                  </a:ext>
                </a:extLst>
              </p:cNvPr>
              <p:cNvSpPr>
                <a:spLocks noChangeShapeType="1"/>
              </p:cNvSpPr>
              <p:nvPr/>
            </p:nvSpPr>
            <p:spPr bwMode="auto">
              <a:xfrm flipV="1">
                <a:off x="3230778" y="2645745"/>
                <a:ext cx="16157" cy="9524"/>
              </a:xfrm>
              <a:prstGeom prst="line">
                <a:avLst/>
              </a:pr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42">
                <a:extLst>
                  <a:ext uri="{FF2B5EF4-FFF2-40B4-BE49-F238E27FC236}">
                    <a16:creationId xmlns:a16="http://schemas.microsoft.com/office/drawing/2014/main" id="{EB50DCD6-A4F8-4209-B5CE-BF21AFB4BEC5}"/>
                  </a:ext>
                </a:extLst>
              </p:cNvPr>
              <p:cNvSpPr>
                <a:spLocks/>
              </p:cNvSpPr>
              <p:nvPr/>
            </p:nvSpPr>
            <p:spPr bwMode="auto">
              <a:xfrm>
                <a:off x="2012520" y="2014026"/>
                <a:ext cx="8887" cy="3968"/>
              </a:xfrm>
              <a:custGeom>
                <a:avLst/>
                <a:gdLst>
                  <a:gd name="T0" fmla="*/ 40 w 45"/>
                  <a:gd name="T1" fmla="*/ 0 h 19"/>
                  <a:gd name="T2" fmla="*/ 45 w 45"/>
                  <a:gd name="T3" fmla="*/ 1 h 19"/>
                  <a:gd name="T4" fmla="*/ 0 w 45"/>
                  <a:gd name="T5" fmla="*/ 19 h 19"/>
                </a:gdLst>
                <a:ahLst/>
                <a:cxnLst>
                  <a:cxn ang="0">
                    <a:pos x="T0" y="T1"/>
                  </a:cxn>
                  <a:cxn ang="0">
                    <a:pos x="T2" y="T3"/>
                  </a:cxn>
                  <a:cxn ang="0">
                    <a:pos x="T4" y="T5"/>
                  </a:cxn>
                </a:cxnLst>
                <a:rect l="0" t="0" r="r" b="b"/>
                <a:pathLst>
                  <a:path w="45" h="19">
                    <a:moveTo>
                      <a:pt x="40" y="0"/>
                    </a:moveTo>
                    <a:lnTo>
                      <a:pt x="45" y="1"/>
                    </a:lnTo>
                    <a:lnTo>
                      <a:pt x="0" y="19"/>
                    </a:lnTo>
                  </a:path>
                </a:pathLst>
              </a:cu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43">
                <a:extLst>
                  <a:ext uri="{FF2B5EF4-FFF2-40B4-BE49-F238E27FC236}">
                    <a16:creationId xmlns:a16="http://schemas.microsoft.com/office/drawing/2014/main" id="{C4052FDC-E7D2-4FDC-8664-CE27059A4CB1}"/>
                  </a:ext>
                </a:extLst>
              </p:cNvPr>
              <p:cNvSpPr>
                <a:spLocks/>
              </p:cNvSpPr>
              <p:nvPr/>
            </p:nvSpPr>
            <p:spPr bwMode="auto">
              <a:xfrm>
                <a:off x="2012520" y="2014026"/>
                <a:ext cx="8079" cy="3968"/>
              </a:xfrm>
              <a:custGeom>
                <a:avLst/>
                <a:gdLst>
                  <a:gd name="T0" fmla="*/ 40 w 40"/>
                  <a:gd name="T1" fmla="*/ 0 h 19"/>
                  <a:gd name="T2" fmla="*/ 0 w 40"/>
                  <a:gd name="T3" fmla="*/ 15 h 19"/>
                  <a:gd name="T4" fmla="*/ 0 w 40"/>
                  <a:gd name="T5" fmla="*/ 19 h 19"/>
                </a:gdLst>
                <a:ahLst/>
                <a:cxnLst>
                  <a:cxn ang="0">
                    <a:pos x="T0" y="T1"/>
                  </a:cxn>
                  <a:cxn ang="0">
                    <a:pos x="T2" y="T3"/>
                  </a:cxn>
                  <a:cxn ang="0">
                    <a:pos x="T4" y="T5"/>
                  </a:cxn>
                </a:cxnLst>
                <a:rect l="0" t="0" r="r" b="b"/>
                <a:pathLst>
                  <a:path w="40" h="19">
                    <a:moveTo>
                      <a:pt x="40" y="0"/>
                    </a:moveTo>
                    <a:lnTo>
                      <a:pt x="0" y="15"/>
                    </a:lnTo>
                    <a:lnTo>
                      <a:pt x="0" y="19"/>
                    </a:lnTo>
                  </a:path>
                </a:pathLst>
              </a:cu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4" name="Freeform 47">
                <a:extLst>
                  <a:ext uri="{FF2B5EF4-FFF2-40B4-BE49-F238E27FC236}">
                    <a16:creationId xmlns:a16="http://schemas.microsoft.com/office/drawing/2014/main" id="{5245A553-8DFE-4646-81B3-C57C79965EEF}"/>
                  </a:ext>
                </a:extLst>
              </p:cNvPr>
              <p:cNvSpPr>
                <a:spLocks/>
              </p:cNvSpPr>
              <p:nvPr/>
            </p:nvSpPr>
            <p:spPr bwMode="auto">
              <a:xfrm>
                <a:off x="932406" y="2475117"/>
                <a:ext cx="9695" cy="18253"/>
              </a:xfrm>
              <a:custGeom>
                <a:avLst/>
                <a:gdLst>
                  <a:gd name="T0" fmla="*/ 0 w 50"/>
                  <a:gd name="T1" fmla="*/ 90 h 90"/>
                  <a:gd name="T2" fmla="*/ 50 w 50"/>
                  <a:gd name="T3" fmla="*/ 83 h 90"/>
                  <a:gd name="T4" fmla="*/ 9 w 50"/>
                  <a:gd name="T5" fmla="*/ 0 h 90"/>
                  <a:gd name="T6" fmla="*/ 0 w 50"/>
                  <a:gd name="T7" fmla="*/ 90 h 90"/>
                </a:gdLst>
                <a:ahLst/>
                <a:cxnLst>
                  <a:cxn ang="0">
                    <a:pos x="T0" y="T1"/>
                  </a:cxn>
                  <a:cxn ang="0">
                    <a:pos x="T2" y="T3"/>
                  </a:cxn>
                  <a:cxn ang="0">
                    <a:pos x="T4" y="T5"/>
                  </a:cxn>
                  <a:cxn ang="0">
                    <a:pos x="T6" y="T7"/>
                  </a:cxn>
                </a:cxnLst>
                <a:rect l="0" t="0" r="r" b="b"/>
                <a:pathLst>
                  <a:path w="50" h="90">
                    <a:moveTo>
                      <a:pt x="0" y="90"/>
                    </a:moveTo>
                    <a:lnTo>
                      <a:pt x="50" y="83"/>
                    </a:lnTo>
                    <a:lnTo>
                      <a:pt x="9" y="0"/>
                    </a:lnTo>
                    <a:lnTo>
                      <a:pt x="0" y="90"/>
                    </a:lnTo>
                  </a:path>
                </a:pathLst>
              </a:cu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5" name="Line 49">
                <a:extLst>
                  <a:ext uri="{FF2B5EF4-FFF2-40B4-BE49-F238E27FC236}">
                    <a16:creationId xmlns:a16="http://schemas.microsoft.com/office/drawing/2014/main" id="{9BD77EC5-A002-4677-96C3-F99B3898D8E4}"/>
                  </a:ext>
                </a:extLst>
              </p:cNvPr>
              <p:cNvSpPr>
                <a:spLocks noChangeShapeType="1"/>
              </p:cNvSpPr>
              <p:nvPr/>
            </p:nvSpPr>
            <p:spPr bwMode="auto">
              <a:xfrm flipV="1">
                <a:off x="930790" y="2493370"/>
                <a:ext cx="1616" cy="17460"/>
              </a:xfrm>
              <a:prstGeom prst="line">
                <a:avLst/>
              </a:pr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6" name="Freeform 50">
                <a:extLst>
                  <a:ext uri="{FF2B5EF4-FFF2-40B4-BE49-F238E27FC236}">
                    <a16:creationId xmlns:a16="http://schemas.microsoft.com/office/drawing/2014/main" id="{B04503B2-E0CF-4769-9786-9D12EE93CEBE}"/>
                  </a:ext>
                </a:extLst>
              </p:cNvPr>
              <p:cNvSpPr>
                <a:spLocks/>
              </p:cNvSpPr>
              <p:nvPr/>
            </p:nvSpPr>
            <p:spPr bwMode="auto">
              <a:xfrm>
                <a:off x="1349264" y="2840975"/>
                <a:ext cx="35546" cy="46823"/>
              </a:xfrm>
              <a:custGeom>
                <a:avLst/>
                <a:gdLst>
                  <a:gd name="T0" fmla="*/ 54 w 175"/>
                  <a:gd name="T1" fmla="*/ 0 h 234"/>
                  <a:gd name="T2" fmla="*/ 0 w 175"/>
                  <a:gd name="T3" fmla="*/ 65 h 234"/>
                  <a:gd name="T4" fmla="*/ 175 w 175"/>
                  <a:gd name="T5" fmla="*/ 234 h 234"/>
                  <a:gd name="T6" fmla="*/ 168 w 175"/>
                  <a:gd name="T7" fmla="*/ 143 h 234"/>
                  <a:gd name="T8" fmla="*/ 81 w 175"/>
                  <a:gd name="T9" fmla="*/ 90 h 234"/>
                  <a:gd name="T10" fmla="*/ 54 w 175"/>
                  <a:gd name="T11" fmla="*/ 0 h 234"/>
                </a:gdLst>
                <a:ahLst/>
                <a:cxnLst>
                  <a:cxn ang="0">
                    <a:pos x="T0" y="T1"/>
                  </a:cxn>
                  <a:cxn ang="0">
                    <a:pos x="T2" y="T3"/>
                  </a:cxn>
                  <a:cxn ang="0">
                    <a:pos x="T4" y="T5"/>
                  </a:cxn>
                  <a:cxn ang="0">
                    <a:pos x="T6" y="T7"/>
                  </a:cxn>
                  <a:cxn ang="0">
                    <a:pos x="T8" y="T9"/>
                  </a:cxn>
                  <a:cxn ang="0">
                    <a:pos x="T10" y="T11"/>
                  </a:cxn>
                </a:cxnLst>
                <a:rect l="0" t="0" r="r" b="b"/>
                <a:pathLst>
                  <a:path w="175" h="234">
                    <a:moveTo>
                      <a:pt x="54" y="0"/>
                    </a:moveTo>
                    <a:lnTo>
                      <a:pt x="0" y="65"/>
                    </a:lnTo>
                    <a:lnTo>
                      <a:pt x="175" y="234"/>
                    </a:lnTo>
                    <a:lnTo>
                      <a:pt x="168" y="143"/>
                    </a:lnTo>
                    <a:lnTo>
                      <a:pt x="81" y="90"/>
                    </a:lnTo>
                    <a:lnTo>
                      <a:pt x="54" y="0"/>
                    </a:lnTo>
                  </a:path>
                </a:pathLst>
              </a:cu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7" name="Freeform 75">
                <a:extLst>
                  <a:ext uri="{FF2B5EF4-FFF2-40B4-BE49-F238E27FC236}">
                    <a16:creationId xmlns:a16="http://schemas.microsoft.com/office/drawing/2014/main" id="{D1D29072-DEB6-44B7-8C9D-76A4C57F499C}"/>
                  </a:ext>
                </a:extLst>
              </p:cNvPr>
              <p:cNvSpPr>
                <a:spLocks/>
              </p:cNvSpPr>
              <p:nvPr/>
            </p:nvSpPr>
            <p:spPr bwMode="auto">
              <a:xfrm>
                <a:off x="925943" y="2493370"/>
                <a:ext cx="6463" cy="17460"/>
              </a:xfrm>
              <a:custGeom>
                <a:avLst/>
                <a:gdLst>
                  <a:gd name="T0" fmla="*/ 31 w 31"/>
                  <a:gd name="T1" fmla="*/ 0 h 89"/>
                  <a:gd name="T2" fmla="*/ 0 w 31"/>
                  <a:gd name="T3" fmla="*/ 4 h 89"/>
                  <a:gd name="T4" fmla="*/ 22 w 31"/>
                  <a:gd name="T5" fmla="*/ 87 h 89"/>
                  <a:gd name="T6" fmla="*/ 23 w 31"/>
                  <a:gd name="T7" fmla="*/ 89 h 89"/>
                </a:gdLst>
                <a:ahLst/>
                <a:cxnLst>
                  <a:cxn ang="0">
                    <a:pos x="T0" y="T1"/>
                  </a:cxn>
                  <a:cxn ang="0">
                    <a:pos x="T2" y="T3"/>
                  </a:cxn>
                  <a:cxn ang="0">
                    <a:pos x="T4" y="T5"/>
                  </a:cxn>
                  <a:cxn ang="0">
                    <a:pos x="T6" y="T7"/>
                  </a:cxn>
                </a:cxnLst>
                <a:rect l="0" t="0" r="r" b="b"/>
                <a:pathLst>
                  <a:path w="31" h="89">
                    <a:moveTo>
                      <a:pt x="31" y="0"/>
                    </a:moveTo>
                    <a:lnTo>
                      <a:pt x="0" y="4"/>
                    </a:lnTo>
                    <a:lnTo>
                      <a:pt x="22" y="87"/>
                    </a:lnTo>
                    <a:lnTo>
                      <a:pt x="23" y="89"/>
                    </a:lnTo>
                  </a:path>
                </a:pathLst>
              </a:cu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8" name="Freeform 80">
                <a:extLst>
                  <a:ext uri="{FF2B5EF4-FFF2-40B4-BE49-F238E27FC236}">
                    <a16:creationId xmlns:a16="http://schemas.microsoft.com/office/drawing/2014/main" id="{92E221CC-69D8-4BEB-A6C8-A8BBEA3B1C33}"/>
                  </a:ext>
                </a:extLst>
              </p:cNvPr>
              <p:cNvSpPr>
                <a:spLocks/>
              </p:cNvSpPr>
              <p:nvPr/>
            </p:nvSpPr>
            <p:spPr bwMode="auto">
              <a:xfrm>
                <a:off x="3515955" y="4242502"/>
                <a:ext cx="3232" cy="3968"/>
              </a:xfrm>
              <a:custGeom>
                <a:avLst/>
                <a:gdLst>
                  <a:gd name="T0" fmla="*/ 13 w 17"/>
                  <a:gd name="T1" fmla="*/ 0 h 22"/>
                  <a:gd name="T2" fmla="*/ 11 w 17"/>
                  <a:gd name="T3" fmla="*/ 0 h 22"/>
                  <a:gd name="T4" fmla="*/ 8 w 17"/>
                  <a:gd name="T5" fmla="*/ 0 h 22"/>
                  <a:gd name="T6" fmla="*/ 5 w 17"/>
                  <a:gd name="T7" fmla="*/ 1 h 22"/>
                  <a:gd name="T8" fmla="*/ 4 w 17"/>
                  <a:gd name="T9" fmla="*/ 3 h 22"/>
                  <a:gd name="T10" fmla="*/ 2 w 17"/>
                  <a:gd name="T11" fmla="*/ 5 h 22"/>
                  <a:gd name="T12" fmla="*/ 0 w 17"/>
                  <a:gd name="T13" fmla="*/ 8 h 22"/>
                  <a:gd name="T14" fmla="*/ 0 w 17"/>
                  <a:gd name="T15" fmla="*/ 12 h 22"/>
                  <a:gd name="T16" fmla="*/ 0 w 17"/>
                  <a:gd name="T17" fmla="*/ 17 h 22"/>
                  <a:gd name="T18" fmla="*/ 3 w 17"/>
                  <a:gd name="T19" fmla="*/ 19 h 22"/>
                  <a:gd name="T20" fmla="*/ 7 w 17"/>
                  <a:gd name="T21" fmla="*/ 22 h 22"/>
                  <a:gd name="T22" fmla="*/ 11 w 17"/>
                  <a:gd name="T23" fmla="*/ 22 h 22"/>
                  <a:gd name="T24" fmla="*/ 12 w 17"/>
                  <a:gd name="T25" fmla="*/ 22 h 22"/>
                  <a:gd name="T26" fmla="*/ 14 w 17"/>
                  <a:gd name="T27" fmla="*/ 22 h 22"/>
                  <a:gd name="T28" fmla="*/ 16 w 17"/>
                  <a:gd name="T29" fmla="*/ 22 h 22"/>
                  <a:gd name="T30" fmla="*/ 17 w 17"/>
                  <a:gd name="T31" fmla="*/ 22 h 22"/>
                  <a:gd name="T32" fmla="*/ 17 w 17"/>
                  <a:gd name="T33" fmla="*/ 18 h 22"/>
                  <a:gd name="T34" fmla="*/ 14 w 17"/>
                  <a:gd name="T35" fmla="*/ 18 h 22"/>
                  <a:gd name="T36" fmla="*/ 14 w 17"/>
                  <a:gd name="T37" fmla="*/ 19 h 22"/>
                  <a:gd name="T38" fmla="*/ 11 w 17"/>
                  <a:gd name="T39" fmla="*/ 19 h 22"/>
                  <a:gd name="T40" fmla="*/ 8 w 17"/>
                  <a:gd name="T41" fmla="*/ 19 h 22"/>
                  <a:gd name="T42" fmla="*/ 5 w 17"/>
                  <a:gd name="T43" fmla="*/ 17 h 22"/>
                  <a:gd name="T44" fmla="*/ 4 w 17"/>
                  <a:gd name="T45" fmla="*/ 14 h 22"/>
                  <a:gd name="T46" fmla="*/ 4 w 17"/>
                  <a:gd name="T47" fmla="*/ 12 h 22"/>
                  <a:gd name="T48" fmla="*/ 4 w 17"/>
                  <a:gd name="T49" fmla="*/ 8 h 22"/>
                  <a:gd name="T50" fmla="*/ 7 w 17"/>
                  <a:gd name="T51" fmla="*/ 5 h 22"/>
                  <a:gd name="T52" fmla="*/ 8 w 17"/>
                  <a:gd name="T53" fmla="*/ 4 h 22"/>
                  <a:gd name="T54" fmla="*/ 11 w 17"/>
                  <a:gd name="T55" fmla="*/ 3 h 22"/>
                  <a:gd name="T56" fmla="*/ 13 w 17"/>
                  <a:gd name="T57" fmla="*/ 3 h 22"/>
                  <a:gd name="T58" fmla="*/ 16 w 17"/>
                  <a:gd name="T59" fmla="*/ 4 h 22"/>
                  <a:gd name="T60" fmla="*/ 16 w 17"/>
                  <a:gd name="T61" fmla="*/ 1 h 22"/>
                  <a:gd name="T62" fmla="*/ 13 w 17"/>
                  <a:gd name="T6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22">
                    <a:moveTo>
                      <a:pt x="13" y="0"/>
                    </a:moveTo>
                    <a:lnTo>
                      <a:pt x="11" y="0"/>
                    </a:lnTo>
                    <a:lnTo>
                      <a:pt x="8" y="0"/>
                    </a:lnTo>
                    <a:lnTo>
                      <a:pt x="5" y="1"/>
                    </a:lnTo>
                    <a:lnTo>
                      <a:pt x="4" y="3"/>
                    </a:lnTo>
                    <a:lnTo>
                      <a:pt x="2" y="5"/>
                    </a:lnTo>
                    <a:lnTo>
                      <a:pt x="0" y="8"/>
                    </a:lnTo>
                    <a:lnTo>
                      <a:pt x="0" y="12"/>
                    </a:lnTo>
                    <a:lnTo>
                      <a:pt x="0" y="17"/>
                    </a:lnTo>
                    <a:lnTo>
                      <a:pt x="3" y="19"/>
                    </a:lnTo>
                    <a:lnTo>
                      <a:pt x="7" y="22"/>
                    </a:lnTo>
                    <a:lnTo>
                      <a:pt x="11" y="22"/>
                    </a:lnTo>
                    <a:lnTo>
                      <a:pt x="12" y="22"/>
                    </a:lnTo>
                    <a:lnTo>
                      <a:pt x="14" y="22"/>
                    </a:lnTo>
                    <a:lnTo>
                      <a:pt x="16" y="22"/>
                    </a:lnTo>
                    <a:lnTo>
                      <a:pt x="17" y="22"/>
                    </a:lnTo>
                    <a:lnTo>
                      <a:pt x="17" y="18"/>
                    </a:lnTo>
                    <a:lnTo>
                      <a:pt x="14" y="18"/>
                    </a:lnTo>
                    <a:lnTo>
                      <a:pt x="14" y="19"/>
                    </a:lnTo>
                    <a:lnTo>
                      <a:pt x="11" y="19"/>
                    </a:lnTo>
                    <a:lnTo>
                      <a:pt x="8" y="19"/>
                    </a:lnTo>
                    <a:lnTo>
                      <a:pt x="5" y="17"/>
                    </a:lnTo>
                    <a:lnTo>
                      <a:pt x="4" y="14"/>
                    </a:lnTo>
                    <a:lnTo>
                      <a:pt x="4" y="12"/>
                    </a:lnTo>
                    <a:lnTo>
                      <a:pt x="4" y="8"/>
                    </a:lnTo>
                    <a:lnTo>
                      <a:pt x="7" y="5"/>
                    </a:lnTo>
                    <a:lnTo>
                      <a:pt x="8" y="4"/>
                    </a:lnTo>
                    <a:lnTo>
                      <a:pt x="11" y="3"/>
                    </a:lnTo>
                    <a:lnTo>
                      <a:pt x="13" y="3"/>
                    </a:lnTo>
                    <a:lnTo>
                      <a:pt x="16" y="4"/>
                    </a:lnTo>
                    <a:lnTo>
                      <a:pt x="16" y="1"/>
                    </a:lnTo>
                    <a:lnTo>
                      <a:pt x="13" y="0"/>
                    </a:lnTo>
                    <a:close/>
                  </a:path>
                </a:pathLst>
              </a:custGeom>
              <a:solidFill>
                <a:schemeClr val="bg1"/>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9" name="Freeform 81">
                <a:extLst>
                  <a:ext uri="{FF2B5EF4-FFF2-40B4-BE49-F238E27FC236}">
                    <a16:creationId xmlns:a16="http://schemas.microsoft.com/office/drawing/2014/main" id="{EECEB342-53A0-4873-BF21-ED0182F74FDE}"/>
                  </a:ext>
                </a:extLst>
              </p:cNvPr>
              <p:cNvSpPr>
                <a:spLocks/>
              </p:cNvSpPr>
              <p:nvPr/>
            </p:nvSpPr>
            <p:spPr bwMode="auto">
              <a:xfrm>
                <a:off x="3519994" y="4242502"/>
                <a:ext cx="6463" cy="3968"/>
              </a:xfrm>
              <a:custGeom>
                <a:avLst/>
                <a:gdLst>
                  <a:gd name="T0" fmla="*/ 11 w 31"/>
                  <a:gd name="T1" fmla="*/ 3 h 22"/>
                  <a:gd name="T2" fmla="*/ 13 w 31"/>
                  <a:gd name="T3" fmla="*/ 4 h 22"/>
                  <a:gd name="T4" fmla="*/ 13 w 31"/>
                  <a:gd name="T5" fmla="*/ 5 h 22"/>
                  <a:gd name="T6" fmla="*/ 13 w 31"/>
                  <a:gd name="T7" fmla="*/ 8 h 22"/>
                  <a:gd name="T8" fmla="*/ 13 w 31"/>
                  <a:gd name="T9" fmla="*/ 22 h 22"/>
                  <a:gd name="T10" fmla="*/ 17 w 31"/>
                  <a:gd name="T11" fmla="*/ 22 h 22"/>
                  <a:gd name="T12" fmla="*/ 17 w 31"/>
                  <a:gd name="T13" fmla="*/ 7 h 22"/>
                  <a:gd name="T14" fmla="*/ 20 w 31"/>
                  <a:gd name="T15" fmla="*/ 4 h 22"/>
                  <a:gd name="T16" fmla="*/ 23 w 31"/>
                  <a:gd name="T17" fmla="*/ 3 h 22"/>
                  <a:gd name="T18" fmla="*/ 25 w 31"/>
                  <a:gd name="T19" fmla="*/ 3 h 22"/>
                  <a:gd name="T20" fmla="*/ 27 w 31"/>
                  <a:gd name="T21" fmla="*/ 4 h 22"/>
                  <a:gd name="T22" fmla="*/ 27 w 31"/>
                  <a:gd name="T23" fmla="*/ 5 h 22"/>
                  <a:gd name="T24" fmla="*/ 27 w 31"/>
                  <a:gd name="T25" fmla="*/ 8 h 22"/>
                  <a:gd name="T26" fmla="*/ 27 w 31"/>
                  <a:gd name="T27" fmla="*/ 22 h 22"/>
                  <a:gd name="T28" fmla="*/ 31 w 31"/>
                  <a:gd name="T29" fmla="*/ 22 h 22"/>
                  <a:gd name="T30" fmla="*/ 31 w 31"/>
                  <a:gd name="T31" fmla="*/ 8 h 22"/>
                  <a:gd name="T32" fmla="*/ 31 w 31"/>
                  <a:gd name="T33" fmla="*/ 4 h 22"/>
                  <a:gd name="T34" fmla="*/ 29 w 31"/>
                  <a:gd name="T35" fmla="*/ 1 h 22"/>
                  <a:gd name="T36" fmla="*/ 26 w 31"/>
                  <a:gd name="T37" fmla="*/ 0 h 22"/>
                  <a:gd name="T38" fmla="*/ 25 w 31"/>
                  <a:gd name="T39" fmla="*/ 0 h 22"/>
                  <a:gd name="T40" fmla="*/ 20 w 31"/>
                  <a:gd name="T41" fmla="*/ 1 h 22"/>
                  <a:gd name="T42" fmla="*/ 17 w 31"/>
                  <a:gd name="T43" fmla="*/ 4 h 22"/>
                  <a:gd name="T44" fmla="*/ 14 w 31"/>
                  <a:gd name="T45" fmla="*/ 1 h 22"/>
                  <a:gd name="T46" fmla="*/ 11 w 31"/>
                  <a:gd name="T47" fmla="*/ 0 h 22"/>
                  <a:gd name="T48" fmla="*/ 8 w 31"/>
                  <a:gd name="T49" fmla="*/ 0 h 22"/>
                  <a:gd name="T50" fmla="*/ 5 w 31"/>
                  <a:gd name="T51" fmla="*/ 1 h 22"/>
                  <a:gd name="T52" fmla="*/ 4 w 31"/>
                  <a:gd name="T53" fmla="*/ 3 h 22"/>
                  <a:gd name="T54" fmla="*/ 3 w 31"/>
                  <a:gd name="T55" fmla="*/ 4 h 22"/>
                  <a:gd name="T56" fmla="*/ 3 w 31"/>
                  <a:gd name="T57" fmla="*/ 0 h 22"/>
                  <a:gd name="T58" fmla="*/ 0 w 31"/>
                  <a:gd name="T59" fmla="*/ 0 h 22"/>
                  <a:gd name="T60" fmla="*/ 0 w 31"/>
                  <a:gd name="T61" fmla="*/ 22 h 22"/>
                  <a:gd name="T62" fmla="*/ 3 w 31"/>
                  <a:gd name="T63" fmla="*/ 22 h 22"/>
                  <a:gd name="T64" fmla="*/ 3 w 31"/>
                  <a:gd name="T65" fmla="*/ 7 h 22"/>
                  <a:gd name="T66" fmla="*/ 5 w 31"/>
                  <a:gd name="T67" fmla="*/ 4 h 22"/>
                  <a:gd name="T68" fmla="*/ 9 w 31"/>
                  <a:gd name="T69" fmla="*/ 3 h 22"/>
                  <a:gd name="T70" fmla="*/ 11 w 31"/>
                  <a:gd name="T71"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 h="22">
                    <a:moveTo>
                      <a:pt x="11" y="3"/>
                    </a:moveTo>
                    <a:lnTo>
                      <a:pt x="13" y="4"/>
                    </a:lnTo>
                    <a:lnTo>
                      <a:pt x="13" y="5"/>
                    </a:lnTo>
                    <a:lnTo>
                      <a:pt x="13" y="8"/>
                    </a:lnTo>
                    <a:lnTo>
                      <a:pt x="13" y="22"/>
                    </a:lnTo>
                    <a:lnTo>
                      <a:pt x="17" y="22"/>
                    </a:lnTo>
                    <a:lnTo>
                      <a:pt x="17" y="7"/>
                    </a:lnTo>
                    <a:lnTo>
                      <a:pt x="20" y="4"/>
                    </a:lnTo>
                    <a:lnTo>
                      <a:pt x="23" y="3"/>
                    </a:lnTo>
                    <a:lnTo>
                      <a:pt x="25" y="3"/>
                    </a:lnTo>
                    <a:lnTo>
                      <a:pt x="27" y="4"/>
                    </a:lnTo>
                    <a:lnTo>
                      <a:pt x="27" y="5"/>
                    </a:lnTo>
                    <a:lnTo>
                      <a:pt x="27" y="8"/>
                    </a:lnTo>
                    <a:lnTo>
                      <a:pt x="27" y="22"/>
                    </a:lnTo>
                    <a:lnTo>
                      <a:pt x="31" y="22"/>
                    </a:lnTo>
                    <a:lnTo>
                      <a:pt x="31" y="8"/>
                    </a:lnTo>
                    <a:lnTo>
                      <a:pt x="31" y="4"/>
                    </a:lnTo>
                    <a:lnTo>
                      <a:pt x="29" y="1"/>
                    </a:lnTo>
                    <a:lnTo>
                      <a:pt x="26" y="0"/>
                    </a:lnTo>
                    <a:lnTo>
                      <a:pt x="25" y="0"/>
                    </a:lnTo>
                    <a:lnTo>
                      <a:pt x="20" y="1"/>
                    </a:lnTo>
                    <a:lnTo>
                      <a:pt x="17" y="4"/>
                    </a:lnTo>
                    <a:lnTo>
                      <a:pt x="14" y="1"/>
                    </a:lnTo>
                    <a:lnTo>
                      <a:pt x="11" y="0"/>
                    </a:lnTo>
                    <a:lnTo>
                      <a:pt x="8" y="0"/>
                    </a:lnTo>
                    <a:lnTo>
                      <a:pt x="5" y="1"/>
                    </a:lnTo>
                    <a:lnTo>
                      <a:pt x="4" y="3"/>
                    </a:lnTo>
                    <a:lnTo>
                      <a:pt x="3" y="4"/>
                    </a:lnTo>
                    <a:lnTo>
                      <a:pt x="3" y="0"/>
                    </a:lnTo>
                    <a:lnTo>
                      <a:pt x="0" y="0"/>
                    </a:lnTo>
                    <a:lnTo>
                      <a:pt x="0" y="22"/>
                    </a:lnTo>
                    <a:lnTo>
                      <a:pt x="3" y="22"/>
                    </a:lnTo>
                    <a:lnTo>
                      <a:pt x="3" y="7"/>
                    </a:lnTo>
                    <a:lnTo>
                      <a:pt x="5" y="4"/>
                    </a:lnTo>
                    <a:lnTo>
                      <a:pt x="9" y="3"/>
                    </a:lnTo>
                    <a:lnTo>
                      <a:pt x="11" y="3"/>
                    </a:lnTo>
                    <a:close/>
                  </a:path>
                </a:pathLst>
              </a:custGeom>
              <a:solidFill>
                <a:schemeClr val="bg1"/>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0" name="Freeform 82">
                <a:extLst>
                  <a:ext uri="{FF2B5EF4-FFF2-40B4-BE49-F238E27FC236}">
                    <a16:creationId xmlns:a16="http://schemas.microsoft.com/office/drawing/2014/main" id="{4F74C6BA-B8EE-467A-85B8-B4614F8D7237}"/>
                  </a:ext>
                </a:extLst>
              </p:cNvPr>
              <p:cNvSpPr>
                <a:spLocks noEditPoints="1"/>
              </p:cNvSpPr>
              <p:nvPr/>
            </p:nvSpPr>
            <p:spPr bwMode="auto">
              <a:xfrm>
                <a:off x="3527264" y="4242502"/>
                <a:ext cx="4039" cy="3968"/>
              </a:xfrm>
              <a:custGeom>
                <a:avLst/>
                <a:gdLst>
                  <a:gd name="T0" fmla="*/ 8 w 18"/>
                  <a:gd name="T1" fmla="*/ 0 h 22"/>
                  <a:gd name="T2" fmla="*/ 5 w 18"/>
                  <a:gd name="T3" fmla="*/ 0 h 22"/>
                  <a:gd name="T4" fmla="*/ 4 w 18"/>
                  <a:gd name="T5" fmla="*/ 0 h 22"/>
                  <a:gd name="T6" fmla="*/ 3 w 18"/>
                  <a:gd name="T7" fmla="*/ 1 h 22"/>
                  <a:gd name="T8" fmla="*/ 3 w 18"/>
                  <a:gd name="T9" fmla="*/ 4 h 22"/>
                  <a:gd name="T10" fmla="*/ 5 w 18"/>
                  <a:gd name="T11" fmla="*/ 3 h 22"/>
                  <a:gd name="T12" fmla="*/ 8 w 18"/>
                  <a:gd name="T13" fmla="*/ 3 h 22"/>
                  <a:gd name="T14" fmla="*/ 12 w 18"/>
                  <a:gd name="T15" fmla="*/ 4 h 22"/>
                  <a:gd name="T16" fmla="*/ 14 w 18"/>
                  <a:gd name="T17" fmla="*/ 5 h 22"/>
                  <a:gd name="T18" fmla="*/ 14 w 18"/>
                  <a:gd name="T19" fmla="*/ 7 h 22"/>
                  <a:gd name="T20" fmla="*/ 14 w 18"/>
                  <a:gd name="T21" fmla="*/ 8 h 22"/>
                  <a:gd name="T22" fmla="*/ 14 w 18"/>
                  <a:gd name="T23" fmla="*/ 10 h 22"/>
                  <a:gd name="T24" fmla="*/ 12 w 18"/>
                  <a:gd name="T25" fmla="*/ 9 h 22"/>
                  <a:gd name="T26" fmla="*/ 9 w 18"/>
                  <a:gd name="T27" fmla="*/ 9 h 22"/>
                  <a:gd name="T28" fmla="*/ 5 w 18"/>
                  <a:gd name="T29" fmla="*/ 9 h 22"/>
                  <a:gd name="T30" fmla="*/ 3 w 18"/>
                  <a:gd name="T31" fmla="*/ 10 h 22"/>
                  <a:gd name="T32" fmla="*/ 2 w 18"/>
                  <a:gd name="T33" fmla="*/ 13 h 22"/>
                  <a:gd name="T34" fmla="*/ 0 w 18"/>
                  <a:gd name="T35" fmla="*/ 16 h 22"/>
                  <a:gd name="T36" fmla="*/ 2 w 18"/>
                  <a:gd name="T37" fmla="*/ 18 h 22"/>
                  <a:gd name="T38" fmla="*/ 3 w 18"/>
                  <a:gd name="T39" fmla="*/ 21 h 22"/>
                  <a:gd name="T40" fmla="*/ 5 w 18"/>
                  <a:gd name="T41" fmla="*/ 22 h 22"/>
                  <a:gd name="T42" fmla="*/ 8 w 18"/>
                  <a:gd name="T43" fmla="*/ 22 h 22"/>
                  <a:gd name="T44" fmla="*/ 11 w 18"/>
                  <a:gd name="T45" fmla="*/ 22 h 22"/>
                  <a:gd name="T46" fmla="*/ 12 w 18"/>
                  <a:gd name="T47" fmla="*/ 22 h 22"/>
                  <a:gd name="T48" fmla="*/ 13 w 18"/>
                  <a:gd name="T49" fmla="*/ 21 h 22"/>
                  <a:gd name="T50" fmla="*/ 13 w 18"/>
                  <a:gd name="T51" fmla="*/ 19 h 22"/>
                  <a:gd name="T52" fmla="*/ 14 w 18"/>
                  <a:gd name="T53" fmla="*/ 19 h 22"/>
                  <a:gd name="T54" fmla="*/ 14 w 18"/>
                  <a:gd name="T55" fmla="*/ 22 h 22"/>
                  <a:gd name="T56" fmla="*/ 18 w 18"/>
                  <a:gd name="T57" fmla="*/ 22 h 22"/>
                  <a:gd name="T58" fmla="*/ 18 w 18"/>
                  <a:gd name="T59" fmla="*/ 8 h 22"/>
                  <a:gd name="T60" fmla="*/ 18 w 18"/>
                  <a:gd name="T61" fmla="*/ 5 h 22"/>
                  <a:gd name="T62" fmla="*/ 17 w 18"/>
                  <a:gd name="T63" fmla="*/ 4 h 22"/>
                  <a:gd name="T64" fmla="*/ 14 w 18"/>
                  <a:gd name="T65" fmla="*/ 1 h 22"/>
                  <a:gd name="T66" fmla="*/ 9 w 18"/>
                  <a:gd name="T67" fmla="*/ 0 h 22"/>
                  <a:gd name="T68" fmla="*/ 8 w 18"/>
                  <a:gd name="T69" fmla="*/ 0 h 22"/>
                  <a:gd name="T70" fmla="*/ 14 w 18"/>
                  <a:gd name="T71" fmla="*/ 13 h 22"/>
                  <a:gd name="T72" fmla="*/ 14 w 18"/>
                  <a:gd name="T73" fmla="*/ 17 h 22"/>
                  <a:gd name="T74" fmla="*/ 14 w 18"/>
                  <a:gd name="T75" fmla="*/ 18 h 22"/>
                  <a:gd name="T76" fmla="*/ 12 w 18"/>
                  <a:gd name="T77" fmla="*/ 18 h 22"/>
                  <a:gd name="T78" fmla="*/ 11 w 18"/>
                  <a:gd name="T79" fmla="*/ 18 h 22"/>
                  <a:gd name="T80" fmla="*/ 11 w 18"/>
                  <a:gd name="T81" fmla="*/ 19 h 22"/>
                  <a:gd name="T82" fmla="*/ 8 w 18"/>
                  <a:gd name="T83" fmla="*/ 19 h 22"/>
                  <a:gd name="T84" fmla="*/ 7 w 18"/>
                  <a:gd name="T85" fmla="*/ 19 h 22"/>
                  <a:gd name="T86" fmla="*/ 5 w 18"/>
                  <a:gd name="T87" fmla="*/ 18 h 22"/>
                  <a:gd name="T88" fmla="*/ 5 w 18"/>
                  <a:gd name="T89" fmla="*/ 17 h 22"/>
                  <a:gd name="T90" fmla="*/ 4 w 18"/>
                  <a:gd name="T91" fmla="*/ 16 h 22"/>
                  <a:gd name="T92" fmla="*/ 5 w 18"/>
                  <a:gd name="T93" fmla="*/ 13 h 22"/>
                  <a:gd name="T94" fmla="*/ 9 w 18"/>
                  <a:gd name="T95" fmla="*/ 12 h 22"/>
                  <a:gd name="T96" fmla="*/ 12 w 18"/>
                  <a:gd name="T97" fmla="*/ 12 h 22"/>
                  <a:gd name="T98" fmla="*/ 14 w 18"/>
                  <a:gd name="T99" fmla="*/ 1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 h="22">
                    <a:moveTo>
                      <a:pt x="8" y="0"/>
                    </a:moveTo>
                    <a:lnTo>
                      <a:pt x="5" y="0"/>
                    </a:lnTo>
                    <a:lnTo>
                      <a:pt x="4" y="0"/>
                    </a:lnTo>
                    <a:lnTo>
                      <a:pt x="3" y="1"/>
                    </a:lnTo>
                    <a:lnTo>
                      <a:pt x="3" y="4"/>
                    </a:lnTo>
                    <a:lnTo>
                      <a:pt x="5" y="3"/>
                    </a:lnTo>
                    <a:lnTo>
                      <a:pt x="8" y="3"/>
                    </a:lnTo>
                    <a:lnTo>
                      <a:pt x="12" y="4"/>
                    </a:lnTo>
                    <a:lnTo>
                      <a:pt x="14" y="5"/>
                    </a:lnTo>
                    <a:lnTo>
                      <a:pt x="14" y="7"/>
                    </a:lnTo>
                    <a:lnTo>
                      <a:pt x="14" y="8"/>
                    </a:lnTo>
                    <a:lnTo>
                      <a:pt x="14" y="10"/>
                    </a:lnTo>
                    <a:lnTo>
                      <a:pt x="12" y="9"/>
                    </a:lnTo>
                    <a:lnTo>
                      <a:pt x="9" y="9"/>
                    </a:lnTo>
                    <a:lnTo>
                      <a:pt x="5" y="9"/>
                    </a:lnTo>
                    <a:lnTo>
                      <a:pt x="3" y="10"/>
                    </a:lnTo>
                    <a:lnTo>
                      <a:pt x="2" y="13"/>
                    </a:lnTo>
                    <a:lnTo>
                      <a:pt x="0" y="16"/>
                    </a:lnTo>
                    <a:lnTo>
                      <a:pt x="2" y="18"/>
                    </a:lnTo>
                    <a:lnTo>
                      <a:pt x="3" y="21"/>
                    </a:lnTo>
                    <a:lnTo>
                      <a:pt x="5" y="22"/>
                    </a:lnTo>
                    <a:lnTo>
                      <a:pt x="8" y="22"/>
                    </a:lnTo>
                    <a:lnTo>
                      <a:pt x="11" y="22"/>
                    </a:lnTo>
                    <a:lnTo>
                      <a:pt x="12" y="22"/>
                    </a:lnTo>
                    <a:lnTo>
                      <a:pt x="13" y="21"/>
                    </a:lnTo>
                    <a:lnTo>
                      <a:pt x="13" y="19"/>
                    </a:lnTo>
                    <a:lnTo>
                      <a:pt x="14" y="19"/>
                    </a:lnTo>
                    <a:lnTo>
                      <a:pt x="14" y="22"/>
                    </a:lnTo>
                    <a:lnTo>
                      <a:pt x="18" y="22"/>
                    </a:lnTo>
                    <a:lnTo>
                      <a:pt x="18" y="8"/>
                    </a:lnTo>
                    <a:lnTo>
                      <a:pt x="18" y="5"/>
                    </a:lnTo>
                    <a:lnTo>
                      <a:pt x="17" y="4"/>
                    </a:lnTo>
                    <a:lnTo>
                      <a:pt x="14" y="1"/>
                    </a:lnTo>
                    <a:lnTo>
                      <a:pt x="9" y="0"/>
                    </a:lnTo>
                    <a:lnTo>
                      <a:pt x="8" y="0"/>
                    </a:lnTo>
                    <a:close/>
                    <a:moveTo>
                      <a:pt x="14" y="13"/>
                    </a:moveTo>
                    <a:lnTo>
                      <a:pt x="14" y="17"/>
                    </a:lnTo>
                    <a:lnTo>
                      <a:pt x="14" y="18"/>
                    </a:lnTo>
                    <a:lnTo>
                      <a:pt x="12" y="18"/>
                    </a:lnTo>
                    <a:lnTo>
                      <a:pt x="11" y="18"/>
                    </a:lnTo>
                    <a:lnTo>
                      <a:pt x="11" y="19"/>
                    </a:lnTo>
                    <a:lnTo>
                      <a:pt x="8" y="19"/>
                    </a:lnTo>
                    <a:lnTo>
                      <a:pt x="7" y="19"/>
                    </a:lnTo>
                    <a:lnTo>
                      <a:pt x="5" y="18"/>
                    </a:lnTo>
                    <a:lnTo>
                      <a:pt x="5" y="17"/>
                    </a:lnTo>
                    <a:lnTo>
                      <a:pt x="4" y="16"/>
                    </a:lnTo>
                    <a:lnTo>
                      <a:pt x="5" y="13"/>
                    </a:lnTo>
                    <a:lnTo>
                      <a:pt x="9" y="12"/>
                    </a:lnTo>
                    <a:lnTo>
                      <a:pt x="12" y="12"/>
                    </a:lnTo>
                    <a:lnTo>
                      <a:pt x="14" y="13"/>
                    </a:lnTo>
                    <a:close/>
                  </a:path>
                </a:pathLst>
              </a:custGeom>
              <a:solidFill>
                <a:schemeClr val="bg1"/>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 name="Freeform 83">
                <a:extLst>
                  <a:ext uri="{FF2B5EF4-FFF2-40B4-BE49-F238E27FC236}">
                    <a16:creationId xmlns:a16="http://schemas.microsoft.com/office/drawing/2014/main" id="{FFD6B83A-2BEE-4BF7-AFCE-E6EE9C188FC2}"/>
                  </a:ext>
                </a:extLst>
              </p:cNvPr>
              <p:cNvSpPr>
                <a:spLocks noEditPoints="1"/>
              </p:cNvSpPr>
              <p:nvPr/>
            </p:nvSpPr>
            <p:spPr bwMode="auto">
              <a:xfrm>
                <a:off x="3532111" y="4242502"/>
                <a:ext cx="4039" cy="6349"/>
              </a:xfrm>
              <a:custGeom>
                <a:avLst/>
                <a:gdLst>
                  <a:gd name="T0" fmla="*/ 18 w 19"/>
                  <a:gd name="T1" fmla="*/ 7 h 32"/>
                  <a:gd name="T2" fmla="*/ 17 w 19"/>
                  <a:gd name="T3" fmla="*/ 3 h 32"/>
                  <a:gd name="T4" fmla="*/ 13 w 19"/>
                  <a:gd name="T5" fmla="*/ 0 h 32"/>
                  <a:gd name="T6" fmla="*/ 9 w 19"/>
                  <a:gd name="T7" fmla="*/ 0 h 32"/>
                  <a:gd name="T8" fmla="*/ 7 w 19"/>
                  <a:gd name="T9" fmla="*/ 0 h 32"/>
                  <a:gd name="T10" fmla="*/ 5 w 19"/>
                  <a:gd name="T11" fmla="*/ 1 h 32"/>
                  <a:gd name="T12" fmla="*/ 4 w 19"/>
                  <a:gd name="T13" fmla="*/ 3 h 32"/>
                  <a:gd name="T14" fmla="*/ 2 w 19"/>
                  <a:gd name="T15" fmla="*/ 0 h 32"/>
                  <a:gd name="T16" fmla="*/ 0 w 19"/>
                  <a:gd name="T17" fmla="*/ 0 h 32"/>
                  <a:gd name="T18" fmla="*/ 0 w 19"/>
                  <a:gd name="T19" fmla="*/ 32 h 32"/>
                  <a:gd name="T20" fmla="*/ 4 w 19"/>
                  <a:gd name="T21" fmla="*/ 32 h 32"/>
                  <a:gd name="T22" fmla="*/ 4 w 19"/>
                  <a:gd name="T23" fmla="*/ 19 h 32"/>
                  <a:gd name="T24" fmla="*/ 6 w 19"/>
                  <a:gd name="T25" fmla="*/ 22 h 32"/>
                  <a:gd name="T26" fmla="*/ 9 w 19"/>
                  <a:gd name="T27" fmla="*/ 22 h 32"/>
                  <a:gd name="T28" fmla="*/ 11 w 19"/>
                  <a:gd name="T29" fmla="*/ 22 h 32"/>
                  <a:gd name="T30" fmla="*/ 14 w 19"/>
                  <a:gd name="T31" fmla="*/ 22 h 32"/>
                  <a:gd name="T32" fmla="*/ 15 w 19"/>
                  <a:gd name="T33" fmla="*/ 21 h 32"/>
                  <a:gd name="T34" fmla="*/ 18 w 19"/>
                  <a:gd name="T35" fmla="*/ 18 h 32"/>
                  <a:gd name="T36" fmla="*/ 18 w 19"/>
                  <a:gd name="T37" fmla="*/ 16 h 32"/>
                  <a:gd name="T38" fmla="*/ 19 w 19"/>
                  <a:gd name="T39" fmla="*/ 12 h 32"/>
                  <a:gd name="T40" fmla="*/ 18 w 19"/>
                  <a:gd name="T41" fmla="*/ 8 h 32"/>
                  <a:gd name="T42" fmla="*/ 18 w 19"/>
                  <a:gd name="T43" fmla="*/ 7 h 32"/>
                  <a:gd name="T44" fmla="*/ 9 w 19"/>
                  <a:gd name="T45" fmla="*/ 3 h 32"/>
                  <a:gd name="T46" fmla="*/ 11 w 19"/>
                  <a:gd name="T47" fmla="*/ 4 h 32"/>
                  <a:gd name="T48" fmla="*/ 14 w 19"/>
                  <a:gd name="T49" fmla="*/ 5 h 32"/>
                  <a:gd name="T50" fmla="*/ 15 w 19"/>
                  <a:gd name="T51" fmla="*/ 8 h 32"/>
                  <a:gd name="T52" fmla="*/ 15 w 19"/>
                  <a:gd name="T53" fmla="*/ 12 h 32"/>
                  <a:gd name="T54" fmla="*/ 15 w 19"/>
                  <a:gd name="T55" fmla="*/ 16 h 32"/>
                  <a:gd name="T56" fmla="*/ 13 w 19"/>
                  <a:gd name="T57" fmla="*/ 18 h 32"/>
                  <a:gd name="T58" fmla="*/ 11 w 19"/>
                  <a:gd name="T59" fmla="*/ 18 h 32"/>
                  <a:gd name="T60" fmla="*/ 11 w 19"/>
                  <a:gd name="T61" fmla="*/ 19 h 32"/>
                  <a:gd name="T62" fmla="*/ 9 w 19"/>
                  <a:gd name="T63" fmla="*/ 19 h 32"/>
                  <a:gd name="T64" fmla="*/ 6 w 19"/>
                  <a:gd name="T65" fmla="*/ 19 h 32"/>
                  <a:gd name="T66" fmla="*/ 4 w 19"/>
                  <a:gd name="T67" fmla="*/ 17 h 32"/>
                  <a:gd name="T68" fmla="*/ 4 w 19"/>
                  <a:gd name="T69" fmla="*/ 5 h 32"/>
                  <a:gd name="T70" fmla="*/ 5 w 19"/>
                  <a:gd name="T71" fmla="*/ 4 h 32"/>
                  <a:gd name="T72" fmla="*/ 5 w 19"/>
                  <a:gd name="T73" fmla="*/ 3 h 32"/>
                  <a:gd name="T74" fmla="*/ 6 w 19"/>
                  <a:gd name="T75" fmla="*/ 3 h 32"/>
                  <a:gd name="T76" fmla="*/ 9 w 19"/>
                  <a:gd name="T77" fmla="*/ 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2">
                    <a:moveTo>
                      <a:pt x="18" y="7"/>
                    </a:moveTo>
                    <a:lnTo>
                      <a:pt x="17" y="3"/>
                    </a:lnTo>
                    <a:lnTo>
                      <a:pt x="13" y="0"/>
                    </a:lnTo>
                    <a:lnTo>
                      <a:pt x="9" y="0"/>
                    </a:lnTo>
                    <a:lnTo>
                      <a:pt x="7" y="0"/>
                    </a:lnTo>
                    <a:lnTo>
                      <a:pt x="5" y="1"/>
                    </a:lnTo>
                    <a:lnTo>
                      <a:pt x="4" y="3"/>
                    </a:lnTo>
                    <a:lnTo>
                      <a:pt x="2" y="0"/>
                    </a:lnTo>
                    <a:lnTo>
                      <a:pt x="0" y="0"/>
                    </a:lnTo>
                    <a:lnTo>
                      <a:pt x="0" y="32"/>
                    </a:lnTo>
                    <a:lnTo>
                      <a:pt x="4" y="32"/>
                    </a:lnTo>
                    <a:lnTo>
                      <a:pt x="4" y="19"/>
                    </a:lnTo>
                    <a:lnTo>
                      <a:pt x="6" y="22"/>
                    </a:lnTo>
                    <a:lnTo>
                      <a:pt x="9" y="22"/>
                    </a:lnTo>
                    <a:lnTo>
                      <a:pt x="11" y="22"/>
                    </a:lnTo>
                    <a:lnTo>
                      <a:pt x="14" y="22"/>
                    </a:lnTo>
                    <a:lnTo>
                      <a:pt x="15" y="21"/>
                    </a:lnTo>
                    <a:lnTo>
                      <a:pt x="18" y="18"/>
                    </a:lnTo>
                    <a:lnTo>
                      <a:pt x="18" y="16"/>
                    </a:lnTo>
                    <a:lnTo>
                      <a:pt x="19" y="12"/>
                    </a:lnTo>
                    <a:lnTo>
                      <a:pt x="18" y="8"/>
                    </a:lnTo>
                    <a:lnTo>
                      <a:pt x="18" y="7"/>
                    </a:lnTo>
                    <a:close/>
                    <a:moveTo>
                      <a:pt x="9" y="3"/>
                    </a:moveTo>
                    <a:lnTo>
                      <a:pt x="11" y="4"/>
                    </a:lnTo>
                    <a:lnTo>
                      <a:pt x="14" y="5"/>
                    </a:lnTo>
                    <a:lnTo>
                      <a:pt x="15" y="8"/>
                    </a:lnTo>
                    <a:lnTo>
                      <a:pt x="15" y="12"/>
                    </a:lnTo>
                    <a:lnTo>
                      <a:pt x="15" y="16"/>
                    </a:lnTo>
                    <a:lnTo>
                      <a:pt x="13" y="18"/>
                    </a:lnTo>
                    <a:lnTo>
                      <a:pt x="11" y="18"/>
                    </a:lnTo>
                    <a:lnTo>
                      <a:pt x="11" y="19"/>
                    </a:lnTo>
                    <a:lnTo>
                      <a:pt x="9" y="19"/>
                    </a:lnTo>
                    <a:lnTo>
                      <a:pt x="6" y="19"/>
                    </a:lnTo>
                    <a:lnTo>
                      <a:pt x="4" y="17"/>
                    </a:lnTo>
                    <a:lnTo>
                      <a:pt x="4" y="5"/>
                    </a:lnTo>
                    <a:lnTo>
                      <a:pt x="5" y="4"/>
                    </a:lnTo>
                    <a:lnTo>
                      <a:pt x="5" y="3"/>
                    </a:lnTo>
                    <a:lnTo>
                      <a:pt x="6" y="3"/>
                    </a:lnTo>
                    <a:lnTo>
                      <a:pt x="9" y="3"/>
                    </a:lnTo>
                    <a:close/>
                  </a:path>
                </a:pathLst>
              </a:custGeom>
              <a:solidFill>
                <a:schemeClr val="bg1"/>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30" name="ZoneTexte 29">
              <a:extLst>
                <a:ext uri="{FF2B5EF4-FFF2-40B4-BE49-F238E27FC236}">
                  <a16:creationId xmlns:a16="http://schemas.microsoft.com/office/drawing/2014/main" id="{96C19850-09C7-4540-88D6-8149EB9F1111}"/>
                </a:ext>
              </a:extLst>
            </p:cNvPr>
            <p:cNvSpPr txBox="1"/>
            <p:nvPr/>
          </p:nvSpPr>
          <p:spPr>
            <a:xfrm>
              <a:off x="12702641" y="2264197"/>
              <a:ext cx="559549" cy="306369"/>
            </a:xfrm>
            <a:prstGeom prst="rect">
              <a:avLst/>
            </a:prstGeom>
            <a:noFill/>
          </p:spPr>
          <p:txBody>
            <a:bodyPr wrap="none" rtlCol="0">
              <a:spAutoFit/>
            </a:bodyPr>
            <a:lstStyle/>
            <a:p>
              <a:r>
                <a:rPr lang="en-GB" sz="900">
                  <a:solidFill>
                    <a:schemeClr val="bg1"/>
                  </a:solidFill>
                  <a:latin typeface="Trebuchet MS" panose="020B0603020202020204" pitchFamily="34" charset="0"/>
                </a:rPr>
                <a:t>6.8%</a:t>
              </a:r>
            </a:p>
          </p:txBody>
        </p:sp>
        <p:sp>
          <p:nvSpPr>
            <p:cNvPr id="31" name="ZoneTexte 30">
              <a:extLst>
                <a:ext uri="{FF2B5EF4-FFF2-40B4-BE49-F238E27FC236}">
                  <a16:creationId xmlns:a16="http://schemas.microsoft.com/office/drawing/2014/main" id="{B84BF017-6243-4405-B51B-B18A953ECDA9}"/>
                </a:ext>
              </a:extLst>
            </p:cNvPr>
            <p:cNvSpPr txBox="1"/>
            <p:nvPr/>
          </p:nvSpPr>
          <p:spPr>
            <a:xfrm>
              <a:off x="12057778" y="2553028"/>
              <a:ext cx="559549" cy="306369"/>
            </a:xfrm>
            <a:prstGeom prst="rect">
              <a:avLst/>
            </a:prstGeom>
            <a:noFill/>
          </p:spPr>
          <p:txBody>
            <a:bodyPr wrap="none" rtlCol="0">
              <a:spAutoFit/>
            </a:bodyPr>
            <a:lstStyle/>
            <a:p>
              <a:r>
                <a:rPr lang="en-GB" sz="900">
                  <a:solidFill>
                    <a:schemeClr val="bg1"/>
                  </a:solidFill>
                  <a:latin typeface="Trebuchet MS" panose="020B0603020202020204" pitchFamily="34" charset="0"/>
                </a:rPr>
                <a:t>7.1%</a:t>
              </a:r>
            </a:p>
          </p:txBody>
        </p:sp>
        <p:sp>
          <p:nvSpPr>
            <p:cNvPr id="32" name="ZoneTexte 31">
              <a:extLst>
                <a:ext uri="{FF2B5EF4-FFF2-40B4-BE49-F238E27FC236}">
                  <a16:creationId xmlns:a16="http://schemas.microsoft.com/office/drawing/2014/main" id="{DA94E698-D739-4395-A890-776BCF3C6113}"/>
                </a:ext>
              </a:extLst>
            </p:cNvPr>
            <p:cNvSpPr txBox="1"/>
            <p:nvPr/>
          </p:nvSpPr>
          <p:spPr>
            <a:xfrm>
              <a:off x="12655223" y="2707102"/>
              <a:ext cx="559549" cy="306369"/>
            </a:xfrm>
            <a:prstGeom prst="rect">
              <a:avLst/>
            </a:prstGeom>
            <a:noFill/>
          </p:spPr>
          <p:txBody>
            <a:bodyPr wrap="none" rtlCol="0">
              <a:spAutoFit/>
            </a:bodyPr>
            <a:lstStyle/>
            <a:p>
              <a:r>
                <a:rPr lang="en-GB" sz="900">
                  <a:solidFill>
                    <a:schemeClr val="bg1"/>
                  </a:solidFill>
                  <a:latin typeface="Trebuchet MS" panose="020B0603020202020204" pitchFamily="34" charset="0"/>
                </a:rPr>
                <a:t>8.4%</a:t>
              </a:r>
            </a:p>
          </p:txBody>
        </p:sp>
        <p:sp>
          <p:nvSpPr>
            <p:cNvPr id="33" name="ZoneTexte 32">
              <a:extLst>
                <a:ext uri="{FF2B5EF4-FFF2-40B4-BE49-F238E27FC236}">
                  <a16:creationId xmlns:a16="http://schemas.microsoft.com/office/drawing/2014/main" id="{0357B74A-28A5-4B51-BBE4-5E83C4BF19A2}"/>
                </a:ext>
              </a:extLst>
            </p:cNvPr>
            <p:cNvSpPr txBox="1"/>
            <p:nvPr/>
          </p:nvSpPr>
          <p:spPr>
            <a:xfrm>
              <a:off x="13451111" y="2685722"/>
              <a:ext cx="559549" cy="306369"/>
            </a:xfrm>
            <a:prstGeom prst="rect">
              <a:avLst/>
            </a:prstGeom>
            <a:noFill/>
          </p:spPr>
          <p:txBody>
            <a:bodyPr wrap="none" rtlCol="0">
              <a:spAutoFit/>
            </a:bodyPr>
            <a:lstStyle/>
            <a:p>
              <a:r>
                <a:rPr lang="en-GB" sz="900">
                  <a:solidFill>
                    <a:schemeClr val="tx2"/>
                  </a:solidFill>
                  <a:latin typeface="Trebuchet MS" panose="020B0603020202020204" pitchFamily="34" charset="0"/>
                </a:rPr>
                <a:t>4.7%</a:t>
              </a:r>
            </a:p>
          </p:txBody>
        </p:sp>
        <p:sp>
          <p:nvSpPr>
            <p:cNvPr id="34" name="ZoneTexte 33">
              <a:extLst>
                <a:ext uri="{FF2B5EF4-FFF2-40B4-BE49-F238E27FC236}">
                  <a16:creationId xmlns:a16="http://schemas.microsoft.com/office/drawing/2014/main" id="{8036142C-7DB2-444C-9096-E2CA27F95128}"/>
                </a:ext>
              </a:extLst>
            </p:cNvPr>
            <p:cNvSpPr txBox="1"/>
            <p:nvPr/>
          </p:nvSpPr>
          <p:spPr>
            <a:xfrm>
              <a:off x="11350175" y="2884039"/>
              <a:ext cx="559549" cy="306369"/>
            </a:xfrm>
            <a:prstGeom prst="rect">
              <a:avLst/>
            </a:prstGeom>
            <a:noFill/>
          </p:spPr>
          <p:txBody>
            <a:bodyPr wrap="none" rtlCol="0">
              <a:spAutoFit/>
            </a:bodyPr>
            <a:lstStyle/>
            <a:p>
              <a:r>
                <a:rPr lang="en-GB" sz="900">
                  <a:solidFill>
                    <a:schemeClr val="tx2"/>
                  </a:solidFill>
                  <a:latin typeface="Trebuchet MS" panose="020B0603020202020204" pitchFamily="34" charset="0"/>
                </a:rPr>
                <a:t>5.5%</a:t>
              </a:r>
            </a:p>
          </p:txBody>
        </p:sp>
        <p:sp>
          <p:nvSpPr>
            <p:cNvPr id="35" name="ZoneTexte 34">
              <a:extLst>
                <a:ext uri="{FF2B5EF4-FFF2-40B4-BE49-F238E27FC236}">
                  <a16:creationId xmlns:a16="http://schemas.microsoft.com/office/drawing/2014/main" id="{75A6ECC9-5F19-46A2-8FD8-8091BE8C46A9}"/>
                </a:ext>
              </a:extLst>
            </p:cNvPr>
            <p:cNvSpPr txBox="1"/>
            <p:nvPr/>
          </p:nvSpPr>
          <p:spPr>
            <a:xfrm>
              <a:off x="11659286" y="3174517"/>
              <a:ext cx="559549" cy="306369"/>
            </a:xfrm>
            <a:prstGeom prst="rect">
              <a:avLst/>
            </a:prstGeom>
            <a:noFill/>
          </p:spPr>
          <p:txBody>
            <a:bodyPr wrap="none" rtlCol="0">
              <a:spAutoFit/>
            </a:bodyPr>
            <a:lstStyle/>
            <a:p>
              <a:r>
                <a:rPr lang="en-GB" sz="900">
                  <a:solidFill>
                    <a:schemeClr val="tx2"/>
                  </a:solidFill>
                  <a:latin typeface="Trebuchet MS" panose="020B0603020202020204" pitchFamily="34" charset="0"/>
                </a:rPr>
                <a:t>4.9%</a:t>
              </a:r>
            </a:p>
          </p:txBody>
        </p:sp>
        <p:sp>
          <p:nvSpPr>
            <p:cNvPr id="36" name="ZoneTexte 35">
              <a:extLst>
                <a:ext uri="{FF2B5EF4-FFF2-40B4-BE49-F238E27FC236}">
                  <a16:creationId xmlns:a16="http://schemas.microsoft.com/office/drawing/2014/main" id="{E7557A86-4993-465D-8E67-26F1B5F733DF}"/>
                </a:ext>
              </a:extLst>
            </p:cNvPr>
            <p:cNvSpPr txBox="1"/>
            <p:nvPr/>
          </p:nvSpPr>
          <p:spPr>
            <a:xfrm>
              <a:off x="12024881" y="3970047"/>
              <a:ext cx="559549" cy="306369"/>
            </a:xfrm>
            <a:prstGeom prst="rect">
              <a:avLst/>
            </a:prstGeom>
            <a:noFill/>
          </p:spPr>
          <p:txBody>
            <a:bodyPr wrap="none" rtlCol="0">
              <a:spAutoFit/>
            </a:bodyPr>
            <a:lstStyle/>
            <a:p>
              <a:r>
                <a:rPr lang="en-GB" sz="900">
                  <a:solidFill>
                    <a:schemeClr val="tx2"/>
                  </a:solidFill>
                  <a:latin typeface="Trebuchet MS" panose="020B0603020202020204" pitchFamily="34" charset="0"/>
                </a:rPr>
                <a:t>4.4%</a:t>
              </a:r>
            </a:p>
          </p:txBody>
        </p:sp>
        <p:sp>
          <p:nvSpPr>
            <p:cNvPr id="37" name="ZoneTexte 36">
              <a:extLst>
                <a:ext uri="{FF2B5EF4-FFF2-40B4-BE49-F238E27FC236}">
                  <a16:creationId xmlns:a16="http://schemas.microsoft.com/office/drawing/2014/main" id="{5C4078C9-844A-4188-A1A2-9D4D171BAF9E}"/>
                </a:ext>
              </a:extLst>
            </p:cNvPr>
            <p:cNvSpPr txBox="1"/>
            <p:nvPr/>
          </p:nvSpPr>
          <p:spPr>
            <a:xfrm>
              <a:off x="12627775" y="4612368"/>
              <a:ext cx="559549" cy="306369"/>
            </a:xfrm>
            <a:prstGeom prst="rect">
              <a:avLst/>
            </a:prstGeom>
            <a:noFill/>
          </p:spPr>
          <p:txBody>
            <a:bodyPr wrap="none" rtlCol="0">
              <a:spAutoFit/>
            </a:bodyPr>
            <a:lstStyle/>
            <a:p>
              <a:r>
                <a:rPr lang="en-GB" sz="900">
                  <a:solidFill>
                    <a:schemeClr val="tx2"/>
                  </a:solidFill>
                  <a:latin typeface="Trebuchet MS" panose="020B0603020202020204" pitchFamily="34" charset="0"/>
                </a:rPr>
                <a:t>4.8%</a:t>
              </a:r>
            </a:p>
          </p:txBody>
        </p:sp>
        <p:sp>
          <p:nvSpPr>
            <p:cNvPr id="38" name="ZoneTexte 37">
              <a:extLst>
                <a:ext uri="{FF2B5EF4-FFF2-40B4-BE49-F238E27FC236}">
                  <a16:creationId xmlns:a16="http://schemas.microsoft.com/office/drawing/2014/main" id="{19D8ED1D-FCCB-4001-A60C-C84578C56780}"/>
                </a:ext>
              </a:extLst>
            </p:cNvPr>
            <p:cNvSpPr txBox="1"/>
            <p:nvPr/>
          </p:nvSpPr>
          <p:spPr>
            <a:xfrm>
              <a:off x="13209448" y="3987358"/>
              <a:ext cx="559549" cy="306369"/>
            </a:xfrm>
            <a:prstGeom prst="rect">
              <a:avLst/>
            </a:prstGeom>
            <a:noFill/>
          </p:spPr>
          <p:txBody>
            <a:bodyPr wrap="none" rtlCol="0">
              <a:spAutoFit/>
            </a:bodyPr>
            <a:lstStyle/>
            <a:p>
              <a:r>
                <a:rPr lang="en-GB" sz="900">
                  <a:solidFill>
                    <a:schemeClr val="tx2"/>
                  </a:solidFill>
                  <a:latin typeface="Trebuchet MS" panose="020B0603020202020204" pitchFamily="34" charset="0"/>
                </a:rPr>
                <a:t>4.8%</a:t>
              </a:r>
            </a:p>
          </p:txBody>
        </p:sp>
        <p:sp>
          <p:nvSpPr>
            <p:cNvPr id="39" name="ZoneTexte 38">
              <a:extLst>
                <a:ext uri="{FF2B5EF4-FFF2-40B4-BE49-F238E27FC236}">
                  <a16:creationId xmlns:a16="http://schemas.microsoft.com/office/drawing/2014/main" id="{ED712118-645F-42F9-B526-2F899D8C93AF}"/>
                </a:ext>
              </a:extLst>
            </p:cNvPr>
            <p:cNvSpPr txBox="1"/>
            <p:nvPr/>
          </p:nvSpPr>
          <p:spPr>
            <a:xfrm>
              <a:off x="13639777" y="4548706"/>
              <a:ext cx="559549" cy="306369"/>
            </a:xfrm>
            <a:prstGeom prst="rect">
              <a:avLst/>
            </a:prstGeom>
            <a:noFill/>
          </p:spPr>
          <p:txBody>
            <a:bodyPr wrap="none" rtlCol="0">
              <a:spAutoFit/>
            </a:bodyPr>
            <a:lstStyle/>
            <a:p>
              <a:r>
                <a:rPr lang="en-GB" sz="900">
                  <a:solidFill>
                    <a:schemeClr val="tx2"/>
                  </a:solidFill>
                  <a:latin typeface="Trebuchet MS" panose="020B0603020202020204" pitchFamily="34" charset="0"/>
                </a:rPr>
                <a:t>4.6%</a:t>
              </a:r>
            </a:p>
          </p:txBody>
        </p:sp>
        <p:sp>
          <p:nvSpPr>
            <p:cNvPr id="40" name="ZoneTexte 39">
              <a:extLst>
                <a:ext uri="{FF2B5EF4-FFF2-40B4-BE49-F238E27FC236}">
                  <a16:creationId xmlns:a16="http://schemas.microsoft.com/office/drawing/2014/main" id="{CF5B4DB8-C09D-4244-A70D-1797F34FA953}"/>
                </a:ext>
              </a:extLst>
            </p:cNvPr>
            <p:cNvSpPr txBox="1"/>
            <p:nvPr/>
          </p:nvSpPr>
          <p:spPr>
            <a:xfrm>
              <a:off x="14467872" y="4746282"/>
              <a:ext cx="421921" cy="306369"/>
            </a:xfrm>
            <a:prstGeom prst="rect">
              <a:avLst/>
            </a:prstGeom>
            <a:noFill/>
          </p:spPr>
          <p:txBody>
            <a:bodyPr wrap="none" rtlCol="0">
              <a:spAutoFit/>
            </a:bodyPr>
            <a:lstStyle/>
            <a:p>
              <a:r>
                <a:rPr lang="en-GB" sz="900">
                  <a:solidFill>
                    <a:srgbClr val="007AA9"/>
                  </a:solidFill>
                  <a:latin typeface="Trebuchet MS" panose="020B0603020202020204" pitchFamily="34" charset="0"/>
                </a:rPr>
                <a:t>0%</a:t>
              </a:r>
            </a:p>
          </p:txBody>
        </p:sp>
        <p:sp>
          <p:nvSpPr>
            <p:cNvPr id="41" name="ZoneTexte 40">
              <a:extLst>
                <a:ext uri="{FF2B5EF4-FFF2-40B4-BE49-F238E27FC236}">
                  <a16:creationId xmlns:a16="http://schemas.microsoft.com/office/drawing/2014/main" id="{2BA25D03-7734-40BA-A9A8-A4243F4C39C4}"/>
                </a:ext>
              </a:extLst>
            </p:cNvPr>
            <p:cNvSpPr txBox="1"/>
            <p:nvPr/>
          </p:nvSpPr>
          <p:spPr>
            <a:xfrm>
              <a:off x="12479597" y="3193299"/>
              <a:ext cx="559549" cy="306369"/>
            </a:xfrm>
            <a:prstGeom prst="rect">
              <a:avLst/>
            </a:prstGeom>
            <a:noFill/>
          </p:spPr>
          <p:txBody>
            <a:bodyPr wrap="none" rtlCol="0">
              <a:spAutoFit/>
            </a:bodyPr>
            <a:lstStyle/>
            <a:p>
              <a:r>
                <a:rPr lang="en-GB" sz="900">
                  <a:solidFill>
                    <a:srgbClr val="007AA9"/>
                  </a:solidFill>
                  <a:latin typeface="Trebuchet MS" panose="020B0603020202020204" pitchFamily="34" charset="0"/>
                </a:rPr>
                <a:t>3.4%</a:t>
              </a:r>
            </a:p>
          </p:txBody>
        </p:sp>
        <p:sp>
          <p:nvSpPr>
            <p:cNvPr id="42" name="ZoneTexte 41">
              <a:extLst>
                <a:ext uri="{FF2B5EF4-FFF2-40B4-BE49-F238E27FC236}">
                  <a16:creationId xmlns:a16="http://schemas.microsoft.com/office/drawing/2014/main" id="{B008E371-AAA6-45B3-97AB-AEA7A6B1C03B}"/>
                </a:ext>
              </a:extLst>
            </p:cNvPr>
            <p:cNvSpPr txBox="1"/>
            <p:nvPr/>
          </p:nvSpPr>
          <p:spPr>
            <a:xfrm>
              <a:off x="13291198" y="3322160"/>
              <a:ext cx="559549" cy="306369"/>
            </a:xfrm>
            <a:prstGeom prst="rect">
              <a:avLst/>
            </a:prstGeom>
            <a:noFill/>
          </p:spPr>
          <p:txBody>
            <a:bodyPr wrap="none" rtlCol="0">
              <a:spAutoFit/>
            </a:bodyPr>
            <a:lstStyle/>
            <a:p>
              <a:r>
                <a:rPr lang="en-GB" sz="900">
                  <a:solidFill>
                    <a:srgbClr val="007AA9"/>
                  </a:solidFill>
                  <a:latin typeface="Trebuchet MS" panose="020B0603020202020204" pitchFamily="34" charset="0"/>
                </a:rPr>
                <a:t>2.9%</a:t>
              </a:r>
            </a:p>
          </p:txBody>
        </p:sp>
      </p:grpSp>
      <p:sp>
        <p:nvSpPr>
          <p:cNvPr id="72" name="Rectangle 71">
            <a:extLst>
              <a:ext uri="{FF2B5EF4-FFF2-40B4-BE49-F238E27FC236}">
                <a16:creationId xmlns:a16="http://schemas.microsoft.com/office/drawing/2014/main" id="{791C3CD1-81B9-4CAF-9784-7C8FA285B71E}"/>
              </a:ext>
            </a:extLst>
          </p:cNvPr>
          <p:cNvSpPr/>
          <p:nvPr/>
        </p:nvSpPr>
        <p:spPr bwMode="auto">
          <a:xfrm>
            <a:off x="338725" y="1559508"/>
            <a:ext cx="4371422" cy="25791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rPr>
              <a:t>SME’s penetration rate regarding DB&amp;A solutions </a:t>
            </a:r>
          </a:p>
        </p:txBody>
      </p:sp>
      <p:sp>
        <p:nvSpPr>
          <p:cNvPr id="73" name="Rectangle 72">
            <a:extLst>
              <a:ext uri="{FF2B5EF4-FFF2-40B4-BE49-F238E27FC236}">
                <a16:creationId xmlns:a16="http://schemas.microsoft.com/office/drawing/2014/main" id="{3CEF53FF-5CF5-4210-A323-FBEA44F8D5B9}"/>
              </a:ext>
            </a:extLst>
          </p:cNvPr>
          <p:cNvSpPr/>
          <p:nvPr/>
        </p:nvSpPr>
        <p:spPr bwMode="auto">
          <a:xfrm>
            <a:off x="388522" y="4734201"/>
            <a:ext cx="224015" cy="147151"/>
          </a:xfrm>
          <a:prstGeom prst="rect">
            <a:avLst/>
          </a:prstGeom>
          <a:solidFill>
            <a:srgbClr val="53B26B"/>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4" name="Rectangle 73">
            <a:extLst>
              <a:ext uri="{FF2B5EF4-FFF2-40B4-BE49-F238E27FC236}">
                <a16:creationId xmlns:a16="http://schemas.microsoft.com/office/drawing/2014/main" id="{5E8D12D3-7235-4FEA-BAF9-E45A6851492D}"/>
              </a:ext>
            </a:extLst>
          </p:cNvPr>
          <p:cNvSpPr/>
          <p:nvPr/>
        </p:nvSpPr>
        <p:spPr bwMode="auto">
          <a:xfrm>
            <a:off x="388522" y="4948189"/>
            <a:ext cx="222399" cy="147151"/>
          </a:xfrm>
          <a:prstGeom prst="rect">
            <a:avLst/>
          </a:prstGeom>
          <a:solidFill>
            <a:srgbClr val="D2EBD9"/>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5" name="Rectangle 74">
            <a:extLst>
              <a:ext uri="{FF2B5EF4-FFF2-40B4-BE49-F238E27FC236}">
                <a16:creationId xmlns:a16="http://schemas.microsoft.com/office/drawing/2014/main" id="{A5B4E975-533B-4AB1-9B68-BBF7641DE415}"/>
              </a:ext>
            </a:extLst>
          </p:cNvPr>
          <p:cNvSpPr/>
          <p:nvPr/>
        </p:nvSpPr>
        <p:spPr bwMode="auto">
          <a:xfrm>
            <a:off x="387105" y="5165760"/>
            <a:ext cx="224015" cy="147151"/>
          </a:xfrm>
          <a:prstGeom prst="rect">
            <a:avLst/>
          </a:prstGeom>
          <a:solidFill>
            <a:srgbClr val="ADD9FD"/>
          </a:solidFill>
          <a:ln w="9525" cap="flat" cmpd="sng" algn="ctr">
            <a:solidFill>
              <a:srgbClr val="007AA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6" name="TextBox 30">
            <a:extLst>
              <a:ext uri="{FF2B5EF4-FFF2-40B4-BE49-F238E27FC236}">
                <a16:creationId xmlns:a16="http://schemas.microsoft.com/office/drawing/2014/main" id="{FD814BBF-3C89-4A66-8539-AD2B96B88B20}"/>
              </a:ext>
            </a:extLst>
          </p:cNvPr>
          <p:cNvSpPr txBox="1"/>
          <p:nvPr/>
        </p:nvSpPr>
        <p:spPr>
          <a:xfrm>
            <a:off x="679918" y="4694692"/>
            <a:ext cx="744470" cy="215444"/>
          </a:xfrm>
          <a:prstGeom prst="rect">
            <a:avLst/>
          </a:prstGeom>
          <a:noFill/>
        </p:spPr>
        <p:txBody>
          <a:bodyPr wrap="square" lIns="0" rIns="0" rtlCol="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800" b="0" u="none" strike="noStrike" kern="1200" cap="none" spc="0" normalizeH="0" baseline="0" noProof="0">
                <a:ln>
                  <a:noFill/>
                </a:ln>
                <a:solidFill>
                  <a:schemeClr val="tx2"/>
                </a:solidFill>
                <a:effectLst/>
                <a:uLnTx/>
                <a:uFillTx/>
                <a:latin typeface="Trebuchet MS" panose="020B0603020202020204" pitchFamily="34" charset="0"/>
              </a:rPr>
              <a:t>X &gt;= 6.5%</a:t>
            </a:r>
          </a:p>
        </p:txBody>
      </p:sp>
      <p:sp>
        <p:nvSpPr>
          <p:cNvPr id="77" name="TextBox 30">
            <a:extLst>
              <a:ext uri="{FF2B5EF4-FFF2-40B4-BE49-F238E27FC236}">
                <a16:creationId xmlns:a16="http://schemas.microsoft.com/office/drawing/2014/main" id="{D1124E76-A39E-4797-9946-74BA20922E73}"/>
              </a:ext>
            </a:extLst>
          </p:cNvPr>
          <p:cNvSpPr txBox="1"/>
          <p:nvPr/>
        </p:nvSpPr>
        <p:spPr>
          <a:xfrm>
            <a:off x="682771" y="4908128"/>
            <a:ext cx="744470" cy="215444"/>
          </a:xfrm>
          <a:prstGeom prst="rect">
            <a:avLst/>
          </a:prstGeom>
          <a:noFill/>
        </p:spPr>
        <p:txBody>
          <a:bodyPr wrap="square" lIns="0" rIns="0" rtlCol="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800" b="0" u="none" strike="noStrike" kern="1200" cap="none" spc="0" normalizeH="0" baseline="0" noProof="0">
                <a:ln>
                  <a:noFill/>
                </a:ln>
                <a:solidFill>
                  <a:schemeClr val="tx2"/>
                </a:solidFill>
                <a:effectLst/>
                <a:uLnTx/>
                <a:uFillTx/>
                <a:latin typeface="Trebuchet MS" panose="020B0603020202020204" pitchFamily="34" charset="0"/>
              </a:rPr>
              <a:t>6.5% &gt; X &gt;= 4%</a:t>
            </a:r>
          </a:p>
        </p:txBody>
      </p:sp>
      <p:sp>
        <p:nvSpPr>
          <p:cNvPr id="78" name="TextBox 30">
            <a:extLst>
              <a:ext uri="{FF2B5EF4-FFF2-40B4-BE49-F238E27FC236}">
                <a16:creationId xmlns:a16="http://schemas.microsoft.com/office/drawing/2014/main" id="{1B32F6D8-A808-4F9F-B36A-787398BC37A3}"/>
              </a:ext>
            </a:extLst>
          </p:cNvPr>
          <p:cNvSpPr txBox="1"/>
          <p:nvPr/>
        </p:nvSpPr>
        <p:spPr>
          <a:xfrm>
            <a:off x="679918" y="5121564"/>
            <a:ext cx="744470" cy="215444"/>
          </a:xfrm>
          <a:prstGeom prst="rect">
            <a:avLst/>
          </a:prstGeom>
          <a:noFill/>
        </p:spPr>
        <p:txBody>
          <a:bodyPr wrap="square" lIns="0" rIns="0" rtlCol="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800" b="0" u="none" strike="noStrike" kern="1200" cap="none" spc="0" normalizeH="0" baseline="0" noProof="0">
                <a:ln>
                  <a:noFill/>
                </a:ln>
                <a:solidFill>
                  <a:schemeClr val="tx2"/>
                </a:solidFill>
                <a:effectLst/>
                <a:uLnTx/>
                <a:uFillTx/>
                <a:latin typeface="Trebuchet MS" panose="020B0603020202020204" pitchFamily="34" charset="0"/>
              </a:rPr>
              <a:t>4% &gt; X</a:t>
            </a:r>
          </a:p>
        </p:txBody>
      </p:sp>
      <p:sp>
        <p:nvSpPr>
          <p:cNvPr id="79" name="TextBox 30">
            <a:extLst>
              <a:ext uri="{FF2B5EF4-FFF2-40B4-BE49-F238E27FC236}">
                <a16:creationId xmlns:a16="http://schemas.microsoft.com/office/drawing/2014/main" id="{C5E3EEFC-B707-464F-A6A2-1B35EF12EB8A}"/>
              </a:ext>
            </a:extLst>
          </p:cNvPr>
          <p:cNvSpPr txBox="1"/>
          <p:nvPr/>
        </p:nvSpPr>
        <p:spPr>
          <a:xfrm>
            <a:off x="443147" y="4452961"/>
            <a:ext cx="1666716" cy="215444"/>
          </a:xfrm>
          <a:prstGeom prst="rect">
            <a:avLst/>
          </a:prstGeom>
          <a:noFill/>
        </p:spPr>
        <p:txBody>
          <a:bodyPr wrap="square" lIns="0" rIns="0" rtlCol="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800" b="0" u="none" strike="noStrike" kern="1200" cap="none" spc="0" normalizeH="0" baseline="0" noProof="0">
                <a:ln>
                  <a:noFill/>
                </a:ln>
                <a:solidFill>
                  <a:schemeClr val="tx2"/>
                </a:solidFill>
                <a:effectLst/>
                <a:uLnTx/>
                <a:uFillTx/>
                <a:latin typeface="Trebuchet MS" panose="020B0603020202020204" pitchFamily="34" charset="0"/>
              </a:rPr>
              <a:t>SMEs’ penetration rate</a:t>
            </a:r>
          </a:p>
        </p:txBody>
      </p:sp>
      <p:sp>
        <p:nvSpPr>
          <p:cNvPr id="80" name="Rectangle 79">
            <a:extLst>
              <a:ext uri="{FF2B5EF4-FFF2-40B4-BE49-F238E27FC236}">
                <a16:creationId xmlns:a16="http://schemas.microsoft.com/office/drawing/2014/main" id="{B38F950F-5523-4EB7-8EFB-091FB47F6A42}"/>
              </a:ext>
            </a:extLst>
          </p:cNvPr>
          <p:cNvSpPr/>
          <p:nvPr/>
        </p:nvSpPr>
        <p:spPr bwMode="auto">
          <a:xfrm>
            <a:off x="308644" y="5457682"/>
            <a:ext cx="3169930" cy="884283"/>
          </a:xfrm>
          <a:prstGeom prst="rect">
            <a:avLst/>
          </a:prstGeom>
          <a:noFill/>
          <a:ln w="9525" cap="flat" cmpd="sng" algn="ctr">
            <a:noFill/>
            <a:prstDash val="solid"/>
            <a:round/>
            <a:headEnd type="none" w="med" len="med"/>
            <a:tailEnd type="none" w="med" len="med"/>
          </a:ln>
          <a:effectLst/>
        </p:spPr>
        <p:txBody>
          <a:bodyPr vert="horz" wrap="square" lIns="108000" tIns="45720" rIns="72000" bIns="45720" numCol="1" rtlCol="0" anchor="ctr" anchorCtr="0" compatLnSpc="1">
            <a:prstTxWarp prst="textNoShape">
              <a:avLst/>
            </a:prstTxWarp>
          </a:bodyPr>
          <a:lstStyle/>
          <a:p>
            <a:pPr lvl="0">
              <a:defRPr/>
            </a:pPr>
            <a:r>
              <a:rPr lang="en-GB" sz="1000">
                <a:latin typeface="Trebuchet MS" panose="020B0603020202020204" pitchFamily="34" charset="0"/>
              </a:rPr>
              <a:t>70% of French </a:t>
            </a:r>
            <a:r>
              <a:rPr lang="en-GB" sz="1000" err="1">
                <a:latin typeface="Trebuchet MS" panose="020B0603020202020204" pitchFamily="34" charset="0"/>
              </a:rPr>
              <a:t>Altares</a:t>
            </a:r>
            <a:r>
              <a:rPr lang="en-GB" sz="1000">
                <a:latin typeface="Trebuchet MS" panose="020B0603020202020204" pitchFamily="34" charset="0"/>
              </a:rPr>
              <a:t>' customers </a:t>
            </a:r>
            <a:r>
              <a:rPr lang="en-GB" sz="1000">
                <a:solidFill>
                  <a:schemeClr val="tx2"/>
                </a:solidFill>
                <a:latin typeface="Trebuchet MS" panose="020B0603020202020204" pitchFamily="34" charset="0"/>
              </a:rPr>
              <a:t>are in Paris </a:t>
            </a:r>
            <a:r>
              <a:rPr lang="en-GB" sz="1000">
                <a:latin typeface="Trebuchet MS" panose="020B0603020202020204" pitchFamily="34" charset="0"/>
              </a:rPr>
              <a:t>despite a </a:t>
            </a:r>
            <a:r>
              <a:rPr lang="en-GB" sz="1000">
                <a:solidFill>
                  <a:schemeClr val="tx2"/>
                </a:solidFill>
                <a:latin typeface="Trebuchet MS" panose="020B0603020202020204" pitchFamily="34" charset="0"/>
              </a:rPr>
              <a:t>low penetration rate in the rest of France</a:t>
            </a:r>
            <a:endParaRPr lang="en-GB" sz="1000">
              <a:solidFill>
                <a:schemeClr val="tx2"/>
              </a:solidFill>
              <a:highlight>
                <a:srgbClr val="FFFF00"/>
              </a:highlight>
              <a:latin typeface="Trebuchet MS" panose="020B0603020202020204" pitchFamily="34" charset="0"/>
            </a:endParaRPr>
          </a:p>
          <a:p>
            <a:pPr marL="171450" lvl="0" indent="-171450">
              <a:buFont typeface="Arial" panose="020B0604020202020204" pitchFamily="34" charset="0"/>
              <a:buChar char="•"/>
              <a:defRPr/>
            </a:pPr>
            <a:endParaRPr kumimoji="0" lang="en-GB" sz="1000" b="0" u="none" strike="noStrike" kern="1200" cap="none" spc="0" normalizeH="0" baseline="0" noProof="0">
              <a:ln>
                <a:noFill/>
              </a:ln>
              <a:effectLst/>
              <a:uLnTx/>
              <a:uFillTx/>
              <a:latin typeface="Trebuchet MS" panose="020B0603020202020204" pitchFamily="34" charset="0"/>
            </a:endParaRPr>
          </a:p>
        </p:txBody>
      </p:sp>
      <p:sp>
        <p:nvSpPr>
          <p:cNvPr id="100" name="Rectangle 99">
            <a:extLst>
              <a:ext uri="{FF2B5EF4-FFF2-40B4-BE49-F238E27FC236}">
                <a16:creationId xmlns:a16="http://schemas.microsoft.com/office/drawing/2014/main" id="{B3BB24B2-1BCA-40A6-ABAF-7A5F7B3F7D65}"/>
              </a:ext>
            </a:extLst>
          </p:cNvPr>
          <p:cNvSpPr/>
          <p:nvPr/>
        </p:nvSpPr>
        <p:spPr bwMode="auto">
          <a:xfrm>
            <a:off x="4062467" y="1485879"/>
            <a:ext cx="2888766" cy="411938"/>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rPr>
              <a:t>Ex</a:t>
            </a:r>
            <a:r>
              <a:rPr lang="en-GB" sz="1000" b="1" i="1">
                <a:latin typeface="Trebuchet MS" panose="020B0603020202020204" pitchFamily="34" charset="0"/>
              </a:rPr>
              <a:t>ample of DPB</a:t>
            </a:r>
            <a:r>
              <a:rPr lang="en-GB" sz="1000" b="1" i="1" baseline="30000">
                <a:latin typeface="Trebuchet MS" panose="020B0603020202020204" pitchFamily="34" charset="0"/>
              </a:rPr>
              <a:t>1</a:t>
            </a:r>
            <a:r>
              <a:rPr lang="en-GB" sz="1000" b="1" i="1">
                <a:latin typeface="Trebuchet MS" panose="020B0603020202020204" pitchFamily="34" charset="0"/>
              </a:rPr>
              <a:t> channel</a:t>
            </a:r>
            <a:endParaRPr kumimoji="0" lang="en-GB" sz="1000" b="1" i="1" u="none" strike="noStrike" kern="1200" cap="none" spc="0" normalizeH="0" baseline="0" noProof="0">
              <a:ln>
                <a:noFill/>
              </a:ln>
              <a:effectLst/>
              <a:uLnTx/>
              <a:uFillTx/>
              <a:latin typeface="Trebuchet MS" panose="020B0603020202020204" pitchFamily="34" charset="0"/>
            </a:endParaRPr>
          </a:p>
        </p:txBody>
      </p:sp>
      <p:pic>
        <p:nvPicPr>
          <p:cNvPr id="157698" name="Picture 2" descr="Crédit industriel et commercial — Wikipédia">
            <a:extLst>
              <a:ext uri="{FF2B5EF4-FFF2-40B4-BE49-F238E27FC236}">
                <a16:creationId xmlns:a16="http://schemas.microsoft.com/office/drawing/2014/main" id="{DE17BA6E-69EB-4B3E-8F09-8EDBE7FCCD3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959540" y="2031220"/>
            <a:ext cx="777535" cy="351885"/>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98">
            <a:extLst>
              <a:ext uri="{FF2B5EF4-FFF2-40B4-BE49-F238E27FC236}">
                <a16:creationId xmlns:a16="http://schemas.microsoft.com/office/drawing/2014/main" id="{CA92E4A0-1B7C-4135-8BBF-800B5C6DE1E2}"/>
              </a:ext>
            </a:extLst>
          </p:cNvPr>
          <p:cNvPicPr>
            <a:picLocks noChangeAspect="1"/>
          </p:cNvPicPr>
          <p:nvPr/>
        </p:nvPicPr>
        <p:blipFill>
          <a:blip r:embed="rId14"/>
          <a:stretch>
            <a:fillRect/>
          </a:stretch>
        </p:blipFill>
        <p:spPr>
          <a:xfrm>
            <a:off x="4221997" y="2895709"/>
            <a:ext cx="2252621" cy="1022648"/>
          </a:xfrm>
          <a:prstGeom prst="rect">
            <a:avLst/>
          </a:prstGeom>
          <a:effectLst>
            <a:outerShdw blurRad="63500" sx="102000" sy="102000" algn="ctr" rotWithShape="0">
              <a:prstClr val="black">
                <a:alpha val="40000"/>
              </a:prstClr>
            </a:outerShdw>
          </a:effectLst>
        </p:spPr>
      </p:pic>
      <p:sp>
        <p:nvSpPr>
          <p:cNvPr id="104" name="TextBox 103">
            <a:extLst>
              <a:ext uri="{FF2B5EF4-FFF2-40B4-BE49-F238E27FC236}">
                <a16:creationId xmlns:a16="http://schemas.microsoft.com/office/drawing/2014/main" id="{5249DF09-DA80-4D06-87AC-ADB7E05E637F}"/>
              </a:ext>
            </a:extLst>
          </p:cNvPr>
          <p:cNvSpPr txBox="1"/>
          <p:nvPr/>
        </p:nvSpPr>
        <p:spPr>
          <a:xfrm>
            <a:off x="4349485" y="3974446"/>
            <a:ext cx="1997644" cy="369332"/>
          </a:xfrm>
          <a:prstGeom prst="rect">
            <a:avLst/>
          </a:prstGeom>
          <a:noFill/>
        </p:spPr>
        <p:txBody>
          <a:bodyPr wrap="square">
            <a:spAutoFit/>
          </a:bodyPr>
          <a:lstStyle/>
          <a:p>
            <a:pPr algn="ctr"/>
            <a:r>
              <a:rPr kumimoji="0" lang="en-GB" sz="900" b="0" i="1" u="none" strike="noStrike" cap="none" normalizeH="0" baseline="0" dirty="0">
                <a:ln>
                  <a:noFill/>
                </a:ln>
                <a:solidFill>
                  <a:schemeClr val="tx1"/>
                </a:solidFill>
                <a:effectLst/>
                <a:latin typeface="Trebuchet MS" panose="020B0603020202020204" pitchFamily="34" charset="0"/>
              </a:rPr>
              <a:t>CIC </a:t>
            </a:r>
            <a:r>
              <a:rPr lang="en-GB" sz="900" i="1" dirty="0">
                <a:latin typeface="Trebuchet MS" panose="020B0603020202020204" pitchFamily="34" charset="0"/>
              </a:rPr>
              <a:t>promotes </a:t>
            </a:r>
            <a:r>
              <a:rPr lang="en-GB" sz="900" i="1" dirty="0" err="1">
                <a:latin typeface="Trebuchet MS" panose="020B0603020202020204" pitchFamily="34" charset="0"/>
              </a:rPr>
              <a:t>Altares</a:t>
            </a:r>
            <a:r>
              <a:rPr lang="en-GB" sz="900" i="1" dirty="0">
                <a:latin typeface="Trebuchet MS" panose="020B0603020202020204" pitchFamily="34" charset="0"/>
              </a:rPr>
              <a:t>’ offerings through a 100% digital platform</a:t>
            </a:r>
          </a:p>
        </p:txBody>
      </p:sp>
      <p:grpSp>
        <p:nvGrpSpPr>
          <p:cNvPr id="107" name="Group 106">
            <a:extLst>
              <a:ext uri="{FF2B5EF4-FFF2-40B4-BE49-F238E27FC236}">
                <a16:creationId xmlns:a16="http://schemas.microsoft.com/office/drawing/2014/main" id="{B9E9DFD3-3886-4539-AF64-A781031F9CA7}"/>
              </a:ext>
            </a:extLst>
          </p:cNvPr>
          <p:cNvGrpSpPr/>
          <p:nvPr/>
        </p:nvGrpSpPr>
        <p:grpSpPr>
          <a:xfrm>
            <a:off x="4415781" y="2421025"/>
            <a:ext cx="1839404" cy="430887"/>
            <a:chOff x="4250444" y="2556828"/>
            <a:chExt cx="1839404" cy="430887"/>
          </a:xfrm>
        </p:grpSpPr>
        <p:sp>
          <p:nvSpPr>
            <p:cNvPr id="103" name="TextBox 102">
              <a:extLst>
                <a:ext uri="{FF2B5EF4-FFF2-40B4-BE49-F238E27FC236}">
                  <a16:creationId xmlns:a16="http://schemas.microsoft.com/office/drawing/2014/main" id="{C8CB2C83-1122-4CDF-8297-06CDDDBDB92A}"/>
                </a:ext>
              </a:extLst>
            </p:cNvPr>
            <p:cNvSpPr txBox="1"/>
            <p:nvPr/>
          </p:nvSpPr>
          <p:spPr>
            <a:xfrm>
              <a:off x="4250444" y="2556828"/>
              <a:ext cx="768159" cy="430887"/>
            </a:xfrm>
            <a:prstGeom prst="rect">
              <a:avLst/>
            </a:prstGeom>
            <a:noFill/>
          </p:spPr>
          <p:txBody>
            <a:bodyPr wrap="none" rtlCol="0">
              <a:spAutoFit/>
            </a:bodyPr>
            <a:lstStyle/>
            <a:p>
              <a:pPr algn="ctr"/>
              <a:r>
                <a:rPr lang="en-GB" sz="1200">
                  <a:solidFill>
                    <a:schemeClr val="tx2"/>
                  </a:solidFill>
                  <a:latin typeface="+mj-lt"/>
                </a:rPr>
                <a:t>1000</a:t>
              </a:r>
              <a:r>
                <a:rPr lang="en-GB" sz="1200">
                  <a:latin typeface="+mj-lt"/>
                </a:rPr>
                <a:t> </a:t>
              </a:r>
            </a:p>
            <a:p>
              <a:pPr algn="ctr"/>
              <a:r>
                <a:rPr lang="en-GB" sz="1000">
                  <a:latin typeface="+mj-lt"/>
                </a:rPr>
                <a:t>customers</a:t>
              </a:r>
            </a:p>
          </p:txBody>
        </p:sp>
        <p:sp>
          <p:nvSpPr>
            <p:cNvPr id="106" name="TextBox 105">
              <a:extLst>
                <a:ext uri="{FF2B5EF4-FFF2-40B4-BE49-F238E27FC236}">
                  <a16:creationId xmlns:a16="http://schemas.microsoft.com/office/drawing/2014/main" id="{5BC541B6-7A65-4287-B7CC-CEF207455FB1}"/>
                </a:ext>
              </a:extLst>
            </p:cNvPr>
            <p:cNvSpPr txBox="1"/>
            <p:nvPr/>
          </p:nvSpPr>
          <p:spPr>
            <a:xfrm>
              <a:off x="5440311" y="2556828"/>
              <a:ext cx="649537" cy="430887"/>
            </a:xfrm>
            <a:prstGeom prst="rect">
              <a:avLst/>
            </a:prstGeom>
            <a:noFill/>
          </p:spPr>
          <p:txBody>
            <a:bodyPr wrap="none" rtlCol="0">
              <a:spAutoFit/>
            </a:bodyPr>
            <a:lstStyle/>
            <a:p>
              <a:pPr algn="ctr"/>
              <a:r>
                <a:rPr lang="en-GB" sz="1200" dirty="0">
                  <a:solidFill>
                    <a:schemeClr val="tx2"/>
                  </a:solidFill>
                  <a:latin typeface="+mj-lt"/>
                </a:rPr>
                <a:t>1€m</a:t>
              </a:r>
            </a:p>
            <a:p>
              <a:pPr algn="ctr"/>
              <a:r>
                <a:rPr lang="en-GB" sz="1000" dirty="0">
                  <a:latin typeface="+mj-lt"/>
                </a:rPr>
                <a:t>revenue</a:t>
              </a:r>
            </a:p>
          </p:txBody>
        </p:sp>
      </p:grpSp>
      <p:pic>
        <p:nvPicPr>
          <p:cNvPr id="157700" name="Picture 4" descr="CREDIT DU NORD - Marque - Cours - Action - Bourse">
            <a:extLst>
              <a:ext uri="{FF2B5EF4-FFF2-40B4-BE49-F238E27FC236}">
                <a16:creationId xmlns:a16="http://schemas.microsoft.com/office/drawing/2014/main" id="{BA4ADB1C-1A96-4986-8531-6206EBB29F97}"/>
              </a:ext>
            </a:extLst>
          </p:cNvPr>
          <p:cNvPicPr>
            <a:picLocks noChangeAspect="1" noChangeArrowheads="1"/>
          </p:cNvPicPr>
          <p:nvPr/>
        </p:nvPicPr>
        <p:blipFill>
          <a:blip r:embed="rId15">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4880775" y="4802698"/>
            <a:ext cx="1057929" cy="789920"/>
          </a:xfrm>
          <a:prstGeom prst="rect">
            <a:avLst/>
          </a:prstGeom>
          <a:noFill/>
          <a:extLst>
            <a:ext uri="{909E8E84-426E-40DD-AFC4-6F175D3DCCD1}">
              <a14:hiddenFill xmlns:a14="http://schemas.microsoft.com/office/drawing/2010/main">
                <a:solidFill>
                  <a:srgbClr val="FFFFFF"/>
                </a:solidFill>
              </a14:hiddenFill>
            </a:ext>
          </a:extLst>
        </p:spPr>
      </p:pic>
      <p:pic>
        <p:nvPicPr>
          <p:cNvPr id="112" name="Graphic 111" descr="Target">
            <a:extLst>
              <a:ext uri="{FF2B5EF4-FFF2-40B4-BE49-F238E27FC236}">
                <a16:creationId xmlns:a16="http://schemas.microsoft.com/office/drawing/2014/main" id="{62E71237-FE98-4377-A9BC-105A91831D6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512890" y="4682241"/>
            <a:ext cx="507943" cy="507943"/>
          </a:xfrm>
          <a:prstGeom prst="rect">
            <a:avLst/>
          </a:prstGeom>
        </p:spPr>
      </p:pic>
      <p:sp>
        <p:nvSpPr>
          <p:cNvPr id="116" name="TextBox 115">
            <a:extLst>
              <a:ext uri="{FF2B5EF4-FFF2-40B4-BE49-F238E27FC236}">
                <a16:creationId xmlns:a16="http://schemas.microsoft.com/office/drawing/2014/main" id="{918B8A2E-41EF-4FE3-B5A3-48B845C8533B}"/>
              </a:ext>
            </a:extLst>
          </p:cNvPr>
          <p:cNvSpPr txBox="1"/>
          <p:nvPr/>
        </p:nvSpPr>
        <p:spPr>
          <a:xfrm>
            <a:off x="4501719" y="5699201"/>
            <a:ext cx="1816040" cy="507831"/>
          </a:xfrm>
          <a:prstGeom prst="rect">
            <a:avLst/>
          </a:prstGeom>
          <a:noFill/>
        </p:spPr>
        <p:txBody>
          <a:bodyPr wrap="square">
            <a:spAutoFit/>
          </a:bodyPr>
          <a:lstStyle/>
          <a:p>
            <a:pPr algn="ctr"/>
            <a:r>
              <a:rPr kumimoji="0" lang="en-GB" sz="900" b="0" i="1" u="none" strike="noStrike" cap="none" normalizeH="0" baseline="0" err="1">
                <a:ln>
                  <a:noFill/>
                </a:ln>
                <a:solidFill>
                  <a:schemeClr val="tx1"/>
                </a:solidFill>
                <a:effectLst/>
                <a:latin typeface="Trebuchet MS" panose="020B0603020202020204" pitchFamily="34" charset="0"/>
              </a:rPr>
              <a:t>Altares</a:t>
            </a:r>
            <a:r>
              <a:rPr kumimoji="0" lang="en-GB" sz="900" b="0" i="1" u="none" strike="noStrike" cap="none" normalizeH="0" baseline="0">
                <a:ln>
                  <a:noFill/>
                </a:ln>
                <a:solidFill>
                  <a:schemeClr val="tx1"/>
                </a:solidFill>
                <a:effectLst/>
                <a:latin typeface="Trebuchet MS" panose="020B0603020202020204" pitchFamily="34" charset="0"/>
              </a:rPr>
              <a:t> is in negotiations to develop a partnership with Crédit du Nord</a:t>
            </a:r>
            <a:endParaRPr lang="en-GB" sz="900" i="1">
              <a:latin typeface="Trebuchet MS" panose="020B0603020202020204" pitchFamily="34" charset="0"/>
            </a:endParaRPr>
          </a:p>
        </p:txBody>
      </p:sp>
      <p:pic>
        <p:nvPicPr>
          <p:cNvPr id="115" name="Graphic 114" descr="Badge">
            <a:extLst>
              <a:ext uri="{FF2B5EF4-FFF2-40B4-BE49-F238E27FC236}">
                <a16:creationId xmlns:a16="http://schemas.microsoft.com/office/drawing/2014/main" id="{7BC7AFE6-EB20-4C1F-BD35-AC7583A1E5A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043685" y="4528702"/>
            <a:ext cx="387795" cy="387795"/>
          </a:xfrm>
          <a:prstGeom prst="rect">
            <a:avLst/>
          </a:prstGeom>
        </p:spPr>
      </p:pic>
      <p:pic>
        <p:nvPicPr>
          <p:cNvPr id="118" name="Graphic 117" descr="Badge 1">
            <a:extLst>
              <a:ext uri="{FF2B5EF4-FFF2-40B4-BE49-F238E27FC236}">
                <a16:creationId xmlns:a16="http://schemas.microsoft.com/office/drawing/2014/main" id="{4D6E1427-C38D-4442-9F8C-540F591AF084}"/>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049297" y="1892335"/>
            <a:ext cx="387795" cy="387795"/>
          </a:xfrm>
          <a:prstGeom prst="rect">
            <a:avLst/>
          </a:prstGeom>
        </p:spPr>
      </p:pic>
    </p:spTree>
    <p:extLst>
      <p:ext uri="{BB962C8B-B14F-4D97-AF65-F5344CB8AC3E}">
        <p14:creationId xmlns:p14="http://schemas.microsoft.com/office/powerpoint/2010/main" val="1230945878"/>
      </p:ext>
    </p:extLst>
  </p:cSld>
  <p:clrMapOvr>
    <a:masterClrMapping/>
  </p:clrMapOvr>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7ECA7587-5D4D-4C77-BC7A-FBCB26E9B679}"/>
              </a:ext>
            </a:extLst>
          </p:cNvPr>
          <p:cNvGraphicFramePr>
            <a:graphicFrameLocks noChangeAspect="1"/>
          </p:cNvGraphicFramePr>
          <p:nvPr>
            <p:custDataLst>
              <p:tags r:id="rId1"/>
            </p:custDataLst>
            <p:extLst>
              <p:ext uri="{D42A27DB-BD31-4B8C-83A1-F6EECF244321}">
                <p14:modId xmlns:p14="http://schemas.microsoft.com/office/powerpoint/2010/main" val="2272749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4" name="Objet 13" hidden="1">
                        <a:extLst>
                          <a:ext uri="{FF2B5EF4-FFF2-40B4-BE49-F238E27FC236}">
                            <a16:creationId xmlns:a16="http://schemas.microsoft.com/office/drawing/2014/main" id="{7ECA7587-5D4D-4C77-BC7A-FBCB26E9B6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D7D998A4-C0A2-4344-97DF-ADA1A0B203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1D825224-5426-45FB-95E4-C5F4C82DBF4A}"/>
              </a:ext>
            </a:extLst>
          </p:cNvPr>
          <p:cNvSpPr>
            <a:spLocks noGrp="1"/>
          </p:cNvSpPr>
          <p:nvPr>
            <p:ph type="title"/>
          </p:nvPr>
        </p:nvSpPr>
        <p:spPr>
          <a:xfrm>
            <a:off x="639022" y="147600"/>
            <a:ext cx="7835332" cy="684000"/>
          </a:xfrm>
        </p:spPr>
        <p:txBody>
          <a:bodyPr/>
          <a:lstStyle/>
          <a:p>
            <a:r>
              <a:rPr lang="en-GB" sz="1600" err="1">
                <a:latin typeface="Trebuchet MS" pitchFamily="34" charset="0"/>
              </a:rPr>
              <a:t>Altares</a:t>
            </a:r>
            <a:r>
              <a:rPr lang="en-GB" sz="1600">
                <a:latin typeface="Trebuchet MS" pitchFamily="34" charset="0"/>
              </a:rPr>
              <a:t> has signed in 2020 a major </a:t>
            </a:r>
            <a:r>
              <a:rPr lang="en-GB" sz="1600">
                <a:solidFill>
                  <a:schemeClr val="tx2"/>
                </a:solidFill>
                <a:latin typeface="Trebuchet MS" pitchFamily="34" charset="0"/>
              </a:rPr>
              <a:t>4-year framework contract </a:t>
            </a:r>
            <a:r>
              <a:rPr lang="en-GB" sz="1600">
                <a:latin typeface="Trebuchet MS" pitchFamily="34" charset="0"/>
              </a:rPr>
              <a:t>with the </a:t>
            </a:r>
            <a:r>
              <a:rPr lang="en-GB" sz="1600">
                <a:solidFill>
                  <a:schemeClr val="tx2"/>
                </a:solidFill>
                <a:latin typeface="Trebuchet MS" pitchFamily="34" charset="0"/>
              </a:rPr>
              <a:t>European Commission </a:t>
            </a:r>
            <a:r>
              <a:rPr lang="en-GB" sz="1600">
                <a:latin typeface="Trebuchet MS" pitchFamily="34" charset="0"/>
              </a:rPr>
              <a:t>with high </a:t>
            </a:r>
            <a:r>
              <a:rPr lang="en-GB" sz="1600">
                <a:solidFill>
                  <a:schemeClr val="tx2"/>
                </a:solidFill>
                <a:latin typeface="Trebuchet MS" pitchFamily="34" charset="0"/>
              </a:rPr>
              <a:t>potential in the short and long terms</a:t>
            </a:r>
          </a:p>
        </p:txBody>
      </p:sp>
      <p:sp>
        <p:nvSpPr>
          <p:cNvPr id="3" name="Espace réservé du texte 2">
            <a:extLst>
              <a:ext uri="{FF2B5EF4-FFF2-40B4-BE49-F238E27FC236}">
                <a16:creationId xmlns:a16="http://schemas.microsoft.com/office/drawing/2014/main" id="{E5010DA3-233A-4C0B-9142-F7481F6191F9}"/>
              </a:ext>
            </a:extLst>
          </p:cNvPr>
          <p:cNvSpPr>
            <a:spLocks noGrp="1"/>
          </p:cNvSpPr>
          <p:nvPr>
            <p:ph type="body" sz="quarter" idx="10"/>
          </p:nvPr>
        </p:nvSpPr>
        <p:spPr/>
        <p:txBody>
          <a:bodyPr/>
          <a:lstStyle/>
          <a:p>
            <a:r>
              <a:rPr lang="en-GB"/>
              <a:t>Sources: eleven research &amp; analysis, company data, interviews with management</a:t>
            </a:r>
          </a:p>
        </p:txBody>
      </p:sp>
      <p:grpSp>
        <p:nvGrpSpPr>
          <p:cNvPr id="15" name="Groupe 14">
            <a:extLst>
              <a:ext uri="{FF2B5EF4-FFF2-40B4-BE49-F238E27FC236}">
                <a16:creationId xmlns:a16="http://schemas.microsoft.com/office/drawing/2014/main" id="{C88EAA25-C61C-4E24-AB02-2694B4B3F4B9}"/>
              </a:ext>
            </a:extLst>
          </p:cNvPr>
          <p:cNvGrpSpPr/>
          <p:nvPr/>
        </p:nvGrpSpPr>
        <p:grpSpPr>
          <a:xfrm>
            <a:off x="362696" y="193602"/>
            <a:ext cx="222565" cy="276999"/>
            <a:chOff x="3409503" y="1194238"/>
            <a:chExt cx="269305" cy="368686"/>
          </a:xfrm>
        </p:grpSpPr>
        <p:sp>
          <p:nvSpPr>
            <p:cNvPr id="16" name="Ellipse 15">
              <a:extLst>
                <a:ext uri="{FF2B5EF4-FFF2-40B4-BE49-F238E27FC236}">
                  <a16:creationId xmlns:a16="http://schemas.microsoft.com/office/drawing/2014/main" id="{C559AF43-BD4F-4D4D-B32D-CC291C49FEA2}"/>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7" name="ZoneTexte 16">
              <a:extLst>
                <a:ext uri="{FF2B5EF4-FFF2-40B4-BE49-F238E27FC236}">
                  <a16:creationId xmlns:a16="http://schemas.microsoft.com/office/drawing/2014/main" id="{85D65150-60A3-4C47-88CD-107E3DDF8567}"/>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3</a:t>
              </a:r>
            </a:p>
          </p:txBody>
        </p:sp>
      </p:grpSp>
      <p:sp>
        <p:nvSpPr>
          <p:cNvPr id="18" name="Rectangle 17">
            <a:extLst>
              <a:ext uri="{FF2B5EF4-FFF2-40B4-BE49-F238E27FC236}">
                <a16:creationId xmlns:a16="http://schemas.microsoft.com/office/drawing/2014/main" id="{FF2A3E71-F790-43F9-895F-DA4FB88A640C}"/>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A</a:t>
            </a:r>
          </a:p>
        </p:txBody>
      </p:sp>
      <p:sp>
        <p:nvSpPr>
          <p:cNvPr id="19" name="Rectangle 18">
            <a:extLst>
              <a:ext uri="{FF2B5EF4-FFF2-40B4-BE49-F238E27FC236}">
                <a16:creationId xmlns:a16="http://schemas.microsoft.com/office/drawing/2014/main" id="{02B34D9D-CAB9-4FC1-90D5-197DB49855F0}"/>
              </a:ext>
            </a:extLst>
          </p:cNvPr>
          <p:cNvSpPr/>
          <p:nvPr/>
        </p:nvSpPr>
        <p:spPr bwMode="auto">
          <a:xfrm>
            <a:off x="141716" y="1265382"/>
            <a:ext cx="6708722" cy="51622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 name="Rectangle 20">
            <a:extLst>
              <a:ext uri="{FF2B5EF4-FFF2-40B4-BE49-F238E27FC236}">
                <a16:creationId xmlns:a16="http://schemas.microsoft.com/office/drawing/2014/main" id="{F639CB13-89E0-4076-8B02-146C16F07D20}"/>
              </a:ext>
            </a:extLst>
          </p:cNvPr>
          <p:cNvSpPr/>
          <p:nvPr/>
        </p:nvSpPr>
        <p:spPr bwMode="auto">
          <a:xfrm>
            <a:off x="7043090" y="1232547"/>
            <a:ext cx="2750607" cy="516224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nSpc>
                <a:spcPct val="107000"/>
              </a:lnSpc>
              <a:spcAft>
                <a:spcPts val="0"/>
              </a:spcAft>
            </a:pPr>
            <a:r>
              <a:rPr lang="en-GB" sz="1000" dirty="0">
                <a:effectLst/>
                <a:latin typeface="Trebuchet MS" panose="020B0603020202020204" pitchFamily="34" charset="0"/>
                <a:ea typeface="Calibri" panose="020F0502020204030204" pitchFamily="34" charset="0"/>
                <a:cs typeface="Arial" panose="020B0604020202020204" pitchFamily="34" charset="0"/>
              </a:rPr>
              <a:t>Revenue are expected from:</a:t>
            </a:r>
          </a:p>
          <a:p>
            <a:pPr marL="342900" lvl="0" indent="-342900">
              <a:lnSpc>
                <a:spcPct val="107000"/>
              </a:lnSpc>
              <a:spcAft>
                <a:spcPts val="0"/>
              </a:spcAft>
              <a:buFont typeface="+mj-lt"/>
              <a:buAutoNum type="arabicPeriod"/>
            </a:pPr>
            <a:endParaRPr lang="en-GB" sz="1000" dirty="0">
              <a:effectLst/>
              <a:latin typeface="Trebuchet MS" panose="020B0603020202020204" pitchFamily="34" charset="0"/>
              <a:ea typeface="Calibri" panose="020F0502020204030204" pitchFamily="34" charset="0"/>
              <a:cs typeface="Arial" panose="020B0604020202020204" pitchFamily="34" charset="0"/>
            </a:endParaRPr>
          </a:p>
          <a:p>
            <a:pPr marL="342900" lvl="0" indent="-342900" algn="just">
              <a:lnSpc>
                <a:spcPct val="107000"/>
              </a:lnSpc>
              <a:spcAft>
                <a:spcPts val="800"/>
              </a:spcAft>
              <a:buClr>
                <a:schemeClr val="tx1"/>
              </a:buClr>
              <a:buFont typeface="+mj-lt"/>
              <a:buAutoNum type="arabicPeriod"/>
            </a:pP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The winning of a major contract at the European Commission </a:t>
            </a:r>
            <a:r>
              <a:rPr lang="en-GB" sz="1000" dirty="0">
                <a:effectLst/>
                <a:latin typeface="Trebuchet MS" panose="020B0603020202020204" pitchFamily="34" charset="0"/>
                <a:ea typeface="Calibri" panose="020F0502020204030204" pitchFamily="34" charset="0"/>
                <a:cs typeface="Arial" panose="020B0604020202020204" pitchFamily="34" charset="0"/>
              </a:rPr>
              <a:t>against BVD with potential of about </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14.2m sales </a:t>
            </a:r>
            <a:r>
              <a:rPr lang="en-GB" sz="1000" dirty="0">
                <a:effectLst/>
                <a:latin typeface="Trebuchet MS" panose="020B0603020202020204" pitchFamily="34" charset="0"/>
                <a:ea typeface="Calibri" panose="020F0502020204030204" pitchFamily="34" charset="0"/>
                <a:cs typeface="Arial" panose="020B0604020202020204" pitchFamily="34" charset="0"/>
              </a:rPr>
              <a:t>in the 4 years to come (see graph), which allow to </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secure a large part of the Benelux growth in Credit risk &amp; compliance</a:t>
            </a:r>
          </a:p>
          <a:p>
            <a:pPr marL="342900" lvl="0" indent="-342900" algn="just">
              <a:lnSpc>
                <a:spcPct val="107000"/>
              </a:lnSpc>
              <a:spcAft>
                <a:spcPts val="800"/>
              </a:spcAft>
              <a:buClr>
                <a:schemeClr val="tx1"/>
              </a:buClr>
              <a:buFont typeface="+mj-lt"/>
              <a:buAutoNum type="arabicPeriod"/>
            </a:pPr>
            <a:r>
              <a:rPr lang="en-GB" sz="1000" dirty="0">
                <a:effectLst/>
                <a:latin typeface="Trebuchet MS" panose="020B0603020202020204" pitchFamily="34" charset="0"/>
                <a:ea typeface="Calibri" panose="020F0502020204030204" pitchFamily="34" charset="0"/>
                <a:cs typeface="Arial" panose="020B0604020202020204" pitchFamily="34" charset="0"/>
              </a:rPr>
              <a:t>The new </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product developed for the European Commission based on Global Financial </a:t>
            </a:r>
            <a:r>
              <a:rPr lang="en-GB" sz="1000" dirty="0">
                <a:effectLst/>
                <a:latin typeface="Trebuchet MS" panose="020B0603020202020204" pitchFamily="34" charset="0"/>
                <a:ea typeface="Calibri" panose="020F0502020204030204" pitchFamily="34" charset="0"/>
                <a:cs typeface="Arial" panose="020B0604020202020204" pitchFamily="34" charset="0"/>
              </a:rPr>
              <a:t>(200k€ of development cost engaged already paid by new sales in France) that can be commercialized for the whole market </a:t>
            </a:r>
          </a:p>
          <a:p>
            <a:pPr marL="800100" lvl="1" indent="-342900" algn="just">
              <a:lnSpc>
                <a:spcPct val="107000"/>
              </a:lnSpc>
              <a:spcAft>
                <a:spcPts val="800"/>
              </a:spcAft>
              <a:buClr>
                <a:schemeClr val="tx1"/>
              </a:buClr>
              <a:buFont typeface="Wingdings" panose="05000000000000000000" pitchFamily="2" charset="2"/>
              <a:buChar char="Ø"/>
            </a:pPr>
            <a:r>
              <a:rPr lang="en-GB" sz="1000" dirty="0">
                <a:latin typeface="Trebuchet MS" panose="020B0603020202020204" pitchFamily="34" charset="0"/>
                <a:ea typeface="Calibri" panose="020F0502020204030204" pitchFamily="34" charset="0"/>
                <a:sym typeface="Wingdings" panose="05000000000000000000" pitchFamily="2" charset="2"/>
              </a:rPr>
              <a:t>This product is a premium product </a:t>
            </a:r>
            <a:r>
              <a:rPr lang="en-GB" sz="1000" dirty="0">
                <a:solidFill>
                  <a:schemeClr val="tx2"/>
                </a:solidFill>
                <a:latin typeface="Trebuchet MS" panose="020B0603020202020204" pitchFamily="34" charset="0"/>
                <a:ea typeface="Calibri" panose="020F0502020204030204" pitchFamily="34" charset="0"/>
                <a:sym typeface="Wingdings" panose="05000000000000000000" pitchFamily="2" charset="2"/>
              </a:rPr>
              <a:t>targeting high-end clients</a:t>
            </a:r>
            <a:r>
              <a:rPr lang="en-GB" sz="1000" dirty="0">
                <a:latin typeface="Trebuchet MS" panose="020B0603020202020204" pitchFamily="34" charset="0"/>
                <a:ea typeface="Calibri" panose="020F0502020204030204" pitchFamily="34" charset="0"/>
                <a:sym typeface="Wingdings" panose="05000000000000000000" pitchFamily="2" charset="2"/>
              </a:rPr>
              <a:t>, combining </a:t>
            </a:r>
            <a:r>
              <a:rPr lang="en-GB" sz="1000" dirty="0">
                <a:effectLst/>
                <a:latin typeface="Trebuchet MS" panose="020B0603020202020204" pitchFamily="34" charset="0"/>
                <a:ea typeface="Calibri" panose="020F0502020204030204" pitchFamily="34" charset="0"/>
                <a:cs typeface="Arial" panose="020B0604020202020204" pitchFamily="34" charset="0"/>
              </a:rPr>
              <a:t>several D&amp;B’s products (Global Financials, </a:t>
            </a:r>
            <a:r>
              <a:rPr lang="en-GB" sz="1000" dirty="0" err="1">
                <a:effectLst/>
                <a:latin typeface="Trebuchet MS" panose="020B0603020202020204" pitchFamily="34" charset="0"/>
                <a:ea typeface="Calibri" panose="020F0502020204030204" pitchFamily="34" charset="0"/>
                <a:cs typeface="Arial" panose="020B0604020202020204" pitchFamily="34" charset="0"/>
              </a:rPr>
              <a:t>indueD</a:t>
            </a:r>
            <a:r>
              <a:rPr lang="en-GB" sz="1000" dirty="0">
                <a:effectLst/>
                <a:latin typeface="Trebuchet MS" panose="020B0603020202020204" pitchFamily="34" charset="0"/>
                <a:ea typeface="Calibri" panose="020F0502020204030204" pitchFamily="34" charset="0"/>
                <a:cs typeface="Arial" panose="020B0604020202020204" pitchFamily="34" charset="0"/>
              </a:rPr>
              <a:t> and a search engine) and supported by data science innovations developed by </a:t>
            </a:r>
            <a:r>
              <a:rPr lang="en-GB" sz="1000" dirty="0" err="1">
                <a:effectLst/>
                <a:latin typeface="Trebuchet MS" panose="020B0603020202020204" pitchFamily="34" charset="0"/>
                <a:ea typeface="Calibri" panose="020F0502020204030204" pitchFamily="34" charset="0"/>
                <a:cs typeface="Arial" panose="020B0604020202020204" pitchFamily="34" charset="0"/>
              </a:rPr>
              <a:t>Altares</a:t>
            </a:r>
            <a:r>
              <a:rPr lang="en-GB" sz="1000" dirty="0">
                <a:effectLst/>
                <a:latin typeface="Trebuchet MS" panose="020B0603020202020204" pitchFamily="34" charset="0"/>
                <a:ea typeface="Calibri" panose="020F0502020204030204" pitchFamily="34" charset="0"/>
                <a:cs typeface="Arial" panose="020B0604020202020204" pitchFamily="34" charset="0"/>
              </a:rPr>
              <a:t> Benelux teams</a:t>
            </a:r>
          </a:p>
        </p:txBody>
      </p:sp>
      <p:cxnSp>
        <p:nvCxnSpPr>
          <p:cNvPr id="22" name="Connecteur droit 4">
            <a:extLst>
              <a:ext uri="{FF2B5EF4-FFF2-40B4-BE49-F238E27FC236}">
                <a16:creationId xmlns:a16="http://schemas.microsoft.com/office/drawing/2014/main" id="{925D240D-441E-4F67-86A3-9D03E56AB034}"/>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3" name="TextBox 30">
            <a:extLst>
              <a:ext uri="{FF2B5EF4-FFF2-40B4-BE49-F238E27FC236}">
                <a16:creationId xmlns:a16="http://schemas.microsoft.com/office/drawing/2014/main" id="{D037B4D8-E38E-4A63-A9F9-F205C8EB8855}"/>
              </a:ext>
            </a:extLst>
          </p:cNvPr>
          <p:cNvSpPr txBox="1"/>
          <p:nvPr/>
        </p:nvSpPr>
        <p:spPr>
          <a:xfrm>
            <a:off x="2641561" y="940203"/>
            <a:ext cx="4622878" cy="246221"/>
          </a:xfrm>
          <a:prstGeom prst="rect">
            <a:avLst/>
          </a:prstGeom>
          <a:solidFill>
            <a:schemeClr val="bg1"/>
          </a:solidFill>
        </p:spPr>
        <p:txBody>
          <a:bodyPr wrap="square" lIns="0" rIns="0" rtlCol="0">
            <a:spAutoFit/>
          </a:bodyPr>
          <a:lstStyle/>
          <a:p>
            <a:pPr algn="ctr">
              <a:defRPr/>
            </a:pPr>
            <a:r>
              <a:rPr kumimoji="0" lang="en-GB" sz="1000" u="none" strike="noStrike" kern="1200" cap="none" spc="0" normalizeH="0" baseline="0" noProof="0">
                <a:ln>
                  <a:noFill/>
                </a:ln>
                <a:effectLst/>
                <a:uLnTx/>
                <a:uFillTx/>
                <a:latin typeface="Trebuchet MS" panose="020B0603020202020204" pitchFamily="34" charset="0"/>
              </a:rPr>
              <a:t>High potential of the EU contract and of the new developed product</a:t>
            </a:r>
          </a:p>
        </p:txBody>
      </p:sp>
      <p:sp>
        <p:nvSpPr>
          <p:cNvPr id="25" name="Rectangle 24">
            <a:extLst>
              <a:ext uri="{FF2B5EF4-FFF2-40B4-BE49-F238E27FC236}">
                <a16:creationId xmlns:a16="http://schemas.microsoft.com/office/drawing/2014/main" id="{E26FA33F-F3AE-4A65-95BC-96B0BF1092AD}"/>
              </a:ext>
            </a:extLst>
          </p:cNvPr>
          <p:cNvSpPr/>
          <p:nvPr/>
        </p:nvSpPr>
        <p:spPr bwMode="auto">
          <a:xfrm>
            <a:off x="273000" y="1371227"/>
            <a:ext cx="3373200"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rPr>
              <a:t>European Commission: a 4-year framework contract with a €13m booking estimation</a:t>
            </a:r>
          </a:p>
        </p:txBody>
      </p:sp>
      <p:grpSp>
        <p:nvGrpSpPr>
          <p:cNvPr id="40" name="Groupe 39">
            <a:extLst>
              <a:ext uri="{FF2B5EF4-FFF2-40B4-BE49-F238E27FC236}">
                <a16:creationId xmlns:a16="http://schemas.microsoft.com/office/drawing/2014/main" id="{80DCDB32-03D1-47C1-A1AC-5468A5F60FF2}"/>
              </a:ext>
            </a:extLst>
          </p:cNvPr>
          <p:cNvGrpSpPr/>
          <p:nvPr/>
        </p:nvGrpSpPr>
        <p:grpSpPr>
          <a:xfrm>
            <a:off x="8448150" y="-11528"/>
            <a:ext cx="1435548" cy="588143"/>
            <a:chOff x="8448150" y="-11528"/>
            <a:chExt cx="1435548" cy="588143"/>
          </a:xfrm>
        </p:grpSpPr>
        <p:sp>
          <p:nvSpPr>
            <p:cNvPr id="41" name="Rectangle : coins arrondis 199">
              <a:extLst>
                <a:ext uri="{FF2B5EF4-FFF2-40B4-BE49-F238E27FC236}">
                  <a16:creationId xmlns:a16="http://schemas.microsoft.com/office/drawing/2014/main" id="{57FAD347-7765-4AC9-AAFB-71F4E269516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2" name="Rectangle : coins arrondis 200">
              <a:extLst>
                <a:ext uri="{FF2B5EF4-FFF2-40B4-BE49-F238E27FC236}">
                  <a16:creationId xmlns:a16="http://schemas.microsoft.com/office/drawing/2014/main" id="{5F629B99-01EE-46E7-8762-68B039E51D99}"/>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3" name="Rectangle : coins arrondis 201">
              <a:extLst>
                <a:ext uri="{FF2B5EF4-FFF2-40B4-BE49-F238E27FC236}">
                  <a16:creationId xmlns:a16="http://schemas.microsoft.com/office/drawing/2014/main" id="{9765D66E-D23C-4481-AEBA-6839A65505B8}"/>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4" name="ZoneTexte 18">
              <a:extLst>
                <a:ext uri="{FF2B5EF4-FFF2-40B4-BE49-F238E27FC236}">
                  <a16:creationId xmlns:a16="http://schemas.microsoft.com/office/drawing/2014/main" id="{9D5C9C2E-8965-4D28-8000-7B0F61B23A9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45" name="Graphique 128" descr="Jauge">
              <a:extLst>
                <a:ext uri="{FF2B5EF4-FFF2-40B4-BE49-F238E27FC236}">
                  <a16:creationId xmlns:a16="http://schemas.microsoft.com/office/drawing/2014/main" id="{6FD2717A-21C9-43E4-BB47-5B5B23DA0A7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46" name="Graphique 90" descr="Poignée de main">
              <a:extLst>
                <a:ext uri="{FF2B5EF4-FFF2-40B4-BE49-F238E27FC236}">
                  <a16:creationId xmlns:a16="http://schemas.microsoft.com/office/drawing/2014/main" id="{5FB7D681-934B-422C-9D8D-85C4A9F03CF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47" name="Graphique 74" descr="Mégaphone">
              <a:extLst>
                <a:ext uri="{FF2B5EF4-FFF2-40B4-BE49-F238E27FC236}">
                  <a16:creationId xmlns:a16="http://schemas.microsoft.com/office/drawing/2014/main" id="{3E9780D2-3186-466B-A1DB-C6C53CAB39D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48" name="Picture 2" descr="5 ft x 3 ft 150 x 90 cm-DRAPEAU BELGE Belgique 100% Polyester ...">
              <a:extLst>
                <a:ext uri="{FF2B5EF4-FFF2-40B4-BE49-F238E27FC236}">
                  <a16:creationId xmlns:a16="http://schemas.microsoft.com/office/drawing/2014/main" id="{30F9A4EB-B624-4B99-9716-188CCE592834}"/>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9" name="Picture 2 - 1" descr="Drapeau des Pays-Bas — Wikipédia">
              <a:extLst>
                <a:ext uri="{FF2B5EF4-FFF2-40B4-BE49-F238E27FC236}">
                  <a16:creationId xmlns:a16="http://schemas.microsoft.com/office/drawing/2014/main" id="{95095BDE-CF13-4B47-ABA2-85581DB2262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0" name="Picture 2 - 2" descr="Drapeau du Luxembourg">
              <a:extLst>
                <a:ext uri="{FF2B5EF4-FFF2-40B4-BE49-F238E27FC236}">
                  <a16:creationId xmlns:a16="http://schemas.microsoft.com/office/drawing/2014/main" id="{E3883594-4950-4077-A797-029E1570837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1" name="ZoneTexte 50">
              <a:extLst>
                <a:ext uri="{FF2B5EF4-FFF2-40B4-BE49-F238E27FC236}">
                  <a16:creationId xmlns:a16="http://schemas.microsoft.com/office/drawing/2014/main" id="{C53A25D0-CAE9-40B7-A557-D9640482982A}"/>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pic>
        <p:nvPicPr>
          <p:cNvPr id="52" name="Picture 2">
            <a:extLst>
              <a:ext uri="{FF2B5EF4-FFF2-40B4-BE49-F238E27FC236}">
                <a16:creationId xmlns:a16="http://schemas.microsoft.com/office/drawing/2014/main" id="{82344D5A-7041-48B2-AA08-D20FBF04E7C2}"/>
              </a:ext>
            </a:extLst>
          </p:cNvPr>
          <p:cNvPicPr>
            <a:picLocks noChangeAspect="1" noChangeArrowheads="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429536" y="1366358"/>
            <a:ext cx="1364901" cy="95037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0" name="Graphique 59">
            <a:extLst>
              <a:ext uri="{FF2B5EF4-FFF2-40B4-BE49-F238E27FC236}">
                <a16:creationId xmlns:a16="http://schemas.microsoft.com/office/drawing/2014/main" id="{49099423-F1B0-4675-B67E-588FE4F9ACEA}"/>
              </a:ext>
            </a:extLst>
          </p:cNvPr>
          <p:cNvGraphicFramePr/>
          <p:nvPr>
            <p:extLst>
              <p:ext uri="{D42A27DB-BD31-4B8C-83A1-F6EECF244321}">
                <p14:modId xmlns:p14="http://schemas.microsoft.com/office/powerpoint/2010/main" val="2971807798"/>
              </p:ext>
            </p:extLst>
          </p:nvPr>
        </p:nvGraphicFramePr>
        <p:xfrm>
          <a:off x="388154" y="2589321"/>
          <a:ext cx="6095773" cy="3109515"/>
        </p:xfrm>
        <a:graphic>
          <a:graphicData uri="http://schemas.openxmlformats.org/drawingml/2006/chart">
            <c:chart xmlns:c="http://schemas.openxmlformats.org/drawingml/2006/chart" xmlns:r="http://schemas.openxmlformats.org/officeDocument/2006/relationships" r:id="rId16"/>
          </a:graphicData>
        </a:graphic>
      </p:graphicFrame>
      <p:sp>
        <p:nvSpPr>
          <p:cNvPr id="61" name="Rectangle 60">
            <a:extLst>
              <a:ext uri="{FF2B5EF4-FFF2-40B4-BE49-F238E27FC236}">
                <a16:creationId xmlns:a16="http://schemas.microsoft.com/office/drawing/2014/main" id="{E0328125-A5B4-47B2-82A9-CDF6C2312BF8}"/>
              </a:ext>
            </a:extLst>
          </p:cNvPr>
          <p:cNvSpPr/>
          <p:nvPr/>
        </p:nvSpPr>
        <p:spPr bwMode="auto">
          <a:xfrm>
            <a:off x="272999" y="1882887"/>
            <a:ext cx="4986755" cy="521197"/>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a:t>In July 2020, Altares was awarded a 4-year framework contract by the EC whereby Altares becomes the </a:t>
            </a:r>
            <a:r>
              <a:rPr lang="en-GB" sz="1000" i="1"/>
              <a:t>de facto </a:t>
            </a:r>
            <a:r>
              <a:rPr lang="en-GB" sz="1000"/>
              <a:t>provider of data solutions for financial, trade credit &amp; identity information, compliance as well as other use cases</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62" name="Accolade fermante 61">
            <a:extLst>
              <a:ext uri="{FF2B5EF4-FFF2-40B4-BE49-F238E27FC236}">
                <a16:creationId xmlns:a16="http://schemas.microsoft.com/office/drawing/2014/main" id="{B341CA65-C063-4919-9EC6-41030EBEDFB6}"/>
              </a:ext>
            </a:extLst>
          </p:cNvPr>
          <p:cNvSpPr/>
          <p:nvPr/>
        </p:nvSpPr>
        <p:spPr bwMode="auto">
          <a:xfrm rot="5400000">
            <a:off x="3371943" y="2805818"/>
            <a:ext cx="128187" cy="6095771"/>
          </a:xfrm>
          <a:prstGeom prst="rightBrace">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a:p>
        </p:txBody>
      </p:sp>
      <p:sp>
        <p:nvSpPr>
          <p:cNvPr id="63" name="Rectangle 62">
            <a:extLst>
              <a:ext uri="{FF2B5EF4-FFF2-40B4-BE49-F238E27FC236}">
                <a16:creationId xmlns:a16="http://schemas.microsoft.com/office/drawing/2014/main" id="{B02E129F-2FAE-4578-85CA-E7936F93F306}"/>
              </a:ext>
            </a:extLst>
          </p:cNvPr>
          <p:cNvSpPr/>
          <p:nvPr/>
        </p:nvSpPr>
        <p:spPr bwMode="auto">
          <a:xfrm>
            <a:off x="2894986" y="6070199"/>
            <a:ext cx="1054399" cy="228292"/>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b="1">
                <a:solidFill>
                  <a:schemeClr val="tx2"/>
                </a:solidFill>
              </a:rPr>
              <a:t>€13m</a:t>
            </a:r>
            <a:endParaRPr kumimoji="0" lang="en-GB" b="1" i="1" u="none" strike="noStrike" kern="1200" cap="none" spc="0" normalizeH="0" baseline="0" noProof="0">
              <a:ln>
                <a:noFill/>
              </a:ln>
              <a:solidFill>
                <a:schemeClr val="tx2"/>
              </a:solidFill>
              <a:effectLst/>
              <a:uLnTx/>
              <a:uFillTx/>
              <a:latin typeface="Trebuchet MS" panose="020B0603020202020204" pitchFamily="34" charset="0"/>
            </a:endParaRPr>
          </a:p>
        </p:txBody>
      </p:sp>
      <p:sp>
        <p:nvSpPr>
          <p:cNvPr id="64" name="Rectangle 63">
            <a:extLst>
              <a:ext uri="{FF2B5EF4-FFF2-40B4-BE49-F238E27FC236}">
                <a16:creationId xmlns:a16="http://schemas.microsoft.com/office/drawing/2014/main" id="{612E8BA6-9007-42F9-A6D9-61863B78288F}"/>
              </a:ext>
            </a:extLst>
          </p:cNvPr>
          <p:cNvSpPr/>
          <p:nvPr/>
        </p:nvSpPr>
        <p:spPr bwMode="auto">
          <a:xfrm>
            <a:off x="4753783" y="6071856"/>
            <a:ext cx="2096655" cy="34487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i="1">
                <a:solidFill>
                  <a:schemeClr val="accent1"/>
                </a:solidFill>
              </a:rPr>
              <a:t>See supra page 95 for more information on the contract </a:t>
            </a:r>
            <a:endParaRPr kumimoji="0" lang="en-GB" sz="1000" b="1" i="1" u="none" strike="noStrike" kern="1200" cap="none" spc="0" normalizeH="0" baseline="0" noProof="0">
              <a:ln>
                <a:noFill/>
              </a:ln>
              <a:solidFill>
                <a:schemeClr val="accent1"/>
              </a:solidFill>
              <a:effectLst/>
              <a:uLnTx/>
              <a:uFillTx/>
              <a:latin typeface="Trebuchet MS" panose="020B0603020202020204" pitchFamily="34" charset="0"/>
            </a:endParaRPr>
          </a:p>
        </p:txBody>
      </p:sp>
    </p:spTree>
    <p:extLst>
      <p:ext uri="{BB962C8B-B14F-4D97-AF65-F5344CB8AC3E}">
        <p14:creationId xmlns:p14="http://schemas.microsoft.com/office/powerpoint/2010/main" val="4019796020"/>
      </p:ext>
    </p:extLst>
  </p:cSld>
  <p:clrMapOvr>
    <a:masterClrMapping/>
  </p:clrMapOvr>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7ECA7587-5D4D-4C77-BC7A-FBCB26E9B679}"/>
              </a:ext>
            </a:extLst>
          </p:cNvPr>
          <p:cNvGraphicFramePr>
            <a:graphicFrameLocks noChangeAspect="1"/>
          </p:cNvGraphicFramePr>
          <p:nvPr>
            <p:custDataLst>
              <p:tags r:id="rId1"/>
            </p:custDataLst>
            <p:extLst>
              <p:ext uri="{D42A27DB-BD31-4B8C-83A1-F6EECF244321}">
                <p14:modId xmlns:p14="http://schemas.microsoft.com/office/powerpoint/2010/main" val="3078177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4" name="Objet 13" hidden="1">
                        <a:extLst>
                          <a:ext uri="{FF2B5EF4-FFF2-40B4-BE49-F238E27FC236}">
                            <a16:creationId xmlns:a16="http://schemas.microsoft.com/office/drawing/2014/main" id="{7ECA7587-5D4D-4C77-BC7A-FBCB26E9B6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D7D998A4-C0A2-4344-97DF-ADA1A0B203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cs typeface="+mn-cs"/>
              <a:sym typeface="Trebuchet MS" panose="020B0603020202020204" pitchFamily="34" charset="0"/>
            </a:endParaRPr>
          </a:p>
        </p:txBody>
      </p:sp>
      <p:sp>
        <p:nvSpPr>
          <p:cNvPr id="2" name="Titre 1">
            <a:extLst>
              <a:ext uri="{FF2B5EF4-FFF2-40B4-BE49-F238E27FC236}">
                <a16:creationId xmlns:a16="http://schemas.microsoft.com/office/drawing/2014/main" id="{1D825224-5426-45FB-95E4-C5F4C82DBF4A}"/>
              </a:ext>
            </a:extLst>
          </p:cNvPr>
          <p:cNvSpPr>
            <a:spLocks noGrp="1"/>
          </p:cNvSpPr>
          <p:nvPr>
            <p:ph type="title"/>
          </p:nvPr>
        </p:nvSpPr>
        <p:spPr>
          <a:xfrm>
            <a:off x="645524" y="147600"/>
            <a:ext cx="7828830" cy="684000"/>
          </a:xfr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1"/>
            <a:r>
              <a:rPr lang="en-GB" sz="1600" b="0">
                <a:solidFill>
                  <a:schemeClr val="tx1"/>
                </a:solidFill>
              </a:rPr>
              <a:t>The deployment of a range of </a:t>
            </a:r>
            <a:r>
              <a:rPr lang="en-GB" sz="1600" b="0">
                <a:solidFill>
                  <a:schemeClr val="tx2"/>
                </a:solidFill>
              </a:rPr>
              <a:t>local proprietary products in Benelux </a:t>
            </a:r>
            <a:r>
              <a:rPr lang="en-GB" sz="1600" b="0">
                <a:solidFill>
                  <a:schemeClr val="tx1"/>
                </a:solidFill>
              </a:rPr>
              <a:t>will enable </a:t>
            </a:r>
            <a:r>
              <a:rPr lang="en-GB" sz="1600" b="0" err="1">
                <a:solidFill>
                  <a:schemeClr val="tx1"/>
                </a:solidFill>
              </a:rPr>
              <a:t>Altares</a:t>
            </a:r>
            <a:r>
              <a:rPr lang="en-GB" sz="1600" b="0">
                <a:solidFill>
                  <a:schemeClr val="tx1"/>
                </a:solidFill>
              </a:rPr>
              <a:t> to </a:t>
            </a:r>
            <a:r>
              <a:rPr lang="en-GB" sz="1600" b="0">
                <a:solidFill>
                  <a:schemeClr val="tx2"/>
                </a:solidFill>
              </a:rPr>
              <a:t>best meet customers’ needs</a:t>
            </a:r>
            <a:r>
              <a:rPr lang="en-GB" sz="1600" b="0">
                <a:solidFill>
                  <a:schemeClr val="tx1"/>
                </a:solidFill>
              </a:rPr>
              <a:t> leveraging more granular local data</a:t>
            </a:r>
          </a:p>
        </p:txBody>
      </p:sp>
      <p:sp>
        <p:nvSpPr>
          <p:cNvPr id="3" name="Espace réservé du texte 2">
            <a:extLst>
              <a:ext uri="{FF2B5EF4-FFF2-40B4-BE49-F238E27FC236}">
                <a16:creationId xmlns:a16="http://schemas.microsoft.com/office/drawing/2014/main" id="{E5010DA3-233A-4C0B-9142-F7481F6191F9}"/>
              </a:ext>
            </a:extLst>
          </p:cNvPr>
          <p:cNvSpPr>
            <a:spLocks noGrp="1"/>
          </p:cNvSpPr>
          <p:nvPr>
            <p:ph type="body" sz="quarter" idx="10"/>
          </p:nvPr>
        </p:nvSpPr>
        <p:spPr>
          <a:xfrm>
            <a:off x="1315274" y="6580025"/>
            <a:ext cx="2810927" cy="244800"/>
          </a:xfrm>
        </p:spPr>
        <p:txBody>
          <a:bodyPr/>
          <a:lstStyle/>
          <a:p>
            <a:r>
              <a:rPr lang="en-GB"/>
              <a:t>Sources: eleven research &amp; analysis, company data, interviews with management</a:t>
            </a:r>
          </a:p>
          <a:p>
            <a:endParaRPr lang="en-GB"/>
          </a:p>
        </p:txBody>
      </p:sp>
      <p:grpSp>
        <p:nvGrpSpPr>
          <p:cNvPr id="4" name="Groupe 3">
            <a:extLst>
              <a:ext uri="{FF2B5EF4-FFF2-40B4-BE49-F238E27FC236}">
                <a16:creationId xmlns:a16="http://schemas.microsoft.com/office/drawing/2014/main" id="{D034E7ED-A782-44E2-8847-1B05AD8B0822}"/>
              </a:ext>
            </a:extLst>
          </p:cNvPr>
          <p:cNvGrpSpPr/>
          <p:nvPr/>
        </p:nvGrpSpPr>
        <p:grpSpPr>
          <a:xfrm>
            <a:off x="8448150" y="-11528"/>
            <a:ext cx="1435548" cy="588143"/>
            <a:chOff x="8448150" y="-11528"/>
            <a:chExt cx="1435548" cy="588143"/>
          </a:xfrm>
        </p:grpSpPr>
        <p:sp>
          <p:nvSpPr>
            <p:cNvPr id="5" name="Rectangle : coins arrondis 199">
              <a:extLst>
                <a:ext uri="{FF2B5EF4-FFF2-40B4-BE49-F238E27FC236}">
                  <a16:creationId xmlns:a16="http://schemas.microsoft.com/office/drawing/2014/main" id="{29D997DC-0DA8-4DA4-89F2-4DBD2D59A052}"/>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 name="Rectangle : coins arrondis 200">
              <a:extLst>
                <a:ext uri="{FF2B5EF4-FFF2-40B4-BE49-F238E27FC236}">
                  <a16:creationId xmlns:a16="http://schemas.microsoft.com/office/drawing/2014/main" id="{4409088A-28BB-4727-A153-86FAD7EB84FC}"/>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 name="Rectangle : coins arrondis 201">
              <a:extLst>
                <a:ext uri="{FF2B5EF4-FFF2-40B4-BE49-F238E27FC236}">
                  <a16:creationId xmlns:a16="http://schemas.microsoft.com/office/drawing/2014/main" id="{0685641D-9463-4A9F-842A-5FD43CB54C3D}"/>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 name="ZoneTexte 18">
              <a:extLst>
                <a:ext uri="{FF2B5EF4-FFF2-40B4-BE49-F238E27FC236}">
                  <a16:creationId xmlns:a16="http://schemas.microsoft.com/office/drawing/2014/main" id="{C057BD74-C78B-4AC3-94E8-18486BF32FD1}"/>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9" name="Graphique 128" descr="Jauge">
              <a:extLst>
                <a:ext uri="{FF2B5EF4-FFF2-40B4-BE49-F238E27FC236}">
                  <a16:creationId xmlns:a16="http://schemas.microsoft.com/office/drawing/2014/main" id="{BA357842-B228-4D60-B793-F479A38BC64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0" name="Graphique 90" descr="Poignée de main">
              <a:extLst>
                <a:ext uri="{FF2B5EF4-FFF2-40B4-BE49-F238E27FC236}">
                  <a16:creationId xmlns:a16="http://schemas.microsoft.com/office/drawing/2014/main" id="{21DEDB98-032A-4CD4-8663-B73BE8C22E6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11" name="Graphique 74" descr="Mégaphone">
              <a:extLst>
                <a:ext uri="{FF2B5EF4-FFF2-40B4-BE49-F238E27FC236}">
                  <a16:creationId xmlns:a16="http://schemas.microsoft.com/office/drawing/2014/main" id="{76C3F3EF-AA11-499C-9D5E-7870451E9DD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12" name="Picture 2" descr="Drapeau France">
              <a:extLst>
                <a:ext uri="{FF2B5EF4-FFF2-40B4-BE49-F238E27FC236}">
                  <a16:creationId xmlns:a16="http://schemas.microsoft.com/office/drawing/2014/main" id="{08E8FCC3-B27B-4CAF-998D-48B67544D5A3}"/>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3" name="ZoneTexte 12">
              <a:extLst>
                <a:ext uri="{FF2B5EF4-FFF2-40B4-BE49-F238E27FC236}">
                  <a16:creationId xmlns:a16="http://schemas.microsoft.com/office/drawing/2014/main" id="{58290E5D-BAFF-46AF-A116-D469701951CF}"/>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grpSp>
        <p:nvGrpSpPr>
          <p:cNvPr id="15" name="Groupe 14">
            <a:extLst>
              <a:ext uri="{FF2B5EF4-FFF2-40B4-BE49-F238E27FC236}">
                <a16:creationId xmlns:a16="http://schemas.microsoft.com/office/drawing/2014/main" id="{C88EAA25-C61C-4E24-AB02-2694B4B3F4B9}"/>
              </a:ext>
            </a:extLst>
          </p:cNvPr>
          <p:cNvGrpSpPr/>
          <p:nvPr/>
        </p:nvGrpSpPr>
        <p:grpSpPr>
          <a:xfrm>
            <a:off x="362696" y="193605"/>
            <a:ext cx="222565" cy="277000"/>
            <a:chOff x="3409503" y="1194238"/>
            <a:chExt cx="269305" cy="368686"/>
          </a:xfrm>
        </p:grpSpPr>
        <p:sp>
          <p:nvSpPr>
            <p:cNvPr id="16" name="Ellipse 15">
              <a:extLst>
                <a:ext uri="{FF2B5EF4-FFF2-40B4-BE49-F238E27FC236}">
                  <a16:creationId xmlns:a16="http://schemas.microsoft.com/office/drawing/2014/main" id="{C559AF43-BD4F-4D4D-B32D-CC291C49FEA2}"/>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7" name="ZoneTexte 16">
              <a:extLst>
                <a:ext uri="{FF2B5EF4-FFF2-40B4-BE49-F238E27FC236}">
                  <a16:creationId xmlns:a16="http://schemas.microsoft.com/office/drawing/2014/main" id="{85D65150-60A3-4C47-88CD-107E3DDF8567}"/>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4</a:t>
              </a:r>
            </a:p>
          </p:txBody>
        </p:sp>
      </p:grpSp>
      <p:sp>
        <p:nvSpPr>
          <p:cNvPr id="18" name="Rectangle 17">
            <a:extLst>
              <a:ext uri="{FF2B5EF4-FFF2-40B4-BE49-F238E27FC236}">
                <a16:creationId xmlns:a16="http://schemas.microsoft.com/office/drawing/2014/main" id="{FF2A3E71-F790-43F9-895F-DA4FB88A640C}"/>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A</a:t>
            </a:r>
          </a:p>
        </p:txBody>
      </p:sp>
      <p:sp>
        <p:nvSpPr>
          <p:cNvPr id="243" name="Rectangle à coins arrondis 28">
            <a:extLst>
              <a:ext uri="{FF2B5EF4-FFF2-40B4-BE49-F238E27FC236}">
                <a16:creationId xmlns:a16="http://schemas.microsoft.com/office/drawing/2014/main" id="{8DAC75CF-6D93-428E-A0B4-8C803760A01E}"/>
              </a:ext>
            </a:extLst>
          </p:cNvPr>
          <p:cNvSpPr/>
          <p:nvPr/>
        </p:nvSpPr>
        <p:spPr bwMode="auto">
          <a:xfrm>
            <a:off x="5029659" y="6585718"/>
            <a:ext cx="988364" cy="186904"/>
          </a:xfrm>
          <a:prstGeom prst="roundRect">
            <a:avLst/>
          </a:prstGeom>
          <a:solidFill>
            <a:schemeClr val="tx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800" b="1">
                <a:solidFill>
                  <a:schemeClr val="tx2"/>
                </a:solidFill>
                <a:latin typeface="Trebuchet MS" panose="020B0603020202020204" pitchFamily="34" charset="0"/>
              </a:rPr>
              <a:t>Web platform</a:t>
            </a:r>
          </a:p>
        </p:txBody>
      </p:sp>
      <p:sp>
        <p:nvSpPr>
          <p:cNvPr id="244" name="Rectangle à coins arrondis 28">
            <a:extLst>
              <a:ext uri="{FF2B5EF4-FFF2-40B4-BE49-F238E27FC236}">
                <a16:creationId xmlns:a16="http://schemas.microsoft.com/office/drawing/2014/main" id="{F8B304EB-97BE-4CFF-89D4-BEBD1B219EDD}"/>
              </a:ext>
            </a:extLst>
          </p:cNvPr>
          <p:cNvSpPr/>
          <p:nvPr/>
        </p:nvSpPr>
        <p:spPr bwMode="auto">
          <a:xfrm>
            <a:off x="3880086" y="6585718"/>
            <a:ext cx="988364" cy="186904"/>
          </a:xfrm>
          <a:prstGeom prst="roundRect">
            <a:avLst/>
          </a:prstGeom>
          <a:solidFill>
            <a:schemeClr val="bg1">
              <a:lumMod val="95000"/>
            </a:schemeClr>
          </a:solidFill>
          <a:ln w="3175" cap="flat" cmpd="sng" algn="ctr">
            <a:solidFill>
              <a:schemeClr val="tx1"/>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800" b="1">
                <a:latin typeface="Trebuchet MS" panose="020B0603020202020204" pitchFamily="34" charset="0"/>
              </a:rPr>
              <a:t>Batch</a:t>
            </a:r>
          </a:p>
        </p:txBody>
      </p:sp>
      <p:sp>
        <p:nvSpPr>
          <p:cNvPr id="245" name="Rectangle à coins arrondis 28">
            <a:extLst>
              <a:ext uri="{FF2B5EF4-FFF2-40B4-BE49-F238E27FC236}">
                <a16:creationId xmlns:a16="http://schemas.microsoft.com/office/drawing/2014/main" id="{849ABE1C-FB35-4E49-82A3-E512550852BC}"/>
              </a:ext>
            </a:extLst>
          </p:cNvPr>
          <p:cNvSpPr/>
          <p:nvPr/>
        </p:nvSpPr>
        <p:spPr bwMode="auto">
          <a:xfrm>
            <a:off x="6179266" y="6588861"/>
            <a:ext cx="989048" cy="180618"/>
          </a:xfrm>
          <a:prstGeom prst="roundRect">
            <a:avLst/>
          </a:prstGeom>
          <a:solidFill>
            <a:srgbClr val="C6EFFF"/>
          </a:solidFill>
          <a:ln w="3175" cap="flat" cmpd="sng" algn="ctr">
            <a:solidFill>
              <a:srgbClr val="007AA9"/>
            </a:solidFill>
            <a:prstDash val="sysDot"/>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800" b="1">
                <a:latin typeface="Trebuchet MS" panose="020B0603020202020204" pitchFamily="34" charset="0"/>
              </a:rPr>
              <a:t>Connector/APIs</a:t>
            </a:r>
          </a:p>
        </p:txBody>
      </p:sp>
      <p:cxnSp>
        <p:nvCxnSpPr>
          <p:cNvPr id="271" name="Connecteur droit 4">
            <a:extLst>
              <a:ext uri="{FF2B5EF4-FFF2-40B4-BE49-F238E27FC236}">
                <a16:creationId xmlns:a16="http://schemas.microsoft.com/office/drawing/2014/main" id="{5113862D-84E5-45D5-8E15-53A023CCAFCF}"/>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72" name="TextBox 30">
            <a:extLst>
              <a:ext uri="{FF2B5EF4-FFF2-40B4-BE49-F238E27FC236}">
                <a16:creationId xmlns:a16="http://schemas.microsoft.com/office/drawing/2014/main" id="{AA81EE1B-0EFF-44CF-AC76-21AB17D740D3}"/>
              </a:ext>
            </a:extLst>
          </p:cNvPr>
          <p:cNvSpPr txBox="1"/>
          <p:nvPr/>
        </p:nvSpPr>
        <p:spPr>
          <a:xfrm>
            <a:off x="2641561" y="940203"/>
            <a:ext cx="4622878" cy="261610"/>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100">
                <a:latin typeface="Trebuchet MS" panose="020B0603020202020204" pitchFamily="34" charset="0"/>
              </a:rPr>
              <a:t>Overview of deployment of </a:t>
            </a:r>
            <a:r>
              <a:rPr lang="en-GB" sz="1100" err="1">
                <a:latin typeface="Trebuchet MS" panose="020B0603020202020204" pitchFamily="34" charset="0"/>
              </a:rPr>
              <a:t>Altares</a:t>
            </a:r>
            <a:r>
              <a:rPr lang="en-GB" sz="1100">
                <a:latin typeface="Trebuchet MS" panose="020B0603020202020204" pitchFamily="34" charset="0"/>
              </a:rPr>
              <a:t>’ proprietary products in Benelux</a:t>
            </a:r>
          </a:p>
        </p:txBody>
      </p:sp>
      <p:sp>
        <p:nvSpPr>
          <p:cNvPr id="96" name="Rectangle 95">
            <a:extLst>
              <a:ext uri="{FF2B5EF4-FFF2-40B4-BE49-F238E27FC236}">
                <a16:creationId xmlns:a16="http://schemas.microsoft.com/office/drawing/2014/main" id="{986D7CEF-3389-4EC1-A103-777BB0FC97ED}"/>
              </a:ext>
            </a:extLst>
          </p:cNvPr>
          <p:cNvSpPr/>
          <p:nvPr/>
        </p:nvSpPr>
        <p:spPr bwMode="auto">
          <a:xfrm>
            <a:off x="141715" y="1265382"/>
            <a:ext cx="7307300" cy="51622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7" name="Rectangle 96">
            <a:extLst>
              <a:ext uri="{FF2B5EF4-FFF2-40B4-BE49-F238E27FC236}">
                <a16:creationId xmlns:a16="http://schemas.microsoft.com/office/drawing/2014/main" id="{68D5AEF2-3B8F-4C68-AE2C-DF55AFFCE731}"/>
              </a:ext>
            </a:extLst>
          </p:cNvPr>
          <p:cNvSpPr/>
          <p:nvPr/>
        </p:nvSpPr>
        <p:spPr bwMode="auto">
          <a:xfrm>
            <a:off x="7639916" y="1232547"/>
            <a:ext cx="2153781" cy="516224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nSpc>
                <a:spcPct val="107000"/>
              </a:lnSpc>
            </a:pPr>
            <a:r>
              <a:rPr lang="en-GB" sz="1000" err="1">
                <a:latin typeface="Trebuchet MS" panose="020B0603020202020204" pitchFamily="34" charset="0"/>
                <a:ea typeface="Calibri" panose="020F0502020204030204" pitchFamily="34" charset="0"/>
              </a:rPr>
              <a:t>Altares</a:t>
            </a:r>
            <a:r>
              <a:rPr lang="en-GB" sz="1000">
                <a:latin typeface="Trebuchet MS" panose="020B0603020202020204" pitchFamily="34" charset="0"/>
                <a:ea typeface="Calibri" panose="020F0502020204030204" pitchFamily="34" charset="0"/>
              </a:rPr>
              <a:t> plans to leverage the granularity of its Benelux database by deploying its proprietary products in Benelux:</a:t>
            </a:r>
          </a:p>
          <a:p>
            <a:pPr lvl="0">
              <a:lnSpc>
                <a:spcPct val="107000"/>
              </a:lnSpc>
            </a:pPr>
            <a:endParaRPr lang="en-GB" sz="1000">
              <a:latin typeface="Trebuchet MS" panose="020B0603020202020204" pitchFamily="34" charset="0"/>
              <a:ea typeface="Calibri" panose="020F0502020204030204" pitchFamily="34" charset="0"/>
            </a:endParaRPr>
          </a:p>
          <a:p>
            <a:pPr marL="342900" lvl="0" indent="-342900">
              <a:lnSpc>
                <a:spcPct val="107000"/>
              </a:lnSpc>
              <a:buFont typeface="+mj-lt"/>
              <a:buAutoNum type="arabicPeriod"/>
            </a:pPr>
            <a:r>
              <a:rPr lang="en-GB" sz="1000">
                <a:latin typeface="Trebuchet MS" panose="020B0603020202020204" pitchFamily="34" charset="0"/>
                <a:ea typeface="Calibri" panose="020F0502020204030204" pitchFamily="34" charset="0"/>
              </a:rPr>
              <a:t>Launch of a</a:t>
            </a:r>
            <a:r>
              <a:rPr lang="en-GB" sz="1000">
                <a:solidFill>
                  <a:schemeClr val="tx2"/>
                </a:solidFill>
                <a:latin typeface="Trebuchet MS" panose="020B0603020202020204" pitchFamily="34" charset="0"/>
                <a:ea typeface="Calibri" panose="020F0502020204030204" pitchFamily="34" charset="0"/>
              </a:rPr>
              <a:t> p</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roprietary API for Benelux </a:t>
            </a:r>
            <a:r>
              <a:rPr lang="en-GB" sz="1000">
                <a:effectLst/>
                <a:latin typeface="Trebuchet MS" panose="020B0603020202020204" pitchFamily="34" charset="0"/>
                <a:ea typeface="Calibri" panose="020F0502020204030204" pitchFamily="34" charset="0"/>
                <a:cs typeface="Arial" panose="020B0604020202020204" pitchFamily="34" charset="0"/>
              </a:rPr>
              <a:t>thanks to the </a:t>
            </a:r>
            <a:r>
              <a:rPr lang="en-GB" sz="1000" err="1">
                <a:effectLst/>
                <a:latin typeface="Trebuchet MS" panose="020B0603020202020204" pitchFamily="34" charset="0"/>
                <a:ea typeface="Calibri" panose="020F0502020204030204" pitchFamily="34" charset="0"/>
                <a:cs typeface="Arial" panose="020B0604020202020204" pitchFamily="34" charset="0"/>
              </a:rPr>
              <a:t>DataHub</a:t>
            </a:r>
            <a:r>
              <a:rPr lang="en-GB" sz="1000">
                <a:effectLst/>
                <a:latin typeface="Trebuchet MS" panose="020B0603020202020204" pitchFamily="34" charset="0"/>
                <a:ea typeface="Calibri" panose="020F0502020204030204" pitchFamily="34" charset="0"/>
                <a:cs typeface="Arial" panose="020B0604020202020204" pitchFamily="34" charset="0"/>
              </a:rPr>
              <a:t> project (Q1 2021)</a:t>
            </a:r>
          </a:p>
          <a:p>
            <a:pPr marL="342900" lvl="0" indent="-342900">
              <a:lnSpc>
                <a:spcPct val="107000"/>
              </a:lnSpc>
              <a:buFont typeface="+mj-lt"/>
              <a:buAutoNum type="arabicPeriod"/>
            </a:pPr>
            <a:endParaRPr lang="en-GB" sz="1000">
              <a:effectLst/>
              <a:latin typeface="Trebuchet MS" panose="020B0603020202020204" pitchFamily="34" charset="0"/>
              <a:ea typeface="Calibri" panose="020F0502020204030204" pitchFamily="34" charset="0"/>
              <a:cs typeface="Arial" panose="020B0604020202020204" pitchFamily="34" charset="0"/>
            </a:endParaRPr>
          </a:p>
          <a:p>
            <a:pPr marL="342900" lvl="0" indent="-342900">
              <a:lnSpc>
                <a:spcPct val="107000"/>
              </a:lnSpc>
              <a:buFont typeface="+mj-lt"/>
              <a:buAutoNum type="arabicPeriod"/>
            </a:pPr>
            <a:r>
              <a:rPr lang="en-GB" sz="1000">
                <a:effectLst/>
                <a:latin typeface="Trebuchet MS" panose="020B0603020202020204" pitchFamily="34" charset="0"/>
                <a:ea typeface="Calibri" panose="020F0502020204030204" pitchFamily="34" charset="0"/>
                <a:cs typeface="Arial" panose="020B0604020202020204" pitchFamily="34" charset="0"/>
              </a:rPr>
              <a:t>Launch of the </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Benelux version of </a:t>
            </a:r>
            <a:r>
              <a:rPr lang="en-GB" sz="1000" err="1">
                <a:solidFill>
                  <a:schemeClr val="tx2"/>
                </a:solidFill>
                <a:latin typeface="Trebuchet MS" panose="020B0603020202020204" pitchFamily="34" charset="0"/>
                <a:ea typeface="Calibri" panose="020F0502020204030204" pitchFamily="34" charset="0"/>
              </a:rPr>
              <a:t>i</a:t>
            </a:r>
            <a:r>
              <a:rPr lang="en-GB" sz="1000" err="1">
                <a:solidFill>
                  <a:schemeClr val="tx2"/>
                </a:solidFill>
                <a:effectLst/>
                <a:latin typeface="Trebuchet MS" panose="020B0603020202020204" pitchFamily="34" charset="0"/>
                <a:ea typeface="Calibri" panose="020F0502020204030204" pitchFamily="34" charset="0"/>
                <a:cs typeface="Arial" panose="020B0604020202020204" pitchFamily="34" charset="0"/>
              </a:rPr>
              <a:t>ntuiz</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 </a:t>
            </a:r>
            <a:r>
              <a:rPr lang="en-GB" sz="1000">
                <a:effectLst/>
                <a:latin typeface="Trebuchet MS" panose="020B0603020202020204" pitchFamily="34" charset="0"/>
                <a:ea typeface="Calibri" panose="020F0502020204030204" pitchFamily="34" charset="0"/>
                <a:cs typeface="Arial" panose="020B0604020202020204" pitchFamily="34" charset="0"/>
              </a:rPr>
              <a:t>combining D&amp;B data and local specific data, allowing to address precise use cases with on-the-shelf solutions (2022)</a:t>
            </a:r>
          </a:p>
          <a:p>
            <a:pPr marL="342900" lvl="0" indent="-342900">
              <a:lnSpc>
                <a:spcPct val="107000"/>
              </a:lnSpc>
              <a:buFont typeface="+mj-lt"/>
              <a:buAutoNum type="arabicPeriod"/>
            </a:pPr>
            <a:endParaRPr lang="en-GB" sz="1000">
              <a:latin typeface="Trebuchet MS" panose="020B0603020202020204" pitchFamily="34" charset="0"/>
              <a:ea typeface="Calibri" panose="020F0502020204030204" pitchFamily="34" charset="0"/>
            </a:endParaRPr>
          </a:p>
          <a:p>
            <a:pPr marL="342900" lvl="0" indent="-342900">
              <a:lnSpc>
                <a:spcPct val="107000"/>
              </a:lnSpc>
              <a:buFont typeface="+mj-lt"/>
              <a:buAutoNum type="arabicPeriod"/>
            </a:pPr>
            <a:r>
              <a:rPr lang="en-GB" sz="1000">
                <a:effectLst/>
                <a:latin typeface="Trebuchet MS" panose="020B0603020202020204" pitchFamily="34" charset="0"/>
                <a:ea typeface="Calibri" panose="020F0502020204030204" pitchFamily="34" charset="0"/>
                <a:cs typeface="Arial" panose="020B0604020202020204" pitchFamily="34" charset="0"/>
              </a:rPr>
              <a:t>More globally, the </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Benelux market will benefit from all the innovations that have successfully been implemented in France </a:t>
            </a:r>
            <a:r>
              <a:rPr lang="en-GB" sz="1000">
                <a:effectLst/>
                <a:latin typeface="Trebuchet MS" panose="020B0603020202020204" pitchFamily="34" charset="0"/>
                <a:ea typeface="Calibri" panose="020F0502020204030204" pitchFamily="34" charset="0"/>
                <a:cs typeface="Arial" panose="020B0604020202020204" pitchFamily="34" charset="0"/>
              </a:rPr>
              <a:t>(e.g. functional innovation, technological…) </a:t>
            </a:r>
          </a:p>
        </p:txBody>
      </p:sp>
      <p:pic>
        <p:nvPicPr>
          <p:cNvPr id="98" name="Image 97">
            <a:extLst>
              <a:ext uri="{FF2B5EF4-FFF2-40B4-BE49-F238E27FC236}">
                <a16:creationId xmlns:a16="http://schemas.microsoft.com/office/drawing/2014/main" id="{F59BCBF5-93E7-4C15-BE7F-58EF24924F5F}"/>
              </a:ext>
            </a:extLst>
          </p:cNvPr>
          <p:cNvPicPr>
            <a:picLocks noChangeAspect="1"/>
          </p:cNvPicPr>
          <p:nvPr/>
        </p:nvPicPr>
        <p:blipFill>
          <a:blip r:embed="rId13"/>
          <a:stretch>
            <a:fillRect/>
          </a:stretch>
        </p:blipFill>
        <p:spPr>
          <a:xfrm>
            <a:off x="273000" y="1948605"/>
            <a:ext cx="6962119" cy="3775131"/>
          </a:xfrm>
          <a:prstGeom prst="rect">
            <a:avLst/>
          </a:prstGeom>
        </p:spPr>
      </p:pic>
      <p:sp>
        <p:nvSpPr>
          <p:cNvPr id="99" name="Rectangle 98">
            <a:extLst>
              <a:ext uri="{FF2B5EF4-FFF2-40B4-BE49-F238E27FC236}">
                <a16:creationId xmlns:a16="http://schemas.microsoft.com/office/drawing/2014/main" id="{71A617CA-8A32-4AA4-AA81-37BDA98FF6BD}"/>
              </a:ext>
            </a:extLst>
          </p:cNvPr>
          <p:cNvSpPr/>
          <p:nvPr/>
        </p:nvSpPr>
        <p:spPr bwMode="auto">
          <a:xfrm>
            <a:off x="273000" y="1827258"/>
            <a:ext cx="7026598" cy="4143119"/>
          </a:xfrm>
          <a:prstGeom prst="rect">
            <a:avLst/>
          </a:prstGeom>
          <a:solidFill>
            <a:schemeClr val="bg1">
              <a:alpha val="44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0" name="Bulle narrative : rectangle 99">
            <a:extLst>
              <a:ext uri="{FF2B5EF4-FFF2-40B4-BE49-F238E27FC236}">
                <a16:creationId xmlns:a16="http://schemas.microsoft.com/office/drawing/2014/main" id="{30F4EEA7-E5FC-4CBC-B703-9B3100778458}"/>
              </a:ext>
            </a:extLst>
          </p:cNvPr>
          <p:cNvSpPr/>
          <p:nvPr/>
        </p:nvSpPr>
        <p:spPr bwMode="auto">
          <a:xfrm>
            <a:off x="1552875" y="1840836"/>
            <a:ext cx="1009095" cy="665436"/>
          </a:xfrm>
          <a:prstGeom prst="wedgeRectCallout">
            <a:avLst/>
          </a:prstGeom>
          <a:solidFill>
            <a:schemeClr val="bg1"/>
          </a:solidFill>
          <a:ln w="9525"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1"/>
                </a:solidFill>
                <a:effectLst/>
                <a:latin typeface="Trebuchet MS" pitchFamily="34" charset="0"/>
              </a:rPr>
              <a:t>To be launched in BNL (2022)</a:t>
            </a:r>
          </a:p>
        </p:txBody>
      </p:sp>
      <p:sp>
        <p:nvSpPr>
          <p:cNvPr id="101" name="Bulle narrative : rectangle 100">
            <a:extLst>
              <a:ext uri="{FF2B5EF4-FFF2-40B4-BE49-F238E27FC236}">
                <a16:creationId xmlns:a16="http://schemas.microsoft.com/office/drawing/2014/main" id="{0AA09C67-16AE-4EA0-9BBF-7DF54EA56637}"/>
              </a:ext>
            </a:extLst>
          </p:cNvPr>
          <p:cNvSpPr/>
          <p:nvPr/>
        </p:nvSpPr>
        <p:spPr bwMode="auto">
          <a:xfrm>
            <a:off x="3117106" y="1840836"/>
            <a:ext cx="1009095" cy="665436"/>
          </a:xfrm>
          <a:prstGeom prst="wedgeRectCallout">
            <a:avLst/>
          </a:prstGeom>
          <a:solidFill>
            <a:schemeClr val="bg1"/>
          </a:solidFill>
          <a:ln w="9525"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1"/>
                </a:solidFill>
                <a:effectLst/>
                <a:latin typeface="Trebuchet MS" pitchFamily="34" charset="0"/>
              </a:rPr>
              <a:t>Launched in BNL</a:t>
            </a:r>
          </a:p>
        </p:txBody>
      </p:sp>
      <p:sp>
        <p:nvSpPr>
          <p:cNvPr id="102" name="Bulle narrative : rectangle 101">
            <a:extLst>
              <a:ext uri="{FF2B5EF4-FFF2-40B4-BE49-F238E27FC236}">
                <a16:creationId xmlns:a16="http://schemas.microsoft.com/office/drawing/2014/main" id="{34D6A713-6BBF-4CF3-A09F-1A588BB762D8}"/>
              </a:ext>
            </a:extLst>
          </p:cNvPr>
          <p:cNvSpPr/>
          <p:nvPr/>
        </p:nvSpPr>
        <p:spPr bwMode="auto">
          <a:xfrm>
            <a:off x="5829568" y="1509411"/>
            <a:ext cx="1009095" cy="665436"/>
          </a:xfrm>
          <a:prstGeom prst="wedgeRectCallout">
            <a:avLst/>
          </a:prstGeom>
          <a:solidFill>
            <a:schemeClr val="bg1"/>
          </a:solidFill>
          <a:ln w="9525"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1"/>
                </a:solidFill>
                <a:effectLst/>
                <a:latin typeface="Trebuchet MS" pitchFamily="34" charset="0"/>
              </a:rPr>
              <a:t>Launched in BNL</a:t>
            </a:r>
          </a:p>
        </p:txBody>
      </p:sp>
      <p:sp>
        <p:nvSpPr>
          <p:cNvPr id="103" name="Bulle narrative : rectangle 102">
            <a:extLst>
              <a:ext uri="{FF2B5EF4-FFF2-40B4-BE49-F238E27FC236}">
                <a16:creationId xmlns:a16="http://schemas.microsoft.com/office/drawing/2014/main" id="{0003CD2D-2D46-4917-882C-E758A007C9D8}"/>
              </a:ext>
            </a:extLst>
          </p:cNvPr>
          <p:cNvSpPr/>
          <p:nvPr/>
        </p:nvSpPr>
        <p:spPr bwMode="auto">
          <a:xfrm>
            <a:off x="1894594" y="3212067"/>
            <a:ext cx="1009095" cy="665436"/>
          </a:xfrm>
          <a:prstGeom prst="wedgeRectCallout">
            <a:avLst/>
          </a:prstGeom>
          <a:solidFill>
            <a:schemeClr val="bg1"/>
          </a:solidFill>
          <a:ln w="9525"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1"/>
                </a:solidFill>
                <a:effectLst/>
                <a:latin typeface="Trebuchet MS" pitchFamily="34" charset="0"/>
              </a:rPr>
              <a:t>Launched in BNL</a:t>
            </a:r>
          </a:p>
        </p:txBody>
      </p:sp>
      <p:sp>
        <p:nvSpPr>
          <p:cNvPr id="104" name="Bulle narrative : rectangle 103">
            <a:extLst>
              <a:ext uri="{FF2B5EF4-FFF2-40B4-BE49-F238E27FC236}">
                <a16:creationId xmlns:a16="http://schemas.microsoft.com/office/drawing/2014/main" id="{2BF4F422-5695-4F9D-9EDA-1E5EC85A3312}"/>
              </a:ext>
            </a:extLst>
          </p:cNvPr>
          <p:cNvSpPr/>
          <p:nvPr/>
        </p:nvSpPr>
        <p:spPr bwMode="auto">
          <a:xfrm>
            <a:off x="6184673" y="2707547"/>
            <a:ext cx="1009095" cy="665436"/>
          </a:xfrm>
          <a:prstGeom prst="wedgeRectCallout">
            <a:avLst>
              <a:gd name="adj1" fmla="val -66608"/>
              <a:gd name="adj2" fmla="val 8668"/>
            </a:avLst>
          </a:prstGeom>
          <a:solidFill>
            <a:schemeClr val="bg1"/>
          </a:solidFill>
          <a:ln w="9525"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900" b="0" i="0" u="none" strike="noStrike" cap="none" normalizeH="0" baseline="0" err="1">
                <a:ln>
                  <a:noFill/>
                </a:ln>
                <a:solidFill>
                  <a:schemeClr val="tx1"/>
                </a:solidFill>
                <a:effectLst/>
                <a:latin typeface="Trebuchet MS" pitchFamily="34" charset="0"/>
              </a:rPr>
              <a:t>mAds</a:t>
            </a:r>
            <a:r>
              <a:rPr kumimoji="0" lang="en-GB" sz="900" b="0" i="0" u="none" strike="noStrike" cap="none" normalizeH="0" baseline="0">
                <a:ln>
                  <a:noFill/>
                </a:ln>
                <a:solidFill>
                  <a:schemeClr val="tx1"/>
                </a:solidFill>
                <a:effectLst/>
                <a:latin typeface="Trebuchet MS" pitchFamily="34" charset="0"/>
              </a:rPr>
              <a:t> to be launched in BNL</a:t>
            </a:r>
          </a:p>
        </p:txBody>
      </p:sp>
      <p:sp>
        <p:nvSpPr>
          <p:cNvPr id="105" name="Bulle narrative : rectangle 104">
            <a:extLst>
              <a:ext uri="{FF2B5EF4-FFF2-40B4-BE49-F238E27FC236}">
                <a16:creationId xmlns:a16="http://schemas.microsoft.com/office/drawing/2014/main" id="{DC903008-8519-43D0-AE9F-DC8EFC5DCBE3}"/>
              </a:ext>
            </a:extLst>
          </p:cNvPr>
          <p:cNvSpPr/>
          <p:nvPr/>
        </p:nvSpPr>
        <p:spPr bwMode="auto">
          <a:xfrm>
            <a:off x="4324256" y="3212067"/>
            <a:ext cx="1009095" cy="665436"/>
          </a:xfrm>
          <a:prstGeom prst="wedgeRectCallout">
            <a:avLst/>
          </a:prstGeom>
          <a:solidFill>
            <a:schemeClr val="bg1"/>
          </a:solidFill>
          <a:ln w="9525"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900">
                <a:latin typeface="Trebuchet MS" pitchFamily="34" charset="0"/>
              </a:rPr>
              <a:t>To be l</a:t>
            </a:r>
            <a:r>
              <a:rPr kumimoji="0" lang="en-GB" sz="900" b="0" i="0" u="none" strike="noStrike" cap="none" normalizeH="0" baseline="0">
                <a:ln>
                  <a:noFill/>
                </a:ln>
                <a:solidFill>
                  <a:schemeClr val="tx1"/>
                </a:solidFill>
                <a:effectLst/>
                <a:latin typeface="Trebuchet MS" pitchFamily="34" charset="0"/>
              </a:rPr>
              <a:t>aunched in BNL</a:t>
            </a:r>
          </a:p>
        </p:txBody>
      </p:sp>
      <p:sp>
        <p:nvSpPr>
          <p:cNvPr id="106" name="Bulle narrative : rectangle 105">
            <a:extLst>
              <a:ext uri="{FF2B5EF4-FFF2-40B4-BE49-F238E27FC236}">
                <a16:creationId xmlns:a16="http://schemas.microsoft.com/office/drawing/2014/main" id="{0F646353-9C4D-4C65-9F17-6D8AED1AE9BE}"/>
              </a:ext>
            </a:extLst>
          </p:cNvPr>
          <p:cNvSpPr/>
          <p:nvPr/>
        </p:nvSpPr>
        <p:spPr bwMode="auto">
          <a:xfrm>
            <a:off x="3455336" y="4641663"/>
            <a:ext cx="1009095" cy="665436"/>
          </a:xfrm>
          <a:prstGeom prst="wedgeRectCallout">
            <a:avLst>
              <a:gd name="adj1" fmla="val -14858"/>
              <a:gd name="adj2" fmla="val -67363"/>
            </a:avLst>
          </a:prstGeom>
          <a:solidFill>
            <a:schemeClr val="bg1"/>
          </a:solidFill>
          <a:ln w="9525"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7200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lang="en-GB" sz="9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lang="en-GB" sz="9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900">
                <a:latin typeface="Trebuchet MS" pitchFamily="34" charset="0"/>
              </a:rPr>
              <a:t>To be l</a:t>
            </a:r>
            <a:r>
              <a:rPr kumimoji="0" lang="en-GB" sz="900" b="0" i="0" u="none" strike="noStrike" cap="none" normalizeH="0" baseline="0">
                <a:ln>
                  <a:noFill/>
                </a:ln>
                <a:solidFill>
                  <a:schemeClr val="tx1"/>
                </a:solidFill>
                <a:effectLst/>
                <a:latin typeface="Trebuchet MS" pitchFamily="34" charset="0"/>
              </a:rPr>
              <a:t>aunched in BNL (Q4 2020)</a:t>
            </a:r>
          </a:p>
        </p:txBody>
      </p:sp>
      <p:grpSp>
        <p:nvGrpSpPr>
          <p:cNvPr id="107" name="Group 4">
            <a:extLst>
              <a:ext uri="{FF2B5EF4-FFF2-40B4-BE49-F238E27FC236}">
                <a16:creationId xmlns:a16="http://schemas.microsoft.com/office/drawing/2014/main" id="{27D36E0D-3F20-4CD8-8531-F54F672F15CD}"/>
              </a:ext>
            </a:extLst>
          </p:cNvPr>
          <p:cNvGrpSpPr>
            <a:grpSpLocks noChangeAspect="1"/>
          </p:cNvGrpSpPr>
          <p:nvPr/>
        </p:nvGrpSpPr>
        <p:grpSpPr bwMode="auto">
          <a:xfrm>
            <a:off x="1945076" y="1934722"/>
            <a:ext cx="224696" cy="224695"/>
            <a:chOff x="788" y="788"/>
            <a:chExt cx="754" cy="754"/>
          </a:xfrm>
          <a:solidFill>
            <a:schemeClr val="tx2"/>
          </a:solidFill>
        </p:grpSpPr>
        <p:sp>
          <p:nvSpPr>
            <p:cNvPr id="108" name="Freeform 5">
              <a:extLst>
                <a:ext uri="{FF2B5EF4-FFF2-40B4-BE49-F238E27FC236}">
                  <a16:creationId xmlns:a16="http://schemas.microsoft.com/office/drawing/2014/main" id="{DAD202AF-317C-4F49-99C9-A6C3A7152C24}"/>
                </a:ext>
              </a:extLst>
            </p:cNvPr>
            <p:cNvSpPr>
              <a:spLocks/>
            </p:cNvSpPr>
            <p:nvPr/>
          </p:nvSpPr>
          <p:spPr bwMode="auto">
            <a:xfrm>
              <a:off x="904" y="788"/>
              <a:ext cx="638" cy="603"/>
            </a:xfrm>
            <a:custGeom>
              <a:avLst/>
              <a:gdLst>
                <a:gd name="T0" fmla="*/ 52 w 55"/>
                <a:gd name="T1" fmla="*/ 2 h 52"/>
                <a:gd name="T2" fmla="*/ 45 w 55"/>
                <a:gd name="T3" fmla="*/ 3 h 52"/>
                <a:gd name="T4" fmla="*/ 19 w 55"/>
                <a:gd name="T5" fmla="*/ 36 h 52"/>
                <a:gd name="T6" fmla="*/ 10 w 55"/>
                <a:gd name="T7" fmla="*/ 26 h 52"/>
                <a:gd name="T8" fmla="*/ 3 w 55"/>
                <a:gd name="T9" fmla="*/ 25 h 52"/>
                <a:gd name="T10" fmla="*/ 2 w 55"/>
                <a:gd name="T11" fmla="*/ 32 h 52"/>
                <a:gd name="T12" fmla="*/ 19 w 55"/>
                <a:gd name="T13" fmla="*/ 52 h 52"/>
                <a:gd name="T14" fmla="*/ 53 w 55"/>
                <a:gd name="T15" fmla="*/ 9 h 52"/>
                <a:gd name="T16" fmla="*/ 52 w 55"/>
                <a:gd name="T17"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2">
                  <a:moveTo>
                    <a:pt x="52" y="2"/>
                  </a:moveTo>
                  <a:cubicBezTo>
                    <a:pt x="50" y="0"/>
                    <a:pt x="47" y="1"/>
                    <a:pt x="45" y="3"/>
                  </a:cubicBezTo>
                  <a:cubicBezTo>
                    <a:pt x="19" y="36"/>
                    <a:pt x="19" y="36"/>
                    <a:pt x="19" y="36"/>
                  </a:cubicBezTo>
                  <a:cubicBezTo>
                    <a:pt x="10" y="26"/>
                    <a:pt x="10" y="26"/>
                    <a:pt x="10" y="26"/>
                  </a:cubicBezTo>
                  <a:cubicBezTo>
                    <a:pt x="8" y="24"/>
                    <a:pt x="5" y="24"/>
                    <a:pt x="3" y="25"/>
                  </a:cubicBezTo>
                  <a:cubicBezTo>
                    <a:pt x="1" y="27"/>
                    <a:pt x="0" y="30"/>
                    <a:pt x="2" y="32"/>
                  </a:cubicBezTo>
                  <a:cubicBezTo>
                    <a:pt x="19" y="52"/>
                    <a:pt x="19" y="52"/>
                    <a:pt x="19" y="52"/>
                  </a:cubicBezTo>
                  <a:cubicBezTo>
                    <a:pt x="53" y="9"/>
                    <a:pt x="53" y="9"/>
                    <a:pt x="53" y="9"/>
                  </a:cubicBezTo>
                  <a:cubicBezTo>
                    <a:pt x="55" y="7"/>
                    <a:pt x="55" y="4"/>
                    <a:pt x="5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6">
              <a:extLst>
                <a:ext uri="{FF2B5EF4-FFF2-40B4-BE49-F238E27FC236}">
                  <a16:creationId xmlns:a16="http://schemas.microsoft.com/office/drawing/2014/main" id="{847B9466-BE21-4B2A-BF80-8F9581C1E113}"/>
                </a:ext>
              </a:extLst>
            </p:cNvPr>
            <p:cNvSpPr>
              <a:spLocks/>
            </p:cNvSpPr>
            <p:nvPr/>
          </p:nvSpPr>
          <p:spPr bwMode="auto">
            <a:xfrm>
              <a:off x="1344" y="1449"/>
              <a:ext cx="93" cy="93"/>
            </a:xfrm>
            <a:custGeom>
              <a:avLst/>
              <a:gdLst>
                <a:gd name="T0" fmla="*/ 47 w 93"/>
                <a:gd name="T1" fmla="*/ 46 h 93"/>
                <a:gd name="T2" fmla="*/ 0 w 93"/>
                <a:gd name="T3" fmla="*/ 46 h 93"/>
                <a:gd name="T4" fmla="*/ 0 w 93"/>
                <a:gd name="T5" fmla="*/ 93 h 93"/>
                <a:gd name="T6" fmla="*/ 93 w 93"/>
                <a:gd name="T7" fmla="*/ 93 h 93"/>
                <a:gd name="T8" fmla="*/ 93 w 93"/>
                <a:gd name="T9" fmla="*/ 0 h 93"/>
                <a:gd name="T10" fmla="*/ 47 w 93"/>
                <a:gd name="T11" fmla="*/ 0 h 93"/>
                <a:gd name="T12" fmla="*/ 47 w 93"/>
                <a:gd name="T13" fmla="*/ 46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46"/>
                  </a:moveTo>
                  <a:lnTo>
                    <a:pt x="0" y="46"/>
                  </a:lnTo>
                  <a:lnTo>
                    <a:pt x="0" y="93"/>
                  </a:lnTo>
                  <a:lnTo>
                    <a:pt x="93" y="93"/>
                  </a:lnTo>
                  <a:lnTo>
                    <a:pt x="93" y="0"/>
                  </a:lnTo>
                  <a:lnTo>
                    <a:pt x="47" y="0"/>
                  </a:lnTo>
                  <a:lnTo>
                    <a:pt x="4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Rectangle 7">
              <a:extLst>
                <a:ext uri="{FF2B5EF4-FFF2-40B4-BE49-F238E27FC236}">
                  <a16:creationId xmlns:a16="http://schemas.microsoft.com/office/drawing/2014/main" id="{11FA45EF-B391-4667-A012-5004BC0575E0}"/>
                </a:ext>
              </a:extLst>
            </p:cNvPr>
            <p:cNvSpPr>
              <a:spLocks noChangeArrowheads="1"/>
            </p:cNvSpPr>
            <p:nvPr/>
          </p:nvSpPr>
          <p:spPr bwMode="auto">
            <a:xfrm>
              <a:off x="1159" y="1495"/>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Rectangle 8">
              <a:extLst>
                <a:ext uri="{FF2B5EF4-FFF2-40B4-BE49-F238E27FC236}">
                  <a16:creationId xmlns:a16="http://schemas.microsoft.com/office/drawing/2014/main" id="{4A8CE366-EA44-4499-9BB2-A2987C96AD77}"/>
                </a:ext>
              </a:extLst>
            </p:cNvPr>
            <p:cNvSpPr>
              <a:spLocks noChangeArrowheads="1"/>
            </p:cNvSpPr>
            <p:nvPr/>
          </p:nvSpPr>
          <p:spPr bwMode="auto">
            <a:xfrm>
              <a:off x="974" y="1495"/>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9">
              <a:extLst>
                <a:ext uri="{FF2B5EF4-FFF2-40B4-BE49-F238E27FC236}">
                  <a16:creationId xmlns:a16="http://schemas.microsoft.com/office/drawing/2014/main" id="{53BFD69A-53E8-4442-94EF-98D7C9F5819D}"/>
                </a:ext>
              </a:extLst>
            </p:cNvPr>
            <p:cNvSpPr>
              <a:spLocks/>
            </p:cNvSpPr>
            <p:nvPr/>
          </p:nvSpPr>
          <p:spPr bwMode="auto">
            <a:xfrm>
              <a:off x="788" y="1449"/>
              <a:ext cx="93" cy="93"/>
            </a:xfrm>
            <a:custGeom>
              <a:avLst/>
              <a:gdLst>
                <a:gd name="T0" fmla="*/ 47 w 93"/>
                <a:gd name="T1" fmla="*/ 0 h 93"/>
                <a:gd name="T2" fmla="*/ 0 w 93"/>
                <a:gd name="T3" fmla="*/ 0 h 93"/>
                <a:gd name="T4" fmla="*/ 0 w 93"/>
                <a:gd name="T5" fmla="*/ 93 h 93"/>
                <a:gd name="T6" fmla="*/ 93 w 93"/>
                <a:gd name="T7" fmla="*/ 93 h 93"/>
                <a:gd name="T8" fmla="*/ 93 w 93"/>
                <a:gd name="T9" fmla="*/ 46 h 93"/>
                <a:gd name="T10" fmla="*/ 47 w 93"/>
                <a:gd name="T11" fmla="*/ 46 h 93"/>
                <a:gd name="T12" fmla="*/ 47 w 93"/>
                <a:gd name="T13" fmla="*/ 0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0"/>
                  </a:moveTo>
                  <a:lnTo>
                    <a:pt x="0" y="0"/>
                  </a:lnTo>
                  <a:lnTo>
                    <a:pt x="0" y="93"/>
                  </a:lnTo>
                  <a:lnTo>
                    <a:pt x="93" y="93"/>
                  </a:lnTo>
                  <a:lnTo>
                    <a:pt x="93" y="46"/>
                  </a:lnTo>
                  <a:lnTo>
                    <a:pt x="47" y="46"/>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Rectangle 10">
              <a:extLst>
                <a:ext uri="{FF2B5EF4-FFF2-40B4-BE49-F238E27FC236}">
                  <a16:creationId xmlns:a16="http://schemas.microsoft.com/office/drawing/2014/main" id="{D1CA38C2-6CBB-4550-B9A5-DE686A238565}"/>
                </a:ext>
              </a:extLst>
            </p:cNvPr>
            <p:cNvSpPr>
              <a:spLocks noChangeArrowheads="1"/>
            </p:cNvSpPr>
            <p:nvPr/>
          </p:nvSpPr>
          <p:spPr bwMode="auto">
            <a:xfrm>
              <a:off x="788" y="1263"/>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Rectangle 11">
              <a:extLst>
                <a:ext uri="{FF2B5EF4-FFF2-40B4-BE49-F238E27FC236}">
                  <a16:creationId xmlns:a16="http://schemas.microsoft.com/office/drawing/2014/main" id="{A23F4483-A08F-4B55-B72A-AFCCB4BED07E}"/>
                </a:ext>
              </a:extLst>
            </p:cNvPr>
            <p:cNvSpPr>
              <a:spLocks noChangeArrowheads="1"/>
            </p:cNvSpPr>
            <p:nvPr/>
          </p:nvSpPr>
          <p:spPr bwMode="auto">
            <a:xfrm>
              <a:off x="788" y="1078"/>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12">
              <a:extLst>
                <a:ext uri="{FF2B5EF4-FFF2-40B4-BE49-F238E27FC236}">
                  <a16:creationId xmlns:a16="http://schemas.microsoft.com/office/drawing/2014/main" id="{E3388D90-8360-43F2-A27E-6DBDDF3851B6}"/>
                </a:ext>
              </a:extLst>
            </p:cNvPr>
            <p:cNvSpPr>
              <a:spLocks/>
            </p:cNvSpPr>
            <p:nvPr/>
          </p:nvSpPr>
          <p:spPr bwMode="auto">
            <a:xfrm>
              <a:off x="788" y="892"/>
              <a:ext cx="93" cy="93"/>
            </a:xfrm>
            <a:custGeom>
              <a:avLst/>
              <a:gdLst>
                <a:gd name="T0" fmla="*/ 0 w 93"/>
                <a:gd name="T1" fmla="*/ 93 h 93"/>
                <a:gd name="T2" fmla="*/ 47 w 93"/>
                <a:gd name="T3" fmla="*/ 93 h 93"/>
                <a:gd name="T4" fmla="*/ 47 w 93"/>
                <a:gd name="T5" fmla="*/ 47 h 93"/>
                <a:gd name="T6" fmla="*/ 93 w 93"/>
                <a:gd name="T7" fmla="*/ 47 h 93"/>
                <a:gd name="T8" fmla="*/ 93 w 93"/>
                <a:gd name="T9" fmla="*/ 0 h 93"/>
                <a:gd name="T10" fmla="*/ 0 w 93"/>
                <a:gd name="T11" fmla="*/ 0 h 93"/>
                <a:gd name="T12" fmla="*/ 0 w 93"/>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0" y="93"/>
                  </a:moveTo>
                  <a:lnTo>
                    <a:pt x="47" y="93"/>
                  </a:lnTo>
                  <a:lnTo>
                    <a:pt x="47" y="47"/>
                  </a:lnTo>
                  <a:lnTo>
                    <a:pt x="93" y="47"/>
                  </a:lnTo>
                  <a:lnTo>
                    <a:pt x="93" y="0"/>
                  </a:lnTo>
                  <a:lnTo>
                    <a:pt x="0" y="0"/>
                  </a:lnTo>
                  <a:lnTo>
                    <a:pt x="0"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Rectangle 13">
              <a:extLst>
                <a:ext uri="{FF2B5EF4-FFF2-40B4-BE49-F238E27FC236}">
                  <a16:creationId xmlns:a16="http://schemas.microsoft.com/office/drawing/2014/main" id="{2AF9680F-CDCE-4932-9201-488242ED0454}"/>
                </a:ext>
              </a:extLst>
            </p:cNvPr>
            <p:cNvSpPr>
              <a:spLocks noChangeArrowheads="1"/>
            </p:cNvSpPr>
            <p:nvPr/>
          </p:nvSpPr>
          <p:spPr bwMode="auto">
            <a:xfrm>
              <a:off x="1159" y="892"/>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Rectangle 14">
              <a:extLst>
                <a:ext uri="{FF2B5EF4-FFF2-40B4-BE49-F238E27FC236}">
                  <a16:creationId xmlns:a16="http://schemas.microsoft.com/office/drawing/2014/main" id="{6E2E3702-2773-4824-A38D-5E7D3B55BB83}"/>
                </a:ext>
              </a:extLst>
            </p:cNvPr>
            <p:cNvSpPr>
              <a:spLocks noChangeArrowheads="1"/>
            </p:cNvSpPr>
            <p:nvPr/>
          </p:nvSpPr>
          <p:spPr bwMode="auto">
            <a:xfrm>
              <a:off x="974" y="892"/>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Rectangle 15">
              <a:extLst>
                <a:ext uri="{FF2B5EF4-FFF2-40B4-BE49-F238E27FC236}">
                  <a16:creationId xmlns:a16="http://schemas.microsoft.com/office/drawing/2014/main" id="{EF4B9AE3-4890-46AC-9505-D942C7316AD7}"/>
                </a:ext>
              </a:extLst>
            </p:cNvPr>
            <p:cNvSpPr>
              <a:spLocks noChangeArrowheads="1"/>
            </p:cNvSpPr>
            <p:nvPr/>
          </p:nvSpPr>
          <p:spPr bwMode="auto">
            <a:xfrm>
              <a:off x="1391" y="1078"/>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Rectangle 16">
              <a:extLst>
                <a:ext uri="{FF2B5EF4-FFF2-40B4-BE49-F238E27FC236}">
                  <a16:creationId xmlns:a16="http://schemas.microsoft.com/office/drawing/2014/main" id="{80202536-759B-4207-B979-D66A6C0D9F72}"/>
                </a:ext>
              </a:extLst>
            </p:cNvPr>
            <p:cNvSpPr>
              <a:spLocks noChangeArrowheads="1"/>
            </p:cNvSpPr>
            <p:nvPr/>
          </p:nvSpPr>
          <p:spPr bwMode="auto">
            <a:xfrm>
              <a:off x="1391" y="1263"/>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20" name="Freeform 20">
            <a:extLst>
              <a:ext uri="{FF2B5EF4-FFF2-40B4-BE49-F238E27FC236}">
                <a16:creationId xmlns:a16="http://schemas.microsoft.com/office/drawing/2014/main" id="{B09E38FB-2402-48E1-B2BB-CF7FA3EBABFB}"/>
              </a:ext>
            </a:extLst>
          </p:cNvPr>
          <p:cNvSpPr>
            <a:spLocks noEditPoints="1"/>
          </p:cNvSpPr>
          <p:nvPr/>
        </p:nvSpPr>
        <p:spPr bwMode="auto">
          <a:xfrm>
            <a:off x="3527081" y="1917606"/>
            <a:ext cx="213930" cy="241811"/>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21" name="Freeform 20">
            <a:extLst>
              <a:ext uri="{FF2B5EF4-FFF2-40B4-BE49-F238E27FC236}">
                <a16:creationId xmlns:a16="http://schemas.microsoft.com/office/drawing/2014/main" id="{796B2860-EE44-47CB-AC37-86922219C98D}"/>
              </a:ext>
            </a:extLst>
          </p:cNvPr>
          <p:cNvSpPr>
            <a:spLocks noEditPoints="1"/>
          </p:cNvSpPr>
          <p:nvPr/>
        </p:nvSpPr>
        <p:spPr bwMode="auto">
          <a:xfrm>
            <a:off x="6227150" y="1585447"/>
            <a:ext cx="213930" cy="241811"/>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22" name="Freeform 20">
            <a:extLst>
              <a:ext uri="{FF2B5EF4-FFF2-40B4-BE49-F238E27FC236}">
                <a16:creationId xmlns:a16="http://schemas.microsoft.com/office/drawing/2014/main" id="{E1BE3A3F-2E6D-4FFE-A208-3DA33FEF5EBD}"/>
              </a:ext>
            </a:extLst>
          </p:cNvPr>
          <p:cNvSpPr>
            <a:spLocks noEditPoints="1"/>
          </p:cNvSpPr>
          <p:nvPr/>
        </p:nvSpPr>
        <p:spPr bwMode="auto">
          <a:xfrm>
            <a:off x="2292176" y="3252077"/>
            <a:ext cx="213930" cy="241811"/>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123" name="Group 4">
            <a:extLst>
              <a:ext uri="{FF2B5EF4-FFF2-40B4-BE49-F238E27FC236}">
                <a16:creationId xmlns:a16="http://schemas.microsoft.com/office/drawing/2014/main" id="{FF7BD2A4-B157-4782-9971-29A63A12E93D}"/>
              </a:ext>
            </a:extLst>
          </p:cNvPr>
          <p:cNvGrpSpPr>
            <a:grpSpLocks noChangeAspect="1"/>
          </p:cNvGrpSpPr>
          <p:nvPr/>
        </p:nvGrpSpPr>
        <p:grpSpPr bwMode="auto">
          <a:xfrm>
            <a:off x="4716456" y="3307159"/>
            <a:ext cx="224696" cy="224695"/>
            <a:chOff x="788" y="788"/>
            <a:chExt cx="754" cy="754"/>
          </a:xfrm>
          <a:solidFill>
            <a:schemeClr val="tx2"/>
          </a:solidFill>
        </p:grpSpPr>
        <p:sp>
          <p:nvSpPr>
            <p:cNvPr id="124" name="Freeform 5">
              <a:extLst>
                <a:ext uri="{FF2B5EF4-FFF2-40B4-BE49-F238E27FC236}">
                  <a16:creationId xmlns:a16="http://schemas.microsoft.com/office/drawing/2014/main" id="{4EBD0EAE-C897-4EDE-A59D-73B6DA9B696F}"/>
                </a:ext>
              </a:extLst>
            </p:cNvPr>
            <p:cNvSpPr>
              <a:spLocks/>
            </p:cNvSpPr>
            <p:nvPr/>
          </p:nvSpPr>
          <p:spPr bwMode="auto">
            <a:xfrm>
              <a:off x="904" y="788"/>
              <a:ext cx="638" cy="603"/>
            </a:xfrm>
            <a:custGeom>
              <a:avLst/>
              <a:gdLst>
                <a:gd name="T0" fmla="*/ 52 w 55"/>
                <a:gd name="T1" fmla="*/ 2 h 52"/>
                <a:gd name="T2" fmla="*/ 45 w 55"/>
                <a:gd name="T3" fmla="*/ 3 h 52"/>
                <a:gd name="T4" fmla="*/ 19 w 55"/>
                <a:gd name="T5" fmla="*/ 36 h 52"/>
                <a:gd name="T6" fmla="*/ 10 w 55"/>
                <a:gd name="T7" fmla="*/ 26 h 52"/>
                <a:gd name="T8" fmla="*/ 3 w 55"/>
                <a:gd name="T9" fmla="*/ 25 h 52"/>
                <a:gd name="T10" fmla="*/ 2 w 55"/>
                <a:gd name="T11" fmla="*/ 32 h 52"/>
                <a:gd name="T12" fmla="*/ 19 w 55"/>
                <a:gd name="T13" fmla="*/ 52 h 52"/>
                <a:gd name="T14" fmla="*/ 53 w 55"/>
                <a:gd name="T15" fmla="*/ 9 h 52"/>
                <a:gd name="T16" fmla="*/ 52 w 55"/>
                <a:gd name="T17"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2">
                  <a:moveTo>
                    <a:pt x="52" y="2"/>
                  </a:moveTo>
                  <a:cubicBezTo>
                    <a:pt x="50" y="0"/>
                    <a:pt x="47" y="1"/>
                    <a:pt x="45" y="3"/>
                  </a:cubicBezTo>
                  <a:cubicBezTo>
                    <a:pt x="19" y="36"/>
                    <a:pt x="19" y="36"/>
                    <a:pt x="19" y="36"/>
                  </a:cubicBezTo>
                  <a:cubicBezTo>
                    <a:pt x="10" y="26"/>
                    <a:pt x="10" y="26"/>
                    <a:pt x="10" y="26"/>
                  </a:cubicBezTo>
                  <a:cubicBezTo>
                    <a:pt x="8" y="24"/>
                    <a:pt x="5" y="24"/>
                    <a:pt x="3" y="25"/>
                  </a:cubicBezTo>
                  <a:cubicBezTo>
                    <a:pt x="1" y="27"/>
                    <a:pt x="0" y="30"/>
                    <a:pt x="2" y="32"/>
                  </a:cubicBezTo>
                  <a:cubicBezTo>
                    <a:pt x="19" y="52"/>
                    <a:pt x="19" y="52"/>
                    <a:pt x="19" y="52"/>
                  </a:cubicBezTo>
                  <a:cubicBezTo>
                    <a:pt x="53" y="9"/>
                    <a:pt x="53" y="9"/>
                    <a:pt x="53" y="9"/>
                  </a:cubicBezTo>
                  <a:cubicBezTo>
                    <a:pt x="55" y="7"/>
                    <a:pt x="55" y="4"/>
                    <a:pt x="5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Freeform 6">
              <a:extLst>
                <a:ext uri="{FF2B5EF4-FFF2-40B4-BE49-F238E27FC236}">
                  <a16:creationId xmlns:a16="http://schemas.microsoft.com/office/drawing/2014/main" id="{29234E88-FC74-4832-AF05-091E1ECBA874}"/>
                </a:ext>
              </a:extLst>
            </p:cNvPr>
            <p:cNvSpPr>
              <a:spLocks/>
            </p:cNvSpPr>
            <p:nvPr/>
          </p:nvSpPr>
          <p:spPr bwMode="auto">
            <a:xfrm>
              <a:off x="1344" y="1449"/>
              <a:ext cx="93" cy="93"/>
            </a:xfrm>
            <a:custGeom>
              <a:avLst/>
              <a:gdLst>
                <a:gd name="T0" fmla="*/ 47 w 93"/>
                <a:gd name="T1" fmla="*/ 46 h 93"/>
                <a:gd name="T2" fmla="*/ 0 w 93"/>
                <a:gd name="T3" fmla="*/ 46 h 93"/>
                <a:gd name="T4" fmla="*/ 0 w 93"/>
                <a:gd name="T5" fmla="*/ 93 h 93"/>
                <a:gd name="T6" fmla="*/ 93 w 93"/>
                <a:gd name="T7" fmla="*/ 93 h 93"/>
                <a:gd name="T8" fmla="*/ 93 w 93"/>
                <a:gd name="T9" fmla="*/ 0 h 93"/>
                <a:gd name="T10" fmla="*/ 47 w 93"/>
                <a:gd name="T11" fmla="*/ 0 h 93"/>
                <a:gd name="T12" fmla="*/ 47 w 93"/>
                <a:gd name="T13" fmla="*/ 46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46"/>
                  </a:moveTo>
                  <a:lnTo>
                    <a:pt x="0" y="46"/>
                  </a:lnTo>
                  <a:lnTo>
                    <a:pt x="0" y="93"/>
                  </a:lnTo>
                  <a:lnTo>
                    <a:pt x="93" y="93"/>
                  </a:lnTo>
                  <a:lnTo>
                    <a:pt x="93" y="0"/>
                  </a:lnTo>
                  <a:lnTo>
                    <a:pt x="47" y="0"/>
                  </a:lnTo>
                  <a:lnTo>
                    <a:pt x="4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Rectangle 7">
              <a:extLst>
                <a:ext uri="{FF2B5EF4-FFF2-40B4-BE49-F238E27FC236}">
                  <a16:creationId xmlns:a16="http://schemas.microsoft.com/office/drawing/2014/main" id="{1527107D-7830-4C01-8327-9402B3C9DA4B}"/>
                </a:ext>
              </a:extLst>
            </p:cNvPr>
            <p:cNvSpPr>
              <a:spLocks noChangeArrowheads="1"/>
            </p:cNvSpPr>
            <p:nvPr/>
          </p:nvSpPr>
          <p:spPr bwMode="auto">
            <a:xfrm>
              <a:off x="1159" y="1495"/>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Rectangle 8">
              <a:extLst>
                <a:ext uri="{FF2B5EF4-FFF2-40B4-BE49-F238E27FC236}">
                  <a16:creationId xmlns:a16="http://schemas.microsoft.com/office/drawing/2014/main" id="{D7E629E0-0279-4833-A6A1-B4964BC5EAFD}"/>
                </a:ext>
              </a:extLst>
            </p:cNvPr>
            <p:cNvSpPr>
              <a:spLocks noChangeArrowheads="1"/>
            </p:cNvSpPr>
            <p:nvPr/>
          </p:nvSpPr>
          <p:spPr bwMode="auto">
            <a:xfrm>
              <a:off x="974" y="1495"/>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9">
              <a:extLst>
                <a:ext uri="{FF2B5EF4-FFF2-40B4-BE49-F238E27FC236}">
                  <a16:creationId xmlns:a16="http://schemas.microsoft.com/office/drawing/2014/main" id="{0F438371-31AD-4074-A779-37102B287987}"/>
                </a:ext>
              </a:extLst>
            </p:cNvPr>
            <p:cNvSpPr>
              <a:spLocks/>
            </p:cNvSpPr>
            <p:nvPr/>
          </p:nvSpPr>
          <p:spPr bwMode="auto">
            <a:xfrm>
              <a:off x="788" y="1449"/>
              <a:ext cx="93" cy="93"/>
            </a:xfrm>
            <a:custGeom>
              <a:avLst/>
              <a:gdLst>
                <a:gd name="T0" fmla="*/ 47 w 93"/>
                <a:gd name="T1" fmla="*/ 0 h 93"/>
                <a:gd name="T2" fmla="*/ 0 w 93"/>
                <a:gd name="T3" fmla="*/ 0 h 93"/>
                <a:gd name="T4" fmla="*/ 0 w 93"/>
                <a:gd name="T5" fmla="*/ 93 h 93"/>
                <a:gd name="T6" fmla="*/ 93 w 93"/>
                <a:gd name="T7" fmla="*/ 93 h 93"/>
                <a:gd name="T8" fmla="*/ 93 w 93"/>
                <a:gd name="T9" fmla="*/ 46 h 93"/>
                <a:gd name="T10" fmla="*/ 47 w 93"/>
                <a:gd name="T11" fmla="*/ 46 h 93"/>
                <a:gd name="T12" fmla="*/ 47 w 93"/>
                <a:gd name="T13" fmla="*/ 0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0"/>
                  </a:moveTo>
                  <a:lnTo>
                    <a:pt x="0" y="0"/>
                  </a:lnTo>
                  <a:lnTo>
                    <a:pt x="0" y="93"/>
                  </a:lnTo>
                  <a:lnTo>
                    <a:pt x="93" y="93"/>
                  </a:lnTo>
                  <a:lnTo>
                    <a:pt x="93" y="46"/>
                  </a:lnTo>
                  <a:lnTo>
                    <a:pt x="47" y="46"/>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Rectangle 10">
              <a:extLst>
                <a:ext uri="{FF2B5EF4-FFF2-40B4-BE49-F238E27FC236}">
                  <a16:creationId xmlns:a16="http://schemas.microsoft.com/office/drawing/2014/main" id="{620B78DB-27AC-45C8-A7F2-7E3C1CCA5E26}"/>
                </a:ext>
              </a:extLst>
            </p:cNvPr>
            <p:cNvSpPr>
              <a:spLocks noChangeArrowheads="1"/>
            </p:cNvSpPr>
            <p:nvPr/>
          </p:nvSpPr>
          <p:spPr bwMode="auto">
            <a:xfrm>
              <a:off x="788" y="1263"/>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Rectangle 11">
              <a:extLst>
                <a:ext uri="{FF2B5EF4-FFF2-40B4-BE49-F238E27FC236}">
                  <a16:creationId xmlns:a16="http://schemas.microsoft.com/office/drawing/2014/main" id="{02673469-329A-4B86-A58E-ECEFCB822BF4}"/>
                </a:ext>
              </a:extLst>
            </p:cNvPr>
            <p:cNvSpPr>
              <a:spLocks noChangeArrowheads="1"/>
            </p:cNvSpPr>
            <p:nvPr/>
          </p:nvSpPr>
          <p:spPr bwMode="auto">
            <a:xfrm>
              <a:off x="788" y="1078"/>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12">
              <a:extLst>
                <a:ext uri="{FF2B5EF4-FFF2-40B4-BE49-F238E27FC236}">
                  <a16:creationId xmlns:a16="http://schemas.microsoft.com/office/drawing/2014/main" id="{BE3E553F-DBAB-4FD6-ABD9-8418671A81A6}"/>
                </a:ext>
              </a:extLst>
            </p:cNvPr>
            <p:cNvSpPr>
              <a:spLocks/>
            </p:cNvSpPr>
            <p:nvPr/>
          </p:nvSpPr>
          <p:spPr bwMode="auto">
            <a:xfrm>
              <a:off x="788" y="892"/>
              <a:ext cx="93" cy="93"/>
            </a:xfrm>
            <a:custGeom>
              <a:avLst/>
              <a:gdLst>
                <a:gd name="T0" fmla="*/ 0 w 93"/>
                <a:gd name="T1" fmla="*/ 93 h 93"/>
                <a:gd name="T2" fmla="*/ 47 w 93"/>
                <a:gd name="T3" fmla="*/ 93 h 93"/>
                <a:gd name="T4" fmla="*/ 47 w 93"/>
                <a:gd name="T5" fmla="*/ 47 h 93"/>
                <a:gd name="T6" fmla="*/ 93 w 93"/>
                <a:gd name="T7" fmla="*/ 47 h 93"/>
                <a:gd name="T8" fmla="*/ 93 w 93"/>
                <a:gd name="T9" fmla="*/ 0 h 93"/>
                <a:gd name="T10" fmla="*/ 0 w 93"/>
                <a:gd name="T11" fmla="*/ 0 h 93"/>
                <a:gd name="T12" fmla="*/ 0 w 93"/>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0" y="93"/>
                  </a:moveTo>
                  <a:lnTo>
                    <a:pt x="47" y="93"/>
                  </a:lnTo>
                  <a:lnTo>
                    <a:pt x="47" y="47"/>
                  </a:lnTo>
                  <a:lnTo>
                    <a:pt x="93" y="47"/>
                  </a:lnTo>
                  <a:lnTo>
                    <a:pt x="93" y="0"/>
                  </a:lnTo>
                  <a:lnTo>
                    <a:pt x="0" y="0"/>
                  </a:lnTo>
                  <a:lnTo>
                    <a:pt x="0"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Rectangle 13">
              <a:extLst>
                <a:ext uri="{FF2B5EF4-FFF2-40B4-BE49-F238E27FC236}">
                  <a16:creationId xmlns:a16="http://schemas.microsoft.com/office/drawing/2014/main" id="{4D1C4181-D852-4FA9-AC78-26FF0BBC9CBD}"/>
                </a:ext>
              </a:extLst>
            </p:cNvPr>
            <p:cNvSpPr>
              <a:spLocks noChangeArrowheads="1"/>
            </p:cNvSpPr>
            <p:nvPr/>
          </p:nvSpPr>
          <p:spPr bwMode="auto">
            <a:xfrm>
              <a:off x="1159" y="892"/>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Rectangle 14">
              <a:extLst>
                <a:ext uri="{FF2B5EF4-FFF2-40B4-BE49-F238E27FC236}">
                  <a16:creationId xmlns:a16="http://schemas.microsoft.com/office/drawing/2014/main" id="{D4CCCC75-CFC3-4E9B-A757-AD1D110CB7BC}"/>
                </a:ext>
              </a:extLst>
            </p:cNvPr>
            <p:cNvSpPr>
              <a:spLocks noChangeArrowheads="1"/>
            </p:cNvSpPr>
            <p:nvPr/>
          </p:nvSpPr>
          <p:spPr bwMode="auto">
            <a:xfrm>
              <a:off x="974" y="892"/>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Rectangle 15">
              <a:extLst>
                <a:ext uri="{FF2B5EF4-FFF2-40B4-BE49-F238E27FC236}">
                  <a16:creationId xmlns:a16="http://schemas.microsoft.com/office/drawing/2014/main" id="{E620404A-F2B5-47A2-88FD-98F1A4D97C32}"/>
                </a:ext>
              </a:extLst>
            </p:cNvPr>
            <p:cNvSpPr>
              <a:spLocks noChangeArrowheads="1"/>
            </p:cNvSpPr>
            <p:nvPr/>
          </p:nvSpPr>
          <p:spPr bwMode="auto">
            <a:xfrm>
              <a:off x="1391" y="1078"/>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 name="Rectangle 16">
              <a:extLst>
                <a:ext uri="{FF2B5EF4-FFF2-40B4-BE49-F238E27FC236}">
                  <a16:creationId xmlns:a16="http://schemas.microsoft.com/office/drawing/2014/main" id="{354B0281-B43B-4EF9-877D-3E9A940E8471}"/>
                </a:ext>
              </a:extLst>
            </p:cNvPr>
            <p:cNvSpPr>
              <a:spLocks noChangeArrowheads="1"/>
            </p:cNvSpPr>
            <p:nvPr/>
          </p:nvSpPr>
          <p:spPr bwMode="auto">
            <a:xfrm>
              <a:off x="1391" y="1263"/>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6" name="Group 4">
            <a:extLst>
              <a:ext uri="{FF2B5EF4-FFF2-40B4-BE49-F238E27FC236}">
                <a16:creationId xmlns:a16="http://schemas.microsoft.com/office/drawing/2014/main" id="{95628B28-1E08-4AC9-B6F6-C511E3DF5E5F}"/>
              </a:ext>
            </a:extLst>
          </p:cNvPr>
          <p:cNvGrpSpPr>
            <a:grpSpLocks noChangeAspect="1"/>
          </p:cNvGrpSpPr>
          <p:nvPr/>
        </p:nvGrpSpPr>
        <p:grpSpPr bwMode="auto">
          <a:xfrm>
            <a:off x="6575747" y="2815570"/>
            <a:ext cx="224696" cy="224695"/>
            <a:chOff x="788" y="788"/>
            <a:chExt cx="754" cy="754"/>
          </a:xfrm>
          <a:solidFill>
            <a:schemeClr val="tx2"/>
          </a:solidFill>
        </p:grpSpPr>
        <p:sp>
          <p:nvSpPr>
            <p:cNvPr id="137" name="Freeform 5">
              <a:extLst>
                <a:ext uri="{FF2B5EF4-FFF2-40B4-BE49-F238E27FC236}">
                  <a16:creationId xmlns:a16="http://schemas.microsoft.com/office/drawing/2014/main" id="{82F32BFD-CB09-47FD-8058-47F01441F8C0}"/>
                </a:ext>
              </a:extLst>
            </p:cNvPr>
            <p:cNvSpPr>
              <a:spLocks/>
            </p:cNvSpPr>
            <p:nvPr/>
          </p:nvSpPr>
          <p:spPr bwMode="auto">
            <a:xfrm>
              <a:off x="904" y="788"/>
              <a:ext cx="638" cy="603"/>
            </a:xfrm>
            <a:custGeom>
              <a:avLst/>
              <a:gdLst>
                <a:gd name="T0" fmla="*/ 52 w 55"/>
                <a:gd name="T1" fmla="*/ 2 h 52"/>
                <a:gd name="T2" fmla="*/ 45 w 55"/>
                <a:gd name="T3" fmla="*/ 3 h 52"/>
                <a:gd name="T4" fmla="*/ 19 w 55"/>
                <a:gd name="T5" fmla="*/ 36 h 52"/>
                <a:gd name="T6" fmla="*/ 10 w 55"/>
                <a:gd name="T7" fmla="*/ 26 h 52"/>
                <a:gd name="T8" fmla="*/ 3 w 55"/>
                <a:gd name="T9" fmla="*/ 25 h 52"/>
                <a:gd name="T10" fmla="*/ 2 w 55"/>
                <a:gd name="T11" fmla="*/ 32 h 52"/>
                <a:gd name="T12" fmla="*/ 19 w 55"/>
                <a:gd name="T13" fmla="*/ 52 h 52"/>
                <a:gd name="T14" fmla="*/ 53 w 55"/>
                <a:gd name="T15" fmla="*/ 9 h 52"/>
                <a:gd name="T16" fmla="*/ 52 w 55"/>
                <a:gd name="T17"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2">
                  <a:moveTo>
                    <a:pt x="52" y="2"/>
                  </a:moveTo>
                  <a:cubicBezTo>
                    <a:pt x="50" y="0"/>
                    <a:pt x="47" y="1"/>
                    <a:pt x="45" y="3"/>
                  </a:cubicBezTo>
                  <a:cubicBezTo>
                    <a:pt x="19" y="36"/>
                    <a:pt x="19" y="36"/>
                    <a:pt x="19" y="36"/>
                  </a:cubicBezTo>
                  <a:cubicBezTo>
                    <a:pt x="10" y="26"/>
                    <a:pt x="10" y="26"/>
                    <a:pt x="10" y="26"/>
                  </a:cubicBezTo>
                  <a:cubicBezTo>
                    <a:pt x="8" y="24"/>
                    <a:pt x="5" y="24"/>
                    <a:pt x="3" y="25"/>
                  </a:cubicBezTo>
                  <a:cubicBezTo>
                    <a:pt x="1" y="27"/>
                    <a:pt x="0" y="30"/>
                    <a:pt x="2" y="32"/>
                  </a:cubicBezTo>
                  <a:cubicBezTo>
                    <a:pt x="19" y="52"/>
                    <a:pt x="19" y="52"/>
                    <a:pt x="19" y="52"/>
                  </a:cubicBezTo>
                  <a:cubicBezTo>
                    <a:pt x="53" y="9"/>
                    <a:pt x="53" y="9"/>
                    <a:pt x="53" y="9"/>
                  </a:cubicBezTo>
                  <a:cubicBezTo>
                    <a:pt x="55" y="7"/>
                    <a:pt x="55" y="4"/>
                    <a:pt x="5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 name="Freeform 6">
              <a:extLst>
                <a:ext uri="{FF2B5EF4-FFF2-40B4-BE49-F238E27FC236}">
                  <a16:creationId xmlns:a16="http://schemas.microsoft.com/office/drawing/2014/main" id="{CEA53637-23B9-409E-96F9-43B574E8B53D}"/>
                </a:ext>
              </a:extLst>
            </p:cNvPr>
            <p:cNvSpPr>
              <a:spLocks/>
            </p:cNvSpPr>
            <p:nvPr/>
          </p:nvSpPr>
          <p:spPr bwMode="auto">
            <a:xfrm>
              <a:off x="1344" y="1449"/>
              <a:ext cx="93" cy="93"/>
            </a:xfrm>
            <a:custGeom>
              <a:avLst/>
              <a:gdLst>
                <a:gd name="T0" fmla="*/ 47 w 93"/>
                <a:gd name="T1" fmla="*/ 46 h 93"/>
                <a:gd name="T2" fmla="*/ 0 w 93"/>
                <a:gd name="T3" fmla="*/ 46 h 93"/>
                <a:gd name="T4" fmla="*/ 0 w 93"/>
                <a:gd name="T5" fmla="*/ 93 h 93"/>
                <a:gd name="T6" fmla="*/ 93 w 93"/>
                <a:gd name="T7" fmla="*/ 93 h 93"/>
                <a:gd name="T8" fmla="*/ 93 w 93"/>
                <a:gd name="T9" fmla="*/ 0 h 93"/>
                <a:gd name="T10" fmla="*/ 47 w 93"/>
                <a:gd name="T11" fmla="*/ 0 h 93"/>
                <a:gd name="T12" fmla="*/ 47 w 93"/>
                <a:gd name="T13" fmla="*/ 46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46"/>
                  </a:moveTo>
                  <a:lnTo>
                    <a:pt x="0" y="46"/>
                  </a:lnTo>
                  <a:lnTo>
                    <a:pt x="0" y="93"/>
                  </a:lnTo>
                  <a:lnTo>
                    <a:pt x="93" y="93"/>
                  </a:lnTo>
                  <a:lnTo>
                    <a:pt x="93" y="0"/>
                  </a:lnTo>
                  <a:lnTo>
                    <a:pt x="47" y="0"/>
                  </a:lnTo>
                  <a:lnTo>
                    <a:pt x="4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 name="Rectangle 7">
              <a:extLst>
                <a:ext uri="{FF2B5EF4-FFF2-40B4-BE49-F238E27FC236}">
                  <a16:creationId xmlns:a16="http://schemas.microsoft.com/office/drawing/2014/main" id="{CD6851EC-F793-40C2-B458-6F34F1C7FFCD}"/>
                </a:ext>
              </a:extLst>
            </p:cNvPr>
            <p:cNvSpPr>
              <a:spLocks noChangeArrowheads="1"/>
            </p:cNvSpPr>
            <p:nvPr/>
          </p:nvSpPr>
          <p:spPr bwMode="auto">
            <a:xfrm>
              <a:off x="1159" y="1495"/>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 name="Rectangle 8">
              <a:extLst>
                <a:ext uri="{FF2B5EF4-FFF2-40B4-BE49-F238E27FC236}">
                  <a16:creationId xmlns:a16="http://schemas.microsoft.com/office/drawing/2014/main" id="{973CDD02-34A1-4EDE-835C-77522BF58405}"/>
                </a:ext>
              </a:extLst>
            </p:cNvPr>
            <p:cNvSpPr>
              <a:spLocks noChangeArrowheads="1"/>
            </p:cNvSpPr>
            <p:nvPr/>
          </p:nvSpPr>
          <p:spPr bwMode="auto">
            <a:xfrm>
              <a:off x="974" y="1495"/>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 name="Freeform 9">
              <a:extLst>
                <a:ext uri="{FF2B5EF4-FFF2-40B4-BE49-F238E27FC236}">
                  <a16:creationId xmlns:a16="http://schemas.microsoft.com/office/drawing/2014/main" id="{0CF07B1C-48FE-485C-B574-9576D5C44AAA}"/>
                </a:ext>
              </a:extLst>
            </p:cNvPr>
            <p:cNvSpPr>
              <a:spLocks/>
            </p:cNvSpPr>
            <p:nvPr/>
          </p:nvSpPr>
          <p:spPr bwMode="auto">
            <a:xfrm>
              <a:off x="788" y="1449"/>
              <a:ext cx="93" cy="93"/>
            </a:xfrm>
            <a:custGeom>
              <a:avLst/>
              <a:gdLst>
                <a:gd name="T0" fmla="*/ 47 w 93"/>
                <a:gd name="T1" fmla="*/ 0 h 93"/>
                <a:gd name="T2" fmla="*/ 0 w 93"/>
                <a:gd name="T3" fmla="*/ 0 h 93"/>
                <a:gd name="T4" fmla="*/ 0 w 93"/>
                <a:gd name="T5" fmla="*/ 93 h 93"/>
                <a:gd name="T6" fmla="*/ 93 w 93"/>
                <a:gd name="T7" fmla="*/ 93 h 93"/>
                <a:gd name="T8" fmla="*/ 93 w 93"/>
                <a:gd name="T9" fmla="*/ 46 h 93"/>
                <a:gd name="T10" fmla="*/ 47 w 93"/>
                <a:gd name="T11" fmla="*/ 46 h 93"/>
                <a:gd name="T12" fmla="*/ 47 w 93"/>
                <a:gd name="T13" fmla="*/ 0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0"/>
                  </a:moveTo>
                  <a:lnTo>
                    <a:pt x="0" y="0"/>
                  </a:lnTo>
                  <a:lnTo>
                    <a:pt x="0" y="93"/>
                  </a:lnTo>
                  <a:lnTo>
                    <a:pt x="93" y="93"/>
                  </a:lnTo>
                  <a:lnTo>
                    <a:pt x="93" y="46"/>
                  </a:lnTo>
                  <a:lnTo>
                    <a:pt x="47" y="46"/>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 name="Rectangle 10">
              <a:extLst>
                <a:ext uri="{FF2B5EF4-FFF2-40B4-BE49-F238E27FC236}">
                  <a16:creationId xmlns:a16="http://schemas.microsoft.com/office/drawing/2014/main" id="{9F41C494-03F9-4CAA-8CC7-35725E1AB312}"/>
                </a:ext>
              </a:extLst>
            </p:cNvPr>
            <p:cNvSpPr>
              <a:spLocks noChangeArrowheads="1"/>
            </p:cNvSpPr>
            <p:nvPr/>
          </p:nvSpPr>
          <p:spPr bwMode="auto">
            <a:xfrm>
              <a:off x="788" y="1263"/>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 name="Rectangle 11">
              <a:extLst>
                <a:ext uri="{FF2B5EF4-FFF2-40B4-BE49-F238E27FC236}">
                  <a16:creationId xmlns:a16="http://schemas.microsoft.com/office/drawing/2014/main" id="{D6CC10A3-2260-4AFC-BF9B-6799D85B58EE}"/>
                </a:ext>
              </a:extLst>
            </p:cNvPr>
            <p:cNvSpPr>
              <a:spLocks noChangeArrowheads="1"/>
            </p:cNvSpPr>
            <p:nvPr/>
          </p:nvSpPr>
          <p:spPr bwMode="auto">
            <a:xfrm>
              <a:off x="788" y="1078"/>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Freeform 12">
              <a:extLst>
                <a:ext uri="{FF2B5EF4-FFF2-40B4-BE49-F238E27FC236}">
                  <a16:creationId xmlns:a16="http://schemas.microsoft.com/office/drawing/2014/main" id="{D01359F5-AB09-4C51-836C-261C30C157D8}"/>
                </a:ext>
              </a:extLst>
            </p:cNvPr>
            <p:cNvSpPr>
              <a:spLocks/>
            </p:cNvSpPr>
            <p:nvPr/>
          </p:nvSpPr>
          <p:spPr bwMode="auto">
            <a:xfrm>
              <a:off x="788" y="892"/>
              <a:ext cx="93" cy="93"/>
            </a:xfrm>
            <a:custGeom>
              <a:avLst/>
              <a:gdLst>
                <a:gd name="T0" fmla="*/ 0 w 93"/>
                <a:gd name="T1" fmla="*/ 93 h 93"/>
                <a:gd name="T2" fmla="*/ 47 w 93"/>
                <a:gd name="T3" fmla="*/ 93 h 93"/>
                <a:gd name="T4" fmla="*/ 47 w 93"/>
                <a:gd name="T5" fmla="*/ 47 h 93"/>
                <a:gd name="T6" fmla="*/ 93 w 93"/>
                <a:gd name="T7" fmla="*/ 47 h 93"/>
                <a:gd name="T8" fmla="*/ 93 w 93"/>
                <a:gd name="T9" fmla="*/ 0 h 93"/>
                <a:gd name="T10" fmla="*/ 0 w 93"/>
                <a:gd name="T11" fmla="*/ 0 h 93"/>
                <a:gd name="T12" fmla="*/ 0 w 93"/>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0" y="93"/>
                  </a:moveTo>
                  <a:lnTo>
                    <a:pt x="47" y="93"/>
                  </a:lnTo>
                  <a:lnTo>
                    <a:pt x="47" y="47"/>
                  </a:lnTo>
                  <a:lnTo>
                    <a:pt x="93" y="47"/>
                  </a:lnTo>
                  <a:lnTo>
                    <a:pt x="93" y="0"/>
                  </a:lnTo>
                  <a:lnTo>
                    <a:pt x="0" y="0"/>
                  </a:lnTo>
                  <a:lnTo>
                    <a:pt x="0"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 name="Rectangle 13">
              <a:extLst>
                <a:ext uri="{FF2B5EF4-FFF2-40B4-BE49-F238E27FC236}">
                  <a16:creationId xmlns:a16="http://schemas.microsoft.com/office/drawing/2014/main" id="{B4019C67-8BE7-4B35-A68B-4A458AF0D4E2}"/>
                </a:ext>
              </a:extLst>
            </p:cNvPr>
            <p:cNvSpPr>
              <a:spLocks noChangeArrowheads="1"/>
            </p:cNvSpPr>
            <p:nvPr/>
          </p:nvSpPr>
          <p:spPr bwMode="auto">
            <a:xfrm>
              <a:off x="1159" y="892"/>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 name="Rectangle 14">
              <a:extLst>
                <a:ext uri="{FF2B5EF4-FFF2-40B4-BE49-F238E27FC236}">
                  <a16:creationId xmlns:a16="http://schemas.microsoft.com/office/drawing/2014/main" id="{CCE92B79-EB71-43F3-A2DF-3787823F9D0C}"/>
                </a:ext>
              </a:extLst>
            </p:cNvPr>
            <p:cNvSpPr>
              <a:spLocks noChangeArrowheads="1"/>
            </p:cNvSpPr>
            <p:nvPr/>
          </p:nvSpPr>
          <p:spPr bwMode="auto">
            <a:xfrm>
              <a:off x="974" y="892"/>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 name="Rectangle 15">
              <a:extLst>
                <a:ext uri="{FF2B5EF4-FFF2-40B4-BE49-F238E27FC236}">
                  <a16:creationId xmlns:a16="http://schemas.microsoft.com/office/drawing/2014/main" id="{FAE0C0B9-418C-4A04-B90B-8AB63D2A67EC}"/>
                </a:ext>
              </a:extLst>
            </p:cNvPr>
            <p:cNvSpPr>
              <a:spLocks noChangeArrowheads="1"/>
            </p:cNvSpPr>
            <p:nvPr/>
          </p:nvSpPr>
          <p:spPr bwMode="auto">
            <a:xfrm>
              <a:off x="1391" y="1078"/>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 name="Rectangle 16">
              <a:extLst>
                <a:ext uri="{FF2B5EF4-FFF2-40B4-BE49-F238E27FC236}">
                  <a16:creationId xmlns:a16="http://schemas.microsoft.com/office/drawing/2014/main" id="{EC6F0477-D21A-435B-BF73-D55B619ECDC2}"/>
                </a:ext>
              </a:extLst>
            </p:cNvPr>
            <p:cNvSpPr>
              <a:spLocks noChangeArrowheads="1"/>
            </p:cNvSpPr>
            <p:nvPr/>
          </p:nvSpPr>
          <p:spPr bwMode="auto">
            <a:xfrm>
              <a:off x="1391" y="1263"/>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49" name="Picture 2" descr="5 ft x 3 ft 150 x 90 cm-DRAPEAU BELGE Belgique 100% Polyester ...">
            <a:extLst>
              <a:ext uri="{FF2B5EF4-FFF2-40B4-BE49-F238E27FC236}">
                <a16:creationId xmlns:a16="http://schemas.microsoft.com/office/drawing/2014/main" id="{A7BD1F11-91BD-4F62-992B-5828F2A447E2}"/>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50" name="Picture 2 - 1" descr="Drapeau des Pays-Bas — Wikipédia">
            <a:extLst>
              <a:ext uri="{FF2B5EF4-FFF2-40B4-BE49-F238E27FC236}">
                <a16:creationId xmlns:a16="http://schemas.microsoft.com/office/drawing/2014/main" id="{02F563AE-E150-4D92-8103-2D75F7038C0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51" name="Picture 2 - 2" descr="Drapeau du Luxembourg">
            <a:extLst>
              <a:ext uri="{FF2B5EF4-FFF2-40B4-BE49-F238E27FC236}">
                <a16:creationId xmlns:a16="http://schemas.microsoft.com/office/drawing/2014/main" id="{44672945-56F0-477A-98B7-C85477CD73A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nvGrpSpPr>
          <p:cNvPr id="82" name="Group 4">
            <a:extLst>
              <a:ext uri="{FF2B5EF4-FFF2-40B4-BE49-F238E27FC236}">
                <a16:creationId xmlns:a16="http://schemas.microsoft.com/office/drawing/2014/main" id="{D5BE3789-609C-4CC2-9EE2-8319CCF9785F}"/>
              </a:ext>
            </a:extLst>
          </p:cNvPr>
          <p:cNvGrpSpPr>
            <a:grpSpLocks noChangeAspect="1"/>
          </p:cNvGrpSpPr>
          <p:nvPr/>
        </p:nvGrpSpPr>
        <p:grpSpPr bwMode="auto">
          <a:xfrm>
            <a:off x="3845233" y="4663687"/>
            <a:ext cx="224696" cy="224695"/>
            <a:chOff x="788" y="788"/>
            <a:chExt cx="754" cy="754"/>
          </a:xfrm>
          <a:solidFill>
            <a:schemeClr val="tx2"/>
          </a:solidFill>
        </p:grpSpPr>
        <p:sp>
          <p:nvSpPr>
            <p:cNvPr id="83" name="Freeform 5">
              <a:extLst>
                <a:ext uri="{FF2B5EF4-FFF2-40B4-BE49-F238E27FC236}">
                  <a16:creationId xmlns:a16="http://schemas.microsoft.com/office/drawing/2014/main" id="{84614B6A-76F1-4F8D-8B85-0BE8EA314788}"/>
                </a:ext>
              </a:extLst>
            </p:cNvPr>
            <p:cNvSpPr>
              <a:spLocks/>
            </p:cNvSpPr>
            <p:nvPr/>
          </p:nvSpPr>
          <p:spPr bwMode="auto">
            <a:xfrm>
              <a:off x="904" y="788"/>
              <a:ext cx="638" cy="603"/>
            </a:xfrm>
            <a:custGeom>
              <a:avLst/>
              <a:gdLst>
                <a:gd name="T0" fmla="*/ 52 w 55"/>
                <a:gd name="T1" fmla="*/ 2 h 52"/>
                <a:gd name="T2" fmla="*/ 45 w 55"/>
                <a:gd name="T3" fmla="*/ 3 h 52"/>
                <a:gd name="T4" fmla="*/ 19 w 55"/>
                <a:gd name="T5" fmla="*/ 36 h 52"/>
                <a:gd name="T6" fmla="*/ 10 w 55"/>
                <a:gd name="T7" fmla="*/ 26 h 52"/>
                <a:gd name="T8" fmla="*/ 3 w 55"/>
                <a:gd name="T9" fmla="*/ 25 h 52"/>
                <a:gd name="T10" fmla="*/ 2 w 55"/>
                <a:gd name="T11" fmla="*/ 32 h 52"/>
                <a:gd name="T12" fmla="*/ 19 w 55"/>
                <a:gd name="T13" fmla="*/ 52 h 52"/>
                <a:gd name="T14" fmla="*/ 53 w 55"/>
                <a:gd name="T15" fmla="*/ 9 h 52"/>
                <a:gd name="T16" fmla="*/ 52 w 55"/>
                <a:gd name="T17"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2">
                  <a:moveTo>
                    <a:pt x="52" y="2"/>
                  </a:moveTo>
                  <a:cubicBezTo>
                    <a:pt x="50" y="0"/>
                    <a:pt x="47" y="1"/>
                    <a:pt x="45" y="3"/>
                  </a:cubicBezTo>
                  <a:cubicBezTo>
                    <a:pt x="19" y="36"/>
                    <a:pt x="19" y="36"/>
                    <a:pt x="19" y="36"/>
                  </a:cubicBezTo>
                  <a:cubicBezTo>
                    <a:pt x="10" y="26"/>
                    <a:pt x="10" y="26"/>
                    <a:pt x="10" y="26"/>
                  </a:cubicBezTo>
                  <a:cubicBezTo>
                    <a:pt x="8" y="24"/>
                    <a:pt x="5" y="24"/>
                    <a:pt x="3" y="25"/>
                  </a:cubicBezTo>
                  <a:cubicBezTo>
                    <a:pt x="1" y="27"/>
                    <a:pt x="0" y="30"/>
                    <a:pt x="2" y="32"/>
                  </a:cubicBezTo>
                  <a:cubicBezTo>
                    <a:pt x="19" y="52"/>
                    <a:pt x="19" y="52"/>
                    <a:pt x="19" y="52"/>
                  </a:cubicBezTo>
                  <a:cubicBezTo>
                    <a:pt x="53" y="9"/>
                    <a:pt x="53" y="9"/>
                    <a:pt x="53" y="9"/>
                  </a:cubicBezTo>
                  <a:cubicBezTo>
                    <a:pt x="55" y="7"/>
                    <a:pt x="55" y="4"/>
                    <a:pt x="5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
              <a:extLst>
                <a:ext uri="{FF2B5EF4-FFF2-40B4-BE49-F238E27FC236}">
                  <a16:creationId xmlns:a16="http://schemas.microsoft.com/office/drawing/2014/main" id="{672375FE-ACAC-4E16-B68A-1339BCA187F9}"/>
                </a:ext>
              </a:extLst>
            </p:cNvPr>
            <p:cNvSpPr>
              <a:spLocks/>
            </p:cNvSpPr>
            <p:nvPr/>
          </p:nvSpPr>
          <p:spPr bwMode="auto">
            <a:xfrm>
              <a:off x="1344" y="1449"/>
              <a:ext cx="93" cy="93"/>
            </a:xfrm>
            <a:custGeom>
              <a:avLst/>
              <a:gdLst>
                <a:gd name="T0" fmla="*/ 47 w 93"/>
                <a:gd name="T1" fmla="*/ 46 h 93"/>
                <a:gd name="T2" fmla="*/ 0 w 93"/>
                <a:gd name="T3" fmla="*/ 46 h 93"/>
                <a:gd name="T4" fmla="*/ 0 w 93"/>
                <a:gd name="T5" fmla="*/ 93 h 93"/>
                <a:gd name="T6" fmla="*/ 93 w 93"/>
                <a:gd name="T7" fmla="*/ 93 h 93"/>
                <a:gd name="T8" fmla="*/ 93 w 93"/>
                <a:gd name="T9" fmla="*/ 0 h 93"/>
                <a:gd name="T10" fmla="*/ 47 w 93"/>
                <a:gd name="T11" fmla="*/ 0 h 93"/>
                <a:gd name="T12" fmla="*/ 47 w 93"/>
                <a:gd name="T13" fmla="*/ 46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46"/>
                  </a:moveTo>
                  <a:lnTo>
                    <a:pt x="0" y="46"/>
                  </a:lnTo>
                  <a:lnTo>
                    <a:pt x="0" y="93"/>
                  </a:lnTo>
                  <a:lnTo>
                    <a:pt x="93" y="93"/>
                  </a:lnTo>
                  <a:lnTo>
                    <a:pt x="93" y="0"/>
                  </a:lnTo>
                  <a:lnTo>
                    <a:pt x="47" y="0"/>
                  </a:lnTo>
                  <a:lnTo>
                    <a:pt x="4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Rectangle 7">
              <a:extLst>
                <a:ext uri="{FF2B5EF4-FFF2-40B4-BE49-F238E27FC236}">
                  <a16:creationId xmlns:a16="http://schemas.microsoft.com/office/drawing/2014/main" id="{4D614D04-DE13-4256-A152-4CA80E5F0C56}"/>
                </a:ext>
              </a:extLst>
            </p:cNvPr>
            <p:cNvSpPr>
              <a:spLocks noChangeArrowheads="1"/>
            </p:cNvSpPr>
            <p:nvPr/>
          </p:nvSpPr>
          <p:spPr bwMode="auto">
            <a:xfrm>
              <a:off x="1159" y="1495"/>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Rectangle 8">
              <a:extLst>
                <a:ext uri="{FF2B5EF4-FFF2-40B4-BE49-F238E27FC236}">
                  <a16:creationId xmlns:a16="http://schemas.microsoft.com/office/drawing/2014/main" id="{671ABB24-F485-4496-978C-E639B2D11B0D}"/>
                </a:ext>
              </a:extLst>
            </p:cNvPr>
            <p:cNvSpPr>
              <a:spLocks noChangeArrowheads="1"/>
            </p:cNvSpPr>
            <p:nvPr/>
          </p:nvSpPr>
          <p:spPr bwMode="auto">
            <a:xfrm>
              <a:off x="974" y="1495"/>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9">
              <a:extLst>
                <a:ext uri="{FF2B5EF4-FFF2-40B4-BE49-F238E27FC236}">
                  <a16:creationId xmlns:a16="http://schemas.microsoft.com/office/drawing/2014/main" id="{0DEC53A4-42F1-493B-A889-3F09565FE1F0}"/>
                </a:ext>
              </a:extLst>
            </p:cNvPr>
            <p:cNvSpPr>
              <a:spLocks/>
            </p:cNvSpPr>
            <p:nvPr/>
          </p:nvSpPr>
          <p:spPr bwMode="auto">
            <a:xfrm>
              <a:off x="788" y="1449"/>
              <a:ext cx="93" cy="93"/>
            </a:xfrm>
            <a:custGeom>
              <a:avLst/>
              <a:gdLst>
                <a:gd name="T0" fmla="*/ 47 w 93"/>
                <a:gd name="T1" fmla="*/ 0 h 93"/>
                <a:gd name="T2" fmla="*/ 0 w 93"/>
                <a:gd name="T3" fmla="*/ 0 h 93"/>
                <a:gd name="T4" fmla="*/ 0 w 93"/>
                <a:gd name="T5" fmla="*/ 93 h 93"/>
                <a:gd name="T6" fmla="*/ 93 w 93"/>
                <a:gd name="T7" fmla="*/ 93 h 93"/>
                <a:gd name="T8" fmla="*/ 93 w 93"/>
                <a:gd name="T9" fmla="*/ 46 h 93"/>
                <a:gd name="T10" fmla="*/ 47 w 93"/>
                <a:gd name="T11" fmla="*/ 46 h 93"/>
                <a:gd name="T12" fmla="*/ 47 w 93"/>
                <a:gd name="T13" fmla="*/ 0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0"/>
                  </a:moveTo>
                  <a:lnTo>
                    <a:pt x="0" y="0"/>
                  </a:lnTo>
                  <a:lnTo>
                    <a:pt x="0" y="93"/>
                  </a:lnTo>
                  <a:lnTo>
                    <a:pt x="93" y="93"/>
                  </a:lnTo>
                  <a:lnTo>
                    <a:pt x="93" y="46"/>
                  </a:lnTo>
                  <a:lnTo>
                    <a:pt x="47" y="46"/>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Rectangle 10">
              <a:extLst>
                <a:ext uri="{FF2B5EF4-FFF2-40B4-BE49-F238E27FC236}">
                  <a16:creationId xmlns:a16="http://schemas.microsoft.com/office/drawing/2014/main" id="{39EA766C-87E3-4D86-820F-CB0A2A364FDC}"/>
                </a:ext>
              </a:extLst>
            </p:cNvPr>
            <p:cNvSpPr>
              <a:spLocks noChangeArrowheads="1"/>
            </p:cNvSpPr>
            <p:nvPr/>
          </p:nvSpPr>
          <p:spPr bwMode="auto">
            <a:xfrm>
              <a:off x="788" y="1263"/>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Rectangle 11">
              <a:extLst>
                <a:ext uri="{FF2B5EF4-FFF2-40B4-BE49-F238E27FC236}">
                  <a16:creationId xmlns:a16="http://schemas.microsoft.com/office/drawing/2014/main" id="{79C1BD73-1D53-4556-BBBE-14A2C7627E8C}"/>
                </a:ext>
              </a:extLst>
            </p:cNvPr>
            <p:cNvSpPr>
              <a:spLocks noChangeArrowheads="1"/>
            </p:cNvSpPr>
            <p:nvPr/>
          </p:nvSpPr>
          <p:spPr bwMode="auto">
            <a:xfrm>
              <a:off x="788" y="1078"/>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12">
              <a:extLst>
                <a:ext uri="{FF2B5EF4-FFF2-40B4-BE49-F238E27FC236}">
                  <a16:creationId xmlns:a16="http://schemas.microsoft.com/office/drawing/2014/main" id="{EA4A4C15-C5D6-4193-832F-20BA301A6E72}"/>
                </a:ext>
              </a:extLst>
            </p:cNvPr>
            <p:cNvSpPr>
              <a:spLocks/>
            </p:cNvSpPr>
            <p:nvPr/>
          </p:nvSpPr>
          <p:spPr bwMode="auto">
            <a:xfrm>
              <a:off x="788" y="892"/>
              <a:ext cx="93" cy="93"/>
            </a:xfrm>
            <a:custGeom>
              <a:avLst/>
              <a:gdLst>
                <a:gd name="T0" fmla="*/ 0 w 93"/>
                <a:gd name="T1" fmla="*/ 93 h 93"/>
                <a:gd name="T2" fmla="*/ 47 w 93"/>
                <a:gd name="T3" fmla="*/ 93 h 93"/>
                <a:gd name="T4" fmla="*/ 47 w 93"/>
                <a:gd name="T5" fmla="*/ 47 h 93"/>
                <a:gd name="T6" fmla="*/ 93 w 93"/>
                <a:gd name="T7" fmla="*/ 47 h 93"/>
                <a:gd name="T8" fmla="*/ 93 w 93"/>
                <a:gd name="T9" fmla="*/ 0 h 93"/>
                <a:gd name="T10" fmla="*/ 0 w 93"/>
                <a:gd name="T11" fmla="*/ 0 h 93"/>
                <a:gd name="T12" fmla="*/ 0 w 93"/>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0" y="93"/>
                  </a:moveTo>
                  <a:lnTo>
                    <a:pt x="47" y="93"/>
                  </a:lnTo>
                  <a:lnTo>
                    <a:pt x="47" y="47"/>
                  </a:lnTo>
                  <a:lnTo>
                    <a:pt x="93" y="47"/>
                  </a:lnTo>
                  <a:lnTo>
                    <a:pt x="93" y="0"/>
                  </a:lnTo>
                  <a:lnTo>
                    <a:pt x="0" y="0"/>
                  </a:lnTo>
                  <a:lnTo>
                    <a:pt x="0"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Rectangle 13">
              <a:extLst>
                <a:ext uri="{FF2B5EF4-FFF2-40B4-BE49-F238E27FC236}">
                  <a16:creationId xmlns:a16="http://schemas.microsoft.com/office/drawing/2014/main" id="{60C65167-17D7-4075-A94F-03905E060773}"/>
                </a:ext>
              </a:extLst>
            </p:cNvPr>
            <p:cNvSpPr>
              <a:spLocks noChangeArrowheads="1"/>
            </p:cNvSpPr>
            <p:nvPr/>
          </p:nvSpPr>
          <p:spPr bwMode="auto">
            <a:xfrm>
              <a:off x="1159" y="892"/>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Rectangle 14">
              <a:extLst>
                <a:ext uri="{FF2B5EF4-FFF2-40B4-BE49-F238E27FC236}">
                  <a16:creationId xmlns:a16="http://schemas.microsoft.com/office/drawing/2014/main" id="{75C6CFC2-3159-4150-B9E8-D2441190A6D6}"/>
                </a:ext>
              </a:extLst>
            </p:cNvPr>
            <p:cNvSpPr>
              <a:spLocks noChangeArrowheads="1"/>
            </p:cNvSpPr>
            <p:nvPr/>
          </p:nvSpPr>
          <p:spPr bwMode="auto">
            <a:xfrm>
              <a:off x="974" y="892"/>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Rectangle 15">
              <a:extLst>
                <a:ext uri="{FF2B5EF4-FFF2-40B4-BE49-F238E27FC236}">
                  <a16:creationId xmlns:a16="http://schemas.microsoft.com/office/drawing/2014/main" id="{77D92081-8297-4B10-A3A1-5B1D3088B391}"/>
                </a:ext>
              </a:extLst>
            </p:cNvPr>
            <p:cNvSpPr>
              <a:spLocks noChangeArrowheads="1"/>
            </p:cNvSpPr>
            <p:nvPr/>
          </p:nvSpPr>
          <p:spPr bwMode="auto">
            <a:xfrm>
              <a:off x="1391" y="1078"/>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Rectangle 16">
              <a:extLst>
                <a:ext uri="{FF2B5EF4-FFF2-40B4-BE49-F238E27FC236}">
                  <a16:creationId xmlns:a16="http://schemas.microsoft.com/office/drawing/2014/main" id="{0F98824F-B0F5-4593-8FB5-99790051EECB}"/>
                </a:ext>
              </a:extLst>
            </p:cNvPr>
            <p:cNvSpPr>
              <a:spLocks noChangeArrowheads="1"/>
            </p:cNvSpPr>
            <p:nvPr/>
          </p:nvSpPr>
          <p:spPr bwMode="auto">
            <a:xfrm>
              <a:off x="1391" y="1263"/>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5" name="Bulle narrative : rectangle 94">
            <a:extLst>
              <a:ext uri="{FF2B5EF4-FFF2-40B4-BE49-F238E27FC236}">
                <a16:creationId xmlns:a16="http://schemas.microsoft.com/office/drawing/2014/main" id="{99674C1F-DA9B-4456-B8C5-93B9907C5D3B}"/>
              </a:ext>
            </a:extLst>
          </p:cNvPr>
          <p:cNvSpPr/>
          <p:nvPr/>
        </p:nvSpPr>
        <p:spPr bwMode="auto">
          <a:xfrm>
            <a:off x="1232626" y="4195350"/>
            <a:ext cx="1110005" cy="665436"/>
          </a:xfrm>
          <a:prstGeom prst="wedgeRectCallout">
            <a:avLst>
              <a:gd name="adj1" fmla="val -14858"/>
              <a:gd name="adj2" fmla="val -67363"/>
            </a:avLst>
          </a:prstGeom>
          <a:solidFill>
            <a:schemeClr val="bg1"/>
          </a:solidFill>
          <a:ln w="9525"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7200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lang="en-GB" sz="9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lang="en-GB" sz="9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900">
                <a:latin typeface="Trebuchet MS" pitchFamily="34" charset="0"/>
              </a:rPr>
              <a:t>To be l</a:t>
            </a:r>
            <a:r>
              <a:rPr kumimoji="0" lang="en-GB" sz="900" b="0" i="0" u="none" strike="noStrike" cap="none" normalizeH="0" baseline="0">
                <a:ln>
                  <a:noFill/>
                </a:ln>
                <a:solidFill>
                  <a:schemeClr val="tx1"/>
                </a:solidFill>
                <a:effectLst/>
                <a:latin typeface="Trebuchet MS" pitchFamily="34" charset="0"/>
              </a:rPr>
              <a:t>aunched in BNL (Datahub, Q1 2021)</a:t>
            </a:r>
          </a:p>
        </p:txBody>
      </p:sp>
      <p:grpSp>
        <p:nvGrpSpPr>
          <p:cNvPr id="152" name="Group 4">
            <a:extLst>
              <a:ext uri="{FF2B5EF4-FFF2-40B4-BE49-F238E27FC236}">
                <a16:creationId xmlns:a16="http://schemas.microsoft.com/office/drawing/2014/main" id="{78E470A0-F979-406D-81E2-CA94C9BB68B3}"/>
              </a:ext>
            </a:extLst>
          </p:cNvPr>
          <p:cNvGrpSpPr>
            <a:grpSpLocks noChangeAspect="1"/>
          </p:cNvGrpSpPr>
          <p:nvPr/>
        </p:nvGrpSpPr>
        <p:grpSpPr bwMode="auto">
          <a:xfrm>
            <a:off x="1672978" y="4217374"/>
            <a:ext cx="224696" cy="224695"/>
            <a:chOff x="788" y="788"/>
            <a:chExt cx="754" cy="754"/>
          </a:xfrm>
          <a:solidFill>
            <a:schemeClr val="tx2"/>
          </a:solidFill>
        </p:grpSpPr>
        <p:sp>
          <p:nvSpPr>
            <p:cNvPr id="153" name="Freeform 5">
              <a:extLst>
                <a:ext uri="{FF2B5EF4-FFF2-40B4-BE49-F238E27FC236}">
                  <a16:creationId xmlns:a16="http://schemas.microsoft.com/office/drawing/2014/main" id="{7720DBF2-942C-4D16-A45B-A384EA5F708C}"/>
                </a:ext>
              </a:extLst>
            </p:cNvPr>
            <p:cNvSpPr>
              <a:spLocks/>
            </p:cNvSpPr>
            <p:nvPr/>
          </p:nvSpPr>
          <p:spPr bwMode="auto">
            <a:xfrm>
              <a:off x="904" y="788"/>
              <a:ext cx="638" cy="603"/>
            </a:xfrm>
            <a:custGeom>
              <a:avLst/>
              <a:gdLst>
                <a:gd name="T0" fmla="*/ 52 w 55"/>
                <a:gd name="T1" fmla="*/ 2 h 52"/>
                <a:gd name="T2" fmla="*/ 45 w 55"/>
                <a:gd name="T3" fmla="*/ 3 h 52"/>
                <a:gd name="T4" fmla="*/ 19 w 55"/>
                <a:gd name="T5" fmla="*/ 36 h 52"/>
                <a:gd name="T6" fmla="*/ 10 w 55"/>
                <a:gd name="T7" fmla="*/ 26 h 52"/>
                <a:gd name="T8" fmla="*/ 3 w 55"/>
                <a:gd name="T9" fmla="*/ 25 h 52"/>
                <a:gd name="T10" fmla="*/ 2 w 55"/>
                <a:gd name="T11" fmla="*/ 32 h 52"/>
                <a:gd name="T12" fmla="*/ 19 w 55"/>
                <a:gd name="T13" fmla="*/ 52 h 52"/>
                <a:gd name="T14" fmla="*/ 53 w 55"/>
                <a:gd name="T15" fmla="*/ 9 h 52"/>
                <a:gd name="T16" fmla="*/ 52 w 55"/>
                <a:gd name="T17"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2">
                  <a:moveTo>
                    <a:pt x="52" y="2"/>
                  </a:moveTo>
                  <a:cubicBezTo>
                    <a:pt x="50" y="0"/>
                    <a:pt x="47" y="1"/>
                    <a:pt x="45" y="3"/>
                  </a:cubicBezTo>
                  <a:cubicBezTo>
                    <a:pt x="19" y="36"/>
                    <a:pt x="19" y="36"/>
                    <a:pt x="19" y="36"/>
                  </a:cubicBezTo>
                  <a:cubicBezTo>
                    <a:pt x="10" y="26"/>
                    <a:pt x="10" y="26"/>
                    <a:pt x="10" y="26"/>
                  </a:cubicBezTo>
                  <a:cubicBezTo>
                    <a:pt x="8" y="24"/>
                    <a:pt x="5" y="24"/>
                    <a:pt x="3" y="25"/>
                  </a:cubicBezTo>
                  <a:cubicBezTo>
                    <a:pt x="1" y="27"/>
                    <a:pt x="0" y="30"/>
                    <a:pt x="2" y="32"/>
                  </a:cubicBezTo>
                  <a:cubicBezTo>
                    <a:pt x="19" y="52"/>
                    <a:pt x="19" y="52"/>
                    <a:pt x="19" y="52"/>
                  </a:cubicBezTo>
                  <a:cubicBezTo>
                    <a:pt x="53" y="9"/>
                    <a:pt x="53" y="9"/>
                    <a:pt x="53" y="9"/>
                  </a:cubicBezTo>
                  <a:cubicBezTo>
                    <a:pt x="55" y="7"/>
                    <a:pt x="55" y="4"/>
                    <a:pt x="5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 name="Freeform 6">
              <a:extLst>
                <a:ext uri="{FF2B5EF4-FFF2-40B4-BE49-F238E27FC236}">
                  <a16:creationId xmlns:a16="http://schemas.microsoft.com/office/drawing/2014/main" id="{053E4388-7215-410B-85B9-81BB11E696EA}"/>
                </a:ext>
              </a:extLst>
            </p:cNvPr>
            <p:cNvSpPr>
              <a:spLocks/>
            </p:cNvSpPr>
            <p:nvPr/>
          </p:nvSpPr>
          <p:spPr bwMode="auto">
            <a:xfrm>
              <a:off x="1344" y="1449"/>
              <a:ext cx="93" cy="93"/>
            </a:xfrm>
            <a:custGeom>
              <a:avLst/>
              <a:gdLst>
                <a:gd name="T0" fmla="*/ 47 w 93"/>
                <a:gd name="T1" fmla="*/ 46 h 93"/>
                <a:gd name="T2" fmla="*/ 0 w 93"/>
                <a:gd name="T3" fmla="*/ 46 h 93"/>
                <a:gd name="T4" fmla="*/ 0 w 93"/>
                <a:gd name="T5" fmla="*/ 93 h 93"/>
                <a:gd name="T6" fmla="*/ 93 w 93"/>
                <a:gd name="T7" fmla="*/ 93 h 93"/>
                <a:gd name="T8" fmla="*/ 93 w 93"/>
                <a:gd name="T9" fmla="*/ 0 h 93"/>
                <a:gd name="T10" fmla="*/ 47 w 93"/>
                <a:gd name="T11" fmla="*/ 0 h 93"/>
                <a:gd name="T12" fmla="*/ 47 w 93"/>
                <a:gd name="T13" fmla="*/ 46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46"/>
                  </a:moveTo>
                  <a:lnTo>
                    <a:pt x="0" y="46"/>
                  </a:lnTo>
                  <a:lnTo>
                    <a:pt x="0" y="93"/>
                  </a:lnTo>
                  <a:lnTo>
                    <a:pt x="93" y="93"/>
                  </a:lnTo>
                  <a:lnTo>
                    <a:pt x="93" y="0"/>
                  </a:lnTo>
                  <a:lnTo>
                    <a:pt x="47" y="0"/>
                  </a:lnTo>
                  <a:lnTo>
                    <a:pt x="4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 name="Rectangle 7">
              <a:extLst>
                <a:ext uri="{FF2B5EF4-FFF2-40B4-BE49-F238E27FC236}">
                  <a16:creationId xmlns:a16="http://schemas.microsoft.com/office/drawing/2014/main" id="{895AE859-DFD7-474E-852B-59184DC7B451}"/>
                </a:ext>
              </a:extLst>
            </p:cNvPr>
            <p:cNvSpPr>
              <a:spLocks noChangeArrowheads="1"/>
            </p:cNvSpPr>
            <p:nvPr/>
          </p:nvSpPr>
          <p:spPr bwMode="auto">
            <a:xfrm>
              <a:off x="1159" y="1495"/>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 name="Rectangle 8">
              <a:extLst>
                <a:ext uri="{FF2B5EF4-FFF2-40B4-BE49-F238E27FC236}">
                  <a16:creationId xmlns:a16="http://schemas.microsoft.com/office/drawing/2014/main" id="{E7EEF5EE-58FC-4431-BB3B-FC575194C6CB}"/>
                </a:ext>
              </a:extLst>
            </p:cNvPr>
            <p:cNvSpPr>
              <a:spLocks noChangeArrowheads="1"/>
            </p:cNvSpPr>
            <p:nvPr/>
          </p:nvSpPr>
          <p:spPr bwMode="auto">
            <a:xfrm>
              <a:off x="974" y="1495"/>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7" name="Freeform 9">
              <a:extLst>
                <a:ext uri="{FF2B5EF4-FFF2-40B4-BE49-F238E27FC236}">
                  <a16:creationId xmlns:a16="http://schemas.microsoft.com/office/drawing/2014/main" id="{4DCC8AE3-2B6B-4848-84DE-D14A12B8C2F8}"/>
                </a:ext>
              </a:extLst>
            </p:cNvPr>
            <p:cNvSpPr>
              <a:spLocks/>
            </p:cNvSpPr>
            <p:nvPr/>
          </p:nvSpPr>
          <p:spPr bwMode="auto">
            <a:xfrm>
              <a:off x="788" y="1449"/>
              <a:ext cx="93" cy="93"/>
            </a:xfrm>
            <a:custGeom>
              <a:avLst/>
              <a:gdLst>
                <a:gd name="T0" fmla="*/ 47 w 93"/>
                <a:gd name="T1" fmla="*/ 0 h 93"/>
                <a:gd name="T2" fmla="*/ 0 w 93"/>
                <a:gd name="T3" fmla="*/ 0 h 93"/>
                <a:gd name="T4" fmla="*/ 0 w 93"/>
                <a:gd name="T5" fmla="*/ 93 h 93"/>
                <a:gd name="T6" fmla="*/ 93 w 93"/>
                <a:gd name="T7" fmla="*/ 93 h 93"/>
                <a:gd name="T8" fmla="*/ 93 w 93"/>
                <a:gd name="T9" fmla="*/ 46 h 93"/>
                <a:gd name="T10" fmla="*/ 47 w 93"/>
                <a:gd name="T11" fmla="*/ 46 h 93"/>
                <a:gd name="T12" fmla="*/ 47 w 93"/>
                <a:gd name="T13" fmla="*/ 0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0"/>
                  </a:moveTo>
                  <a:lnTo>
                    <a:pt x="0" y="0"/>
                  </a:lnTo>
                  <a:lnTo>
                    <a:pt x="0" y="93"/>
                  </a:lnTo>
                  <a:lnTo>
                    <a:pt x="93" y="93"/>
                  </a:lnTo>
                  <a:lnTo>
                    <a:pt x="93" y="46"/>
                  </a:lnTo>
                  <a:lnTo>
                    <a:pt x="47" y="46"/>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 name="Rectangle 10">
              <a:extLst>
                <a:ext uri="{FF2B5EF4-FFF2-40B4-BE49-F238E27FC236}">
                  <a16:creationId xmlns:a16="http://schemas.microsoft.com/office/drawing/2014/main" id="{29B05885-1FE9-45E7-84ED-532DCD4BDA6E}"/>
                </a:ext>
              </a:extLst>
            </p:cNvPr>
            <p:cNvSpPr>
              <a:spLocks noChangeArrowheads="1"/>
            </p:cNvSpPr>
            <p:nvPr/>
          </p:nvSpPr>
          <p:spPr bwMode="auto">
            <a:xfrm>
              <a:off x="788" y="1263"/>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9" name="Rectangle 11">
              <a:extLst>
                <a:ext uri="{FF2B5EF4-FFF2-40B4-BE49-F238E27FC236}">
                  <a16:creationId xmlns:a16="http://schemas.microsoft.com/office/drawing/2014/main" id="{164A2F1B-83DF-4DF4-B060-8BBDA2C11914}"/>
                </a:ext>
              </a:extLst>
            </p:cNvPr>
            <p:cNvSpPr>
              <a:spLocks noChangeArrowheads="1"/>
            </p:cNvSpPr>
            <p:nvPr/>
          </p:nvSpPr>
          <p:spPr bwMode="auto">
            <a:xfrm>
              <a:off x="788" y="1078"/>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0" name="Freeform 12">
              <a:extLst>
                <a:ext uri="{FF2B5EF4-FFF2-40B4-BE49-F238E27FC236}">
                  <a16:creationId xmlns:a16="http://schemas.microsoft.com/office/drawing/2014/main" id="{2B7EE5CD-1D25-4C56-9523-65A8A66AF416}"/>
                </a:ext>
              </a:extLst>
            </p:cNvPr>
            <p:cNvSpPr>
              <a:spLocks/>
            </p:cNvSpPr>
            <p:nvPr/>
          </p:nvSpPr>
          <p:spPr bwMode="auto">
            <a:xfrm>
              <a:off x="788" y="892"/>
              <a:ext cx="93" cy="93"/>
            </a:xfrm>
            <a:custGeom>
              <a:avLst/>
              <a:gdLst>
                <a:gd name="T0" fmla="*/ 0 w 93"/>
                <a:gd name="T1" fmla="*/ 93 h 93"/>
                <a:gd name="T2" fmla="*/ 47 w 93"/>
                <a:gd name="T3" fmla="*/ 93 h 93"/>
                <a:gd name="T4" fmla="*/ 47 w 93"/>
                <a:gd name="T5" fmla="*/ 47 h 93"/>
                <a:gd name="T6" fmla="*/ 93 w 93"/>
                <a:gd name="T7" fmla="*/ 47 h 93"/>
                <a:gd name="T8" fmla="*/ 93 w 93"/>
                <a:gd name="T9" fmla="*/ 0 h 93"/>
                <a:gd name="T10" fmla="*/ 0 w 93"/>
                <a:gd name="T11" fmla="*/ 0 h 93"/>
                <a:gd name="T12" fmla="*/ 0 w 93"/>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0" y="93"/>
                  </a:moveTo>
                  <a:lnTo>
                    <a:pt x="47" y="93"/>
                  </a:lnTo>
                  <a:lnTo>
                    <a:pt x="47" y="47"/>
                  </a:lnTo>
                  <a:lnTo>
                    <a:pt x="93" y="47"/>
                  </a:lnTo>
                  <a:lnTo>
                    <a:pt x="93" y="0"/>
                  </a:lnTo>
                  <a:lnTo>
                    <a:pt x="0" y="0"/>
                  </a:lnTo>
                  <a:lnTo>
                    <a:pt x="0"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1" name="Rectangle 13">
              <a:extLst>
                <a:ext uri="{FF2B5EF4-FFF2-40B4-BE49-F238E27FC236}">
                  <a16:creationId xmlns:a16="http://schemas.microsoft.com/office/drawing/2014/main" id="{38BEAD55-FF7A-4D4E-BAD3-FA22BE0B9232}"/>
                </a:ext>
              </a:extLst>
            </p:cNvPr>
            <p:cNvSpPr>
              <a:spLocks noChangeArrowheads="1"/>
            </p:cNvSpPr>
            <p:nvPr/>
          </p:nvSpPr>
          <p:spPr bwMode="auto">
            <a:xfrm>
              <a:off x="1159" y="892"/>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2" name="Rectangle 14">
              <a:extLst>
                <a:ext uri="{FF2B5EF4-FFF2-40B4-BE49-F238E27FC236}">
                  <a16:creationId xmlns:a16="http://schemas.microsoft.com/office/drawing/2014/main" id="{0503694D-D82C-4A95-978C-97720BC31C91}"/>
                </a:ext>
              </a:extLst>
            </p:cNvPr>
            <p:cNvSpPr>
              <a:spLocks noChangeArrowheads="1"/>
            </p:cNvSpPr>
            <p:nvPr/>
          </p:nvSpPr>
          <p:spPr bwMode="auto">
            <a:xfrm>
              <a:off x="974" y="892"/>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3" name="Rectangle 15">
              <a:extLst>
                <a:ext uri="{FF2B5EF4-FFF2-40B4-BE49-F238E27FC236}">
                  <a16:creationId xmlns:a16="http://schemas.microsoft.com/office/drawing/2014/main" id="{ECBD1F4D-B6E0-4C15-A259-380973571E7D}"/>
                </a:ext>
              </a:extLst>
            </p:cNvPr>
            <p:cNvSpPr>
              <a:spLocks noChangeArrowheads="1"/>
            </p:cNvSpPr>
            <p:nvPr/>
          </p:nvSpPr>
          <p:spPr bwMode="auto">
            <a:xfrm>
              <a:off x="1391" y="1078"/>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4" name="Rectangle 16">
              <a:extLst>
                <a:ext uri="{FF2B5EF4-FFF2-40B4-BE49-F238E27FC236}">
                  <a16:creationId xmlns:a16="http://schemas.microsoft.com/office/drawing/2014/main" id="{C9784ED0-2E9E-4B04-A9BB-8BDBE1D12D70}"/>
                </a:ext>
              </a:extLst>
            </p:cNvPr>
            <p:cNvSpPr>
              <a:spLocks noChangeArrowheads="1"/>
            </p:cNvSpPr>
            <p:nvPr/>
          </p:nvSpPr>
          <p:spPr bwMode="auto">
            <a:xfrm>
              <a:off x="1391" y="1263"/>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417722506"/>
      </p:ext>
    </p:extLst>
  </p:cSld>
  <p:clrMapOvr>
    <a:masterClrMapping/>
  </p:clrMapOvr>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7ECA7587-5D4D-4C77-BC7A-FBCB26E9B679}"/>
              </a:ext>
            </a:extLst>
          </p:cNvPr>
          <p:cNvGraphicFramePr>
            <a:graphicFrameLocks noChangeAspect="1"/>
          </p:cNvGraphicFramePr>
          <p:nvPr>
            <p:custDataLst>
              <p:tags r:id="rId1"/>
            </p:custDataLst>
            <p:extLst>
              <p:ext uri="{D42A27DB-BD31-4B8C-83A1-F6EECF244321}">
                <p14:modId xmlns:p14="http://schemas.microsoft.com/office/powerpoint/2010/main" val="1683271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4" name="Objet 13" hidden="1">
                        <a:extLst>
                          <a:ext uri="{FF2B5EF4-FFF2-40B4-BE49-F238E27FC236}">
                            <a16:creationId xmlns:a16="http://schemas.microsoft.com/office/drawing/2014/main" id="{7ECA7587-5D4D-4C77-BC7A-FBCB26E9B6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D7D998A4-C0A2-4344-97DF-ADA1A0B203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cs typeface="+mn-cs"/>
              <a:sym typeface="Trebuchet MS" panose="020B0603020202020204" pitchFamily="34" charset="0"/>
            </a:endParaRPr>
          </a:p>
        </p:txBody>
      </p:sp>
      <p:sp>
        <p:nvSpPr>
          <p:cNvPr id="2" name="Titre 1">
            <a:extLst>
              <a:ext uri="{FF2B5EF4-FFF2-40B4-BE49-F238E27FC236}">
                <a16:creationId xmlns:a16="http://schemas.microsoft.com/office/drawing/2014/main" id="{1D825224-5426-45FB-95E4-C5F4C82DBF4A}"/>
              </a:ext>
            </a:extLst>
          </p:cNvPr>
          <p:cNvSpPr>
            <a:spLocks noGrp="1"/>
          </p:cNvSpPr>
          <p:nvPr>
            <p:ph type="title"/>
          </p:nvPr>
        </p:nvSpPr>
        <p:spPr>
          <a:xfrm>
            <a:off x="645524" y="147600"/>
            <a:ext cx="7828830" cy="684000"/>
          </a:xfr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1"/>
            <a:r>
              <a:rPr lang="en-GB" sz="1600" b="0">
                <a:solidFill>
                  <a:schemeClr val="tx1"/>
                </a:solidFill>
              </a:rPr>
              <a:t>Transversal </a:t>
            </a:r>
            <a:r>
              <a:rPr lang="en-GB" sz="1600" b="0">
                <a:solidFill>
                  <a:schemeClr val="tx2"/>
                </a:solidFill>
              </a:rPr>
              <a:t>product innovation </a:t>
            </a:r>
            <a:r>
              <a:rPr lang="en-GB" sz="1600" b="0">
                <a:solidFill>
                  <a:schemeClr val="tx1"/>
                </a:solidFill>
              </a:rPr>
              <a:t>(API capability, Data enrichment, data blocks, </a:t>
            </a:r>
            <a:r>
              <a:rPr lang="en-GB" sz="1600" b="0" err="1">
                <a:solidFill>
                  <a:schemeClr val="tx1"/>
                </a:solidFill>
              </a:rPr>
              <a:t>AltaMarket</a:t>
            </a:r>
            <a:r>
              <a:rPr lang="en-GB" sz="1600" b="0">
                <a:solidFill>
                  <a:schemeClr val="tx1"/>
                </a:solidFill>
              </a:rPr>
              <a:t>…) will strongly support </a:t>
            </a:r>
            <a:r>
              <a:rPr lang="en-GB" sz="1600" b="0" err="1">
                <a:solidFill>
                  <a:schemeClr val="tx1"/>
                </a:solidFill>
              </a:rPr>
              <a:t>Altares</a:t>
            </a:r>
            <a:r>
              <a:rPr lang="en-GB" sz="1600" b="0">
                <a:solidFill>
                  <a:schemeClr val="tx1"/>
                </a:solidFill>
              </a:rPr>
              <a:t>’ future growth</a:t>
            </a:r>
          </a:p>
        </p:txBody>
      </p:sp>
      <p:sp>
        <p:nvSpPr>
          <p:cNvPr id="3" name="Espace réservé du texte 2">
            <a:extLst>
              <a:ext uri="{FF2B5EF4-FFF2-40B4-BE49-F238E27FC236}">
                <a16:creationId xmlns:a16="http://schemas.microsoft.com/office/drawing/2014/main" id="{E5010DA3-233A-4C0B-9142-F7481F6191F9}"/>
              </a:ext>
            </a:extLst>
          </p:cNvPr>
          <p:cNvSpPr>
            <a:spLocks noGrp="1"/>
          </p:cNvSpPr>
          <p:nvPr>
            <p:ph type="body" sz="quarter" idx="10"/>
          </p:nvPr>
        </p:nvSpPr>
        <p:spPr/>
        <p:txBody>
          <a:bodyPr/>
          <a:lstStyle/>
          <a:p>
            <a:r>
              <a:rPr lang="en-GB"/>
              <a:t>Sources: eleven research &amp; analysis, company data, interviews with management</a:t>
            </a:r>
          </a:p>
        </p:txBody>
      </p:sp>
      <p:grpSp>
        <p:nvGrpSpPr>
          <p:cNvPr id="15" name="Groupe 14">
            <a:extLst>
              <a:ext uri="{FF2B5EF4-FFF2-40B4-BE49-F238E27FC236}">
                <a16:creationId xmlns:a16="http://schemas.microsoft.com/office/drawing/2014/main" id="{C88EAA25-C61C-4E24-AB02-2694B4B3F4B9}"/>
              </a:ext>
            </a:extLst>
          </p:cNvPr>
          <p:cNvGrpSpPr/>
          <p:nvPr/>
        </p:nvGrpSpPr>
        <p:grpSpPr>
          <a:xfrm>
            <a:off x="362696" y="193602"/>
            <a:ext cx="222565" cy="276999"/>
            <a:chOff x="3409503" y="1194238"/>
            <a:chExt cx="269305" cy="368686"/>
          </a:xfrm>
        </p:grpSpPr>
        <p:sp>
          <p:nvSpPr>
            <p:cNvPr id="16" name="Ellipse 15">
              <a:extLst>
                <a:ext uri="{FF2B5EF4-FFF2-40B4-BE49-F238E27FC236}">
                  <a16:creationId xmlns:a16="http://schemas.microsoft.com/office/drawing/2014/main" id="{C559AF43-BD4F-4D4D-B32D-CC291C49FEA2}"/>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7" name="ZoneTexte 16">
              <a:extLst>
                <a:ext uri="{FF2B5EF4-FFF2-40B4-BE49-F238E27FC236}">
                  <a16:creationId xmlns:a16="http://schemas.microsoft.com/office/drawing/2014/main" id="{85D65150-60A3-4C47-88CD-107E3DDF8567}"/>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5</a:t>
              </a:r>
            </a:p>
          </p:txBody>
        </p:sp>
      </p:grpSp>
      <p:sp>
        <p:nvSpPr>
          <p:cNvPr id="18" name="Rectangle 17">
            <a:extLst>
              <a:ext uri="{FF2B5EF4-FFF2-40B4-BE49-F238E27FC236}">
                <a16:creationId xmlns:a16="http://schemas.microsoft.com/office/drawing/2014/main" id="{FF2A3E71-F790-43F9-895F-DA4FB88A640C}"/>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A</a:t>
            </a:r>
          </a:p>
        </p:txBody>
      </p:sp>
      <p:sp>
        <p:nvSpPr>
          <p:cNvPr id="269" name="Rectangle 268">
            <a:extLst>
              <a:ext uri="{FF2B5EF4-FFF2-40B4-BE49-F238E27FC236}">
                <a16:creationId xmlns:a16="http://schemas.microsoft.com/office/drawing/2014/main" id="{D49238BC-B933-414D-8A25-EE9018F6DAEF}"/>
              </a:ext>
            </a:extLst>
          </p:cNvPr>
          <p:cNvSpPr/>
          <p:nvPr/>
        </p:nvSpPr>
        <p:spPr bwMode="auto">
          <a:xfrm>
            <a:off x="141717" y="1265382"/>
            <a:ext cx="5096855" cy="51622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70" name="Rectangle 269">
            <a:extLst>
              <a:ext uri="{FF2B5EF4-FFF2-40B4-BE49-F238E27FC236}">
                <a16:creationId xmlns:a16="http://schemas.microsoft.com/office/drawing/2014/main" id="{EE8FF9BB-191A-489D-86A8-71487C277B94}"/>
              </a:ext>
            </a:extLst>
          </p:cNvPr>
          <p:cNvSpPr/>
          <p:nvPr/>
        </p:nvSpPr>
        <p:spPr bwMode="auto">
          <a:xfrm>
            <a:off x="5310208" y="1232547"/>
            <a:ext cx="4500000" cy="525387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just">
              <a:lnSpc>
                <a:spcPct val="107000"/>
              </a:lnSpc>
              <a:spcAft>
                <a:spcPts val="600"/>
              </a:spcAft>
              <a:buClr>
                <a:schemeClr val="tx1"/>
              </a:buClr>
            </a:pPr>
            <a:r>
              <a:rPr lang="en-GB" sz="1000" b="0" dirty="0">
                <a:solidFill>
                  <a:schemeClr val="tx1"/>
                </a:solidFill>
              </a:rPr>
              <a:t>Innovations will mainly concern:</a:t>
            </a:r>
            <a:endParaRPr lang="en-GB" sz="1000" dirty="0">
              <a:latin typeface="Trebuchet MS" panose="020B0603020202020204" pitchFamily="34" charset="0"/>
              <a:ea typeface="Calibri" panose="020F0502020204030204" pitchFamily="34" charset="0"/>
            </a:endParaRPr>
          </a:p>
          <a:p>
            <a:pPr marL="228600" indent="-228600" algn="just">
              <a:lnSpc>
                <a:spcPct val="107000"/>
              </a:lnSpc>
              <a:spcAft>
                <a:spcPts val="200"/>
              </a:spcAft>
              <a:buClr>
                <a:schemeClr val="tx1"/>
              </a:buClr>
              <a:buFont typeface="+mj-lt"/>
              <a:buAutoNum type="arabicPeriod"/>
            </a:pPr>
            <a:r>
              <a:rPr lang="en-GB" sz="1000" dirty="0">
                <a:solidFill>
                  <a:schemeClr val="tx2"/>
                </a:solidFill>
                <a:latin typeface="Trebuchet MS" panose="020B0603020202020204" pitchFamily="34" charset="0"/>
                <a:ea typeface="Calibri" panose="020F0502020204030204" pitchFamily="34" charset="0"/>
              </a:rPr>
              <a:t>API/ connectors:</a:t>
            </a:r>
          </a:p>
          <a:p>
            <a:pPr marL="685800" lvl="1" indent="-228600" algn="just">
              <a:lnSpc>
                <a:spcPct val="107000"/>
              </a:lnSpc>
              <a:spcAft>
                <a:spcPts val="200"/>
              </a:spcAft>
              <a:buClr>
                <a:schemeClr val="tx1"/>
              </a:buClr>
              <a:buFont typeface="Courier New" panose="02070309020205020404" pitchFamily="49" charset="0"/>
              <a:buChar char="o"/>
            </a:pPr>
            <a:r>
              <a:rPr lang="en-GB" sz="1000" dirty="0">
                <a:solidFill>
                  <a:schemeClr val="tx2"/>
                </a:solidFill>
                <a:latin typeface="Trebuchet MS" panose="020B0603020202020204" pitchFamily="34" charset="0"/>
                <a:ea typeface="Calibri" panose="020F0502020204030204" pitchFamily="34" charset="0"/>
              </a:rPr>
              <a:t>Further growth on </a:t>
            </a:r>
            <a:r>
              <a:rPr lang="en-GB" sz="1000" dirty="0" err="1">
                <a:solidFill>
                  <a:schemeClr val="tx2"/>
                </a:solidFill>
                <a:latin typeface="Trebuchet MS" panose="020B0603020202020204" pitchFamily="34" charset="0"/>
                <a:ea typeface="Calibri" panose="020F0502020204030204" pitchFamily="34" charset="0"/>
              </a:rPr>
              <a:t>Dataxess</a:t>
            </a:r>
            <a:endParaRPr lang="en-GB" sz="1000" dirty="0">
              <a:solidFill>
                <a:schemeClr val="tx2"/>
              </a:solidFill>
              <a:latin typeface="Trebuchet MS" panose="020B0603020202020204" pitchFamily="34" charset="0"/>
              <a:ea typeface="Calibri" panose="020F0502020204030204" pitchFamily="34" charset="0"/>
            </a:endParaRPr>
          </a:p>
          <a:p>
            <a:pPr marL="685800" lvl="1" indent="-228600" algn="just">
              <a:lnSpc>
                <a:spcPct val="107000"/>
              </a:lnSpc>
              <a:spcAft>
                <a:spcPts val="600"/>
              </a:spcAft>
              <a:buClr>
                <a:schemeClr val="tx1"/>
              </a:buClr>
              <a:buFont typeface="Courier New" panose="02070309020205020404" pitchFamily="49" charset="0"/>
              <a:buChar char="o"/>
            </a:pPr>
            <a:r>
              <a:rPr lang="en-GB" sz="1000" dirty="0">
                <a:solidFill>
                  <a:schemeClr val="tx2"/>
                </a:solidFill>
                <a:latin typeface="Trebuchet MS" panose="020B0603020202020204" pitchFamily="34" charset="0"/>
                <a:ea typeface="Calibri" panose="020F0502020204030204" pitchFamily="34" charset="0"/>
              </a:rPr>
              <a:t>Reinforcement of ERP-integrated solutions with Business Add-on </a:t>
            </a:r>
            <a:r>
              <a:rPr lang="en-GB" sz="1000" dirty="0">
                <a:latin typeface="Trebuchet MS" panose="020B0603020202020204" pitchFamily="34" charset="0"/>
                <a:ea typeface="Calibri" panose="020F0502020204030204" pitchFamily="34" charset="0"/>
              </a:rPr>
              <a:t>(BAO) for SAP (e.g. appointment of a product manager, integration of risk and compliance data)</a:t>
            </a:r>
            <a:r>
              <a:rPr lang="en-GB" sz="1000" i="1" dirty="0">
                <a:solidFill>
                  <a:schemeClr val="accent1"/>
                </a:solidFill>
                <a:effectLst/>
                <a:latin typeface="Trebuchet MS" panose="020B0603020202020204" pitchFamily="34" charset="0"/>
                <a:ea typeface="Calibri" panose="020F0502020204030204" pitchFamily="34" charset="0"/>
                <a:cs typeface="Arial" panose="020B0604020202020204" pitchFamily="34" charset="0"/>
              </a:rPr>
              <a:t> </a:t>
            </a:r>
            <a:endParaRPr lang="en-GB" sz="1000" dirty="0">
              <a:latin typeface="Trebuchet MS" panose="020B0603020202020204" pitchFamily="34" charset="0"/>
              <a:ea typeface="Calibri" panose="020F0502020204030204" pitchFamily="34" charset="0"/>
            </a:endParaRPr>
          </a:p>
          <a:p>
            <a:pPr marL="228600" indent="-228600" algn="just">
              <a:lnSpc>
                <a:spcPct val="107000"/>
              </a:lnSpc>
              <a:spcAft>
                <a:spcPts val="200"/>
              </a:spcAft>
              <a:buClr>
                <a:schemeClr val="tx1"/>
              </a:buClr>
              <a:buFont typeface="+mj-lt"/>
              <a:buAutoNum type="arabicPeriod"/>
            </a:pPr>
            <a:r>
              <a:rPr lang="en-GB" sz="1000" dirty="0">
                <a:solidFill>
                  <a:schemeClr val="tx2"/>
                </a:solidFill>
                <a:latin typeface="Trebuchet MS" panose="020B0603020202020204" pitchFamily="34" charset="0"/>
                <a:ea typeface="Calibri" panose="020F0502020204030204" pitchFamily="34" charset="0"/>
              </a:rPr>
              <a:t>Data enrichment:</a:t>
            </a:r>
          </a:p>
          <a:p>
            <a:pPr marL="685800" lvl="1" indent="-228600" algn="just">
              <a:lnSpc>
                <a:spcPct val="107000"/>
              </a:lnSpc>
              <a:spcAft>
                <a:spcPts val="200"/>
              </a:spcAft>
              <a:buClr>
                <a:schemeClr val="tx1"/>
              </a:buClr>
              <a:buFont typeface="Courier New" panose="02070309020205020404" pitchFamily="49" charset="0"/>
              <a:buChar char="o"/>
            </a:pPr>
            <a:r>
              <a:rPr lang="en-GB" sz="1000" dirty="0">
                <a:latin typeface="Trebuchet MS" panose="020B0603020202020204" pitchFamily="34" charset="0"/>
                <a:ea typeface="Calibri" panose="020F0502020204030204" pitchFamily="34" charset="0"/>
              </a:rPr>
              <a:t>Launch of D&amp;B </a:t>
            </a:r>
            <a:r>
              <a:rPr lang="en-GB" sz="1000" dirty="0" err="1">
                <a:solidFill>
                  <a:schemeClr val="tx2"/>
                </a:solidFill>
                <a:latin typeface="Trebuchet MS" panose="020B0603020202020204" pitchFamily="34" charset="0"/>
                <a:ea typeface="Calibri" panose="020F0502020204030204" pitchFamily="34" charset="0"/>
              </a:rPr>
              <a:t>Datablocks</a:t>
            </a:r>
            <a:r>
              <a:rPr lang="en-GB" sz="1000" dirty="0">
                <a:solidFill>
                  <a:schemeClr val="tx2"/>
                </a:solidFill>
                <a:latin typeface="Trebuchet MS" panose="020B0603020202020204" pitchFamily="34" charset="0"/>
                <a:ea typeface="Calibri" panose="020F0502020204030204" pitchFamily="34" charset="0"/>
              </a:rPr>
              <a:t> Direct+ </a:t>
            </a:r>
            <a:r>
              <a:rPr lang="en-GB" sz="1000" dirty="0">
                <a:latin typeface="Trebuchet MS" panose="020B0603020202020204" pitchFamily="34" charset="0"/>
                <a:ea typeface="Calibri" panose="020F0502020204030204" pitchFamily="34" charset="0"/>
              </a:rPr>
              <a:t>(Q4-2020), with modern API and granular data for Risk and Compliance (huge demand from the market; 3 customers lined-up for EAP)</a:t>
            </a:r>
          </a:p>
          <a:p>
            <a:pPr marL="685800" lvl="1" indent="-228600" algn="just">
              <a:lnSpc>
                <a:spcPct val="107000"/>
              </a:lnSpc>
              <a:spcAft>
                <a:spcPts val="600"/>
              </a:spcAft>
              <a:buClr>
                <a:schemeClr val="tx1"/>
              </a:buClr>
              <a:buFont typeface="Courier New" panose="02070309020205020404" pitchFamily="49" charset="0"/>
              <a:buChar char="o"/>
            </a:pPr>
            <a:r>
              <a:rPr lang="en-GB" sz="1000" dirty="0">
                <a:latin typeface="Trebuchet MS" panose="020B0603020202020204" pitchFamily="34" charset="0"/>
                <a:ea typeface="Calibri" panose="020F0502020204030204" pitchFamily="34" charset="0"/>
              </a:rPr>
              <a:t>Launch of </a:t>
            </a:r>
            <a:r>
              <a:rPr lang="en-GB" sz="1000" dirty="0" err="1">
                <a:solidFill>
                  <a:schemeClr val="tx2"/>
                </a:solidFill>
                <a:latin typeface="Trebuchet MS" panose="020B0603020202020204" pitchFamily="34" charset="0"/>
                <a:ea typeface="Calibri" panose="020F0502020204030204" pitchFamily="34" charset="0"/>
              </a:rPr>
              <a:t>AltaMarket</a:t>
            </a:r>
            <a:r>
              <a:rPr lang="en-GB" sz="1000" dirty="0">
                <a:solidFill>
                  <a:schemeClr val="tx2"/>
                </a:solidFill>
                <a:latin typeface="Trebuchet MS" panose="020B0603020202020204" pitchFamily="34" charset="0"/>
                <a:ea typeface="Calibri" panose="020F0502020204030204" pitchFamily="34" charset="0"/>
              </a:rPr>
              <a:t>®</a:t>
            </a:r>
            <a:r>
              <a:rPr lang="en-GB" sz="1000" dirty="0">
                <a:latin typeface="Trebuchet MS" panose="020B0603020202020204" pitchFamily="34" charset="0"/>
                <a:ea typeface="Calibri" panose="020F0502020204030204" pitchFamily="34" charset="0"/>
              </a:rPr>
              <a:t>, a marketplace platform where B2B data providers (the “partners”) and their customers connect to buy and sell data, paying broker and infrastructure fees to </a:t>
            </a:r>
            <a:r>
              <a:rPr lang="en-GB" sz="1000" dirty="0" err="1">
                <a:latin typeface="Trebuchet MS" panose="020B0603020202020204" pitchFamily="34" charset="0"/>
                <a:ea typeface="Calibri" panose="020F0502020204030204" pitchFamily="34" charset="0"/>
              </a:rPr>
              <a:t>Altares</a:t>
            </a:r>
            <a:r>
              <a:rPr lang="en-GB" sz="1000" dirty="0">
                <a:latin typeface="Trebuchet MS" panose="020B0603020202020204" pitchFamily="34" charset="0"/>
                <a:ea typeface="Calibri" panose="020F0502020204030204" pitchFamily="34" charset="0"/>
              </a:rPr>
              <a:t> in exchange of the service. </a:t>
            </a:r>
            <a:r>
              <a:rPr lang="en-GB" sz="1000" dirty="0" err="1">
                <a:latin typeface="Trebuchet MS" panose="020B0603020202020204" pitchFamily="34" charset="0"/>
                <a:ea typeface="Calibri" panose="020F0502020204030204" pitchFamily="34" charset="0"/>
              </a:rPr>
              <a:t>Altares</a:t>
            </a:r>
            <a:r>
              <a:rPr lang="en-GB" sz="1000" dirty="0">
                <a:latin typeface="Trebuchet MS" panose="020B0603020202020204" pitchFamily="34" charset="0"/>
                <a:ea typeface="Calibri" panose="020F0502020204030204" pitchFamily="34" charset="0"/>
              </a:rPr>
              <a:t> unique-added value resides in the ability to enrich partners’ content with </a:t>
            </a:r>
            <a:r>
              <a:rPr lang="en-GB" sz="1000" dirty="0" err="1">
                <a:latin typeface="Trebuchet MS" panose="020B0603020202020204" pitchFamily="34" charset="0"/>
                <a:ea typeface="Calibri" panose="020F0502020204030204" pitchFamily="34" charset="0"/>
              </a:rPr>
              <a:t>Altares</a:t>
            </a:r>
            <a:r>
              <a:rPr lang="en-GB" sz="1000" dirty="0">
                <a:latin typeface="Trebuchet MS" panose="020B0603020202020204" pitchFamily="34" charset="0"/>
                <a:ea typeface="Calibri" panose="020F0502020204030204" pitchFamily="34" charset="0"/>
              </a:rPr>
              <a:t>’ proprietary data sets </a:t>
            </a:r>
          </a:p>
          <a:p>
            <a:pPr marL="228600" indent="-228600" algn="just">
              <a:lnSpc>
                <a:spcPct val="107000"/>
              </a:lnSpc>
              <a:spcAft>
                <a:spcPts val="200"/>
              </a:spcAft>
              <a:buClr>
                <a:schemeClr val="tx1"/>
              </a:buClr>
              <a:buFont typeface="+mj-lt"/>
              <a:buAutoNum type="arabicPeriod"/>
            </a:pPr>
            <a:r>
              <a:rPr lang="en-GB" sz="1000" dirty="0">
                <a:solidFill>
                  <a:schemeClr val="tx2"/>
                </a:solidFill>
                <a:latin typeface="Trebuchet MS" panose="020B0603020202020204" pitchFamily="34" charset="0"/>
                <a:ea typeface="Calibri" panose="020F0502020204030204" pitchFamily="34" charset="0"/>
              </a:rPr>
              <a:t>Additional functionalities:</a:t>
            </a:r>
          </a:p>
          <a:p>
            <a:pPr marL="685800" lvl="1" indent="-228600" algn="just">
              <a:lnSpc>
                <a:spcPct val="107000"/>
              </a:lnSpc>
              <a:spcAft>
                <a:spcPts val="200"/>
              </a:spcAft>
              <a:buClr>
                <a:schemeClr val="tx1"/>
              </a:buClr>
              <a:buFont typeface="Courier New" panose="02070309020205020404" pitchFamily="49" charset="0"/>
              <a:buChar char="o"/>
            </a:pPr>
            <a:r>
              <a:rPr lang="en-GB" sz="1000" dirty="0">
                <a:solidFill>
                  <a:schemeClr val="tx2"/>
                </a:solidFill>
                <a:latin typeface="Trebuchet MS" panose="020B0603020202020204" pitchFamily="34" charset="0"/>
                <a:ea typeface="Calibri" panose="020F0502020204030204" pitchFamily="34" charset="0"/>
              </a:rPr>
              <a:t>Digital identity management with SSO (Single Sign-on) </a:t>
            </a:r>
            <a:r>
              <a:rPr lang="en-GB" sz="1000" dirty="0">
                <a:latin typeface="Trebuchet MS" panose="020B0603020202020204" pitchFamily="34" charset="0"/>
                <a:ea typeface="Calibri" panose="020F0502020204030204" pitchFamily="34" charset="0"/>
              </a:rPr>
              <a:t>allowing clients to leverage global data license and to leverage the switch from one product to another (in 2022), facilitating cross-sell </a:t>
            </a:r>
          </a:p>
          <a:p>
            <a:pPr marL="685800" lvl="1" indent="-228600" algn="just">
              <a:lnSpc>
                <a:spcPct val="107000"/>
              </a:lnSpc>
              <a:spcAft>
                <a:spcPts val="600"/>
              </a:spcAft>
              <a:buClr>
                <a:schemeClr val="tx1"/>
              </a:buClr>
              <a:buFont typeface="Courier New" panose="02070309020205020404" pitchFamily="49" charset="0"/>
              <a:buChar char="o"/>
            </a:pPr>
            <a:r>
              <a:rPr lang="en-GB" sz="1000" dirty="0">
                <a:latin typeface="Trebuchet MS" panose="020B0603020202020204" pitchFamily="34" charset="0"/>
                <a:ea typeface="Calibri" panose="020F0502020204030204" pitchFamily="34" charset="0"/>
              </a:rPr>
              <a:t>Creation of </a:t>
            </a:r>
            <a:r>
              <a:rPr lang="en-GB" sz="1000" dirty="0">
                <a:solidFill>
                  <a:schemeClr val="tx2"/>
                </a:solidFill>
                <a:latin typeface="Trebuchet MS" panose="020B0603020202020204" pitchFamily="34" charset="0"/>
                <a:ea typeface="Calibri" panose="020F0502020204030204" pitchFamily="34" charset="0"/>
              </a:rPr>
              <a:t>user communities </a:t>
            </a:r>
            <a:r>
              <a:rPr lang="en-GB" sz="1000" dirty="0">
                <a:latin typeface="Trebuchet MS" panose="020B0603020202020204" pitchFamily="34" charset="0"/>
                <a:ea typeface="Calibri" panose="020F0502020204030204" pitchFamily="34" charset="0"/>
              </a:rPr>
              <a:t>through a Credit risk manager forum with the objective to enable Credit risk managers to communicate with each other through chats integrated in </a:t>
            </a:r>
            <a:r>
              <a:rPr lang="en-GB" sz="1000" dirty="0" err="1">
                <a:latin typeface="Trebuchet MS" panose="020B0603020202020204" pitchFamily="34" charset="0"/>
                <a:ea typeface="Calibri" panose="020F0502020204030204" pitchFamily="34" charset="0"/>
              </a:rPr>
              <a:t>Altares</a:t>
            </a:r>
            <a:r>
              <a:rPr lang="en-GB" sz="1000" dirty="0">
                <a:latin typeface="Trebuchet MS" panose="020B0603020202020204" pitchFamily="34" charset="0"/>
                <a:ea typeface="Calibri" panose="020F0502020204030204" pitchFamily="34" charset="0"/>
              </a:rPr>
              <a:t> products and as </a:t>
            </a:r>
            <a:r>
              <a:rPr lang="en-GB" sz="1000" dirty="0">
                <a:solidFill>
                  <a:schemeClr val="tx2"/>
                </a:solidFill>
                <a:latin typeface="Trebuchet MS" panose="020B0603020202020204" pitchFamily="34" charset="0"/>
                <a:ea typeface="Calibri" panose="020F0502020204030204" pitchFamily="34" charset="0"/>
              </a:rPr>
              <a:t>standalone platform</a:t>
            </a:r>
          </a:p>
          <a:p>
            <a:pPr marL="228600" indent="-228600" algn="just">
              <a:lnSpc>
                <a:spcPct val="107000"/>
              </a:lnSpc>
              <a:spcAft>
                <a:spcPts val="200"/>
              </a:spcAft>
              <a:buClr>
                <a:schemeClr val="tx1"/>
              </a:buClr>
              <a:buFont typeface="+mj-lt"/>
              <a:buAutoNum type="arabicPeriod"/>
            </a:pPr>
            <a:r>
              <a:rPr lang="en-GB" sz="1000" dirty="0">
                <a:solidFill>
                  <a:schemeClr val="tx2"/>
                </a:solidFill>
                <a:latin typeface="Trebuchet MS" panose="020B0603020202020204" pitchFamily="34" charset="0"/>
                <a:ea typeface="Calibri" panose="020F0502020204030204" pitchFamily="34" charset="0"/>
              </a:rPr>
              <a:t>Outpace the market trends:</a:t>
            </a:r>
          </a:p>
          <a:p>
            <a:pPr marL="685800" lvl="1" indent="-228600" algn="just">
              <a:lnSpc>
                <a:spcPct val="107000"/>
              </a:lnSpc>
              <a:spcAft>
                <a:spcPts val="200"/>
              </a:spcAft>
              <a:buClr>
                <a:schemeClr val="tx1"/>
              </a:buClr>
              <a:buFont typeface="Courier New" panose="02070309020205020404" pitchFamily="49" charset="0"/>
              <a:buChar char="o"/>
            </a:pPr>
            <a:r>
              <a:rPr lang="en-GB" sz="1000" dirty="0">
                <a:solidFill>
                  <a:schemeClr val="tx2"/>
                </a:solidFill>
                <a:latin typeface="Trebuchet MS" panose="020B0603020202020204" pitchFamily="34" charset="0"/>
                <a:ea typeface="Calibri" panose="020F0502020204030204" pitchFamily="34" charset="0"/>
              </a:rPr>
              <a:t>Increased pricing power </a:t>
            </a:r>
            <a:r>
              <a:rPr lang="en-GB" sz="1000" dirty="0">
                <a:latin typeface="Trebuchet MS" panose="020B0603020202020204" pitchFamily="34" charset="0"/>
                <a:ea typeface="Calibri" panose="020F0502020204030204" pitchFamily="34" charset="0"/>
              </a:rPr>
              <a:t>of </a:t>
            </a:r>
            <a:r>
              <a:rPr lang="en-GB" sz="1000" dirty="0" err="1">
                <a:latin typeface="Trebuchet MS" panose="020B0603020202020204" pitchFamily="34" charset="0"/>
                <a:ea typeface="Calibri" panose="020F0502020204030204" pitchFamily="34" charset="0"/>
              </a:rPr>
              <a:t>Altares</a:t>
            </a:r>
            <a:r>
              <a:rPr lang="en-GB" sz="1000" dirty="0">
                <a:latin typeface="Trebuchet MS" panose="020B0603020202020204" pitchFamily="34" charset="0"/>
                <a:ea typeface="Calibri" panose="020F0502020204030204" pitchFamily="34" charset="0"/>
              </a:rPr>
              <a:t> thanks to </a:t>
            </a:r>
            <a:r>
              <a:rPr lang="en-GB" sz="1000" dirty="0">
                <a:solidFill>
                  <a:schemeClr val="tx2"/>
                </a:solidFill>
                <a:latin typeface="Trebuchet MS" panose="020B0603020202020204" pitchFamily="34" charset="0"/>
                <a:ea typeface="Calibri" panose="020F0502020204030204" pitchFamily="34" charset="0"/>
              </a:rPr>
              <a:t>“premiumization”</a:t>
            </a:r>
          </a:p>
          <a:p>
            <a:pPr marL="685800" lvl="1" indent="-228600" algn="just">
              <a:lnSpc>
                <a:spcPct val="107000"/>
              </a:lnSpc>
              <a:spcAft>
                <a:spcPts val="200"/>
              </a:spcAft>
              <a:buClr>
                <a:schemeClr val="tx1"/>
              </a:buClr>
              <a:buFont typeface="Courier New" panose="02070309020205020404" pitchFamily="49" charset="0"/>
              <a:buChar char="o"/>
            </a:pPr>
            <a:r>
              <a:rPr lang="en-GB" sz="1000" dirty="0">
                <a:latin typeface="Trebuchet MS" panose="020B0603020202020204" pitchFamily="34" charset="0"/>
                <a:ea typeface="Calibri" panose="020F0502020204030204" pitchFamily="34" charset="0"/>
              </a:rPr>
              <a:t>All players in the market are leaning toward better data integration in their workflow by leveraging </a:t>
            </a:r>
            <a:r>
              <a:rPr lang="en-GB" sz="1000" dirty="0">
                <a:solidFill>
                  <a:schemeClr val="tx2"/>
                </a:solidFill>
                <a:latin typeface="Trebuchet MS" panose="020B0603020202020204" pitchFamily="34" charset="0"/>
                <a:ea typeface="Calibri" panose="020F0502020204030204" pitchFamily="34" charset="0"/>
              </a:rPr>
              <a:t>new</a:t>
            </a:r>
            <a:r>
              <a:rPr lang="en-GB" sz="1000" dirty="0">
                <a:latin typeface="Trebuchet MS" panose="020B0603020202020204" pitchFamily="34" charset="0"/>
                <a:ea typeface="Calibri" panose="020F0502020204030204" pitchFamily="34" charset="0"/>
              </a:rPr>
              <a:t> </a:t>
            </a:r>
            <a:r>
              <a:rPr lang="en-GB" sz="1000" dirty="0">
                <a:solidFill>
                  <a:schemeClr val="tx2"/>
                </a:solidFill>
                <a:latin typeface="Trebuchet MS" panose="020B0603020202020204" pitchFamily="34" charset="0"/>
                <a:ea typeface="Calibri" panose="020F0502020204030204" pitchFamily="34" charset="0"/>
              </a:rPr>
              <a:t>generation</a:t>
            </a:r>
            <a:r>
              <a:rPr lang="en-GB" sz="1000" dirty="0">
                <a:latin typeface="Trebuchet MS" panose="020B0603020202020204" pitchFamily="34" charset="0"/>
                <a:ea typeface="Calibri" panose="020F0502020204030204" pitchFamily="34" charset="0"/>
              </a:rPr>
              <a:t> of </a:t>
            </a:r>
            <a:r>
              <a:rPr lang="en-GB" sz="1000" dirty="0">
                <a:solidFill>
                  <a:schemeClr val="tx2"/>
                </a:solidFill>
                <a:latin typeface="Trebuchet MS" panose="020B0603020202020204" pitchFamily="34" charset="0"/>
                <a:ea typeface="Calibri" panose="020F0502020204030204" pitchFamily="34" charset="0"/>
              </a:rPr>
              <a:t>employees</a:t>
            </a:r>
            <a:r>
              <a:rPr lang="en-GB" sz="1000" dirty="0">
                <a:latin typeface="Trebuchet MS" panose="020B0603020202020204" pitchFamily="34" charset="0"/>
                <a:ea typeface="Calibri" panose="020F0502020204030204" pitchFamily="34" charset="0"/>
              </a:rPr>
              <a:t> </a:t>
            </a:r>
            <a:r>
              <a:rPr lang="en-GB" sz="1000" dirty="0">
                <a:solidFill>
                  <a:schemeClr val="tx2"/>
                </a:solidFill>
                <a:latin typeface="Trebuchet MS" panose="020B0603020202020204" pitchFamily="34" charset="0"/>
                <a:ea typeface="Calibri" panose="020F0502020204030204" pitchFamily="34" charset="0"/>
              </a:rPr>
              <a:t>highly</a:t>
            </a:r>
            <a:r>
              <a:rPr lang="en-GB" sz="1000" dirty="0">
                <a:latin typeface="Trebuchet MS" panose="020B0603020202020204" pitchFamily="34" charset="0"/>
                <a:ea typeface="Calibri" panose="020F0502020204030204" pitchFamily="34" charset="0"/>
              </a:rPr>
              <a:t> </a:t>
            </a:r>
            <a:r>
              <a:rPr lang="en-GB" sz="1000" dirty="0">
                <a:solidFill>
                  <a:schemeClr val="tx2"/>
                </a:solidFill>
                <a:latin typeface="Trebuchet MS" panose="020B0603020202020204" pitchFamily="34" charset="0"/>
                <a:ea typeface="Calibri" panose="020F0502020204030204" pitchFamily="34" charset="0"/>
              </a:rPr>
              <a:t>skilled</a:t>
            </a:r>
            <a:r>
              <a:rPr lang="en-GB" sz="1000" dirty="0">
                <a:latin typeface="Trebuchet MS" panose="020B0603020202020204" pitchFamily="34" charset="0"/>
                <a:ea typeface="Calibri" panose="020F0502020204030204" pitchFamily="34" charset="0"/>
              </a:rPr>
              <a:t> in modern development </a:t>
            </a:r>
            <a:r>
              <a:rPr lang="en-GB" sz="1000" dirty="0">
                <a:solidFill>
                  <a:schemeClr val="tx2"/>
                </a:solidFill>
                <a:latin typeface="Trebuchet MS" panose="020B0603020202020204" pitchFamily="34" charset="0"/>
                <a:ea typeface="Calibri" panose="020F0502020204030204" pitchFamily="34" charset="0"/>
              </a:rPr>
              <a:t>technics</a:t>
            </a:r>
          </a:p>
          <a:p>
            <a:pPr marL="685800" lvl="1" indent="-228600" algn="just">
              <a:lnSpc>
                <a:spcPct val="107000"/>
              </a:lnSpc>
              <a:spcAft>
                <a:spcPts val="600"/>
              </a:spcAft>
              <a:buClr>
                <a:schemeClr val="tx1"/>
              </a:buClr>
              <a:buFont typeface="Courier New" panose="02070309020205020404" pitchFamily="49" charset="0"/>
              <a:buChar char="o"/>
            </a:pPr>
            <a:endParaRPr lang="en-GB" sz="1000" dirty="0">
              <a:solidFill>
                <a:schemeClr val="tx2"/>
              </a:solidFill>
              <a:latin typeface="Trebuchet MS" panose="020B0603020202020204" pitchFamily="34" charset="0"/>
              <a:ea typeface="Calibri" panose="020F0502020204030204" pitchFamily="34" charset="0"/>
            </a:endParaRPr>
          </a:p>
          <a:p>
            <a:pPr lvl="1" algn="just">
              <a:lnSpc>
                <a:spcPct val="107000"/>
              </a:lnSpc>
              <a:spcAft>
                <a:spcPts val="600"/>
              </a:spcAft>
              <a:buClr>
                <a:schemeClr val="tx1"/>
              </a:buClr>
            </a:pPr>
            <a:endParaRPr lang="en-GB" sz="1000" dirty="0">
              <a:solidFill>
                <a:schemeClr val="tx2"/>
              </a:solidFill>
              <a:latin typeface="Trebuchet MS" panose="020B0603020202020204" pitchFamily="34" charset="0"/>
              <a:ea typeface="Calibri" panose="020F0502020204030204" pitchFamily="34" charset="0"/>
            </a:endParaRPr>
          </a:p>
        </p:txBody>
      </p:sp>
      <p:cxnSp>
        <p:nvCxnSpPr>
          <p:cNvPr id="271" name="Connecteur droit 4">
            <a:extLst>
              <a:ext uri="{FF2B5EF4-FFF2-40B4-BE49-F238E27FC236}">
                <a16:creationId xmlns:a16="http://schemas.microsoft.com/office/drawing/2014/main" id="{5113862D-84E5-45D5-8E15-53A023CCAFCF}"/>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72" name="TextBox 30">
            <a:extLst>
              <a:ext uri="{FF2B5EF4-FFF2-40B4-BE49-F238E27FC236}">
                <a16:creationId xmlns:a16="http://schemas.microsoft.com/office/drawing/2014/main" id="{AA81EE1B-0EFF-44CF-AC76-21AB17D740D3}"/>
              </a:ext>
            </a:extLst>
          </p:cNvPr>
          <p:cNvSpPr txBox="1"/>
          <p:nvPr/>
        </p:nvSpPr>
        <p:spPr>
          <a:xfrm>
            <a:off x="2690144" y="927530"/>
            <a:ext cx="5096855"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a:latin typeface="Trebuchet MS" panose="020B0603020202020204" pitchFamily="34" charset="0"/>
              </a:rPr>
              <a:t>API and connectors are the main innovation that will support </a:t>
            </a:r>
            <a:r>
              <a:rPr lang="en-GB" sz="1000" err="1">
                <a:latin typeface="Trebuchet MS" panose="020B0603020202020204" pitchFamily="34" charset="0"/>
              </a:rPr>
              <a:t>Altares</a:t>
            </a:r>
            <a:r>
              <a:rPr lang="en-GB" sz="1000">
                <a:latin typeface="Trebuchet MS" panose="020B0603020202020204" pitchFamily="34" charset="0"/>
              </a:rPr>
              <a:t>’ future growth</a:t>
            </a:r>
          </a:p>
        </p:txBody>
      </p:sp>
      <p:graphicFrame>
        <p:nvGraphicFramePr>
          <p:cNvPr id="38" name="Chart 43">
            <a:extLst>
              <a:ext uri="{FF2B5EF4-FFF2-40B4-BE49-F238E27FC236}">
                <a16:creationId xmlns:a16="http://schemas.microsoft.com/office/drawing/2014/main" id="{E490EDB2-406E-49E6-A5D3-9A10F7CF89FD}"/>
              </a:ext>
            </a:extLst>
          </p:cNvPr>
          <p:cNvGraphicFramePr/>
          <p:nvPr>
            <p:extLst>
              <p:ext uri="{D42A27DB-BD31-4B8C-83A1-F6EECF244321}">
                <p14:modId xmlns:p14="http://schemas.microsoft.com/office/powerpoint/2010/main" val="3135308245"/>
              </p:ext>
            </p:extLst>
          </p:nvPr>
        </p:nvGraphicFramePr>
        <p:xfrm>
          <a:off x="316516" y="1769478"/>
          <a:ext cx="4532267" cy="3657101"/>
        </p:xfrm>
        <a:graphic>
          <a:graphicData uri="http://schemas.openxmlformats.org/drawingml/2006/chart">
            <c:chart xmlns:c="http://schemas.openxmlformats.org/drawingml/2006/chart" xmlns:r="http://schemas.openxmlformats.org/officeDocument/2006/relationships" r:id="rId6"/>
          </a:graphicData>
        </a:graphic>
      </p:graphicFrame>
      <p:grpSp>
        <p:nvGrpSpPr>
          <p:cNvPr id="39" name="Group 30">
            <a:extLst>
              <a:ext uri="{FF2B5EF4-FFF2-40B4-BE49-F238E27FC236}">
                <a16:creationId xmlns:a16="http://schemas.microsoft.com/office/drawing/2014/main" id="{500A605E-AFC8-4D52-958D-E93F6E23E513}"/>
              </a:ext>
            </a:extLst>
          </p:cNvPr>
          <p:cNvGrpSpPr/>
          <p:nvPr/>
        </p:nvGrpSpPr>
        <p:grpSpPr>
          <a:xfrm>
            <a:off x="1178645" y="5610087"/>
            <a:ext cx="3034431" cy="611377"/>
            <a:chOff x="7341091" y="3904588"/>
            <a:chExt cx="943594" cy="1124611"/>
          </a:xfrm>
        </p:grpSpPr>
        <p:sp>
          <p:nvSpPr>
            <p:cNvPr id="40" name="Rectangle 39">
              <a:extLst>
                <a:ext uri="{FF2B5EF4-FFF2-40B4-BE49-F238E27FC236}">
                  <a16:creationId xmlns:a16="http://schemas.microsoft.com/office/drawing/2014/main" id="{A46FCCD5-53E7-4BD7-AEF4-39DED174C94B}"/>
                </a:ext>
              </a:extLst>
            </p:cNvPr>
            <p:cNvSpPr/>
            <p:nvPr/>
          </p:nvSpPr>
          <p:spPr bwMode="auto">
            <a:xfrm>
              <a:off x="7341091" y="3904588"/>
              <a:ext cx="943594" cy="1124611"/>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41" name="Group 16">
              <a:extLst>
                <a:ext uri="{FF2B5EF4-FFF2-40B4-BE49-F238E27FC236}">
                  <a16:creationId xmlns:a16="http://schemas.microsoft.com/office/drawing/2014/main" id="{9181884D-DE55-4EEF-93FE-2FA784449E16}"/>
                </a:ext>
              </a:extLst>
            </p:cNvPr>
            <p:cNvGrpSpPr/>
            <p:nvPr/>
          </p:nvGrpSpPr>
          <p:grpSpPr>
            <a:xfrm>
              <a:off x="7406699" y="4059600"/>
              <a:ext cx="877986" cy="933917"/>
              <a:chOff x="7406699" y="4055308"/>
              <a:chExt cx="877986" cy="933917"/>
            </a:xfrm>
          </p:grpSpPr>
          <p:grpSp>
            <p:nvGrpSpPr>
              <p:cNvPr id="42" name="Group 15">
                <a:extLst>
                  <a:ext uri="{FF2B5EF4-FFF2-40B4-BE49-F238E27FC236}">
                    <a16:creationId xmlns:a16="http://schemas.microsoft.com/office/drawing/2014/main" id="{CAFD05B6-D869-412C-B295-7F3DF8704B04}"/>
                  </a:ext>
                </a:extLst>
              </p:cNvPr>
              <p:cNvGrpSpPr/>
              <p:nvPr/>
            </p:nvGrpSpPr>
            <p:grpSpPr>
              <a:xfrm>
                <a:off x="7406699" y="4055308"/>
                <a:ext cx="833956" cy="283072"/>
                <a:chOff x="7406699" y="3998158"/>
                <a:chExt cx="833956" cy="283072"/>
              </a:xfrm>
            </p:grpSpPr>
            <p:cxnSp>
              <p:nvCxnSpPr>
                <p:cNvPr id="49" name="Straight Connector 68">
                  <a:extLst>
                    <a:ext uri="{FF2B5EF4-FFF2-40B4-BE49-F238E27FC236}">
                      <a16:creationId xmlns:a16="http://schemas.microsoft.com/office/drawing/2014/main" id="{AAC8706A-EC59-4DBB-98CC-4C09FACB6F8C}"/>
                    </a:ext>
                  </a:extLst>
                </p:cNvPr>
                <p:cNvCxnSpPr>
                  <a:cxnSpLocks/>
                </p:cNvCxnSpPr>
                <p:nvPr/>
              </p:nvCxnSpPr>
              <p:spPr bwMode="auto">
                <a:xfrm>
                  <a:off x="7406699" y="4042785"/>
                  <a:ext cx="94998"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50" name="TextBox 69">
                  <a:extLst>
                    <a:ext uri="{FF2B5EF4-FFF2-40B4-BE49-F238E27FC236}">
                      <a16:creationId xmlns:a16="http://schemas.microsoft.com/office/drawing/2014/main" id="{C87F91A1-0CBC-4589-97FA-0E0B96518706}"/>
                    </a:ext>
                  </a:extLst>
                </p:cNvPr>
                <p:cNvSpPr txBox="1"/>
                <p:nvPr/>
              </p:nvSpPr>
              <p:spPr>
                <a:xfrm>
                  <a:off x="7583786" y="3998158"/>
                  <a:ext cx="656869" cy="283072"/>
                </a:xfrm>
                <a:prstGeom prst="rect">
                  <a:avLst/>
                </a:prstGeom>
                <a:noFill/>
              </p:spPr>
              <p:txBody>
                <a:bodyPr wrap="square" lIns="0" tIns="0" rIns="0" bIns="0" rtlCol="0">
                  <a:spAutoFit/>
                </a:bodyPr>
                <a:lstStyle/>
                <a:p>
                  <a:r>
                    <a:rPr lang="en-GB" sz="1000">
                      <a:latin typeface="+mj-lt"/>
                    </a:rPr>
                    <a:t>Direct +</a:t>
                  </a:r>
                </a:p>
              </p:txBody>
            </p:sp>
          </p:grpSp>
          <p:grpSp>
            <p:nvGrpSpPr>
              <p:cNvPr id="43" name="Group 14">
                <a:extLst>
                  <a:ext uri="{FF2B5EF4-FFF2-40B4-BE49-F238E27FC236}">
                    <a16:creationId xmlns:a16="http://schemas.microsoft.com/office/drawing/2014/main" id="{379FCDC4-E103-4220-9D58-838FC934CDA0}"/>
                  </a:ext>
                </a:extLst>
              </p:cNvPr>
              <p:cNvGrpSpPr/>
              <p:nvPr/>
            </p:nvGrpSpPr>
            <p:grpSpPr>
              <a:xfrm>
                <a:off x="7406699" y="4385657"/>
                <a:ext cx="877986" cy="283073"/>
                <a:chOff x="7406699" y="4353150"/>
                <a:chExt cx="877986" cy="283073"/>
              </a:xfrm>
            </p:grpSpPr>
            <p:cxnSp>
              <p:nvCxnSpPr>
                <p:cNvPr id="47" name="Straight Connector 66">
                  <a:extLst>
                    <a:ext uri="{FF2B5EF4-FFF2-40B4-BE49-F238E27FC236}">
                      <a16:creationId xmlns:a16="http://schemas.microsoft.com/office/drawing/2014/main" id="{0D01F5B4-8D6A-4BAB-9638-9E13B6FC05EC}"/>
                    </a:ext>
                  </a:extLst>
                </p:cNvPr>
                <p:cNvCxnSpPr>
                  <a:cxnSpLocks/>
                </p:cNvCxnSpPr>
                <p:nvPr/>
              </p:nvCxnSpPr>
              <p:spPr bwMode="auto">
                <a:xfrm>
                  <a:off x="7406699" y="4430094"/>
                  <a:ext cx="94997"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48" name="TextBox 67">
                  <a:extLst>
                    <a:ext uri="{FF2B5EF4-FFF2-40B4-BE49-F238E27FC236}">
                      <a16:creationId xmlns:a16="http://schemas.microsoft.com/office/drawing/2014/main" id="{192497D0-0954-40B6-9242-1C8A4234CD52}"/>
                    </a:ext>
                  </a:extLst>
                </p:cNvPr>
                <p:cNvSpPr txBox="1"/>
                <p:nvPr/>
              </p:nvSpPr>
              <p:spPr>
                <a:xfrm>
                  <a:off x="7583786" y="4353150"/>
                  <a:ext cx="700899" cy="283073"/>
                </a:xfrm>
                <a:prstGeom prst="rect">
                  <a:avLst/>
                </a:prstGeom>
                <a:noFill/>
              </p:spPr>
              <p:txBody>
                <a:bodyPr wrap="square" lIns="0" tIns="0" rIns="0" bIns="0" rtlCol="0">
                  <a:spAutoFit/>
                </a:bodyPr>
                <a:lstStyle/>
                <a:p>
                  <a:r>
                    <a:rPr lang="en-GB" sz="1000">
                      <a:latin typeface="+mj-lt"/>
                    </a:rPr>
                    <a:t>Business Add On</a:t>
                  </a:r>
                </a:p>
              </p:txBody>
            </p:sp>
          </p:grpSp>
          <p:grpSp>
            <p:nvGrpSpPr>
              <p:cNvPr id="44" name="Group 1">
                <a:extLst>
                  <a:ext uri="{FF2B5EF4-FFF2-40B4-BE49-F238E27FC236}">
                    <a16:creationId xmlns:a16="http://schemas.microsoft.com/office/drawing/2014/main" id="{53B32B16-A0E4-477A-B640-FD85DBF52476}"/>
                  </a:ext>
                </a:extLst>
              </p:cNvPr>
              <p:cNvGrpSpPr/>
              <p:nvPr/>
            </p:nvGrpSpPr>
            <p:grpSpPr>
              <a:xfrm>
                <a:off x="7406699" y="4706153"/>
                <a:ext cx="877986" cy="283072"/>
                <a:chOff x="7406699" y="4550595"/>
                <a:chExt cx="877986" cy="283072"/>
              </a:xfrm>
            </p:grpSpPr>
            <p:cxnSp>
              <p:nvCxnSpPr>
                <p:cNvPr id="45" name="Straight Connector 89">
                  <a:extLst>
                    <a:ext uri="{FF2B5EF4-FFF2-40B4-BE49-F238E27FC236}">
                      <a16:creationId xmlns:a16="http://schemas.microsoft.com/office/drawing/2014/main" id="{54BA4E8B-B677-4D2F-ACF7-EC9AB4C7EC60}"/>
                    </a:ext>
                  </a:extLst>
                </p:cNvPr>
                <p:cNvCxnSpPr>
                  <a:cxnSpLocks/>
                </p:cNvCxnSpPr>
                <p:nvPr/>
              </p:nvCxnSpPr>
              <p:spPr bwMode="auto">
                <a:xfrm>
                  <a:off x="7406699" y="4669710"/>
                  <a:ext cx="94998" cy="0"/>
                </a:xfrm>
                <a:prstGeom prst="line">
                  <a:avLst/>
                </a:prstGeom>
                <a:solidFill>
                  <a:schemeClr val="bg1"/>
                </a:solidFill>
                <a:ln w="88900" cap="flat" cmpd="sng" algn="ctr">
                  <a:solidFill>
                    <a:srgbClr val="8FCD9F"/>
                  </a:solidFill>
                  <a:prstDash val="solid"/>
                  <a:round/>
                  <a:headEnd type="none" w="med" len="med"/>
                  <a:tailEnd type="none" w="med" len="med"/>
                </a:ln>
                <a:effectLst/>
              </p:spPr>
            </p:cxnSp>
            <p:sp>
              <p:nvSpPr>
                <p:cNvPr id="46" name="TextBox 90">
                  <a:extLst>
                    <a:ext uri="{FF2B5EF4-FFF2-40B4-BE49-F238E27FC236}">
                      <a16:creationId xmlns:a16="http://schemas.microsoft.com/office/drawing/2014/main" id="{8CEDE419-2F10-40F7-BCED-17328DD8CF08}"/>
                    </a:ext>
                  </a:extLst>
                </p:cNvPr>
                <p:cNvSpPr txBox="1"/>
                <p:nvPr/>
              </p:nvSpPr>
              <p:spPr>
                <a:xfrm>
                  <a:off x="7583786" y="4550595"/>
                  <a:ext cx="700899" cy="283072"/>
                </a:xfrm>
                <a:prstGeom prst="rect">
                  <a:avLst/>
                </a:prstGeom>
                <a:noFill/>
              </p:spPr>
              <p:txBody>
                <a:bodyPr wrap="square" lIns="0" tIns="0" rIns="0" bIns="0" rtlCol="0">
                  <a:spAutoFit/>
                </a:bodyPr>
                <a:lstStyle/>
                <a:p>
                  <a:r>
                    <a:rPr lang="en-GB" sz="1000" err="1">
                      <a:latin typeface="+mj-lt"/>
                    </a:rPr>
                    <a:t>Dataxess</a:t>
                  </a:r>
                  <a:endParaRPr lang="en-GB" sz="1000">
                    <a:latin typeface="+mj-lt"/>
                  </a:endParaRPr>
                </a:p>
              </p:txBody>
            </p:sp>
          </p:grpSp>
        </p:grpSp>
      </p:grpSp>
      <p:sp>
        <p:nvSpPr>
          <p:cNvPr id="51" name="Rectangle 50">
            <a:extLst>
              <a:ext uri="{FF2B5EF4-FFF2-40B4-BE49-F238E27FC236}">
                <a16:creationId xmlns:a16="http://schemas.microsoft.com/office/drawing/2014/main" id="{B34D5C65-5BC0-4A56-ABEC-640C406A5D36}"/>
              </a:ext>
            </a:extLst>
          </p:cNvPr>
          <p:cNvSpPr/>
          <p:nvPr/>
        </p:nvSpPr>
        <p:spPr bwMode="auto">
          <a:xfrm>
            <a:off x="388153" y="1492479"/>
            <a:ext cx="3604286" cy="27699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connectors and API billings in France,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pSp>
        <p:nvGrpSpPr>
          <p:cNvPr id="52" name="Groupe 51">
            <a:extLst>
              <a:ext uri="{FF2B5EF4-FFF2-40B4-BE49-F238E27FC236}">
                <a16:creationId xmlns:a16="http://schemas.microsoft.com/office/drawing/2014/main" id="{25E54762-B5D6-4F1A-A2C1-3AAC375449EC}"/>
              </a:ext>
            </a:extLst>
          </p:cNvPr>
          <p:cNvGrpSpPr/>
          <p:nvPr/>
        </p:nvGrpSpPr>
        <p:grpSpPr>
          <a:xfrm>
            <a:off x="8448150" y="-11528"/>
            <a:ext cx="1435548" cy="588143"/>
            <a:chOff x="8448150" y="-11528"/>
            <a:chExt cx="1435548" cy="588143"/>
          </a:xfrm>
        </p:grpSpPr>
        <p:sp>
          <p:nvSpPr>
            <p:cNvPr id="53" name="Rectangle : coins arrondis 199">
              <a:extLst>
                <a:ext uri="{FF2B5EF4-FFF2-40B4-BE49-F238E27FC236}">
                  <a16:creationId xmlns:a16="http://schemas.microsoft.com/office/drawing/2014/main" id="{2D14AC6E-EA24-415B-8742-FF6C0E83ED4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4" name="Rectangle : coins arrondis 200">
              <a:extLst>
                <a:ext uri="{FF2B5EF4-FFF2-40B4-BE49-F238E27FC236}">
                  <a16:creationId xmlns:a16="http://schemas.microsoft.com/office/drawing/2014/main" id="{49C83BEF-C572-4617-AA5A-C12E5AEA7A9D}"/>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5" name="Rectangle : coins arrondis 201">
              <a:extLst>
                <a:ext uri="{FF2B5EF4-FFF2-40B4-BE49-F238E27FC236}">
                  <a16:creationId xmlns:a16="http://schemas.microsoft.com/office/drawing/2014/main" id="{BC1CA0FF-8AEF-4307-9369-5C5EE7A5F189}"/>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6" name="ZoneTexte 18">
              <a:extLst>
                <a:ext uri="{FF2B5EF4-FFF2-40B4-BE49-F238E27FC236}">
                  <a16:creationId xmlns:a16="http://schemas.microsoft.com/office/drawing/2014/main" id="{1D04A1F3-4B66-4668-AF6C-D13C0B72D993}"/>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57" name="Graphique 128" descr="Jauge">
              <a:extLst>
                <a:ext uri="{FF2B5EF4-FFF2-40B4-BE49-F238E27FC236}">
                  <a16:creationId xmlns:a16="http://schemas.microsoft.com/office/drawing/2014/main" id="{86ECEC7A-0BD8-4D69-BE72-86E1A8C7E2F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58" name="Graphique 90" descr="Poignée de main">
              <a:extLst>
                <a:ext uri="{FF2B5EF4-FFF2-40B4-BE49-F238E27FC236}">
                  <a16:creationId xmlns:a16="http://schemas.microsoft.com/office/drawing/2014/main" id="{533A8055-F469-44A7-B2D0-74AC0D86665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59" name="Graphique 74" descr="Mégaphone">
              <a:extLst>
                <a:ext uri="{FF2B5EF4-FFF2-40B4-BE49-F238E27FC236}">
                  <a16:creationId xmlns:a16="http://schemas.microsoft.com/office/drawing/2014/main" id="{B34FC135-0C83-41F5-9448-F0A5C64D172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60" name="Picture 2" descr="5 ft x 3 ft 150 x 90 cm-DRAPEAU BELGE Belgique 100% Polyester ...">
              <a:extLst>
                <a:ext uri="{FF2B5EF4-FFF2-40B4-BE49-F238E27FC236}">
                  <a16:creationId xmlns:a16="http://schemas.microsoft.com/office/drawing/2014/main" id="{0690776D-CC2F-40C4-8C48-97327B1490A7}"/>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1" name="Picture 2 - 1" descr="Drapeau des Pays-Bas — Wikipédia">
              <a:extLst>
                <a:ext uri="{FF2B5EF4-FFF2-40B4-BE49-F238E27FC236}">
                  <a16:creationId xmlns:a16="http://schemas.microsoft.com/office/drawing/2014/main" id="{36B7D720-814C-432F-B69C-672C2E22D81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2" name="Picture 2 - 2" descr="Drapeau du Luxembourg">
              <a:extLst>
                <a:ext uri="{FF2B5EF4-FFF2-40B4-BE49-F238E27FC236}">
                  <a16:creationId xmlns:a16="http://schemas.microsoft.com/office/drawing/2014/main" id="{BC6291DA-DC8F-432F-AE3E-F6A24FA2481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3" name="ZoneTexte 62">
              <a:extLst>
                <a:ext uri="{FF2B5EF4-FFF2-40B4-BE49-F238E27FC236}">
                  <a16:creationId xmlns:a16="http://schemas.microsoft.com/office/drawing/2014/main" id="{870231EE-F6AA-4386-90DB-012C7E0175E5}"/>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spTree>
    <p:extLst>
      <p:ext uri="{BB962C8B-B14F-4D97-AF65-F5344CB8AC3E}">
        <p14:creationId xmlns:p14="http://schemas.microsoft.com/office/powerpoint/2010/main" val="1837159450"/>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EB4F6558-37C4-4AAF-840F-170E104DDF1E}"/>
              </a:ext>
            </a:extLst>
          </p:cNvPr>
          <p:cNvGraphicFramePr>
            <a:graphicFrameLocks noChangeAspect="1"/>
          </p:cNvGraphicFramePr>
          <p:nvPr>
            <p:custDataLst>
              <p:tags r:id="rId1"/>
            </p:custDataLst>
            <p:extLst>
              <p:ext uri="{D42A27DB-BD31-4B8C-83A1-F6EECF244321}">
                <p14:modId xmlns:p14="http://schemas.microsoft.com/office/powerpoint/2010/main" val="3435750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6" imgH="423" progId="TCLayout.ActiveDocument.1">
                  <p:embed/>
                </p:oleObj>
              </mc:Choice>
              <mc:Fallback>
                <p:oleObj name="think-cell Slide" r:id="rId7" imgW="416" imgH="423" progId="TCLayout.ActiveDocument.1">
                  <p:embed/>
                  <p:pic>
                    <p:nvPicPr>
                      <p:cNvPr id="17" name="Object 16" hidden="1">
                        <a:extLst>
                          <a:ext uri="{FF2B5EF4-FFF2-40B4-BE49-F238E27FC236}">
                            <a16:creationId xmlns:a16="http://schemas.microsoft.com/office/drawing/2014/main" id="{EB4F6558-37C4-4AAF-840F-170E104DDF1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606C6640-A7FF-4D6D-9A77-0E17AA66E69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mc:AlternateContent xmlns:mc="http://schemas.openxmlformats.org/markup-compatibility/2006" xmlns:cx1="http://schemas.microsoft.com/office/drawing/2015/9/8/chartex">
        <mc:Choice Requires="cx1">
          <p:graphicFrame>
            <p:nvGraphicFramePr>
              <p:cNvPr id="86" name="Chart 85">
                <a:extLst>
                  <a:ext uri="{FF2B5EF4-FFF2-40B4-BE49-F238E27FC236}">
                    <a16:creationId xmlns:a16="http://schemas.microsoft.com/office/drawing/2014/main" id="{BA2AF189-1E67-45EF-99C7-DC394435859A}"/>
                  </a:ext>
                </a:extLst>
              </p:cNvPr>
              <p:cNvGraphicFramePr/>
              <p:nvPr>
                <p:extLst>
                  <p:ext uri="{D42A27DB-BD31-4B8C-83A1-F6EECF244321}">
                    <p14:modId xmlns:p14="http://schemas.microsoft.com/office/powerpoint/2010/main" val="3686062552"/>
                  </p:ext>
                </p:extLst>
              </p:nvPr>
            </p:nvGraphicFramePr>
            <p:xfrm>
              <a:off x="5875200" y="1108800"/>
              <a:ext cx="3826800" cy="3189600"/>
            </p:xfrm>
            <a:graphic>
              <a:graphicData uri="http://schemas.microsoft.com/office/drawing/2014/chartex">
                <cx:chart xmlns:cx="http://schemas.microsoft.com/office/drawing/2014/chartex" xmlns:r="http://schemas.openxmlformats.org/officeDocument/2006/relationships" r:id="rId9"/>
              </a:graphicData>
            </a:graphic>
          </p:graphicFrame>
        </mc:Choice>
        <mc:Fallback xmlns="">
          <p:pic>
            <p:nvPicPr>
              <p:cNvPr id="86" name="Chart 85">
                <a:extLst>
                  <a:ext uri="{FF2B5EF4-FFF2-40B4-BE49-F238E27FC236}">
                    <a16:creationId xmlns:a16="http://schemas.microsoft.com/office/drawing/2014/main" id="{BA2AF189-1E67-45EF-99C7-DC394435859A}"/>
                  </a:ext>
                </a:extLst>
              </p:cNvPr>
              <p:cNvPicPr>
                <a:picLocks noGrp="1" noRot="1" noChangeAspect="1" noMove="1" noResize="1" noEditPoints="1" noAdjustHandles="1" noChangeArrowheads="1" noChangeShapeType="1"/>
              </p:cNvPicPr>
              <p:nvPr/>
            </p:nvPicPr>
            <p:blipFill>
              <a:blip r:embed="rId11"/>
              <a:stretch>
                <a:fillRect/>
              </a:stretch>
            </p:blipFill>
            <p:spPr>
              <a:xfrm>
                <a:off x="5875200" y="1108800"/>
                <a:ext cx="3826800" cy="3189600"/>
              </a:xfrm>
              <a:prstGeom prst="rect">
                <a:avLst/>
              </a:prstGeom>
            </p:spPr>
          </p:pic>
        </mc:Fallback>
      </mc:AlternateContent>
      <p:sp>
        <p:nvSpPr>
          <p:cNvPr id="4" name="Rectangle 3">
            <a:extLst>
              <a:ext uri="{FF2B5EF4-FFF2-40B4-BE49-F238E27FC236}">
                <a16:creationId xmlns:a16="http://schemas.microsoft.com/office/drawing/2014/main" id="{56A18673-ABA4-4D8E-8AB8-7DA4208DCD47}"/>
              </a:ext>
            </a:extLst>
          </p:cNvPr>
          <p:cNvSpPr/>
          <p:nvPr/>
        </p:nvSpPr>
        <p:spPr bwMode="auto">
          <a:xfrm>
            <a:off x="5809536" y="4338336"/>
            <a:ext cx="3864100" cy="209471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highlight>
                <a:srgbClr val="FFFF00"/>
              </a:highlight>
              <a:latin typeface="Trebuchet MS" pitchFamily="34" charset="0"/>
            </a:endParaRPr>
          </a:p>
        </p:txBody>
      </p:sp>
      <p:graphicFrame>
        <p:nvGraphicFramePr>
          <p:cNvPr id="71" name="Chart 43">
            <a:extLst>
              <a:ext uri="{FF2B5EF4-FFF2-40B4-BE49-F238E27FC236}">
                <a16:creationId xmlns:a16="http://schemas.microsoft.com/office/drawing/2014/main" id="{0DB5D8CF-2B82-4513-975B-AC5FEC862DD5}"/>
              </a:ext>
            </a:extLst>
          </p:cNvPr>
          <p:cNvGraphicFramePr/>
          <p:nvPr>
            <p:extLst>
              <p:ext uri="{D42A27DB-BD31-4B8C-83A1-F6EECF244321}">
                <p14:modId xmlns:p14="http://schemas.microsoft.com/office/powerpoint/2010/main" val="1411989355"/>
              </p:ext>
            </p:extLst>
          </p:nvPr>
        </p:nvGraphicFramePr>
        <p:xfrm>
          <a:off x="5548367" y="4389650"/>
          <a:ext cx="3957469" cy="2500976"/>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68" name="Chart 67">
            <a:extLst>
              <a:ext uri="{FF2B5EF4-FFF2-40B4-BE49-F238E27FC236}">
                <a16:creationId xmlns:a16="http://schemas.microsoft.com/office/drawing/2014/main" id="{C9F43CFE-150F-43BC-9CB7-A1E85D7AF190}"/>
              </a:ext>
            </a:extLst>
          </p:cNvPr>
          <p:cNvGraphicFramePr/>
          <p:nvPr>
            <p:extLst>
              <p:ext uri="{D42A27DB-BD31-4B8C-83A1-F6EECF244321}">
                <p14:modId xmlns:p14="http://schemas.microsoft.com/office/powerpoint/2010/main" val="1323532645"/>
              </p:ext>
            </p:extLst>
          </p:nvPr>
        </p:nvGraphicFramePr>
        <p:xfrm>
          <a:off x="182017" y="1278080"/>
          <a:ext cx="4381200" cy="2500978"/>
        </p:xfrm>
        <a:graphic>
          <a:graphicData uri="http://schemas.openxmlformats.org/drawingml/2006/chart">
            <c:chart xmlns:c="http://schemas.openxmlformats.org/drawingml/2006/chart" xmlns:r="http://schemas.openxmlformats.org/officeDocument/2006/relationships" r:id="rId13"/>
          </a:graphicData>
        </a:graphic>
      </p:graphicFrame>
      <p:sp>
        <p:nvSpPr>
          <p:cNvPr id="13" name="Rectangle 12" hidden="1">
            <a:extLst>
              <a:ext uri="{FF2B5EF4-FFF2-40B4-BE49-F238E27FC236}">
                <a16:creationId xmlns:a16="http://schemas.microsoft.com/office/drawing/2014/main" id="{0EA36691-38F8-4EDA-B0BA-DFA2ABEA506A}"/>
              </a:ext>
            </a:extLst>
          </p:cNvPr>
          <p:cNvSpPr/>
          <p:nvPr>
            <p:custDataLst>
              <p:tags r:id="rId3"/>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 name="Espace réservé du texte 2">
            <a:extLst>
              <a:ext uri="{FF2B5EF4-FFF2-40B4-BE49-F238E27FC236}">
                <a16:creationId xmlns:a16="http://schemas.microsoft.com/office/drawing/2014/main" id="{F333C5C0-2D3F-4ACC-B88E-992BE24032E5}"/>
              </a:ext>
            </a:extLst>
          </p:cNvPr>
          <p:cNvSpPr>
            <a:spLocks noGrp="1"/>
          </p:cNvSpPr>
          <p:nvPr>
            <p:ph type="body" sz="quarter" idx="10"/>
          </p:nvPr>
        </p:nvSpPr>
        <p:spPr/>
        <p:txBody>
          <a:bodyPr/>
          <a:lstStyle/>
          <a:p>
            <a:r>
              <a:rPr lang="en-GB"/>
              <a:t>Sources: eleven research &amp; analysis, company data, interviews with management</a:t>
            </a:r>
          </a:p>
          <a:p>
            <a:r>
              <a:rPr lang="en-GB" b="1" u="sng"/>
              <a:t>1</a:t>
            </a:r>
            <a:r>
              <a:rPr lang="en-GB" b="1"/>
              <a:t>: </a:t>
            </a:r>
            <a:r>
              <a:rPr lang="en-GB"/>
              <a:t>top 30 clients represents 40% of </a:t>
            </a:r>
            <a:r>
              <a:rPr lang="en-GB" err="1"/>
              <a:t>Altares</a:t>
            </a:r>
            <a:r>
              <a:rPr lang="en-GB"/>
              <a:t>’ Benelux bookings in 2019</a:t>
            </a:r>
          </a:p>
          <a:p>
            <a:endParaRPr lang="en-GB"/>
          </a:p>
        </p:txBody>
      </p:sp>
      <p:cxnSp>
        <p:nvCxnSpPr>
          <p:cNvPr id="5" name="Connecteur droit 4">
            <a:extLst>
              <a:ext uri="{FF2B5EF4-FFF2-40B4-BE49-F238E27FC236}">
                <a16:creationId xmlns:a16="http://schemas.microsoft.com/office/drawing/2014/main" id="{D5AEA529-A8B8-42C5-AA73-D90233EEBDC1}"/>
              </a:ext>
            </a:extLst>
          </p:cNvPr>
          <p:cNvCxnSpPr>
            <a:cxnSpLocks/>
          </p:cNvCxnSpPr>
          <p:nvPr/>
        </p:nvCxnSpPr>
        <p:spPr bwMode="auto">
          <a:xfrm>
            <a:off x="300619" y="878116"/>
            <a:ext cx="9304762"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15" name="Rectangle 14">
            <a:extLst>
              <a:ext uri="{FF2B5EF4-FFF2-40B4-BE49-F238E27FC236}">
                <a16:creationId xmlns:a16="http://schemas.microsoft.com/office/drawing/2014/main" id="{C6A888CB-1E18-4529-842D-C8380587EF4A}"/>
              </a:ext>
            </a:extLst>
          </p:cNvPr>
          <p:cNvSpPr/>
          <p:nvPr/>
        </p:nvSpPr>
        <p:spPr bwMode="auto">
          <a:xfrm>
            <a:off x="193646" y="4338337"/>
            <a:ext cx="5269758" cy="2097124"/>
          </a:xfrm>
          <a:prstGeom prst="rect">
            <a:avLst/>
          </a:prstGeom>
          <a:solidFill>
            <a:schemeClr val="bg1">
              <a:lumMod val="95000"/>
            </a:schemeClr>
          </a:solidFill>
          <a:ln w="9525" cap="flat" cmpd="sng" algn="ctr">
            <a:solidFill>
              <a:srgbClr val="007AA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0"/>
              </a:spcBef>
              <a:spcAft>
                <a:spcPts val="600"/>
              </a:spcAft>
              <a:buClr>
                <a:schemeClr val="tx1"/>
              </a:buClr>
            </a:pPr>
            <a:r>
              <a:rPr lang="en-GB" sz="1000" b="1">
                <a:latin typeface="Trebuchet MS" panose="020B0603020202020204" pitchFamily="34" charset="0"/>
              </a:rPr>
              <a:t>Key take away</a:t>
            </a:r>
          </a:p>
          <a:p>
            <a:pPr marL="176213" indent="-176213">
              <a:spcBef>
                <a:spcPts val="0"/>
              </a:spcBef>
              <a:spcAft>
                <a:spcPts val="600"/>
              </a:spcAft>
              <a:buClr>
                <a:schemeClr val="tx1"/>
              </a:buClr>
              <a:buFont typeface="Arial" panose="020B0604020202020204" pitchFamily="34" charset="0"/>
              <a:buChar char="•"/>
            </a:pPr>
            <a:r>
              <a:rPr lang="en-GB" sz="1000">
                <a:latin typeface="Trebuchet MS" panose="020B0603020202020204" pitchFamily="34" charset="0"/>
              </a:rPr>
              <a:t>Altares database in Benelux mainly relies on </a:t>
            </a:r>
            <a:r>
              <a:rPr lang="en-GB" sz="1000">
                <a:solidFill>
                  <a:schemeClr val="tx2"/>
                </a:solidFill>
                <a:latin typeface="Trebuchet MS" panose="020B0603020202020204" pitchFamily="34" charset="0"/>
              </a:rPr>
              <a:t>large accounts </a:t>
            </a:r>
            <a:r>
              <a:rPr lang="en-GB" sz="1000">
                <a:latin typeface="Trebuchet MS" panose="020B0603020202020204" pitchFamily="34" charset="0"/>
              </a:rPr>
              <a:t>from </a:t>
            </a:r>
            <a:r>
              <a:rPr lang="en-GB" sz="1000">
                <a:solidFill>
                  <a:schemeClr val="tx2"/>
                </a:solidFill>
                <a:latin typeface="Trebuchet MS" panose="020B0603020202020204" pitchFamily="34" charset="0"/>
              </a:rPr>
              <a:t>diversified economic sectors</a:t>
            </a:r>
            <a:r>
              <a:rPr lang="en-GB" sz="1000">
                <a:latin typeface="Trebuchet MS" panose="020B0603020202020204" pitchFamily="34" charset="0"/>
              </a:rPr>
              <a:t> ensuring a </a:t>
            </a:r>
            <a:r>
              <a:rPr lang="en-GB" sz="1000">
                <a:solidFill>
                  <a:schemeClr val="tx2"/>
                </a:solidFill>
                <a:latin typeface="Trebuchet MS" panose="020B0603020202020204" pitchFamily="34" charset="0"/>
              </a:rPr>
              <a:t>strong resilience</a:t>
            </a:r>
          </a:p>
          <a:p>
            <a:pPr marL="171450" indent="-171450">
              <a:spcBef>
                <a:spcPts val="0"/>
              </a:spcBef>
              <a:spcAft>
                <a:spcPts val="600"/>
              </a:spcAft>
              <a:buClr>
                <a:schemeClr val="tx1"/>
              </a:buClr>
              <a:buFont typeface="Arial" panose="020B0604020202020204" pitchFamily="34" charset="0"/>
              <a:buChar char="•"/>
            </a:pPr>
            <a:r>
              <a:rPr lang="en-GB" sz="1000">
                <a:latin typeface="Trebuchet MS" panose="020B0603020202020204" pitchFamily="34" charset="0"/>
              </a:rPr>
              <a:t>In Benelux, Altares successfully manages to </a:t>
            </a:r>
            <a:r>
              <a:rPr lang="en-GB" sz="1000">
                <a:solidFill>
                  <a:schemeClr val="tx2"/>
                </a:solidFill>
                <a:latin typeface="Trebuchet MS" panose="020B0603020202020204" pitchFamily="34" charset="0"/>
              </a:rPr>
              <a:t>onboard new customers </a:t>
            </a:r>
            <a:r>
              <a:rPr lang="en-GB" sz="1000">
                <a:latin typeface="Trebuchet MS" pitchFamily="34" charset="0"/>
              </a:rPr>
              <a:t>so that new business offsets both churn and down-sell on existing customers </a:t>
            </a:r>
          </a:p>
          <a:p>
            <a:pPr marL="176213" indent="-176213">
              <a:spcBef>
                <a:spcPts val="0"/>
              </a:spcBef>
              <a:spcAft>
                <a:spcPts val="600"/>
              </a:spcAft>
              <a:buClr>
                <a:schemeClr val="tx1"/>
              </a:buClr>
              <a:buFont typeface="Arial" panose="020B0604020202020204" pitchFamily="34" charset="0"/>
              <a:buChar char="•"/>
            </a:pPr>
            <a:r>
              <a:rPr lang="en-GB" sz="1000">
                <a:latin typeface="Trebuchet MS" pitchFamily="34" charset="0"/>
              </a:rPr>
              <a:t>Simultaneously, Altares has tightened its </a:t>
            </a:r>
            <a:r>
              <a:rPr lang="en-GB" sz="1000">
                <a:solidFill>
                  <a:schemeClr val="tx2"/>
                </a:solidFill>
                <a:latin typeface="Trebuchet MS" panose="020B0603020202020204" pitchFamily="34" charset="0"/>
              </a:rPr>
              <a:t>customer base on high value-added large </a:t>
            </a:r>
            <a:r>
              <a:rPr lang="en-GB" sz="1000">
                <a:latin typeface="Trebuchet MS" panose="020B0603020202020204" pitchFamily="34" charset="0"/>
              </a:rPr>
              <a:t>accounts at the expense of unprofitable small accounts</a:t>
            </a:r>
          </a:p>
          <a:p>
            <a:pPr lvl="1" indent="-171450">
              <a:spcBef>
                <a:spcPts val="0"/>
              </a:spcBef>
              <a:spcAft>
                <a:spcPts val="600"/>
              </a:spcAft>
              <a:buClr>
                <a:schemeClr val="tx1"/>
              </a:buClr>
              <a:buFont typeface="Courier New" panose="02070309020205020404" pitchFamily="49" charset="0"/>
              <a:buChar char="o"/>
            </a:pPr>
            <a:r>
              <a:rPr lang="en-GB" sz="1000">
                <a:latin typeface="Trebuchet MS" panose="020B0603020202020204" pitchFamily="34" charset="0"/>
              </a:rPr>
              <a:t>The number of clients has decreased from ~2 300 to ~2 200 whereas overall bookings has remained flat and ARPU has increased from 20k€ to 21k€ </a:t>
            </a:r>
          </a:p>
          <a:p>
            <a:pPr algn="ctr">
              <a:spcBef>
                <a:spcPts val="0"/>
              </a:spcBef>
              <a:buClr>
                <a:schemeClr val="tx1"/>
              </a:buClr>
            </a:pPr>
            <a:endParaRPr lang="en-GB" sz="1000" b="1">
              <a:latin typeface="Trebuchet MS" panose="020B0603020202020204" pitchFamily="34" charset="0"/>
            </a:endParaRPr>
          </a:p>
        </p:txBody>
      </p:sp>
      <p:sp>
        <p:nvSpPr>
          <p:cNvPr id="43" name="Rectangle 42">
            <a:extLst>
              <a:ext uri="{FF2B5EF4-FFF2-40B4-BE49-F238E27FC236}">
                <a16:creationId xmlns:a16="http://schemas.microsoft.com/office/drawing/2014/main" id="{48F07BE0-0131-46D6-B7F9-D08E1D65C642}"/>
              </a:ext>
            </a:extLst>
          </p:cNvPr>
          <p:cNvSpPr/>
          <p:nvPr/>
        </p:nvSpPr>
        <p:spPr bwMode="auto">
          <a:xfrm>
            <a:off x="258346" y="3810285"/>
            <a:ext cx="3808490" cy="30687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grpSp>
        <p:nvGrpSpPr>
          <p:cNvPr id="44" name="Group 43">
            <a:extLst>
              <a:ext uri="{FF2B5EF4-FFF2-40B4-BE49-F238E27FC236}">
                <a16:creationId xmlns:a16="http://schemas.microsoft.com/office/drawing/2014/main" id="{FB9ACACC-A730-459C-A2D4-F887CEB1ABA3}"/>
              </a:ext>
            </a:extLst>
          </p:cNvPr>
          <p:cNvGrpSpPr/>
          <p:nvPr/>
        </p:nvGrpSpPr>
        <p:grpSpPr>
          <a:xfrm>
            <a:off x="1490830" y="3927547"/>
            <a:ext cx="579314" cy="123111"/>
            <a:chOff x="4490012" y="2434756"/>
            <a:chExt cx="565540" cy="123111"/>
          </a:xfrm>
        </p:grpSpPr>
        <p:cxnSp>
          <p:nvCxnSpPr>
            <p:cNvPr id="58" name="Straight Connector 57">
              <a:extLst>
                <a:ext uri="{FF2B5EF4-FFF2-40B4-BE49-F238E27FC236}">
                  <a16:creationId xmlns:a16="http://schemas.microsoft.com/office/drawing/2014/main" id="{2D8D09DF-B7DA-4774-AF2C-997B3F33EC47}"/>
                </a:ext>
              </a:extLst>
            </p:cNvPr>
            <p:cNvCxnSpPr>
              <a:cxnSpLocks/>
            </p:cNvCxnSpPr>
            <p:nvPr/>
          </p:nvCxnSpPr>
          <p:spPr bwMode="auto">
            <a:xfrm>
              <a:off x="4490012" y="2496311"/>
              <a:ext cx="202948"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59" name="TextBox 58">
              <a:extLst>
                <a:ext uri="{FF2B5EF4-FFF2-40B4-BE49-F238E27FC236}">
                  <a16:creationId xmlns:a16="http://schemas.microsoft.com/office/drawing/2014/main" id="{05C3C10C-88F6-4D15-8688-1D2FE88AABA9}"/>
                </a:ext>
              </a:extLst>
            </p:cNvPr>
            <p:cNvSpPr txBox="1"/>
            <p:nvPr/>
          </p:nvSpPr>
          <p:spPr>
            <a:xfrm>
              <a:off x="4778368" y="2434756"/>
              <a:ext cx="277184" cy="123111"/>
            </a:xfrm>
            <a:prstGeom prst="rect">
              <a:avLst/>
            </a:prstGeom>
            <a:noFill/>
          </p:spPr>
          <p:txBody>
            <a:bodyPr wrap="square" lIns="0" tIns="0" rIns="0" bIns="0" rtlCol="0">
              <a:spAutoFit/>
            </a:bodyPr>
            <a:lstStyle/>
            <a:p>
              <a:r>
                <a:rPr lang="en-GB" sz="800">
                  <a:latin typeface="+mj-lt"/>
                </a:rPr>
                <a:t>&lt;2018</a:t>
              </a:r>
            </a:p>
          </p:txBody>
        </p:sp>
      </p:grpSp>
      <p:grpSp>
        <p:nvGrpSpPr>
          <p:cNvPr id="45" name="Group 44">
            <a:extLst>
              <a:ext uri="{FF2B5EF4-FFF2-40B4-BE49-F238E27FC236}">
                <a16:creationId xmlns:a16="http://schemas.microsoft.com/office/drawing/2014/main" id="{FD66F46C-BA07-45B0-86C5-0A0A0F5B94C7}"/>
              </a:ext>
            </a:extLst>
          </p:cNvPr>
          <p:cNvGrpSpPr/>
          <p:nvPr/>
        </p:nvGrpSpPr>
        <p:grpSpPr>
          <a:xfrm>
            <a:off x="2141232" y="3927547"/>
            <a:ext cx="579313" cy="123111"/>
            <a:chOff x="4490012" y="2633045"/>
            <a:chExt cx="565539" cy="123111"/>
          </a:xfrm>
        </p:grpSpPr>
        <p:cxnSp>
          <p:nvCxnSpPr>
            <p:cNvPr id="56" name="Straight Connector 55">
              <a:extLst>
                <a:ext uri="{FF2B5EF4-FFF2-40B4-BE49-F238E27FC236}">
                  <a16:creationId xmlns:a16="http://schemas.microsoft.com/office/drawing/2014/main" id="{63DA383E-2691-4EBB-9C88-EE2FF23F5F28}"/>
                </a:ext>
              </a:extLst>
            </p:cNvPr>
            <p:cNvCxnSpPr>
              <a:cxnSpLocks/>
            </p:cNvCxnSpPr>
            <p:nvPr/>
          </p:nvCxnSpPr>
          <p:spPr bwMode="auto">
            <a:xfrm>
              <a:off x="4490012" y="2694600"/>
              <a:ext cx="202948"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57" name="TextBox 56">
              <a:extLst>
                <a:ext uri="{FF2B5EF4-FFF2-40B4-BE49-F238E27FC236}">
                  <a16:creationId xmlns:a16="http://schemas.microsoft.com/office/drawing/2014/main" id="{90DF471E-BD71-49EC-BBD8-A3FD0E848E8F}"/>
                </a:ext>
              </a:extLst>
            </p:cNvPr>
            <p:cNvSpPr txBox="1"/>
            <p:nvPr/>
          </p:nvSpPr>
          <p:spPr>
            <a:xfrm>
              <a:off x="4778368" y="2633045"/>
              <a:ext cx="277183" cy="123111"/>
            </a:xfrm>
            <a:prstGeom prst="rect">
              <a:avLst/>
            </a:prstGeom>
            <a:noFill/>
          </p:spPr>
          <p:txBody>
            <a:bodyPr wrap="square" lIns="0" tIns="0" rIns="0" bIns="0" rtlCol="0">
              <a:spAutoFit/>
            </a:bodyPr>
            <a:lstStyle/>
            <a:p>
              <a:r>
                <a:rPr lang="en-GB" sz="800">
                  <a:latin typeface="+mj-lt"/>
                </a:rPr>
                <a:t>2018</a:t>
              </a:r>
            </a:p>
          </p:txBody>
        </p:sp>
      </p:grpSp>
      <p:grpSp>
        <p:nvGrpSpPr>
          <p:cNvPr id="46" name="Group 45">
            <a:extLst>
              <a:ext uri="{FF2B5EF4-FFF2-40B4-BE49-F238E27FC236}">
                <a16:creationId xmlns:a16="http://schemas.microsoft.com/office/drawing/2014/main" id="{566A7B35-CDF0-4397-BFEF-D958CBFC6368}"/>
              </a:ext>
            </a:extLst>
          </p:cNvPr>
          <p:cNvGrpSpPr/>
          <p:nvPr/>
        </p:nvGrpSpPr>
        <p:grpSpPr>
          <a:xfrm>
            <a:off x="2791633" y="3927547"/>
            <a:ext cx="579313" cy="123111"/>
            <a:chOff x="4490012" y="2842696"/>
            <a:chExt cx="565539" cy="123111"/>
          </a:xfrm>
        </p:grpSpPr>
        <p:cxnSp>
          <p:nvCxnSpPr>
            <p:cNvPr id="54" name="Straight Connector 53">
              <a:extLst>
                <a:ext uri="{FF2B5EF4-FFF2-40B4-BE49-F238E27FC236}">
                  <a16:creationId xmlns:a16="http://schemas.microsoft.com/office/drawing/2014/main" id="{3D0B9227-508D-4659-BE5F-0A078F7A3CC5}"/>
                </a:ext>
              </a:extLst>
            </p:cNvPr>
            <p:cNvCxnSpPr>
              <a:cxnSpLocks/>
            </p:cNvCxnSpPr>
            <p:nvPr/>
          </p:nvCxnSpPr>
          <p:spPr bwMode="auto">
            <a:xfrm>
              <a:off x="4490012" y="2904251"/>
              <a:ext cx="202948" cy="0"/>
            </a:xfrm>
            <a:prstGeom prst="line">
              <a:avLst/>
            </a:prstGeom>
            <a:solidFill>
              <a:schemeClr val="bg1"/>
            </a:solidFill>
            <a:ln w="88900" cap="flat" cmpd="sng" algn="ctr">
              <a:solidFill>
                <a:srgbClr val="8FCD9F"/>
              </a:solidFill>
              <a:prstDash val="solid"/>
              <a:round/>
              <a:headEnd type="none" w="med" len="med"/>
              <a:tailEnd type="none" w="med" len="med"/>
            </a:ln>
            <a:effectLst/>
          </p:spPr>
        </p:cxnSp>
        <p:sp>
          <p:nvSpPr>
            <p:cNvPr id="55" name="TextBox 54">
              <a:extLst>
                <a:ext uri="{FF2B5EF4-FFF2-40B4-BE49-F238E27FC236}">
                  <a16:creationId xmlns:a16="http://schemas.microsoft.com/office/drawing/2014/main" id="{E1183EAE-225F-4800-A179-E5A901C2391B}"/>
                </a:ext>
              </a:extLst>
            </p:cNvPr>
            <p:cNvSpPr txBox="1"/>
            <p:nvPr/>
          </p:nvSpPr>
          <p:spPr>
            <a:xfrm>
              <a:off x="4778368" y="2842696"/>
              <a:ext cx="277183" cy="123111"/>
            </a:xfrm>
            <a:prstGeom prst="rect">
              <a:avLst/>
            </a:prstGeom>
            <a:noFill/>
          </p:spPr>
          <p:txBody>
            <a:bodyPr wrap="square" lIns="0" tIns="0" rIns="0" bIns="0" rtlCol="0">
              <a:spAutoFit/>
            </a:bodyPr>
            <a:lstStyle/>
            <a:p>
              <a:r>
                <a:rPr lang="en-GB" sz="800">
                  <a:latin typeface="+mj-lt"/>
                </a:rPr>
                <a:t>2019</a:t>
              </a:r>
            </a:p>
          </p:txBody>
        </p:sp>
      </p:grpSp>
      <p:grpSp>
        <p:nvGrpSpPr>
          <p:cNvPr id="48" name="Group 47">
            <a:extLst>
              <a:ext uri="{FF2B5EF4-FFF2-40B4-BE49-F238E27FC236}">
                <a16:creationId xmlns:a16="http://schemas.microsoft.com/office/drawing/2014/main" id="{6A2E85C4-B0F3-4CBE-8126-1C774F3A18DC}"/>
              </a:ext>
            </a:extLst>
          </p:cNvPr>
          <p:cNvGrpSpPr/>
          <p:nvPr/>
        </p:nvGrpSpPr>
        <p:grpSpPr>
          <a:xfrm>
            <a:off x="3442034" y="3927547"/>
            <a:ext cx="675609" cy="123111"/>
            <a:chOff x="4490012" y="3450640"/>
            <a:chExt cx="659545" cy="123111"/>
          </a:xfrm>
        </p:grpSpPr>
        <p:cxnSp>
          <p:nvCxnSpPr>
            <p:cNvPr id="50" name="Straight Connector 49">
              <a:extLst>
                <a:ext uri="{FF2B5EF4-FFF2-40B4-BE49-F238E27FC236}">
                  <a16:creationId xmlns:a16="http://schemas.microsoft.com/office/drawing/2014/main" id="{B295A6CD-47C6-44A4-B772-31947488ED74}"/>
                </a:ext>
              </a:extLst>
            </p:cNvPr>
            <p:cNvCxnSpPr>
              <a:cxnSpLocks/>
            </p:cNvCxnSpPr>
            <p:nvPr/>
          </p:nvCxnSpPr>
          <p:spPr bwMode="auto">
            <a:xfrm>
              <a:off x="4490012" y="3519851"/>
              <a:ext cx="202948" cy="0"/>
            </a:xfrm>
            <a:prstGeom prst="line">
              <a:avLst/>
            </a:prstGeom>
            <a:solidFill>
              <a:schemeClr val="bg1"/>
            </a:solidFill>
            <a:ln w="19050" cap="flat" cmpd="sng" algn="ctr">
              <a:solidFill>
                <a:schemeClr val="accent1">
                  <a:lumMod val="75000"/>
                </a:schemeClr>
              </a:solidFill>
              <a:prstDash val="solid"/>
              <a:round/>
              <a:headEnd type="none" w="med" len="med"/>
              <a:tailEnd type="none" w="med" len="med"/>
            </a:ln>
            <a:effectLst/>
          </p:spPr>
        </p:cxnSp>
        <p:sp>
          <p:nvSpPr>
            <p:cNvPr id="51" name="TextBox 50">
              <a:extLst>
                <a:ext uri="{FF2B5EF4-FFF2-40B4-BE49-F238E27FC236}">
                  <a16:creationId xmlns:a16="http://schemas.microsoft.com/office/drawing/2014/main" id="{BF70027C-1984-40CB-8929-AF1E2321F654}"/>
                </a:ext>
              </a:extLst>
            </p:cNvPr>
            <p:cNvSpPr txBox="1"/>
            <p:nvPr/>
          </p:nvSpPr>
          <p:spPr>
            <a:xfrm>
              <a:off x="4778368" y="3450640"/>
              <a:ext cx="371189" cy="123111"/>
            </a:xfrm>
            <a:prstGeom prst="rect">
              <a:avLst/>
            </a:prstGeom>
            <a:noFill/>
          </p:spPr>
          <p:txBody>
            <a:bodyPr wrap="square" lIns="0" tIns="0" rIns="0" bIns="0" rtlCol="0">
              <a:spAutoFit/>
            </a:bodyPr>
            <a:lstStyle/>
            <a:p>
              <a:r>
                <a:rPr lang="en-GB" sz="800">
                  <a:latin typeface="+mj-lt"/>
                </a:rPr>
                <a:t>Total</a:t>
              </a:r>
            </a:p>
          </p:txBody>
        </p:sp>
      </p:grpSp>
      <p:sp>
        <p:nvSpPr>
          <p:cNvPr id="49" name="Rectangle 48">
            <a:extLst>
              <a:ext uri="{FF2B5EF4-FFF2-40B4-BE49-F238E27FC236}">
                <a16:creationId xmlns:a16="http://schemas.microsoft.com/office/drawing/2014/main" id="{B843729F-24AD-4AB8-8C2F-29D9F7B89A31}"/>
              </a:ext>
            </a:extLst>
          </p:cNvPr>
          <p:cNvSpPr/>
          <p:nvPr/>
        </p:nvSpPr>
        <p:spPr>
          <a:xfrm>
            <a:off x="320853" y="3779058"/>
            <a:ext cx="1101916" cy="369332"/>
          </a:xfrm>
          <a:prstGeom prst="rect">
            <a:avLst/>
          </a:prstGeom>
        </p:spPr>
        <p:txBody>
          <a:bodyPr wrap="square" lIns="0" rIns="0">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900" b="1">
                <a:solidFill>
                  <a:srgbClr val="6C6C6C"/>
                </a:solidFill>
                <a:latin typeface="Trebuchet MS" panose="020B0603020202020204" pitchFamily="34" charset="0"/>
              </a:rPr>
              <a:t>Customers</a:t>
            </a:r>
            <a:r>
              <a:rPr kumimoji="0" lang="en-GB" sz="900" b="1"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recruitment years: </a:t>
            </a:r>
          </a:p>
        </p:txBody>
      </p:sp>
      <p:sp>
        <p:nvSpPr>
          <p:cNvPr id="79" name="Rectangle 78">
            <a:extLst>
              <a:ext uri="{FF2B5EF4-FFF2-40B4-BE49-F238E27FC236}">
                <a16:creationId xmlns:a16="http://schemas.microsoft.com/office/drawing/2014/main" id="{2E6E3095-6ED4-425A-AF2A-08EBD6553314}"/>
              </a:ext>
            </a:extLst>
          </p:cNvPr>
          <p:cNvSpPr/>
          <p:nvPr/>
        </p:nvSpPr>
        <p:spPr bwMode="auto">
          <a:xfrm>
            <a:off x="201075" y="1007973"/>
            <a:ext cx="4407870" cy="280800"/>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900" b="1" i="1">
                <a:latin typeface="Trebuchet MS" panose="020B0603020202020204" pitchFamily="34" charset="0"/>
              </a:rPr>
              <a:t>Evolution of </a:t>
            </a:r>
            <a:r>
              <a:rPr lang="en-GB" sz="900" b="1" i="1" err="1">
                <a:latin typeface="Trebuchet MS" panose="020B0603020202020204" pitchFamily="34" charset="0"/>
              </a:rPr>
              <a:t>Altares</a:t>
            </a:r>
            <a:r>
              <a:rPr lang="en-GB" sz="900" b="1" i="1">
                <a:latin typeface="Trebuchet MS" panose="020B0603020202020204" pitchFamily="34" charset="0"/>
              </a:rPr>
              <a:t>’ bookings (excluding DB&amp;I) in Benelux broken down by customers’ recruitment year, in m€</a:t>
            </a:r>
            <a:endParaRPr kumimoji="0" lang="en-GB" sz="900" b="1" i="1" u="none" strike="noStrike" kern="1200" cap="none" spc="0" normalizeH="0" baseline="0" noProof="0">
              <a:ln>
                <a:noFill/>
              </a:ln>
              <a:effectLst/>
              <a:uLnTx/>
              <a:uFillTx/>
              <a:latin typeface="Trebuchet MS" panose="020B0603020202020204" pitchFamily="34" charset="0"/>
            </a:endParaRPr>
          </a:p>
        </p:txBody>
      </p:sp>
      <p:pic>
        <p:nvPicPr>
          <p:cNvPr id="27" name="Graphic 26" descr="Lights On">
            <a:extLst>
              <a:ext uri="{FF2B5EF4-FFF2-40B4-BE49-F238E27FC236}">
                <a16:creationId xmlns:a16="http://schemas.microsoft.com/office/drawing/2014/main" id="{32F4106D-AEEB-4DE5-8CA9-D0A14A1D4DF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160760" y="4359433"/>
            <a:ext cx="169459" cy="169459"/>
          </a:xfrm>
          <a:prstGeom prst="rect">
            <a:avLst/>
          </a:prstGeom>
        </p:spPr>
      </p:pic>
      <p:sp>
        <p:nvSpPr>
          <p:cNvPr id="8" name="Triangle isocèle 7">
            <a:extLst>
              <a:ext uri="{FF2B5EF4-FFF2-40B4-BE49-F238E27FC236}">
                <a16:creationId xmlns:a16="http://schemas.microsoft.com/office/drawing/2014/main" id="{99DCBEBE-0D2F-4356-BF6B-8C656442C96D}"/>
              </a:ext>
            </a:extLst>
          </p:cNvPr>
          <p:cNvSpPr/>
          <p:nvPr/>
        </p:nvSpPr>
        <p:spPr bwMode="auto">
          <a:xfrm>
            <a:off x="2177123" y="4199981"/>
            <a:ext cx="1302805" cy="107130"/>
          </a:xfrm>
          <a:prstGeom prst="triangle">
            <a:avLst/>
          </a:prstGeom>
          <a:solidFill>
            <a:srgbClr val="007AA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8" name="Triangle isocèle 97">
            <a:extLst>
              <a:ext uri="{FF2B5EF4-FFF2-40B4-BE49-F238E27FC236}">
                <a16:creationId xmlns:a16="http://schemas.microsoft.com/office/drawing/2014/main" id="{7B0454E6-6E5F-4475-9961-FDCBF9A39515}"/>
              </a:ext>
            </a:extLst>
          </p:cNvPr>
          <p:cNvSpPr/>
          <p:nvPr/>
        </p:nvSpPr>
        <p:spPr bwMode="auto">
          <a:xfrm rot="5400000">
            <a:off x="4902597" y="5327283"/>
            <a:ext cx="1302805" cy="107130"/>
          </a:xfrm>
          <a:prstGeom prst="triangle">
            <a:avLst/>
          </a:prstGeom>
          <a:solidFill>
            <a:srgbClr val="007AA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1" name="Rectangle 60">
            <a:extLst>
              <a:ext uri="{FF2B5EF4-FFF2-40B4-BE49-F238E27FC236}">
                <a16:creationId xmlns:a16="http://schemas.microsoft.com/office/drawing/2014/main" id="{73F804CB-2413-45A0-AC42-A6E95CC1DCD5}"/>
              </a:ext>
            </a:extLst>
          </p:cNvPr>
          <p:cNvSpPr/>
          <p:nvPr/>
        </p:nvSpPr>
        <p:spPr bwMode="auto">
          <a:xfrm>
            <a:off x="5831789" y="4389650"/>
            <a:ext cx="2956928" cy="20367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900" b="1" i="1" u="none" strike="noStrike" kern="1200" cap="none" spc="0" normalizeH="0" baseline="0" noProof="0">
                <a:ln>
                  <a:noFill/>
                </a:ln>
                <a:effectLst/>
                <a:uLnTx/>
                <a:uFillTx/>
                <a:latin typeface="Trebuchet MS" panose="020B0603020202020204" pitchFamily="34" charset="0"/>
              </a:rPr>
              <a:t>Sectorial repartition of 2019 top 30 clients</a:t>
            </a:r>
            <a:r>
              <a:rPr kumimoji="0" lang="en-GB" sz="900" b="1" i="1" u="none" strike="noStrike" kern="1200" cap="none" spc="0" normalizeH="0" baseline="30000" noProof="0">
                <a:ln>
                  <a:noFill/>
                </a:ln>
                <a:effectLst/>
                <a:uLnTx/>
                <a:uFillTx/>
                <a:latin typeface="Trebuchet MS" panose="020B0603020202020204" pitchFamily="34" charset="0"/>
              </a:rPr>
              <a:t>1</a:t>
            </a:r>
            <a:r>
              <a:rPr kumimoji="0" lang="en-GB" sz="900" b="1" i="1" u="none" strike="noStrike" kern="1200" cap="none" spc="0" normalizeH="0" baseline="0" noProof="0">
                <a:ln>
                  <a:noFill/>
                </a:ln>
                <a:effectLst/>
                <a:uLnTx/>
                <a:uFillTx/>
                <a:latin typeface="Trebuchet MS" panose="020B0603020202020204" pitchFamily="34" charset="0"/>
              </a:rPr>
              <a:t>: </a:t>
            </a:r>
          </a:p>
        </p:txBody>
      </p:sp>
      <p:sp>
        <p:nvSpPr>
          <p:cNvPr id="67" name="Rectangle 66">
            <a:extLst>
              <a:ext uri="{FF2B5EF4-FFF2-40B4-BE49-F238E27FC236}">
                <a16:creationId xmlns:a16="http://schemas.microsoft.com/office/drawing/2014/main" id="{EE06F1EB-588C-414D-804F-6338DC331E1A}"/>
              </a:ext>
            </a:extLst>
          </p:cNvPr>
          <p:cNvSpPr/>
          <p:nvPr/>
        </p:nvSpPr>
        <p:spPr bwMode="auto">
          <a:xfrm>
            <a:off x="5943600" y="1051200"/>
            <a:ext cx="3560400" cy="280800"/>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900" b="1" i="1">
                <a:latin typeface="Trebuchet MS" panose="020B0603020202020204" pitchFamily="34" charset="0"/>
              </a:rPr>
              <a:t>Waterfall of </a:t>
            </a:r>
            <a:r>
              <a:rPr lang="en-GB" sz="900" b="1" i="1" err="1">
                <a:latin typeface="Trebuchet MS" panose="020B0603020202020204" pitchFamily="34" charset="0"/>
              </a:rPr>
              <a:t>Altares</a:t>
            </a:r>
            <a:r>
              <a:rPr lang="en-GB" sz="900" b="1" i="1">
                <a:latin typeface="Trebuchet MS" panose="020B0603020202020204" pitchFamily="34" charset="0"/>
              </a:rPr>
              <a:t>’ bookings (excluding DB&amp;I) in Benelux between 2017 and 2019 in m€</a:t>
            </a:r>
            <a:endParaRPr kumimoji="0" lang="en-GB" sz="900" b="1" i="1" u="none" strike="noStrike" kern="1200" cap="none" spc="0" normalizeH="0" baseline="0" noProof="0">
              <a:ln>
                <a:noFill/>
              </a:ln>
              <a:effectLst/>
              <a:uLnTx/>
              <a:uFillTx/>
              <a:latin typeface="Trebuchet MS" panose="020B0603020202020204" pitchFamily="34" charset="0"/>
            </a:endParaRPr>
          </a:p>
        </p:txBody>
      </p:sp>
      <p:sp>
        <p:nvSpPr>
          <p:cNvPr id="65" name="Titre 1">
            <a:extLst>
              <a:ext uri="{FF2B5EF4-FFF2-40B4-BE49-F238E27FC236}">
                <a16:creationId xmlns:a16="http://schemas.microsoft.com/office/drawing/2014/main" id="{766BF357-E9E8-419A-BF37-D07CE983ABEA}"/>
              </a:ext>
            </a:extLst>
          </p:cNvPr>
          <p:cNvSpPr txBox="1">
            <a:spLocks/>
          </p:cNvSpPr>
          <p:nvPr/>
        </p:nvSpPr>
        <p:spPr bwMode="auto">
          <a:xfrm>
            <a:off x="165600" y="147600"/>
            <a:ext cx="8438650" cy="68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kern="0" dirty="0">
                <a:latin typeface="Trebuchet MS" panose="020B0603020202020204" pitchFamily="34" charset="0"/>
              </a:rPr>
              <a:t>In </a:t>
            </a:r>
            <a:r>
              <a:rPr lang="en-GB" kern="0" dirty="0">
                <a:solidFill>
                  <a:schemeClr val="tx2"/>
                </a:solidFill>
                <a:latin typeface="Trebuchet MS" panose="020B0603020202020204" pitchFamily="34" charset="0"/>
              </a:rPr>
              <a:t>Benelux</a:t>
            </a:r>
            <a:r>
              <a:rPr lang="en-GB" kern="0" dirty="0">
                <a:latin typeface="Trebuchet MS" panose="020B0603020202020204" pitchFamily="34" charset="0"/>
              </a:rPr>
              <a:t>, Altares has built a </a:t>
            </a:r>
            <a:r>
              <a:rPr lang="en-GB" kern="0" dirty="0">
                <a:solidFill>
                  <a:schemeClr val="tx2"/>
                </a:solidFill>
                <a:latin typeface="Trebuchet MS" panose="020B0603020202020204" pitchFamily="34" charset="0"/>
              </a:rPr>
              <a:t>solid customer base relying on large accounts </a:t>
            </a:r>
            <a:r>
              <a:rPr lang="en-GB" kern="0" dirty="0">
                <a:latin typeface="Trebuchet MS" panose="020B0603020202020204" pitchFamily="34" charset="0"/>
              </a:rPr>
              <a:t>and develop </a:t>
            </a:r>
            <a:r>
              <a:rPr lang="en-GB" kern="0" dirty="0">
                <a:solidFill>
                  <a:schemeClr val="tx2"/>
                </a:solidFill>
                <a:latin typeface="Trebuchet MS" panose="020B0603020202020204" pitchFamily="34" charset="0"/>
              </a:rPr>
              <a:t>strong sales dynamics </a:t>
            </a:r>
            <a:r>
              <a:rPr lang="en-GB" kern="0" dirty="0">
                <a:latin typeface="Trebuchet MS" panose="020B0603020202020204" pitchFamily="34" charset="0"/>
              </a:rPr>
              <a:t>that offset natural churn and down-selling</a:t>
            </a:r>
          </a:p>
        </p:txBody>
      </p:sp>
      <p:sp>
        <p:nvSpPr>
          <p:cNvPr id="66" name="Rectangle 84">
            <a:extLst>
              <a:ext uri="{FF2B5EF4-FFF2-40B4-BE49-F238E27FC236}">
                <a16:creationId xmlns:a16="http://schemas.microsoft.com/office/drawing/2014/main" id="{E2BE804C-3BB8-46F7-B34A-A7BC574B5950}"/>
              </a:ext>
            </a:extLst>
          </p:cNvPr>
          <p:cNvSpPr/>
          <p:nvPr/>
        </p:nvSpPr>
        <p:spPr bwMode="auto">
          <a:xfrm>
            <a:off x="3670176" y="753451"/>
            <a:ext cx="2565649" cy="24933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a:solidFill>
                  <a:schemeClr val="accent1">
                    <a:lumMod val="75000"/>
                  </a:schemeClr>
                </a:solidFill>
                <a:latin typeface="Trebuchet MS" panose="020B0603020202020204" pitchFamily="34" charset="0"/>
              </a:rPr>
              <a:t>Benelux customer base analyses </a:t>
            </a:r>
          </a:p>
        </p:txBody>
      </p:sp>
      <p:cxnSp>
        <p:nvCxnSpPr>
          <p:cNvPr id="69" name="Straight Connector 190">
            <a:extLst>
              <a:ext uri="{FF2B5EF4-FFF2-40B4-BE49-F238E27FC236}">
                <a16:creationId xmlns:a16="http://schemas.microsoft.com/office/drawing/2014/main" id="{54CE423B-879F-4A29-BDF0-27D4A17E9E96}"/>
              </a:ext>
            </a:extLst>
          </p:cNvPr>
          <p:cNvCxnSpPr>
            <a:cxnSpLocks/>
          </p:cNvCxnSpPr>
          <p:nvPr>
            <p:custDataLst>
              <p:tags r:id="rId4"/>
            </p:custDataLst>
          </p:nvPr>
        </p:nvCxnSpPr>
        <p:spPr bwMode="auto">
          <a:xfrm>
            <a:off x="1435372" y="1453984"/>
            <a:ext cx="2398581" cy="60988"/>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70" name="Rectangle 69">
            <a:extLst>
              <a:ext uri="{FF2B5EF4-FFF2-40B4-BE49-F238E27FC236}">
                <a16:creationId xmlns:a16="http://schemas.microsoft.com/office/drawing/2014/main" id="{3EA19F5A-A161-4C7F-849F-CFF6CDE0DE33}"/>
              </a:ext>
            </a:extLst>
          </p:cNvPr>
          <p:cNvSpPr/>
          <p:nvPr/>
        </p:nvSpPr>
        <p:spPr bwMode="auto">
          <a:xfrm rot="158142">
            <a:off x="2193177" y="1317934"/>
            <a:ext cx="100652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17-19: -0.3% </a:t>
            </a:r>
            <a:endParaRPr kumimoji="0" lang="en-GB" sz="900" b="0" i="0" u="none" strike="noStrike" cap="none" normalizeH="0" baseline="0">
              <a:ln>
                <a:noFill/>
              </a:ln>
              <a:effectLst/>
              <a:latin typeface="Trebuchet MS" panose="020B0603020202020204" pitchFamily="34" charset="0"/>
            </a:endParaRPr>
          </a:p>
        </p:txBody>
      </p:sp>
      <p:sp>
        <p:nvSpPr>
          <p:cNvPr id="73" name="Speech Bubble: Rectangle 72">
            <a:extLst>
              <a:ext uri="{FF2B5EF4-FFF2-40B4-BE49-F238E27FC236}">
                <a16:creationId xmlns:a16="http://schemas.microsoft.com/office/drawing/2014/main" id="{EF9751AD-9E68-4516-9068-CD0E1728B19F}"/>
              </a:ext>
            </a:extLst>
          </p:cNvPr>
          <p:cNvSpPr/>
          <p:nvPr/>
        </p:nvSpPr>
        <p:spPr bwMode="auto">
          <a:xfrm>
            <a:off x="5795454" y="2236575"/>
            <a:ext cx="809543" cy="257158"/>
          </a:xfrm>
          <a:prstGeom prst="wedgeRectCallout">
            <a:avLst>
              <a:gd name="adj1" fmla="val -1910"/>
              <a:gd name="adj2" fmla="val 98114"/>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6000" tIns="45720" rIns="0" bIns="45720" numCol="1" rtlCol="0" anchor="ctr" anchorCtr="0" compatLnSpc="1">
            <a:prstTxWarp prst="textNoShape">
              <a:avLst/>
            </a:prstTxWarp>
          </a:bodyPr>
          <a:lstStyle/>
          <a:p>
            <a:pPr algn="ctr"/>
            <a:r>
              <a:rPr lang="en-GB" sz="900">
                <a:latin typeface="Trebuchet MS" panose="020B0603020202020204" pitchFamily="34" charset="0"/>
              </a:rPr>
              <a:t>ARPU: 20 250€ </a:t>
            </a:r>
          </a:p>
        </p:txBody>
      </p:sp>
      <p:sp>
        <p:nvSpPr>
          <p:cNvPr id="74" name="Speech Bubble: Rectangle 73">
            <a:extLst>
              <a:ext uri="{FF2B5EF4-FFF2-40B4-BE49-F238E27FC236}">
                <a16:creationId xmlns:a16="http://schemas.microsoft.com/office/drawing/2014/main" id="{2093B9B0-E411-47D1-A64F-CE397B8699C2}"/>
              </a:ext>
            </a:extLst>
          </p:cNvPr>
          <p:cNvSpPr/>
          <p:nvPr/>
        </p:nvSpPr>
        <p:spPr bwMode="auto">
          <a:xfrm>
            <a:off x="7370530" y="2236575"/>
            <a:ext cx="809543" cy="257158"/>
          </a:xfrm>
          <a:prstGeom prst="wedgeRectCallout">
            <a:avLst>
              <a:gd name="adj1" fmla="val -1041"/>
              <a:gd name="adj2" fmla="val 90478"/>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6000" tIns="45720" rIns="0" bIns="45720" numCol="1" rtlCol="0" anchor="ctr" anchorCtr="0" compatLnSpc="1">
            <a:prstTxWarp prst="textNoShape">
              <a:avLst/>
            </a:prstTxWarp>
          </a:bodyPr>
          <a:lstStyle/>
          <a:p>
            <a:pPr algn="ctr"/>
            <a:r>
              <a:rPr lang="en-GB" sz="900">
                <a:latin typeface="Trebuchet MS" panose="020B0603020202020204" pitchFamily="34" charset="0"/>
              </a:rPr>
              <a:t>ARPU: 20 773€ </a:t>
            </a:r>
          </a:p>
        </p:txBody>
      </p:sp>
      <p:sp>
        <p:nvSpPr>
          <p:cNvPr id="75" name="Speech Bubble: Rectangle 74">
            <a:extLst>
              <a:ext uri="{FF2B5EF4-FFF2-40B4-BE49-F238E27FC236}">
                <a16:creationId xmlns:a16="http://schemas.microsoft.com/office/drawing/2014/main" id="{8BC10959-D61E-49CE-A781-A13404CCC349}"/>
              </a:ext>
            </a:extLst>
          </p:cNvPr>
          <p:cNvSpPr/>
          <p:nvPr/>
        </p:nvSpPr>
        <p:spPr bwMode="auto">
          <a:xfrm>
            <a:off x="8945606" y="2236575"/>
            <a:ext cx="809543" cy="257158"/>
          </a:xfrm>
          <a:prstGeom prst="wedgeRectCallout">
            <a:avLst>
              <a:gd name="adj1" fmla="val 6020"/>
              <a:gd name="adj2" fmla="val 95743"/>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6000" tIns="45720" rIns="0" bIns="45720" numCol="1" rtlCol="0" anchor="ctr" anchorCtr="0" compatLnSpc="1">
            <a:prstTxWarp prst="textNoShape">
              <a:avLst/>
            </a:prstTxWarp>
          </a:bodyPr>
          <a:lstStyle/>
          <a:p>
            <a:pPr algn="ctr"/>
            <a:r>
              <a:rPr lang="en-GB" sz="900">
                <a:latin typeface="Trebuchet MS" panose="020B0603020202020204" pitchFamily="34" charset="0"/>
              </a:rPr>
              <a:t>ARPU: 21 216€ </a:t>
            </a:r>
          </a:p>
        </p:txBody>
      </p:sp>
      <p:grpSp>
        <p:nvGrpSpPr>
          <p:cNvPr id="52" name="Groupe 51">
            <a:extLst>
              <a:ext uri="{FF2B5EF4-FFF2-40B4-BE49-F238E27FC236}">
                <a16:creationId xmlns:a16="http://schemas.microsoft.com/office/drawing/2014/main" id="{C2E46B3A-7639-40C8-A4E0-D71E9D172F8B}"/>
              </a:ext>
            </a:extLst>
          </p:cNvPr>
          <p:cNvGrpSpPr/>
          <p:nvPr/>
        </p:nvGrpSpPr>
        <p:grpSpPr>
          <a:xfrm>
            <a:off x="8448150" y="-11528"/>
            <a:ext cx="1435548" cy="588143"/>
            <a:chOff x="8448150" y="-11528"/>
            <a:chExt cx="1435548" cy="588143"/>
          </a:xfrm>
        </p:grpSpPr>
        <p:sp>
          <p:nvSpPr>
            <p:cNvPr id="53" name="Rectangle : coins arrondis 199">
              <a:extLst>
                <a:ext uri="{FF2B5EF4-FFF2-40B4-BE49-F238E27FC236}">
                  <a16:creationId xmlns:a16="http://schemas.microsoft.com/office/drawing/2014/main" id="{E27C8F25-B669-439F-9C09-18B474C8D747}"/>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0" name="Rectangle : coins arrondis 200">
              <a:extLst>
                <a:ext uri="{FF2B5EF4-FFF2-40B4-BE49-F238E27FC236}">
                  <a16:creationId xmlns:a16="http://schemas.microsoft.com/office/drawing/2014/main" id="{1E8543E4-EA2D-4D90-9C36-D461A800E813}"/>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2" name="Rectangle : coins arrondis 201">
              <a:extLst>
                <a:ext uri="{FF2B5EF4-FFF2-40B4-BE49-F238E27FC236}">
                  <a16:creationId xmlns:a16="http://schemas.microsoft.com/office/drawing/2014/main" id="{CB1756EF-BA12-4D51-8208-22BDC64548C8}"/>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3" name="ZoneTexte 18">
              <a:extLst>
                <a:ext uri="{FF2B5EF4-FFF2-40B4-BE49-F238E27FC236}">
                  <a16:creationId xmlns:a16="http://schemas.microsoft.com/office/drawing/2014/main" id="{14BA00DD-60B6-4F8B-88BD-0A95102B24EC}"/>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key assets</a:t>
              </a:r>
            </a:p>
          </p:txBody>
        </p:sp>
        <p:pic>
          <p:nvPicPr>
            <p:cNvPr id="64" name="Graphique 128" descr="Jauge">
              <a:extLst>
                <a:ext uri="{FF2B5EF4-FFF2-40B4-BE49-F238E27FC236}">
                  <a16:creationId xmlns:a16="http://schemas.microsoft.com/office/drawing/2014/main" id="{EA6EDA44-AEE5-4CF6-9692-30C64F2FF89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553764" y="187516"/>
              <a:ext cx="234953" cy="218224"/>
            </a:xfrm>
            <a:prstGeom prst="rect">
              <a:avLst/>
            </a:prstGeom>
            <a:effectLst/>
          </p:spPr>
        </p:pic>
        <p:pic>
          <p:nvPicPr>
            <p:cNvPr id="76" name="Graphique 90" descr="Poignée de main">
              <a:extLst>
                <a:ext uri="{FF2B5EF4-FFF2-40B4-BE49-F238E27FC236}">
                  <a16:creationId xmlns:a16="http://schemas.microsoft.com/office/drawing/2014/main" id="{008BF567-A374-4EAC-93D5-4899324C0A4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960868" y="152880"/>
              <a:ext cx="256313" cy="287496"/>
            </a:xfrm>
            <a:prstGeom prst="rect">
              <a:avLst/>
            </a:prstGeom>
            <a:effectLst/>
          </p:spPr>
        </p:pic>
        <p:pic>
          <p:nvPicPr>
            <p:cNvPr id="77" name="Graphique 74" descr="Mégaphone">
              <a:extLst>
                <a:ext uri="{FF2B5EF4-FFF2-40B4-BE49-F238E27FC236}">
                  <a16:creationId xmlns:a16="http://schemas.microsoft.com/office/drawing/2014/main" id="{79B6FE49-4A60-4812-9C16-63DCE91887CF}"/>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389331" y="181519"/>
              <a:ext cx="233011" cy="216420"/>
            </a:xfrm>
            <a:prstGeom prst="rect">
              <a:avLst/>
            </a:prstGeom>
            <a:effectLst/>
          </p:spPr>
        </p:pic>
        <p:pic>
          <p:nvPicPr>
            <p:cNvPr id="80" name="Picture 2" descr="5 ft x 3 ft 150 x 90 cm-DRAPEAU BELGE Belgique 100% Polyester ...">
              <a:extLst>
                <a:ext uri="{FF2B5EF4-FFF2-40B4-BE49-F238E27FC236}">
                  <a16:creationId xmlns:a16="http://schemas.microsoft.com/office/drawing/2014/main" id="{B55FAF89-F841-4BC8-B9C3-7DD29627F2A7}"/>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81" name="Picture 2 - 1" descr="Drapeau des Pays-Bas — Wikipédia">
              <a:extLst>
                <a:ext uri="{FF2B5EF4-FFF2-40B4-BE49-F238E27FC236}">
                  <a16:creationId xmlns:a16="http://schemas.microsoft.com/office/drawing/2014/main" id="{5A8B5B73-6AAA-4C30-A89D-0AE25B05BC98}"/>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2" name="Picture 2 - 2" descr="Drapeau du Luxembourg">
              <a:extLst>
                <a:ext uri="{FF2B5EF4-FFF2-40B4-BE49-F238E27FC236}">
                  <a16:creationId xmlns:a16="http://schemas.microsoft.com/office/drawing/2014/main" id="{6A3FAC69-E0F3-43AE-9447-7AB8DA84F1C4}"/>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83" name="ZoneTexte 18">
              <a:extLst>
                <a:ext uri="{FF2B5EF4-FFF2-40B4-BE49-F238E27FC236}">
                  <a16:creationId xmlns:a16="http://schemas.microsoft.com/office/drawing/2014/main" id="{BDBEBCD5-4DF0-41AD-B894-47FC784F485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enelux client base</a:t>
              </a:r>
            </a:p>
          </p:txBody>
        </p:sp>
      </p:grpSp>
      <p:sp>
        <p:nvSpPr>
          <p:cNvPr id="78" name="Bulle narrative : rectangle 77">
            <a:extLst>
              <a:ext uri="{FF2B5EF4-FFF2-40B4-BE49-F238E27FC236}">
                <a16:creationId xmlns:a16="http://schemas.microsoft.com/office/drawing/2014/main" id="{508212BC-E494-41E0-A327-C262D672C486}"/>
              </a:ext>
            </a:extLst>
          </p:cNvPr>
          <p:cNvSpPr/>
          <p:nvPr/>
        </p:nvSpPr>
        <p:spPr bwMode="auto">
          <a:xfrm>
            <a:off x="5244221" y="6228900"/>
            <a:ext cx="1175136" cy="584650"/>
          </a:xfrm>
          <a:prstGeom prst="wedgeRectCallout">
            <a:avLst>
              <a:gd name="adj1" fmla="val -56593"/>
              <a:gd name="adj2" fmla="val -81360"/>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800" b="0" i="1" u="none" strike="noStrike" cap="none" normalizeH="0" baseline="0">
              <a:ln>
                <a:noFill/>
              </a:ln>
              <a:solidFill>
                <a:schemeClr val="accent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accent1"/>
                </a:solidFill>
                <a:effectLst/>
                <a:latin typeface="Trebuchet MS" pitchFamily="34" charset="0"/>
              </a:rPr>
              <a:t>See scope of customers cohorts’ analysis pages 86-87</a:t>
            </a:r>
          </a:p>
        </p:txBody>
      </p:sp>
      <p:sp>
        <p:nvSpPr>
          <p:cNvPr id="84" name="Freeform 5">
            <a:extLst>
              <a:ext uri="{FF2B5EF4-FFF2-40B4-BE49-F238E27FC236}">
                <a16:creationId xmlns:a16="http://schemas.microsoft.com/office/drawing/2014/main" id="{0B8BE03D-788C-4517-899A-9DDC9BE3E5D5}"/>
              </a:ext>
            </a:extLst>
          </p:cNvPr>
          <p:cNvSpPr>
            <a:spLocks noEditPoints="1"/>
          </p:cNvSpPr>
          <p:nvPr/>
        </p:nvSpPr>
        <p:spPr bwMode="auto">
          <a:xfrm>
            <a:off x="5701528" y="6245865"/>
            <a:ext cx="187853" cy="173251"/>
          </a:xfrm>
          <a:custGeom>
            <a:avLst/>
            <a:gdLst>
              <a:gd name="T0" fmla="*/ 56 w 60"/>
              <a:gd name="T1" fmla="*/ 28 h 60"/>
              <a:gd name="T2" fmla="*/ 32 w 60"/>
              <a:gd name="T3" fmla="*/ 4 h 60"/>
              <a:gd name="T4" fmla="*/ 32 w 60"/>
              <a:gd name="T5" fmla="*/ 0 h 60"/>
              <a:gd name="T6" fmla="*/ 28 w 60"/>
              <a:gd name="T7" fmla="*/ 0 h 60"/>
              <a:gd name="T8" fmla="*/ 28 w 60"/>
              <a:gd name="T9" fmla="*/ 4 h 60"/>
              <a:gd name="T10" fmla="*/ 5 w 60"/>
              <a:gd name="T11" fmla="*/ 28 h 60"/>
              <a:gd name="T12" fmla="*/ 0 w 60"/>
              <a:gd name="T13" fmla="*/ 28 h 60"/>
              <a:gd name="T14" fmla="*/ 0 w 60"/>
              <a:gd name="T15" fmla="*/ 32 h 60"/>
              <a:gd name="T16" fmla="*/ 5 w 60"/>
              <a:gd name="T17" fmla="*/ 32 h 60"/>
              <a:gd name="T18" fmla="*/ 28 w 60"/>
              <a:gd name="T19" fmla="*/ 56 h 60"/>
              <a:gd name="T20" fmla="*/ 28 w 60"/>
              <a:gd name="T21" fmla="*/ 60 h 60"/>
              <a:gd name="T22" fmla="*/ 32 w 60"/>
              <a:gd name="T23" fmla="*/ 60 h 60"/>
              <a:gd name="T24" fmla="*/ 32 w 60"/>
              <a:gd name="T25" fmla="*/ 56 h 60"/>
              <a:gd name="T26" fmla="*/ 56 w 60"/>
              <a:gd name="T27" fmla="*/ 32 h 60"/>
              <a:gd name="T28" fmla="*/ 60 w 60"/>
              <a:gd name="T29" fmla="*/ 32 h 60"/>
              <a:gd name="T30" fmla="*/ 60 w 60"/>
              <a:gd name="T31" fmla="*/ 28 h 60"/>
              <a:gd name="T32" fmla="*/ 56 w 60"/>
              <a:gd name="T33" fmla="*/ 28 h 60"/>
              <a:gd name="T34" fmla="*/ 52 w 60"/>
              <a:gd name="T35" fmla="*/ 32 h 60"/>
              <a:gd name="T36" fmla="*/ 32 w 60"/>
              <a:gd name="T37" fmla="*/ 52 h 60"/>
              <a:gd name="T38" fmla="*/ 32 w 60"/>
              <a:gd name="T39" fmla="*/ 40 h 60"/>
              <a:gd name="T40" fmla="*/ 28 w 60"/>
              <a:gd name="T41" fmla="*/ 40 h 60"/>
              <a:gd name="T42" fmla="*/ 28 w 60"/>
              <a:gd name="T43" fmla="*/ 52 h 60"/>
              <a:gd name="T44" fmla="*/ 9 w 60"/>
              <a:gd name="T45" fmla="*/ 32 h 60"/>
              <a:gd name="T46" fmla="*/ 20 w 60"/>
              <a:gd name="T47" fmla="*/ 32 h 60"/>
              <a:gd name="T48" fmla="*/ 20 w 60"/>
              <a:gd name="T49" fmla="*/ 28 h 60"/>
              <a:gd name="T50" fmla="*/ 9 w 60"/>
              <a:gd name="T51" fmla="*/ 28 h 60"/>
              <a:gd name="T52" fmla="*/ 28 w 60"/>
              <a:gd name="T53" fmla="*/ 8 h 60"/>
              <a:gd name="T54" fmla="*/ 28 w 60"/>
              <a:gd name="T55" fmla="*/ 20 h 60"/>
              <a:gd name="T56" fmla="*/ 32 w 60"/>
              <a:gd name="T57" fmla="*/ 20 h 60"/>
              <a:gd name="T58" fmla="*/ 32 w 60"/>
              <a:gd name="T59" fmla="*/ 8 h 60"/>
              <a:gd name="T60" fmla="*/ 52 w 60"/>
              <a:gd name="T61" fmla="*/ 28 h 60"/>
              <a:gd name="T62" fmla="*/ 40 w 60"/>
              <a:gd name="T63" fmla="*/ 28 h 60"/>
              <a:gd name="T64" fmla="*/ 40 w 60"/>
              <a:gd name="T65" fmla="*/ 32 h 60"/>
              <a:gd name="T66" fmla="*/ 52 w 60"/>
              <a:gd name="T67" fmla="*/ 3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60">
                <a:moveTo>
                  <a:pt x="56" y="28"/>
                </a:moveTo>
                <a:cubicBezTo>
                  <a:pt x="55" y="15"/>
                  <a:pt x="45" y="5"/>
                  <a:pt x="32" y="4"/>
                </a:cubicBezTo>
                <a:cubicBezTo>
                  <a:pt x="32" y="0"/>
                  <a:pt x="32" y="0"/>
                  <a:pt x="32" y="0"/>
                </a:cubicBezTo>
                <a:cubicBezTo>
                  <a:pt x="28" y="0"/>
                  <a:pt x="28" y="0"/>
                  <a:pt x="28" y="0"/>
                </a:cubicBezTo>
                <a:cubicBezTo>
                  <a:pt x="28" y="4"/>
                  <a:pt x="28" y="4"/>
                  <a:pt x="28" y="4"/>
                </a:cubicBezTo>
                <a:cubicBezTo>
                  <a:pt x="16" y="5"/>
                  <a:pt x="6" y="15"/>
                  <a:pt x="5" y="28"/>
                </a:cubicBezTo>
                <a:cubicBezTo>
                  <a:pt x="0" y="28"/>
                  <a:pt x="0" y="28"/>
                  <a:pt x="0" y="28"/>
                </a:cubicBezTo>
                <a:cubicBezTo>
                  <a:pt x="0" y="32"/>
                  <a:pt x="0" y="32"/>
                  <a:pt x="0" y="32"/>
                </a:cubicBezTo>
                <a:cubicBezTo>
                  <a:pt x="5" y="32"/>
                  <a:pt x="5" y="32"/>
                  <a:pt x="5" y="32"/>
                </a:cubicBezTo>
                <a:cubicBezTo>
                  <a:pt x="6" y="45"/>
                  <a:pt x="16" y="55"/>
                  <a:pt x="28" y="56"/>
                </a:cubicBezTo>
                <a:cubicBezTo>
                  <a:pt x="28" y="60"/>
                  <a:pt x="28" y="60"/>
                  <a:pt x="28" y="60"/>
                </a:cubicBezTo>
                <a:cubicBezTo>
                  <a:pt x="32" y="60"/>
                  <a:pt x="32" y="60"/>
                  <a:pt x="32" y="60"/>
                </a:cubicBezTo>
                <a:cubicBezTo>
                  <a:pt x="32" y="56"/>
                  <a:pt x="32" y="56"/>
                  <a:pt x="32" y="56"/>
                </a:cubicBezTo>
                <a:cubicBezTo>
                  <a:pt x="45" y="55"/>
                  <a:pt x="55" y="45"/>
                  <a:pt x="56" y="32"/>
                </a:cubicBezTo>
                <a:cubicBezTo>
                  <a:pt x="60" y="32"/>
                  <a:pt x="60" y="32"/>
                  <a:pt x="60" y="32"/>
                </a:cubicBezTo>
                <a:cubicBezTo>
                  <a:pt x="60" y="28"/>
                  <a:pt x="60" y="28"/>
                  <a:pt x="60" y="28"/>
                </a:cubicBezTo>
                <a:lnTo>
                  <a:pt x="56" y="28"/>
                </a:lnTo>
                <a:close/>
                <a:moveTo>
                  <a:pt x="52" y="32"/>
                </a:moveTo>
                <a:cubicBezTo>
                  <a:pt x="51" y="43"/>
                  <a:pt x="43" y="51"/>
                  <a:pt x="32" y="52"/>
                </a:cubicBezTo>
                <a:cubicBezTo>
                  <a:pt x="32" y="40"/>
                  <a:pt x="32" y="40"/>
                  <a:pt x="32" y="40"/>
                </a:cubicBezTo>
                <a:cubicBezTo>
                  <a:pt x="28" y="40"/>
                  <a:pt x="28" y="40"/>
                  <a:pt x="28" y="40"/>
                </a:cubicBezTo>
                <a:cubicBezTo>
                  <a:pt x="28" y="52"/>
                  <a:pt x="28" y="52"/>
                  <a:pt x="28" y="52"/>
                </a:cubicBezTo>
                <a:cubicBezTo>
                  <a:pt x="18" y="51"/>
                  <a:pt x="9" y="43"/>
                  <a:pt x="9" y="32"/>
                </a:cubicBezTo>
                <a:cubicBezTo>
                  <a:pt x="20" y="32"/>
                  <a:pt x="20" y="32"/>
                  <a:pt x="20" y="32"/>
                </a:cubicBezTo>
                <a:cubicBezTo>
                  <a:pt x="20" y="28"/>
                  <a:pt x="20" y="28"/>
                  <a:pt x="20" y="28"/>
                </a:cubicBezTo>
                <a:cubicBezTo>
                  <a:pt x="9" y="28"/>
                  <a:pt x="9" y="28"/>
                  <a:pt x="9" y="28"/>
                </a:cubicBezTo>
                <a:cubicBezTo>
                  <a:pt x="9" y="18"/>
                  <a:pt x="18" y="9"/>
                  <a:pt x="28" y="8"/>
                </a:cubicBezTo>
                <a:cubicBezTo>
                  <a:pt x="28" y="20"/>
                  <a:pt x="28" y="20"/>
                  <a:pt x="28" y="20"/>
                </a:cubicBezTo>
                <a:cubicBezTo>
                  <a:pt x="32" y="20"/>
                  <a:pt x="32" y="20"/>
                  <a:pt x="32" y="20"/>
                </a:cubicBezTo>
                <a:cubicBezTo>
                  <a:pt x="32" y="8"/>
                  <a:pt x="32" y="8"/>
                  <a:pt x="32" y="8"/>
                </a:cubicBezTo>
                <a:cubicBezTo>
                  <a:pt x="43" y="9"/>
                  <a:pt x="51" y="18"/>
                  <a:pt x="52" y="28"/>
                </a:cubicBezTo>
                <a:cubicBezTo>
                  <a:pt x="40" y="28"/>
                  <a:pt x="40" y="28"/>
                  <a:pt x="40" y="28"/>
                </a:cubicBezTo>
                <a:cubicBezTo>
                  <a:pt x="40" y="32"/>
                  <a:pt x="40" y="32"/>
                  <a:pt x="40" y="32"/>
                </a:cubicBezTo>
                <a:lnTo>
                  <a:pt x="52" y="3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88" name="Rectangle 87">
            <a:extLst>
              <a:ext uri="{FF2B5EF4-FFF2-40B4-BE49-F238E27FC236}">
                <a16:creationId xmlns:a16="http://schemas.microsoft.com/office/drawing/2014/main" id="{FA8F9F2F-7970-436F-811A-E8DA24FDC5FE}"/>
              </a:ext>
            </a:extLst>
          </p:cNvPr>
          <p:cNvSpPr/>
          <p:nvPr/>
        </p:nvSpPr>
        <p:spPr bwMode="auto">
          <a:xfrm>
            <a:off x="4538541" y="1280008"/>
            <a:ext cx="1179976" cy="1562023"/>
          </a:xfrm>
          <a:prstGeom prst="rect">
            <a:avLst/>
          </a:prstGeom>
          <a:solidFill>
            <a:srgbClr val="F2F2F2"/>
          </a:solidFill>
          <a:ln w="9525" cap="flat" cmpd="sng" algn="ctr">
            <a:solidFill>
              <a:schemeClr val="bg1"/>
            </a:solidFill>
            <a:prstDash val="solid"/>
            <a:round/>
            <a:headEnd type="none" w="med" len="med"/>
            <a:tailEnd type="none" w="med" len="med"/>
          </a:ln>
          <a:effectLst/>
        </p:spPr>
        <p:txBody>
          <a:bodyPr vert="horz" wrap="square" lIns="0" tIns="45720" rIns="0" bIns="45720" numCol="1" rtlCol="0" anchor="b"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6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800" b="1" i="0" u="none" strike="noStrike" cap="none" normalizeH="0" baseline="0">
              <a:ln>
                <a:noFill/>
              </a:ln>
              <a:solidFill>
                <a:schemeClr val="tx2"/>
              </a:solidFill>
              <a:effectLst/>
              <a:latin typeface="Trebuchet MS" pitchFamily="34" charset="0"/>
            </a:endParaRPr>
          </a:p>
        </p:txBody>
      </p:sp>
      <p:sp>
        <p:nvSpPr>
          <p:cNvPr id="89" name="Rectangle 88">
            <a:extLst>
              <a:ext uri="{FF2B5EF4-FFF2-40B4-BE49-F238E27FC236}">
                <a16:creationId xmlns:a16="http://schemas.microsoft.com/office/drawing/2014/main" id="{E995632E-D7BD-4CA6-9402-36B1F2DDD5C7}"/>
              </a:ext>
            </a:extLst>
          </p:cNvPr>
          <p:cNvSpPr/>
          <p:nvPr/>
        </p:nvSpPr>
        <p:spPr bwMode="auto">
          <a:xfrm>
            <a:off x="4615048" y="1366473"/>
            <a:ext cx="1026963" cy="493600"/>
          </a:xfrm>
          <a:prstGeom prst="rect">
            <a:avLst/>
          </a:prstGeom>
          <a:solidFill>
            <a:schemeClr val="bg1"/>
          </a:solidFill>
          <a:ln w="19050" cap="flat" cmpd="sng" algn="ctr">
            <a:solidFill>
              <a:srgbClr val="1987B1"/>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a:r>
              <a:rPr lang="en-GB" sz="600" i="1">
                <a:latin typeface="Trebuchet MS" pitchFamily="34" charset="0"/>
              </a:rPr>
              <a:t>BNL “bookings”</a:t>
            </a:r>
          </a:p>
          <a:p>
            <a:pPr algn="ctr"/>
            <a:r>
              <a:rPr lang="en-GB" sz="600" b="1">
                <a:latin typeface="Trebuchet MS" pitchFamily="34" charset="0"/>
              </a:rPr>
              <a:t>46.3 €m</a:t>
            </a:r>
          </a:p>
        </p:txBody>
      </p:sp>
      <p:cxnSp>
        <p:nvCxnSpPr>
          <p:cNvPr id="91" name="Connecteur : en angle 9">
            <a:extLst>
              <a:ext uri="{FF2B5EF4-FFF2-40B4-BE49-F238E27FC236}">
                <a16:creationId xmlns:a16="http://schemas.microsoft.com/office/drawing/2014/main" id="{FB4141CE-60B3-43A2-9A6B-F9ACCFA12A59}"/>
              </a:ext>
            </a:extLst>
          </p:cNvPr>
          <p:cNvCxnSpPr>
            <a:cxnSpLocks/>
            <a:endCxn id="89" idx="1"/>
          </p:cNvCxnSpPr>
          <p:nvPr/>
        </p:nvCxnSpPr>
        <p:spPr bwMode="auto">
          <a:xfrm>
            <a:off x="3990009" y="1574863"/>
            <a:ext cx="625039" cy="38410"/>
          </a:xfrm>
          <a:prstGeom prst="bentConnector3">
            <a:avLst>
              <a:gd name="adj1" fmla="val 50000"/>
            </a:avLst>
          </a:prstGeom>
          <a:solidFill>
            <a:schemeClr val="accent1"/>
          </a:solidFill>
          <a:ln w="12700" cap="flat" cmpd="sng" algn="ctr">
            <a:solidFill>
              <a:srgbClr val="1987B1"/>
            </a:solidFill>
            <a:prstDash val="solid"/>
            <a:round/>
            <a:headEnd type="none" w="med" len="med"/>
            <a:tailEnd type="triangle"/>
          </a:ln>
          <a:effectLst/>
        </p:spPr>
      </p:cxnSp>
      <p:sp>
        <p:nvSpPr>
          <p:cNvPr id="96" name="Arrow: Up-Down 95">
            <a:extLst>
              <a:ext uri="{FF2B5EF4-FFF2-40B4-BE49-F238E27FC236}">
                <a16:creationId xmlns:a16="http://schemas.microsoft.com/office/drawing/2014/main" id="{90E103C2-FF62-4752-ABA3-02129B448B0B}"/>
              </a:ext>
            </a:extLst>
          </p:cNvPr>
          <p:cNvSpPr/>
          <p:nvPr/>
        </p:nvSpPr>
        <p:spPr bwMode="auto">
          <a:xfrm>
            <a:off x="5076019" y="1946011"/>
            <a:ext cx="105020" cy="226155"/>
          </a:xfrm>
          <a:prstGeom prst="upDownArrow">
            <a:avLst/>
          </a:prstGeom>
          <a:solidFill>
            <a:srgbClr val="1987B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tx1"/>
              </a:solidFill>
              <a:effectLst/>
              <a:latin typeface="Trebuchet MS" pitchFamily="34" charset="0"/>
            </a:endParaRPr>
          </a:p>
        </p:txBody>
      </p:sp>
      <p:sp>
        <p:nvSpPr>
          <p:cNvPr id="97" name="Rectangle 96">
            <a:extLst>
              <a:ext uri="{FF2B5EF4-FFF2-40B4-BE49-F238E27FC236}">
                <a16:creationId xmlns:a16="http://schemas.microsoft.com/office/drawing/2014/main" id="{34319CD3-4F43-47D4-A96F-3DE7FF61CA2A}"/>
              </a:ext>
            </a:extLst>
          </p:cNvPr>
          <p:cNvSpPr/>
          <p:nvPr/>
        </p:nvSpPr>
        <p:spPr bwMode="auto">
          <a:xfrm>
            <a:off x="4615048" y="2258103"/>
            <a:ext cx="1026963" cy="493600"/>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a:r>
              <a:rPr lang="en-GB" sz="600" i="1" dirty="0">
                <a:latin typeface="Trebuchet MS" pitchFamily="34" charset="0"/>
              </a:rPr>
              <a:t>BNM revenue</a:t>
            </a:r>
          </a:p>
          <a:p>
            <a:pPr algn="ctr"/>
            <a:r>
              <a:rPr lang="en-GB" sz="600" b="1" dirty="0">
                <a:latin typeface="Trebuchet MS" pitchFamily="34" charset="0"/>
              </a:rPr>
              <a:t>46.3 €m</a:t>
            </a:r>
          </a:p>
          <a:p>
            <a:pPr algn="ctr"/>
            <a:r>
              <a:rPr lang="en-GB" sz="600" i="1" dirty="0">
                <a:solidFill>
                  <a:schemeClr val="accent1"/>
                </a:solidFill>
                <a:latin typeface="Trebuchet MS" pitchFamily="34" charset="0"/>
              </a:rPr>
              <a:t>(see page 5)</a:t>
            </a:r>
          </a:p>
        </p:txBody>
      </p:sp>
    </p:spTree>
    <p:extLst>
      <p:ext uri="{BB962C8B-B14F-4D97-AF65-F5344CB8AC3E}">
        <p14:creationId xmlns:p14="http://schemas.microsoft.com/office/powerpoint/2010/main" val="2517844644"/>
      </p:ext>
    </p:extLst>
  </p:cSld>
  <p:clrMapOvr>
    <a:masterClrMapping/>
  </p:clrMapOvr>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A44C8C8-2F36-450B-A067-045DF42C7170}"/>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59AD0D4C-52B6-4887-95DD-FD6DE794558F}"/>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F0A06676-82C0-4F43-87A1-A34EA0E8CFAF}"/>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347663" marR="338138" indent="-228600">
              <a:spcBef>
                <a:spcPts val="600"/>
              </a:spcBef>
              <a:spcAft>
                <a:spcPts val="0"/>
              </a:spcAft>
              <a:buFont typeface="+mj-lt"/>
              <a:buAutoNum type="arabicPeriod"/>
            </a:pPr>
            <a:r>
              <a:rPr lang="en-GB" sz="1200">
                <a:latin typeface="Trebuchet MS" panose="020B0603020202020204" pitchFamily="34" charset="0"/>
              </a:rPr>
              <a:t>Key strategic levers supporting </a:t>
            </a:r>
            <a:r>
              <a:rPr lang="en-GB" sz="1200" err="1">
                <a:latin typeface="Trebuchet MS" panose="020B0603020202020204" pitchFamily="34" charset="0"/>
              </a:rPr>
              <a:t>Altares</a:t>
            </a:r>
            <a:r>
              <a:rPr lang="en-GB" sz="1200">
                <a:latin typeface="Trebuchet MS" panose="020B0603020202020204" pitchFamily="34" charset="0"/>
              </a:rPr>
              <a:t>’ future growth </a:t>
            </a:r>
          </a:p>
          <a:p>
            <a:pPr marL="347663" marR="338138" indent="-228600">
              <a:spcBef>
                <a:spcPts val="600"/>
              </a:spcBef>
              <a:spcAft>
                <a:spcPts val="0"/>
              </a:spcAft>
              <a:buFont typeface="+mj-lt"/>
              <a:buAutoNum type="arabicPeriod"/>
            </a:pPr>
            <a:r>
              <a:rPr lang="en-GB" sz="1200">
                <a:solidFill>
                  <a:schemeClr val="tx2"/>
                </a:solidFill>
                <a:latin typeface="Trebuchet MS" panose="020B0603020202020204" pitchFamily="34" charset="0"/>
              </a:rPr>
              <a:t>Business plan assessment</a:t>
            </a:r>
          </a:p>
          <a:p>
            <a:pPr marL="804863" marR="338138" lvl="1" indent="-228600">
              <a:spcBef>
                <a:spcPts val="600"/>
              </a:spcBef>
              <a:spcAft>
                <a:spcPts val="0"/>
              </a:spcAft>
              <a:buFont typeface="+mj-lt"/>
              <a:buAutoNum type="arabicPeriod"/>
            </a:pPr>
            <a:r>
              <a:rPr lang="en-GB" sz="1200">
                <a:latin typeface="Trebuchet MS" panose="020B0603020202020204" pitchFamily="34" charset="0"/>
              </a:rPr>
              <a:t>Overall BP presentation</a:t>
            </a:r>
          </a:p>
          <a:p>
            <a:pPr marL="804863" marR="338138" lvl="1" indent="-228600">
              <a:spcBef>
                <a:spcPts val="600"/>
              </a:spcBef>
              <a:spcAft>
                <a:spcPts val="0"/>
              </a:spcAft>
              <a:buFont typeface="+mj-lt"/>
              <a:buAutoNum type="arabicPeriod"/>
            </a:pPr>
            <a:r>
              <a:rPr lang="en-GB" sz="1200">
                <a:solidFill>
                  <a:schemeClr val="tx2"/>
                </a:solidFill>
                <a:latin typeface="Trebuchet MS" panose="020B0603020202020204" pitchFamily="34" charset="0"/>
              </a:rPr>
              <a:t>Detailed growth assessment per activity</a:t>
            </a:r>
          </a:p>
          <a:p>
            <a:pPr marL="1319213" marR="338138" lvl="2" indent="-285750">
              <a:spcBef>
                <a:spcPts val="600"/>
              </a:spcBef>
              <a:spcAft>
                <a:spcPts val="0"/>
              </a:spcAft>
              <a:buFont typeface="+mj-lt"/>
              <a:buAutoNum type="alphaUcPeriod"/>
            </a:pPr>
            <a:r>
              <a:rPr lang="en-GB" sz="1200">
                <a:latin typeface="Trebuchet MS" panose="020B0603020202020204" pitchFamily="34" charset="0"/>
              </a:rPr>
              <a:t>Credit risk</a:t>
            </a:r>
          </a:p>
          <a:p>
            <a:pPr marL="1319213" marR="338138" lvl="2" indent="-285750">
              <a:spcBef>
                <a:spcPts val="600"/>
              </a:spcBef>
              <a:spcAft>
                <a:spcPts val="0"/>
              </a:spcAft>
              <a:buFont typeface="+mj-lt"/>
              <a:buAutoNum type="alphaUcPeriod"/>
            </a:pPr>
            <a:r>
              <a:rPr lang="en-GB" sz="1200">
                <a:solidFill>
                  <a:schemeClr val="tx2"/>
                </a:solidFill>
                <a:latin typeface="Trebuchet MS" panose="020B0603020202020204" pitchFamily="34" charset="0"/>
              </a:rPr>
              <a:t>Compliance</a:t>
            </a:r>
          </a:p>
          <a:p>
            <a:pPr marL="1319213" marR="338138" lvl="2" indent="-285750">
              <a:spcBef>
                <a:spcPts val="600"/>
              </a:spcBef>
              <a:spcAft>
                <a:spcPts val="0"/>
              </a:spcAft>
              <a:buFont typeface="+mj-lt"/>
              <a:buAutoNum type="alphaUcPeriod"/>
            </a:pPr>
            <a:r>
              <a:rPr lang="en-GB" sz="1200">
                <a:latin typeface="Trebuchet MS" panose="020B0603020202020204" pitchFamily="34" charset="0"/>
              </a:rPr>
              <a:t>B2B Marketing</a:t>
            </a:r>
          </a:p>
          <a:p>
            <a:pPr marL="1319213" marR="338138" lvl="2" indent="-285750">
              <a:spcBef>
                <a:spcPts val="600"/>
              </a:spcBef>
              <a:spcAft>
                <a:spcPts val="0"/>
              </a:spcAft>
              <a:buFont typeface="+mj-lt"/>
              <a:buAutoNum type="alphaUcPeriod"/>
            </a:pPr>
            <a:r>
              <a:rPr lang="en-GB" sz="1200">
                <a:latin typeface="Trebuchet MS" panose="020B0603020202020204" pitchFamily="34" charset="0"/>
              </a:rPr>
              <a:t>Other activities</a:t>
            </a:r>
          </a:p>
          <a:p>
            <a:pPr marL="804863" marR="338138" lvl="1" indent="-228600">
              <a:spcBef>
                <a:spcPts val="600"/>
              </a:spcBef>
              <a:spcAft>
                <a:spcPts val="0"/>
              </a:spcAft>
              <a:buFont typeface="+mj-lt"/>
              <a:buAutoNum type="arabicPeriod"/>
            </a:pPr>
            <a:r>
              <a:rPr lang="en-GB" sz="1200">
                <a:latin typeface="Trebuchet MS" panose="020B0603020202020204" pitchFamily="34" charset="0"/>
              </a:rPr>
              <a:t>Synthesis of BP assessment </a:t>
            </a:r>
          </a:p>
          <a:p>
            <a:pPr marL="127000">
              <a:spcBef>
                <a:spcPts val="1200"/>
              </a:spcBef>
            </a:pPr>
            <a:endParaRPr lang="en-GB" sz="1200">
              <a:latin typeface="Trebuchet MS" panose="020B0603020202020204" pitchFamily="34" charset="0"/>
            </a:endParaRPr>
          </a:p>
        </p:txBody>
      </p:sp>
      <p:sp>
        <p:nvSpPr>
          <p:cNvPr id="16" name="Section">
            <a:extLst>
              <a:ext uri="{FF2B5EF4-FFF2-40B4-BE49-F238E27FC236}">
                <a16:creationId xmlns:a16="http://schemas.microsoft.com/office/drawing/2014/main" id="{D2A8C65D-42ED-44C1-BDB8-ADE75A4ED3CA}"/>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6</a:t>
            </a:r>
          </a:p>
        </p:txBody>
      </p:sp>
      <p:sp>
        <p:nvSpPr>
          <p:cNvPr id="71" name="Chevron">
            <a:extLst>
              <a:ext uri="{FF2B5EF4-FFF2-40B4-BE49-F238E27FC236}">
                <a16:creationId xmlns:a16="http://schemas.microsoft.com/office/drawing/2014/main" id="{2A230948-1EC9-463F-98FF-E0E458B9B00C}"/>
              </a:ext>
            </a:extLst>
          </p:cNvPr>
          <p:cNvSpPr/>
          <p:nvPr/>
        </p:nvSpPr>
        <p:spPr bwMode="auto">
          <a:xfrm>
            <a:off x="1418399" y="3189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3" name="Isosceles Triangle">
            <a:extLst>
              <a:ext uri="{FF2B5EF4-FFF2-40B4-BE49-F238E27FC236}">
                <a16:creationId xmlns:a16="http://schemas.microsoft.com/office/drawing/2014/main" id="{2F6A703F-B3C1-47A0-9B67-EA8C250C6378}"/>
              </a:ext>
            </a:extLst>
          </p:cNvPr>
          <p:cNvSpPr/>
          <p:nvPr/>
        </p:nvSpPr>
        <p:spPr bwMode="auto">
          <a:xfrm rot="5400000">
            <a:off x="5731200" y="3295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5" name="Arrow: Pentagon">
            <a:extLst>
              <a:ext uri="{FF2B5EF4-FFF2-40B4-BE49-F238E27FC236}">
                <a16:creationId xmlns:a16="http://schemas.microsoft.com/office/drawing/2014/main" id="{687182C5-600B-4842-941B-D7AA2EC602E8}"/>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77" name="Oval">
            <a:extLst>
              <a:ext uri="{FF2B5EF4-FFF2-40B4-BE49-F238E27FC236}">
                <a16:creationId xmlns:a16="http://schemas.microsoft.com/office/drawing/2014/main" id="{F8B0EA57-1766-4B3D-B7F4-E5BBD4A165F7}"/>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79" name="Arrow: Pentagon">
            <a:extLst>
              <a:ext uri="{FF2B5EF4-FFF2-40B4-BE49-F238E27FC236}">
                <a16:creationId xmlns:a16="http://schemas.microsoft.com/office/drawing/2014/main" id="{10B8981B-19E4-4385-981D-25A5007598AA}"/>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81" name="Oval">
            <a:extLst>
              <a:ext uri="{FF2B5EF4-FFF2-40B4-BE49-F238E27FC236}">
                <a16:creationId xmlns:a16="http://schemas.microsoft.com/office/drawing/2014/main" id="{C413A741-D678-4385-937F-D33EDF42C6AB}"/>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83" name="Arrow: Pentagon">
            <a:extLst>
              <a:ext uri="{FF2B5EF4-FFF2-40B4-BE49-F238E27FC236}">
                <a16:creationId xmlns:a16="http://schemas.microsoft.com/office/drawing/2014/main" id="{64E73FA2-B329-4D2D-8D0E-15D2319094F9}"/>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85" name="Arrow: Pentagon">
            <a:extLst>
              <a:ext uri="{FF2B5EF4-FFF2-40B4-BE49-F238E27FC236}">
                <a16:creationId xmlns:a16="http://schemas.microsoft.com/office/drawing/2014/main" id="{985BA656-5B44-4E71-9925-25139C2373BD}"/>
              </a:ext>
            </a:extLst>
          </p:cNvPr>
          <p:cNvSpPr/>
          <p:nvPr/>
        </p:nvSpPr>
        <p:spPr bwMode="auto">
          <a:xfrm>
            <a:off x="1641598" y="2685599"/>
            <a:ext cx="3960001"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87" name="Oval">
            <a:extLst>
              <a:ext uri="{FF2B5EF4-FFF2-40B4-BE49-F238E27FC236}">
                <a16:creationId xmlns:a16="http://schemas.microsoft.com/office/drawing/2014/main" id="{6BF7EF7B-31D9-4755-B185-D85D836C29A6}"/>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89" name="Arrow: Pentagon">
            <a:extLst>
              <a:ext uri="{FF2B5EF4-FFF2-40B4-BE49-F238E27FC236}">
                <a16:creationId xmlns:a16="http://schemas.microsoft.com/office/drawing/2014/main" id="{3BFE52A2-BA74-4709-B70F-79A099726685}"/>
              </a:ext>
            </a:extLst>
          </p:cNvPr>
          <p:cNvSpPr/>
          <p:nvPr/>
        </p:nvSpPr>
        <p:spPr bwMode="auto">
          <a:xfrm>
            <a:off x="1641599" y="3189599"/>
            <a:ext cx="4319992"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BP assessment &amp; growth avenues</a:t>
            </a:r>
          </a:p>
        </p:txBody>
      </p:sp>
      <p:sp>
        <p:nvSpPr>
          <p:cNvPr id="91" name="Oval">
            <a:extLst>
              <a:ext uri="{FF2B5EF4-FFF2-40B4-BE49-F238E27FC236}">
                <a16:creationId xmlns:a16="http://schemas.microsoft.com/office/drawing/2014/main" id="{D6302CAE-26B1-4743-814E-57949CE9DA2D}"/>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93" name="Oval">
            <a:extLst>
              <a:ext uri="{FF2B5EF4-FFF2-40B4-BE49-F238E27FC236}">
                <a16:creationId xmlns:a16="http://schemas.microsoft.com/office/drawing/2014/main" id="{D9A46FFF-E3EB-45F0-A36C-0F884A650B6B}"/>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337664102"/>
      </p:ext>
    </p:extLst>
  </p:cSld>
  <p:clrMapOvr>
    <a:masterClrMapping/>
  </p:clrMapOvr>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AAA3A35-C6B3-4EE6-9406-A3DBC2CB7256}"/>
              </a:ext>
            </a:extLst>
          </p:cNvPr>
          <p:cNvGraphicFramePr>
            <a:graphicFrameLocks noChangeAspect="1"/>
          </p:cNvGraphicFramePr>
          <p:nvPr>
            <p:custDataLst>
              <p:tags r:id="rId1"/>
            </p:custDataLst>
            <p:extLst>
              <p:ext uri="{D42A27DB-BD31-4B8C-83A1-F6EECF244321}">
                <p14:modId xmlns:p14="http://schemas.microsoft.com/office/powerpoint/2010/main" val="2819133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Objet 4" hidden="1">
                        <a:extLst>
                          <a:ext uri="{FF2B5EF4-FFF2-40B4-BE49-F238E27FC236}">
                            <a16:creationId xmlns:a16="http://schemas.microsoft.com/office/drawing/2014/main" id="{EAAA3A35-C6B3-4EE6-9406-A3DBC2CB72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DA14E9-D9F6-4D44-A466-BF298653DD7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800" b="1" u="none" strike="noStrike" cap="none" normalizeH="0">
              <a:ln>
                <a:noFill/>
              </a:ln>
              <a:solidFill>
                <a:schemeClr val="tx1"/>
              </a:solidFill>
              <a:effectLst/>
              <a:latin typeface="Trebuchet MS" panose="020B0603020202020204" pitchFamily="34" charset="0"/>
              <a:cs typeface="+mn-cs"/>
              <a:sym typeface="Trebuchet MS" panose="020B0603020202020204" pitchFamily="34" charset="0"/>
            </a:endParaRPr>
          </a:p>
        </p:txBody>
      </p:sp>
      <p:sp>
        <p:nvSpPr>
          <p:cNvPr id="3" name="Espace réservé du texte 2">
            <a:extLst>
              <a:ext uri="{FF2B5EF4-FFF2-40B4-BE49-F238E27FC236}">
                <a16:creationId xmlns:a16="http://schemas.microsoft.com/office/drawing/2014/main" id="{30953E26-7813-417B-AC0B-7AC74C77D79F}"/>
              </a:ext>
            </a:extLst>
          </p:cNvPr>
          <p:cNvSpPr>
            <a:spLocks noGrp="1"/>
          </p:cNvSpPr>
          <p:nvPr>
            <p:ph type="body" sz="quarter" idx="10"/>
          </p:nvPr>
        </p:nvSpPr>
        <p:spPr/>
        <p:txBody>
          <a:bodyPr/>
          <a:lstStyle/>
          <a:p>
            <a:r>
              <a:rPr lang="en-GB"/>
              <a:t>Sources: eleven research &amp; analysis, company data, interviews with management</a:t>
            </a:r>
          </a:p>
          <a:p>
            <a:endParaRPr lang="en-GB"/>
          </a:p>
        </p:txBody>
      </p:sp>
      <p:sp>
        <p:nvSpPr>
          <p:cNvPr id="14" name="Rectangle 13">
            <a:extLst>
              <a:ext uri="{FF2B5EF4-FFF2-40B4-BE49-F238E27FC236}">
                <a16:creationId xmlns:a16="http://schemas.microsoft.com/office/drawing/2014/main" id="{92FC6C6C-155F-4C1A-890E-114863D14568}"/>
              </a:ext>
            </a:extLst>
          </p:cNvPr>
          <p:cNvSpPr/>
          <p:nvPr/>
        </p:nvSpPr>
        <p:spPr bwMode="auto">
          <a:xfrm>
            <a:off x="256803" y="914401"/>
            <a:ext cx="9392393" cy="551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 name="Rectangle 15">
            <a:extLst>
              <a:ext uri="{FF2B5EF4-FFF2-40B4-BE49-F238E27FC236}">
                <a16:creationId xmlns:a16="http://schemas.microsoft.com/office/drawing/2014/main" id="{EACE795C-C806-425F-8AA4-8EFA6F2CB1B5}"/>
              </a:ext>
            </a:extLst>
          </p:cNvPr>
          <p:cNvSpPr/>
          <p:nvPr/>
        </p:nvSpPr>
        <p:spPr bwMode="auto">
          <a:xfrm>
            <a:off x="552309" y="4953143"/>
            <a:ext cx="8801381" cy="1366618"/>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marL="0" lvl="1" algn="ctr">
              <a:spcBef>
                <a:spcPts val="600"/>
              </a:spcBef>
              <a:buClr>
                <a:schemeClr val="tx1"/>
              </a:buClr>
            </a:pPr>
            <a:r>
              <a:rPr lang="en-GB" sz="1000" b="1" dirty="0">
                <a:solidFill>
                  <a:schemeClr val="tx2"/>
                </a:solidFill>
                <a:latin typeface="Trebuchet MS" panose="020B0603020202020204" pitchFamily="34" charset="0"/>
              </a:rPr>
              <a:t>Key growth drivers</a:t>
            </a:r>
            <a:r>
              <a:rPr lang="en-GB" sz="1000" b="1" dirty="0">
                <a:latin typeface="Trebuchet MS" pitchFamily="34" charset="0"/>
              </a:rPr>
              <a:t>:</a:t>
            </a:r>
          </a:p>
          <a:p>
            <a:pPr marL="171450" lvl="1" indent="-171450">
              <a:spcBef>
                <a:spcPts val="0"/>
              </a:spcBef>
              <a:buClr>
                <a:schemeClr val="tx1"/>
              </a:buClr>
              <a:buFont typeface="Arial" panose="020B0604020202020204" pitchFamily="34" charset="0"/>
              <a:buChar char="•"/>
            </a:pPr>
            <a:r>
              <a:rPr lang="en-GB" sz="1000" dirty="0">
                <a:solidFill>
                  <a:schemeClr val="tx2"/>
                </a:solidFill>
                <a:latin typeface="Trebuchet MS" pitchFamily="34" charset="0"/>
              </a:rPr>
              <a:t>Favourable market trends</a:t>
            </a:r>
            <a:r>
              <a:rPr lang="en-GB" sz="1000" dirty="0">
                <a:latin typeface="Trebuchet MS" pitchFamily="34" charset="0"/>
              </a:rPr>
              <a:t>:</a:t>
            </a:r>
          </a:p>
          <a:p>
            <a:pPr marL="685800" lvl="2" indent="-228600">
              <a:spcBef>
                <a:spcPts val="0"/>
              </a:spcBef>
              <a:buClr>
                <a:schemeClr val="tx1"/>
              </a:buClr>
              <a:buFont typeface="Courier New" panose="02070309020205020404" pitchFamily="49" charset="0"/>
              <a:buChar char="o"/>
            </a:pPr>
            <a:r>
              <a:rPr lang="en-GB" sz="1000" dirty="0">
                <a:latin typeface="Trebuchet MS" pitchFamily="34" charset="0"/>
              </a:rPr>
              <a:t>Growing market with </a:t>
            </a:r>
            <a:r>
              <a:rPr lang="en-GB" sz="1000" dirty="0">
                <a:solidFill>
                  <a:schemeClr val="tx2"/>
                </a:solidFill>
                <a:latin typeface="Trebuchet MS" pitchFamily="34" charset="0"/>
              </a:rPr>
              <a:t>increasing maturity </a:t>
            </a:r>
            <a:r>
              <a:rPr lang="en-GB" sz="1000" dirty="0">
                <a:latin typeface="Trebuchet MS" pitchFamily="34" charset="0"/>
              </a:rPr>
              <a:t>of customers driving </a:t>
            </a:r>
            <a:r>
              <a:rPr lang="en-GB" sz="1000" dirty="0">
                <a:solidFill>
                  <a:schemeClr val="tx2"/>
                </a:solidFill>
                <a:latin typeface="Trebuchet MS" pitchFamily="34" charset="0"/>
              </a:rPr>
              <a:t>higher equipment rate</a:t>
            </a:r>
          </a:p>
          <a:p>
            <a:pPr marL="685800" lvl="2" indent="-228600">
              <a:spcBef>
                <a:spcPts val="0"/>
              </a:spcBef>
              <a:buClr>
                <a:schemeClr val="tx1"/>
              </a:buClr>
              <a:buFont typeface="Courier New" panose="02070309020205020404" pitchFamily="49" charset="0"/>
              <a:buChar char="o"/>
            </a:pPr>
            <a:r>
              <a:rPr lang="en-GB" sz="1000" dirty="0">
                <a:solidFill>
                  <a:schemeClr val="tx2"/>
                </a:solidFill>
                <a:latin typeface="Trebuchet MS" pitchFamily="34" charset="0"/>
              </a:rPr>
              <a:t>Increasing regulations </a:t>
            </a:r>
            <a:r>
              <a:rPr lang="en-GB" sz="1000" dirty="0">
                <a:latin typeface="Trebuchet MS" pitchFamily="34" charset="0"/>
              </a:rPr>
              <a:t>and</a:t>
            </a:r>
            <a:r>
              <a:rPr lang="en-GB" sz="1000" dirty="0">
                <a:solidFill>
                  <a:schemeClr val="tx2"/>
                </a:solidFill>
                <a:latin typeface="Trebuchet MS" pitchFamily="34" charset="0"/>
              </a:rPr>
              <a:t> sanctions from authorities </a:t>
            </a:r>
            <a:r>
              <a:rPr lang="en-GB" sz="1000" dirty="0">
                <a:latin typeface="Trebuchet MS" pitchFamily="34" charset="0"/>
              </a:rPr>
              <a:t>in all geographies</a:t>
            </a:r>
          </a:p>
          <a:p>
            <a:pPr marL="685800" lvl="2" indent="-228600">
              <a:spcBef>
                <a:spcPts val="0"/>
              </a:spcBef>
              <a:buClr>
                <a:schemeClr val="tx1"/>
              </a:buClr>
              <a:buFont typeface="Courier New" panose="02070309020205020404" pitchFamily="49" charset="0"/>
              <a:buChar char="o"/>
            </a:pPr>
            <a:r>
              <a:rPr lang="en-GB" sz="1000" dirty="0" err="1">
                <a:latin typeface="Trebuchet MS" pitchFamily="34" charset="0"/>
              </a:rPr>
              <a:t>Altares</a:t>
            </a:r>
            <a:r>
              <a:rPr lang="en-GB" sz="1000" dirty="0">
                <a:latin typeface="Trebuchet MS" pitchFamily="34" charset="0"/>
              </a:rPr>
              <a:t> focusing its growth on a very </a:t>
            </a:r>
            <a:r>
              <a:rPr lang="en-GB" sz="1000" dirty="0">
                <a:solidFill>
                  <a:schemeClr val="tx2"/>
                </a:solidFill>
                <a:latin typeface="Trebuchet MS" pitchFamily="34" charset="0"/>
              </a:rPr>
              <a:t>specific corporate compliance segment </a:t>
            </a:r>
            <a:r>
              <a:rPr lang="en-GB" sz="1000" dirty="0">
                <a:latin typeface="Trebuchet MS" pitchFamily="34" charset="0"/>
              </a:rPr>
              <a:t>(as opposed to AML) with limited competition, high entry barriers and strong adherence with the existing customer base </a:t>
            </a:r>
            <a:r>
              <a:rPr lang="en-GB" sz="1000" i="1" dirty="0">
                <a:solidFill>
                  <a:schemeClr val="accent1"/>
                </a:solidFill>
                <a:latin typeface="Trebuchet MS" pitchFamily="34" charset="0"/>
              </a:rPr>
              <a:t>(see compliance market section from pages 40 to 55)</a:t>
            </a:r>
          </a:p>
          <a:p>
            <a:pPr marL="457200" lvl="2">
              <a:spcBef>
                <a:spcPts val="0"/>
              </a:spcBef>
              <a:buClr>
                <a:schemeClr val="tx1"/>
              </a:buClr>
            </a:pPr>
            <a:endParaRPr lang="en-GB" sz="1000" i="1" dirty="0">
              <a:solidFill>
                <a:schemeClr val="accent1"/>
              </a:solidFill>
              <a:latin typeface="Trebuchet MS" pitchFamily="34" charset="0"/>
            </a:endParaRPr>
          </a:p>
          <a:p>
            <a:pPr marL="228600" lvl="1" indent="-228600">
              <a:spcBef>
                <a:spcPts val="0"/>
              </a:spcBef>
              <a:buClr>
                <a:schemeClr val="tx1"/>
              </a:buClr>
              <a:buFont typeface="Arial" panose="020B0604020202020204" pitchFamily="34" charset="0"/>
              <a:buChar char="•"/>
            </a:pPr>
            <a:r>
              <a:rPr lang="en-GB" sz="1000" dirty="0">
                <a:latin typeface="Trebuchet MS" pitchFamily="34" charset="0"/>
              </a:rPr>
              <a:t>Proprietary product (</a:t>
            </a:r>
            <a:r>
              <a:rPr lang="en-GB" sz="1000" dirty="0" err="1">
                <a:latin typeface="Trebuchet MS" pitchFamily="34" charset="0"/>
              </a:rPr>
              <a:t>indueD</a:t>
            </a:r>
            <a:r>
              <a:rPr lang="en-GB" sz="1000" dirty="0">
                <a:latin typeface="Trebuchet MS" pitchFamily="34" charset="0"/>
              </a:rPr>
              <a:t>) with a </a:t>
            </a:r>
            <a:r>
              <a:rPr lang="en-GB" sz="1000" dirty="0">
                <a:solidFill>
                  <a:schemeClr val="tx2"/>
                </a:solidFill>
                <a:latin typeface="Trebuchet MS" pitchFamily="34" charset="0"/>
              </a:rPr>
              <a:t>strong momentum </a:t>
            </a:r>
            <a:r>
              <a:rPr lang="en-GB" sz="1000" dirty="0">
                <a:latin typeface="Trebuchet MS" pitchFamily="34" charset="0"/>
              </a:rPr>
              <a:t>on the market and significant investment on the product </a:t>
            </a:r>
            <a:r>
              <a:rPr lang="en-GB" sz="1000" i="1" dirty="0">
                <a:solidFill>
                  <a:schemeClr val="accent1"/>
                </a:solidFill>
                <a:latin typeface="Trebuchet MS" pitchFamily="34" charset="0"/>
              </a:rPr>
              <a:t>(see product roadmap page 124)</a:t>
            </a:r>
          </a:p>
          <a:p>
            <a:pPr marL="228600" lvl="1" indent="-228600">
              <a:spcBef>
                <a:spcPts val="0"/>
              </a:spcBef>
              <a:buClr>
                <a:schemeClr val="tx1"/>
              </a:buClr>
              <a:buFont typeface="Arial" panose="020B0604020202020204" pitchFamily="34" charset="0"/>
              <a:buChar char="•"/>
            </a:pPr>
            <a:endParaRPr lang="en-GB" sz="1000" i="1" dirty="0">
              <a:solidFill>
                <a:schemeClr val="accent1"/>
              </a:solidFill>
              <a:latin typeface="Trebuchet MS" pitchFamily="34" charset="0"/>
            </a:endParaRPr>
          </a:p>
          <a:p>
            <a:pPr marL="0" lvl="1">
              <a:spcBef>
                <a:spcPts val="600"/>
              </a:spcBef>
              <a:buClr>
                <a:schemeClr val="tx1"/>
              </a:buClr>
            </a:pPr>
            <a:endParaRPr lang="en-GB" sz="1000" i="1" dirty="0">
              <a:latin typeface="Trebuchet MS" pitchFamily="34" charset="0"/>
            </a:endParaRPr>
          </a:p>
        </p:txBody>
      </p:sp>
      <p:sp>
        <p:nvSpPr>
          <p:cNvPr id="47" name="Rectangle 46">
            <a:extLst>
              <a:ext uri="{FF2B5EF4-FFF2-40B4-BE49-F238E27FC236}">
                <a16:creationId xmlns:a16="http://schemas.microsoft.com/office/drawing/2014/main" id="{C85B0421-5BDB-4848-914A-867C2D466E74}"/>
              </a:ext>
            </a:extLst>
          </p:cNvPr>
          <p:cNvSpPr/>
          <p:nvPr/>
        </p:nvSpPr>
        <p:spPr bwMode="auto">
          <a:xfrm>
            <a:off x="736373" y="912961"/>
            <a:ext cx="3979494"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dirty="0" err="1">
                <a:ln>
                  <a:noFill/>
                </a:ln>
                <a:effectLst/>
                <a:uLnTx/>
                <a:uFillTx/>
                <a:latin typeface="Trebuchet MS" panose="020B0603020202020204" pitchFamily="34" charset="0"/>
              </a:rPr>
              <a:t>Altares</a:t>
            </a:r>
            <a:r>
              <a:rPr kumimoji="0" lang="en-GB" sz="1000" b="1" i="1" u="none" strike="noStrike" kern="1200" cap="none" spc="0" normalizeH="0" baseline="0" noProof="0" dirty="0">
                <a:ln>
                  <a:noFill/>
                </a:ln>
                <a:effectLst/>
                <a:uLnTx/>
                <a:uFillTx/>
                <a:latin typeface="Trebuchet MS" panose="020B0603020202020204" pitchFamily="34" charset="0"/>
              </a:rPr>
              <a:t>’ expected revenue on compliance in the French market, in €m </a:t>
            </a:r>
          </a:p>
        </p:txBody>
      </p:sp>
      <p:sp>
        <p:nvSpPr>
          <p:cNvPr id="48" name="Rectangle 47">
            <a:extLst>
              <a:ext uri="{FF2B5EF4-FFF2-40B4-BE49-F238E27FC236}">
                <a16:creationId xmlns:a16="http://schemas.microsoft.com/office/drawing/2014/main" id="{4A9A9C35-FBD0-4A84-AAD1-D2EF1546575F}"/>
              </a:ext>
            </a:extLst>
          </p:cNvPr>
          <p:cNvSpPr/>
          <p:nvPr/>
        </p:nvSpPr>
        <p:spPr bwMode="auto">
          <a:xfrm>
            <a:off x="5696126" y="912961"/>
            <a:ext cx="3735099"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dirty="0" err="1">
                <a:ln>
                  <a:noFill/>
                </a:ln>
                <a:effectLst/>
                <a:uLnTx/>
                <a:uFillTx/>
                <a:latin typeface="Trebuchet MS" panose="020B0603020202020204" pitchFamily="34" charset="0"/>
              </a:rPr>
              <a:t>Altares</a:t>
            </a:r>
            <a:r>
              <a:rPr kumimoji="0" lang="en-GB" sz="1000" b="1" i="1" u="none" strike="noStrike" kern="1200" cap="none" spc="0" normalizeH="0" baseline="0" noProof="0" dirty="0">
                <a:ln>
                  <a:noFill/>
                </a:ln>
                <a:effectLst/>
                <a:uLnTx/>
                <a:uFillTx/>
                <a:latin typeface="Trebuchet MS" panose="020B0603020202020204" pitchFamily="34" charset="0"/>
              </a:rPr>
              <a:t>’ expected revenue on compliance in the Benelux markets, in €m</a:t>
            </a:r>
          </a:p>
        </p:txBody>
      </p:sp>
      <p:sp>
        <p:nvSpPr>
          <p:cNvPr id="34" name="Titre 1">
            <a:extLst>
              <a:ext uri="{FF2B5EF4-FFF2-40B4-BE49-F238E27FC236}">
                <a16:creationId xmlns:a16="http://schemas.microsoft.com/office/drawing/2014/main" id="{E4C834B3-8C96-4B4D-A3B2-401C953956D3}"/>
              </a:ext>
            </a:extLst>
          </p:cNvPr>
          <p:cNvSpPr txBox="1">
            <a:spLocks/>
          </p:cNvSpPr>
          <p:nvPr/>
        </p:nvSpPr>
        <p:spPr bwMode="auto">
          <a:xfrm>
            <a:off x="323010" y="147600"/>
            <a:ext cx="8230753" cy="68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err="1">
                <a:latin typeface="Trebuchet MS" panose="020B0603020202020204" pitchFamily="34" charset="0"/>
              </a:rPr>
              <a:t>Altares</a:t>
            </a:r>
            <a:r>
              <a:rPr lang="en-GB">
                <a:latin typeface="Trebuchet MS" panose="020B0603020202020204" pitchFamily="34" charset="0"/>
              </a:rPr>
              <a:t> future growth on </a:t>
            </a:r>
            <a:r>
              <a:rPr lang="en-GB">
                <a:solidFill>
                  <a:schemeClr val="tx2"/>
                </a:solidFill>
                <a:latin typeface="Trebuchet MS" panose="020B0603020202020204" pitchFamily="34" charset="0"/>
              </a:rPr>
              <a:t>Compliance activity </a:t>
            </a:r>
            <a:r>
              <a:rPr lang="en-GB">
                <a:latin typeface="Trebuchet MS" panose="020B0603020202020204" pitchFamily="34" charset="0"/>
              </a:rPr>
              <a:t>mainly rely on a </a:t>
            </a:r>
            <a:r>
              <a:rPr lang="en-GB">
                <a:solidFill>
                  <a:schemeClr val="tx2"/>
                </a:solidFill>
                <a:latin typeface="Trebuchet MS" panose="020B0603020202020204" pitchFamily="34" charset="0"/>
              </a:rPr>
              <a:t>very promising market </a:t>
            </a:r>
            <a:r>
              <a:rPr lang="en-GB">
                <a:latin typeface="Trebuchet MS" panose="020B0603020202020204" pitchFamily="34" charset="0"/>
              </a:rPr>
              <a:t>as well as a </a:t>
            </a:r>
            <a:r>
              <a:rPr lang="en-GB">
                <a:solidFill>
                  <a:schemeClr val="tx2"/>
                </a:solidFill>
                <a:latin typeface="Trebuchet MS" panose="020B0603020202020204" pitchFamily="34" charset="0"/>
              </a:rPr>
              <a:t>strong momentum for </a:t>
            </a:r>
            <a:r>
              <a:rPr lang="en-GB" err="1">
                <a:solidFill>
                  <a:schemeClr val="tx2"/>
                </a:solidFill>
                <a:latin typeface="Trebuchet MS" panose="020B0603020202020204" pitchFamily="34" charset="0"/>
              </a:rPr>
              <a:t>indueD</a:t>
            </a:r>
            <a:r>
              <a:rPr lang="en-GB">
                <a:solidFill>
                  <a:schemeClr val="tx2"/>
                </a:solidFill>
                <a:latin typeface="Trebuchet MS" panose="020B0603020202020204" pitchFamily="34" charset="0"/>
              </a:rPr>
              <a:t> product</a:t>
            </a:r>
            <a:r>
              <a:rPr lang="en-GB">
                <a:solidFill>
                  <a:schemeClr val="tx2"/>
                </a:solidFill>
                <a:highlight>
                  <a:srgbClr val="FFFF00"/>
                </a:highlight>
                <a:latin typeface="Trebuchet MS" panose="020B0603020202020204" pitchFamily="34" charset="0"/>
              </a:rPr>
              <a:t> </a:t>
            </a:r>
            <a:endParaRPr lang="en-GB" kern="0">
              <a:solidFill>
                <a:schemeClr val="tx2"/>
              </a:solidFill>
              <a:highlight>
                <a:srgbClr val="FFFF00"/>
              </a:highlight>
              <a:latin typeface="Trebuchet MS" panose="020B0603020202020204" pitchFamily="34" charset="0"/>
            </a:endParaRPr>
          </a:p>
        </p:txBody>
      </p:sp>
      <p:sp>
        <p:nvSpPr>
          <p:cNvPr id="35" name="Rectangle 34">
            <a:extLst>
              <a:ext uri="{FF2B5EF4-FFF2-40B4-BE49-F238E27FC236}">
                <a16:creationId xmlns:a16="http://schemas.microsoft.com/office/drawing/2014/main" id="{0269DD2C-05FB-460F-B6DD-2219DC782E5D}"/>
              </a:ext>
            </a:extLst>
          </p:cNvPr>
          <p:cNvSpPr/>
          <p:nvPr/>
        </p:nvSpPr>
        <p:spPr bwMode="auto">
          <a:xfrm>
            <a:off x="141716" y="205119"/>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b="1">
                <a:solidFill>
                  <a:schemeClr val="bg1"/>
                </a:solidFill>
                <a:latin typeface="Trebuchet MS" panose="020B0603020202020204" pitchFamily="34" charset="0"/>
              </a:rPr>
              <a:t>B</a:t>
            </a:r>
            <a:endParaRPr kumimoji="0" lang="en-GB" sz="1200" b="1" i="0" u="none" strike="noStrike" cap="none" normalizeH="0" baseline="0">
              <a:ln>
                <a:noFill/>
              </a:ln>
              <a:solidFill>
                <a:schemeClr val="bg1"/>
              </a:solidFill>
              <a:effectLst/>
              <a:latin typeface="Trebuchet MS" panose="020B0603020202020204" pitchFamily="34" charset="0"/>
            </a:endParaRPr>
          </a:p>
        </p:txBody>
      </p:sp>
      <p:grpSp>
        <p:nvGrpSpPr>
          <p:cNvPr id="36" name="Groupe 35">
            <a:extLst>
              <a:ext uri="{FF2B5EF4-FFF2-40B4-BE49-F238E27FC236}">
                <a16:creationId xmlns:a16="http://schemas.microsoft.com/office/drawing/2014/main" id="{A3B40BAB-A07F-48BA-8133-D5706E9A5B37}"/>
              </a:ext>
            </a:extLst>
          </p:cNvPr>
          <p:cNvGrpSpPr/>
          <p:nvPr/>
        </p:nvGrpSpPr>
        <p:grpSpPr>
          <a:xfrm>
            <a:off x="8448150" y="-11528"/>
            <a:ext cx="1435548" cy="588143"/>
            <a:chOff x="8448150" y="-11528"/>
            <a:chExt cx="1435548" cy="588143"/>
          </a:xfrm>
        </p:grpSpPr>
        <p:sp>
          <p:nvSpPr>
            <p:cNvPr id="37" name="Rectangle : coins arrondis 199">
              <a:extLst>
                <a:ext uri="{FF2B5EF4-FFF2-40B4-BE49-F238E27FC236}">
                  <a16:creationId xmlns:a16="http://schemas.microsoft.com/office/drawing/2014/main" id="{BC332233-14DF-4C73-AB17-88C3B9382411}"/>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Rectangle : coins arrondis 200">
              <a:extLst>
                <a:ext uri="{FF2B5EF4-FFF2-40B4-BE49-F238E27FC236}">
                  <a16:creationId xmlns:a16="http://schemas.microsoft.com/office/drawing/2014/main" id="{DD62F214-64DE-4187-B2E0-D1194D3A3DC8}"/>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9" name="Rectangle : coins arrondis 201">
              <a:extLst>
                <a:ext uri="{FF2B5EF4-FFF2-40B4-BE49-F238E27FC236}">
                  <a16:creationId xmlns:a16="http://schemas.microsoft.com/office/drawing/2014/main" id="{C3A976AD-14C4-4ABE-A934-7E27BBE85C1C}"/>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6" name="ZoneTexte 18">
              <a:extLst>
                <a:ext uri="{FF2B5EF4-FFF2-40B4-BE49-F238E27FC236}">
                  <a16:creationId xmlns:a16="http://schemas.microsoft.com/office/drawing/2014/main" id="{9FB5FA0A-66DB-4991-8669-D703061FDE44}"/>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49" name="Graphique 128" descr="Jauge">
              <a:extLst>
                <a:ext uri="{FF2B5EF4-FFF2-40B4-BE49-F238E27FC236}">
                  <a16:creationId xmlns:a16="http://schemas.microsoft.com/office/drawing/2014/main" id="{7DA24090-1963-45FE-A4B2-528485027E5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50" name="Graphique 90" descr="Poignée de main">
              <a:extLst>
                <a:ext uri="{FF2B5EF4-FFF2-40B4-BE49-F238E27FC236}">
                  <a16:creationId xmlns:a16="http://schemas.microsoft.com/office/drawing/2014/main" id="{10B3DF77-4263-42D4-B525-91A3C7E05B3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51" name="Graphique 74" descr="Mégaphone">
              <a:extLst>
                <a:ext uri="{FF2B5EF4-FFF2-40B4-BE49-F238E27FC236}">
                  <a16:creationId xmlns:a16="http://schemas.microsoft.com/office/drawing/2014/main" id="{398D8ED9-C5E8-48D7-AEF3-A48C00E52EC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52" name="Picture 2" descr="Drapeau France">
              <a:extLst>
                <a:ext uri="{FF2B5EF4-FFF2-40B4-BE49-F238E27FC236}">
                  <a16:creationId xmlns:a16="http://schemas.microsoft.com/office/drawing/2014/main" id="{CBB9C241-D669-483B-A3FF-0B8C9E58BD1E}"/>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3" name="Picture 2" descr="5 ft x 3 ft 150 x 90 cm-DRAPEAU BELGE Belgique 100% Polyester ...">
              <a:extLst>
                <a:ext uri="{FF2B5EF4-FFF2-40B4-BE49-F238E27FC236}">
                  <a16:creationId xmlns:a16="http://schemas.microsoft.com/office/drawing/2014/main" id="{EF70B876-7006-481B-892C-D06722D595C9}"/>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4" name="Picture 2 - 1" descr="Drapeau des Pays-Bas — Wikipédia">
              <a:extLst>
                <a:ext uri="{FF2B5EF4-FFF2-40B4-BE49-F238E27FC236}">
                  <a16:creationId xmlns:a16="http://schemas.microsoft.com/office/drawing/2014/main" id="{9D54CB9F-4432-4D7E-93C7-5F22510243B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5" name="Picture 2 - 2" descr="Drapeau du Luxembourg">
              <a:extLst>
                <a:ext uri="{FF2B5EF4-FFF2-40B4-BE49-F238E27FC236}">
                  <a16:creationId xmlns:a16="http://schemas.microsoft.com/office/drawing/2014/main" id="{3670457D-A209-4646-9548-17C9C0DE44A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6" name="ZoneTexte 55">
              <a:extLst>
                <a:ext uri="{FF2B5EF4-FFF2-40B4-BE49-F238E27FC236}">
                  <a16:creationId xmlns:a16="http://schemas.microsoft.com/office/drawing/2014/main" id="{47F1C37A-47CF-4B73-B59D-BF4C343FCB28}"/>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grpSp>
        <p:nvGrpSpPr>
          <p:cNvPr id="58" name="Groupe 57">
            <a:extLst>
              <a:ext uri="{FF2B5EF4-FFF2-40B4-BE49-F238E27FC236}">
                <a16:creationId xmlns:a16="http://schemas.microsoft.com/office/drawing/2014/main" id="{DC7CD2E7-68C9-413D-BB3B-4AAB991FF8DA}"/>
              </a:ext>
            </a:extLst>
          </p:cNvPr>
          <p:cNvGrpSpPr/>
          <p:nvPr/>
        </p:nvGrpSpPr>
        <p:grpSpPr>
          <a:xfrm>
            <a:off x="552309" y="5081346"/>
            <a:ext cx="222565" cy="277000"/>
            <a:chOff x="3409503" y="1194238"/>
            <a:chExt cx="269305" cy="368686"/>
          </a:xfrm>
        </p:grpSpPr>
        <p:sp>
          <p:nvSpPr>
            <p:cNvPr id="59" name="Ellipse 58">
              <a:extLst>
                <a:ext uri="{FF2B5EF4-FFF2-40B4-BE49-F238E27FC236}">
                  <a16:creationId xmlns:a16="http://schemas.microsoft.com/office/drawing/2014/main" id="{F8FFB6EC-60B8-42F7-AC4B-B8D8305772BF}"/>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60" name="ZoneTexte 59">
              <a:extLst>
                <a:ext uri="{FF2B5EF4-FFF2-40B4-BE49-F238E27FC236}">
                  <a16:creationId xmlns:a16="http://schemas.microsoft.com/office/drawing/2014/main" id="{A8919A01-495A-4182-B50C-C2001DF61330}"/>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1</a:t>
              </a:r>
            </a:p>
          </p:txBody>
        </p:sp>
      </p:grpSp>
      <p:grpSp>
        <p:nvGrpSpPr>
          <p:cNvPr id="61" name="Groupe 60">
            <a:extLst>
              <a:ext uri="{FF2B5EF4-FFF2-40B4-BE49-F238E27FC236}">
                <a16:creationId xmlns:a16="http://schemas.microsoft.com/office/drawing/2014/main" id="{99FFA6FA-A015-469A-A5C2-DC99CA832301}"/>
              </a:ext>
            </a:extLst>
          </p:cNvPr>
          <p:cNvGrpSpPr/>
          <p:nvPr/>
        </p:nvGrpSpPr>
        <p:grpSpPr>
          <a:xfrm>
            <a:off x="577766" y="5980462"/>
            <a:ext cx="222565" cy="277000"/>
            <a:chOff x="3409503" y="1194238"/>
            <a:chExt cx="269305" cy="368684"/>
          </a:xfrm>
        </p:grpSpPr>
        <p:sp>
          <p:nvSpPr>
            <p:cNvPr id="62" name="Ellipse 61">
              <a:extLst>
                <a:ext uri="{FF2B5EF4-FFF2-40B4-BE49-F238E27FC236}">
                  <a16:creationId xmlns:a16="http://schemas.microsoft.com/office/drawing/2014/main" id="{18DEBDAF-B61D-4B6E-9242-4D9F60C8CB3F}"/>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63" name="ZoneTexte 62">
              <a:extLst>
                <a:ext uri="{FF2B5EF4-FFF2-40B4-BE49-F238E27FC236}">
                  <a16:creationId xmlns:a16="http://schemas.microsoft.com/office/drawing/2014/main" id="{7E0D63E8-0049-4A8A-B944-CF3AB9F1FA23}"/>
                </a:ext>
              </a:extLst>
            </p:cNvPr>
            <p:cNvSpPr txBox="1"/>
            <p:nvPr/>
          </p:nvSpPr>
          <p:spPr>
            <a:xfrm>
              <a:off x="3409503" y="1194238"/>
              <a:ext cx="269305" cy="368684"/>
            </a:xfrm>
            <a:prstGeom prst="rect">
              <a:avLst/>
            </a:prstGeom>
            <a:noFill/>
          </p:spPr>
          <p:txBody>
            <a:bodyPr wrap="square" rtlCol="0">
              <a:spAutoFit/>
            </a:bodyPr>
            <a:lstStyle/>
            <a:p>
              <a:pPr algn="ctr"/>
              <a:r>
                <a:rPr lang="en-GB" sz="1200">
                  <a:solidFill>
                    <a:schemeClr val="bg1"/>
                  </a:solidFill>
                  <a:latin typeface="+mj-lt"/>
                </a:rPr>
                <a:t>2</a:t>
              </a:r>
            </a:p>
          </p:txBody>
        </p:sp>
      </p:grpSp>
      <p:sp>
        <p:nvSpPr>
          <p:cNvPr id="75" name="Rectangle 74">
            <a:extLst>
              <a:ext uri="{FF2B5EF4-FFF2-40B4-BE49-F238E27FC236}">
                <a16:creationId xmlns:a16="http://schemas.microsoft.com/office/drawing/2014/main" id="{2512987A-FDC9-498A-BCB8-28A6CE2D81BE}"/>
              </a:ext>
            </a:extLst>
          </p:cNvPr>
          <p:cNvSpPr/>
          <p:nvPr/>
        </p:nvSpPr>
        <p:spPr bwMode="auto">
          <a:xfrm>
            <a:off x="5282738" y="1343702"/>
            <a:ext cx="4175725" cy="33293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6" name="Rectangle 75">
            <a:extLst>
              <a:ext uri="{FF2B5EF4-FFF2-40B4-BE49-F238E27FC236}">
                <a16:creationId xmlns:a16="http://schemas.microsoft.com/office/drawing/2014/main" id="{E68A145D-08A7-412E-A54B-7C2CBB75EAB1}"/>
              </a:ext>
            </a:extLst>
          </p:cNvPr>
          <p:cNvSpPr/>
          <p:nvPr/>
        </p:nvSpPr>
        <p:spPr bwMode="auto">
          <a:xfrm>
            <a:off x="462754" y="1343702"/>
            <a:ext cx="4175725" cy="33293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77" name="Picture 2" descr="Drapeau France">
            <a:extLst>
              <a:ext uri="{FF2B5EF4-FFF2-40B4-BE49-F238E27FC236}">
                <a16:creationId xmlns:a16="http://schemas.microsoft.com/office/drawing/2014/main" id="{B112CDC5-FE8D-4178-8BA3-FC8EA9BBFAA9}"/>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447536" y="1083025"/>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78" name="Picture 2" descr="5 ft x 3 ft 150 x 90 cm-DRAPEAU BELGE Belgique 100% Polyester ...">
            <a:extLst>
              <a:ext uri="{FF2B5EF4-FFF2-40B4-BE49-F238E27FC236}">
                <a16:creationId xmlns:a16="http://schemas.microsoft.com/office/drawing/2014/main" id="{48C27DDA-CFE3-42D6-9F79-970BF982DB9C}"/>
              </a:ext>
            </a:extLst>
          </p:cNvPr>
          <p:cNvPicPr>
            <a:picLocks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5364528" y="108302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9" name="Picture 2 - 1" descr="Drapeau des Pays-Bas — Wikipédia">
            <a:extLst>
              <a:ext uri="{FF2B5EF4-FFF2-40B4-BE49-F238E27FC236}">
                <a16:creationId xmlns:a16="http://schemas.microsoft.com/office/drawing/2014/main" id="{D1CC314C-D1A9-44B9-9E41-CAABB5E4AF9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364528" y="942942"/>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0" name="Picture 2 - 2" descr="Drapeau du Luxembourg">
            <a:extLst>
              <a:ext uri="{FF2B5EF4-FFF2-40B4-BE49-F238E27FC236}">
                <a16:creationId xmlns:a16="http://schemas.microsoft.com/office/drawing/2014/main" id="{D5848057-278A-48E3-AD30-B93CE979AA5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364112" y="1223108"/>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81" name="Rectangle: Rounded Corners 80">
            <a:extLst>
              <a:ext uri="{FF2B5EF4-FFF2-40B4-BE49-F238E27FC236}">
                <a16:creationId xmlns:a16="http://schemas.microsoft.com/office/drawing/2014/main" id="{161C8AFA-B589-42AC-9180-F90F1AFC83EF}"/>
              </a:ext>
            </a:extLst>
          </p:cNvPr>
          <p:cNvSpPr/>
          <p:nvPr/>
        </p:nvSpPr>
        <p:spPr bwMode="auto">
          <a:xfrm>
            <a:off x="629629" y="4585807"/>
            <a:ext cx="1421876"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kumimoji="0" lang="en-GB" sz="1000" b="1" i="1" u="none" strike="noStrike" cap="none" normalizeH="0" baseline="-25000">
                <a:ln>
                  <a:noFill/>
                </a:ln>
                <a:solidFill>
                  <a:schemeClr val="tx1"/>
                </a:solidFill>
                <a:effectLst/>
                <a:latin typeface="Trebuchet MS" pitchFamily="34" charset="0"/>
              </a:rPr>
              <a:t>17-20</a:t>
            </a:r>
            <a:r>
              <a:rPr kumimoji="0" lang="en-GB" sz="1000" b="1" i="1" u="none" strike="noStrike" cap="none" normalizeH="0" baseline="0">
                <a:ln>
                  <a:noFill/>
                </a:ln>
                <a:solidFill>
                  <a:schemeClr val="tx1"/>
                </a:solidFill>
                <a:effectLst/>
                <a:latin typeface="Trebuchet MS" pitchFamily="34" charset="0"/>
              </a:rPr>
              <a:t>=+32%</a:t>
            </a:r>
          </a:p>
        </p:txBody>
      </p:sp>
      <p:sp>
        <p:nvSpPr>
          <p:cNvPr id="82" name="Rectangle: Rounded Corners 81">
            <a:extLst>
              <a:ext uri="{FF2B5EF4-FFF2-40B4-BE49-F238E27FC236}">
                <a16:creationId xmlns:a16="http://schemas.microsoft.com/office/drawing/2014/main" id="{08389D88-E096-478D-A223-1D7B6CF87F27}"/>
              </a:ext>
            </a:extLst>
          </p:cNvPr>
          <p:cNvSpPr/>
          <p:nvPr/>
        </p:nvSpPr>
        <p:spPr bwMode="auto">
          <a:xfrm>
            <a:off x="2080544" y="4585807"/>
            <a:ext cx="2480671"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lang="en-GB" sz="1000" b="1" i="1" baseline="-25000">
                <a:latin typeface="Trebuchet MS" pitchFamily="34" charset="0"/>
              </a:rPr>
              <a:t>20-25</a:t>
            </a:r>
            <a:r>
              <a:rPr kumimoji="0" lang="en-GB" sz="1000" b="1" i="1" u="none" strike="noStrike" cap="none" normalizeH="0" baseline="0">
                <a:ln>
                  <a:noFill/>
                </a:ln>
                <a:solidFill>
                  <a:schemeClr val="tx1"/>
                </a:solidFill>
                <a:effectLst/>
                <a:latin typeface="Trebuchet MS" pitchFamily="34" charset="0"/>
              </a:rPr>
              <a:t>=+</a:t>
            </a:r>
            <a:r>
              <a:rPr lang="en-GB" sz="1000" b="1" i="1">
                <a:latin typeface="Trebuchet MS" pitchFamily="34" charset="0"/>
              </a:rPr>
              <a:t>11</a:t>
            </a:r>
            <a:r>
              <a:rPr kumimoji="0" lang="en-GB" sz="1000" b="1" i="1" u="none" strike="noStrike" cap="none" normalizeH="0" baseline="0">
                <a:ln>
                  <a:noFill/>
                </a:ln>
                <a:solidFill>
                  <a:schemeClr val="tx1"/>
                </a:solidFill>
                <a:effectLst/>
                <a:latin typeface="Trebuchet MS" pitchFamily="34" charset="0"/>
              </a:rPr>
              <a:t>.2%</a:t>
            </a:r>
          </a:p>
        </p:txBody>
      </p:sp>
      <p:sp>
        <p:nvSpPr>
          <p:cNvPr id="83" name="Rectangle: Rounded Corners 82">
            <a:extLst>
              <a:ext uri="{FF2B5EF4-FFF2-40B4-BE49-F238E27FC236}">
                <a16:creationId xmlns:a16="http://schemas.microsoft.com/office/drawing/2014/main" id="{44EF3646-A171-4ACB-89F4-4BF4584168F6}"/>
              </a:ext>
            </a:extLst>
          </p:cNvPr>
          <p:cNvSpPr/>
          <p:nvPr/>
        </p:nvSpPr>
        <p:spPr bwMode="auto">
          <a:xfrm>
            <a:off x="5420242" y="4585807"/>
            <a:ext cx="1421876"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kumimoji="0" lang="en-GB" sz="1000" b="1" i="1" u="none" strike="noStrike" cap="none" normalizeH="0" baseline="-25000">
                <a:ln>
                  <a:noFill/>
                </a:ln>
                <a:solidFill>
                  <a:schemeClr val="tx1"/>
                </a:solidFill>
                <a:effectLst/>
                <a:latin typeface="Trebuchet MS" pitchFamily="34" charset="0"/>
              </a:rPr>
              <a:t>17-20</a:t>
            </a:r>
            <a:r>
              <a:rPr lang="en-GB" sz="1000" b="1" i="1">
                <a:latin typeface="Trebuchet MS" pitchFamily="34" charset="0"/>
              </a:rPr>
              <a:t>=+14.3</a:t>
            </a:r>
            <a:r>
              <a:rPr kumimoji="0" lang="en-GB" sz="1000" b="1" i="1" u="none" strike="noStrike" cap="none" normalizeH="0" baseline="0">
                <a:ln>
                  <a:noFill/>
                </a:ln>
                <a:solidFill>
                  <a:schemeClr val="tx1"/>
                </a:solidFill>
                <a:effectLst/>
                <a:latin typeface="Trebuchet MS" pitchFamily="34" charset="0"/>
              </a:rPr>
              <a:t>%</a:t>
            </a:r>
          </a:p>
        </p:txBody>
      </p:sp>
      <p:sp>
        <p:nvSpPr>
          <p:cNvPr id="84" name="Rectangle: Rounded Corners 83">
            <a:extLst>
              <a:ext uri="{FF2B5EF4-FFF2-40B4-BE49-F238E27FC236}">
                <a16:creationId xmlns:a16="http://schemas.microsoft.com/office/drawing/2014/main" id="{1F10B08E-B981-4C0D-B63F-072F6B4A0200}"/>
              </a:ext>
            </a:extLst>
          </p:cNvPr>
          <p:cNvSpPr/>
          <p:nvPr/>
        </p:nvSpPr>
        <p:spPr bwMode="auto">
          <a:xfrm>
            <a:off x="6871157" y="4585807"/>
            <a:ext cx="2480671"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lang="en-GB" sz="1000" b="1" i="1" baseline="-25000">
                <a:latin typeface="Trebuchet MS" pitchFamily="34" charset="0"/>
              </a:rPr>
              <a:t>20-25</a:t>
            </a:r>
            <a:r>
              <a:rPr kumimoji="0" lang="en-GB" sz="1000" b="1" i="1" u="none" strike="noStrike" cap="none" normalizeH="0" baseline="0">
                <a:ln>
                  <a:noFill/>
                </a:ln>
                <a:solidFill>
                  <a:schemeClr val="tx1"/>
                </a:solidFill>
                <a:effectLst/>
                <a:latin typeface="Trebuchet MS" pitchFamily="34" charset="0"/>
              </a:rPr>
              <a:t>=+</a:t>
            </a:r>
            <a:r>
              <a:rPr lang="en-GB" sz="1000" b="1" i="1">
                <a:latin typeface="Trebuchet MS" pitchFamily="34" charset="0"/>
              </a:rPr>
              <a:t>11.1%</a:t>
            </a:r>
            <a:endParaRPr kumimoji="0" lang="en-GB" sz="1000" b="1" i="1" u="none" strike="noStrike" cap="none" normalizeH="0" baseline="0">
              <a:ln>
                <a:noFill/>
              </a:ln>
              <a:solidFill>
                <a:schemeClr val="tx1"/>
              </a:solidFill>
              <a:effectLst/>
              <a:latin typeface="Trebuchet MS" pitchFamily="34" charset="0"/>
            </a:endParaRPr>
          </a:p>
        </p:txBody>
      </p:sp>
      <p:graphicFrame>
        <p:nvGraphicFramePr>
          <p:cNvPr id="110" name="Chart 109">
            <a:extLst>
              <a:ext uri="{FF2B5EF4-FFF2-40B4-BE49-F238E27FC236}">
                <a16:creationId xmlns:a16="http://schemas.microsoft.com/office/drawing/2014/main" id="{CFB67084-CC86-4D61-A496-0A3B77BF4620}"/>
              </a:ext>
            </a:extLst>
          </p:cNvPr>
          <p:cNvGraphicFramePr/>
          <p:nvPr>
            <p:extLst>
              <p:ext uri="{D42A27DB-BD31-4B8C-83A1-F6EECF244321}">
                <p14:modId xmlns:p14="http://schemas.microsoft.com/office/powerpoint/2010/main" val="874598601"/>
              </p:ext>
            </p:extLst>
          </p:nvPr>
        </p:nvGraphicFramePr>
        <p:xfrm>
          <a:off x="464941" y="2030802"/>
          <a:ext cx="4175125" cy="2430462"/>
        </p:xfrm>
        <a:graphic>
          <a:graphicData uri="http://schemas.openxmlformats.org/drawingml/2006/chart">
            <c:chart xmlns:c="http://schemas.openxmlformats.org/drawingml/2006/chart" xmlns:r="http://schemas.openxmlformats.org/officeDocument/2006/relationships" r:id="rId16"/>
          </a:graphicData>
        </a:graphic>
      </p:graphicFrame>
      <p:cxnSp>
        <p:nvCxnSpPr>
          <p:cNvPr id="113" name="Straight Connector 112">
            <a:extLst>
              <a:ext uri="{FF2B5EF4-FFF2-40B4-BE49-F238E27FC236}">
                <a16:creationId xmlns:a16="http://schemas.microsoft.com/office/drawing/2014/main" id="{21F2F5BF-3771-483E-8D82-70890A498989}"/>
              </a:ext>
            </a:extLst>
          </p:cNvPr>
          <p:cNvCxnSpPr/>
          <p:nvPr/>
        </p:nvCxnSpPr>
        <p:spPr bwMode="auto">
          <a:xfrm flipV="1">
            <a:off x="2106416" y="2849398"/>
            <a:ext cx="0" cy="479425"/>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14" name="Straight Connector 113">
            <a:extLst>
              <a:ext uri="{FF2B5EF4-FFF2-40B4-BE49-F238E27FC236}">
                <a16:creationId xmlns:a16="http://schemas.microsoft.com/office/drawing/2014/main" id="{B290A3BD-3963-4B7E-92DD-9A40BD168973}"/>
              </a:ext>
            </a:extLst>
          </p:cNvPr>
          <p:cNvCxnSpPr/>
          <p:nvPr/>
        </p:nvCxnSpPr>
        <p:spPr bwMode="auto">
          <a:xfrm>
            <a:off x="2514404" y="2849398"/>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115" name="Straight Connector 114">
            <a:extLst>
              <a:ext uri="{FF2B5EF4-FFF2-40B4-BE49-F238E27FC236}">
                <a16:creationId xmlns:a16="http://schemas.microsoft.com/office/drawing/2014/main" id="{FB66F5B6-FEBB-4558-8E36-6FA0131C39A3}"/>
              </a:ext>
            </a:extLst>
          </p:cNvPr>
          <p:cNvCxnSpPr/>
          <p:nvPr/>
        </p:nvCxnSpPr>
        <p:spPr bwMode="auto">
          <a:xfrm flipV="1">
            <a:off x="2590604" y="2600161"/>
            <a:ext cx="0" cy="48895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17" name="Straight Connector 116">
            <a:extLst>
              <a:ext uri="{FF2B5EF4-FFF2-40B4-BE49-F238E27FC236}">
                <a16:creationId xmlns:a16="http://schemas.microsoft.com/office/drawing/2014/main" id="{0FC3E430-2D11-4503-8A56-046FC19B3A48}"/>
              </a:ext>
            </a:extLst>
          </p:cNvPr>
          <p:cNvCxnSpPr/>
          <p:nvPr/>
        </p:nvCxnSpPr>
        <p:spPr bwMode="auto">
          <a:xfrm>
            <a:off x="2997004" y="2600160"/>
            <a:ext cx="0" cy="242888"/>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118" name="Straight Connector 117">
            <a:extLst>
              <a:ext uri="{FF2B5EF4-FFF2-40B4-BE49-F238E27FC236}">
                <a16:creationId xmlns:a16="http://schemas.microsoft.com/office/drawing/2014/main" id="{E547190D-30A4-433B-BDA8-6D4B2FF9D2FD}"/>
              </a:ext>
            </a:extLst>
          </p:cNvPr>
          <p:cNvCxnSpPr>
            <a:cxnSpLocks/>
          </p:cNvCxnSpPr>
          <p:nvPr/>
        </p:nvCxnSpPr>
        <p:spPr bwMode="auto">
          <a:xfrm flipV="1">
            <a:off x="2106416" y="1739735"/>
            <a:ext cx="2320760" cy="906465"/>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sp>
        <p:nvSpPr>
          <p:cNvPr id="120" name="Espace réservé du texte 2">
            <a:extLst>
              <a:ext uri="{FF2B5EF4-FFF2-40B4-BE49-F238E27FC236}">
                <a16:creationId xmlns:a16="http://schemas.microsoft.com/office/drawing/2014/main" id="{24DBBEC1-2EBC-4025-BAED-993C2FA9EB18}"/>
              </a:ext>
            </a:extLst>
          </p:cNvPr>
          <p:cNvSpPr>
            <a:spLocks noGrp="1"/>
          </p:cNvSpPr>
          <p:nvPr/>
        </p:nvSpPr>
        <p:spPr bwMode="auto">
          <a:xfrm>
            <a:off x="1520629" y="4421577"/>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3D6FE64A-A691-4C87-8136-D99646A4A2DA}" type="datetime'''''''''2''''''''''''''''''0''''''1''''''9'''''''''''">
              <a:rPr lang="en-GB" altLang="en-US" sz="1000" smtClean="0">
                <a:latin typeface="+mn-lt"/>
                <a:sym typeface="+mn-lt"/>
              </a:rPr>
              <a:pPr marL="0" indent="0" algn="ctr">
                <a:spcBef>
                  <a:spcPct val="0"/>
                </a:spcBef>
                <a:buNone/>
              </a:pPr>
              <a:t>2019</a:t>
            </a:fld>
            <a:endParaRPr lang="en-GB" sz="1000">
              <a:latin typeface="+mn-lt"/>
              <a:sym typeface="+mn-lt"/>
            </a:endParaRPr>
          </a:p>
        </p:txBody>
      </p:sp>
      <p:sp>
        <p:nvSpPr>
          <p:cNvPr id="121" name="Espace réservé du texte 2">
            <a:extLst>
              <a:ext uri="{FF2B5EF4-FFF2-40B4-BE49-F238E27FC236}">
                <a16:creationId xmlns:a16="http://schemas.microsoft.com/office/drawing/2014/main" id="{6D559518-E8C1-46B8-9B52-9036FEE0B55E}"/>
              </a:ext>
            </a:extLst>
          </p:cNvPr>
          <p:cNvSpPr>
            <a:spLocks noGrp="1"/>
          </p:cNvSpPr>
          <p:nvPr/>
        </p:nvSpPr>
        <p:spPr bwMode="auto">
          <a:xfrm>
            <a:off x="3749479" y="4421577"/>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63D46F5B-6E1E-4780-ABE9-AA68649CC542}" type="datetime'2''''0''''''''''''''''''''''''''24'''''''''''">
              <a:rPr lang="en-GB" altLang="en-US" sz="1000" smtClean="0">
                <a:latin typeface="+mn-lt"/>
                <a:sym typeface="+mn-lt"/>
              </a:rPr>
              <a:pPr marL="0" indent="0" algn="ctr">
                <a:spcBef>
                  <a:spcPct val="0"/>
                </a:spcBef>
                <a:buNone/>
              </a:pPr>
              <a:t>2024</a:t>
            </a:fld>
            <a:endParaRPr lang="en-GB" sz="1000">
              <a:latin typeface="+mn-lt"/>
              <a:sym typeface="+mn-lt"/>
            </a:endParaRPr>
          </a:p>
        </p:txBody>
      </p:sp>
      <p:sp>
        <p:nvSpPr>
          <p:cNvPr id="122" name="Espace réservé du texte 2">
            <a:extLst>
              <a:ext uri="{FF2B5EF4-FFF2-40B4-BE49-F238E27FC236}">
                <a16:creationId xmlns:a16="http://schemas.microsoft.com/office/drawing/2014/main" id="{8C66A17F-8A18-4E0C-B25E-892F3E969D94}"/>
              </a:ext>
            </a:extLst>
          </p:cNvPr>
          <p:cNvSpPr>
            <a:spLocks noGrp="1"/>
          </p:cNvSpPr>
          <p:nvPr/>
        </p:nvSpPr>
        <p:spPr bwMode="auto">
          <a:xfrm>
            <a:off x="4193979" y="4421577"/>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2C7F6E70-20F3-4D0E-9E21-94EA963F4DD9}" type="datetime'''''''''''2''''''0''''''''''''''''''''2''''''''''''5'''">
              <a:rPr lang="en-GB" altLang="en-US" sz="1000" smtClean="0">
                <a:latin typeface="+mn-lt"/>
                <a:sym typeface="+mn-lt"/>
              </a:rPr>
              <a:pPr marL="0" indent="0" algn="ctr">
                <a:spcBef>
                  <a:spcPct val="0"/>
                </a:spcBef>
                <a:buNone/>
              </a:pPr>
              <a:t>2025</a:t>
            </a:fld>
            <a:endParaRPr lang="en-GB" sz="1000">
              <a:latin typeface="+mn-lt"/>
              <a:sym typeface="+mn-lt"/>
            </a:endParaRPr>
          </a:p>
        </p:txBody>
      </p:sp>
      <p:sp>
        <p:nvSpPr>
          <p:cNvPr id="123" name="Espace réservé du texte 2">
            <a:extLst>
              <a:ext uri="{FF2B5EF4-FFF2-40B4-BE49-F238E27FC236}">
                <a16:creationId xmlns:a16="http://schemas.microsoft.com/office/drawing/2014/main" id="{8FD9938C-F978-46AE-BB3A-EDEDFF7FD70A}"/>
              </a:ext>
            </a:extLst>
          </p:cNvPr>
          <p:cNvSpPr>
            <a:spLocks noGrp="1"/>
          </p:cNvSpPr>
          <p:nvPr/>
        </p:nvSpPr>
        <p:spPr bwMode="auto">
          <a:xfrm>
            <a:off x="1076129" y="4421577"/>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C59BBFB1-7FFF-4605-926A-C89B2D21CC56}" type="datetime'''''''''''''''''''''''''''2''''''0''''''18'''''''''''''''">
              <a:rPr lang="en-GB" altLang="en-US" sz="1000" smtClean="0">
                <a:latin typeface="+mn-lt"/>
                <a:sym typeface="+mn-lt"/>
              </a:rPr>
              <a:pPr marL="0" indent="0" algn="ctr">
                <a:spcBef>
                  <a:spcPct val="0"/>
                </a:spcBef>
                <a:buNone/>
              </a:pPr>
              <a:t>2018</a:t>
            </a:fld>
            <a:endParaRPr lang="en-GB" sz="1000">
              <a:latin typeface="+mn-lt"/>
              <a:sym typeface="+mn-lt"/>
            </a:endParaRPr>
          </a:p>
        </p:txBody>
      </p:sp>
      <p:sp>
        <p:nvSpPr>
          <p:cNvPr id="124" name="Espace réservé du texte 2">
            <a:extLst>
              <a:ext uri="{FF2B5EF4-FFF2-40B4-BE49-F238E27FC236}">
                <a16:creationId xmlns:a16="http://schemas.microsoft.com/office/drawing/2014/main" id="{20ABFB18-92B3-4581-849D-D6C5F42002DE}"/>
              </a:ext>
            </a:extLst>
          </p:cNvPr>
          <p:cNvSpPr>
            <a:spLocks noGrp="1"/>
          </p:cNvSpPr>
          <p:nvPr/>
        </p:nvSpPr>
        <p:spPr bwMode="auto">
          <a:xfrm>
            <a:off x="630041" y="4421577"/>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8D2797A6-7E92-4661-88C9-7B8BB5C872F7}" type="datetime'''2''''''''''0''''''''17'''''''''''''''''">
              <a:rPr lang="en-GB" altLang="en-US" sz="1000" smtClean="0">
                <a:latin typeface="+mn-lt"/>
                <a:sym typeface="+mn-lt"/>
              </a:rPr>
              <a:pPr marL="0" indent="0" algn="ctr">
                <a:spcBef>
                  <a:spcPct val="0"/>
                </a:spcBef>
                <a:buNone/>
              </a:pPr>
              <a:t>2017</a:t>
            </a:fld>
            <a:endParaRPr lang="en-GB" sz="1000">
              <a:latin typeface="+mn-lt"/>
              <a:sym typeface="+mn-lt"/>
            </a:endParaRPr>
          </a:p>
        </p:txBody>
      </p:sp>
      <p:sp>
        <p:nvSpPr>
          <p:cNvPr id="125" name="Espace réservé du texte 2">
            <a:extLst>
              <a:ext uri="{FF2B5EF4-FFF2-40B4-BE49-F238E27FC236}">
                <a16:creationId xmlns:a16="http://schemas.microsoft.com/office/drawing/2014/main" id="{FDD0A22E-D044-4738-A846-D69DD4EC1C73}"/>
              </a:ext>
            </a:extLst>
          </p:cNvPr>
          <p:cNvSpPr>
            <a:spLocks noGrp="1"/>
          </p:cNvSpPr>
          <p:nvPr/>
        </p:nvSpPr>
        <p:spPr bwMode="auto">
          <a:xfrm>
            <a:off x="2412804" y="4421577"/>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EB7B7909-9B8B-4310-9085-E21499BFCA43}" type="datetime'''2''''''''0''''''''''''''21'''''''''''''">
              <a:rPr lang="en-GB" altLang="en-US" sz="1000" smtClean="0">
                <a:latin typeface="+mn-lt"/>
                <a:sym typeface="+mn-lt"/>
              </a:rPr>
              <a:pPr marL="0" indent="0" algn="ctr">
                <a:spcBef>
                  <a:spcPct val="0"/>
                </a:spcBef>
                <a:buNone/>
              </a:pPr>
              <a:t>2021</a:t>
            </a:fld>
            <a:endParaRPr lang="en-GB" sz="1000">
              <a:latin typeface="+mn-lt"/>
              <a:sym typeface="+mn-lt"/>
            </a:endParaRPr>
          </a:p>
        </p:txBody>
      </p:sp>
      <p:sp>
        <p:nvSpPr>
          <p:cNvPr id="126" name="Espace réservé du texte 2">
            <a:extLst>
              <a:ext uri="{FF2B5EF4-FFF2-40B4-BE49-F238E27FC236}">
                <a16:creationId xmlns:a16="http://schemas.microsoft.com/office/drawing/2014/main" id="{A9A0C130-CA17-448C-B406-947373E76974}"/>
              </a:ext>
            </a:extLst>
          </p:cNvPr>
          <p:cNvSpPr>
            <a:spLocks noGrp="1"/>
          </p:cNvSpPr>
          <p:nvPr/>
        </p:nvSpPr>
        <p:spPr bwMode="auto">
          <a:xfrm>
            <a:off x="1966716" y="4421577"/>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0F5D9284-4ED2-45E4-8D27-96A0FB0EC0E5}" type="datetime'''''''''''2''''''0''''''2''''''''0'''''''''''''''">
              <a:rPr lang="en-GB" altLang="en-US" sz="1000" smtClean="0">
                <a:latin typeface="+mn-lt"/>
                <a:sym typeface="+mn-lt"/>
              </a:rPr>
              <a:pPr marL="0" indent="0" algn="ctr">
                <a:spcBef>
                  <a:spcPct val="0"/>
                </a:spcBef>
                <a:buNone/>
              </a:pPr>
              <a:t>2020</a:t>
            </a:fld>
            <a:endParaRPr lang="en-GB" sz="1000">
              <a:latin typeface="+mn-lt"/>
              <a:sym typeface="+mn-lt"/>
            </a:endParaRPr>
          </a:p>
        </p:txBody>
      </p:sp>
      <p:sp>
        <p:nvSpPr>
          <p:cNvPr id="127" name="Espace réservé du texte 2">
            <a:extLst>
              <a:ext uri="{FF2B5EF4-FFF2-40B4-BE49-F238E27FC236}">
                <a16:creationId xmlns:a16="http://schemas.microsoft.com/office/drawing/2014/main" id="{46B3103C-B011-4050-9308-7682C2786A94}"/>
              </a:ext>
            </a:extLst>
          </p:cNvPr>
          <p:cNvSpPr>
            <a:spLocks noGrp="1"/>
          </p:cNvSpPr>
          <p:nvPr/>
        </p:nvSpPr>
        <p:spPr bwMode="auto">
          <a:xfrm>
            <a:off x="3303391" y="4421577"/>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9CCB1818-59F8-4B8F-B15B-27A57DDF5B6A}" type="datetime'''''''''2''''''''''''''''''''''''''''''0''''''23'">
              <a:rPr lang="en-GB" altLang="en-US" sz="1000" smtClean="0">
                <a:latin typeface="+mn-lt"/>
                <a:sym typeface="+mn-lt"/>
              </a:rPr>
              <a:pPr marL="0" indent="0" algn="ctr">
                <a:spcBef>
                  <a:spcPct val="0"/>
                </a:spcBef>
                <a:buNone/>
              </a:pPr>
              <a:t>2023</a:t>
            </a:fld>
            <a:endParaRPr lang="en-GB" sz="1000">
              <a:latin typeface="+mn-lt"/>
              <a:sym typeface="+mn-lt"/>
            </a:endParaRPr>
          </a:p>
        </p:txBody>
      </p:sp>
      <p:sp>
        <p:nvSpPr>
          <p:cNvPr id="128" name="Espace réservé du texte 2">
            <a:extLst>
              <a:ext uri="{FF2B5EF4-FFF2-40B4-BE49-F238E27FC236}">
                <a16:creationId xmlns:a16="http://schemas.microsoft.com/office/drawing/2014/main" id="{5656A40E-94D2-4D19-9FCB-B644FC3F1A54}"/>
              </a:ext>
            </a:extLst>
          </p:cNvPr>
          <p:cNvSpPr>
            <a:spLocks noGrp="1"/>
          </p:cNvSpPr>
          <p:nvPr/>
        </p:nvSpPr>
        <p:spPr bwMode="auto">
          <a:xfrm>
            <a:off x="2857304" y="4421577"/>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9FCED9CF-7853-4E0A-A6AA-86982676BB20}" type="datetime'''2''''''''''''''''''''0''''''''''''''''''2''2'''''''''">
              <a:rPr lang="en-GB" altLang="en-US" sz="1000" smtClean="0">
                <a:latin typeface="+mn-lt"/>
                <a:sym typeface="+mn-lt"/>
              </a:rPr>
              <a:pPr marL="0" indent="0" algn="ctr">
                <a:spcBef>
                  <a:spcPct val="0"/>
                </a:spcBef>
                <a:buNone/>
              </a:pPr>
              <a:t>2022</a:t>
            </a:fld>
            <a:endParaRPr lang="en-GB" sz="1000">
              <a:latin typeface="+mn-lt"/>
              <a:sym typeface="+mn-lt"/>
            </a:endParaRPr>
          </a:p>
        </p:txBody>
      </p:sp>
      <p:sp>
        <p:nvSpPr>
          <p:cNvPr id="169" name="Espace réservé du texte 2">
            <a:extLst>
              <a:ext uri="{FF2B5EF4-FFF2-40B4-BE49-F238E27FC236}">
                <a16:creationId xmlns:a16="http://schemas.microsoft.com/office/drawing/2014/main" id="{ACC55E45-D91A-4E5A-B55D-CC1C31EE3885}"/>
              </a:ext>
            </a:extLst>
          </p:cNvPr>
          <p:cNvSpPr>
            <a:spLocks noGrp="1"/>
          </p:cNvSpPr>
          <p:nvPr/>
        </p:nvSpPr>
        <p:spPr bwMode="auto">
          <a:xfrm>
            <a:off x="2061965" y="2763673"/>
            <a:ext cx="49530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sz="800" b="1">
                <a:latin typeface="+mn-lt"/>
                <a:sym typeface="+mn-lt"/>
              </a:rPr>
              <a:t>+23%</a:t>
            </a:r>
          </a:p>
        </p:txBody>
      </p:sp>
      <p:sp>
        <p:nvSpPr>
          <p:cNvPr id="170" name="Espace réservé du texte 2">
            <a:extLst>
              <a:ext uri="{FF2B5EF4-FFF2-40B4-BE49-F238E27FC236}">
                <a16:creationId xmlns:a16="http://schemas.microsoft.com/office/drawing/2014/main" id="{D4489E23-9F70-4A58-BC89-401B9D993A86}"/>
              </a:ext>
            </a:extLst>
          </p:cNvPr>
          <p:cNvSpPr>
            <a:spLocks noGrp="1"/>
          </p:cNvSpPr>
          <p:nvPr/>
        </p:nvSpPr>
        <p:spPr bwMode="auto">
          <a:xfrm>
            <a:off x="2546153" y="2514436"/>
            <a:ext cx="49530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21%</a:t>
            </a:r>
            <a:endParaRPr lang="en-GB" sz="800" b="1">
              <a:latin typeface="+mn-lt"/>
              <a:sym typeface="+mn-lt"/>
            </a:endParaRPr>
          </a:p>
        </p:txBody>
      </p:sp>
      <p:sp>
        <p:nvSpPr>
          <p:cNvPr id="171" name="Espace réservé du texte 2">
            <a:extLst>
              <a:ext uri="{FF2B5EF4-FFF2-40B4-BE49-F238E27FC236}">
                <a16:creationId xmlns:a16="http://schemas.microsoft.com/office/drawing/2014/main" id="{C7A85204-D779-4BC9-8681-F532B6318218}"/>
              </a:ext>
            </a:extLst>
          </p:cNvPr>
          <p:cNvSpPr>
            <a:spLocks noGrp="1"/>
          </p:cNvSpPr>
          <p:nvPr/>
        </p:nvSpPr>
        <p:spPr bwMode="auto">
          <a:xfrm>
            <a:off x="2997004" y="2116144"/>
            <a:ext cx="49530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sz="800" b="1">
                <a:latin typeface="+mn-lt"/>
                <a:sym typeface="+mn-lt"/>
              </a:rPr>
              <a:t>+17.7%</a:t>
            </a:r>
          </a:p>
        </p:txBody>
      </p:sp>
      <p:graphicFrame>
        <p:nvGraphicFramePr>
          <p:cNvPr id="237" name="Chart 236">
            <a:extLst>
              <a:ext uri="{FF2B5EF4-FFF2-40B4-BE49-F238E27FC236}">
                <a16:creationId xmlns:a16="http://schemas.microsoft.com/office/drawing/2014/main" id="{C516A193-6377-4C41-89AD-32F9F4FC6ECC}"/>
              </a:ext>
            </a:extLst>
          </p:cNvPr>
          <p:cNvGraphicFramePr/>
          <p:nvPr>
            <p:extLst>
              <p:ext uri="{D42A27DB-BD31-4B8C-83A1-F6EECF244321}">
                <p14:modId xmlns:p14="http://schemas.microsoft.com/office/powerpoint/2010/main" val="894967123"/>
              </p:ext>
            </p:extLst>
          </p:nvPr>
        </p:nvGraphicFramePr>
        <p:xfrm>
          <a:off x="5327461" y="2026221"/>
          <a:ext cx="4175125" cy="2430463"/>
        </p:xfrm>
        <a:graphic>
          <a:graphicData uri="http://schemas.openxmlformats.org/drawingml/2006/chart">
            <c:chart xmlns:c="http://schemas.openxmlformats.org/drawingml/2006/chart" xmlns:r="http://schemas.openxmlformats.org/officeDocument/2006/relationships" r:id="rId17"/>
          </a:graphicData>
        </a:graphic>
      </p:graphicFrame>
      <p:cxnSp>
        <p:nvCxnSpPr>
          <p:cNvPr id="238" name="Straight Connector 237">
            <a:extLst>
              <a:ext uri="{FF2B5EF4-FFF2-40B4-BE49-F238E27FC236}">
                <a16:creationId xmlns:a16="http://schemas.microsoft.com/office/drawing/2014/main" id="{4A55795F-D62D-4477-9539-82C28D7342E9}"/>
              </a:ext>
            </a:extLst>
          </p:cNvPr>
          <p:cNvCxnSpPr>
            <a:cxnSpLocks/>
          </p:cNvCxnSpPr>
          <p:nvPr/>
        </p:nvCxnSpPr>
        <p:spPr bwMode="auto">
          <a:xfrm flipV="1">
            <a:off x="5632261" y="2567005"/>
            <a:ext cx="1336675" cy="303213"/>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cxnSp>
        <p:nvCxnSpPr>
          <p:cNvPr id="239" name="Straight Connector 238">
            <a:extLst>
              <a:ext uri="{FF2B5EF4-FFF2-40B4-BE49-F238E27FC236}">
                <a16:creationId xmlns:a16="http://schemas.microsoft.com/office/drawing/2014/main" id="{21F2F5BF-3771-483E-8D82-70890A498989}"/>
              </a:ext>
            </a:extLst>
          </p:cNvPr>
          <p:cNvCxnSpPr/>
          <p:nvPr/>
        </p:nvCxnSpPr>
        <p:spPr bwMode="auto">
          <a:xfrm flipV="1">
            <a:off x="6968936" y="2776555"/>
            <a:ext cx="0" cy="430213"/>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40" name="Straight Connector 239">
            <a:extLst>
              <a:ext uri="{FF2B5EF4-FFF2-40B4-BE49-F238E27FC236}">
                <a16:creationId xmlns:a16="http://schemas.microsoft.com/office/drawing/2014/main" id="{CCA631A9-EBE4-4A26-8A9C-141C022FFF04}"/>
              </a:ext>
            </a:extLst>
          </p:cNvPr>
          <p:cNvCxnSpPr/>
          <p:nvPr/>
        </p:nvCxnSpPr>
        <p:spPr bwMode="auto">
          <a:xfrm>
            <a:off x="6968936" y="2776555"/>
            <a:ext cx="40798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41" name="Straight Connector 240">
            <a:extLst>
              <a:ext uri="{FF2B5EF4-FFF2-40B4-BE49-F238E27FC236}">
                <a16:creationId xmlns:a16="http://schemas.microsoft.com/office/drawing/2014/main" id="{B290A3BD-3963-4B7E-92DD-9A40BD168973}"/>
              </a:ext>
            </a:extLst>
          </p:cNvPr>
          <p:cNvCxnSpPr/>
          <p:nvPr/>
        </p:nvCxnSpPr>
        <p:spPr bwMode="auto">
          <a:xfrm>
            <a:off x="7376924" y="2776555"/>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242" name="Straight Connector 241">
            <a:extLst>
              <a:ext uri="{FF2B5EF4-FFF2-40B4-BE49-F238E27FC236}">
                <a16:creationId xmlns:a16="http://schemas.microsoft.com/office/drawing/2014/main" id="{FB66F5B6-FEBB-4558-8E36-6FA0131C39A3}"/>
              </a:ext>
            </a:extLst>
          </p:cNvPr>
          <p:cNvCxnSpPr/>
          <p:nvPr/>
        </p:nvCxnSpPr>
        <p:spPr bwMode="auto">
          <a:xfrm flipV="1">
            <a:off x="7453124" y="2527317"/>
            <a:ext cx="0" cy="48895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43" name="Straight Connector 242">
            <a:extLst>
              <a:ext uri="{FF2B5EF4-FFF2-40B4-BE49-F238E27FC236}">
                <a16:creationId xmlns:a16="http://schemas.microsoft.com/office/drawing/2014/main" id="{9F69BC4B-2350-4C37-9B91-5ACC1BCC5EBE}"/>
              </a:ext>
            </a:extLst>
          </p:cNvPr>
          <p:cNvCxnSpPr/>
          <p:nvPr/>
        </p:nvCxnSpPr>
        <p:spPr bwMode="auto">
          <a:xfrm>
            <a:off x="7453124" y="2527318"/>
            <a:ext cx="40640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44" name="Straight Connector 243">
            <a:extLst>
              <a:ext uri="{FF2B5EF4-FFF2-40B4-BE49-F238E27FC236}">
                <a16:creationId xmlns:a16="http://schemas.microsoft.com/office/drawing/2014/main" id="{0FC3E430-2D11-4503-8A56-046FC19B3A48}"/>
              </a:ext>
            </a:extLst>
          </p:cNvPr>
          <p:cNvCxnSpPr/>
          <p:nvPr/>
        </p:nvCxnSpPr>
        <p:spPr bwMode="auto">
          <a:xfrm>
            <a:off x="7859524" y="2527317"/>
            <a:ext cx="0" cy="280988"/>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245" name="Straight Connector 244">
            <a:extLst>
              <a:ext uri="{FF2B5EF4-FFF2-40B4-BE49-F238E27FC236}">
                <a16:creationId xmlns:a16="http://schemas.microsoft.com/office/drawing/2014/main" id="{E547190D-30A4-433B-BDA8-6D4B2FF9D2FD}"/>
              </a:ext>
            </a:extLst>
          </p:cNvPr>
          <p:cNvCxnSpPr>
            <a:cxnSpLocks/>
          </p:cNvCxnSpPr>
          <p:nvPr/>
        </p:nvCxnSpPr>
        <p:spPr bwMode="auto">
          <a:xfrm flipV="1">
            <a:off x="6968937" y="1789786"/>
            <a:ext cx="2200690" cy="777219"/>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sp>
        <p:nvSpPr>
          <p:cNvPr id="246" name="Espace réservé du texte 2">
            <a:extLst>
              <a:ext uri="{FF2B5EF4-FFF2-40B4-BE49-F238E27FC236}">
                <a16:creationId xmlns:a16="http://schemas.microsoft.com/office/drawing/2014/main" id="{20ABFB18-92B3-4581-849D-D6C5F42002DE}"/>
              </a:ext>
            </a:extLst>
          </p:cNvPr>
          <p:cNvSpPr>
            <a:spLocks noGrp="1"/>
          </p:cNvSpPr>
          <p:nvPr/>
        </p:nvSpPr>
        <p:spPr bwMode="auto">
          <a:xfrm>
            <a:off x="5492561" y="4416996"/>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8D2797A6-7E92-4661-88C9-7B8BB5C872F7}" type="datetime'''2''''''''''0''''''''17'''''''''''''''''">
              <a:rPr lang="en-GB" altLang="en-US" sz="1000" smtClean="0">
                <a:latin typeface="+mn-lt"/>
                <a:sym typeface="+mn-lt"/>
              </a:rPr>
              <a:pPr marL="0" indent="0" algn="ctr">
                <a:spcBef>
                  <a:spcPct val="0"/>
                </a:spcBef>
                <a:buNone/>
              </a:pPr>
              <a:t>2017</a:t>
            </a:fld>
            <a:endParaRPr lang="en-GB" sz="1000">
              <a:latin typeface="+mn-lt"/>
              <a:sym typeface="+mn-lt"/>
            </a:endParaRPr>
          </a:p>
        </p:txBody>
      </p:sp>
      <p:sp>
        <p:nvSpPr>
          <p:cNvPr id="247" name="Espace réservé du texte 2">
            <a:extLst>
              <a:ext uri="{FF2B5EF4-FFF2-40B4-BE49-F238E27FC236}">
                <a16:creationId xmlns:a16="http://schemas.microsoft.com/office/drawing/2014/main" id="{8FD9938C-F978-46AE-BB3A-EDEDFF7FD70A}"/>
              </a:ext>
            </a:extLst>
          </p:cNvPr>
          <p:cNvSpPr>
            <a:spLocks noGrp="1"/>
          </p:cNvSpPr>
          <p:nvPr/>
        </p:nvSpPr>
        <p:spPr bwMode="auto">
          <a:xfrm>
            <a:off x="5938649" y="4416996"/>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C59BBFB1-7FFF-4605-926A-C89B2D21CC56}" type="datetime'''''''''''''''''''''''''''2''''''0''''''18'''''''''''''''">
              <a:rPr lang="en-GB" altLang="en-US" sz="1000" smtClean="0">
                <a:latin typeface="+mn-lt"/>
                <a:sym typeface="+mn-lt"/>
              </a:rPr>
              <a:pPr marL="0" indent="0" algn="ctr">
                <a:spcBef>
                  <a:spcPct val="0"/>
                </a:spcBef>
                <a:buNone/>
              </a:pPr>
              <a:t>2018</a:t>
            </a:fld>
            <a:endParaRPr lang="en-GB" sz="1000">
              <a:latin typeface="+mn-lt"/>
              <a:sym typeface="+mn-lt"/>
            </a:endParaRPr>
          </a:p>
        </p:txBody>
      </p:sp>
      <p:sp>
        <p:nvSpPr>
          <p:cNvPr id="249" name="Espace réservé du texte 2">
            <a:extLst>
              <a:ext uri="{FF2B5EF4-FFF2-40B4-BE49-F238E27FC236}">
                <a16:creationId xmlns:a16="http://schemas.microsoft.com/office/drawing/2014/main" id="{46B3103C-B011-4050-9308-7682C2786A94}"/>
              </a:ext>
            </a:extLst>
          </p:cNvPr>
          <p:cNvSpPr>
            <a:spLocks noGrp="1"/>
          </p:cNvSpPr>
          <p:nvPr/>
        </p:nvSpPr>
        <p:spPr bwMode="auto">
          <a:xfrm>
            <a:off x="8165911" y="4416996"/>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9CCB1818-59F8-4B8F-B15B-27A57DDF5B6A}" type="datetime'''''''''2''''''''''''''''''''''''''''''0''''''23'">
              <a:rPr lang="en-GB" altLang="en-US" sz="1000" smtClean="0">
                <a:latin typeface="+mn-lt"/>
                <a:sym typeface="+mn-lt"/>
              </a:rPr>
              <a:pPr marL="0" indent="0" algn="ctr">
                <a:spcBef>
                  <a:spcPct val="0"/>
                </a:spcBef>
                <a:buNone/>
              </a:pPr>
              <a:t>2023</a:t>
            </a:fld>
            <a:endParaRPr lang="en-GB" sz="1000">
              <a:latin typeface="+mn-lt"/>
              <a:sym typeface="+mn-lt"/>
            </a:endParaRPr>
          </a:p>
        </p:txBody>
      </p:sp>
      <p:sp>
        <p:nvSpPr>
          <p:cNvPr id="251" name="Espace réservé du texte 2">
            <a:extLst>
              <a:ext uri="{FF2B5EF4-FFF2-40B4-BE49-F238E27FC236}">
                <a16:creationId xmlns:a16="http://schemas.microsoft.com/office/drawing/2014/main" id="{5656A40E-94D2-4D19-9FCB-B644FC3F1A54}"/>
              </a:ext>
            </a:extLst>
          </p:cNvPr>
          <p:cNvSpPr>
            <a:spLocks noGrp="1"/>
          </p:cNvSpPr>
          <p:nvPr/>
        </p:nvSpPr>
        <p:spPr bwMode="auto">
          <a:xfrm>
            <a:off x="7719824" y="4416996"/>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9FCED9CF-7853-4E0A-A6AA-86982676BB20}" type="datetime'''2''''''''''''''''''''0''''''''''''''''''2''2'''''''''">
              <a:rPr lang="en-GB" altLang="en-US" sz="1000" smtClean="0">
                <a:latin typeface="+mn-lt"/>
                <a:sym typeface="+mn-lt"/>
              </a:rPr>
              <a:pPr marL="0" indent="0" algn="ctr">
                <a:spcBef>
                  <a:spcPct val="0"/>
                </a:spcBef>
                <a:buNone/>
              </a:pPr>
              <a:t>2022</a:t>
            </a:fld>
            <a:endParaRPr lang="en-GB" sz="1000">
              <a:latin typeface="+mn-lt"/>
              <a:sym typeface="+mn-lt"/>
            </a:endParaRPr>
          </a:p>
        </p:txBody>
      </p:sp>
      <p:sp>
        <p:nvSpPr>
          <p:cNvPr id="252" name="Espace réservé du texte 2">
            <a:extLst>
              <a:ext uri="{FF2B5EF4-FFF2-40B4-BE49-F238E27FC236}">
                <a16:creationId xmlns:a16="http://schemas.microsoft.com/office/drawing/2014/main" id="{24DBBEC1-2EBC-4025-BAED-993C2FA9EB18}"/>
              </a:ext>
            </a:extLst>
          </p:cNvPr>
          <p:cNvSpPr>
            <a:spLocks noGrp="1"/>
          </p:cNvSpPr>
          <p:nvPr/>
        </p:nvSpPr>
        <p:spPr bwMode="auto">
          <a:xfrm>
            <a:off x="6383149" y="4416996"/>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3D6FE64A-A691-4C87-8136-D99646A4A2DA}" type="datetime'''''''''2''''''''''''''''''0''''''1''''''9'''''''''''">
              <a:rPr lang="en-GB" altLang="en-US" sz="1000" smtClean="0">
                <a:latin typeface="+mn-lt"/>
                <a:sym typeface="+mn-lt"/>
              </a:rPr>
              <a:pPr marL="0" indent="0" algn="ctr">
                <a:spcBef>
                  <a:spcPct val="0"/>
                </a:spcBef>
                <a:buNone/>
              </a:pPr>
              <a:t>2019</a:t>
            </a:fld>
            <a:endParaRPr lang="en-GB" sz="1000">
              <a:latin typeface="+mn-lt"/>
              <a:sym typeface="+mn-lt"/>
            </a:endParaRPr>
          </a:p>
        </p:txBody>
      </p:sp>
      <p:sp>
        <p:nvSpPr>
          <p:cNvPr id="253" name="Espace réservé du texte 2">
            <a:extLst>
              <a:ext uri="{FF2B5EF4-FFF2-40B4-BE49-F238E27FC236}">
                <a16:creationId xmlns:a16="http://schemas.microsoft.com/office/drawing/2014/main" id="{6D559518-E8C1-46B8-9B52-9036FEE0B55E}"/>
              </a:ext>
            </a:extLst>
          </p:cNvPr>
          <p:cNvSpPr>
            <a:spLocks noGrp="1"/>
          </p:cNvSpPr>
          <p:nvPr/>
        </p:nvSpPr>
        <p:spPr bwMode="auto">
          <a:xfrm>
            <a:off x="8611999" y="4416996"/>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63D46F5B-6E1E-4780-ABE9-AA68649CC542}" type="datetime'2''''0''''''''''''''''''''''''''24'''''''''''">
              <a:rPr lang="en-GB" altLang="en-US" sz="1000" smtClean="0">
                <a:latin typeface="+mn-lt"/>
                <a:sym typeface="+mn-lt"/>
              </a:rPr>
              <a:pPr marL="0" indent="0" algn="ctr">
                <a:spcBef>
                  <a:spcPct val="0"/>
                </a:spcBef>
                <a:buNone/>
              </a:pPr>
              <a:t>2024</a:t>
            </a:fld>
            <a:endParaRPr lang="en-GB" sz="1000">
              <a:latin typeface="+mn-lt"/>
              <a:sym typeface="+mn-lt"/>
            </a:endParaRPr>
          </a:p>
        </p:txBody>
      </p:sp>
      <p:sp>
        <p:nvSpPr>
          <p:cNvPr id="254" name="Espace réservé du texte 2">
            <a:extLst>
              <a:ext uri="{FF2B5EF4-FFF2-40B4-BE49-F238E27FC236}">
                <a16:creationId xmlns:a16="http://schemas.microsoft.com/office/drawing/2014/main" id="{A9A0C130-CA17-448C-B406-947373E76974}"/>
              </a:ext>
            </a:extLst>
          </p:cNvPr>
          <p:cNvSpPr>
            <a:spLocks noGrp="1"/>
          </p:cNvSpPr>
          <p:nvPr/>
        </p:nvSpPr>
        <p:spPr bwMode="auto">
          <a:xfrm>
            <a:off x="6829236" y="4416996"/>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0F5D9284-4ED2-45E4-8D27-96A0FB0EC0E5}" type="datetime'''''''''''2''''''0''''''2''''''''0'''''''''''''''">
              <a:rPr lang="en-GB" altLang="en-US" sz="1000" smtClean="0">
                <a:latin typeface="+mn-lt"/>
                <a:sym typeface="+mn-lt"/>
              </a:rPr>
              <a:pPr marL="0" indent="0" algn="ctr">
                <a:spcBef>
                  <a:spcPct val="0"/>
                </a:spcBef>
                <a:buNone/>
              </a:pPr>
              <a:t>2020</a:t>
            </a:fld>
            <a:endParaRPr lang="en-GB" sz="1000">
              <a:latin typeface="+mn-lt"/>
              <a:sym typeface="+mn-lt"/>
            </a:endParaRPr>
          </a:p>
        </p:txBody>
      </p:sp>
      <p:sp>
        <p:nvSpPr>
          <p:cNvPr id="255" name="Espace réservé du texte 2">
            <a:extLst>
              <a:ext uri="{FF2B5EF4-FFF2-40B4-BE49-F238E27FC236}">
                <a16:creationId xmlns:a16="http://schemas.microsoft.com/office/drawing/2014/main" id="{FDD0A22E-D044-4738-A846-D69DD4EC1C73}"/>
              </a:ext>
            </a:extLst>
          </p:cNvPr>
          <p:cNvSpPr>
            <a:spLocks noGrp="1"/>
          </p:cNvSpPr>
          <p:nvPr/>
        </p:nvSpPr>
        <p:spPr bwMode="auto">
          <a:xfrm>
            <a:off x="7275324" y="4416996"/>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EB7B7909-9B8B-4310-9085-E21499BFCA43}" type="datetime'''2''''''''0''''''''''''''21'''''''''''''">
              <a:rPr lang="en-GB" altLang="en-US" sz="1000" smtClean="0">
                <a:latin typeface="+mn-lt"/>
                <a:sym typeface="+mn-lt"/>
              </a:rPr>
              <a:pPr marL="0" indent="0" algn="ctr">
                <a:spcBef>
                  <a:spcPct val="0"/>
                </a:spcBef>
                <a:buNone/>
              </a:pPr>
              <a:t>2021</a:t>
            </a:fld>
            <a:endParaRPr lang="en-GB" sz="1000">
              <a:latin typeface="+mn-lt"/>
              <a:sym typeface="+mn-lt"/>
            </a:endParaRPr>
          </a:p>
        </p:txBody>
      </p:sp>
      <p:sp>
        <p:nvSpPr>
          <p:cNvPr id="256" name="Espace réservé du texte 2">
            <a:extLst>
              <a:ext uri="{FF2B5EF4-FFF2-40B4-BE49-F238E27FC236}">
                <a16:creationId xmlns:a16="http://schemas.microsoft.com/office/drawing/2014/main" id="{8C66A17F-8A18-4E0C-B25E-892F3E969D94}"/>
              </a:ext>
            </a:extLst>
          </p:cNvPr>
          <p:cNvSpPr>
            <a:spLocks noGrp="1"/>
          </p:cNvSpPr>
          <p:nvPr/>
        </p:nvSpPr>
        <p:spPr bwMode="auto">
          <a:xfrm>
            <a:off x="9056499" y="4416996"/>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2C7F6E70-20F3-4D0E-9E21-94EA963F4DD9}" type="datetime'''''''''''2''''''0''''''''''''''''''''2''''''''''''5'''">
              <a:rPr lang="en-GB" altLang="en-US" sz="1000" smtClean="0">
                <a:latin typeface="+mn-lt"/>
                <a:sym typeface="+mn-lt"/>
              </a:rPr>
              <a:pPr marL="0" indent="0" algn="ctr">
                <a:spcBef>
                  <a:spcPct val="0"/>
                </a:spcBef>
                <a:buNone/>
              </a:pPr>
              <a:t>2025</a:t>
            </a:fld>
            <a:endParaRPr lang="en-GB" sz="1000">
              <a:latin typeface="+mn-lt"/>
              <a:sym typeface="+mn-lt"/>
            </a:endParaRPr>
          </a:p>
        </p:txBody>
      </p:sp>
      <p:sp>
        <p:nvSpPr>
          <p:cNvPr id="264" name="Espace réservé du texte 2">
            <a:extLst>
              <a:ext uri="{FF2B5EF4-FFF2-40B4-BE49-F238E27FC236}">
                <a16:creationId xmlns:a16="http://schemas.microsoft.com/office/drawing/2014/main" id="{B88B1108-0092-4AF0-9274-78C36552DF38}"/>
              </a:ext>
            </a:extLst>
          </p:cNvPr>
          <p:cNvSpPr>
            <a:spLocks noGrp="1"/>
          </p:cNvSpPr>
          <p:nvPr/>
        </p:nvSpPr>
        <p:spPr bwMode="auto">
          <a:xfrm>
            <a:off x="6052948" y="2632093"/>
            <a:ext cx="49530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73EAF782-62D6-47A4-8C77-9DA71EC954AB}" type="datetime'''''''''''''''''+''''''''''''''''1''''''1''.''''''''2''''%'''">
              <a:rPr lang="en-GB" altLang="en-US" sz="800" b="1" smtClean="0">
                <a:effectLst/>
              </a:rPr>
              <a:pPr marL="0" indent="0" algn="ctr">
                <a:spcBef>
                  <a:spcPct val="0"/>
                </a:spcBef>
                <a:buNone/>
              </a:pPr>
              <a:t>+11.2%</a:t>
            </a:fld>
            <a:endParaRPr lang="en-GB" sz="800" b="1">
              <a:latin typeface="+mn-lt"/>
              <a:sym typeface="+mn-lt"/>
            </a:endParaRPr>
          </a:p>
        </p:txBody>
      </p:sp>
      <p:sp>
        <p:nvSpPr>
          <p:cNvPr id="265" name="Espace réservé du texte 2">
            <a:extLst>
              <a:ext uri="{FF2B5EF4-FFF2-40B4-BE49-F238E27FC236}">
                <a16:creationId xmlns:a16="http://schemas.microsoft.com/office/drawing/2014/main" id="{ACC55E45-D91A-4E5A-B55D-CC1C31EE3885}"/>
              </a:ext>
            </a:extLst>
          </p:cNvPr>
          <p:cNvSpPr>
            <a:spLocks noGrp="1"/>
          </p:cNvSpPr>
          <p:nvPr/>
        </p:nvSpPr>
        <p:spPr bwMode="auto">
          <a:xfrm>
            <a:off x="6924485" y="2690830"/>
            <a:ext cx="49530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18%</a:t>
            </a:r>
            <a:endParaRPr lang="en-GB" sz="800" b="1">
              <a:latin typeface="+mn-lt"/>
              <a:sym typeface="+mn-lt"/>
            </a:endParaRPr>
          </a:p>
        </p:txBody>
      </p:sp>
      <p:sp>
        <p:nvSpPr>
          <p:cNvPr id="266" name="Espace réservé du texte 2">
            <a:extLst>
              <a:ext uri="{FF2B5EF4-FFF2-40B4-BE49-F238E27FC236}">
                <a16:creationId xmlns:a16="http://schemas.microsoft.com/office/drawing/2014/main" id="{D4489E23-9F70-4A58-BC89-401B9D993A86}"/>
              </a:ext>
            </a:extLst>
          </p:cNvPr>
          <p:cNvSpPr>
            <a:spLocks noGrp="1"/>
          </p:cNvSpPr>
          <p:nvPr/>
        </p:nvSpPr>
        <p:spPr bwMode="auto">
          <a:xfrm>
            <a:off x="7408673" y="2441593"/>
            <a:ext cx="49530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17.3%</a:t>
            </a:r>
            <a:endParaRPr lang="en-GB" sz="800" b="1">
              <a:latin typeface="+mn-lt"/>
              <a:sym typeface="+mn-lt"/>
            </a:endParaRPr>
          </a:p>
        </p:txBody>
      </p:sp>
      <p:sp>
        <p:nvSpPr>
          <p:cNvPr id="267" name="Espace réservé du texte 2">
            <a:extLst>
              <a:ext uri="{FF2B5EF4-FFF2-40B4-BE49-F238E27FC236}">
                <a16:creationId xmlns:a16="http://schemas.microsoft.com/office/drawing/2014/main" id="{C7A85204-D779-4BC9-8681-F532B6318218}"/>
              </a:ext>
            </a:extLst>
          </p:cNvPr>
          <p:cNvSpPr>
            <a:spLocks noGrp="1"/>
          </p:cNvSpPr>
          <p:nvPr/>
        </p:nvSpPr>
        <p:spPr bwMode="auto">
          <a:xfrm>
            <a:off x="7859524" y="2067689"/>
            <a:ext cx="49530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sz="800" b="1">
                <a:latin typeface="+mn-lt"/>
                <a:sym typeface="+mn-lt"/>
              </a:rPr>
              <a:t>+16.3%</a:t>
            </a:r>
          </a:p>
        </p:txBody>
      </p:sp>
      <p:sp>
        <p:nvSpPr>
          <p:cNvPr id="2" name="Bulle narrative : rectangle 1">
            <a:extLst>
              <a:ext uri="{FF2B5EF4-FFF2-40B4-BE49-F238E27FC236}">
                <a16:creationId xmlns:a16="http://schemas.microsoft.com/office/drawing/2014/main" id="{69B01C19-0B4C-4A02-BD6D-64552DEA313D}"/>
              </a:ext>
            </a:extLst>
          </p:cNvPr>
          <p:cNvSpPr/>
          <p:nvPr/>
        </p:nvSpPr>
        <p:spPr bwMode="auto">
          <a:xfrm>
            <a:off x="520287" y="1403769"/>
            <a:ext cx="998868" cy="770881"/>
          </a:xfrm>
          <a:prstGeom prst="wedgeRectCallout">
            <a:avLst>
              <a:gd name="adj1" fmla="val -30080"/>
              <a:gd name="adj2" fmla="val 201486"/>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a:latin typeface="Trebuchet MS" pitchFamily="34" charset="0"/>
              </a:rPr>
              <a:t>Excluding the one-off contract with the </a:t>
            </a:r>
            <a:r>
              <a:rPr kumimoji="0" lang="en-GB" sz="900" b="0" i="1" u="none" strike="noStrike" cap="none" normalizeH="0" baseline="0">
                <a:ln>
                  <a:noFill/>
                </a:ln>
                <a:solidFill>
                  <a:schemeClr val="tx1"/>
                </a:solidFill>
                <a:effectLst/>
                <a:latin typeface="Trebuchet MS" pitchFamily="34" charset="0"/>
              </a:rPr>
              <a:t>CDC in 2017 (€1,34m)</a:t>
            </a:r>
          </a:p>
        </p:txBody>
      </p:sp>
      <p:cxnSp>
        <p:nvCxnSpPr>
          <p:cNvPr id="111" name="Straight Connector 110">
            <a:extLst>
              <a:ext uri="{FF2B5EF4-FFF2-40B4-BE49-F238E27FC236}">
                <a16:creationId xmlns:a16="http://schemas.microsoft.com/office/drawing/2014/main" id="{4A55795F-D62D-4477-9539-82C28D7342E9}"/>
              </a:ext>
            </a:extLst>
          </p:cNvPr>
          <p:cNvCxnSpPr>
            <a:cxnSpLocks/>
          </p:cNvCxnSpPr>
          <p:nvPr/>
        </p:nvCxnSpPr>
        <p:spPr bwMode="auto">
          <a:xfrm flipV="1">
            <a:off x="769741" y="2646198"/>
            <a:ext cx="1336675" cy="461963"/>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sp>
        <p:nvSpPr>
          <p:cNvPr id="168" name="Espace réservé du texte 2">
            <a:extLst>
              <a:ext uri="{FF2B5EF4-FFF2-40B4-BE49-F238E27FC236}">
                <a16:creationId xmlns:a16="http://schemas.microsoft.com/office/drawing/2014/main" id="{B88B1108-0092-4AF0-9274-78C36552DF38}"/>
              </a:ext>
            </a:extLst>
          </p:cNvPr>
          <p:cNvSpPr>
            <a:spLocks noGrp="1"/>
          </p:cNvSpPr>
          <p:nvPr/>
        </p:nvSpPr>
        <p:spPr bwMode="auto">
          <a:xfrm>
            <a:off x="1190428" y="2790661"/>
            <a:ext cx="49530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23%</a:t>
            </a:r>
            <a:endParaRPr lang="en-GB" sz="800" b="1">
              <a:latin typeface="+mn-lt"/>
              <a:sym typeface="+mn-lt"/>
            </a:endParaRPr>
          </a:p>
        </p:txBody>
      </p:sp>
      <p:sp>
        <p:nvSpPr>
          <p:cNvPr id="107" name="Forme libre : forme 106">
            <a:extLst>
              <a:ext uri="{FF2B5EF4-FFF2-40B4-BE49-F238E27FC236}">
                <a16:creationId xmlns:a16="http://schemas.microsoft.com/office/drawing/2014/main" id="{A7D45EF5-E7A8-4DB1-A507-8A7EDF03FD56}"/>
              </a:ext>
            </a:extLst>
          </p:cNvPr>
          <p:cNvSpPr/>
          <p:nvPr/>
        </p:nvSpPr>
        <p:spPr bwMode="auto">
          <a:xfrm>
            <a:off x="5346017" y="1403768"/>
            <a:ext cx="1216514" cy="1006073"/>
          </a:xfrm>
          <a:custGeom>
            <a:avLst/>
            <a:gdLst>
              <a:gd name="connsiteX0" fmla="*/ 0 w 998868"/>
              <a:gd name="connsiteY0" fmla="*/ 0 h 895415"/>
              <a:gd name="connsiteX1" fmla="*/ 166478 w 998868"/>
              <a:gd name="connsiteY1" fmla="*/ 0 h 895415"/>
              <a:gd name="connsiteX2" fmla="*/ 416195 w 998868"/>
              <a:gd name="connsiteY2" fmla="*/ 0 h 895415"/>
              <a:gd name="connsiteX3" fmla="*/ 998868 w 998868"/>
              <a:gd name="connsiteY3" fmla="*/ 0 h 895415"/>
              <a:gd name="connsiteX4" fmla="*/ 998868 w 998868"/>
              <a:gd name="connsiteY4" fmla="*/ 449681 h 895415"/>
              <a:gd name="connsiteX5" fmla="*/ 998868 w 998868"/>
              <a:gd name="connsiteY5" fmla="*/ 642401 h 895415"/>
              <a:gd name="connsiteX6" fmla="*/ 998868 w 998868"/>
              <a:gd name="connsiteY6" fmla="*/ 770881 h 895415"/>
              <a:gd name="connsiteX7" fmla="*/ 951643 w 998868"/>
              <a:gd name="connsiteY7" fmla="*/ 770881 h 895415"/>
              <a:gd name="connsiteX8" fmla="*/ 945563 w 998868"/>
              <a:gd name="connsiteY8" fmla="*/ 877831 h 895415"/>
              <a:gd name="connsiteX9" fmla="*/ 831314 w 998868"/>
              <a:gd name="connsiteY9" fmla="*/ 770881 h 895415"/>
              <a:gd name="connsiteX10" fmla="*/ 656798 w 998868"/>
              <a:gd name="connsiteY10" fmla="*/ 770881 h 895415"/>
              <a:gd name="connsiteX11" fmla="*/ 598536 w 998868"/>
              <a:gd name="connsiteY11" fmla="*/ 895415 h 895415"/>
              <a:gd name="connsiteX12" fmla="*/ 540275 w 998868"/>
              <a:gd name="connsiteY12" fmla="*/ 770881 h 895415"/>
              <a:gd name="connsiteX13" fmla="*/ 416195 w 998868"/>
              <a:gd name="connsiteY13" fmla="*/ 770881 h 895415"/>
              <a:gd name="connsiteX14" fmla="*/ 282100 w 998868"/>
              <a:gd name="connsiteY14" fmla="*/ 894947 h 895415"/>
              <a:gd name="connsiteX15" fmla="*/ 166478 w 998868"/>
              <a:gd name="connsiteY15" fmla="*/ 770881 h 895415"/>
              <a:gd name="connsiteX16" fmla="*/ 0 w 998868"/>
              <a:gd name="connsiteY16" fmla="*/ 770881 h 895415"/>
              <a:gd name="connsiteX17" fmla="*/ 0 w 998868"/>
              <a:gd name="connsiteY17" fmla="*/ 642401 h 895415"/>
              <a:gd name="connsiteX18" fmla="*/ 0 w 998868"/>
              <a:gd name="connsiteY18" fmla="*/ 449681 h 895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98868" h="895415">
                <a:moveTo>
                  <a:pt x="0" y="0"/>
                </a:moveTo>
                <a:lnTo>
                  <a:pt x="166478" y="0"/>
                </a:lnTo>
                <a:lnTo>
                  <a:pt x="416195" y="0"/>
                </a:lnTo>
                <a:lnTo>
                  <a:pt x="998868" y="0"/>
                </a:lnTo>
                <a:lnTo>
                  <a:pt x="998868" y="449681"/>
                </a:lnTo>
                <a:lnTo>
                  <a:pt x="998868" y="642401"/>
                </a:lnTo>
                <a:lnTo>
                  <a:pt x="998868" y="770881"/>
                </a:lnTo>
                <a:lnTo>
                  <a:pt x="951643" y="770881"/>
                </a:lnTo>
                <a:lnTo>
                  <a:pt x="945563" y="877831"/>
                </a:lnTo>
                <a:lnTo>
                  <a:pt x="831314" y="770881"/>
                </a:lnTo>
                <a:lnTo>
                  <a:pt x="656798" y="770881"/>
                </a:lnTo>
                <a:lnTo>
                  <a:pt x="598536" y="895415"/>
                </a:lnTo>
                <a:lnTo>
                  <a:pt x="540275" y="770881"/>
                </a:lnTo>
                <a:lnTo>
                  <a:pt x="416195" y="770881"/>
                </a:lnTo>
                <a:lnTo>
                  <a:pt x="282100" y="894947"/>
                </a:lnTo>
                <a:lnTo>
                  <a:pt x="166478" y="770881"/>
                </a:lnTo>
                <a:lnTo>
                  <a:pt x="0" y="770881"/>
                </a:lnTo>
                <a:lnTo>
                  <a:pt x="0" y="642401"/>
                </a:lnTo>
                <a:lnTo>
                  <a:pt x="0" y="449681"/>
                </a:lnTo>
                <a:close/>
              </a:path>
            </a:pathLst>
          </a:cu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r>
              <a:rPr lang="en-GB" sz="900" i="1">
                <a:latin typeface="Trebuchet MS" pitchFamily="34" charset="0"/>
              </a:rPr>
              <a:t> Excluding the BPO part on three contracts in 2017 (€0,72m), 2018 (€0,95m) and 2019 (€0,73m)</a:t>
            </a:r>
          </a:p>
        </p:txBody>
      </p:sp>
    </p:spTree>
    <p:extLst>
      <p:ext uri="{BB962C8B-B14F-4D97-AF65-F5344CB8AC3E}">
        <p14:creationId xmlns:p14="http://schemas.microsoft.com/office/powerpoint/2010/main" val="3180225553"/>
      </p:ext>
    </p:extLst>
  </p:cSld>
  <p:clrMapOvr>
    <a:masterClrMapping/>
  </p:clrMapOvr>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7ECA7587-5D4D-4C77-BC7A-FBCB26E9B679}"/>
              </a:ext>
            </a:extLst>
          </p:cNvPr>
          <p:cNvGraphicFramePr>
            <a:graphicFrameLocks noChangeAspect="1"/>
          </p:cNvGraphicFramePr>
          <p:nvPr>
            <p:custDataLst>
              <p:tags r:id="rId1"/>
            </p:custDataLst>
            <p:extLst>
              <p:ext uri="{D42A27DB-BD31-4B8C-83A1-F6EECF244321}">
                <p14:modId xmlns:p14="http://schemas.microsoft.com/office/powerpoint/2010/main" val="1192649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622" imgH="623" progId="TCLayout.ActiveDocument.1">
                  <p:embed/>
                </p:oleObj>
              </mc:Choice>
              <mc:Fallback>
                <p:oleObj name="think-cell Slide" r:id="rId12" imgW="622" imgH="623" progId="TCLayout.ActiveDocument.1">
                  <p:embed/>
                  <p:pic>
                    <p:nvPicPr>
                      <p:cNvPr id="14" name="Objet 13" hidden="1">
                        <a:extLst>
                          <a:ext uri="{FF2B5EF4-FFF2-40B4-BE49-F238E27FC236}">
                            <a16:creationId xmlns:a16="http://schemas.microsoft.com/office/drawing/2014/main" id="{7ECA7587-5D4D-4C77-BC7A-FBCB26E9B679}"/>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D7D998A4-C0A2-4344-97DF-ADA1A0B203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1D825224-5426-45FB-95E4-C5F4C82DBF4A}"/>
              </a:ext>
            </a:extLst>
          </p:cNvPr>
          <p:cNvSpPr>
            <a:spLocks noGrp="1"/>
          </p:cNvSpPr>
          <p:nvPr>
            <p:ph type="title"/>
          </p:nvPr>
        </p:nvSpPr>
        <p:spPr>
          <a:xfrm>
            <a:off x="676664" y="147600"/>
            <a:ext cx="7797689" cy="684000"/>
          </a:xfrm>
        </p:spPr>
        <p:txBody>
          <a:bodyPr/>
          <a:lstStyle/>
          <a:p>
            <a:r>
              <a:rPr lang="en-GB">
                <a:latin typeface="Trebuchet MS" pitchFamily="34" charset="0"/>
              </a:rPr>
              <a:t>The c</a:t>
            </a:r>
            <a:r>
              <a:rPr lang="en-GB" sz="1600">
                <a:latin typeface="Trebuchet MS" pitchFamily="34" charset="0"/>
              </a:rPr>
              <a:t>ompliance market will structurally drive </a:t>
            </a:r>
            <a:r>
              <a:rPr lang="en-GB" sz="1600" err="1">
                <a:latin typeface="Trebuchet MS" pitchFamily="34" charset="0"/>
              </a:rPr>
              <a:t>Altares</a:t>
            </a:r>
            <a:r>
              <a:rPr lang="en-GB" sz="1600">
                <a:latin typeface="Trebuchet MS" pitchFamily="34" charset="0"/>
              </a:rPr>
              <a:t> future growth in France and Benelux thanks to the </a:t>
            </a:r>
            <a:r>
              <a:rPr lang="en-GB" sz="1600">
                <a:solidFill>
                  <a:schemeClr val="tx2"/>
                </a:solidFill>
                <a:latin typeface="Trebuchet MS" pitchFamily="34" charset="0"/>
              </a:rPr>
              <a:t>increasing maturity </a:t>
            </a:r>
            <a:r>
              <a:rPr lang="en-GB" sz="1600">
                <a:latin typeface="Trebuchet MS" pitchFamily="34" charset="0"/>
              </a:rPr>
              <a:t>of customers driving </a:t>
            </a:r>
            <a:r>
              <a:rPr lang="en-GB" sz="1600">
                <a:solidFill>
                  <a:schemeClr val="tx2"/>
                </a:solidFill>
                <a:latin typeface="Trebuchet MS" pitchFamily="34" charset="0"/>
              </a:rPr>
              <a:t>higher equipment rate</a:t>
            </a:r>
            <a:br>
              <a:rPr lang="en-GB" sz="1600">
                <a:solidFill>
                  <a:schemeClr val="tx2"/>
                </a:solidFill>
                <a:latin typeface="Trebuchet MS" pitchFamily="34" charset="0"/>
              </a:rPr>
            </a:br>
            <a:endParaRPr lang="en-GB" sz="1600">
              <a:latin typeface="Trebuchet MS" pitchFamily="34" charset="0"/>
            </a:endParaRPr>
          </a:p>
        </p:txBody>
      </p:sp>
      <p:sp>
        <p:nvSpPr>
          <p:cNvPr id="3" name="Espace réservé du texte 2">
            <a:extLst>
              <a:ext uri="{FF2B5EF4-FFF2-40B4-BE49-F238E27FC236}">
                <a16:creationId xmlns:a16="http://schemas.microsoft.com/office/drawing/2014/main" id="{E5010DA3-233A-4C0B-9142-F7481F6191F9}"/>
              </a:ext>
            </a:extLst>
          </p:cNvPr>
          <p:cNvSpPr>
            <a:spLocks noGrp="1"/>
          </p:cNvSpPr>
          <p:nvPr>
            <p:ph type="body" sz="quarter" idx="10"/>
          </p:nvPr>
        </p:nvSpPr>
        <p:spPr/>
        <p:txBody>
          <a:bodyPr/>
          <a:lstStyle/>
          <a:p>
            <a:r>
              <a:rPr lang="en-GB"/>
              <a:t>Sources: eleven research &amp; analysis, company data, interviews with management</a:t>
            </a:r>
          </a:p>
        </p:txBody>
      </p:sp>
      <p:grpSp>
        <p:nvGrpSpPr>
          <p:cNvPr id="15" name="Groupe 14">
            <a:extLst>
              <a:ext uri="{FF2B5EF4-FFF2-40B4-BE49-F238E27FC236}">
                <a16:creationId xmlns:a16="http://schemas.microsoft.com/office/drawing/2014/main" id="{C88EAA25-C61C-4E24-AB02-2694B4B3F4B9}"/>
              </a:ext>
            </a:extLst>
          </p:cNvPr>
          <p:cNvGrpSpPr/>
          <p:nvPr/>
        </p:nvGrpSpPr>
        <p:grpSpPr>
          <a:xfrm>
            <a:off x="362696" y="193602"/>
            <a:ext cx="222565" cy="276999"/>
            <a:chOff x="3409503" y="1194238"/>
            <a:chExt cx="269305" cy="368686"/>
          </a:xfrm>
        </p:grpSpPr>
        <p:sp>
          <p:nvSpPr>
            <p:cNvPr id="16" name="Ellipse 15">
              <a:extLst>
                <a:ext uri="{FF2B5EF4-FFF2-40B4-BE49-F238E27FC236}">
                  <a16:creationId xmlns:a16="http://schemas.microsoft.com/office/drawing/2014/main" id="{C559AF43-BD4F-4D4D-B32D-CC291C49FEA2}"/>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7" name="ZoneTexte 16">
              <a:extLst>
                <a:ext uri="{FF2B5EF4-FFF2-40B4-BE49-F238E27FC236}">
                  <a16:creationId xmlns:a16="http://schemas.microsoft.com/office/drawing/2014/main" id="{85D65150-60A3-4C47-88CD-107E3DDF8567}"/>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1</a:t>
              </a:r>
            </a:p>
          </p:txBody>
        </p:sp>
      </p:grpSp>
      <p:sp>
        <p:nvSpPr>
          <p:cNvPr id="18" name="Rectangle 17">
            <a:extLst>
              <a:ext uri="{FF2B5EF4-FFF2-40B4-BE49-F238E27FC236}">
                <a16:creationId xmlns:a16="http://schemas.microsoft.com/office/drawing/2014/main" id="{FF2A3E71-F790-43F9-895F-DA4FB88A640C}"/>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B</a:t>
            </a:r>
          </a:p>
        </p:txBody>
      </p:sp>
      <p:sp>
        <p:nvSpPr>
          <p:cNvPr id="19" name="Rectangle 18">
            <a:extLst>
              <a:ext uri="{FF2B5EF4-FFF2-40B4-BE49-F238E27FC236}">
                <a16:creationId xmlns:a16="http://schemas.microsoft.com/office/drawing/2014/main" id="{02B34D9D-CAB9-4FC1-90D5-197DB49855F0}"/>
              </a:ext>
            </a:extLst>
          </p:cNvPr>
          <p:cNvSpPr/>
          <p:nvPr/>
        </p:nvSpPr>
        <p:spPr bwMode="auto">
          <a:xfrm>
            <a:off x="141716" y="1265382"/>
            <a:ext cx="6822502" cy="51622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 name="Rectangle 20">
            <a:extLst>
              <a:ext uri="{FF2B5EF4-FFF2-40B4-BE49-F238E27FC236}">
                <a16:creationId xmlns:a16="http://schemas.microsoft.com/office/drawing/2014/main" id="{F639CB13-89E0-4076-8B02-146C16F07D20}"/>
              </a:ext>
            </a:extLst>
          </p:cNvPr>
          <p:cNvSpPr/>
          <p:nvPr/>
        </p:nvSpPr>
        <p:spPr bwMode="auto">
          <a:xfrm>
            <a:off x="7128636" y="1232547"/>
            <a:ext cx="2665061" cy="516224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just">
              <a:lnSpc>
                <a:spcPct val="107000"/>
              </a:lnSpc>
              <a:spcAft>
                <a:spcPts val="600"/>
              </a:spcAft>
              <a:buClr>
                <a:schemeClr val="tx1"/>
              </a:buClr>
            </a:pPr>
            <a:r>
              <a:rPr lang="en-GB" sz="1000">
                <a:effectLst/>
                <a:latin typeface="Trebuchet MS" panose="020B0603020202020204" pitchFamily="34" charset="0"/>
                <a:ea typeface="Calibri" panose="020F0502020204030204" pitchFamily="34" charset="0"/>
                <a:cs typeface="Arial" panose="020B0604020202020204" pitchFamily="34" charset="0"/>
              </a:rPr>
              <a:t>Favourable market trends and the expert positioning of </a:t>
            </a:r>
            <a:r>
              <a:rPr lang="en-GB" sz="1000" err="1">
                <a:effectLst/>
                <a:latin typeface="Trebuchet MS" panose="020B0603020202020204" pitchFamily="34" charset="0"/>
                <a:ea typeface="Calibri" panose="020F0502020204030204" pitchFamily="34" charset="0"/>
                <a:cs typeface="Arial" panose="020B0604020202020204" pitchFamily="34" charset="0"/>
              </a:rPr>
              <a:t>Altares</a:t>
            </a:r>
            <a:r>
              <a:rPr lang="en-GB" sz="1000">
                <a:effectLst/>
                <a:latin typeface="Trebuchet MS" panose="020B0603020202020204" pitchFamily="34" charset="0"/>
                <a:ea typeface="Calibri" panose="020F0502020204030204" pitchFamily="34" charset="0"/>
                <a:cs typeface="Arial" panose="020B0604020202020204" pitchFamily="34" charset="0"/>
              </a:rPr>
              <a:t> will drive growth:</a:t>
            </a:r>
          </a:p>
          <a:p>
            <a:pPr marL="342900" lvl="0" indent="-342900" algn="just">
              <a:lnSpc>
                <a:spcPct val="107000"/>
              </a:lnSpc>
              <a:spcAft>
                <a:spcPts val="600"/>
              </a:spcAft>
              <a:buClr>
                <a:schemeClr val="tx1"/>
              </a:buClr>
              <a:buFont typeface="+mj-lt"/>
              <a:buAutoNum type="arabicPeriod"/>
            </a:pP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Fast-growing compliance market </a:t>
            </a:r>
            <a:r>
              <a:rPr lang="en-GB" sz="1000">
                <a:effectLst/>
                <a:latin typeface="Trebuchet MS" panose="020B0603020202020204" pitchFamily="34" charset="0"/>
                <a:ea typeface="Calibri" panose="020F0502020204030204" pitchFamily="34" charset="0"/>
                <a:cs typeface="Arial" panose="020B0604020202020204" pitchFamily="34" charset="0"/>
              </a:rPr>
              <a:t>in France and Benelux with strong underlying market drivers (e.g. pressure on regulation, reputation risk) </a:t>
            </a:r>
          </a:p>
          <a:p>
            <a:pPr marL="742950" lvl="1" indent="-285750" algn="just">
              <a:lnSpc>
                <a:spcPct val="107000"/>
              </a:lnSpc>
              <a:spcAft>
                <a:spcPts val="600"/>
              </a:spcAft>
              <a:buClr>
                <a:schemeClr val="tx1"/>
              </a:buClr>
              <a:buFont typeface="Courier New" panose="02070309020205020404" pitchFamily="49" charset="0"/>
              <a:buChar char="o"/>
            </a:pP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First mover advantage </a:t>
            </a:r>
            <a:r>
              <a:rPr lang="en-GB" sz="1000">
                <a:effectLst/>
                <a:latin typeface="Trebuchet MS" panose="020B0603020202020204" pitchFamily="34" charset="0"/>
                <a:ea typeface="Calibri" panose="020F0502020204030204" pitchFamily="34" charset="0"/>
                <a:cs typeface="Arial" panose="020B0604020202020204" pitchFamily="34" charset="0"/>
              </a:rPr>
              <a:t>with major product innovation on </a:t>
            </a:r>
            <a:r>
              <a:rPr lang="en-GB" sz="1000" err="1">
                <a:effectLst/>
                <a:latin typeface="Trebuchet MS" panose="020B0603020202020204" pitchFamily="34" charset="0"/>
                <a:ea typeface="Calibri" panose="020F0502020204030204" pitchFamily="34" charset="0"/>
                <a:cs typeface="Arial" panose="020B0604020202020204" pitchFamily="34" charset="0"/>
              </a:rPr>
              <a:t>Altares</a:t>
            </a:r>
            <a:r>
              <a:rPr lang="en-GB" sz="1000">
                <a:effectLst/>
                <a:latin typeface="Trebuchet MS" panose="020B0603020202020204" pitchFamily="34" charset="0"/>
                <a:ea typeface="Calibri" panose="020F0502020204030204" pitchFamily="34" charset="0"/>
                <a:cs typeface="Arial" panose="020B0604020202020204" pitchFamily="34" charset="0"/>
              </a:rPr>
              <a:t> proprietary product </a:t>
            </a:r>
            <a:r>
              <a:rPr lang="en-GB" sz="1000" err="1">
                <a:effectLst/>
                <a:latin typeface="Trebuchet MS" panose="020B0603020202020204" pitchFamily="34" charset="0"/>
                <a:ea typeface="Calibri" panose="020F0502020204030204" pitchFamily="34" charset="0"/>
                <a:cs typeface="Arial" panose="020B0604020202020204" pitchFamily="34" charset="0"/>
              </a:rPr>
              <a:t>indueD</a:t>
            </a:r>
            <a:endParaRPr lang="en-GB" sz="1000">
              <a:effectLst/>
              <a:latin typeface="Trebuchet MS" panose="020B0603020202020204" pitchFamily="34" charset="0"/>
              <a:ea typeface="Calibri" panose="020F0502020204030204" pitchFamily="34" charset="0"/>
              <a:cs typeface="Arial" panose="020B0604020202020204" pitchFamily="34" charset="0"/>
            </a:endParaRPr>
          </a:p>
          <a:p>
            <a:pPr marL="742950" lvl="1" indent="-285750" algn="just">
              <a:lnSpc>
                <a:spcPct val="107000"/>
              </a:lnSpc>
              <a:spcAft>
                <a:spcPts val="0"/>
              </a:spcAft>
              <a:buClr>
                <a:schemeClr val="tx1"/>
              </a:buClr>
              <a:buFont typeface="Courier New" panose="02070309020205020404" pitchFamily="49" charset="0"/>
              <a:buChar char="o"/>
            </a:pPr>
            <a:r>
              <a:rPr lang="en-GB" sz="1000">
                <a:solidFill>
                  <a:schemeClr val="tx2"/>
                </a:solidFill>
                <a:latin typeface="Trebuchet MS" panose="020B0603020202020204" pitchFamily="34" charset="0"/>
                <a:ea typeface="Calibri" panose="020F0502020204030204" pitchFamily="34" charset="0"/>
              </a:rPr>
              <a:t>No direct competition </a:t>
            </a:r>
            <a:r>
              <a:rPr lang="en-GB" sz="1000">
                <a:latin typeface="Trebuchet MS" panose="020B0603020202020204" pitchFamily="34" charset="0"/>
                <a:ea typeface="Calibri" panose="020F0502020204030204" pitchFamily="34" charset="0"/>
              </a:rPr>
              <a:t>on anti-corruption solutions</a:t>
            </a:r>
            <a:endParaRPr lang="en-GB" sz="1000">
              <a:effectLst/>
              <a:latin typeface="Trebuchet MS" panose="020B0603020202020204" pitchFamily="34" charset="0"/>
              <a:ea typeface="Calibri" panose="020F0502020204030204" pitchFamily="34" charset="0"/>
              <a:cs typeface="Arial" panose="020B0604020202020204" pitchFamily="34" charset="0"/>
            </a:endParaRPr>
          </a:p>
          <a:p>
            <a:pPr marL="742950" lvl="1" indent="-285750" algn="just">
              <a:lnSpc>
                <a:spcPct val="107000"/>
              </a:lnSpc>
              <a:spcAft>
                <a:spcPts val="0"/>
              </a:spcAft>
              <a:buClr>
                <a:schemeClr val="tx1"/>
              </a:buClr>
              <a:buFont typeface="Courier New" panose="02070309020205020404" pitchFamily="49" charset="0"/>
              <a:buChar char="o"/>
            </a:pPr>
            <a:endPar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endParaRPr>
          </a:p>
          <a:p>
            <a:pPr marL="342900" lvl="0" indent="-342900" algn="just">
              <a:lnSpc>
                <a:spcPct val="107000"/>
              </a:lnSpc>
              <a:spcAft>
                <a:spcPts val="0"/>
              </a:spcAft>
              <a:buClr>
                <a:schemeClr val="tx1"/>
              </a:buClr>
              <a:buFont typeface="+mj-lt"/>
              <a:buAutoNum type="arabicPeriod"/>
            </a:pP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Major marketing push </a:t>
            </a:r>
            <a:r>
              <a:rPr lang="en-GB" sz="1000">
                <a:effectLst/>
                <a:latin typeface="Trebuchet MS" panose="020B0603020202020204" pitchFamily="34" charset="0"/>
                <a:ea typeface="Calibri" panose="020F0502020204030204" pitchFamily="34" charset="0"/>
                <a:cs typeface="Arial" panose="020B0604020202020204" pitchFamily="34" charset="0"/>
              </a:rPr>
              <a:t>(event </a:t>
            </a:r>
            <a:r>
              <a:rPr lang="en-GB" sz="1000">
                <a:latin typeface="Trebuchet MS" panose="020B0603020202020204" pitchFamily="34" charset="0"/>
                <a:ea typeface="Calibri" panose="020F0502020204030204" pitchFamily="34" charset="0"/>
              </a:rPr>
              <a:t>wi</a:t>
            </a:r>
            <a:r>
              <a:rPr lang="en-GB" sz="1000">
                <a:effectLst/>
                <a:latin typeface="Trebuchet MS" panose="020B0603020202020204" pitchFamily="34" charset="0"/>
                <a:ea typeface="Calibri" panose="020F0502020204030204" pitchFamily="34" charset="0"/>
                <a:cs typeface="Arial" panose="020B0604020202020204" pitchFamily="34" charset="0"/>
              </a:rPr>
              <a:t>th Michel </a:t>
            </a:r>
            <a:r>
              <a:rPr lang="en-GB" sz="1000" err="1">
                <a:effectLst/>
                <a:latin typeface="Trebuchet MS" panose="020B0603020202020204" pitchFamily="34" charset="0"/>
                <a:ea typeface="Calibri" panose="020F0502020204030204" pitchFamily="34" charset="0"/>
                <a:cs typeface="Arial" panose="020B0604020202020204" pitchFamily="34" charset="0"/>
              </a:rPr>
              <a:t>Sapin</a:t>
            </a:r>
            <a:r>
              <a:rPr lang="en-GB" sz="1000">
                <a:effectLst/>
                <a:latin typeface="Trebuchet MS" panose="020B0603020202020204" pitchFamily="34" charset="0"/>
                <a:ea typeface="Calibri" panose="020F0502020204030204" pitchFamily="34" charset="0"/>
                <a:cs typeface="Arial" panose="020B0604020202020204" pitchFamily="34" charset="0"/>
              </a:rPr>
              <a:t>, Customer Advisory Boards…) to increase visibility and enhance </a:t>
            </a:r>
            <a:r>
              <a:rPr lang="en-GB" sz="1000" err="1">
                <a:effectLst/>
                <a:latin typeface="Trebuchet MS" panose="020B0603020202020204" pitchFamily="34" charset="0"/>
                <a:ea typeface="Calibri" panose="020F0502020204030204" pitchFamily="34" charset="0"/>
                <a:cs typeface="Arial" panose="020B0604020202020204" pitchFamily="34" charset="0"/>
              </a:rPr>
              <a:t>Altares</a:t>
            </a:r>
            <a:r>
              <a:rPr lang="en-GB" sz="1000">
                <a:effectLst/>
                <a:latin typeface="Trebuchet MS" panose="020B0603020202020204" pitchFamily="34" charset="0"/>
                <a:ea typeface="Calibri" panose="020F0502020204030204" pitchFamily="34" charset="0"/>
                <a:cs typeface="Arial" panose="020B0604020202020204" pitchFamily="34" charset="0"/>
              </a:rPr>
              <a:t>’ positioning as a </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Compliance expert</a:t>
            </a:r>
          </a:p>
          <a:p>
            <a:pPr marL="342900" lvl="0" indent="-342900" algn="just">
              <a:lnSpc>
                <a:spcPct val="107000"/>
              </a:lnSpc>
              <a:spcAft>
                <a:spcPts val="0"/>
              </a:spcAft>
              <a:buClr>
                <a:schemeClr val="tx1"/>
              </a:buClr>
              <a:buFont typeface="+mj-lt"/>
              <a:buAutoNum type="arabicPeriod"/>
            </a:pPr>
            <a:endParaRPr lang="en-GB" sz="1000">
              <a:latin typeface="Trebuchet MS" panose="020B0603020202020204" pitchFamily="34" charset="0"/>
              <a:ea typeface="Calibri" panose="020F0502020204030204" pitchFamily="34" charset="0"/>
            </a:endParaRPr>
          </a:p>
          <a:p>
            <a:pPr marL="342900" lvl="0" indent="-342900" algn="just">
              <a:lnSpc>
                <a:spcPct val="107000"/>
              </a:lnSpc>
              <a:spcAft>
                <a:spcPts val="0"/>
              </a:spcAft>
              <a:buClr>
                <a:schemeClr val="tx1"/>
              </a:buClr>
              <a:buFont typeface="+mj-lt"/>
              <a:buAutoNum type="arabicPeriod"/>
            </a:pPr>
            <a:endParaRPr lang="en-GB" sz="1000">
              <a:effectLst/>
              <a:latin typeface="Trebuchet MS" panose="020B0603020202020204" pitchFamily="34" charset="0"/>
              <a:ea typeface="Calibri" panose="020F0502020204030204" pitchFamily="34" charset="0"/>
              <a:cs typeface="Arial" panose="020B0604020202020204" pitchFamily="34" charset="0"/>
            </a:endParaRPr>
          </a:p>
          <a:p>
            <a:pPr marL="342900" lvl="0" indent="-342900" algn="just">
              <a:lnSpc>
                <a:spcPct val="107000"/>
              </a:lnSpc>
              <a:spcAft>
                <a:spcPts val="0"/>
              </a:spcAft>
              <a:buClr>
                <a:schemeClr val="tx1"/>
              </a:buClr>
              <a:buFont typeface="+mj-lt"/>
              <a:buAutoNum type="arabicPeriod"/>
            </a:pPr>
            <a:endParaRPr lang="en-GB" sz="1000">
              <a:latin typeface="Trebuchet MS" panose="020B0603020202020204" pitchFamily="34" charset="0"/>
              <a:ea typeface="Calibri" panose="020F0502020204030204" pitchFamily="34" charset="0"/>
            </a:endParaRPr>
          </a:p>
          <a:p>
            <a:pPr marL="342900" lvl="0" indent="-342900" algn="just">
              <a:lnSpc>
                <a:spcPct val="107000"/>
              </a:lnSpc>
              <a:spcAft>
                <a:spcPts val="0"/>
              </a:spcAft>
              <a:buClr>
                <a:schemeClr val="tx1"/>
              </a:buClr>
              <a:buFont typeface="+mj-lt"/>
              <a:buAutoNum type="arabicPeriod"/>
            </a:pPr>
            <a:endParaRPr lang="en-GB" sz="1000">
              <a:effectLst/>
              <a:latin typeface="Trebuchet MS" panose="020B0603020202020204" pitchFamily="34" charset="0"/>
              <a:ea typeface="Calibri" panose="020F0502020204030204" pitchFamily="34" charset="0"/>
              <a:cs typeface="Arial" panose="020B0604020202020204" pitchFamily="34" charset="0"/>
            </a:endParaRPr>
          </a:p>
          <a:p>
            <a:pPr marL="342900" lvl="0" indent="-342900" algn="just">
              <a:lnSpc>
                <a:spcPct val="107000"/>
              </a:lnSpc>
              <a:spcAft>
                <a:spcPts val="0"/>
              </a:spcAft>
              <a:buClr>
                <a:schemeClr val="tx1"/>
              </a:buClr>
              <a:buFont typeface="+mj-lt"/>
              <a:buAutoNum type="arabicPeriod"/>
            </a:pPr>
            <a:endParaRPr lang="en-GB" sz="1000">
              <a:latin typeface="Trebuchet MS" panose="020B0603020202020204" pitchFamily="34" charset="0"/>
              <a:ea typeface="Calibri" panose="020F0502020204030204" pitchFamily="34" charset="0"/>
            </a:endParaRPr>
          </a:p>
          <a:p>
            <a:pPr marL="342900" indent="-342900" algn="just">
              <a:lnSpc>
                <a:spcPct val="107000"/>
              </a:lnSpc>
              <a:spcAft>
                <a:spcPts val="0"/>
              </a:spcAft>
              <a:buClr>
                <a:schemeClr val="tx1"/>
              </a:buClr>
              <a:buFont typeface="+mj-lt"/>
              <a:buAutoNum type="arabicPeriod"/>
            </a:pPr>
            <a:r>
              <a:rPr lang="en-GB" sz="1000">
                <a:latin typeface="Trebuchet MS" panose="020B0603020202020204" pitchFamily="34" charset="0"/>
              </a:rPr>
              <a:t>Relationship development with </a:t>
            </a:r>
            <a:r>
              <a:rPr lang="en-GB" sz="1000">
                <a:solidFill>
                  <a:schemeClr val="tx2"/>
                </a:solidFill>
                <a:latin typeface="Trebuchet MS" panose="020B0603020202020204" pitchFamily="34" charset="0"/>
              </a:rPr>
              <a:t>professional federations </a:t>
            </a:r>
            <a:r>
              <a:rPr lang="en-GB" sz="1000">
                <a:latin typeface="Trebuchet MS" panose="020B0603020202020204" pitchFamily="34" charset="0"/>
              </a:rPr>
              <a:t>in order to cultivate the </a:t>
            </a:r>
            <a:r>
              <a:rPr lang="en-GB" sz="1000">
                <a:solidFill>
                  <a:schemeClr val="tx2"/>
                </a:solidFill>
                <a:latin typeface="Trebuchet MS" panose="020B0603020202020204" pitchFamily="34" charset="0"/>
              </a:rPr>
              <a:t>prescribers' network</a:t>
            </a:r>
          </a:p>
          <a:p>
            <a:pPr lvl="0" algn="just">
              <a:lnSpc>
                <a:spcPct val="107000"/>
              </a:lnSpc>
              <a:spcAft>
                <a:spcPts val="0"/>
              </a:spcAft>
              <a:buClr>
                <a:schemeClr val="tx1"/>
              </a:buClr>
            </a:pPr>
            <a:endParaRPr lang="en-GB" sz="1000">
              <a:effectLst/>
              <a:latin typeface="Trebuchet MS" panose="020B0603020202020204" pitchFamily="34" charset="0"/>
              <a:ea typeface="Calibri" panose="020F0502020204030204" pitchFamily="34" charset="0"/>
              <a:cs typeface="Arial" panose="020B0604020202020204" pitchFamily="34" charset="0"/>
            </a:endParaRPr>
          </a:p>
          <a:p>
            <a:pPr lvl="0">
              <a:lnSpc>
                <a:spcPct val="107000"/>
              </a:lnSpc>
              <a:spcAft>
                <a:spcPts val="0"/>
              </a:spcAft>
            </a:pPr>
            <a:endParaRPr lang="en-GB" sz="1000">
              <a:effectLst/>
              <a:latin typeface="Trebuchet MS" panose="020B0603020202020204" pitchFamily="34" charset="0"/>
              <a:ea typeface="Calibri" panose="020F0502020204030204" pitchFamily="34" charset="0"/>
              <a:cs typeface="Arial" panose="020B0604020202020204" pitchFamily="34" charset="0"/>
            </a:endParaRPr>
          </a:p>
        </p:txBody>
      </p:sp>
      <p:cxnSp>
        <p:nvCxnSpPr>
          <p:cNvPr id="22" name="Connecteur droit 4">
            <a:extLst>
              <a:ext uri="{FF2B5EF4-FFF2-40B4-BE49-F238E27FC236}">
                <a16:creationId xmlns:a16="http://schemas.microsoft.com/office/drawing/2014/main" id="{925D240D-441E-4F67-86A3-9D03E56AB034}"/>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3" name="TextBox 30">
            <a:extLst>
              <a:ext uri="{FF2B5EF4-FFF2-40B4-BE49-F238E27FC236}">
                <a16:creationId xmlns:a16="http://schemas.microsoft.com/office/drawing/2014/main" id="{D037B4D8-E38E-4A63-A9F9-F205C8EB8855}"/>
              </a:ext>
            </a:extLst>
          </p:cNvPr>
          <p:cNvSpPr txBox="1"/>
          <p:nvPr/>
        </p:nvSpPr>
        <p:spPr>
          <a:xfrm>
            <a:off x="3766867" y="989495"/>
            <a:ext cx="2372267" cy="246221"/>
          </a:xfrm>
          <a:prstGeom prst="rect">
            <a:avLst/>
          </a:prstGeom>
          <a:solidFill>
            <a:schemeClr val="bg1"/>
          </a:solidFill>
        </p:spPr>
        <p:txBody>
          <a:bodyPr wrap="square" lIns="0" rIns="0" rtlCol="0">
            <a:spAutoFit/>
          </a:bodyPr>
          <a:lstStyle/>
          <a:p>
            <a:pPr algn="ctr">
              <a:defRPr/>
            </a:pPr>
            <a:r>
              <a:rPr kumimoji="0" lang="en-GB" sz="1000" b="1" i="1" u="none" strike="noStrike" kern="1200" cap="none" spc="0" normalizeH="0" baseline="0" noProof="0">
                <a:ln>
                  <a:noFill/>
                </a:ln>
                <a:effectLst/>
                <a:uLnTx/>
                <a:uFillTx/>
                <a:latin typeface="Trebuchet MS" panose="020B0603020202020204" pitchFamily="34" charset="0"/>
              </a:rPr>
              <a:t>Growing compliance market  </a:t>
            </a:r>
          </a:p>
        </p:txBody>
      </p:sp>
      <p:sp>
        <p:nvSpPr>
          <p:cNvPr id="41" name="Rectangle : coins arrondis 199">
            <a:extLst>
              <a:ext uri="{FF2B5EF4-FFF2-40B4-BE49-F238E27FC236}">
                <a16:creationId xmlns:a16="http://schemas.microsoft.com/office/drawing/2014/main" id="{57FAD347-7765-4AC9-AAFB-71F4E269516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2" name="Rectangle : coins arrondis 200">
            <a:extLst>
              <a:ext uri="{FF2B5EF4-FFF2-40B4-BE49-F238E27FC236}">
                <a16:creationId xmlns:a16="http://schemas.microsoft.com/office/drawing/2014/main" id="{5F629B99-01EE-46E7-8762-68B039E51D99}"/>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3" name="Rectangle : coins arrondis 201">
            <a:extLst>
              <a:ext uri="{FF2B5EF4-FFF2-40B4-BE49-F238E27FC236}">
                <a16:creationId xmlns:a16="http://schemas.microsoft.com/office/drawing/2014/main" id="{9765D66E-D23C-4481-AEBA-6839A65505B8}"/>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4" name="ZoneTexte 18">
            <a:extLst>
              <a:ext uri="{FF2B5EF4-FFF2-40B4-BE49-F238E27FC236}">
                <a16:creationId xmlns:a16="http://schemas.microsoft.com/office/drawing/2014/main" id="{9D5C9C2E-8965-4D28-8000-7B0F61B23A99}"/>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future growth</a:t>
            </a:r>
          </a:p>
        </p:txBody>
      </p:sp>
      <p:pic>
        <p:nvPicPr>
          <p:cNvPr id="45" name="Graphique 128" descr="Jauge">
            <a:extLst>
              <a:ext uri="{FF2B5EF4-FFF2-40B4-BE49-F238E27FC236}">
                <a16:creationId xmlns:a16="http://schemas.microsoft.com/office/drawing/2014/main" id="{6FD2717A-21C9-43E4-BB47-5B5B23DA0A7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553764" y="187516"/>
            <a:ext cx="234953" cy="218224"/>
          </a:xfrm>
          <a:prstGeom prst="rect">
            <a:avLst/>
          </a:prstGeom>
          <a:effectLst/>
        </p:spPr>
      </p:pic>
      <p:pic>
        <p:nvPicPr>
          <p:cNvPr id="46" name="Graphique 90" descr="Poignée de main">
            <a:extLst>
              <a:ext uri="{FF2B5EF4-FFF2-40B4-BE49-F238E27FC236}">
                <a16:creationId xmlns:a16="http://schemas.microsoft.com/office/drawing/2014/main" id="{5FB7D681-934B-422C-9D8D-85C4A9F03CF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960868" y="152880"/>
            <a:ext cx="256313" cy="287496"/>
          </a:xfrm>
          <a:prstGeom prst="rect">
            <a:avLst/>
          </a:prstGeom>
          <a:effectLst/>
        </p:spPr>
      </p:pic>
      <p:pic>
        <p:nvPicPr>
          <p:cNvPr id="47" name="Graphique 74" descr="Mégaphone">
            <a:extLst>
              <a:ext uri="{FF2B5EF4-FFF2-40B4-BE49-F238E27FC236}">
                <a16:creationId xmlns:a16="http://schemas.microsoft.com/office/drawing/2014/main" id="{3E9780D2-3186-466B-A1DB-C6C53CAB39D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389331" y="181519"/>
            <a:ext cx="233011" cy="216420"/>
          </a:xfrm>
          <a:prstGeom prst="rect">
            <a:avLst/>
          </a:prstGeom>
          <a:effectLst/>
        </p:spPr>
      </p:pic>
      <p:pic>
        <p:nvPicPr>
          <p:cNvPr id="48" name="Picture 2" descr="5 ft x 3 ft 150 x 90 cm-DRAPEAU BELGE Belgique 100% Polyester ...">
            <a:extLst>
              <a:ext uri="{FF2B5EF4-FFF2-40B4-BE49-F238E27FC236}">
                <a16:creationId xmlns:a16="http://schemas.microsoft.com/office/drawing/2014/main" id="{30F9A4EB-B624-4B99-9716-188CCE592834}"/>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9" name="Picture 2 - 1" descr="Drapeau des Pays-Bas — Wikipédia">
            <a:extLst>
              <a:ext uri="{FF2B5EF4-FFF2-40B4-BE49-F238E27FC236}">
                <a16:creationId xmlns:a16="http://schemas.microsoft.com/office/drawing/2014/main" id="{95095BDE-CF13-4B47-ABA2-85581DB2262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0" name="Picture 2 - 2" descr="Drapeau du Luxembourg">
            <a:extLst>
              <a:ext uri="{FF2B5EF4-FFF2-40B4-BE49-F238E27FC236}">
                <a16:creationId xmlns:a16="http://schemas.microsoft.com/office/drawing/2014/main" id="{E3883594-4950-4077-A797-029E15708378}"/>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1" name="ZoneTexte 50">
            <a:extLst>
              <a:ext uri="{FF2B5EF4-FFF2-40B4-BE49-F238E27FC236}">
                <a16:creationId xmlns:a16="http://schemas.microsoft.com/office/drawing/2014/main" id="{C53A25D0-CAE9-40B7-A557-D9640482982A}"/>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sp>
        <p:nvSpPr>
          <p:cNvPr id="33" name="Rectangle 32">
            <a:extLst>
              <a:ext uri="{FF2B5EF4-FFF2-40B4-BE49-F238E27FC236}">
                <a16:creationId xmlns:a16="http://schemas.microsoft.com/office/drawing/2014/main" id="{46269B51-26D3-40B3-A2E1-7033585D2220}"/>
              </a:ext>
            </a:extLst>
          </p:cNvPr>
          <p:cNvSpPr/>
          <p:nvPr/>
        </p:nvSpPr>
        <p:spPr bwMode="auto">
          <a:xfrm>
            <a:off x="311210" y="1639892"/>
            <a:ext cx="6342977" cy="312082"/>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r>
              <a:rPr lang="en-GB" sz="1000" b="1" i="1" dirty="0">
                <a:latin typeface="Trebuchet MS" panose="020B0603020202020204" pitchFamily="34" charset="0"/>
              </a:rPr>
              <a:t>Compliance market estimated revenue in France &amp; Benelux</a:t>
            </a:r>
            <a:r>
              <a:rPr lang="en-GB" sz="1000" b="1" i="1" baseline="30000" dirty="0">
                <a:latin typeface="Trebuchet MS" panose="020B0603020202020204" pitchFamily="34" charset="0"/>
              </a:rPr>
              <a:t>, </a:t>
            </a:r>
            <a:r>
              <a:rPr lang="en-GB" sz="1000" b="1" i="1" dirty="0">
                <a:latin typeface="Trebuchet MS" panose="020B0603020202020204" pitchFamily="34" charset="0"/>
              </a:rPr>
              <a:t>€m, </a:t>
            </a:r>
          </a:p>
          <a:p>
            <a:r>
              <a:rPr lang="en-GB" sz="1000" b="1" i="1" dirty="0">
                <a:latin typeface="Trebuchet MS" panose="020B0603020202020204" pitchFamily="34" charset="0"/>
              </a:rPr>
              <a:t>2017-2025F</a:t>
            </a:r>
            <a:endParaRPr lang="en-GB" sz="1000" b="1" i="1" baseline="30000" dirty="0">
              <a:latin typeface="Trebuchet MS" panose="020B0603020202020204" pitchFamily="34" charset="0"/>
            </a:endParaRPr>
          </a:p>
        </p:txBody>
      </p:sp>
      <p:grpSp>
        <p:nvGrpSpPr>
          <p:cNvPr id="34" name="Groupe 33">
            <a:extLst>
              <a:ext uri="{FF2B5EF4-FFF2-40B4-BE49-F238E27FC236}">
                <a16:creationId xmlns:a16="http://schemas.microsoft.com/office/drawing/2014/main" id="{866C2532-4036-42CD-BA36-CDE6F377C9BD}"/>
              </a:ext>
            </a:extLst>
          </p:cNvPr>
          <p:cNvGrpSpPr/>
          <p:nvPr/>
        </p:nvGrpSpPr>
        <p:grpSpPr>
          <a:xfrm>
            <a:off x="311211" y="2137211"/>
            <a:ext cx="6342977" cy="3878578"/>
            <a:chOff x="314967" y="2059297"/>
            <a:chExt cx="4544038" cy="2535239"/>
          </a:xfrm>
        </p:grpSpPr>
        <p:graphicFrame>
          <p:nvGraphicFramePr>
            <p:cNvPr id="35" name="Chart 131">
              <a:extLst>
                <a:ext uri="{FF2B5EF4-FFF2-40B4-BE49-F238E27FC236}">
                  <a16:creationId xmlns:a16="http://schemas.microsoft.com/office/drawing/2014/main" id="{28B071D5-8E79-4885-8170-11C842E8664C}"/>
                </a:ext>
              </a:extLst>
            </p:cNvPr>
            <p:cNvGraphicFramePr/>
            <p:nvPr>
              <p:extLst>
                <p:ext uri="{D42A27DB-BD31-4B8C-83A1-F6EECF244321}">
                  <p14:modId xmlns:p14="http://schemas.microsoft.com/office/powerpoint/2010/main" val="433772431"/>
                </p:ext>
              </p:extLst>
            </p:nvPr>
          </p:nvGraphicFramePr>
          <p:xfrm>
            <a:off x="314967" y="2112736"/>
            <a:ext cx="4544038" cy="2481800"/>
          </p:xfrm>
          <a:graphic>
            <a:graphicData uri="http://schemas.openxmlformats.org/drawingml/2006/chart">
              <c:chart xmlns:c="http://schemas.openxmlformats.org/drawingml/2006/chart" xmlns:r="http://schemas.openxmlformats.org/officeDocument/2006/relationships" r:id="rId23"/>
            </a:graphicData>
          </a:graphic>
        </p:graphicFrame>
        <p:cxnSp>
          <p:nvCxnSpPr>
            <p:cNvPr id="36" name="Straight Connector 133">
              <a:extLst>
                <a:ext uri="{FF2B5EF4-FFF2-40B4-BE49-F238E27FC236}">
                  <a16:creationId xmlns:a16="http://schemas.microsoft.com/office/drawing/2014/main" id="{704C2B73-C11B-41AB-AD0A-3F520634020C}"/>
                </a:ext>
              </a:extLst>
            </p:cNvPr>
            <p:cNvCxnSpPr>
              <a:cxnSpLocks/>
            </p:cNvCxnSpPr>
            <p:nvPr>
              <p:custDataLst>
                <p:tags r:id="rId3"/>
              </p:custDataLst>
            </p:nvPr>
          </p:nvCxnSpPr>
          <p:spPr bwMode="auto">
            <a:xfrm flipV="1">
              <a:off x="435380" y="3077513"/>
              <a:ext cx="538033" cy="149962"/>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37" name="Rectangle 36">
              <a:extLst>
                <a:ext uri="{FF2B5EF4-FFF2-40B4-BE49-F238E27FC236}">
                  <a16:creationId xmlns:a16="http://schemas.microsoft.com/office/drawing/2014/main" id="{FFCFBF4B-B297-42CD-AF01-0F2B619DAB78}"/>
                </a:ext>
              </a:extLst>
            </p:cNvPr>
            <p:cNvSpPr/>
            <p:nvPr/>
          </p:nvSpPr>
          <p:spPr bwMode="auto">
            <a:xfrm>
              <a:off x="482533" y="2832777"/>
              <a:ext cx="377761" cy="298995"/>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28% </a:t>
              </a:r>
            </a:p>
          </p:txBody>
        </p:sp>
        <p:cxnSp>
          <p:nvCxnSpPr>
            <p:cNvPr id="38" name="Straight Connector 133">
              <a:extLst>
                <a:ext uri="{FF2B5EF4-FFF2-40B4-BE49-F238E27FC236}">
                  <a16:creationId xmlns:a16="http://schemas.microsoft.com/office/drawing/2014/main" id="{4AB189EE-81C9-43E0-A828-E9AA890245BA}"/>
                </a:ext>
              </a:extLst>
            </p:cNvPr>
            <p:cNvCxnSpPr>
              <a:cxnSpLocks/>
            </p:cNvCxnSpPr>
            <p:nvPr>
              <p:custDataLst>
                <p:tags r:id="rId4"/>
              </p:custDataLst>
            </p:nvPr>
          </p:nvCxnSpPr>
          <p:spPr bwMode="auto">
            <a:xfrm flipV="1">
              <a:off x="991896" y="2929043"/>
              <a:ext cx="538033" cy="149962"/>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39" name="Rectangle 38">
              <a:extLst>
                <a:ext uri="{FF2B5EF4-FFF2-40B4-BE49-F238E27FC236}">
                  <a16:creationId xmlns:a16="http://schemas.microsoft.com/office/drawing/2014/main" id="{99E8BA8B-15CC-4D91-BD38-321A1C64E16D}"/>
                </a:ext>
              </a:extLst>
            </p:cNvPr>
            <p:cNvSpPr/>
            <p:nvPr/>
          </p:nvSpPr>
          <p:spPr bwMode="auto">
            <a:xfrm>
              <a:off x="1039050" y="2684307"/>
              <a:ext cx="377761" cy="298995"/>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23% </a:t>
              </a:r>
            </a:p>
          </p:txBody>
        </p:sp>
        <p:cxnSp>
          <p:nvCxnSpPr>
            <p:cNvPr id="53" name="Straight Connector 133">
              <a:extLst>
                <a:ext uri="{FF2B5EF4-FFF2-40B4-BE49-F238E27FC236}">
                  <a16:creationId xmlns:a16="http://schemas.microsoft.com/office/drawing/2014/main" id="{494B04D0-A75B-4C11-B7E9-A3095FFF8A10}"/>
                </a:ext>
              </a:extLst>
            </p:cNvPr>
            <p:cNvCxnSpPr>
              <a:cxnSpLocks/>
            </p:cNvCxnSpPr>
            <p:nvPr>
              <p:custDataLst>
                <p:tags r:id="rId5"/>
              </p:custDataLst>
            </p:nvPr>
          </p:nvCxnSpPr>
          <p:spPr bwMode="auto">
            <a:xfrm flipV="1">
              <a:off x="1559723" y="2776552"/>
              <a:ext cx="538033" cy="149962"/>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54" name="Rectangle 53">
              <a:extLst>
                <a:ext uri="{FF2B5EF4-FFF2-40B4-BE49-F238E27FC236}">
                  <a16:creationId xmlns:a16="http://schemas.microsoft.com/office/drawing/2014/main" id="{B3ABAF9E-1740-4923-89B2-48E3F0250F55}"/>
                </a:ext>
              </a:extLst>
            </p:cNvPr>
            <p:cNvSpPr/>
            <p:nvPr/>
          </p:nvSpPr>
          <p:spPr bwMode="auto">
            <a:xfrm>
              <a:off x="1606873" y="2548125"/>
              <a:ext cx="377761" cy="32633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18% </a:t>
              </a:r>
            </a:p>
          </p:txBody>
        </p:sp>
        <p:cxnSp>
          <p:nvCxnSpPr>
            <p:cNvPr id="55" name="Straight Connector 133">
              <a:extLst>
                <a:ext uri="{FF2B5EF4-FFF2-40B4-BE49-F238E27FC236}">
                  <a16:creationId xmlns:a16="http://schemas.microsoft.com/office/drawing/2014/main" id="{0C71CBA3-6E70-4159-B261-3599C450147A}"/>
                </a:ext>
              </a:extLst>
            </p:cNvPr>
            <p:cNvCxnSpPr>
              <a:cxnSpLocks/>
            </p:cNvCxnSpPr>
            <p:nvPr>
              <p:custDataLst>
                <p:tags r:id="rId6"/>
              </p:custDataLst>
            </p:nvPr>
          </p:nvCxnSpPr>
          <p:spPr bwMode="auto">
            <a:xfrm flipV="1">
              <a:off x="2106856" y="2638255"/>
              <a:ext cx="538033" cy="149962"/>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56" name="Rectangle 55">
              <a:extLst>
                <a:ext uri="{FF2B5EF4-FFF2-40B4-BE49-F238E27FC236}">
                  <a16:creationId xmlns:a16="http://schemas.microsoft.com/office/drawing/2014/main" id="{40ACE58A-06ED-4F44-8157-57709BE9391C}"/>
                </a:ext>
              </a:extLst>
            </p:cNvPr>
            <p:cNvSpPr/>
            <p:nvPr/>
          </p:nvSpPr>
          <p:spPr bwMode="auto">
            <a:xfrm>
              <a:off x="2084050" y="2441317"/>
              <a:ext cx="377761" cy="32633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15% </a:t>
              </a:r>
            </a:p>
          </p:txBody>
        </p:sp>
        <p:cxnSp>
          <p:nvCxnSpPr>
            <p:cNvPr id="57" name="Straight Connector 133">
              <a:extLst>
                <a:ext uri="{FF2B5EF4-FFF2-40B4-BE49-F238E27FC236}">
                  <a16:creationId xmlns:a16="http://schemas.microsoft.com/office/drawing/2014/main" id="{D03E4ED2-E971-419F-BE84-3EF2A014A2D1}"/>
                </a:ext>
              </a:extLst>
            </p:cNvPr>
            <p:cNvCxnSpPr>
              <a:cxnSpLocks/>
            </p:cNvCxnSpPr>
            <p:nvPr>
              <p:custDataLst>
                <p:tags r:id="rId7"/>
              </p:custDataLst>
            </p:nvPr>
          </p:nvCxnSpPr>
          <p:spPr bwMode="auto">
            <a:xfrm flipV="1">
              <a:off x="2653432" y="2502918"/>
              <a:ext cx="538033" cy="149962"/>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58" name="Rectangle 57">
              <a:extLst>
                <a:ext uri="{FF2B5EF4-FFF2-40B4-BE49-F238E27FC236}">
                  <a16:creationId xmlns:a16="http://schemas.microsoft.com/office/drawing/2014/main" id="{7E11E29B-5DD9-40FA-A0FC-96F844D91BCE}"/>
                </a:ext>
              </a:extLst>
            </p:cNvPr>
            <p:cNvSpPr/>
            <p:nvPr/>
          </p:nvSpPr>
          <p:spPr bwMode="auto">
            <a:xfrm>
              <a:off x="2630626" y="2305980"/>
              <a:ext cx="377761" cy="32633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12% </a:t>
              </a:r>
            </a:p>
          </p:txBody>
        </p:sp>
        <p:cxnSp>
          <p:nvCxnSpPr>
            <p:cNvPr id="59" name="Straight Connector 133">
              <a:extLst>
                <a:ext uri="{FF2B5EF4-FFF2-40B4-BE49-F238E27FC236}">
                  <a16:creationId xmlns:a16="http://schemas.microsoft.com/office/drawing/2014/main" id="{2FC2262D-D527-4080-83B6-CA95247B38F2}"/>
                </a:ext>
              </a:extLst>
            </p:cNvPr>
            <p:cNvCxnSpPr>
              <a:cxnSpLocks/>
            </p:cNvCxnSpPr>
            <p:nvPr>
              <p:custDataLst>
                <p:tags r:id="rId8"/>
              </p:custDataLst>
            </p:nvPr>
          </p:nvCxnSpPr>
          <p:spPr bwMode="auto">
            <a:xfrm flipV="1">
              <a:off x="3178917" y="2467330"/>
              <a:ext cx="489426" cy="38572"/>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65" name="Rectangle 64">
              <a:extLst>
                <a:ext uri="{FF2B5EF4-FFF2-40B4-BE49-F238E27FC236}">
                  <a16:creationId xmlns:a16="http://schemas.microsoft.com/office/drawing/2014/main" id="{30B6E9F2-DB16-4FA5-BB16-2026361A6DD6}"/>
                </a:ext>
              </a:extLst>
            </p:cNvPr>
            <p:cNvSpPr/>
            <p:nvPr/>
          </p:nvSpPr>
          <p:spPr bwMode="auto">
            <a:xfrm>
              <a:off x="3156110" y="2159002"/>
              <a:ext cx="377761" cy="32633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11% </a:t>
              </a:r>
            </a:p>
          </p:txBody>
        </p:sp>
        <p:cxnSp>
          <p:nvCxnSpPr>
            <p:cNvPr id="66" name="Straight Connector 133">
              <a:extLst>
                <a:ext uri="{FF2B5EF4-FFF2-40B4-BE49-F238E27FC236}">
                  <a16:creationId xmlns:a16="http://schemas.microsoft.com/office/drawing/2014/main" id="{53C43108-B8A6-4D1E-9FE9-FE7C27B80347}"/>
                </a:ext>
              </a:extLst>
            </p:cNvPr>
            <p:cNvCxnSpPr>
              <a:cxnSpLocks/>
            </p:cNvCxnSpPr>
            <p:nvPr>
              <p:custDataLst>
                <p:tags r:id="rId9"/>
              </p:custDataLst>
            </p:nvPr>
          </p:nvCxnSpPr>
          <p:spPr bwMode="auto">
            <a:xfrm flipV="1">
              <a:off x="3685755" y="2355940"/>
              <a:ext cx="530995" cy="111390"/>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67" name="Rectangle 66">
              <a:extLst>
                <a:ext uri="{FF2B5EF4-FFF2-40B4-BE49-F238E27FC236}">
                  <a16:creationId xmlns:a16="http://schemas.microsoft.com/office/drawing/2014/main" id="{3AB6F1A1-AB2E-467B-8143-B7D7E4E59248}"/>
                </a:ext>
              </a:extLst>
            </p:cNvPr>
            <p:cNvSpPr/>
            <p:nvPr/>
          </p:nvSpPr>
          <p:spPr bwMode="auto">
            <a:xfrm>
              <a:off x="3655911" y="2159002"/>
              <a:ext cx="377761" cy="32633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9% </a:t>
              </a:r>
            </a:p>
          </p:txBody>
        </p:sp>
        <p:cxnSp>
          <p:nvCxnSpPr>
            <p:cNvPr id="68" name="Straight Connector 133">
              <a:extLst>
                <a:ext uri="{FF2B5EF4-FFF2-40B4-BE49-F238E27FC236}">
                  <a16:creationId xmlns:a16="http://schemas.microsoft.com/office/drawing/2014/main" id="{930C56AE-5AC4-4304-9EB3-21D213F9317A}"/>
                </a:ext>
              </a:extLst>
            </p:cNvPr>
            <p:cNvCxnSpPr>
              <a:cxnSpLocks/>
            </p:cNvCxnSpPr>
            <p:nvPr>
              <p:custDataLst>
                <p:tags r:id="rId10"/>
              </p:custDataLst>
            </p:nvPr>
          </p:nvCxnSpPr>
          <p:spPr bwMode="auto">
            <a:xfrm flipV="1">
              <a:off x="4195366" y="2214809"/>
              <a:ext cx="499163" cy="152080"/>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69" name="Rectangle 68">
              <a:extLst>
                <a:ext uri="{FF2B5EF4-FFF2-40B4-BE49-F238E27FC236}">
                  <a16:creationId xmlns:a16="http://schemas.microsoft.com/office/drawing/2014/main" id="{DCCE8BF1-3257-4641-94E0-4B4E1A6914F8}"/>
                </a:ext>
              </a:extLst>
            </p:cNvPr>
            <p:cNvSpPr/>
            <p:nvPr/>
          </p:nvSpPr>
          <p:spPr bwMode="auto">
            <a:xfrm>
              <a:off x="4161957" y="2059297"/>
              <a:ext cx="377761" cy="32633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8% </a:t>
              </a:r>
            </a:p>
          </p:txBody>
        </p:sp>
      </p:grpSp>
      <p:pic>
        <p:nvPicPr>
          <p:cNvPr id="70" name="Image 69">
            <a:extLst>
              <a:ext uri="{FF2B5EF4-FFF2-40B4-BE49-F238E27FC236}">
                <a16:creationId xmlns:a16="http://schemas.microsoft.com/office/drawing/2014/main" id="{C47A45D4-AA2B-41FF-9AB3-33D620C91890}"/>
              </a:ext>
            </a:extLst>
          </p:cNvPr>
          <p:cNvPicPr>
            <a:picLocks noChangeAspect="1"/>
          </p:cNvPicPr>
          <p:nvPr/>
        </p:nvPicPr>
        <p:blipFill rotWithShape="1">
          <a:blip r:embed="rId24"/>
          <a:srcRect l="-1" r="2954" b="59890"/>
          <a:stretch/>
        </p:blipFill>
        <p:spPr>
          <a:xfrm>
            <a:off x="7184166" y="4641602"/>
            <a:ext cx="2551210" cy="717870"/>
          </a:xfrm>
          <a:prstGeom prst="rect">
            <a:avLst/>
          </a:prstGeom>
          <a:ln>
            <a:solidFill>
              <a:schemeClr val="tx1">
                <a:lumMod val="20000"/>
                <a:lumOff val="80000"/>
              </a:schemeClr>
            </a:solidFill>
          </a:ln>
          <a:effectLst>
            <a:outerShdw blurRad="50800" dist="38100" dir="2700000" algn="tl" rotWithShape="0">
              <a:prstClr val="black">
                <a:alpha val="40000"/>
              </a:prstClr>
            </a:outerShdw>
          </a:effectLst>
        </p:spPr>
      </p:pic>
      <p:pic>
        <p:nvPicPr>
          <p:cNvPr id="75" name="Picture 16" descr="RÃ©sultat de recherche d'images pour &quot;federation expert comptables&quot;">
            <a:extLst>
              <a:ext uri="{FF2B5EF4-FFF2-40B4-BE49-F238E27FC236}">
                <a16:creationId xmlns:a16="http://schemas.microsoft.com/office/drawing/2014/main" id="{9A161023-38EB-4C3C-85DE-A6974F493BC9}"/>
              </a:ext>
            </a:extLst>
          </p:cNvPr>
          <p:cNvPicPr>
            <a:picLocks noChangeAspect="1" noChangeArrowheads="1"/>
          </p:cNvPicPr>
          <p:nvPr/>
        </p:nvPicPr>
        <p:blipFill>
          <a:blip r:embed="rId2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02916" y="6165780"/>
            <a:ext cx="1256855" cy="165700"/>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6" descr="RÃ©sultat de recherche d'images pour &quot;pwc&quot;">
            <a:extLst>
              <a:ext uri="{FF2B5EF4-FFF2-40B4-BE49-F238E27FC236}">
                <a16:creationId xmlns:a16="http://schemas.microsoft.com/office/drawing/2014/main" id="{29D92E16-C9BF-4350-A68C-3BF04BD13B07}"/>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351722" y="6008991"/>
            <a:ext cx="420712" cy="319418"/>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8" descr="RÃ©sultat de recherche d'images pour &quot;kpmg&quot;">
            <a:extLst>
              <a:ext uri="{FF2B5EF4-FFF2-40B4-BE49-F238E27FC236}">
                <a16:creationId xmlns:a16="http://schemas.microsoft.com/office/drawing/2014/main" id="{4F5F8040-B6E0-498C-89A3-5EE8CCC09715}"/>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8814933" y="5901854"/>
            <a:ext cx="548182" cy="227100"/>
          </a:xfrm>
          <a:prstGeom prst="rect">
            <a:avLst/>
          </a:prstGeom>
          <a:noFill/>
          <a:extLst>
            <a:ext uri="{909E8E84-426E-40DD-AFC4-6F175D3DCCD1}">
              <a14:hiddenFill xmlns:a14="http://schemas.microsoft.com/office/drawing/2010/main">
                <a:solidFill>
                  <a:srgbClr val="FFFFFF"/>
                </a:solidFill>
              </a14:hiddenFill>
            </a:ext>
          </a:extLst>
        </p:spPr>
      </p:pic>
      <p:pic>
        <p:nvPicPr>
          <p:cNvPr id="161794" name="Picture 2" descr="FIGEC Logo">
            <a:extLst>
              <a:ext uri="{FF2B5EF4-FFF2-40B4-BE49-F238E27FC236}">
                <a16:creationId xmlns:a16="http://schemas.microsoft.com/office/drawing/2014/main" id="{1E7CF55D-AAED-4527-9A40-8DAA2FC3545C}"/>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8553764" y="6152999"/>
            <a:ext cx="715627" cy="1860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6291675"/>
      </p:ext>
    </p:extLst>
  </p:cSld>
  <p:clrMapOvr>
    <a:masterClrMapping/>
  </p:clrMapOvr>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7ECA7587-5D4D-4C77-BC7A-FBCB26E9B679}"/>
              </a:ext>
            </a:extLst>
          </p:cNvPr>
          <p:cNvGraphicFramePr>
            <a:graphicFrameLocks noChangeAspect="1"/>
          </p:cNvGraphicFramePr>
          <p:nvPr>
            <p:custDataLst>
              <p:tags r:id="rId1"/>
            </p:custDataLst>
            <p:extLst>
              <p:ext uri="{D42A27DB-BD31-4B8C-83A1-F6EECF244321}">
                <p14:modId xmlns:p14="http://schemas.microsoft.com/office/powerpoint/2010/main" val="3236223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4" name="Objet 13" hidden="1">
                        <a:extLst>
                          <a:ext uri="{FF2B5EF4-FFF2-40B4-BE49-F238E27FC236}">
                            <a16:creationId xmlns:a16="http://schemas.microsoft.com/office/drawing/2014/main" id="{7ECA7587-5D4D-4C77-BC7A-FBCB26E9B6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D7D998A4-C0A2-4344-97DF-ADA1A0B203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1D825224-5426-45FB-95E4-C5F4C82DBF4A}"/>
              </a:ext>
            </a:extLst>
          </p:cNvPr>
          <p:cNvSpPr>
            <a:spLocks noGrp="1"/>
          </p:cNvSpPr>
          <p:nvPr>
            <p:ph type="title"/>
          </p:nvPr>
        </p:nvSpPr>
        <p:spPr>
          <a:xfrm>
            <a:off x="676664" y="147600"/>
            <a:ext cx="7797689" cy="684000"/>
          </a:xfrm>
        </p:spPr>
        <p:txBody>
          <a:bodyPr/>
          <a:lstStyle/>
          <a:p>
            <a:r>
              <a:rPr lang="en-GB" dirty="0" err="1">
                <a:latin typeface="Trebuchet MS" pitchFamily="34" charset="0"/>
              </a:rPr>
              <a:t>Altares</a:t>
            </a:r>
            <a:r>
              <a:rPr lang="en-GB" dirty="0">
                <a:latin typeface="Trebuchet MS" pitchFamily="34" charset="0"/>
              </a:rPr>
              <a:t> p</a:t>
            </a:r>
            <a:r>
              <a:rPr lang="en-GB" sz="1600" dirty="0">
                <a:latin typeface="Trebuchet MS" pitchFamily="34" charset="0"/>
              </a:rPr>
              <a:t>roprietary flagship product (</a:t>
            </a:r>
            <a:r>
              <a:rPr lang="en-GB" sz="1600" dirty="0" err="1">
                <a:latin typeface="Trebuchet MS" pitchFamily="34" charset="0"/>
              </a:rPr>
              <a:t>indueD</a:t>
            </a:r>
            <a:r>
              <a:rPr lang="en-GB" sz="1600" dirty="0">
                <a:latin typeface="Trebuchet MS" pitchFamily="34" charset="0"/>
              </a:rPr>
              <a:t>) will benefit from a </a:t>
            </a:r>
            <a:r>
              <a:rPr lang="en-GB" sz="1600" dirty="0">
                <a:solidFill>
                  <a:schemeClr val="tx2"/>
                </a:solidFill>
                <a:latin typeface="Trebuchet MS" pitchFamily="34" charset="0"/>
              </a:rPr>
              <a:t>strong momentum </a:t>
            </a:r>
            <a:r>
              <a:rPr lang="en-GB" sz="1600" dirty="0">
                <a:latin typeface="Trebuchet MS" pitchFamily="34" charset="0"/>
              </a:rPr>
              <a:t>on the market thanks to </a:t>
            </a:r>
            <a:r>
              <a:rPr lang="en-GB" sz="1600" dirty="0">
                <a:solidFill>
                  <a:schemeClr val="tx2"/>
                </a:solidFill>
                <a:latin typeface="Trebuchet MS" pitchFamily="34" charset="0"/>
              </a:rPr>
              <a:t>significant investment </a:t>
            </a:r>
            <a:r>
              <a:rPr lang="en-GB" sz="1600" dirty="0">
                <a:latin typeface="Trebuchet MS" pitchFamily="34" charset="0"/>
              </a:rPr>
              <a:t>on the product</a:t>
            </a:r>
            <a:br>
              <a:rPr lang="en-GB" sz="1600" dirty="0">
                <a:solidFill>
                  <a:schemeClr val="tx2"/>
                </a:solidFill>
                <a:latin typeface="Trebuchet MS" pitchFamily="34" charset="0"/>
              </a:rPr>
            </a:br>
            <a:endParaRPr lang="en-GB" sz="1600" dirty="0">
              <a:latin typeface="Trebuchet MS" pitchFamily="34" charset="0"/>
            </a:endParaRPr>
          </a:p>
        </p:txBody>
      </p:sp>
      <p:sp>
        <p:nvSpPr>
          <p:cNvPr id="3" name="Espace réservé du texte 2">
            <a:extLst>
              <a:ext uri="{FF2B5EF4-FFF2-40B4-BE49-F238E27FC236}">
                <a16:creationId xmlns:a16="http://schemas.microsoft.com/office/drawing/2014/main" id="{E5010DA3-233A-4C0B-9142-F7481F6191F9}"/>
              </a:ext>
            </a:extLst>
          </p:cNvPr>
          <p:cNvSpPr>
            <a:spLocks noGrp="1"/>
          </p:cNvSpPr>
          <p:nvPr>
            <p:ph type="body" sz="quarter" idx="10"/>
          </p:nvPr>
        </p:nvSpPr>
        <p:spPr/>
        <p:txBody>
          <a:bodyPr/>
          <a:lstStyle/>
          <a:p>
            <a:r>
              <a:rPr lang="en-GB"/>
              <a:t>Sources: eleven research &amp; analysis, company data, interviews with management</a:t>
            </a:r>
          </a:p>
        </p:txBody>
      </p:sp>
      <p:grpSp>
        <p:nvGrpSpPr>
          <p:cNvPr id="15" name="Groupe 14">
            <a:extLst>
              <a:ext uri="{FF2B5EF4-FFF2-40B4-BE49-F238E27FC236}">
                <a16:creationId xmlns:a16="http://schemas.microsoft.com/office/drawing/2014/main" id="{C88EAA25-C61C-4E24-AB02-2694B4B3F4B9}"/>
              </a:ext>
            </a:extLst>
          </p:cNvPr>
          <p:cNvGrpSpPr/>
          <p:nvPr/>
        </p:nvGrpSpPr>
        <p:grpSpPr>
          <a:xfrm>
            <a:off x="362696" y="193602"/>
            <a:ext cx="222565" cy="276999"/>
            <a:chOff x="3409503" y="1194238"/>
            <a:chExt cx="269305" cy="368686"/>
          </a:xfrm>
        </p:grpSpPr>
        <p:sp>
          <p:nvSpPr>
            <p:cNvPr id="16" name="Ellipse 15">
              <a:extLst>
                <a:ext uri="{FF2B5EF4-FFF2-40B4-BE49-F238E27FC236}">
                  <a16:creationId xmlns:a16="http://schemas.microsoft.com/office/drawing/2014/main" id="{C559AF43-BD4F-4D4D-B32D-CC291C49FEA2}"/>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7" name="ZoneTexte 16">
              <a:extLst>
                <a:ext uri="{FF2B5EF4-FFF2-40B4-BE49-F238E27FC236}">
                  <a16:creationId xmlns:a16="http://schemas.microsoft.com/office/drawing/2014/main" id="{85D65150-60A3-4C47-88CD-107E3DDF8567}"/>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2</a:t>
              </a:r>
            </a:p>
          </p:txBody>
        </p:sp>
      </p:grpSp>
      <p:sp>
        <p:nvSpPr>
          <p:cNvPr id="18" name="Rectangle 17">
            <a:extLst>
              <a:ext uri="{FF2B5EF4-FFF2-40B4-BE49-F238E27FC236}">
                <a16:creationId xmlns:a16="http://schemas.microsoft.com/office/drawing/2014/main" id="{FF2A3E71-F790-43F9-895F-DA4FB88A640C}"/>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B</a:t>
            </a:r>
          </a:p>
        </p:txBody>
      </p:sp>
      <p:sp>
        <p:nvSpPr>
          <p:cNvPr id="19" name="Rectangle 18">
            <a:extLst>
              <a:ext uri="{FF2B5EF4-FFF2-40B4-BE49-F238E27FC236}">
                <a16:creationId xmlns:a16="http://schemas.microsoft.com/office/drawing/2014/main" id="{02B34D9D-CAB9-4FC1-90D5-197DB49855F0}"/>
              </a:ext>
            </a:extLst>
          </p:cNvPr>
          <p:cNvSpPr/>
          <p:nvPr/>
        </p:nvSpPr>
        <p:spPr bwMode="auto">
          <a:xfrm>
            <a:off x="141716" y="1265382"/>
            <a:ext cx="6822502" cy="51622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 name="Rectangle 20">
            <a:extLst>
              <a:ext uri="{FF2B5EF4-FFF2-40B4-BE49-F238E27FC236}">
                <a16:creationId xmlns:a16="http://schemas.microsoft.com/office/drawing/2014/main" id="{F639CB13-89E0-4076-8B02-146C16F07D20}"/>
              </a:ext>
            </a:extLst>
          </p:cNvPr>
          <p:cNvSpPr/>
          <p:nvPr/>
        </p:nvSpPr>
        <p:spPr bwMode="auto">
          <a:xfrm>
            <a:off x="7128636" y="1232547"/>
            <a:ext cx="2665061" cy="516224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nSpc>
                <a:spcPct val="107000"/>
              </a:lnSpc>
              <a:spcAft>
                <a:spcPts val="600"/>
              </a:spcAft>
            </a:pPr>
            <a:r>
              <a:rPr lang="en-GB" sz="1000" dirty="0" err="1">
                <a:latin typeface="Trebuchet MS" panose="020B0603020202020204" pitchFamily="34" charset="0"/>
                <a:ea typeface="Calibri" panose="020F0502020204030204" pitchFamily="34" charset="0"/>
              </a:rPr>
              <a:t>indueD</a:t>
            </a:r>
            <a:r>
              <a:rPr lang="en-GB" sz="1000" dirty="0">
                <a:latin typeface="Trebuchet MS" panose="020B0603020202020204" pitchFamily="34" charset="0"/>
                <a:ea typeface="Calibri" panose="020F0502020204030204" pitchFamily="34" charset="0"/>
              </a:rPr>
              <a:t> sales pipeline can be explained by:</a:t>
            </a:r>
            <a:endParaRPr lang="en-GB" sz="1000" dirty="0">
              <a:effectLst/>
              <a:latin typeface="Trebuchet MS" panose="020B0603020202020204" pitchFamily="34" charset="0"/>
              <a:ea typeface="Calibri" panose="020F0502020204030204" pitchFamily="34" charset="0"/>
              <a:cs typeface="Arial" panose="020B0604020202020204" pitchFamily="34" charset="0"/>
            </a:endParaRPr>
          </a:p>
          <a:p>
            <a:pPr marL="342900" lvl="0" indent="-342900">
              <a:lnSpc>
                <a:spcPct val="107000"/>
              </a:lnSpc>
              <a:spcAft>
                <a:spcPts val="600"/>
              </a:spcAft>
              <a:buFont typeface="+mj-lt"/>
              <a:buAutoNum type="arabicPeriod"/>
            </a:pPr>
            <a:r>
              <a:rPr lang="en-GB" sz="1000" dirty="0" err="1">
                <a:latin typeface="Trebuchet MS" panose="020B0603020202020204" pitchFamily="34" charset="0"/>
                <a:ea typeface="Calibri" panose="020F0502020204030204" pitchFamily="34" charset="0"/>
              </a:rPr>
              <a:t>indueD</a:t>
            </a:r>
            <a:r>
              <a:rPr lang="en-GB" sz="1000" dirty="0">
                <a:latin typeface="Trebuchet MS" panose="020B0603020202020204" pitchFamily="34" charset="0"/>
                <a:ea typeface="Calibri" panose="020F0502020204030204" pitchFamily="34" charset="0"/>
              </a:rPr>
              <a:t> product development which will include:</a:t>
            </a:r>
          </a:p>
          <a:p>
            <a:pPr marL="800100" lvl="1" indent="-342900">
              <a:lnSpc>
                <a:spcPct val="107000"/>
              </a:lnSpc>
              <a:spcAft>
                <a:spcPts val="600"/>
              </a:spcAft>
              <a:buClr>
                <a:schemeClr val="tx1"/>
              </a:buClr>
              <a:buFont typeface="Courier New" panose="02070309020205020404" pitchFamily="49" charset="0"/>
              <a:buChar char="o"/>
            </a:pPr>
            <a:r>
              <a:rPr lang="en-GB" sz="1000" dirty="0">
                <a:latin typeface="Trebuchet MS" panose="020B0603020202020204" pitchFamily="34" charset="0"/>
                <a:ea typeface="Calibri" panose="020F0502020204030204" pitchFamily="34" charset="0"/>
              </a:rPr>
              <a:t>New </a:t>
            </a:r>
            <a:r>
              <a:rPr lang="en-GB" sz="1000" dirty="0">
                <a:solidFill>
                  <a:schemeClr val="tx2"/>
                </a:solidFill>
                <a:latin typeface="Trebuchet MS" panose="020B0603020202020204" pitchFamily="34" charset="0"/>
                <a:ea typeface="Calibri" panose="020F0502020204030204" pitchFamily="34" charset="0"/>
              </a:rPr>
              <a:t>modern functionalities </a:t>
            </a:r>
            <a:r>
              <a:rPr lang="en-GB" sz="1000" dirty="0">
                <a:latin typeface="Trebuchet MS" panose="020B0603020202020204" pitchFamily="34" charset="0"/>
                <a:ea typeface="Calibri" panose="020F0502020204030204" pitchFamily="34" charset="0"/>
              </a:rPr>
              <a:t>(e.g. </a:t>
            </a:r>
            <a:r>
              <a:rPr lang="en-GB" sz="1000" dirty="0" err="1">
                <a:latin typeface="Trebuchet MS" panose="020B0603020202020204" pitchFamily="34" charset="0"/>
                <a:ea typeface="Calibri" panose="020F0502020204030204" pitchFamily="34" charset="0"/>
              </a:rPr>
              <a:t>inPortal</a:t>
            </a:r>
            <a:r>
              <a:rPr lang="en-GB" sz="1000" dirty="0">
                <a:latin typeface="Trebuchet MS" panose="020B0603020202020204" pitchFamily="34" charset="0"/>
                <a:ea typeface="Calibri" panose="020F0502020204030204" pitchFamily="34" charset="0"/>
              </a:rPr>
              <a:t>, email monitoring alerts, document library)</a:t>
            </a:r>
          </a:p>
          <a:p>
            <a:pPr marL="800100" lvl="1" indent="-342900">
              <a:lnSpc>
                <a:spcPct val="107000"/>
              </a:lnSpc>
              <a:spcAft>
                <a:spcPts val="600"/>
              </a:spcAft>
              <a:buClr>
                <a:schemeClr val="tx1"/>
              </a:buClr>
              <a:buFont typeface="Courier New" panose="02070309020205020404" pitchFamily="49" charset="0"/>
              <a:buChar char="o"/>
            </a:pPr>
            <a:r>
              <a:rPr lang="en-GB" sz="1000" dirty="0">
                <a:solidFill>
                  <a:schemeClr val="tx2"/>
                </a:solidFill>
                <a:latin typeface="Trebuchet MS" panose="020B0603020202020204" pitchFamily="34" charset="0"/>
                <a:ea typeface="Calibri" panose="020F0502020204030204" pitchFamily="34" charset="0"/>
              </a:rPr>
              <a:t>Greater UX</a:t>
            </a:r>
          </a:p>
          <a:p>
            <a:pPr marL="800100" lvl="1" indent="-342900">
              <a:lnSpc>
                <a:spcPct val="107000"/>
              </a:lnSpc>
              <a:spcAft>
                <a:spcPts val="600"/>
              </a:spcAft>
              <a:buClr>
                <a:schemeClr val="tx1"/>
              </a:buClr>
              <a:buFont typeface="Courier New" panose="02070309020205020404" pitchFamily="49" charset="0"/>
              <a:buChar char="o"/>
            </a:pPr>
            <a:r>
              <a:rPr lang="en-GB" sz="1000" dirty="0">
                <a:solidFill>
                  <a:schemeClr val="tx2"/>
                </a:solidFill>
                <a:latin typeface="Trebuchet MS" panose="020B0603020202020204" pitchFamily="34" charset="0"/>
                <a:ea typeface="Calibri" panose="020F0502020204030204" pitchFamily="34" charset="0"/>
              </a:rPr>
              <a:t>Extended customer target </a:t>
            </a:r>
            <a:r>
              <a:rPr lang="en-GB" sz="1000" dirty="0">
                <a:latin typeface="Trebuchet MS" panose="020B0603020202020204" pitchFamily="34" charset="0"/>
                <a:ea typeface="Calibri" panose="020F0502020204030204" pitchFamily="34" charset="0"/>
              </a:rPr>
              <a:t>(mid-sized companies)</a:t>
            </a:r>
          </a:p>
          <a:p>
            <a:pPr marL="342900" lvl="0" indent="-342900">
              <a:lnSpc>
                <a:spcPct val="107000"/>
              </a:lnSpc>
              <a:spcAft>
                <a:spcPts val="600"/>
              </a:spcAft>
              <a:buFont typeface="+mj-lt"/>
              <a:buAutoNum type="arabicPeriod"/>
            </a:pPr>
            <a:r>
              <a:rPr lang="en-GB" sz="1000" dirty="0" err="1">
                <a:latin typeface="Trebuchet MS" panose="020B0603020202020204" pitchFamily="34" charset="0"/>
                <a:ea typeface="Calibri" panose="020F0502020204030204" pitchFamily="34" charset="0"/>
              </a:rPr>
              <a:t>i</a:t>
            </a:r>
            <a:r>
              <a:rPr lang="en-GB" sz="1000" dirty="0" err="1">
                <a:effectLst/>
                <a:latin typeface="Trebuchet MS" panose="020B0603020202020204" pitchFamily="34" charset="0"/>
                <a:ea typeface="Calibri" panose="020F0502020204030204" pitchFamily="34" charset="0"/>
                <a:cs typeface="Arial" panose="020B0604020202020204" pitchFamily="34" charset="0"/>
              </a:rPr>
              <a:t>ndueD</a:t>
            </a:r>
            <a:r>
              <a:rPr lang="en-GB" sz="1000" dirty="0">
                <a:effectLst/>
                <a:latin typeface="Trebuchet MS" panose="020B0603020202020204" pitchFamily="34" charset="0"/>
                <a:ea typeface="Calibri" panose="020F0502020204030204" pitchFamily="34" charset="0"/>
                <a:cs typeface="Arial" panose="020B0604020202020204" pitchFamily="34" charset="0"/>
              </a:rPr>
              <a:t> as the only </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solution on the market offering Dow Jones, </a:t>
            </a:r>
            <a:r>
              <a:rPr lang="en-GB" sz="1000" dirty="0" err="1">
                <a:solidFill>
                  <a:schemeClr val="tx2"/>
                </a:solidFill>
                <a:effectLst/>
                <a:latin typeface="Trebuchet MS" panose="020B0603020202020204" pitchFamily="34" charset="0"/>
                <a:ea typeface="Calibri" panose="020F0502020204030204" pitchFamily="34" charset="0"/>
                <a:cs typeface="Arial" panose="020B0604020202020204" pitchFamily="34" charset="0"/>
              </a:rPr>
              <a:t>Acuris</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 and </a:t>
            </a:r>
            <a:r>
              <a:rPr lang="en-GB" sz="1000" dirty="0" err="1">
                <a:solidFill>
                  <a:schemeClr val="tx2"/>
                </a:solidFill>
                <a:effectLst/>
                <a:latin typeface="Trebuchet MS" panose="020B0603020202020204" pitchFamily="34" charset="0"/>
                <a:ea typeface="Calibri" panose="020F0502020204030204" pitchFamily="34" charset="0"/>
                <a:cs typeface="Arial" panose="020B0604020202020204" pitchFamily="34" charset="0"/>
              </a:rPr>
              <a:t>Refinitv</a:t>
            </a:r>
            <a:r>
              <a:rPr lang="en-GB" sz="1000" dirty="0">
                <a:effectLst/>
                <a:latin typeface="Trebuchet MS" panose="020B0603020202020204" pitchFamily="34" charset="0"/>
                <a:ea typeface="Calibri" panose="020F0502020204030204" pitchFamily="34" charset="0"/>
                <a:cs typeface="Arial" panose="020B0604020202020204" pitchFamily="34" charset="0"/>
              </a:rPr>
              <a:t> (2021) </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screening in the same platform</a:t>
            </a:r>
          </a:p>
          <a:p>
            <a:pPr marL="742950" lvl="1" indent="-285750">
              <a:lnSpc>
                <a:spcPct val="107000"/>
              </a:lnSpc>
              <a:spcAft>
                <a:spcPts val="600"/>
              </a:spcAft>
              <a:buFont typeface="Courier New" panose="02070309020205020404" pitchFamily="49" charset="0"/>
              <a:buChar char="o"/>
            </a:pPr>
            <a:r>
              <a:rPr lang="en-GB" sz="1000" dirty="0">
                <a:effectLst/>
                <a:latin typeface="Trebuchet MS" panose="020B0603020202020204" pitchFamily="34" charset="0"/>
                <a:ea typeface="Calibri" panose="020F0502020204030204" pitchFamily="34" charset="0"/>
                <a:cs typeface="Arial" panose="020B0604020202020204" pitchFamily="34" charset="0"/>
              </a:rPr>
              <a:t>Current discussions with Refinitiv (expected closing in 2021) to plug their data into </a:t>
            </a:r>
            <a:r>
              <a:rPr lang="en-GB" sz="1000" dirty="0" err="1">
                <a:effectLst/>
                <a:latin typeface="Trebuchet MS" panose="020B0603020202020204" pitchFamily="34" charset="0"/>
                <a:ea typeface="Calibri" panose="020F0502020204030204" pitchFamily="34" charset="0"/>
                <a:cs typeface="Arial" panose="020B0604020202020204" pitchFamily="34" charset="0"/>
              </a:rPr>
              <a:t>indueD</a:t>
            </a:r>
            <a:r>
              <a:rPr lang="en-GB" sz="1000" dirty="0">
                <a:effectLst/>
                <a:latin typeface="Trebuchet MS" panose="020B0603020202020204" pitchFamily="34" charset="0"/>
                <a:ea typeface="Calibri" panose="020F0502020204030204" pitchFamily="34" charset="0"/>
                <a:cs typeface="Arial" panose="020B0604020202020204" pitchFamily="34" charset="0"/>
              </a:rPr>
              <a:t> product</a:t>
            </a:r>
          </a:p>
          <a:p>
            <a:pPr marL="742950" lvl="1" indent="-285750">
              <a:lnSpc>
                <a:spcPct val="107000"/>
              </a:lnSpc>
              <a:spcAft>
                <a:spcPts val="600"/>
              </a:spcAft>
              <a:buFont typeface="Courier New" panose="02070309020205020404" pitchFamily="49" charset="0"/>
              <a:buChar char="o"/>
            </a:pPr>
            <a:r>
              <a:rPr lang="en-GB" sz="1000" dirty="0">
                <a:effectLst/>
                <a:latin typeface="Trebuchet MS" panose="020B0603020202020204" pitchFamily="34" charset="0"/>
                <a:ea typeface="Calibri" panose="020F0502020204030204" pitchFamily="34" charset="0"/>
                <a:cs typeface="Arial" panose="020B0604020202020204" pitchFamily="34" charset="0"/>
              </a:rPr>
              <a:t>Integration will be easy as </a:t>
            </a:r>
            <a:r>
              <a:rPr lang="en-GB" sz="1000" dirty="0" err="1">
                <a:effectLst/>
                <a:latin typeface="Trebuchet MS" panose="020B0603020202020204" pitchFamily="34" charset="0"/>
                <a:ea typeface="Calibri" panose="020F0502020204030204" pitchFamily="34" charset="0"/>
                <a:cs typeface="Arial" panose="020B0604020202020204" pitchFamily="34" charset="0"/>
              </a:rPr>
              <a:t>Altares</a:t>
            </a:r>
            <a:r>
              <a:rPr lang="en-GB" sz="1000" dirty="0">
                <a:effectLst/>
                <a:latin typeface="Trebuchet MS" panose="020B0603020202020204" pitchFamily="34" charset="0"/>
                <a:ea typeface="Calibri" panose="020F0502020204030204" pitchFamily="34" charset="0"/>
                <a:cs typeface="Arial" panose="020B0604020202020204" pitchFamily="34" charset="0"/>
              </a:rPr>
              <a:t> is using </a:t>
            </a:r>
            <a:r>
              <a:rPr lang="en-GB" sz="1000" dirty="0" err="1">
                <a:solidFill>
                  <a:schemeClr val="tx2"/>
                </a:solidFill>
                <a:effectLst/>
                <a:latin typeface="Trebuchet MS" panose="020B0603020202020204" pitchFamily="34" charset="0"/>
                <a:ea typeface="Calibri" panose="020F0502020204030204" pitchFamily="34" charset="0"/>
                <a:cs typeface="Arial" panose="020B0604020202020204" pitchFamily="34" charset="0"/>
              </a:rPr>
              <a:t>Neterium’s</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 API</a:t>
            </a:r>
          </a:p>
          <a:p>
            <a:pPr marL="742950" lvl="1" indent="-285750">
              <a:lnSpc>
                <a:spcPct val="107000"/>
              </a:lnSpc>
              <a:spcAft>
                <a:spcPts val="600"/>
              </a:spcAft>
              <a:buFont typeface="Courier New" panose="02070309020205020404" pitchFamily="49" charset="0"/>
              <a:buChar char="o"/>
            </a:pPr>
            <a:endParaRPr lang="en-GB" sz="1000" dirty="0">
              <a:effectLst/>
              <a:latin typeface="Trebuchet MS" panose="020B0603020202020204" pitchFamily="34" charset="0"/>
              <a:ea typeface="Calibri" panose="020F0502020204030204" pitchFamily="34" charset="0"/>
              <a:cs typeface="Arial" panose="020B0604020202020204" pitchFamily="34" charset="0"/>
            </a:endParaRPr>
          </a:p>
          <a:p>
            <a:pPr lvl="0">
              <a:lnSpc>
                <a:spcPct val="107000"/>
              </a:lnSpc>
              <a:spcAft>
                <a:spcPts val="600"/>
              </a:spcAft>
              <a:buClr>
                <a:schemeClr val="tx1"/>
              </a:buClr>
            </a:pP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Besides, new solutions </a:t>
            </a:r>
            <a:r>
              <a:rPr lang="en-GB" sz="1000" dirty="0">
                <a:solidFill>
                  <a:schemeClr val="tx2"/>
                </a:solidFill>
                <a:latin typeface="Trebuchet MS" panose="020B0603020202020204" pitchFamily="34" charset="0"/>
                <a:ea typeface="Calibri" panose="020F0502020204030204" pitchFamily="34" charset="0"/>
              </a:rPr>
              <a:t>will</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 combine risk and compliance data</a:t>
            </a:r>
            <a:r>
              <a:rPr lang="en-GB" sz="1000" dirty="0">
                <a:effectLst/>
                <a:latin typeface="Trebuchet MS" panose="020B0603020202020204" pitchFamily="34" charset="0"/>
                <a:ea typeface="Calibri" panose="020F0502020204030204" pitchFamily="34" charset="0"/>
                <a:cs typeface="Arial" panose="020B0604020202020204" pitchFamily="34" charset="0"/>
              </a:rPr>
              <a:t>: Business Add-On, Direct+, SMART… </a:t>
            </a:r>
            <a:r>
              <a:rPr lang="en-GB" sz="1000" i="1" dirty="0">
                <a:effectLst/>
                <a:latin typeface="Trebuchet MS" panose="020B0603020202020204" pitchFamily="34" charset="0"/>
                <a:ea typeface="Calibri" panose="020F0502020204030204" pitchFamily="34" charset="0"/>
                <a:cs typeface="Arial" panose="020B0604020202020204" pitchFamily="34" charset="0"/>
              </a:rPr>
              <a:t>(see risk part of the BP assessment)</a:t>
            </a:r>
            <a:endParaRPr lang="en-GB" sz="1000" dirty="0">
              <a:effectLst/>
              <a:latin typeface="Trebuchet MS" panose="020B0603020202020204" pitchFamily="34" charset="0"/>
              <a:ea typeface="Calibri" panose="020F0502020204030204" pitchFamily="34" charset="0"/>
              <a:cs typeface="Arial" panose="020B0604020202020204" pitchFamily="34" charset="0"/>
            </a:endParaRPr>
          </a:p>
          <a:p>
            <a:pPr lvl="0">
              <a:lnSpc>
                <a:spcPct val="107000"/>
              </a:lnSpc>
              <a:spcAft>
                <a:spcPts val="600"/>
              </a:spcAft>
            </a:pPr>
            <a:endParaRPr lang="en-GB" sz="1000" dirty="0">
              <a:effectLst/>
              <a:latin typeface="Trebuchet MS" panose="020B0603020202020204" pitchFamily="34" charset="0"/>
              <a:ea typeface="Calibri" panose="020F0502020204030204" pitchFamily="34" charset="0"/>
              <a:cs typeface="Arial" panose="020B0604020202020204" pitchFamily="34" charset="0"/>
            </a:endParaRPr>
          </a:p>
        </p:txBody>
      </p:sp>
      <p:cxnSp>
        <p:nvCxnSpPr>
          <p:cNvPr id="22" name="Connecteur droit 4">
            <a:extLst>
              <a:ext uri="{FF2B5EF4-FFF2-40B4-BE49-F238E27FC236}">
                <a16:creationId xmlns:a16="http://schemas.microsoft.com/office/drawing/2014/main" id="{925D240D-441E-4F67-86A3-9D03E56AB034}"/>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3" name="TextBox 30">
            <a:extLst>
              <a:ext uri="{FF2B5EF4-FFF2-40B4-BE49-F238E27FC236}">
                <a16:creationId xmlns:a16="http://schemas.microsoft.com/office/drawing/2014/main" id="{D037B4D8-E38E-4A63-A9F9-F205C8EB8855}"/>
              </a:ext>
            </a:extLst>
          </p:cNvPr>
          <p:cNvSpPr txBox="1"/>
          <p:nvPr/>
        </p:nvSpPr>
        <p:spPr>
          <a:xfrm>
            <a:off x="3374257" y="978303"/>
            <a:ext cx="3157487" cy="246221"/>
          </a:xfrm>
          <a:prstGeom prst="rect">
            <a:avLst/>
          </a:prstGeom>
          <a:solidFill>
            <a:schemeClr val="bg1"/>
          </a:solidFill>
        </p:spPr>
        <p:txBody>
          <a:bodyPr wrap="square" lIns="0" rIns="0" rtlCol="0">
            <a:spAutoFit/>
          </a:bodyPr>
          <a:lstStyle/>
          <a:p>
            <a:pPr algn="ctr">
              <a:defRPr/>
            </a:pPr>
            <a:r>
              <a:rPr kumimoji="0" lang="en-GB" sz="1000" u="none" strike="noStrike" kern="1200" cap="none" spc="0" normalizeH="0" baseline="0" noProof="0">
                <a:ln>
                  <a:noFill/>
                </a:ln>
                <a:effectLst/>
                <a:uLnTx/>
                <a:uFillTx/>
                <a:latin typeface="Trebuchet MS" panose="020B0603020202020204" pitchFamily="34" charset="0"/>
              </a:rPr>
              <a:t>indueD very encouraging sales pipeline</a:t>
            </a:r>
          </a:p>
        </p:txBody>
      </p:sp>
      <p:grpSp>
        <p:nvGrpSpPr>
          <p:cNvPr id="40" name="Groupe 39">
            <a:extLst>
              <a:ext uri="{FF2B5EF4-FFF2-40B4-BE49-F238E27FC236}">
                <a16:creationId xmlns:a16="http://schemas.microsoft.com/office/drawing/2014/main" id="{80DCDB32-03D1-47C1-A1AC-5468A5F60FF2}"/>
              </a:ext>
            </a:extLst>
          </p:cNvPr>
          <p:cNvGrpSpPr/>
          <p:nvPr/>
        </p:nvGrpSpPr>
        <p:grpSpPr>
          <a:xfrm>
            <a:off x="8448150" y="-11528"/>
            <a:ext cx="1435548" cy="588143"/>
            <a:chOff x="8448150" y="-11528"/>
            <a:chExt cx="1435548" cy="588143"/>
          </a:xfrm>
        </p:grpSpPr>
        <p:sp>
          <p:nvSpPr>
            <p:cNvPr id="41" name="Rectangle : coins arrondis 199">
              <a:extLst>
                <a:ext uri="{FF2B5EF4-FFF2-40B4-BE49-F238E27FC236}">
                  <a16:creationId xmlns:a16="http://schemas.microsoft.com/office/drawing/2014/main" id="{57FAD347-7765-4AC9-AAFB-71F4E269516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2" name="Rectangle : coins arrondis 200">
              <a:extLst>
                <a:ext uri="{FF2B5EF4-FFF2-40B4-BE49-F238E27FC236}">
                  <a16:creationId xmlns:a16="http://schemas.microsoft.com/office/drawing/2014/main" id="{5F629B99-01EE-46E7-8762-68B039E51D99}"/>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3" name="Rectangle : coins arrondis 201">
              <a:extLst>
                <a:ext uri="{FF2B5EF4-FFF2-40B4-BE49-F238E27FC236}">
                  <a16:creationId xmlns:a16="http://schemas.microsoft.com/office/drawing/2014/main" id="{9765D66E-D23C-4481-AEBA-6839A65505B8}"/>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4" name="ZoneTexte 18">
              <a:extLst>
                <a:ext uri="{FF2B5EF4-FFF2-40B4-BE49-F238E27FC236}">
                  <a16:creationId xmlns:a16="http://schemas.microsoft.com/office/drawing/2014/main" id="{9D5C9C2E-8965-4D28-8000-7B0F61B23A9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45" name="Graphique 128" descr="Jauge">
              <a:extLst>
                <a:ext uri="{FF2B5EF4-FFF2-40B4-BE49-F238E27FC236}">
                  <a16:creationId xmlns:a16="http://schemas.microsoft.com/office/drawing/2014/main" id="{6FD2717A-21C9-43E4-BB47-5B5B23DA0A7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46" name="Graphique 90" descr="Poignée de main">
              <a:extLst>
                <a:ext uri="{FF2B5EF4-FFF2-40B4-BE49-F238E27FC236}">
                  <a16:creationId xmlns:a16="http://schemas.microsoft.com/office/drawing/2014/main" id="{5FB7D681-934B-422C-9D8D-85C4A9F03CF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47" name="Graphique 74" descr="Mégaphone">
              <a:extLst>
                <a:ext uri="{FF2B5EF4-FFF2-40B4-BE49-F238E27FC236}">
                  <a16:creationId xmlns:a16="http://schemas.microsoft.com/office/drawing/2014/main" id="{3E9780D2-3186-466B-A1DB-C6C53CAB39D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48" name="Picture 2" descr="5 ft x 3 ft 150 x 90 cm-DRAPEAU BELGE Belgique 100% Polyester ...">
              <a:extLst>
                <a:ext uri="{FF2B5EF4-FFF2-40B4-BE49-F238E27FC236}">
                  <a16:creationId xmlns:a16="http://schemas.microsoft.com/office/drawing/2014/main" id="{30F9A4EB-B624-4B99-9716-188CCE592834}"/>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9" name="Picture 2 - 1" descr="Drapeau des Pays-Bas — Wikipédia">
              <a:extLst>
                <a:ext uri="{FF2B5EF4-FFF2-40B4-BE49-F238E27FC236}">
                  <a16:creationId xmlns:a16="http://schemas.microsoft.com/office/drawing/2014/main" id="{95095BDE-CF13-4B47-ABA2-85581DB2262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0" name="Picture 2 - 2" descr="Drapeau du Luxembourg">
              <a:extLst>
                <a:ext uri="{FF2B5EF4-FFF2-40B4-BE49-F238E27FC236}">
                  <a16:creationId xmlns:a16="http://schemas.microsoft.com/office/drawing/2014/main" id="{E3883594-4950-4077-A797-029E1570837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1" name="ZoneTexte 50">
              <a:extLst>
                <a:ext uri="{FF2B5EF4-FFF2-40B4-BE49-F238E27FC236}">
                  <a16:creationId xmlns:a16="http://schemas.microsoft.com/office/drawing/2014/main" id="{C53A25D0-CAE9-40B7-A557-D9640482982A}"/>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sp>
        <p:nvSpPr>
          <p:cNvPr id="60" name="Rectangle 59">
            <a:extLst>
              <a:ext uri="{FF2B5EF4-FFF2-40B4-BE49-F238E27FC236}">
                <a16:creationId xmlns:a16="http://schemas.microsoft.com/office/drawing/2014/main" id="{034CE4F4-ED95-4249-9782-2E5568B3C099}"/>
              </a:ext>
            </a:extLst>
          </p:cNvPr>
          <p:cNvSpPr/>
          <p:nvPr/>
        </p:nvSpPr>
        <p:spPr bwMode="auto">
          <a:xfrm>
            <a:off x="296053" y="1326365"/>
            <a:ext cx="3559850" cy="25468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rPr>
              <a:t>Split o</a:t>
            </a:r>
            <a:r>
              <a:rPr lang="en-GB" sz="1000" b="1" i="1">
                <a:latin typeface="Trebuchet MS" panose="020B0603020202020204" pitchFamily="34" charset="0"/>
              </a:rPr>
              <a:t>f total booking (2019) per product </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61" name="Rectangle 60">
            <a:extLst>
              <a:ext uri="{FF2B5EF4-FFF2-40B4-BE49-F238E27FC236}">
                <a16:creationId xmlns:a16="http://schemas.microsoft.com/office/drawing/2014/main" id="{D6E9B33B-B813-4441-8928-4086294223C5}"/>
              </a:ext>
            </a:extLst>
          </p:cNvPr>
          <p:cNvSpPr/>
          <p:nvPr/>
        </p:nvSpPr>
        <p:spPr bwMode="auto">
          <a:xfrm>
            <a:off x="4020321" y="1326365"/>
            <a:ext cx="2871939" cy="25468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r>
              <a:rPr lang="en-GB" sz="1000" b="1" i="1">
                <a:latin typeface="Trebuchet MS" panose="020B0603020202020204" pitchFamily="34" charset="0"/>
              </a:rPr>
              <a:t>Sales value per Product Family (Sept 2020) in m€ – All probability included </a:t>
            </a:r>
          </a:p>
        </p:txBody>
      </p:sp>
      <p:sp>
        <p:nvSpPr>
          <p:cNvPr id="62" name="Rectangle 61">
            <a:extLst>
              <a:ext uri="{FF2B5EF4-FFF2-40B4-BE49-F238E27FC236}">
                <a16:creationId xmlns:a16="http://schemas.microsoft.com/office/drawing/2014/main" id="{8FEA233B-E030-43CC-8BB2-501CFC0FB963}"/>
              </a:ext>
            </a:extLst>
          </p:cNvPr>
          <p:cNvSpPr/>
          <p:nvPr/>
        </p:nvSpPr>
        <p:spPr bwMode="auto">
          <a:xfrm>
            <a:off x="272999" y="5262852"/>
            <a:ext cx="3582904" cy="957413"/>
          </a:xfrm>
          <a:prstGeom prst="rect">
            <a:avLst/>
          </a:prstGeom>
          <a:noFill/>
          <a:ln w="9525" cap="flat" cmpd="sng" algn="ctr">
            <a:no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r>
              <a:rPr lang="en-GB" sz="1000" err="1">
                <a:latin typeface="Trebuchet MS" panose="020B0603020202020204" pitchFamily="34" charset="0"/>
              </a:rPr>
              <a:t>indueD</a:t>
            </a:r>
            <a:r>
              <a:rPr lang="en-GB" sz="1000">
                <a:latin typeface="Trebuchet MS" panose="020B0603020202020204" pitchFamily="34" charset="0"/>
              </a:rPr>
              <a:t> has been </a:t>
            </a:r>
            <a:r>
              <a:rPr lang="en-GB" sz="1000">
                <a:solidFill>
                  <a:schemeClr val="tx2"/>
                </a:solidFill>
                <a:latin typeface="Trebuchet MS" panose="020B0603020202020204" pitchFamily="34" charset="0"/>
              </a:rPr>
              <a:t>launched late 2018 </a:t>
            </a:r>
            <a:r>
              <a:rPr lang="en-GB" sz="1000">
                <a:latin typeface="Trebuchet MS" panose="020B0603020202020204" pitchFamily="34" charset="0"/>
              </a:rPr>
              <a:t>and only represented 1% of group total sales in 2019 </a:t>
            </a:r>
          </a:p>
        </p:txBody>
      </p:sp>
      <p:sp>
        <p:nvSpPr>
          <p:cNvPr id="63" name="Rectangle 62">
            <a:extLst>
              <a:ext uri="{FF2B5EF4-FFF2-40B4-BE49-F238E27FC236}">
                <a16:creationId xmlns:a16="http://schemas.microsoft.com/office/drawing/2014/main" id="{E73DC046-4319-4414-9D8C-4348FDC58A67}"/>
              </a:ext>
            </a:extLst>
          </p:cNvPr>
          <p:cNvSpPr/>
          <p:nvPr/>
        </p:nvSpPr>
        <p:spPr bwMode="auto">
          <a:xfrm>
            <a:off x="3960718" y="5262852"/>
            <a:ext cx="2871939" cy="957413"/>
          </a:xfrm>
          <a:prstGeom prst="rect">
            <a:avLst/>
          </a:prstGeom>
          <a:noFill/>
          <a:ln w="9525" cap="flat" cmpd="sng" algn="ctr">
            <a:no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r>
              <a:rPr lang="en-GB" sz="1000" dirty="0" err="1">
                <a:latin typeface="Trebuchet MS" panose="020B0603020202020204" pitchFamily="34" charset="0"/>
              </a:rPr>
              <a:t>indueD</a:t>
            </a:r>
            <a:r>
              <a:rPr lang="en-GB" sz="1000" dirty="0">
                <a:latin typeface="Trebuchet MS" panose="020B0603020202020204" pitchFamily="34" charset="0"/>
              </a:rPr>
              <a:t> is expected to </a:t>
            </a:r>
            <a:r>
              <a:rPr lang="en-GB" sz="1000" dirty="0">
                <a:solidFill>
                  <a:schemeClr val="tx2"/>
                </a:solidFill>
                <a:latin typeface="Trebuchet MS" panose="020B0603020202020204" pitchFamily="34" charset="0"/>
              </a:rPr>
              <a:t>generate significant revenue </a:t>
            </a:r>
            <a:r>
              <a:rPr lang="en-GB" sz="1000" dirty="0">
                <a:latin typeface="Trebuchet MS" panose="020B0603020202020204" pitchFamily="34" charset="0"/>
              </a:rPr>
              <a:t>in the coming months</a:t>
            </a:r>
          </a:p>
          <a:p>
            <a:pPr marL="171450" indent="-171450">
              <a:buFont typeface="Wingdings" panose="05000000000000000000" pitchFamily="2" charset="2"/>
              <a:buChar char="§"/>
            </a:pPr>
            <a:endParaRPr kumimoji="0" lang="en-GB" sz="1000" b="0" i="0" u="none" strike="noStrike" cap="none" normalizeH="0" baseline="0" dirty="0">
              <a:ln>
                <a:noFill/>
              </a:ln>
              <a:solidFill>
                <a:schemeClr val="tx1"/>
              </a:solidFill>
              <a:effectLst/>
              <a:latin typeface="Trebuchet MS" panose="020B0603020202020204" pitchFamily="34" charset="0"/>
            </a:endParaRPr>
          </a:p>
          <a:p>
            <a:pPr marL="171450" lvl="0" indent="-171450">
              <a:lnSpc>
                <a:spcPct val="107000"/>
              </a:lnSpc>
              <a:spcBef>
                <a:spcPts val="600"/>
              </a:spcBef>
              <a:buClr>
                <a:schemeClr val="tx1"/>
              </a:buClr>
              <a:buFont typeface="Arial" panose="020B0604020202020204" pitchFamily="34" charset="0"/>
              <a:buChar char="•"/>
            </a:pPr>
            <a:endParaRPr lang="en-GB" sz="1000" dirty="0">
              <a:latin typeface="Trebuchet MS" panose="020B0603020202020204" pitchFamily="34" charset="0"/>
            </a:endParaRPr>
          </a:p>
        </p:txBody>
      </p:sp>
      <p:graphicFrame>
        <p:nvGraphicFramePr>
          <p:cNvPr id="64" name="Chart 17">
            <a:extLst>
              <a:ext uri="{FF2B5EF4-FFF2-40B4-BE49-F238E27FC236}">
                <a16:creationId xmlns:a16="http://schemas.microsoft.com/office/drawing/2014/main" id="{FDFC5752-2D99-406C-95C6-20313D70DEDB}"/>
              </a:ext>
            </a:extLst>
          </p:cNvPr>
          <p:cNvGraphicFramePr/>
          <p:nvPr>
            <p:extLst>
              <p:ext uri="{D42A27DB-BD31-4B8C-83A1-F6EECF244321}">
                <p14:modId xmlns:p14="http://schemas.microsoft.com/office/powerpoint/2010/main" val="3649363816"/>
              </p:ext>
            </p:extLst>
          </p:nvPr>
        </p:nvGraphicFramePr>
        <p:xfrm>
          <a:off x="273000" y="1657246"/>
          <a:ext cx="3582904" cy="3510671"/>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8" name="Chart 7">
            <a:extLst>
              <a:ext uri="{FF2B5EF4-FFF2-40B4-BE49-F238E27FC236}">
                <a16:creationId xmlns:a16="http://schemas.microsoft.com/office/drawing/2014/main" id="{3CE176DC-6235-4B72-953A-FE3B38907682}"/>
              </a:ext>
            </a:extLst>
          </p:cNvPr>
          <p:cNvGraphicFramePr/>
          <p:nvPr>
            <p:extLst>
              <p:ext uri="{D42A27DB-BD31-4B8C-83A1-F6EECF244321}">
                <p14:modId xmlns:p14="http://schemas.microsoft.com/office/powerpoint/2010/main" val="2061508582"/>
              </p:ext>
            </p:extLst>
          </p:nvPr>
        </p:nvGraphicFramePr>
        <p:xfrm>
          <a:off x="4045712" y="1657246"/>
          <a:ext cx="2786945" cy="3510670"/>
        </p:xfrm>
        <a:graphic>
          <a:graphicData uri="http://schemas.openxmlformats.org/drawingml/2006/chart">
            <c:chart xmlns:c="http://schemas.openxmlformats.org/drawingml/2006/chart" xmlns:r="http://schemas.openxmlformats.org/officeDocument/2006/relationships" r:id="rId16"/>
          </a:graphicData>
        </a:graphic>
      </p:graphicFrame>
      <p:sp>
        <p:nvSpPr>
          <p:cNvPr id="86" name="Bulle narrative : rectangle 85">
            <a:extLst>
              <a:ext uri="{FF2B5EF4-FFF2-40B4-BE49-F238E27FC236}">
                <a16:creationId xmlns:a16="http://schemas.microsoft.com/office/drawing/2014/main" id="{881D0844-23C8-46B2-9F57-006A2B191747}"/>
              </a:ext>
            </a:extLst>
          </p:cNvPr>
          <p:cNvSpPr/>
          <p:nvPr/>
        </p:nvSpPr>
        <p:spPr bwMode="auto">
          <a:xfrm>
            <a:off x="5891657" y="2112827"/>
            <a:ext cx="1407364" cy="761374"/>
          </a:xfrm>
          <a:prstGeom prst="wedgeRectCallout">
            <a:avLst>
              <a:gd name="adj1" fmla="val -17739"/>
              <a:gd name="adj2" fmla="val -66586"/>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wrap="square" rtlCol="0">
            <a:noAutofit/>
          </a:bodyPr>
          <a:lstStyle/>
          <a:p>
            <a:pPr marL="0" indent="0" algn="ctr" rtl="0" fontAlgn="base">
              <a:spcBef>
                <a:spcPct val="0"/>
              </a:spcBef>
              <a:spcAft>
                <a:spcPct val="0"/>
              </a:spcAft>
            </a:pPr>
            <a:r>
              <a:rPr lang="en-GB" sz="1000" kern="1200" noProof="0" err="1">
                <a:solidFill>
                  <a:schemeClr val="tx1"/>
                </a:solidFill>
                <a:latin typeface="Trebuchet MS" panose="020B0603020202020204" pitchFamily="34" charset="0"/>
                <a:ea typeface="+mn-ea"/>
                <a:cs typeface="Arial" pitchFamily="34" charset="0"/>
              </a:rPr>
              <a:t>indueD</a:t>
            </a:r>
            <a:r>
              <a:rPr lang="en-GB" sz="1000" kern="1200" noProof="0">
                <a:solidFill>
                  <a:schemeClr val="tx1"/>
                </a:solidFill>
                <a:latin typeface="Trebuchet MS" panose="020B0603020202020204" pitchFamily="34" charset="0"/>
                <a:ea typeface="+mn-ea"/>
                <a:cs typeface="Arial" pitchFamily="34" charset="0"/>
              </a:rPr>
              <a:t> </a:t>
            </a:r>
            <a:r>
              <a:rPr lang="en-GB" sz="1000" kern="1200" noProof="0">
                <a:solidFill>
                  <a:schemeClr val="tx2"/>
                </a:solidFill>
                <a:latin typeface="Trebuchet MS" panose="020B0603020202020204" pitchFamily="34" charset="0"/>
                <a:ea typeface="+mn-ea"/>
                <a:cs typeface="Arial" pitchFamily="34" charset="0"/>
              </a:rPr>
              <a:t>total pipe </a:t>
            </a:r>
            <a:r>
              <a:rPr lang="en-GB" sz="1000" kern="1200" noProof="0">
                <a:solidFill>
                  <a:schemeClr val="tx1"/>
                </a:solidFill>
                <a:latin typeface="Trebuchet MS" panose="020B0603020202020204" pitchFamily="34" charset="0"/>
                <a:ea typeface="+mn-ea"/>
                <a:cs typeface="Arial" pitchFamily="34" charset="0"/>
              </a:rPr>
              <a:t>as of Sept. 2020 is estimated at </a:t>
            </a:r>
            <a:r>
              <a:rPr lang="en-GB" sz="1000" kern="1200" noProof="0">
                <a:solidFill>
                  <a:schemeClr val="tx2"/>
                </a:solidFill>
                <a:latin typeface="Trebuchet MS" panose="020B0603020202020204" pitchFamily="34" charset="0"/>
                <a:ea typeface="+mn-ea"/>
                <a:cs typeface="Arial" pitchFamily="34" charset="0"/>
              </a:rPr>
              <a:t>~14€m</a:t>
            </a:r>
          </a:p>
        </p:txBody>
      </p:sp>
    </p:spTree>
    <p:extLst>
      <p:ext uri="{BB962C8B-B14F-4D97-AF65-F5344CB8AC3E}">
        <p14:creationId xmlns:p14="http://schemas.microsoft.com/office/powerpoint/2010/main" val="853049378"/>
      </p:ext>
    </p:extLst>
  </p:cSld>
  <p:clrMapOvr>
    <a:masterClrMapping/>
  </p:clrMapOvr>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A44C8C8-2F36-450B-A067-045DF42C7170}"/>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59AD0D4C-52B6-4887-95DD-FD6DE794558F}"/>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F0A06676-82C0-4F43-87A1-A34EA0E8CFAF}"/>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347663" marR="338138" indent="-228600">
              <a:spcBef>
                <a:spcPts val="600"/>
              </a:spcBef>
              <a:spcAft>
                <a:spcPts val="0"/>
              </a:spcAft>
              <a:buFont typeface="+mj-lt"/>
              <a:buAutoNum type="arabicPeriod"/>
            </a:pPr>
            <a:r>
              <a:rPr lang="en-GB" sz="1200">
                <a:latin typeface="Trebuchet MS" panose="020B0603020202020204" pitchFamily="34" charset="0"/>
              </a:rPr>
              <a:t>Key strategic levers supporting </a:t>
            </a:r>
            <a:r>
              <a:rPr lang="en-GB" sz="1200" err="1">
                <a:latin typeface="Trebuchet MS" panose="020B0603020202020204" pitchFamily="34" charset="0"/>
              </a:rPr>
              <a:t>Altares</a:t>
            </a:r>
            <a:r>
              <a:rPr lang="en-GB" sz="1200">
                <a:latin typeface="Trebuchet MS" panose="020B0603020202020204" pitchFamily="34" charset="0"/>
              </a:rPr>
              <a:t>’ future growth </a:t>
            </a:r>
          </a:p>
          <a:p>
            <a:pPr marL="347663" marR="338138" indent="-228600">
              <a:spcBef>
                <a:spcPts val="600"/>
              </a:spcBef>
              <a:spcAft>
                <a:spcPts val="0"/>
              </a:spcAft>
              <a:buFont typeface="+mj-lt"/>
              <a:buAutoNum type="arabicPeriod"/>
            </a:pPr>
            <a:r>
              <a:rPr lang="en-GB" sz="1200">
                <a:solidFill>
                  <a:schemeClr val="tx2"/>
                </a:solidFill>
                <a:latin typeface="Trebuchet MS" panose="020B0603020202020204" pitchFamily="34" charset="0"/>
              </a:rPr>
              <a:t>Business plan assessment</a:t>
            </a:r>
          </a:p>
          <a:p>
            <a:pPr marL="804863" marR="338138" lvl="1" indent="-228600">
              <a:spcBef>
                <a:spcPts val="600"/>
              </a:spcBef>
              <a:spcAft>
                <a:spcPts val="0"/>
              </a:spcAft>
              <a:buFont typeface="+mj-lt"/>
              <a:buAutoNum type="arabicPeriod"/>
            </a:pPr>
            <a:r>
              <a:rPr lang="en-GB" sz="1200">
                <a:latin typeface="Trebuchet MS" panose="020B0603020202020204" pitchFamily="34" charset="0"/>
              </a:rPr>
              <a:t>Overall BP presentation</a:t>
            </a:r>
          </a:p>
          <a:p>
            <a:pPr marL="804863" marR="338138" lvl="1" indent="-228600">
              <a:spcBef>
                <a:spcPts val="600"/>
              </a:spcBef>
              <a:spcAft>
                <a:spcPts val="0"/>
              </a:spcAft>
              <a:buFont typeface="+mj-lt"/>
              <a:buAutoNum type="arabicPeriod"/>
            </a:pPr>
            <a:r>
              <a:rPr lang="en-GB" sz="1200">
                <a:solidFill>
                  <a:schemeClr val="tx2"/>
                </a:solidFill>
                <a:latin typeface="Trebuchet MS" panose="020B0603020202020204" pitchFamily="34" charset="0"/>
              </a:rPr>
              <a:t>Detailed growth assessment per activity</a:t>
            </a:r>
          </a:p>
          <a:p>
            <a:pPr marL="1319213" marR="338138" lvl="2" indent="-285750">
              <a:spcBef>
                <a:spcPts val="600"/>
              </a:spcBef>
              <a:spcAft>
                <a:spcPts val="0"/>
              </a:spcAft>
              <a:buFont typeface="+mj-lt"/>
              <a:buAutoNum type="alphaUcPeriod"/>
            </a:pPr>
            <a:r>
              <a:rPr lang="en-GB" sz="1200">
                <a:latin typeface="Trebuchet MS" panose="020B0603020202020204" pitchFamily="34" charset="0"/>
              </a:rPr>
              <a:t>Credit risk</a:t>
            </a:r>
          </a:p>
          <a:p>
            <a:pPr marL="1319213" marR="338138" lvl="2" indent="-285750">
              <a:spcBef>
                <a:spcPts val="600"/>
              </a:spcBef>
              <a:spcAft>
                <a:spcPts val="0"/>
              </a:spcAft>
              <a:buFont typeface="+mj-lt"/>
              <a:buAutoNum type="alphaUcPeriod"/>
            </a:pPr>
            <a:r>
              <a:rPr lang="en-GB" sz="1200">
                <a:latin typeface="Trebuchet MS" panose="020B0603020202020204" pitchFamily="34" charset="0"/>
              </a:rPr>
              <a:t>Compliance</a:t>
            </a:r>
          </a:p>
          <a:p>
            <a:pPr marL="1319213" marR="338138" lvl="2" indent="-285750">
              <a:spcBef>
                <a:spcPts val="600"/>
              </a:spcBef>
              <a:spcAft>
                <a:spcPts val="0"/>
              </a:spcAft>
              <a:buFont typeface="+mj-lt"/>
              <a:buAutoNum type="alphaUcPeriod"/>
            </a:pPr>
            <a:r>
              <a:rPr lang="en-GB" sz="1200">
                <a:solidFill>
                  <a:schemeClr val="tx2"/>
                </a:solidFill>
                <a:latin typeface="Trebuchet MS" panose="020B0603020202020204" pitchFamily="34" charset="0"/>
              </a:rPr>
              <a:t>B2B Marketing</a:t>
            </a:r>
          </a:p>
          <a:p>
            <a:pPr marL="1319213" marR="338138" lvl="2" indent="-285750">
              <a:spcBef>
                <a:spcPts val="600"/>
              </a:spcBef>
              <a:spcAft>
                <a:spcPts val="0"/>
              </a:spcAft>
              <a:buFont typeface="+mj-lt"/>
              <a:buAutoNum type="alphaUcPeriod"/>
            </a:pPr>
            <a:r>
              <a:rPr lang="en-GB" sz="1200">
                <a:latin typeface="Trebuchet MS" panose="020B0603020202020204" pitchFamily="34" charset="0"/>
              </a:rPr>
              <a:t>Other activities</a:t>
            </a:r>
          </a:p>
          <a:p>
            <a:pPr marL="804863" marR="338138" lvl="1" indent="-228600">
              <a:spcBef>
                <a:spcPts val="600"/>
              </a:spcBef>
              <a:spcAft>
                <a:spcPts val="0"/>
              </a:spcAft>
              <a:buFont typeface="+mj-lt"/>
              <a:buAutoNum type="arabicPeriod"/>
            </a:pPr>
            <a:r>
              <a:rPr lang="en-GB" sz="1200">
                <a:latin typeface="Trebuchet MS" panose="020B0603020202020204" pitchFamily="34" charset="0"/>
              </a:rPr>
              <a:t>Synthesis of BP assessment </a:t>
            </a:r>
          </a:p>
          <a:p>
            <a:pPr marL="127000">
              <a:spcBef>
                <a:spcPts val="1200"/>
              </a:spcBef>
            </a:pPr>
            <a:endParaRPr lang="en-GB" sz="1200">
              <a:latin typeface="Trebuchet MS" panose="020B0603020202020204" pitchFamily="34" charset="0"/>
            </a:endParaRPr>
          </a:p>
        </p:txBody>
      </p:sp>
      <p:sp>
        <p:nvSpPr>
          <p:cNvPr id="16" name="Section">
            <a:extLst>
              <a:ext uri="{FF2B5EF4-FFF2-40B4-BE49-F238E27FC236}">
                <a16:creationId xmlns:a16="http://schemas.microsoft.com/office/drawing/2014/main" id="{D2A8C65D-42ED-44C1-BDB8-ADE75A4ED3CA}"/>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6</a:t>
            </a:r>
          </a:p>
        </p:txBody>
      </p:sp>
      <p:sp>
        <p:nvSpPr>
          <p:cNvPr id="71" name="Chevron">
            <a:extLst>
              <a:ext uri="{FF2B5EF4-FFF2-40B4-BE49-F238E27FC236}">
                <a16:creationId xmlns:a16="http://schemas.microsoft.com/office/drawing/2014/main" id="{2A230948-1EC9-463F-98FF-E0E458B9B00C}"/>
              </a:ext>
            </a:extLst>
          </p:cNvPr>
          <p:cNvSpPr/>
          <p:nvPr/>
        </p:nvSpPr>
        <p:spPr bwMode="auto">
          <a:xfrm>
            <a:off x="1418399" y="3189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3" name="Isosceles Triangle">
            <a:extLst>
              <a:ext uri="{FF2B5EF4-FFF2-40B4-BE49-F238E27FC236}">
                <a16:creationId xmlns:a16="http://schemas.microsoft.com/office/drawing/2014/main" id="{2F6A703F-B3C1-47A0-9B67-EA8C250C6378}"/>
              </a:ext>
            </a:extLst>
          </p:cNvPr>
          <p:cNvSpPr/>
          <p:nvPr/>
        </p:nvSpPr>
        <p:spPr bwMode="auto">
          <a:xfrm rot="5400000">
            <a:off x="5731200" y="3295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5" name="Arrow: Pentagon">
            <a:extLst>
              <a:ext uri="{FF2B5EF4-FFF2-40B4-BE49-F238E27FC236}">
                <a16:creationId xmlns:a16="http://schemas.microsoft.com/office/drawing/2014/main" id="{687182C5-600B-4842-941B-D7AA2EC602E8}"/>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77" name="Oval">
            <a:extLst>
              <a:ext uri="{FF2B5EF4-FFF2-40B4-BE49-F238E27FC236}">
                <a16:creationId xmlns:a16="http://schemas.microsoft.com/office/drawing/2014/main" id="{F8B0EA57-1766-4B3D-B7F4-E5BBD4A165F7}"/>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79" name="Arrow: Pentagon">
            <a:extLst>
              <a:ext uri="{FF2B5EF4-FFF2-40B4-BE49-F238E27FC236}">
                <a16:creationId xmlns:a16="http://schemas.microsoft.com/office/drawing/2014/main" id="{10B8981B-19E4-4385-981D-25A5007598AA}"/>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81" name="Oval">
            <a:extLst>
              <a:ext uri="{FF2B5EF4-FFF2-40B4-BE49-F238E27FC236}">
                <a16:creationId xmlns:a16="http://schemas.microsoft.com/office/drawing/2014/main" id="{C413A741-D678-4385-937F-D33EDF42C6AB}"/>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83" name="Arrow: Pentagon">
            <a:extLst>
              <a:ext uri="{FF2B5EF4-FFF2-40B4-BE49-F238E27FC236}">
                <a16:creationId xmlns:a16="http://schemas.microsoft.com/office/drawing/2014/main" id="{64E73FA2-B329-4D2D-8D0E-15D2319094F9}"/>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85" name="Arrow: Pentagon">
            <a:extLst>
              <a:ext uri="{FF2B5EF4-FFF2-40B4-BE49-F238E27FC236}">
                <a16:creationId xmlns:a16="http://schemas.microsoft.com/office/drawing/2014/main" id="{985BA656-5B44-4E71-9925-25139C2373BD}"/>
              </a:ext>
            </a:extLst>
          </p:cNvPr>
          <p:cNvSpPr/>
          <p:nvPr/>
        </p:nvSpPr>
        <p:spPr bwMode="auto">
          <a:xfrm>
            <a:off x="1641598" y="2685599"/>
            <a:ext cx="3960001"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87" name="Oval">
            <a:extLst>
              <a:ext uri="{FF2B5EF4-FFF2-40B4-BE49-F238E27FC236}">
                <a16:creationId xmlns:a16="http://schemas.microsoft.com/office/drawing/2014/main" id="{6BF7EF7B-31D9-4755-B185-D85D836C29A6}"/>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89" name="Arrow: Pentagon">
            <a:extLst>
              <a:ext uri="{FF2B5EF4-FFF2-40B4-BE49-F238E27FC236}">
                <a16:creationId xmlns:a16="http://schemas.microsoft.com/office/drawing/2014/main" id="{3BFE52A2-BA74-4709-B70F-79A099726685}"/>
              </a:ext>
            </a:extLst>
          </p:cNvPr>
          <p:cNvSpPr/>
          <p:nvPr/>
        </p:nvSpPr>
        <p:spPr bwMode="auto">
          <a:xfrm>
            <a:off x="1641599" y="3189599"/>
            <a:ext cx="4319992"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BP assessment &amp; growth avenues</a:t>
            </a:r>
          </a:p>
        </p:txBody>
      </p:sp>
      <p:sp>
        <p:nvSpPr>
          <p:cNvPr id="91" name="Oval">
            <a:extLst>
              <a:ext uri="{FF2B5EF4-FFF2-40B4-BE49-F238E27FC236}">
                <a16:creationId xmlns:a16="http://schemas.microsoft.com/office/drawing/2014/main" id="{D6302CAE-26B1-4743-814E-57949CE9DA2D}"/>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93" name="Oval">
            <a:extLst>
              <a:ext uri="{FF2B5EF4-FFF2-40B4-BE49-F238E27FC236}">
                <a16:creationId xmlns:a16="http://schemas.microsoft.com/office/drawing/2014/main" id="{D9A46FFF-E3EB-45F0-A36C-0F884A650B6B}"/>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98982834"/>
      </p:ext>
    </p:extLst>
  </p:cSld>
  <p:clrMapOvr>
    <a:masterClrMapping/>
  </p:clrMapOvr>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AAA3A35-C6B3-4EE6-9406-A3DBC2CB7256}"/>
              </a:ext>
            </a:extLst>
          </p:cNvPr>
          <p:cNvGraphicFramePr>
            <a:graphicFrameLocks noChangeAspect="1"/>
          </p:cNvGraphicFramePr>
          <p:nvPr>
            <p:custDataLst>
              <p:tags r:id="rId1"/>
            </p:custDataLst>
            <p:extLst>
              <p:ext uri="{D42A27DB-BD31-4B8C-83A1-F6EECF244321}">
                <p14:modId xmlns:p14="http://schemas.microsoft.com/office/powerpoint/2010/main" val="3865605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Objet 4" hidden="1">
                        <a:extLst>
                          <a:ext uri="{FF2B5EF4-FFF2-40B4-BE49-F238E27FC236}">
                            <a16:creationId xmlns:a16="http://schemas.microsoft.com/office/drawing/2014/main" id="{EAAA3A35-C6B3-4EE6-9406-A3DBC2CB72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DA14E9-D9F6-4D44-A466-BF298653DD7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 name="Espace réservé du texte 2">
            <a:extLst>
              <a:ext uri="{FF2B5EF4-FFF2-40B4-BE49-F238E27FC236}">
                <a16:creationId xmlns:a16="http://schemas.microsoft.com/office/drawing/2014/main" id="{30953E26-7813-417B-AC0B-7AC74C77D79F}"/>
              </a:ext>
            </a:extLst>
          </p:cNvPr>
          <p:cNvSpPr>
            <a:spLocks noGrp="1"/>
          </p:cNvSpPr>
          <p:nvPr>
            <p:ph type="body" sz="quarter" idx="10"/>
          </p:nvPr>
        </p:nvSpPr>
        <p:spPr/>
        <p:txBody>
          <a:bodyPr/>
          <a:lstStyle/>
          <a:p>
            <a:r>
              <a:rPr lang="en-GB"/>
              <a:t>Sources: eleven research &amp; analysis, company data, interviews with management</a:t>
            </a:r>
          </a:p>
          <a:p>
            <a:endParaRPr lang="en-GB"/>
          </a:p>
        </p:txBody>
      </p:sp>
      <p:sp>
        <p:nvSpPr>
          <p:cNvPr id="14" name="Rectangle 13">
            <a:extLst>
              <a:ext uri="{FF2B5EF4-FFF2-40B4-BE49-F238E27FC236}">
                <a16:creationId xmlns:a16="http://schemas.microsoft.com/office/drawing/2014/main" id="{92FC6C6C-155F-4C1A-890E-114863D14568}"/>
              </a:ext>
            </a:extLst>
          </p:cNvPr>
          <p:cNvSpPr/>
          <p:nvPr/>
        </p:nvSpPr>
        <p:spPr bwMode="auto">
          <a:xfrm>
            <a:off x="256803" y="914401"/>
            <a:ext cx="9392393" cy="551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7" name="Rectangle 46">
            <a:extLst>
              <a:ext uri="{FF2B5EF4-FFF2-40B4-BE49-F238E27FC236}">
                <a16:creationId xmlns:a16="http://schemas.microsoft.com/office/drawing/2014/main" id="{C85B0421-5BDB-4848-914A-867C2D466E74}"/>
              </a:ext>
            </a:extLst>
          </p:cNvPr>
          <p:cNvSpPr/>
          <p:nvPr/>
        </p:nvSpPr>
        <p:spPr bwMode="auto">
          <a:xfrm>
            <a:off x="690141" y="912961"/>
            <a:ext cx="3979494"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dirty="0" err="1">
                <a:ln>
                  <a:noFill/>
                </a:ln>
                <a:effectLst/>
                <a:uLnTx/>
                <a:uFillTx/>
                <a:latin typeface="Trebuchet MS" panose="020B0603020202020204" pitchFamily="34" charset="0"/>
              </a:rPr>
              <a:t>Altares</a:t>
            </a:r>
            <a:r>
              <a:rPr kumimoji="0" lang="en-GB" sz="1000" b="1" i="1" u="none" strike="noStrike" kern="1200" cap="none" spc="0" normalizeH="0" baseline="0" noProof="0" dirty="0">
                <a:ln>
                  <a:noFill/>
                </a:ln>
                <a:effectLst/>
                <a:uLnTx/>
                <a:uFillTx/>
                <a:latin typeface="Trebuchet MS" panose="020B0603020202020204" pitchFamily="34" charset="0"/>
              </a:rPr>
              <a:t>’ expected revenue on B2B Marketing in the French market, in €m</a:t>
            </a:r>
          </a:p>
        </p:txBody>
      </p:sp>
      <p:sp>
        <p:nvSpPr>
          <p:cNvPr id="48" name="Rectangle 47">
            <a:extLst>
              <a:ext uri="{FF2B5EF4-FFF2-40B4-BE49-F238E27FC236}">
                <a16:creationId xmlns:a16="http://schemas.microsoft.com/office/drawing/2014/main" id="{4A9A9C35-FBD0-4A84-AAD1-D2EF1546575F}"/>
              </a:ext>
            </a:extLst>
          </p:cNvPr>
          <p:cNvSpPr/>
          <p:nvPr/>
        </p:nvSpPr>
        <p:spPr bwMode="auto">
          <a:xfrm>
            <a:off x="5606700" y="912961"/>
            <a:ext cx="3979494"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dirty="0" err="1">
                <a:ln>
                  <a:noFill/>
                </a:ln>
                <a:effectLst/>
                <a:uLnTx/>
                <a:uFillTx/>
                <a:latin typeface="Trebuchet MS" panose="020B0603020202020204" pitchFamily="34" charset="0"/>
              </a:rPr>
              <a:t>Altares</a:t>
            </a:r>
            <a:r>
              <a:rPr kumimoji="0" lang="en-GB" sz="1000" b="1" i="1" u="none" strike="noStrike" kern="1200" cap="none" spc="0" normalizeH="0" baseline="0" noProof="0" dirty="0">
                <a:ln>
                  <a:noFill/>
                </a:ln>
                <a:effectLst/>
                <a:uLnTx/>
                <a:uFillTx/>
                <a:latin typeface="Trebuchet MS" panose="020B0603020202020204" pitchFamily="34" charset="0"/>
              </a:rPr>
              <a:t>’ expected revenue on B2B Marketing in the Benelux markets , in €m</a:t>
            </a:r>
          </a:p>
        </p:txBody>
      </p:sp>
      <p:grpSp>
        <p:nvGrpSpPr>
          <p:cNvPr id="35" name="Groupe 34">
            <a:extLst>
              <a:ext uri="{FF2B5EF4-FFF2-40B4-BE49-F238E27FC236}">
                <a16:creationId xmlns:a16="http://schemas.microsoft.com/office/drawing/2014/main" id="{A0F015F3-EE41-4026-97D7-5E48A1B9B5BE}"/>
              </a:ext>
            </a:extLst>
          </p:cNvPr>
          <p:cNvGrpSpPr/>
          <p:nvPr/>
        </p:nvGrpSpPr>
        <p:grpSpPr>
          <a:xfrm>
            <a:off x="8448150" y="-11528"/>
            <a:ext cx="1435548" cy="588143"/>
            <a:chOff x="8448150" y="-11528"/>
            <a:chExt cx="1435548" cy="588143"/>
          </a:xfrm>
        </p:grpSpPr>
        <p:sp>
          <p:nvSpPr>
            <p:cNvPr id="36" name="Rectangle : coins arrondis 199">
              <a:extLst>
                <a:ext uri="{FF2B5EF4-FFF2-40B4-BE49-F238E27FC236}">
                  <a16:creationId xmlns:a16="http://schemas.microsoft.com/office/drawing/2014/main" id="{87B48562-D2D9-4215-A1D8-63C987E5CD85}"/>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7" name="Rectangle : coins arrondis 200">
              <a:extLst>
                <a:ext uri="{FF2B5EF4-FFF2-40B4-BE49-F238E27FC236}">
                  <a16:creationId xmlns:a16="http://schemas.microsoft.com/office/drawing/2014/main" id="{56C7D6E4-5002-428F-872D-0F58F6949487}"/>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Rectangle : coins arrondis 201">
              <a:extLst>
                <a:ext uri="{FF2B5EF4-FFF2-40B4-BE49-F238E27FC236}">
                  <a16:creationId xmlns:a16="http://schemas.microsoft.com/office/drawing/2014/main" id="{C263DE67-002D-418E-8454-406162DF7A56}"/>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9" name="ZoneTexte 18">
              <a:extLst>
                <a:ext uri="{FF2B5EF4-FFF2-40B4-BE49-F238E27FC236}">
                  <a16:creationId xmlns:a16="http://schemas.microsoft.com/office/drawing/2014/main" id="{7598D4B6-96AC-489B-8F61-82243167AC7B}"/>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46" name="Graphique 128" descr="Jauge">
              <a:extLst>
                <a:ext uri="{FF2B5EF4-FFF2-40B4-BE49-F238E27FC236}">
                  <a16:creationId xmlns:a16="http://schemas.microsoft.com/office/drawing/2014/main" id="{3BF9138A-3404-41F4-88F9-5CD7624E39E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49" name="Graphique 90" descr="Poignée de main">
              <a:extLst>
                <a:ext uri="{FF2B5EF4-FFF2-40B4-BE49-F238E27FC236}">
                  <a16:creationId xmlns:a16="http://schemas.microsoft.com/office/drawing/2014/main" id="{BB5784B8-E7A9-4EB0-9EDF-967CEC0DA91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50" name="Graphique 74" descr="Mégaphone">
              <a:extLst>
                <a:ext uri="{FF2B5EF4-FFF2-40B4-BE49-F238E27FC236}">
                  <a16:creationId xmlns:a16="http://schemas.microsoft.com/office/drawing/2014/main" id="{076146C9-B8ED-48F1-B642-C23F230ED44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51" name="Picture 2" descr="Drapeau France">
              <a:extLst>
                <a:ext uri="{FF2B5EF4-FFF2-40B4-BE49-F238E27FC236}">
                  <a16:creationId xmlns:a16="http://schemas.microsoft.com/office/drawing/2014/main" id="{A812444D-8D15-42BF-B277-1BE682E15DAE}"/>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2" name="Picture 2" descr="5 ft x 3 ft 150 x 90 cm-DRAPEAU BELGE Belgique 100% Polyester ...">
              <a:extLst>
                <a:ext uri="{FF2B5EF4-FFF2-40B4-BE49-F238E27FC236}">
                  <a16:creationId xmlns:a16="http://schemas.microsoft.com/office/drawing/2014/main" id="{E2EFBAFC-653D-419B-B806-29288A841B38}"/>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3" name="Picture 2 - 1" descr="Drapeau des Pays-Bas — Wikipédia">
              <a:extLst>
                <a:ext uri="{FF2B5EF4-FFF2-40B4-BE49-F238E27FC236}">
                  <a16:creationId xmlns:a16="http://schemas.microsoft.com/office/drawing/2014/main" id="{3E3B88FE-C97C-4AF4-BCD4-7C47F14BABC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4" name="Picture 2 - 2" descr="Drapeau du Luxembourg">
              <a:extLst>
                <a:ext uri="{FF2B5EF4-FFF2-40B4-BE49-F238E27FC236}">
                  <a16:creationId xmlns:a16="http://schemas.microsoft.com/office/drawing/2014/main" id="{6C76FC90-E341-47F6-9FF7-5165947FE2A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5" name="ZoneTexte 54">
              <a:extLst>
                <a:ext uri="{FF2B5EF4-FFF2-40B4-BE49-F238E27FC236}">
                  <a16:creationId xmlns:a16="http://schemas.microsoft.com/office/drawing/2014/main" id="{2C205BA5-D72C-4E3B-8EC2-747B50C45C45}"/>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sp>
        <p:nvSpPr>
          <p:cNvPr id="57" name="Rectangle 56">
            <a:extLst>
              <a:ext uri="{FF2B5EF4-FFF2-40B4-BE49-F238E27FC236}">
                <a16:creationId xmlns:a16="http://schemas.microsoft.com/office/drawing/2014/main" id="{C7761167-8EEA-4790-9E92-2DF776DF9F92}"/>
              </a:ext>
            </a:extLst>
          </p:cNvPr>
          <p:cNvSpPr/>
          <p:nvPr/>
        </p:nvSpPr>
        <p:spPr bwMode="auto">
          <a:xfrm>
            <a:off x="591509" y="4953143"/>
            <a:ext cx="8801381" cy="1422342"/>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marL="0" lvl="1" algn="ctr">
              <a:spcBef>
                <a:spcPts val="600"/>
              </a:spcBef>
              <a:buClr>
                <a:schemeClr val="tx1"/>
              </a:buClr>
            </a:pPr>
            <a:r>
              <a:rPr lang="en-GB" sz="1000" b="1">
                <a:solidFill>
                  <a:schemeClr val="tx2"/>
                </a:solidFill>
                <a:latin typeface="Trebuchet MS" panose="020B0603020202020204" pitchFamily="34" charset="0"/>
              </a:rPr>
              <a:t>Key growth drivers</a:t>
            </a:r>
            <a:r>
              <a:rPr lang="en-GB" sz="1000" b="1">
                <a:latin typeface="Trebuchet MS" pitchFamily="34" charset="0"/>
              </a:rPr>
              <a:t>:</a:t>
            </a:r>
          </a:p>
          <a:p>
            <a:pPr marL="228600" lvl="1" indent="-228600">
              <a:spcBef>
                <a:spcPts val="600"/>
              </a:spcBef>
              <a:buClr>
                <a:schemeClr val="tx1"/>
              </a:buClr>
              <a:buFont typeface="Arial" panose="020B0604020202020204" pitchFamily="34" charset="0"/>
              <a:buChar char="•"/>
            </a:pPr>
            <a:r>
              <a:rPr lang="en-GB" sz="1000">
                <a:latin typeface="Trebuchet MS" panose="020B0603020202020204" pitchFamily="34" charset="0"/>
              </a:rPr>
              <a:t>Ongoing </a:t>
            </a:r>
            <a:r>
              <a:rPr lang="en-GB" sz="1000">
                <a:solidFill>
                  <a:schemeClr val="tx2"/>
                </a:solidFill>
                <a:latin typeface="Trebuchet MS" panose="020B0603020202020204" pitchFamily="34" charset="0"/>
              </a:rPr>
              <a:t>product harmonization </a:t>
            </a:r>
            <a:r>
              <a:rPr lang="en-GB" sz="1000">
                <a:latin typeface="Trebuchet MS" panose="020B0603020202020204" pitchFamily="34" charset="0"/>
              </a:rPr>
              <a:t>and new </a:t>
            </a:r>
            <a:r>
              <a:rPr lang="en-GB" sz="1000">
                <a:solidFill>
                  <a:schemeClr val="tx2"/>
                </a:solidFill>
                <a:latin typeface="Trebuchet MS" panose="020B0603020202020204" pitchFamily="34" charset="0"/>
              </a:rPr>
              <a:t>go-to-market </a:t>
            </a:r>
            <a:r>
              <a:rPr lang="en-GB" sz="1000">
                <a:latin typeface="Trebuchet MS" panose="020B0603020202020204" pitchFamily="34" charset="0"/>
              </a:rPr>
              <a:t>strategy</a:t>
            </a:r>
          </a:p>
          <a:p>
            <a:pPr marL="228600" lvl="1" indent="-228600">
              <a:spcBef>
                <a:spcPts val="600"/>
              </a:spcBef>
              <a:buClr>
                <a:schemeClr val="tx1"/>
              </a:buClr>
              <a:buFont typeface="Arial" panose="020B0604020202020204" pitchFamily="34" charset="0"/>
              <a:buChar char="•"/>
            </a:pPr>
            <a:r>
              <a:rPr lang="en-GB" sz="1000">
                <a:solidFill>
                  <a:schemeClr val="tx2"/>
                </a:solidFill>
                <a:latin typeface="Trebuchet MS" panose="020B0603020202020204" pitchFamily="34" charset="0"/>
              </a:rPr>
              <a:t>Data enrichment </a:t>
            </a:r>
            <a:r>
              <a:rPr lang="en-GB" sz="1000">
                <a:latin typeface="Trebuchet MS" panose="020B0603020202020204" pitchFamily="34" charset="0"/>
              </a:rPr>
              <a:t>of the products</a:t>
            </a:r>
          </a:p>
          <a:p>
            <a:pPr marL="228600" lvl="1" indent="-228600">
              <a:spcBef>
                <a:spcPts val="600"/>
              </a:spcBef>
              <a:buClr>
                <a:schemeClr val="tx1"/>
              </a:buClr>
              <a:buFont typeface="Arial" panose="020B0604020202020204" pitchFamily="34" charset="0"/>
              <a:buChar char="•"/>
            </a:pPr>
            <a:r>
              <a:rPr lang="en-GB" sz="1000">
                <a:latin typeface="Trebuchet MS" panose="020B0603020202020204" pitchFamily="34" charset="0"/>
              </a:rPr>
              <a:t>Enhanced targeting enabled by </a:t>
            </a:r>
            <a:r>
              <a:rPr lang="en-GB" sz="1000">
                <a:solidFill>
                  <a:schemeClr val="tx2"/>
                </a:solidFill>
                <a:latin typeface="Trebuchet MS" panose="020B0603020202020204" pitchFamily="34" charset="0"/>
              </a:rPr>
              <a:t>artificial intelligence </a:t>
            </a:r>
            <a:r>
              <a:rPr lang="en-GB" sz="1000">
                <a:latin typeface="Trebuchet MS" panose="020B0603020202020204" pitchFamily="34" charset="0"/>
              </a:rPr>
              <a:t>and increased </a:t>
            </a:r>
            <a:r>
              <a:rPr lang="en-GB" sz="1000">
                <a:solidFill>
                  <a:schemeClr val="tx2"/>
                </a:solidFill>
                <a:latin typeface="Trebuchet MS" panose="020B0603020202020204" pitchFamily="34" charset="0"/>
              </a:rPr>
              <a:t>integration</a:t>
            </a:r>
          </a:p>
          <a:p>
            <a:pPr marL="228600" lvl="1" indent="-228600">
              <a:spcBef>
                <a:spcPts val="600"/>
              </a:spcBef>
              <a:buClr>
                <a:schemeClr val="tx1"/>
              </a:buClr>
              <a:buFont typeface="Arial" panose="020B0604020202020204" pitchFamily="34" charset="0"/>
              <a:buChar char="•"/>
            </a:pPr>
            <a:r>
              <a:rPr lang="en-GB" sz="1000">
                <a:solidFill>
                  <a:schemeClr val="tx2"/>
                </a:solidFill>
                <a:cs typeface="Arial"/>
              </a:rPr>
              <a:t>Platform strategy </a:t>
            </a:r>
            <a:r>
              <a:rPr lang="en-GB" sz="1000">
                <a:cs typeface="Arial"/>
              </a:rPr>
              <a:t>consolidating targeting and activation of B2B audience</a:t>
            </a:r>
          </a:p>
        </p:txBody>
      </p:sp>
      <p:grpSp>
        <p:nvGrpSpPr>
          <p:cNvPr id="58" name="Groupe 57">
            <a:extLst>
              <a:ext uri="{FF2B5EF4-FFF2-40B4-BE49-F238E27FC236}">
                <a16:creationId xmlns:a16="http://schemas.microsoft.com/office/drawing/2014/main" id="{CA555478-8DCC-4F1B-BA3B-9CDE3E7F1CF9}"/>
              </a:ext>
            </a:extLst>
          </p:cNvPr>
          <p:cNvGrpSpPr/>
          <p:nvPr/>
        </p:nvGrpSpPr>
        <p:grpSpPr>
          <a:xfrm>
            <a:off x="639234" y="5181923"/>
            <a:ext cx="222565" cy="277000"/>
            <a:chOff x="3409503" y="1194238"/>
            <a:chExt cx="269305" cy="368686"/>
          </a:xfrm>
        </p:grpSpPr>
        <p:sp>
          <p:nvSpPr>
            <p:cNvPr id="59" name="Ellipse 58">
              <a:extLst>
                <a:ext uri="{FF2B5EF4-FFF2-40B4-BE49-F238E27FC236}">
                  <a16:creationId xmlns:a16="http://schemas.microsoft.com/office/drawing/2014/main" id="{CB3E8335-973C-4212-B8EF-06D93E94D9BB}"/>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60" name="ZoneTexte 59">
              <a:extLst>
                <a:ext uri="{FF2B5EF4-FFF2-40B4-BE49-F238E27FC236}">
                  <a16:creationId xmlns:a16="http://schemas.microsoft.com/office/drawing/2014/main" id="{CD0F51E3-CC4B-46A1-9693-7082CBB05CD9}"/>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1</a:t>
              </a:r>
            </a:p>
          </p:txBody>
        </p:sp>
      </p:grpSp>
      <p:grpSp>
        <p:nvGrpSpPr>
          <p:cNvPr id="61" name="Groupe 60">
            <a:extLst>
              <a:ext uri="{FF2B5EF4-FFF2-40B4-BE49-F238E27FC236}">
                <a16:creationId xmlns:a16="http://schemas.microsoft.com/office/drawing/2014/main" id="{7DD544F8-17CB-48A1-8326-E30EB2A37AE1}"/>
              </a:ext>
            </a:extLst>
          </p:cNvPr>
          <p:cNvGrpSpPr/>
          <p:nvPr/>
        </p:nvGrpSpPr>
        <p:grpSpPr>
          <a:xfrm>
            <a:off x="639234" y="5412998"/>
            <a:ext cx="222565" cy="277000"/>
            <a:chOff x="3409503" y="1194238"/>
            <a:chExt cx="269305" cy="368684"/>
          </a:xfrm>
        </p:grpSpPr>
        <p:sp>
          <p:nvSpPr>
            <p:cNvPr id="62" name="Ellipse 61">
              <a:extLst>
                <a:ext uri="{FF2B5EF4-FFF2-40B4-BE49-F238E27FC236}">
                  <a16:creationId xmlns:a16="http://schemas.microsoft.com/office/drawing/2014/main" id="{5755D8D0-0DEF-48CB-8C4B-6E8F69625F31}"/>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63" name="ZoneTexte 62">
              <a:extLst>
                <a:ext uri="{FF2B5EF4-FFF2-40B4-BE49-F238E27FC236}">
                  <a16:creationId xmlns:a16="http://schemas.microsoft.com/office/drawing/2014/main" id="{ABE41BAD-E61A-4ABB-AE5E-194A42711AA0}"/>
                </a:ext>
              </a:extLst>
            </p:cNvPr>
            <p:cNvSpPr txBox="1"/>
            <p:nvPr/>
          </p:nvSpPr>
          <p:spPr>
            <a:xfrm>
              <a:off x="3409503" y="1194238"/>
              <a:ext cx="269305" cy="368684"/>
            </a:xfrm>
            <a:prstGeom prst="rect">
              <a:avLst/>
            </a:prstGeom>
            <a:noFill/>
          </p:spPr>
          <p:txBody>
            <a:bodyPr wrap="square" rtlCol="0">
              <a:spAutoFit/>
            </a:bodyPr>
            <a:lstStyle/>
            <a:p>
              <a:pPr algn="ctr"/>
              <a:r>
                <a:rPr lang="en-GB" sz="1200">
                  <a:solidFill>
                    <a:schemeClr val="bg1"/>
                  </a:solidFill>
                  <a:latin typeface="+mj-lt"/>
                </a:rPr>
                <a:t>2</a:t>
              </a:r>
            </a:p>
          </p:txBody>
        </p:sp>
      </p:grpSp>
      <p:grpSp>
        <p:nvGrpSpPr>
          <p:cNvPr id="68" name="Groupe 67">
            <a:extLst>
              <a:ext uri="{FF2B5EF4-FFF2-40B4-BE49-F238E27FC236}">
                <a16:creationId xmlns:a16="http://schemas.microsoft.com/office/drawing/2014/main" id="{5FE8CF72-BA14-4FE2-AAE9-F2C19C3EAD16}"/>
              </a:ext>
            </a:extLst>
          </p:cNvPr>
          <p:cNvGrpSpPr/>
          <p:nvPr/>
        </p:nvGrpSpPr>
        <p:grpSpPr>
          <a:xfrm>
            <a:off x="639234" y="5636452"/>
            <a:ext cx="222565" cy="277000"/>
            <a:chOff x="3409503" y="1194238"/>
            <a:chExt cx="269305" cy="368684"/>
          </a:xfrm>
        </p:grpSpPr>
        <p:sp>
          <p:nvSpPr>
            <p:cNvPr id="69" name="Ellipse 68">
              <a:extLst>
                <a:ext uri="{FF2B5EF4-FFF2-40B4-BE49-F238E27FC236}">
                  <a16:creationId xmlns:a16="http://schemas.microsoft.com/office/drawing/2014/main" id="{B0799433-5878-4EDA-A0D1-9BE83DFA4366}"/>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70" name="ZoneTexte 69">
              <a:extLst>
                <a:ext uri="{FF2B5EF4-FFF2-40B4-BE49-F238E27FC236}">
                  <a16:creationId xmlns:a16="http://schemas.microsoft.com/office/drawing/2014/main" id="{BA99CAC5-2EC8-4D88-9F02-3B44A80B5882}"/>
                </a:ext>
              </a:extLst>
            </p:cNvPr>
            <p:cNvSpPr txBox="1"/>
            <p:nvPr/>
          </p:nvSpPr>
          <p:spPr>
            <a:xfrm>
              <a:off x="3409503" y="1194238"/>
              <a:ext cx="269305" cy="368684"/>
            </a:xfrm>
            <a:prstGeom prst="rect">
              <a:avLst/>
            </a:prstGeom>
            <a:noFill/>
          </p:spPr>
          <p:txBody>
            <a:bodyPr wrap="square" rtlCol="0">
              <a:spAutoFit/>
            </a:bodyPr>
            <a:lstStyle/>
            <a:p>
              <a:pPr algn="ctr"/>
              <a:r>
                <a:rPr lang="en-GB" sz="1200">
                  <a:solidFill>
                    <a:schemeClr val="bg1"/>
                  </a:solidFill>
                  <a:latin typeface="+mj-lt"/>
                </a:rPr>
                <a:t>3</a:t>
              </a:r>
            </a:p>
          </p:txBody>
        </p:sp>
      </p:grpSp>
      <p:sp>
        <p:nvSpPr>
          <p:cNvPr id="150" name="Rectangle 149">
            <a:extLst>
              <a:ext uri="{FF2B5EF4-FFF2-40B4-BE49-F238E27FC236}">
                <a16:creationId xmlns:a16="http://schemas.microsoft.com/office/drawing/2014/main" id="{2E532408-C62D-41D3-B57D-A0A86CA848DE}"/>
              </a:ext>
            </a:extLst>
          </p:cNvPr>
          <p:cNvSpPr/>
          <p:nvPr/>
        </p:nvSpPr>
        <p:spPr bwMode="auto">
          <a:xfrm>
            <a:off x="5282738" y="1343702"/>
            <a:ext cx="4175725" cy="33293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1" name="Rectangle 150">
            <a:extLst>
              <a:ext uri="{FF2B5EF4-FFF2-40B4-BE49-F238E27FC236}">
                <a16:creationId xmlns:a16="http://schemas.microsoft.com/office/drawing/2014/main" id="{82DEBBF3-491D-4866-9699-99021F3BA9EF}"/>
              </a:ext>
            </a:extLst>
          </p:cNvPr>
          <p:cNvSpPr/>
          <p:nvPr/>
        </p:nvSpPr>
        <p:spPr bwMode="auto">
          <a:xfrm>
            <a:off x="462754" y="1343702"/>
            <a:ext cx="4175725" cy="33293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2" name="Rectangle: Rounded Corners 151">
            <a:extLst>
              <a:ext uri="{FF2B5EF4-FFF2-40B4-BE49-F238E27FC236}">
                <a16:creationId xmlns:a16="http://schemas.microsoft.com/office/drawing/2014/main" id="{7BA28E49-F140-4A49-995C-C3B8B152A61A}"/>
              </a:ext>
            </a:extLst>
          </p:cNvPr>
          <p:cNvSpPr/>
          <p:nvPr/>
        </p:nvSpPr>
        <p:spPr bwMode="auto">
          <a:xfrm>
            <a:off x="629629" y="4585807"/>
            <a:ext cx="1421876"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kumimoji="0" lang="en-GB" sz="1000" b="1" i="1" u="none" strike="noStrike" cap="none" normalizeH="0" baseline="-25000">
                <a:ln>
                  <a:noFill/>
                </a:ln>
                <a:solidFill>
                  <a:schemeClr val="tx1"/>
                </a:solidFill>
                <a:effectLst/>
                <a:latin typeface="Trebuchet MS" pitchFamily="34" charset="0"/>
              </a:rPr>
              <a:t>17-20</a:t>
            </a:r>
            <a:r>
              <a:rPr kumimoji="0" lang="en-GB" sz="1000" b="1" i="1" u="none" strike="noStrike" cap="none" normalizeH="0" baseline="0">
                <a:ln>
                  <a:noFill/>
                </a:ln>
                <a:solidFill>
                  <a:schemeClr val="tx1"/>
                </a:solidFill>
                <a:effectLst/>
                <a:latin typeface="Trebuchet MS" pitchFamily="34" charset="0"/>
              </a:rPr>
              <a:t>=+3.4%</a:t>
            </a:r>
          </a:p>
        </p:txBody>
      </p:sp>
      <p:sp>
        <p:nvSpPr>
          <p:cNvPr id="153" name="Rectangle: Rounded Corners 152">
            <a:extLst>
              <a:ext uri="{FF2B5EF4-FFF2-40B4-BE49-F238E27FC236}">
                <a16:creationId xmlns:a16="http://schemas.microsoft.com/office/drawing/2014/main" id="{9991953C-C2A5-4B25-B864-28C1D0CC492C}"/>
              </a:ext>
            </a:extLst>
          </p:cNvPr>
          <p:cNvSpPr/>
          <p:nvPr/>
        </p:nvSpPr>
        <p:spPr bwMode="auto">
          <a:xfrm>
            <a:off x="2080544" y="4585807"/>
            <a:ext cx="2480671"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lang="en-GB" sz="1000" b="1" i="1" baseline="-25000">
                <a:latin typeface="Trebuchet MS" pitchFamily="34" charset="0"/>
              </a:rPr>
              <a:t>2</a:t>
            </a:r>
            <a:r>
              <a:rPr kumimoji="0" lang="en-GB" sz="1000" b="1" i="1" u="none" strike="noStrike" cap="none" normalizeH="0" baseline="-25000">
                <a:ln>
                  <a:noFill/>
                </a:ln>
                <a:solidFill>
                  <a:schemeClr val="tx1"/>
                </a:solidFill>
                <a:effectLst/>
                <a:latin typeface="Trebuchet MS" pitchFamily="34" charset="0"/>
              </a:rPr>
              <a:t>0-25</a:t>
            </a:r>
            <a:r>
              <a:rPr kumimoji="0" lang="en-GB" sz="1000" b="1" i="1" u="none" strike="noStrike" cap="none" normalizeH="0" baseline="0">
                <a:ln>
                  <a:noFill/>
                </a:ln>
                <a:solidFill>
                  <a:schemeClr val="tx1"/>
                </a:solidFill>
                <a:effectLst/>
                <a:latin typeface="Trebuchet MS" pitchFamily="34" charset="0"/>
              </a:rPr>
              <a:t>=+6.2%</a:t>
            </a:r>
          </a:p>
        </p:txBody>
      </p:sp>
      <p:sp>
        <p:nvSpPr>
          <p:cNvPr id="154" name="Rectangle: Rounded Corners 153">
            <a:extLst>
              <a:ext uri="{FF2B5EF4-FFF2-40B4-BE49-F238E27FC236}">
                <a16:creationId xmlns:a16="http://schemas.microsoft.com/office/drawing/2014/main" id="{98C51536-2B14-4192-A8BF-3CEA4AFA4F72}"/>
              </a:ext>
            </a:extLst>
          </p:cNvPr>
          <p:cNvSpPr/>
          <p:nvPr/>
        </p:nvSpPr>
        <p:spPr bwMode="auto">
          <a:xfrm>
            <a:off x="5420242" y="4585807"/>
            <a:ext cx="1421876"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kumimoji="0" lang="en-GB" sz="1000" b="1" i="1" u="none" strike="noStrike" cap="none" normalizeH="0" baseline="-25000">
                <a:ln>
                  <a:noFill/>
                </a:ln>
                <a:solidFill>
                  <a:schemeClr val="tx1"/>
                </a:solidFill>
                <a:effectLst/>
                <a:latin typeface="Trebuchet MS" pitchFamily="34" charset="0"/>
              </a:rPr>
              <a:t>17-20</a:t>
            </a:r>
            <a:r>
              <a:rPr lang="en-GB" sz="1000" b="1" i="1">
                <a:latin typeface="Trebuchet MS" pitchFamily="34" charset="0"/>
              </a:rPr>
              <a:t>=-0.4</a:t>
            </a:r>
            <a:r>
              <a:rPr kumimoji="0" lang="en-GB" sz="1000" b="1" i="1" u="none" strike="noStrike" cap="none" normalizeH="0" baseline="0">
                <a:ln>
                  <a:noFill/>
                </a:ln>
                <a:solidFill>
                  <a:schemeClr val="tx1"/>
                </a:solidFill>
                <a:effectLst/>
                <a:latin typeface="Trebuchet MS" pitchFamily="34" charset="0"/>
              </a:rPr>
              <a:t>%</a:t>
            </a:r>
          </a:p>
        </p:txBody>
      </p:sp>
      <p:sp>
        <p:nvSpPr>
          <p:cNvPr id="155" name="Rectangle: Rounded Corners 154">
            <a:extLst>
              <a:ext uri="{FF2B5EF4-FFF2-40B4-BE49-F238E27FC236}">
                <a16:creationId xmlns:a16="http://schemas.microsoft.com/office/drawing/2014/main" id="{D568A810-32AA-423F-90F1-6B9D8A243517}"/>
              </a:ext>
            </a:extLst>
          </p:cNvPr>
          <p:cNvSpPr/>
          <p:nvPr/>
        </p:nvSpPr>
        <p:spPr bwMode="auto">
          <a:xfrm>
            <a:off x="6871157" y="4585807"/>
            <a:ext cx="2480671"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lang="en-GB" sz="1000" b="1" i="1" baseline="-25000">
                <a:latin typeface="Trebuchet MS" pitchFamily="34" charset="0"/>
              </a:rPr>
              <a:t>20-25</a:t>
            </a:r>
            <a:r>
              <a:rPr kumimoji="0" lang="en-GB" sz="1000" b="1" i="1" u="none" strike="noStrike" cap="none" normalizeH="0" baseline="0">
                <a:ln>
                  <a:noFill/>
                </a:ln>
                <a:solidFill>
                  <a:schemeClr val="tx1"/>
                </a:solidFill>
                <a:effectLst/>
                <a:latin typeface="Trebuchet MS" pitchFamily="34" charset="0"/>
              </a:rPr>
              <a:t>=+4.6%</a:t>
            </a:r>
          </a:p>
        </p:txBody>
      </p:sp>
      <p:graphicFrame>
        <p:nvGraphicFramePr>
          <p:cNvPr id="156" name="Chart 155">
            <a:extLst>
              <a:ext uri="{FF2B5EF4-FFF2-40B4-BE49-F238E27FC236}">
                <a16:creationId xmlns:a16="http://schemas.microsoft.com/office/drawing/2014/main" id="{27A44FBB-4467-4B76-AF3C-7528E9F5D887}"/>
              </a:ext>
            </a:extLst>
          </p:cNvPr>
          <p:cNvGraphicFramePr/>
          <p:nvPr>
            <p:extLst>
              <p:ext uri="{D42A27DB-BD31-4B8C-83A1-F6EECF244321}">
                <p14:modId xmlns:p14="http://schemas.microsoft.com/office/powerpoint/2010/main" val="3568242069"/>
              </p:ext>
            </p:extLst>
          </p:nvPr>
        </p:nvGraphicFramePr>
        <p:xfrm>
          <a:off x="492837" y="1985570"/>
          <a:ext cx="4175125" cy="2430462"/>
        </p:xfrm>
        <a:graphic>
          <a:graphicData uri="http://schemas.openxmlformats.org/drawingml/2006/chart">
            <c:chart xmlns:c="http://schemas.openxmlformats.org/drawingml/2006/chart" xmlns:r="http://schemas.openxmlformats.org/officeDocument/2006/relationships" r:id="rId16"/>
          </a:graphicData>
        </a:graphic>
      </p:graphicFrame>
      <p:cxnSp>
        <p:nvCxnSpPr>
          <p:cNvPr id="157" name="Straight Connector 156">
            <a:extLst>
              <a:ext uri="{FF2B5EF4-FFF2-40B4-BE49-F238E27FC236}">
                <a16:creationId xmlns:a16="http://schemas.microsoft.com/office/drawing/2014/main" id="{F37EC9CB-1C15-4E67-9CAE-A912BF58EC99}"/>
              </a:ext>
            </a:extLst>
          </p:cNvPr>
          <p:cNvCxnSpPr>
            <a:cxnSpLocks/>
          </p:cNvCxnSpPr>
          <p:nvPr/>
        </p:nvCxnSpPr>
        <p:spPr bwMode="auto">
          <a:xfrm flipV="1">
            <a:off x="690141" y="2222022"/>
            <a:ext cx="966333" cy="296875"/>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cxnSp>
        <p:nvCxnSpPr>
          <p:cNvPr id="158" name="Straight Connector 157">
            <a:extLst>
              <a:ext uri="{FF2B5EF4-FFF2-40B4-BE49-F238E27FC236}">
                <a16:creationId xmlns:a16="http://schemas.microsoft.com/office/drawing/2014/main" id="{33979CC2-12EA-4702-8FCD-A9DC8687205E}"/>
              </a:ext>
            </a:extLst>
          </p:cNvPr>
          <p:cNvCxnSpPr/>
          <p:nvPr/>
        </p:nvCxnSpPr>
        <p:spPr bwMode="auto">
          <a:xfrm flipV="1">
            <a:off x="2134312" y="2341487"/>
            <a:ext cx="0" cy="34925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59" name="Straight Connector 158">
            <a:extLst>
              <a:ext uri="{FF2B5EF4-FFF2-40B4-BE49-F238E27FC236}">
                <a16:creationId xmlns:a16="http://schemas.microsoft.com/office/drawing/2014/main" id="{8D70FB09-EB63-43D9-8CC9-CA3A8FC8D23E}"/>
              </a:ext>
            </a:extLst>
          </p:cNvPr>
          <p:cNvCxnSpPr/>
          <p:nvPr/>
        </p:nvCxnSpPr>
        <p:spPr bwMode="auto">
          <a:xfrm>
            <a:off x="2134312" y="2341487"/>
            <a:ext cx="40798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60" name="Straight Connector 159">
            <a:extLst>
              <a:ext uri="{FF2B5EF4-FFF2-40B4-BE49-F238E27FC236}">
                <a16:creationId xmlns:a16="http://schemas.microsoft.com/office/drawing/2014/main" id="{C468C75D-B3D5-4E66-ACC3-0A1049A57DE3}"/>
              </a:ext>
            </a:extLst>
          </p:cNvPr>
          <p:cNvCxnSpPr/>
          <p:nvPr/>
        </p:nvCxnSpPr>
        <p:spPr bwMode="auto">
          <a:xfrm>
            <a:off x="2542300" y="2341487"/>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161" name="Straight Connector 160">
            <a:extLst>
              <a:ext uri="{FF2B5EF4-FFF2-40B4-BE49-F238E27FC236}">
                <a16:creationId xmlns:a16="http://schemas.microsoft.com/office/drawing/2014/main" id="{940EC4A2-DBD0-49A4-909A-F6B8100D6EAB}"/>
              </a:ext>
            </a:extLst>
          </p:cNvPr>
          <p:cNvCxnSpPr/>
          <p:nvPr/>
        </p:nvCxnSpPr>
        <p:spPr bwMode="auto">
          <a:xfrm flipV="1">
            <a:off x="2618500" y="2217662"/>
            <a:ext cx="0" cy="363538"/>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62" name="Straight Connector 161">
            <a:extLst>
              <a:ext uri="{FF2B5EF4-FFF2-40B4-BE49-F238E27FC236}">
                <a16:creationId xmlns:a16="http://schemas.microsoft.com/office/drawing/2014/main" id="{BEC154B8-5A2A-4F77-8541-050C1A5FBFD6}"/>
              </a:ext>
            </a:extLst>
          </p:cNvPr>
          <p:cNvCxnSpPr/>
          <p:nvPr/>
        </p:nvCxnSpPr>
        <p:spPr bwMode="auto">
          <a:xfrm>
            <a:off x="2618500" y="2217662"/>
            <a:ext cx="40640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63" name="Straight Connector 162">
            <a:extLst>
              <a:ext uri="{FF2B5EF4-FFF2-40B4-BE49-F238E27FC236}">
                <a16:creationId xmlns:a16="http://schemas.microsoft.com/office/drawing/2014/main" id="{EA253528-F078-4611-BBB0-A7756F826413}"/>
              </a:ext>
            </a:extLst>
          </p:cNvPr>
          <p:cNvCxnSpPr/>
          <p:nvPr/>
        </p:nvCxnSpPr>
        <p:spPr bwMode="auto">
          <a:xfrm>
            <a:off x="3024900" y="2217662"/>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164" name="Straight Connector 163">
            <a:extLst>
              <a:ext uri="{FF2B5EF4-FFF2-40B4-BE49-F238E27FC236}">
                <a16:creationId xmlns:a16="http://schemas.microsoft.com/office/drawing/2014/main" id="{F01E08AB-1C5F-440A-87E9-28C7682835A0}"/>
              </a:ext>
            </a:extLst>
          </p:cNvPr>
          <p:cNvCxnSpPr>
            <a:cxnSpLocks/>
          </p:cNvCxnSpPr>
          <p:nvPr/>
        </p:nvCxnSpPr>
        <p:spPr bwMode="auto">
          <a:xfrm flipV="1">
            <a:off x="2134312" y="1658068"/>
            <a:ext cx="2238481" cy="496095"/>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sp>
        <p:nvSpPr>
          <p:cNvPr id="165" name="Espace réservé du texte 2">
            <a:extLst>
              <a:ext uri="{FF2B5EF4-FFF2-40B4-BE49-F238E27FC236}">
                <a16:creationId xmlns:a16="http://schemas.microsoft.com/office/drawing/2014/main" id="{C1384961-FCA8-4FE4-9498-C4566B1B404D}"/>
              </a:ext>
            </a:extLst>
          </p:cNvPr>
          <p:cNvSpPr>
            <a:spLocks noGrp="1"/>
          </p:cNvSpPr>
          <p:nvPr/>
        </p:nvSpPr>
        <p:spPr bwMode="auto">
          <a:xfrm>
            <a:off x="2440700" y="4376345"/>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EB7B7909-9B8B-4310-9085-E21499BFCA43}" type="datetime'''2''''''''0''''''''''''''21'''''''''''''">
              <a:rPr lang="en-GB" altLang="en-US" sz="1000" smtClean="0">
                <a:latin typeface="+mn-lt"/>
                <a:sym typeface="+mn-lt"/>
              </a:rPr>
              <a:pPr marL="0" indent="0" algn="ctr">
                <a:spcBef>
                  <a:spcPct val="0"/>
                </a:spcBef>
                <a:buNone/>
              </a:pPr>
              <a:t>2021</a:t>
            </a:fld>
            <a:endParaRPr lang="en-GB" sz="1000">
              <a:latin typeface="+mn-lt"/>
              <a:sym typeface="+mn-lt"/>
            </a:endParaRPr>
          </a:p>
        </p:txBody>
      </p:sp>
      <p:sp>
        <p:nvSpPr>
          <p:cNvPr id="167" name="Espace réservé du texte 2">
            <a:extLst>
              <a:ext uri="{FF2B5EF4-FFF2-40B4-BE49-F238E27FC236}">
                <a16:creationId xmlns:a16="http://schemas.microsoft.com/office/drawing/2014/main" id="{DC1D48C4-AD40-41B5-B9CF-A1663784EEF8}"/>
              </a:ext>
            </a:extLst>
          </p:cNvPr>
          <p:cNvSpPr>
            <a:spLocks noGrp="1"/>
          </p:cNvSpPr>
          <p:nvPr/>
        </p:nvSpPr>
        <p:spPr bwMode="auto">
          <a:xfrm>
            <a:off x="1994612" y="4376345"/>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0F5D9284-4ED2-45E4-8D27-96A0FB0EC0E5}" type="datetime'''''''''''2''''''0''''''2''''''''0'''''''''''''''">
              <a:rPr lang="en-GB" altLang="en-US" sz="1000" smtClean="0">
                <a:latin typeface="+mn-lt"/>
                <a:sym typeface="+mn-lt"/>
              </a:rPr>
              <a:pPr marL="0" indent="0" algn="ctr">
                <a:spcBef>
                  <a:spcPct val="0"/>
                </a:spcBef>
                <a:buNone/>
              </a:pPr>
              <a:t>2020</a:t>
            </a:fld>
            <a:endParaRPr lang="en-GB" sz="1000">
              <a:latin typeface="+mn-lt"/>
              <a:sym typeface="+mn-lt"/>
            </a:endParaRPr>
          </a:p>
        </p:txBody>
      </p:sp>
      <p:sp>
        <p:nvSpPr>
          <p:cNvPr id="168" name="Espace réservé du texte 2">
            <a:extLst>
              <a:ext uri="{FF2B5EF4-FFF2-40B4-BE49-F238E27FC236}">
                <a16:creationId xmlns:a16="http://schemas.microsoft.com/office/drawing/2014/main" id="{FF92E6A0-B80D-4952-8C10-1B4E80A62C54}"/>
              </a:ext>
            </a:extLst>
          </p:cNvPr>
          <p:cNvSpPr>
            <a:spLocks noGrp="1"/>
          </p:cNvSpPr>
          <p:nvPr/>
        </p:nvSpPr>
        <p:spPr bwMode="auto">
          <a:xfrm>
            <a:off x="1548525" y="4376345"/>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3D6FE64A-A691-4C87-8136-D99646A4A2DA}" type="datetime'''''''''2''''''''''''''''''0''''''1''''''9'''''''''''">
              <a:rPr lang="en-GB" altLang="en-US" sz="1000" smtClean="0">
                <a:latin typeface="+mn-lt"/>
                <a:sym typeface="+mn-lt"/>
              </a:rPr>
              <a:pPr marL="0" indent="0" algn="ctr">
                <a:spcBef>
                  <a:spcPct val="0"/>
                </a:spcBef>
                <a:buNone/>
              </a:pPr>
              <a:t>2019</a:t>
            </a:fld>
            <a:endParaRPr lang="en-GB" sz="1000">
              <a:latin typeface="+mn-lt"/>
              <a:sym typeface="+mn-lt"/>
            </a:endParaRPr>
          </a:p>
        </p:txBody>
      </p:sp>
      <p:sp>
        <p:nvSpPr>
          <p:cNvPr id="169" name="Espace réservé du texte 2">
            <a:extLst>
              <a:ext uri="{FF2B5EF4-FFF2-40B4-BE49-F238E27FC236}">
                <a16:creationId xmlns:a16="http://schemas.microsoft.com/office/drawing/2014/main" id="{D4FB53C2-5930-4361-A03D-9A62998AF146}"/>
              </a:ext>
            </a:extLst>
          </p:cNvPr>
          <p:cNvSpPr>
            <a:spLocks noGrp="1"/>
          </p:cNvSpPr>
          <p:nvPr/>
        </p:nvSpPr>
        <p:spPr bwMode="auto">
          <a:xfrm>
            <a:off x="657937" y="4376345"/>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8D2797A6-7E92-4661-88C9-7B8BB5C872F7}" type="datetime'''2''''''''''0''''''''17'''''''''''''''''">
              <a:rPr lang="en-GB" altLang="en-US" sz="1000" smtClean="0">
                <a:latin typeface="+mn-lt"/>
                <a:sym typeface="+mn-lt"/>
              </a:rPr>
              <a:pPr marL="0" indent="0" algn="ctr">
                <a:spcBef>
                  <a:spcPct val="0"/>
                </a:spcBef>
                <a:buNone/>
              </a:pPr>
              <a:t>2017</a:t>
            </a:fld>
            <a:endParaRPr lang="en-GB" sz="1000">
              <a:latin typeface="+mn-lt"/>
              <a:sym typeface="+mn-lt"/>
            </a:endParaRPr>
          </a:p>
        </p:txBody>
      </p:sp>
      <p:sp>
        <p:nvSpPr>
          <p:cNvPr id="170" name="Espace réservé du texte 2">
            <a:extLst>
              <a:ext uri="{FF2B5EF4-FFF2-40B4-BE49-F238E27FC236}">
                <a16:creationId xmlns:a16="http://schemas.microsoft.com/office/drawing/2014/main" id="{5537DDAF-AB67-4B73-96FD-0D42040E419F}"/>
              </a:ext>
            </a:extLst>
          </p:cNvPr>
          <p:cNvSpPr>
            <a:spLocks noGrp="1"/>
          </p:cNvSpPr>
          <p:nvPr/>
        </p:nvSpPr>
        <p:spPr bwMode="auto">
          <a:xfrm>
            <a:off x="1104025" y="4376345"/>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C59BBFB1-7FFF-4605-926A-C89B2D21CC56}" type="datetime'''''''''''''''''''''''''''2''''''0''''''18'''''''''''''''">
              <a:rPr lang="en-GB" altLang="en-US" sz="1000" smtClean="0">
                <a:latin typeface="+mn-lt"/>
                <a:sym typeface="+mn-lt"/>
              </a:rPr>
              <a:pPr marL="0" indent="0" algn="ctr">
                <a:spcBef>
                  <a:spcPct val="0"/>
                </a:spcBef>
                <a:buNone/>
              </a:pPr>
              <a:t>2018</a:t>
            </a:fld>
            <a:endParaRPr lang="en-GB" sz="1000">
              <a:latin typeface="+mn-lt"/>
              <a:sym typeface="+mn-lt"/>
            </a:endParaRPr>
          </a:p>
        </p:txBody>
      </p:sp>
      <p:sp>
        <p:nvSpPr>
          <p:cNvPr id="171" name="Espace réservé du texte 2">
            <a:extLst>
              <a:ext uri="{FF2B5EF4-FFF2-40B4-BE49-F238E27FC236}">
                <a16:creationId xmlns:a16="http://schemas.microsoft.com/office/drawing/2014/main" id="{E7A67B14-AD2E-4F01-9105-B160DE36A2D8}"/>
              </a:ext>
            </a:extLst>
          </p:cNvPr>
          <p:cNvSpPr>
            <a:spLocks noGrp="1"/>
          </p:cNvSpPr>
          <p:nvPr/>
        </p:nvSpPr>
        <p:spPr bwMode="auto">
          <a:xfrm>
            <a:off x="2885200" y="4376345"/>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9FCED9CF-7853-4E0A-A6AA-86982676BB20}" type="datetime'''2''''''''''''''''''''0''''''''''''''''''2''2'''''''''">
              <a:rPr lang="en-GB" altLang="en-US" sz="1000" smtClean="0">
                <a:latin typeface="+mn-lt"/>
                <a:sym typeface="+mn-lt"/>
              </a:rPr>
              <a:pPr marL="0" indent="0" algn="ctr">
                <a:spcBef>
                  <a:spcPct val="0"/>
                </a:spcBef>
                <a:buNone/>
              </a:pPr>
              <a:t>2022</a:t>
            </a:fld>
            <a:endParaRPr lang="en-GB" sz="1000">
              <a:latin typeface="+mn-lt"/>
              <a:sym typeface="+mn-lt"/>
            </a:endParaRPr>
          </a:p>
        </p:txBody>
      </p:sp>
      <p:sp>
        <p:nvSpPr>
          <p:cNvPr id="172" name="Espace réservé du texte 2">
            <a:extLst>
              <a:ext uri="{FF2B5EF4-FFF2-40B4-BE49-F238E27FC236}">
                <a16:creationId xmlns:a16="http://schemas.microsoft.com/office/drawing/2014/main" id="{F181AB09-B333-4E8A-860A-9C937424FB5F}"/>
              </a:ext>
            </a:extLst>
          </p:cNvPr>
          <p:cNvSpPr>
            <a:spLocks noGrp="1"/>
          </p:cNvSpPr>
          <p:nvPr/>
        </p:nvSpPr>
        <p:spPr bwMode="auto">
          <a:xfrm>
            <a:off x="3331287" y="4376345"/>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9CCB1818-59F8-4B8F-B15B-27A57DDF5B6A}" type="datetime'''''''''2''''''''''''''''''''''''''''''0''''''23'">
              <a:rPr lang="en-GB" altLang="en-US" sz="1000" smtClean="0">
                <a:latin typeface="+mn-lt"/>
                <a:sym typeface="+mn-lt"/>
              </a:rPr>
              <a:pPr marL="0" indent="0" algn="ctr">
                <a:spcBef>
                  <a:spcPct val="0"/>
                </a:spcBef>
                <a:buNone/>
              </a:pPr>
              <a:t>2023</a:t>
            </a:fld>
            <a:endParaRPr lang="en-GB" sz="1000">
              <a:latin typeface="+mn-lt"/>
              <a:sym typeface="+mn-lt"/>
            </a:endParaRPr>
          </a:p>
        </p:txBody>
      </p:sp>
      <p:sp>
        <p:nvSpPr>
          <p:cNvPr id="173" name="Espace réservé du texte 2">
            <a:extLst>
              <a:ext uri="{FF2B5EF4-FFF2-40B4-BE49-F238E27FC236}">
                <a16:creationId xmlns:a16="http://schemas.microsoft.com/office/drawing/2014/main" id="{1181BFAD-B455-4D30-A710-FB5B7089AFEE}"/>
              </a:ext>
            </a:extLst>
          </p:cNvPr>
          <p:cNvSpPr>
            <a:spLocks noGrp="1"/>
          </p:cNvSpPr>
          <p:nvPr/>
        </p:nvSpPr>
        <p:spPr bwMode="auto">
          <a:xfrm>
            <a:off x="3777375" y="4376345"/>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63D46F5B-6E1E-4780-ABE9-AA68649CC542}" type="datetime'2''''0''''''''''''''''''''''''''24'''''''''''">
              <a:rPr lang="en-GB" altLang="en-US" sz="1000" smtClean="0">
                <a:latin typeface="+mn-lt"/>
                <a:sym typeface="+mn-lt"/>
              </a:rPr>
              <a:pPr marL="0" indent="0" algn="ctr">
                <a:spcBef>
                  <a:spcPct val="0"/>
                </a:spcBef>
                <a:buNone/>
              </a:pPr>
              <a:t>2024</a:t>
            </a:fld>
            <a:endParaRPr lang="en-GB" sz="1000">
              <a:latin typeface="+mn-lt"/>
              <a:sym typeface="+mn-lt"/>
            </a:endParaRPr>
          </a:p>
        </p:txBody>
      </p:sp>
      <p:sp>
        <p:nvSpPr>
          <p:cNvPr id="174" name="Espace réservé du texte 2">
            <a:extLst>
              <a:ext uri="{FF2B5EF4-FFF2-40B4-BE49-F238E27FC236}">
                <a16:creationId xmlns:a16="http://schemas.microsoft.com/office/drawing/2014/main" id="{BF0D5354-36B6-4F9B-8702-064F576996A8}"/>
              </a:ext>
            </a:extLst>
          </p:cNvPr>
          <p:cNvSpPr>
            <a:spLocks noGrp="1"/>
          </p:cNvSpPr>
          <p:nvPr/>
        </p:nvSpPr>
        <p:spPr bwMode="auto">
          <a:xfrm>
            <a:off x="4221875" y="4376345"/>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2C7F6E70-20F3-4D0E-9E21-94EA963F4DD9}" type="datetime'''''''''''2''''''0''''''''''''''''''''2''''''''''''5'''">
              <a:rPr lang="en-GB" altLang="en-US" sz="1000" smtClean="0">
                <a:latin typeface="+mn-lt"/>
                <a:sym typeface="+mn-lt"/>
              </a:rPr>
              <a:pPr marL="0" indent="0" algn="ctr">
                <a:spcBef>
                  <a:spcPct val="0"/>
                </a:spcBef>
                <a:buNone/>
              </a:pPr>
              <a:t>2025</a:t>
            </a:fld>
            <a:endParaRPr lang="en-GB" sz="1000">
              <a:latin typeface="+mn-lt"/>
              <a:sym typeface="+mn-lt"/>
            </a:endParaRPr>
          </a:p>
        </p:txBody>
      </p:sp>
      <p:sp>
        <p:nvSpPr>
          <p:cNvPr id="183" name="Espace réservé du texte 2">
            <a:extLst>
              <a:ext uri="{FF2B5EF4-FFF2-40B4-BE49-F238E27FC236}">
                <a16:creationId xmlns:a16="http://schemas.microsoft.com/office/drawing/2014/main" id="{D458E761-8D37-4B76-985F-EA4DCCEFE449}"/>
              </a:ext>
            </a:extLst>
          </p:cNvPr>
          <p:cNvSpPr>
            <a:spLocks noGrp="1"/>
          </p:cNvSpPr>
          <p:nvPr/>
        </p:nvSpPr>
        <p:spPr bwMode="auto">
          <a:xfrm>
            <a:off x="936175" y="2287645"/>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sz="800" b="1">
                <a:latin typeface="+mn-lt"/>
                <a:sym typeface="+mn-lt"/>
              </a:rPr>
              <a:t>+5.2%</a:t>
            </a:r>
          </a:p>
        </p:txBody>
      </p:sp>
      <p:sp>
        <p:nvSpPr>
          <p:cNvPr id="184" name="Espace réservé du texte 2">
            <a:extLst>
              <a:ext uri="{FF2B5EF4-FFF2-40B4-BE49-F238E27FC236}">
                <a16:creationId xmlns:a16="http://schemas.microsoft.com/office/drawing/2014/main" id="{E421838B-1AC2-4204-8392-5E73A0DAC093}"/>
              </a:ext>
            </a:extLst>
          </p:cNvPr>
          <p:cNvSpPr>
            <a:spLocks noGrp="1"/>
          </p:cNvSpPr>
          <p:nvPr/>
        </p:nvSpPr>
        <p:spPr bwMode="auto">
          <a:xfrm>
            <a:off x="2132725" y="2255762"/>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9.1%</a:t>
            </a:r>
            <a:endParaRPr lang="en-GB" sz="800" b="1">
              <a:latin typeface="+mn-lt"/>
              <a:sym typeface="+mn-lt"/>
            </a:endParaRPr>
          </a:p>
        </p:txBody>
      </p:sp>
      <p:sp>
        <p:nvSpPr>
          <p:cNvPr id="185" name="Espace réservé du texte 2">
            <a:extLst>
              <a:ext uri="{FF2B5EF4-FFF2-40B4-BE49-F238E27FC236}">
                <a16:creationId xmlns:a16="http://schemas.microsoft.com/office/drawing/2014/main" id="{E54FBE8C-ECAC-4DE9-B343-6B55E302243E}"/>
              </a:ext>
            </a:extLst>
          </p:cNvPr>
          <p:cNvSpPr>
            <a:spLocks noGrp="1"/>
          </p:cNvSpPr>
          <p:nvPr/>
        </p:nvSpPr>
        <p:spPr bwMode="auto">
          <a:xfrm>
            <a:off x="2616912" y="2131937"/>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8.3%</a:t>
            </a:r>
            <a:endParaRPr lang="en-GB" sz="800" b="1">
              <a:latin typeface="+mn-lt"/>
              <a:sym typeface="+mn-lt"/>
            </a:endParaRPr>
          </a:p>
        </p:txBody>
      </p:sp>
      <p:sp>
        <p:nvSpPr>
          <p:cNvPr id="186" name="Espace réservé du texte 2">
            <a:extLst>
              <a:ext uri="{FF2B5EF4-FFF2-40B4-BE49-F238E27FC236}">
                <a16:creationId xmlns:a16="http://schemas.microsoft.com/office/drawing/2014/main" id="{CA08447A-EE6E-4C22-A9BA-BC8710F62CB8}"/>
              </a:ext>
            </a:extLst>
          </p:cNvPr>
          <p:cNvSpPr>
            <a:spLocks noGrp="1"/>
          </p:cNvSpPr>
          <p:nvPr/>
        </p:nvSpPr>
        <p:spPr bwMode="auto">
          <a:xfrm>
            <a:off x="2959812" y="1827932"/>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9%</a:t>
            </a:r>
            <a:endParaRPr lang="en-GB" sz="800" b="1">
              <a:latin typeface="+mn-lt"/>
              <a:sym typeface="+mn-lt"/>
            </a:endParaRPr>
          </a:p>
        </p:txBody>
      </p:sp>
      <p:graphicFrame>
        <p:nvGraphicFramePr>
          <p:cNvPr id="187" name="Chart 186">
            <a:extLst>
              <a:ext uri="{FF2B5EF4-FFF2-40B4-BE49-F238E27FC236}">
                <a16:creationId xmlns:a16="http://schemas.microsoft.com/office/drawing/2014/main" id="{958F4636-73BA-4C29-9816-ADF47CE34F92}"/>
              </a:ext>
            </a:extLst>
          </p:cNvPr>
          <p:cNvGraphicFramePr/>
          <p:nvPr>
            <p:extLst>
              <p:ext uri="{D42A27DB-BD31-4B8C-83A1-F6EECF244321}">
                <p14:modId xmlns:p14="http://schemas.microsoft.com/office/powerpoint/2010/main" val="1488409878"/>
              </p:ext>
            </p:extLst>
          </p:nvPr>
        </p:nvGraphicFramePr>
        <p:xfrm>
          <a:off x="5312221" y="2010578"/>
          <a:ext cx="4175125" cy="2430463"/>
        </p:xfrm>
        <a:graphic>
          <a:graphicData uri="http://schemas.openxmlformats.org/drawingml/2006/chart">
            <c:chart xmlns:c="http://schemas.openxmlformats.org/drawingml/2006/chart" xmlns:r="http://schemas.openxmlformats.org/officeDocument/2006/relationships" r:id="rId17"/>
          </a:graphicData>
        </a:graphic>
      </p:graphicFrame>
      <p:cxnSp>
        <p:nvCxnSpPr>
          <p:cNvPr id="188" name="Straight Connector 187">
            <a:extLst>
              <a:ext uri="{FF2B5EF4-FFF2-40B4-BE49-F238E27FC236}">
                <a16:creationId xmlns:a16="http://schemas.microsoft.com/office/drawing/2014/main" id="{55B0B1DB-3580-4804-AC10-69CBC08306E8}"/>
              </a:ext>
            </a:extLst>
          </p:cNvPr>
          <p:cNvCxnSpPr>
            <a:cxnSpLocks/>
          </p:cNvCxnSpPr>
          <p:nvPr/>
        </p:nvCxnSpPr>
        <p:spPr bwMode="auto">
          <a:xfrm flipV="1">
            <a:off x="5501885" y="2440154"/>
            <a:ext cx="884895" cy="206434"/>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cxnSp>
        <p:nvCxnSpPr>
          <p:cNvPr id="189" name="Straight Connector 188">
            <a:extLst>
              <a:ext uri="{FF2B5EF4-FFF2-40B4-BE49-F238E27FC236}">
                <a16:creationId xmlns:a16="http://schemas.microsoft.com/office/drawing/2014/main" id="{36D7B57F-6274-4F45-9FFB-46DBE144C2B8}"/>
              </a:ext>
            </a:extLst>
          </p:cNvPr>
          <p:cNvCxnSpPr/>
          <p:nvPr/>
        </p:nvCxnSpPr>
        <p:spPr bwMode="auto">
          <a:xfrm flipV="1">
            <a:off x="6953696" y="2466825"/>
            <a:ext cx="0" cy="350838"/>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90" name="Straight Connector 189">
            <a:extLst>
              <a:ext uri="{FF2B5EF4-FFF2-40B4-BE49-F238E27FC236}">
                <a16:creationId xmlns:a16="http://schemas.microsoft.com/office/drawing/2014/main" id="{84EDD4D5-69AE-464D-88BF-576766AE4800}"/>
              </a:ext>
            </a:extLst>
          </p:cNvPr>
          <p:cNvCxnSpPr/>
          <p:nvPr/>
        </p:nvCxnSpPr>
        <p:spPr bwMode="auto">
          <a:xfrm>
            <a:off x="6953696" y="2466826"/>
            <a:ext cx="40798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91" name="Straight Connector 190">
            <a:extLst>
              <a:ext uri="{FF2B5EF4-FFF2-40B4-BE49-F238E27FC236}">
                <a16:creationId xmlns:a16="http://schemas.microsoft.com/office/drawing/2014/main" id="{981DE02E-5451-4951-8FAA-B274B7962DEB}"/>
              </a:ext>
            </a:extLst>
          </p:cNvPr>
          <p:cNvCxnSpPr/>
          <p:nvPr/>
        </p:nvCxnSpPr>
        <p:spPr bwMode="auto">
          <a:xfrm>
            <a:off x="7361684" y="2466826"/>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192" name="Straight Connector 191">
            <a:extLst>
              <a:ext uri="{FF2B5EF4-FFF2-40B4-BE49-F238E27FC236}">
                <a16:creationId xmlns:a16="http://schemas.microsoft.com/office/drawing/2014/main" id="{9E3F1333-C823-4E2A-9AAC-D0A73A34038E}"/>
              </a:ext>
            </a:extLst>
          </p:cNvPr>
          <p:cNvCxnSpPr/>
          <p:nvPr/>
        </p:nvCxnSpPr>
        <p:spPr bwMode="auto">
          <a:xfrm flipV="1">
            <a:off x="7437884" y="2347763"/>
            <a:ext cx="0" cy="358775"/>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93" name="Straight Connector 192">
            <a:extLst>
              <a:ext uri="{FF2B5EF4-FFF2-40B4-BE49-F238E27FC236}">
                <a16:creationId xmlns:a16="http://schemas.microsoft.com/office/drawing/2014/main" id="{E0AE989B-FA99-49D8-9A52-F215D1244A9B}"/>
              </a:ext>
            </a:extLst>
          </p:cNvPr>
          <p:cNvCxnSpPr/>
          <p:nvPr/>
        </p:nvCxnSpPr>
        <p:spPr bwMode="auto">
          <a:xfrm>
            <a:off x="7437884" y="2347763"/>
            <a:ext cx="40640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94" name="Straight Connector 193">
            <a:extLst>
              <a:ext uri="{FF2B5EF4-FFF2-40B4-BE49-F238E27FC236}">
                <a16:creationId xmlns:a16="http://schemas.microsoft.com/office/drawing/2014/main" id="{D3E36B55-1384-41F0-913C-7BAA10CE694E}"/>
              </a:ext>
            </a:extLst>
          </p:cNvPr>
          <p:cNvCxnSpPr/>
          <p:nvPr/>
        </p:nvCxnSpPr>
        <p:spPr bwMode="auto">
          <a:xfrm>
            <a:off x="7844284" y="2347763"/>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195" name="Straight Connector 194">
            <a:extLst>
              <a:ext uri="{FF2B5EF4-FFF2-40B4-BE49-F238E27FC236}">
                <a16:creationId xmlns:a16="http://schemas.microsoft.com/office/drawing/2014/main" id="{42B855FA-BC2F-4D89-ABC7-A20FA987B355}"/>
              </a:ext>
            </a:extLst>
          </p:cNvPr>
          <p:cNvCxnSpPr>
            <a:cxnSpLocks/>
          </p:cNvCxnSpPr>
          <p:nvPr/>
        </p:nvCxnSpPr>
        <p:spPr bwMode="auto">
          <a:xfrm flipV="1">
            <a:off x="6981455" y="1761653"/>
            <a:ext cx="2227263" cy="517849"/>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sp>
        <p:nvSpPr>
          <p:cNvPr id="196" name="Espace réservé du texte 2">
            <a:extLst>
              <a:ext uri="{FF2B5EF4-FFF2-40B4-BE49-F238E27FC236}">
                <a16:creationId xmlns:a16="http://schemas.microsoft.com/office/drawing/2014/main" id="{A988C4B1-8F0F-43F4-A652-46D728D7D28E}"/>
              </a:ext>
            </a:extLst>
          </p:cNvPr>
          <p:cNvSpPr>
            <a:spLocks noGrp="1"/>
          </p:cNvSpPr>
          <p:nvPr/>
        </p:nvSpPr>
        <p:spPr bwMode="auto">
          <a:xfrm>
            <a:off x="6813996" y="440135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0F5D9284-4ED2-45E4-8D27-96A0FB0EC0E5}" type="datetime'''''''''''2''''''0''''''2''''''''0'''''''''''''''">
              <a:rPr lang="en-GB" altLang="en-US" sz="1000" smtClean="0">
                <a:latin typeface="+mn-lt"/>
                <a:sym typeface="+mn-lt"/>
              </a:rPr>
              <a:pPr marL="0" indent="0" algn="ctr">
                <a:spcBef>
                  <a:spcPct val="0"/>
                </a:spcBef>
                <a:buNone/>
              </a:pPr>
              <a:t>2020</a:t>
            </a:fld>
            <a:endParaRPr lang="en-GB" sz="1000">
              <a:latin typeface="+mn-lt"/>
              <a:sym typeface="+mn-lt"/>
            </a:endParaRPr>
          </a:p>
        </p:txBody>
      </p:sp>
      <p:sp>
        <p:nvSpPr>
          <p:cNvPr id="197" name="Espace réservé du texte 2">
            <a:extLst>
              <a:ext uri="{FF2B5EF4-FFF2-40B4-BE49-F238E27FC236}">
                <a16:creationId xmlns:a16="http://schemas.microsoft.com/office/drawing/2014/main" id="{F18740EB-FAED-4926-82F6-2A2B44E2F103}"/>
              </a:ext>
            </a:extLst>
          </p:cNvPr>
          <p:cNvSpPr>
            <a:spLocks noGrp="1"/>
          </p:cNvSpPr>
          <p:nvPr/>
        </p:nvSpPr>
        <p:spPr bwMode="auto">
          <a:xfrm>
            <a:off x="8596759" y="440135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63D46F5B-6E1E-4780-ABE9-AA68649CC542}" type="datetime'2''''0''''''''''''''''''''''''''24'''''''''''">
              <a:rPr lang="en-GB" altLang="en-US" sz="1000" smtClean="0">
                <a:latin typeface="+mn-lt"/>
                <a:sym typeface="+mn-lt"/>
              </a:rPr>
              <a:pPr marL="0" indent="0" algn="ctr">
                <a:spcBef>
                  <a:spcPct val="0"/>
                </a:spcBef>
                <a:buNone/>
              </a:pPr>
              <a:t>2024</a:t>
            </a:fld>
            <a:endParaRPr lang="en-GB" sz="1000">
              <a:latin typeface="+mn-lt"/>
              <a:sym typeface="+mn-lt"/>
            </a:endParaRPr>
          </a:p>
        </p:txBody>
      </p:sp>
      <p:sp>
        <p:nvSpPr>
          <p:cNvPr id="198" name="Espace réservé du texte 2">
            <a:extLst>
              <a:ext uri="{FF2B5EF4-FFF2-40B4-BE49-F238E27FC236}">
                <a16:creationId xmlns:a16="http://schemas.microsoft.com/office/drawing/2014/main" id="{8AC95347-DC14-4851-873D-21CBD86AC784}"/>
              </a:ext>
            </a:extLst>
          </p:cNvPr>
          <p:cNvSpPr>
            <a:spLocks noGrp="1"/>
          </p:cNvSpPr>
          <p:nvPr/>
        </p:nvSpPr>
        <p:spPr bwMode="auto">
          <a:xfrm>
            <a:off x="8150671" y="440135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9CCB1818-59F8-4B8F-B15B-27A57DDF5B6A}" type="datetime'''''''''2''''''''''''''''''''''''''''''0''''''23'">
              <a:rPr lang="en-GB" altLang="en-US" sz="1000" smtClean="0">
                <a:latin typeface="+mn-lt"/>
                <a:sym typeface="+mn-lt"/>
              </a:rPr>
              <a:pPr marL="0" indent="0" algn="ctr">
                <a:spcBef>
                  <a:spcPct val="0"/>
                </a:spcBef>
                <a:buNone/>
              </a:pPr>
              <a:t>2023</a:t>
            </a:fld>
            <a:endParaRPr lang="en-GB" sz="1000">
              <a:latin typeface="+mn-lt"/>
              <a:sym typeface="+mn-lt"/>
            </a:endParaRPr>
          </a:p>
        </p:txBody>
      </p:sp>
      <p:sp>
        <p:nvSpPr>
          <p:cNvPr id="200" name="Espace réservé du texte 2">
            <a:extLst>
              <a:ext uri="{FF2B5EF4-FFF2-40B4-BE49-F238E27FC236}">
                <a16:creationId xmlns:a16="http://schemas.microsoft.com/office/drawing/2014/main" id="{AE14001A-A32B-4387-BB2E-56D18792F2A8}"/>
              </a:ext>
            </a:extLst>
          </p:cNvPr>
          <p:cNvSpPr>
            <a:spLocks noGrp="1"/>
          </p:cNvSpPr>
          <p:nvPr/>
        </p:nvSpPr>
        <p:spPr bwMode="auto">
          <a:xfrm>
            <a:off x="5477321" y="440135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8D2797A6-7E92-4661-88C9-7B8BB5C872F7}" type="datetime'''2''''''''''0''''''''17'''''''''''''''''">
              <a:rPr lang="en-GB" altLang="en-US" sz="1000" smtClean="0">
                <a:latin typeface="+mn-lt"/>
                <a:sym typeface="+mn-lt"/>
              </a:rPr>
              <a:pPr marL="0" indent="0" algn="ctr">
                <a:spcBef>
                  <a:spcPct val="0"/>
                </a:spcBef>
                <a:buNone/>
              </a:pPr>
              <a:t>2017</a:t>
            </a:fld>
            <a:endParaRPr lang="en-GB" sz="1000">
              <a:latin typeface="+mn-lt"/>
              <a:sym typeface="+mn-lt"/>
            </a:endParaRPr>
          </a:p>
        </p:txBody>
      </p:sp>
      <p:sp>
        <p:nvSpPr>
          <p:cNvPr id="201" name="Espace réservé du texte 2">
            <a:extLst>
              <a:ext uri="{FF2B5EF4-FFF2-40B4-BE49-F238E27FC236}">
                <a16:creationId xmlns:a16="http://schemas.microsoft.com/office/drawing/2014/main" id="{97F76036-24DF-480E-8848-DD2ECF760826}"/>
              </a:ext>
            </a:extLst>
          </p:cNvPr>
          <p:cNvSpPr>
            <a:spLocks noGrp="1"/>
          </p:cNvSpPr>
          <p:nvPr/>
        </p:nvSpPr>
        <p:spPr bwMode="auto">
          <a:xfrm>
            <a:off x="5923409" y="440135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C59BBFB1-7FFF-4605-926A-C89B2D21CC56}" type="datetime'''''''''''''''''''''''''''2''''''0''''''18'''''''''''''''">
              <a:rPr lang="en-GB" altLang="en-US" sz="1000" smtClean="0">
                <a:latin typeface="+mn-lt"/>
                <a:sym typeface="+mn-lt"/>
              </a:rPr>
              <a:pPr marL="0" indent="0" algn="ctr">
                <a:spcBef>
                  <a:spcPct val="0"/>
                </a:spcBef>
                <a:buNone/>
              </a:pPr>
              <a:t>2018</a:t>
            </a:fld>
            <a:endParaRPr lang="en-GB" sz="1000">
              <a:latin typeface="+mn-lt"/>
              <a:sym typeface="+mn-lt"/>
            </a:endParaRPr>
          </a:p>
        </p:txBody>
      </p:sp>
      <p:sp>
        <p:nvSpPr>
          <p:cNvPr id="202" name="Espace réservé du texte 2">
            <a:extLst>
              <a:ext uri="{FF2B5EF4-FFF2-40B4-BE49-F238E27FC236}">
                <a16:creationId xmlns:a16="http://schemas.microsoft.com/office/drawing/2014/main" id="{ADEE1C9B-1A76-4AFA-A5EC-00E3B5E7E77B}"/>
              </a:ext>
            </a:extLst>
          </p:cNvPr>
          <p:cNvSpPr>
            <a:spLocks noGrp="1"/>
          </p:cNvSpPr>
          <p:nvPr/>
        </p:nvSpPr>
        <p:spPr bwMode="auto">
          <a:xfrm>
            <a:off x="6367909" y="440135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3D6FE64A-A691-4C87-8136-D99646A4A2DA}" type="datetime'''''''''2''''''''''''''''''0''''''1''''''9'''''''''''">
              <a:rPr lang="en-GB" altLang="en-US" sz="1000" smtClean="0">
                <a:latin typeface="+mn-lt"/>
                <a:sym typeface="+mn-lt"/>
              </a:rPr>
              <a:pPr marL="0" indent="0" algn="ctr">
                <a:spcBef>
                  <a:spcPct val="0"/>
                </a:spcBef>
                <a:buNone/>
              </a:pPr>
              <a:t>2019</a:t>
            </a:fld>
            <a:endParaRPr lang="en-GB" sz="1000">
              <a:latin typeface="+mn-lt"/>
              <a:sym typeface="+mn-lt"/>
            </a:endParaRPr>
          </a:p>
        </p:txBody>
      </p:sp>
      <p:sp>
        <p:nvSpPr>
          <p:cNvPr id="204" name="Espace réservé du texte 2">
            <a:extLst>
              <a:ext uri="{FF2B5EF4-FFF2-40B4-BE49-F238E27FC236}">
                <a16:creationId xmlns:a16="http://schemas.microsoft.com/office/drawing/2014/main" id="{514BAAD5-3B07-4C59-A0AC-1C21C7D0AEB0}"/>
              </a:ext>
            </a:extLst>
          </p:cNvPr>
          <p:cNvSpPr>
            <a:spLocks noGrp="1"/>
          </p:cNvSpPr>
          <p:nvPr/>
        </p:nvSpPr>
        <p:spPr bwMode="auto">
          <a:xfrm>
            <a:off x="7260084" y="440135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EB7B7909-9B8B-4310-9085-E21499BFCA43}" type="datetime'''2''''''''0''''''''''''''21'''''''''''''">
              <a:rPr lang="en-GB" altLang="en-US" sz="1000" smtClean="0">
                <a:latin typeface="+mn-lt"/>
                <a:sym typeface="+mn-lt"/>
              </a:rPr>
              <a:pPr marL="0" indent="0" algn="ctr">
                <a:spcBef>
                  <a:spcPct val="0"/>
                </a:spcBef>
                <a:buNone/>
              </a:pPr>
              <a:t>2021</a:t>
            </a:fld>
            <a:endParaRPr lang="en-GB" sz="1000">
              <a:latin typeface="+mn-lt"/>
              <a:sym typeface="+mn-lt"/>
            </a:endParaRPr>
          </a:p>
        </p:txBody>
      </p:sp>
      <p:sp>
        <p:nvSpPr>
          <p:cNvPr id="205" name="Espace réservé du texte 2">
            <a:extLst>
              <a:ext uri="{FF2B5EF4-FFF2-40B4-BE49-F238E27FC236}">
                <a16:creationId xmlns:a16="http://schemas.microsoft.com/office/drawing/2014/main" id="{BCD56CBA-69F9-4FFC-BE3E-431BBC751573}"/>
              </a:ext>
            </a:extLst>
          </p:cNvPr>
          <p:cNvSpPr>
            <a:spLocks noGrp="1"/>
          </p:cNvSpPr>
          <p:nvPr/>
        </p:nvSpPr>
        <p:spPr bwMode="auto">
          <a:xfrm>
            <a:off x="7704584" y="440135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9FCED9CF-7853-4E0A-A6AA-86982676BB20}" type="datetime'''2''''''''''''''''''''0''''''''''''''''''2''2'''''''''">
              <a:rPr lang="en-GB" altLang="en-US" sz="1000" smtClean="0">
                <a:latin typeface="+mn-lt"/>
                <a:sym typeface="+mn-lt"/>
              </a:rPr>
              <a:pPr marL="0" indent="0" algn="ctr">
                <a:spcBef>
                  <a:spcPct val="0"/>
                </a:spcBef>
                <a:buNone/>
              </a:pPr>
              <a:t>2022</a:t>
            </a:fld>
            <a:endParaRPr lang="en-GB" sz="1000">
              <a:latin typeface="+mn-lt"/>
              <a:sym typeface="+mn-lt"/>
            </a:endParaRPr>
          </a:p>
        </p:txBody>
      </p:sp>
      <p:sp>
        <p:nvSpPr>
          <p:cNvPr id="206" name="Espace réservé du texte 2">
            <a:extLst>
              <a:ext uri="{FF2B5EF4-FFF2-40B4-BE49-F238E27FC236}">
                <a16:creationId xmlns:a16="http://schemas.microsoft.com/office/drawing/2014/main" id="{B8629B3C-CA6C-46A8-9F64-B98080367F7A}"/>
              </a:ext>
            </a:extLst>
          </p:cNvPr>
          <p:cNvSpPr>
            <a:spLocks noGrp="1"/>
          </p:cNvSpPr>
          <p:nvPr/>
        </p:nvSpPr>
        <p:spPr bwMode="auto">
          <a:xfrm>
            <a:off x="9041259" y="440135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2C7F6E70-20F3-4D0E-9E21-94EA963F4DD9}" type="datetime'''''''''''2''''''0''''''''''''''''''''2''''''''''''5'''">
              <a:rPr lang="en-GB" altLang="en-US" sz="1000" smtClean="0">
                <a:latin typeface="+mn-lt"/>
                <a:sym typeface="+mn-lt"/>
              </a:rPr>
              <a:pPr marL="0" indent="0" algn="ctr">
                <a:spcBef>
                  <a:spcPct val="0"/>
                </a:spcBef>
                <a:buNone/>
              </a:pPr>
              <a:t>2025</a:t>
            </a:fld>
            <a:endParaRPr lang="en-GB" sz="1000">
              <a:latin typeface="+mn-lt"/>
              <a:sym typeface="+mn-lt"/>
            </a:endParaRPr>
          </a:p>
        </p:txBody>
      </p:sp>
      <p:sp>
        <p:nvSpPr>
          <p:cNvPr id="214" name="Espace réservé du texte 2">
            <a:extLst>
              <a:ext uri="{FF2B5EF4-FFF2-40B4-BE49-F238E27FC236}">
                <a16:creationId xmlns:a16="http://schemas.microsoft.com/office/drawing/2014/main" id="{186F9FE6-6D42-4CD1-9264-BB26E46D58EC}"/>
              </a:ext>
            </a:extLst>
          </p:cNvPr>
          <p:cNvSpPr>
            <a:spLocks noGrp="1"/>
          </p:cNvSpPr>
          <p:nvPr/>
        </p:nvSpPr>
        <p:spPr bwMode="auto">
          <a:xfrm>
            <a:off x="5650840" y="2434244"/>
            <a:ext cx="566738"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algn="ctr"/>
            <a:r>
              <a:rPr lang="en-GB" altLang="en-US" sz="800" b="1">
                <a:effectLst/>
              </a:rPr>
              <a:t>+15.4%</a:t>
            </a:r>
            <a:endParaRPr lang="en-GB" sz="800" b="1">
              <a:latin typeface="+mn-lt"/>
              <a:sym typeface="+mn-lt"/>
            </a:endParaRPr>
          </a:p>
        </p:txBody>
      </p:sp>
      <p:sp>
        <p:nvSpPr>
          <p:cNvPr id="215" name="Espace réservé du texte 2">
            <a:extLst>
              <a:ext uri="{FF2B5EF4-FFF2-40B4-BE49-F238E27FC236}">
                <a16:creationId xmlns:a16="http://schemas.microsoft.com/office/drawing/2014/main" id="{4F578D78-755A-422C-AA31-4B207C7EBCBF}"/>
              </a:ext>
            </a:extLst>
          </p:cNvPr>
          <p:cNvSpPr>
            <a:spLocks noGrp="1"/>
          </p:cNvSpPr>
          <p:nvPr/>
        </p:nvSpPr>
        <p:spPr bwMode="auto">
          <a:xfrm>
            <a:off x="6952109" y="2354467"/>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8.3%</a:t>
            </a:r>
            <a:endParaRPr lang="en-GB" sz="800" b="1">
              <a:latin typeface="+mn-lt"/>
              <a:sym typeface="+mn-lt"/>
            </a:endParaRPr>
          </a:p>
        </p:txBody>
      </p:sp>
      <p:sp>
        <p:nvSpPr>
          <p:cNvPr id="216" name="Espace réservé du texte 2">
            <a:extLst>
              <a:ext uri="{FF2B5EF4-FFF2-40B4-BE49-F238E27FC236}">
                <a16:creationId xmlns:a16="http://schemas.microsoft.com/office/drawing/2014/main" id="{14E40106-3D33-44DE-A969-4F4D77754EB3}"/>
              </a:ext>
            </a:extLst>
          </p:cNvPr>
          <p:cNvSpPr>
            <a:spLocks noGrp="1"/>
          </p:cNvSpPr>
          <p:nvPr/>
        </p:nvSpPr>
        <p:spPr bwMode="auto">
          <a:xfrm>
            <a:off x="7436296" y="2262038"/>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7.7%</a:t>
            </a:r>
            <a:endParaRPr lang="en-GB" sz="800" b="1">
              <a:latin typeface="+mn-lt"/>
              <a:sym typeface="+mn-lt"/>
            </a:endParaRPr>
          </a:p>
        </p:txBody>
      </p:sp>
      <p:sp>
        <p:nvSpPr>
          <p:cNvPr id="217" name="Espace réservé du texte 2">
            <a:extLst>
              <a:ext uri="{FF2B5EF4-FFF2-40B4-BE49-F238E27FC236}">
                <a16:creationId xmlns:a16="http://schemas.microsoft.com/office/drawing/2014/main" id="{4EED8B52-E2F6-4FC8-8F0D-B6989714D56A}"/>
              </a:ext>
            </a:extLst>
          </p:cNvPr>
          <p:cNvSpPr>
            <a:spLocks noGrp="1"/>
          </p:cNvSpPr>
          <p:nvPr/>
        </p:nvSpPr>
        <p:spPr bwMode="auto">
          <a:xfrm>
            <a:off x="7880796" y="1906439"/>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8%</a:t>
            </a:r>
            <a:endParaRPr lang="en-GB" sz="800" b="1">
              <a:latin typeface="+mn-lt"/>
              <a:sym typeface="+mn-lt"/>
            </a:endParaRPr>
          </a:p>
        </p:txBody>
      </p:sp>
      <p:sp>
        <p:nvSpPr>
          <p:cNvPr id="102" name="Titre 1">
            <a:extLst>
              <a:ext uri="{FF2B5EF4-FFF2-40B4-BE49-F238E27FC236}">
                <a16:creationId xmlns:a16="http://schemas.microsoft.com/office/drawing/2014/main" id="{D9C2B907-6242-45DF-B46E-6F35EA341586}"/>
              </a:ext>
            </a:extLst>
          </p:cNvPr>
          <p:cNvSpPr>
            <a:spLocks noGrp="1"/>
          </p:cNvSpPr>
          <p:nvPr>
            <p:ph type="title"/>
          </p:nvPr>
        </p:nvSpPr>
        <p:spPr>
          <a:xfrm>
            <a:off x="520552" y="147600"/>
            <a:ext cx="7953802" cy="684000"/>
          </a:xfrm>
        </p:spPr>
        <p:txBody>
          <a:bodyPr/>
          <a:lstStyle/>
          <a:p>
            <a:r>
              <a:rPr lang="en-GB" err="1">
                <a:latin typeface="Trebuchet MS" panose="020B0603020202020204" pitchFamily="34" charset="0"/>
              </a:rPr>
              <a:t>Altares</a:t>
            </a:r>
            <a:r>
              <a:rPr lang="en-GB">
                <a:latin typeface="Trebuchet MS" panose="020B0603020202020204" pitchFamily="34" charset="0"/>
              </a:rPr>
              <a:t> future growth on </a:t>
            </a:r>
            <a:r>
              <a:rPr lang="en-GB">
                <a:solidFill>
                  <a:schemeClr val="tx2"/>
                </a:solidFill>
                <a:latin typeface="Trebuchet MS" panose="020B0603020202020204" pitchFamily="34" charset="0"/>
              </a:rPr>
              <a:t>B2B Marketing activity </a:t>
            </a:r>
            <a:r>
              <a:rPr lang="en-GB">
                <a:latin typeface="Trebuchet MS" panose="020B0603020202020204" pitchFamily="34" charset="0"/>
              </a:rPr>
              <a:t>mainly rely </a:t>
            </a:r>
            <a:r>
              <a:rPr lang="en-GB">
                <a:solidFill>
                  <a:schemeClr val="tx2"/>
                </a:solidFill>
                <a:latin typeface="Trebuchet MS" panose="020B0603020202020204" pitchFamily="34" charset="0"/>
              </a:rPr>
              <a:t>on product harmonization and innovation</a:t>
            </a:r>
            <a:r>
              <a:rPr lang="en-GB">
                <a:latin typeface="Trebuchet MS" panose="020B0603020202020204" pitchFamily="34" charset="0"/>
              </a:rPr>
              <a:t> through data enrichment, artificial intelligence and integration into a </a:t>
            </a:r>
            <a:r>
              <a:rPr lang="en-GB">
                <a:solidFill>
                  <a:schemeClr val="tx2"/>
                </a:solidFill>
                <a:latin typeface="Trebuchet MS" panose="020B0603020202020204" pitchFamily="34" charset="0"/>
              </a:rPr>
              <a:t>platform strategy</a:t>
            </a:r>
            <a:endParaRPr lang="en-GB" sz="1600">
              <a:solidFill>
                <a:schemeClr val="tx2"/>
              </a:solidFill>
              <a:latin typeface="Trebuchet MS" pitchFamily="34" charset="0"/>
            </a:endParaRPr>
          </a:p>
        </p:txBody>
      </p:sp>
      <p:sp>
        <p:nvSpPr>
          <p:cNvPr id="103" name="Rectangle 102">
            <a:extLst>
              <a:ext uri="{FF2B5EF4-FFF2-40B4-BE49-F238E27FC236}">
                <a16:creationId xmlns:a16="http://schemas.microsoft.com/office/drawing/2014/main" id="{72090B49-B165-43E3-B662-8506E990B11E}"/>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Trebuchet MS" panose="020B0603020202020204" pitchFamily="34" charset="0"/>
                <a:ea typeface="+mn-ea"/>
                <a:cs typeface="Arial" pitchFamily="34" charset="0"/>
              </a:rPr>
              <a:t>C</a:t>
            </a:r>
          </a:p>
        </p:txBody>
      </p:sp>
      <p:pic>
        <p:nvPicPr>
          <p:cNvPr id="118" name="Graphique 117">
            <a:extLst>
              <a:ext uri="{FF2B5EF4-FFF2-40B4-BE49-F238E27FC236}">
                <a16:creationId xmlns:a16="http://schemas.microsoft.com/office/drawing/2014/main" id="{42C6B5E4-0439-4A95-9372-1E48D35F6E5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38372" y="2418312"/>
            <a:ext cx="195930" cy="242031"/>
          </a:xfrm>
          <a:prstGeom prst="rect">
            <a:avLst/>
          </a:prstGeom>
        </p:spPr>
      </p:pic>
      <p:sp>
        <p:nvSpPr>
          <p:cNvPr id="120" name="Rectangle 119">
            <a:extLst>
              <a:ext uri="{FF2B5EF4-FFF2-40B4-BE49-F238E27FC236}">
                <a16:creationId xmlns:a16="http://schemas.microsoft.com/office/drawing/2014/main" id="{D9CA344A-D293-40DA-8B5D-B76B4E39DD92}"/>
              </a:ext>
            </a:extLst>
          </p:cNvPr>
          <p:cNvSpPr/>
          <p:nvPr/>
        </p:nvSpPr>
        <p:spPr bwMode="auto">
          <a:xfrm>
            <a:off x="7539484" y="6587462"/>
            <a:ext cx="79643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err="1">
                <a:solidFill>
                  <a:schemeClr val="tx2"/>
                </a:solidFill>
                <a:latin typeface="Trebuchet MS" panose="020B0603020202020204" pitchFamily="34" charset="0"/>
              </a:rPr>
              <a:t>Covid</a:t>
            </a:r>
            <a:r>
              <a:rPr lang="en-GB" sz="900" i="1">
                <a:solidFill>
                  <a:schemeClr val="tx2"/>
                </a:solidFill>
                <a:latin typeface="Trebuchet MS" panose="020B0603020202020204" pitchFamily="34" charset="0"/>
              </a:rPr>
              <a:t> impact</a:t>
            </a:r>
            <a:endParaRPr kumimoji="0" lang="en-GB" sz="900" b="0" i="1" u="none" strike="noStrike" cap="none" normalizeH="0" baseline="0">
              <a:ln>
                <a:noFill/>
              </a:ln>
              <a:solidFill>
                <a:schemeClr val="tx2"/>
              </a:solidFill>
              <a:effectLst/>
              <a:latin typeface="Trebuchet MS" panose="020B0603020202020204" pitchFamily="34" charset="0"/>
            </a:endParaRPr>
          </a:p>
        </p:txBody>
      </p:sp>
      <p:pic>
        <p:nvPicPr>
          <p:cNvPr id="121" name="Graphique 120">
            <a:extLst>
              <a:ext uri="{FF2B5EF4-FFF2-40B4-BE49-F238E27FC236}">
                <a16:creationId xmlns:a16="http://schemas.microsoft.com/office/drawing/2014/main" id="{1317366D-981F-4DF4-846C-E7B164B7C6EE}"/>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395874" y="6549466"/>
            <a:ext cx="195930" cy="242031"/>
          </a:xfrm>
          <a:prstGeom prst="rect">
            <a:avLst/>
          </a:prstGeom>
        </p:spPr>
      </p:pic>
      <p:pic>
        <p:nvPicPr>
          <p:cNvPr id="123" name="Picture 2" descr="Drapeau France">
            <a:extLst>
              <a:ext uri="{FF2B5EF4-FFF2-40B4-BE49-F238E27FC236}">
                <a16:creationId xmlns:a16="http://schemas.microsoft.com/office/drawing/2014/main" id="{629B4FA1-0B90-475B-A525-335681344690}"/>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447536" y="1083025"/>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24" name="Picture 2" descr="5 ft x 3 ft 150 x 90 cm-DRAPEAU BELGE Belgique 100% Polyester ...">
            <a:extLst>
              <a:ext uri="{FF2B5EF4-FFF2-40B4-BE49-F238E27FC236}">
                <a16:creationId xmlns:a16="http://schemas.microsoft.com/office/drawing/2014/main" id="{DA425FE1-A935-468F-9D19-332C20D57361}"/>
              </a:ext>
            </a:extLst>
          </p:cNvPr>
          <p:cNvPicPr>
            <a:picLocks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5364528" y="108302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25" name="Picture 2 - 1" descr="Drapeau des Pays-Bas — Wikipédia">
            <a:extLst>
              <a:ext uri="{FF2B5EF4-FFF2-40B4-BE49-F238E27FC236}">
                <a16:creationId xmlns:a16="http://schemas.microsoft.com/office/drawing/2014/main" id="{97BE8877-7B42-444B-9CFB-A47E5F530C7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364528" y="942942"/>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26" name="Picture 2 - 2" descr="Drapeau du Luxembourg">
            <a:extLst>
              <a:ext uri="{FF2B5EF4-FFF2-40B4-BE49-F238E27FC236}">
                <a16:creationId xmlns:a16="http://schemas.microsoft.com/office/drawing/2014/main" id="{D4BB18D2-7FDC-42A0-9F19-1D5D8A9FF38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364112" y="1223108"/>
            <a:ext cx="180002" cy="108000"/>
          </a:xfrm>
          <a:prstGeom prst="rect">
            <a:avLst/>
          </a:prstGeom>
          <a:solidFill>
            <a:schemeClr val="bg1"/>
          </a:solidFill>
          <a:ln w="9525" cap="flat" cmpd="sng" algn="ctr">
            <a:noFill/>
            <a:prstDash val="solid"/>
            <a:round/>
            <a:headEnd type="none" w="med" len="med"/>
            <a:tailEnd type="none" w="med" len="med"/>
          </a:ln>
          <a:effectLst/>
        </p:spPr>
      </p:pic>
      <p:grpSp>
        <p:nvGrpSpPr>
          <p:cNvPr id="127" name="Groupe 126">
            <a:extLst>
              <a:ext uri="{FF2B5EF4-FFF2-40B4-BE49-F238E27FC236}">
                <a16:creationId xmlns:a16="http://schemas.microsoft.com/office/drawing/2014/main" id="{8B24F155-2F75-450B-8749-F9888E7DB14A}"/>
              </a:ext>
            </a:extLst>
          </p:cNvPr>
          <p:cNvGrpSpPr/>
          <p:nvPr/>
        </p:nvGrpSpPr>
        <p:grpSpPr>
          <a:xfrm>
            <a:off x="639234" y="5852904"/>
            <a:ext cx="222565" cy="277000"/>
            <a:chOff x="3409503" y="1194238"/>
            <a:chExt cx="269305" cy="368684"/>
          </a:xfrm>
        </p:grpSpPr>
        <p:sp>
          <p:nvSpPr>
            <p:cNvPr id="128" name="Ellipse 127">
              <a:extLst>
                <a:ext uri="{FF2B5EF4-FFF2-40B4-BE49-F238E27FC236}">
                  <a16:creationId xmlns:a16="http://schemas.microsoft.com/office/drawing/2014/main" id="{04F7E42F-5640-4652-AD37-9FE756C6090B}"/>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29" name="ZoneTexte 128">
              <a:extLst>
                <a:ext uri="{FF2B5EF4-FFF2-40B4-BE49-F238E27FC236}">
                  <a16:creationId xmlns:a16="http://schemas.microsoft.com/office/drawing/2014/main" id="{4D6BCFA7-3A1C-46D4-98D9-9DCB744D4593}"/>
                </a:ext>
              </a:extLst>
            </p:cNvPr>
            <p:cNvSpPr txBox="1"/>
            <p:nvPr/>
          </p:nvSpPr>
          <p:spPr>
            <a:xfrm>
              <a:off x="3409503" y="1194238"/>
              <a:ext cx="269305" cy="368684"/>
            </a:xfrm>
            <a:prstGeom prst="rect">
              <a:avLst/>
            </a:prstGeom>
            <a:noFill/>
          </p:spPr>
          <p:txBody>
            <a:bodyPr wrap="square" rtlCol="0">
              <a:spAutoFit/>
            </a:bodyPr>
            <a:lstStyle/>
            <a:p>
              <a:pPr algn="ctr"/>
              <a:r>
                <a:rPr lang="en-GB" sz="1200">
                  <a:solidFill>
                    <a:schemeClr val="bg1"/>
                  </a:solidFill>
                  <a:latin typeface="+mj-lt"/>
                </a:rPr>
                <a:t>4</a:t>
              </a:r>
            </a:p>
          </p:txBody>
        </p:sp>
      </p:grpSp>
      <p:pic>
        <p:nvPicPr>
          <p:cNvPr id="133" name="Graphique 132">
            <a:extLst>
              <a:ext uri="{FF2B5EF4-FFF2-40B4-BE49-F238E27FC236}">
                <a16:creationId xmlns:a16="http://schemas.microsoft.com/office/drawing/2014/main" id="{20039D6F-E21E-449D-A907-1375E433192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604959" y="2635969"/>
            <a:ext cx="195930" cy="242031"/>
          </a:xfrm>
          <a:prstGeom prst="rect">
            <a:avLst/>
          </a:prstGeom>
        </p:spPr>
      </p:pic>
      <p:cxnSp>
        <p:nvCxnSpPr>
          <p:cNvPr id="122" name="Straight Connector 157">
            <a:extLst>
              <a:ext uri="{FF2B5EF4-FFF2-40B4-BE49-F238E27FC236}">
                <a16:creationId xmlns:a16="http://schemas.microsoft.com/office/drawing/2014/main" id="{E93B79F8-C267-44CD-A03A-AD17CB239AA1}"/>
              </a:ext>
            </a:extLst>
          </p:cNvPr>
          <p:cNvCxnSpPr>
            <a:cxnSpLocks/>
          </p:cNvCxnSpPr>
          <p:nvPr/>
        </p:nvCxnSpPr>
        <p:spPr bwMode="auto">
          <a:xfrm flipV="1">
            <a:off x="1659679" y="2341487"/>
            <a:ext cx="0" cy="224998"/>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34" name="Straight Connector 159">
            <a:extLst>
              <a:ext uri="{FF2B5EF4-FFF2-40B4-BE49-F238E27FC236}">
                <a16:creationId xmlns:a16="http://schemas.microsoft.com/office/drawing/2014/main" id="{3E2AAE98-D05E-4D6A-B9EE-3DB1DA0B3B2A}"/>
              </a:ext>
            </a:extLst>
          </p:cNvPr>
          <p:cNvCxnSpPr/>
          <p:nvPr/>
        </p:nvCxnSpPr>
        <p:spPr bwMode="auto">
          <a:xfrm>
            <a:off x="2067667" y="2341487"/>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sp>
        <p:nvSpPr>
          <p:cNvPr id="135" name="Espace réservé du texte 2">
            <a:extLst>
              <a:ext uri="{FF2B5EF4-FFF2-40B4-BE49-F238E27FC236}">
                <a16:creationId xmlns:a16="http://schemas.microsoft.com/office/drawing/2014/main" id="{C73C3472-E4EA-4EDB-9BCF-6C36B1BAF8FA}"/>
              </a:ext>
            </a:extLst>
          </p:cNvPr>
          <p:cNvSpPr>
            <a:spLocks noGrp="1"/>
          </p:cNvSpPr>
          <p:nvPr/>
        </p:nvSpPr>
        <p:spPr bwMode="auto">
          <a:xfrm>
            <a:off x="1658092" y="2255762"/>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t>-9</a:t>
            </a:r>
            <a:r>
              <a:rPr lang="en-GB" altLang="en-US" sz="800" b="1">
                <a:effectLst/>
              </a:rPr>
              <a:t>%</a:t>
            </a:r>
            <a:endParaRPr lang="en-GB" sz="800" b="1">
              <a:latin typeface="+mn-lt"/>
              <a:sym typeface="+mn-lt"/>
            </a:endParaRPr>
          </a:p>
        </p:txBody>
      </p:sp>
      <p:cxnSp>
        <p:nvCxnSpPr>
          <p:cNvPr id="136" name="Straight Connector 188">
            <a:extLst>
              <a:ext uri="{FF2B5EF4-FFF2-40B4-BE49-F238E27FC236}">
                <a16:creationId xmlns:a16="http://schemas.microsoft.com/office/drawing/2014/main" id="{1CAAFA4B-5951-4D14-B700-4B6C73051AB2}"/>
              </a:ext>
            </a:extLst>
          </p:cNvPr>
          <p:cNvCxnSpPr>
            <a:cxnSpLocks/>
          </p:cNvCxnSpPr>
          <p:nvPr/>
        </p:nvCxnSpPr>
        <p:spPr bwMode="auto">
          <a:xfrm flipV="1">
            <a:off x="6475980" y="2535405"/>
            <a:ext cx="0" cy="259155"/>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37" name="Straight Connector 190">
            <a:extLst>
              <a:ext uri="{FF2B5EF4-FFF2-40B4-BE49-F238E27FC236}">
                <a16:creationId xmlns:a16="http://schemas.microsoft.com/office/drawing/2014/main" id="{35244185-469F-4A39-8162-3914FC6DBF16}"/>
              </a:ext>
            </a:extLst>
          </p:cNvPr>
          <p:cNvCxnSpPr/>
          <p:nvPr/>
        </p:nvCxnSpPr>
        <p:spPr bwMode="auto">
          <a:xfrm>
            <a:off x="6883968" y="2550646"/>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sp>
        <p:nvSpPr>
          <p:cNvPr id="138" name="Espace réservé du texte 2">
            <a:extLst>
              <a:ext uri="{FF2B5EF4-FFF2-40B4-BE49-F238E27FC236}">
                <a16:creationId xmlns:a16="http://schemas.microsoft.com/office/drawing/2014/main" id="{1677DFD7-4E90-4CF1-B180-A85235DAD586}"/>
              </a:ext>
            </a:extLst>
          </p:cNvPr>
          <p:cNvSpPr>
            <a:spLocks noGrp="1"/>
          </p:cNvSpPr>
          <p:nvPr/>
        </p:nvSpPr>
        <p:spPr bwMode="auto">
          <a:xfrm>
            <a:off x="6474393" y="2438287"/>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t>-6.2</a:t>
            </a:r>
            <a:r>
              <a:rPr lang="en-GB" altLang="en-US" sz="800" b="1">
                <a:effectLst/>
              </a:rPr>
              <a:t>%</a:t>
            </a:r>
            <a:endParaRPr lang="en-GB" sz="800" b="1">
              <a:latin typeface="+mn-lt"/>
              <a:sym typeface="+mn-lt"/>
            </a:endParaRPr>
          </a:p>
        </p:txBody>
      </p:sp>
    </p:spTree>
    <p:extLst>
      <p:ext uri="{BB962C8B-B14F-4D97-AF65-F5344CB8AC3E}">
        <p14:creationId xmlns:p14="http://schemas.microsoft.com/office/powerpoint/2010/main" val="3055682090"/>
      </p:ext>
    </p:extLst>
  </p:cSld>
  <p:clrMapOvr>
    <a:masterClrMapping/>
  </p:clrMapOvr>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7ECA7587-5D4D-4C77-BC7A-FBCB26E9B679}"/>
              </a:ext>
            </a:extLst>
          </p:cNvPr>
          <p:cNvGraphicFramePr>
            <a:graphicFrameLocks noChangeAspect="1"/>
          </p:cNvGraphicFramePr>
          <p:nvPr>
            <p:custDataLst>
              <p:tags r:id="rId1"/>
            </p:custDataLst>
            <p:extLst>
              <p:ext uri="{D42A27DB-BD31-4B8C-83A1-F6EECF244321}">
                <p14:modId xmlns:p14="http://schemas.microsoft.com/office/powerpoint/2010/main" val="839493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14" name="Objet 13" hidden="1">
                        <a:extLst>
                          <a:ext uri="{FF2B5EF4-FFF2-40B4-BE49-F238E27FC236}">
                            <a16:creationId xmlns:a16="http://schemas.microsoft.com/office/drawing/2014/main" id="{7ECA7587-5D4D-4C77-BC7A-FBCB26E9B6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D7D998A4-C0A2-4344-97DF-ADA1A0B203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kern="1200" cap="none" spc="0" normalizeH="0" noProof="0" dirty="0">
              <a:ln>
                <a:noFill/>
              </a:ln>
              <a:solidFill>
                <a:srgbClr val="6C6C6C"/>
              </a:solidFill>
              <a:effectLst/>
              <a:uLnTx/>
              <a:uFillTx/>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1D825224-5426-45FB-95E4-C5F4C82DBF4A}"/>
              </a:ext>
            </a:extLst>
          </p:cNvPr>
          <p:cNvSpPr>
            <a:spLocks noGrp="1"/>
          </p:cNvSpPr>
          <p:nvPr>
            <p:ph type="title"/>
          </p:nvPr>
        </p:nvSpPr>
        <p:spPr>
          <a:xfrm>
            <a:off x="559806" y="147600"/>
            <a:ext cx="7914548" cy="684000"/>
          </a:xfrm>
        </p:spPr>
        <p:txBody>
          <a:bodyPr/>
          <a:lstStyle/>
          <a:p>
            <a:r>
              <a:rPr lang="en-GB" dirty="0">
                <a:latin typeface="Trebuchet MS" panose="020B0603020202020204" pitchFamily="34" charset="0"/>
              </a:rPr>
              <a:t>Product</a:t>
            </a:r>
            <a:r>
              <a:rPr lang="en-GB" dirty="0">
                <a:solidFill>
                  <a:schemeClr val="tx2"/>
                </a:solidFill>
                <a:latin typeface="Trebuchet MS" panose="020B0603020202020204" pitchFamily="34" charset="0"/>
              </a:rPr>
              <a:t> harmonization </a:t>
            </a:r>
            <a:r>
              <a:rPr lang="en-GB" dirty="0">
                <a:latin typeface="Trebuchet MS" panose="020B0603020202020204" pitchFamily="34" charset="0"/>
              </a:rPr>
              <a:t>and</a:t>
            </a:r>
            <a:r>
              <a:rPr lang="en-GB" dirty="0">
                <a:solidFill>
                  <a:schemeClr val="tx2"/>
                </a:solidFill>
                <a:latin typeface="Trebuchet MS" panose="020B0603020202020204" pitchFamily="34" charset="0"/>
              </a:rPr>
              <a:t> innovation</a:t>
            </a:r>
            <a:r>
              <a:rPr lang="en-GB" dirty="0">
                <a:latin typeface="Trebuchet MS" panose="020B0603020202020204" pitchFamily="34" charset="0"/>
              </a:rPr>
              <a:t> will create a </a:t>
            </a:r>
            <a:r>
              <a:rPr lang="en-GB" dirty="0">
                <a:solidFill>
                  <a:schemeClr val="tx2"/>
                </a:solidFill>
                <a:latin typeface="Trebuchet MS" panose="020B0603020202020204" pitchFamily="34" charset="0"/>
              </a:rPr>
              <a:t>virtuous circle allowing to enhance B2B targeting </a:t>
            </a:r>
            <a:r>
              <a:rPr lang="en-GB" dirty="0">
                <a:latin typeface="Trebuchet MS" panose="020B0603020202020204" pitchFamily="34" charset="0"/>
              </a:rPr>
              <a:t>with</a:t>
            </a:r>
            <a:r>
              <a:rPr lang="en-GB" dirty="0">
                <a:solidFill>
                  <a:schemeClr val="tx2"/>
                </a:solidFill>
                <a:latin typeface="Trebuchet MS" panose="020B0603020202020204" pitchFamily="34" charset="0"/>
              </a:rPr>
              <a:t> </a:t>
            </a:r>
            <a:r>
              <a:rPr lang="en-GB" dirty="0">
                <a:latin typeface="Trebuchet MS" panose="020B0603020202020204" pitchFamily="34" charset="0"/>
              </a:rPr>
              <a:t>data enrichment, artificial intelligence and deeper integration</a:t>
            </a:r>
            <a:endParaRPr lang="en-GB" sz="1600" dirty="0">
              <a:latin typeface="Trebuchet MS" pitchFamily="34" charset="0"/>
            </a:endParaRPr>
          </a:p>
        </p:txBody>
      </p:sp>
      <p:sp>
        <p:nvSpPr>
          <p:cNvPr id="3" name="Espace réservé du texte 2">
            <a:extLst>
              <a:ext uri="{FF2B5EF4-FFF2-40B4-BE49-F238E27FC236}">
                <a16:creationId xmlns:a16="http://schemas.microsoft.com/office/drawing/2014/main" id="{E5010DA3-233A-4C0B-9142-F7481F6191F9}"/>
              </a:ext>
            </a:extLst>
          </p:cNvPr>
          <p:cNvSpPr>
            <a:spLocks noGrp="1"/>
          </p:cNvSpPr>
          <p:nvPr>
            <p:ph type="body" sz="quarter" idx="10"/>
          </p:nvPr>
        </p:nvSpPr>
        <p:spPr/>
        <p:txBody>
          <a:bodyPr/>
          <a:lstStyle/>
          <a:p>
            <a:r>
              <a:rPr lang="en-GB"/>
              <a:t>Sources: eleven research &amp; analysis, company data, interviews with management</a:t>
            </a:r>
          </a:p>
        </p:txBody>
      </p:sp>
      <p:sp>
        <p:nvSpPr>
          <p:cNvPr id="18" name="Rectangle 17">
            <a:extLst>
              <a:ext uri="{FF2B5EF4-FFF2-40B4-BE49-F238E27FC236}">
                <a16:creationId xmlns:a16="http://schemas.microsoft.com/office/drawing/2014/main" id="{FF2A3E71-F790-43F9-895F-DA4FB88A640C}"/>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Trebuchet MS" panose="020B0603020202020204" pitchFamily="34" charset="0"/>
                <a:ea typeface="+mn-ea"/>
                <a:cs typeface="Arial" pitchFamily="34" charset="0"/>
              </a:rPr>
              <a:t>C</a:t>
            </a:r>
          </a:p>
        </p:txBody>
      </p:sp>
      <p:sp>
        <p:nvSpPr>
          <p:cNvPr id="19" name="Rectangle 18">
            <a:extLst>
              <a:ext uri="{FF2B5EF4-FFF2-40B4-BE49-F238E27FC236}">
                <a16:creationId xmlns:a16="http://schemas.microsoft.com/office/drawing/2014/main" id="{02B34D9D-CAB9-4FC1-90D5-197DB49855F0}"/>
              </a:ext>
            </a:extLst>
          </p:cNvPr>
          <p:cNvSpPr/>
          <p:nvPr/>
        </p:nvSpPr>
        <p:spPr bwMode="auto">
          <a:xfrm>
            <a:off x="141716" y="1265382"/>
            <a:ext cx="9480626" cy="51622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6C6C6C"/>
              </a:solidFill>
              <a:effectLst/>
              <a:uLnTx/>
              <a:uFillTx/>
              <a:latin typeface="Trebuchet MS" pitchFamily="34" charset="0"/>
              <a:ea typeface="+mn-ea"/>
              <a:cs typeface="Arial" pitchFamily="34" charset="0"/>
            </a:endParaRPr>
          </a:p>
        </p:txBody>
      </p:sp>
      <p:cxnSp>
        <p:nvCxnSpPr>
          <p:cNvPr id="22" name="Connecteur droit 4">
            <a:extLst>
              <a:ext uri="{FF2B5EF4-FFF2-40B4-BE49-F238E27FC236}">
                <a16:creationId xmlns:a16="http://schemas.microsoft.com/office/drawing/2014/main" id="{925D240D-441E-4F67-86A3-9D03E56AB034}"/>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3" name="TextBox 30">
            <a:extLst>
              <a:ext uri="{FF2B5EF4-FFF2-40B4-BE49-F238E27FC236}">
                <a16:creationId xmlns:a16="http://schemas.microsoft.com/office/drawing/2014/main" id="{D037B4D8-E38E-4A63-A9F9-F205C8EB8855}"/>
              </a:ext>
            </a:extLst>
          </p:cNvPr>
          <p:cNvSpPr txBox="1"/>
          <p:nvPr/>
        </p:nvSpPr>
        <p:spPr>
          <a:xfrm>
            <a:off x="2641561" y="978303"/>
            <a:ext cx="4622878"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Three pillars supporting Altares’ B2B marketing activity future growth</a:t>
            </a:r>
          </a:p>
        </p:txBody>
      </p:sp>
      <p:grpSp>
        <p:nvGrpSpPr>
          <p:cNvPr id="40" name="Groupe 39">
            <a:extLst>
              <a:ext uri="{FF2B5EF4-FFF2-40B4-BE49-F238E27FC236}">
                <a16:creationId xmlns:a16="http://schemas.microsoft.com/office/drawing/2014/main" id="{80DCDB32-03D1-47C1-A1AC-5468A5F60FF2}"/>
              </a:ext>
            </a:extLst>
          </p:cNvPr>
          <p:cNvGrpSpPr/>
          <p:nvPr/>
        </p:nvGrpSpPr>
        <p:grpSpPr>
          <a:xfrm>
            <a:off x="8448150" y="-11528"/>
            <a:ext cx="1435548" cy="588143"/>
            <a:chOff x="8448150" y="-11528"/>
            <a:chExt cx="1435548" cy="588143"/>
          </a:xfrm>
        </p:grpSpPr>
        <p:sp>
          <p:nvSpPr>
            <p:cNvPr id="41" name="Rectangle : coins arrondis 199">
              <a:extLst>
                <a:ext uri="{FF2B5EF4-FFF2-40B4-BE49-F238E27FC236}">
                  <a16:creationId xmlns:a16="http://schemas.microsoft.com/office/drawing/2014/main" id="{57FAD347-7765-4AC9-AAFB-71F4E2695161}"/>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
                  <a:srgbClr val="289B38"/>
                </a:buClr>
                <a:buSzPct val="90000"/>
                <a:buFontTx/>
                <a:buNone/>
                <a:tabLst/>
                <a:defRPr/>
              </a:pPr>
              <a:endParaRPr kumimoji="0" lang="en-GB" sz="1000" b="0" i="0" u="none" strike="noStrike" kern="1200" cap="all" spc="-10" normalizeH="0" baseline="0" noProof="0">
                <a:ln>
                  <a:noFill/>
                </a:ln>
                <a:solidFill>
                  <a:srgbClr val="FFFFFF"/>
                </a:solidFill>
                <a:effectLst/>
                <a:uLnTx/>
                <a:uFillTx/>
                <a:latin typeface="Trebuchet MS" pitchFamily="34" charset="0"/>
                <a:ea typeface="+mn-ea"/>
                <a:cs typeface="Arial" pitchFamily="34" charset="0"/>
              </a:endParaRPr>
            </a:p>
          </p:txBody>
        </p:sp>
        <p:sp>
          <p:nvSpPr>
            <p:cNvPr id="42" name="Rectangle : coins arrondis 200">
              <a:extLst>
                <a:ext uri="{FF2B5EF4-FFF2-40B4-BE49-F238E27FC236}">
                  <a16:creationId xmlns:a16="http://schemas.microsoft.com/office/drawing/2014/main" id="{5F629B99-01EE-46E7-8762-68B039E51D99}"/>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
                  <a:srgbClr val="289B38"/>
                </a:buClr>
                <a:buSzPct val="90000"/>
                <a:buFontTx/>
                <a:buNone/>
                <a:tabLst/>
                <a:defRPr/>
              </a:pPr>
              <a:endParaRPr kumimoji="0" lang="en-GB" sz="1000" b="0" i="0" u="none" strike="noStrike" kern="1200" cap="all" spc="-10" normalizeH="0" baseline="0" noProof="0">
                <a:ln>
                  <a:noFill/>
                </a:ln>
                <a:solidFill>
                  <a:srgbClr val="FFFFFF"/>
                </a:solidFill>
                <a:effectLst/>
                <a:uLnTx/>
                <a:uFillTx/>
                <a:latin typeface="Trebuchet MS" pitchFamily="34" charset="0"/>
                <a:ea typeface="+mn-ea"/>
                <a:cs typeface="Arial" pitchFamily="34" charset="0"/>
              </a:endParaRPr>
            </a:p>
          </p:txBody>
        </p:sp>
        <p:sp>
          <p:nvSpPr>
            <p:cNvPr id="43" name="Rectangle : coins arrondis 201">
              <a:extLst>
                <a:ext uri="{FF2B5EF4-FFF2-40B4-BE49-F238E27FC236}">
                  <a16:creationId xmlns:a16="http://schemas.microsoft.com/office/drawing/2014/main" id="{9765D66E-D23C-4481-AEBA-6839A65505B8}"/>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
                  <a:srgbClr val="289B38"/>
                </a:buClr>
                <a:buSzPct val="90000"/>
                <a:buFontTx/>
                <a:buNone/>
                <a:tabLst/>
                <a:defRPr/>
              </a:pPr>
              <a:endParaRPr kumimoji="0" lang="en-GB" sz="1000" b="0" i="0" u="none" strike="noStrike" kern="1200" cap="all" spc="-10" normalizeH="0" baseline="0" noProof="0">
                <a:ln>
                  <a:noFill/>
                </a:ln>
                <a:solidFill>
                  <a:srgbClr val="FFFFFF"/>
                </a:solidFill>
                <a:effectLst/>
                <a:uLnTx/>
                <a:uFillTx/>
                <a:latin typeface="Trebuchet MS" pitchFamily="34" charset="0"/>
                <a:ea typeface="+mn-ea"/>
                <a:cs typeface="Arial" pitchFamily="34" charset="0"/>
              </a:endParaRPr>
            </a:p>
          </p:txBody>
        </p:sp>
        <p:sp>
          <p:nvSpPr>
            <p:cNvPr id="44" name="ZoneTexte 18">
              <a:extLst>
                <a:ext uri="{FF2B5EF4-FFF2-40B4-BE49-F238E27FC236}">
                  <a16:creationId xmlns:a16="http://schemas.microsoft.com/office/drawing/2014/main" id="{9D5C9C2E-8965-4D28-8000-7B0F61B23A99}"/>
                </a:ext>
              </a:extLst>
            </p:cNvPr>
            <p:cNvSpPr txBox="1"/>
            <p:nvPr/>
          </p:nvSpPr>
          <p:spPr>
            <a:xfrm>
              <a:off x="8448150" y="-11528"/>
              <a:ext cx="1281748" cy="21544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Altares’ future growth</a:t>
              </a:r>
            </a:p>
          </p:txBody>
        </p:sp>
        <p:pic>
          <p:nvPicPr>
            <p:cNvPr id="45" name="Graphique 128" descr="Jauge">
              <a:extLst>
                <a:ext uri="{FF2B5EF4-FFF2-40B4-BE49-F238E27FC236}">
                  <a16:creationId xmlns:a16="http://schemas.microsoft.com/office/drawing/2014/main" id="{6FD2717A-21C9-43E4-BB47-5B5B23DA0A7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46" name="Graphique 90" descr="Poignée de main">
              <a:extLst>
                <a:ext uri="{FF2B5EF4-FFF2-40B4-BE49-F238E27FC236}">
                  <a16:creationId xmlns:a16="http://schemas.microsoft.com/office/drawing/2014/main" id="{5FB7D681-934B-422C-9D8D-85C4A9F03CF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47" name="Graphique 74" descr="Mégaphone">
              <a:extLst>
                <a:ext uri="{FF2B5EF4-FFF2-40B4-BE49-F238E27FC236}">
                  <a16:creationId xmlns:a16="http://schemas.microsoft.com/office/drawing/2014/main" id="{3E9780D2-3186-466B-A1DB-C6C53CAB39D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48" name="Picture 2" descr="5 ft x 3 ft 150 x 90 cm-DRAPEAU BELGE Belgique 100% Polyester ...">
              <a:extLst>
                <a:ext uri="{FF2B5EF4-FFF2-40B4-BE49-F238E27FC236}">
                  <a16:creationId xmlns:a16="http://schemas.microsoft.com/office/drawing/2014/main" id="{30F9A4EB-B624-4B99-9716-188CCE592834}"/>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9" name="Picture 2 - 1" descr="Drapeau des Pays-Bas — Wikipédia">
              <a:extLst>
                <a:ext uri="{FF2B5EF4-FFF2-40B4-BE49-F238E27FC236}">
                  <a16:creationId xmlns:a16="http://schemas.microsoft.com/office/drawing/2014/main" id="{95095BDE-CF13-4B47-ABA2-85581DB2262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0" name="Picture 2 - 2" descr="Drapeau du Luxembourg">
              <a:extLst>
                <a:ext uri="{FF2B5EF4-FFF2-40B4-BE49-F238E27FC236}">
                  <a16:creationId xmlns:a16="http://schemas.microsoft.com/office/drawing/2014/main" id="{E3883594-4950-4077-A797-029E1570837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1" name="ZoneTexte 50">
              <a:extLst>
                <a:ext uri="{FF2B5EF4-FFF2-40B4-BE49-F238E27FC236}">
                  <a16:creationId xmlns:a16="http://schemas.microsoft.com/office/drawing/2014/main" id="{C53A25D0-CAE9-40B7-A557-D9640482982A}"/>
                </a:ext>
              </a:extLst>
            </p:cNvPr>
            <p:cNvSpPr txBox="1"/>
            <p:nvPr/>
          </p:nvSpPr>
          <p:spPr>
            <a:xfrm>
              <a:off x="8448150" y="361171"/>
              <a:ext cx="1281748" cy="21544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P assessment</a:t>
              </a:r>
            </a:p>
          </p:txBody>
        </p:sp>
      </p:grpSp>
      <p:sp>
        <p:nvSpPr>
          <p:cNvPr id="33" name="Triangle isocèle 32">
            <a:extLst>
              <a:ext uri="{FF2B5EF4-FFF2-40B4-BE49-F238E27FC236}">
                <a16:creationId xmlns:a16="http://schemas.microsoft.com/office/drawing/2014/main" id="{8A8118D5-C086-4B86-9E28-4A2643228340}"/>
              </a:ext>
            </a:extLst>
          </p:cNvPr>
          <p:cNvSpPr/>
          <p:nvPr/>
        </p:nvSpPr>
        <p:spPr bwMode="auto">
          <a:xfrm>
            <a:off x="1670700" y="2492265"/>
            <a:ext cx="6068706" cy="1892330"/>
          </a:xfrm>
          <a:prstGeom prst="triangle">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6C6C6C"/>
              </a:solidFill>
              <a:effectLst/>
              <a:uLnTx/>
              <a:uFillTx/>
              <a:latin typeface="Trebuchet MS" pitchFamily="34" charset="0"/>
              <a:ea typeface="+mn-ea"/>
              <a:cs typeface="Arial" pitchFamily="34" charset="0"/>
            </a:endParaRPr>
          </a:p>
        </p:txBody>
      </p:sp>
      <p:sp>
        <p:nvSpPr>
          <p:cNvPr id="4" name="Rectangle 3">
            <a:extLst>
              <a:ext uri="{FF2B5EF4-FFF2-40B4-BE49-F238E27FC236}">
                <a16:creationId xmlns:a16="http://schemas.microsoft.com/office/drawing/2014/main" id="{0E1A51D9-4D5F-44CF-B77C-91E2E5C460EC}"/>
              </a:ext>
            </a:extLst>
          </p:cNvPr>
          <p:cNvSpPr/>
          <p:nvPr/>
        </p:nvSpPr>
        <p:spPr bwMode="auto">
          <a:xfrm>
            <a:off x="1368129" y="1409761"/>
            <a:ext cx="7169743" cy="2187176"/>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1" indent="0" algn="ctr" defTabSz="914400" rtl="0" eaLnBrk="1" fontAlgn="base" latinLnBrk="0" hangingPunct="1">
              <a:lnSpc>
                <a:spcPct val="100000"/>
              </a:lnSpc>
              <a:spcBef>
                <a:spcPts val="300"/>
              </a:spcBef>
              <a:spcAft>
                <a:spcPct val="0"/>
              </a:spcAft>
              <a:buClr>
                <a:srgbClr val="6C6C6C"/>
              </a:buClr>
              <a:buSzTx/>
              <a:buFontTx/>
              <a:buNone/>
              <a:tabLst/>
              <a:defRPr/>
            </a:pPr>
            <a:r>
              <a:rPr kumimoji="0" lang="en-GB" sz="1000" b="1" i="0" u="none" strike="noStrike" kern="1200" cap="none" spc="0" normalizeH="0" baseline="0" noProof="0">
                <a:ln>
                  <a:noFill/>
                </a:ln>
                <a:solidFill>
                  <a:srgbClr val="289B38"/>
                </a:solidFill>
                <a:effectLst/>
                <a:uLnTx/>
                <a:uFillTx/>
                <a:latin typeface="Trebuchet MS" pitchFamily="34" charset="0"/>
                <a:ea typeface="+mn-ea"/>
                <a:cs typeface="Arial" pitchFamily="34" charset="0"/>
              </a:rPr>
              <a:t>Ongoing product harmonization and go-to-market</a:t>
            </a:r>
          </a:p>
          <a:p>
            <a:pPr marL="0" marR="0" lvl="1" indent="0" algn="ctr" defTabSz="914400" rtl="0" eaLnBrk="1" fontAlgn="base" latinLnBrk="0" hangingPunct="1">
              <a:lnSpc>
                <a:spcPct val="100000"/>
              </a:lnSpc>
              <a:spcBef>
                <a:spcPts val="300"/>
              </a:spcBef>
              <a:spcAft>
                <a:spcPct val="0"/>
              </a:spcAft>
              <a:buClr>
                <a:srgbClr val="6C6C6C"/>
              </a:buClr>
              <a:buSzTx/>
              <a:buFontTx/>
              <a:buNone/>
              <a:tabLst/>
              <a:defRPr/>
            </a:pPr>
            <a:endParaRPr kumimoji="0" lang="en-GB" sz="1000" b="1" i="0" u="none" strike="noStrike" kern="1200" cap="none" spc="0" normalizeH="0" baseline="0" noProof="0">
              <a:ln>
                <a:noFill/>
              </a:ln>
              <a:solidFill>
                <a:srgbClr val="289B38"/>
              </a:solidFill>
              <a:effectLst/>
              <a:uLnTx/>
              <a:uFillTx/>
              <a:latin typeface="Trebuchet MS" pitchFamily="34" charset="0"/>
              <a:ea typeface="+mn-ea"/>
              <a:cs typeface="Arial" pitchFamily="34" charset="0"/>
            </a:endParaRPr>
          </a:p>
        </p:txBody>
      </p:sp>
      <p:sp>
        <p:nvSpPr>
          <p:cNvPr id="53" name="Rectangle 52">
            <a:extLst>
              <a:ext uri="{FF2B5EF4-FFF2-40B4-BE49-F238E27FC236}">
                <a16:creationId xmlns:a16="http://schemas.microsoft.com/office/drawing/2014/main" id="{85C9B527-FA33-4B57-916D-41117BE16110}"/>
              </a:ext>
            </a:extLst>
          </p:cNvPr>
          <p:cNvSpPr/>
          <p:nvPr/>
        </p:nvSpPr>
        <p:spPr bwMode="auto">
          <a:xfrm>
            <a:off x="288925" y="3802712"/>
            <a:ext cx="3996181" cy="2551596"/>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marL="0" marR="0" lvl="1" indent="0" algn="ctr" defTabSz="914400" rtl="0" eaLnBrk="1" fontAlgn="base" latinLnBrk="0" hangingPunct="1">
              <a:lnSpc>
                <a:spcPct val="100000"/>
              </a:lnSpc>
              <a:spcBef>
                <a:spcPts val="300"/>
              </a:spcBef>
              <a:spcAft>
                <a:spcPct val="0"/>
              </a:spcAft>
              <a:buClr>
                <a:srgbClr val="6C6C6C"/>
              </a:buClr>
              <a:buSzTx/>
              <a:buFontTx/>
              <a:buNone/>
              <a:tabLst/>
              <a:defRPr/>
            </a:pPr>
            <a:r>
              <a:rPr kumimoji="0" lang="en-GB" sz="1000" b="1" i="0" u="none" strike="noStrike" kern="1200" cap="none" spc="0" normalizeH="0" baseline="0" noProof="0">
                <a:ln>
                  <a:noFill/>
                </a:ln>
                <a:solidFill>
                  <a:srgbClr val="289B38"/>
                </a:solidFill>
                <a:effectLst/>
                <a:uLnTx/>
                <a:uFillTx/>
                <a:latin typeface="Trebuchet MS" pitchFamily="34" charset="0"/>
                <a:ea typeface="+mn-ea"/>
                <a:cs typeface="Arial" pitchFamily="34" charset="0"/>
              </a:rPr>
              <a:t>Data enrichment of the products</a:t>
            </a:r>
          </a:p>
          <a:p>
            <a:pPr marL="0" marR="0" lvl="1" indent="0" algn="ctr" defTabSz="914400" rtl="0" eaLnBrk="1" fontAlgn="base" latinLnBrk="0" hangingPunct="1">
              <a:lnSpc>
                <a:spcPct val="100000"/>
              </a:lnSpc>
              <a:spcBef>
                <a:spcPts val="300"/>
              </a:spcBef>
              <a:spcAft>
                <a:spcPct val="0"/>
              </a:spcAft>
              <a:buClr>
                <a:srgbClr val="6C6C6C"/>
              </a:buClr>
              <a:buSzTx/>
              <a:buFontTx/>
              <a:buNone/>
              <a:tabLst/>
              <a:defRPr/>
            </a:pPr>
            <a:endParaRPr kumimoji="0" lang="en-GB" sz="1000" b="1" i="0" u="none" strike="noStrike" kern="1200" cap="none" spc="0" normalizeH="0" baseline="0" noProof="0">
              <a:ln>
                <a:noFill/>
              </a:ln>
              <a:solidFill>
                <a:srgbClr val="289B38"/>
              </a:solidFill>
              <a:effectLst/>
              <a:uLnTx/>
              <a:uFillTx/>
              <a:latin typeface="Trebuchet MS" pitchFamily="34" charset="0"/>
              <a:ea typeface="+mn-ea"/>
              <a:cs typeface="Arial" pitchFamily="34" charset="0"/>
            </a:endParaRPr>
          </a:p>
          <a:p>
            <a:pPr marL="171450" marR="0" lvl="1" indent="-171450" algn="l" defTabSz="914400" rtl="0" eaLnBrk="1" fontAlgn="base" latinLnBrk="0" hangingPunct="1">
              <a:lnSpc>
                <a:spcPct val="100000"/>
              </a:lnSpc>
              <a:spcBef>
                <a:spcPts val="6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New solution analysing the </a:t>
            </a:r>
            <a:r>
              <a:rPr kumimoji="0" lang="en-GB" sz="1000" b="0" i="1"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Raison </a:t>
            </a:r>
            <a:r>
              <a:rPr kumimoji="0" lang="en-GB" sz="1000" b="0" i="1" u="none" strike="noStrike" kern="1200" cap="none" spc="0" normalizeH="0" baseline="0" noProof="0" err="1">
                <a:ln>
                  <a:noFill/>
                </a:ln>
                <a:solidFill>
                  <a:srgbClr val="289B38"/>
                </a:solidFill>
                <a:effectLst/>
                <a:uLnTx/>
                <a:uFillTx/>
                <a:latin typeface="Trebuchet MS" panose="020B0603020202020204" pitchFamily="34" charset="0"/>
                <a:ea typeface="+mn-ea"/>
                <a:cs typeface="Arial" pitchFamily="34" charset="0"/>
              </a:rPr>
              <a:t>Sociale</a:t>
            </a:r>
            <a:r>
              <a:rPr kumimoji="0" lang="en-GB" sz="1000" b="0" i="1"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through words recognition (Q4 2020 in France)</a:t>
            </a:r>
          </a:p>
          <a:p>
            <a:pPr marL="171450" marR="0" lvl="1" indent="-171450" algn="l" defTabSz="914400" rtl="0" eaLnBrk="1" fontAlgn="base" latinLnBrk="0" hangingPunct="1">
              <a:lnSpc>
                <a:spcPct val="107000"/>
              </a:lnSpc>
              <a:spcBef>
                <a:spcPts val="6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Major content enhancement through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Open Data </a:t>
            </a:r>
            <a:r>
              <a:rPr kumimoji="0" lang="en-GB" sz="1000" b="0" i="0" u="none" strike="noStrike" kern="1200" cap="none" spc="0" normalizeH="0" baseline="0" noProof="0">
                <a:ln>
                  <a:noFill/>
                </a:ln>
                <a:effectLst/>
                <a:uLnTx/>
                <a:uFillTx/>
                <a:latin typeface="Trebuchet MS" panose="020B0603020202020204" pitchFamily="34" charset="0"/>
                <a:ea typeface="+mn-ea"/>
                <a:cs typeface="Arial" pitchFamily="34" charset="0"/>
              </a:rPr>
              <a:t>and</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err="1">
                <a:ln>
                  <a:noFill/>
                </a:ln>
                <a:solidFill>
                  <a:srgbClr val="289B38"/>
                </a:solidFill>
                <a:effectLst/>
                <a:uLnTx/>
                <a:uFillTx/>
                <a:latin typeface="Trebuchet MS" panose="020B0603020202020204" pitchFamily="34" charset="0"/>
                <a:ea typeface="+mn-ea"/>
                <a:cs typeface="Arial" pitchFamily="34" charset="0"/>
              </a:rPr>
              <a:t>webscrapping</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with AI and NLP under the supervision of the newly hired head of content recruited in Q3 2020 – job creation</a:t>
            </a:r>
          </a:p>
          <a:p>
            <a:pPr marL="171450" marR="0" lvl="1" indent="-171450" algn="l" defTabSz="914400" rtl="0" eaLnBrk="1" fontAlgn="base" latinLnBrk="0" hangingPunct="1">
              <a:lnSpc>
                <a:spcPct val="107000"/>
              </a:lnSpc>
              <a:spcBef>
                <a:spcPts val="6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Integration of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ompliance and risk information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positioning B2B marketing services toward the top of the market</a:t>
            </a:r>
          </a:p>
          <a:p>
            <a:pPr marL="171450" marR="0" lvl="1" indent="-171450" algn="l" defTabSz="914400" rtl="0" eaLnBrk="1" fontAlgn="base" latinLnBrk="0" hangingPunct="1">
              <a:lnSpc>
                <a:spcPct val="107000"/>
              </a:lnSpc>
              <a:spcBef>
                <a:spcPts val="6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Integration of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patents and M&amp;A information in Q4 2021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e.g. partnership with players such as </a:t>
            </a:r>
            <a:r>
              <a:rPr kumimoji="0" lang="en-GB" sz="10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Questel</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a:p>
            <a:pPr marL="171450" marR="0" lvl="1" indent="-171450" algn="l" defTabSz="914400" rtl="0" eaLnBrk="1" fontAlgn="base" latinLnBrk="0" hangingPunct="1">
              <a:lnSpc>
                <a:spcPct val="107000"/>
              </a:lnSpc>
              <a:spcBef>
                <a:spcPts val="6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Integration of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SR data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e.g. partnership with players such as </a:t>
            </a:r>
            <a:r>
              <a:rPr kumimoji="0" lang="en-GB" sz="10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Ecovadis</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a:p>
            <a:pPr marL="0" marR="0" lvl="1" indent="0" algn="ctr" defTabSz="914400" rtl="0" eaLnBrk="1" fontAlgn="base" latinLnBrk="0" hangingPunct="1">
              <a:lnSpc>
                <a:spcPct val="100000"/>
              </a:lnSpc>
              <a:spcBef>
                <a:spcPts val="300"/>
              </a:spcBef>
              <a:spcAft>
                <a:spcPct val="0"/>
              </a:spcAft>
              <a:buClr>
                <a:srgbClr val="6C6C6C"/>
              </a:buClr>
              <a:buSzTx/>
              <a:buFontTx/>
              <a:buNone/>
              <a:tabLst/>
              <a:defRPr/>
            </a:pPr>
            <a:endParaRPr kumimoji="0" lang="en-GB" sz="1000" b="0" i="1"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endParaRPr>
          </a:p>
        </p:txBody>
      </p:sp>
      <p:sp>
        <p:nvSpPr>
          <p:cNvPr id="54" name="Rectangle 53">
            <a:extLst>
              <a:ext uri="{FF2B5EF4-FFF2-40B4-BE49-F238E27FC236}">
                <a16:creationId xmlns:a16="http://schemas.microsoft.com/office/drawing/2014/main" id="{30202BE6-4338-4A9A-BDBC-513CA66AA913}"/>
              </a:ext>
            </a:extLst>
          </p:cNvPr>
          <p:cNvSpPr/>
          <p:nvPr/>
        </p:nvSpPr>
        <p:spPr bwMode="auto">
          <a:xfrm>
            <a:off x="4406389" y="3802616"/>
            <a:ext cx="5148000" cy="2551799"/>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marL="0" marR="0" lvl="1" indent="0" algn="ctr" defTabSz="914400" rtl="0" eaLnBrk="1" fontAlgn="base" latinLnBrk="0" hangingPunct="1">
              <a:lnSpc>
                <a:spcPct val="100000"/>
              </a:lnSpc>
              <a:spcBef>
                <a:spcPts val="300"/>
              </a:spcBef>
              <a:spcAft>
                <a:spcPct val="0"/>
              </a:spcAft>
              <a:buClr>
                <a:srgbClr val="6C6C6C"/>
              </a:buClr>
              <a:buSzTx/>
              <a:buFontTx/>
              <a:buNone/>
              <a:tabLst/>
              <a:defRPr/>
            </a:pPr>
            <a:r>
              <a:rPr kumimoji="0" lang="en-GB" sz="1000" b="1" i="0" u="none" strike="noStrike" kern="1200" cap="none" spc="0" normalizeH="0" baseline="0" noProof="0">
                <a:ln>
                  <a:noFill/>
                </a:ln>
                <a:solidFill>
                  <a:srgbClr val="289B38"/>
                </a:solidFill>
                <a:effectLst/>
                <a:uLnTx/>
                <a:uFillTx/>
                <a:latin typeface="Trebuchet MS" pitchFamily="34" charset="0"/>
                <a:ea typeface="+mn-ea"/>
                <a:cs typeface="Arial" pitchFamily="34" charset="0"/>
              </a:rPr>
              <a:t>Enhanced targeting enabled by artificial intelligence </a:t>
            </a:r>
          </a:p>
          <a:p>
            <a:pPr marL="0" marR="0" lvl="1" indent="0" algn="ctr" defTabSz="914400" rtl="0" eaLnBrk="1" fontAlgn="base" latinLnBrk="0" hangingPunct="1">
              <a:lnSpc>
                <a:spcPct val="100000"/>
              </a:lnSpc>
              <a:spcBef>
                <a:spcPts val="300"/>
              </a:spcBef>
              <a:spcAft>
                <a:spcPct val="0"/>
              </a:spcAft>
              <a:buClr>
                <a:srgbClr val="6C6C6C"/>
              </a:buClr>
              <a:buSzTx/>
              <a:buFontTx/>
              <a:buNone/>
              <a:tabLst/>
              <a:defRPr/>
            </a:pPr>
            <a:r>
              <a:rPr kumimoji="0" lang="en-GB" sz="1000" b="1" i="0" u="none" strike="noStrike" kern="1200" cap="none" spc="0" normalizeH="0" baseline="0" noProof="0">
                <a:ln>
                  <a:noFill/>
                </a:ln>
                <a:solidFill>
                  <a:srgbClr val="289B38"/>
                </a:solidFill>
                <a:effectLst/>
                <a:uLnTx/>
                <a:uFillTx/>
                <a:latin typeface="Trebuchet MS" pitchFamily="34" charset="0"/>
                <a:ea typeface="+mn-ea"/>
                <a:cs typeface="Arial" pitchFamily="34" charset="0"/>
              </a:rPr>
              <a:t>and increased integration</a:t>
            </a:r>
          </a:p>
          <a:p>
            <a:pPr marL="171450" indent="-171450">
              <a:spcBef>
                <a:spcPts val="600"/>
              </a:spcBef>
              <a:buFont typeface="Arial" panose="020B0604020202020204" pitchFamily="34" charset="0"/>
              <a:buChar char="•"/>
            </a:pPr>
            <a:r>
              <a:rPr kumimoji="0" lang="en-GB" sz="1000" b="0" i="0" u="none" strike="noStrike" kern="1200" cap="none" spc="0" normalizeH="0" baseline="0" noProof="0">
                <a:ln>
                  <a:noFill/>
                </a:ln>
                <a:solidFill>
                  <a:srgbClr val="6C6C6C"/>
                </a:solidFill>
                <a:effectLst/>
                <a:uLnTx/>
                <a:uFillTx/>
                <a:latin typeface="Trebuchet MS" pitchFamily="34" charset="0"/>
                <a:ea typeface="+mn-ea"/>
                <a:cs typeface="Arial" pitchFamily="34" charset="0"/>
              </a:rPr>
              <a:t>Integration of </a:t>
            </a:r>
            <a:r>
              <a:rPr kumimoji="0" lang="en-GB" sz="1000" b="0" i="0" u="none" strike="noStrike" kern="1200" cap="none" spc="0" normalizeH="0" baseline="0" noProof="0">
                <a:ln>
                  <a:noFill/>
                </a:ln>
                <a:solidFill>
                  <a:srgbClr val="289B38"/>
                </a:solidFill>
                <a:effectLst/>
                <a:uLnTx/>
                <a:uFillTx/>
                <a:latin typeface="Trebuchet MS" pitchFamily="34" charset="0"/>
                <a:ea typeface="+mn-ea"/>
                <a:cs typeface="Arial" pitchFamily="34" charset="0"/>
              </a:rPr>
              <a:t>Data Science capabilities </a:t>
            </a:r>
            <a:r>
              <a:rPr kumimoji="0" lang="en-GB" sz="1000" b="0" i="0" u="none" strike="noStrike" kern="1200" cap="none" spc="0" normalizeH="0" baseline="0" noProof="0">
                <a:ln>
                  <a:noFill/>
                </a:ln>
                <a:solidFill>
                  <a:srgbClr val="6C6C6C"/>
                </a:solidFill>
                <a:effectLst/>
                <a:uLnTx/>
                <a:uFillTx/>
                <a:latin typeface="Trebuchet MS" pitchFamily="34" charset="0"/>
                <a:ea typeface="+mn-ea"/>
                <a:cs typeface="Arial" pitchFamily="34" charset="0"/>
              </a:rPr>
              <a:t>(e.g. ability to leverage non structured data) into SMART in order to produce </a:t>
            </a:r>
            <a:r>
              <a:rPr kumimoji="0" lang="en-GB" sz="1000" b="0" i="0" u="none" strike="noStrike" kern="1200" cap="none" spc="0" normalizeH="0" baseline="0" noProof="0">
                <a:ln>
                  <a:noFill/>
                </a:ln>
                <a:solidFill>
                  <a:srgbClr val="289B38"/>
                </a:solidFill>
                <a:effectLst/>
                <a:uLnTx/>
                <a:uFillTx/>
                <a:latin typeface="Trebuchet MS" pitchFamily="34" charset="0"/>
                <a:ea typeface="+mn-ea"/>
                <a:cs typeface="Arial" pitchFamily="34" charset="0"/>
              </a:rPr>
              <a:t>personalized appetence score </a:t>
            </a:r>
            <a:r>
              <a:rPr lang="en-GB" sz="1000">
                <a:latin typeface="Trebuchet MS" pitchFamily="34" charset="0"/>
              </a:rPr>
              <a:t>allowing</a:t>
            </a:r>
            <a:r>
              <a:rPr kumimoji="0" lang="en-GB" sz="1000" b="0" i="0" u="none" strike="noStrike" kern="1200" cap="none" spc="0" normalizeH="0" baseline="0" noProof="0">
                <a:ln>
                  <a:noFill/>
                </a:ln>
                <a:effectLst/>
                <a:uLnTx/>
                <a:uFillTx/>
                <a:latin typeface="Trebuchet MS" pitchFamily="34" charset="0"/>
                <a:ea typeface="+mn-ea"/>
                <a:cs typeface="Arial" pitchFamily="34" charset="0"/>
              </a:rPr>
              <a:t> the customer to be more </a:t>
            </a:r>
            <a:r>
              <a:rPr lang="en-GB" sz="1000">
                <a:latin typeface="Trebuchet MS" pitchFamily="34" charset="0"/>
              </a:rPr>
              <a:t>active:</a:t>
            </a:r>
            <a:endParaRPr kumimoji="0" lang="en-GB" sz="1000" b="0" i="0" u="none" strike="noStrike" kern="1200" cap="none" spc="0" normalizeH="0" baseline="0" noProof="0">
              <a:ln>
                <a:noFill/>
              </a:ln>
              <a:solidFill>
                <a:srgbClr val="6C6C6C"/>
              </a:solidFill>
              <a:effectLst/>
              <a:uLnTx/>
              <a:uFillTx/>
              <a:latin typeface="Trebuchet MS" pitchFamily="34" charset="0"/>
              <a:ea typeface="+mn-ea"/>
              <a:cs typeface="Arial" pitchFamily="34" charset="0"/>
            </a:endParaRPr>
          </a:p>
          <a:p>
            <a:pPr marL="628650" lvl="1" indent="-171450">
              <a:spcBef>
                <a:spcPts val="0"/>
              </a:spcBef>
              <a:spcAft>
                <a:spcPts val="600"/>
              </a:spcAft>
              <a:buFont typeface="Arial" panose="020B0604020202020204" pitchFamily="34" charset="0"/>
              <a:buChar char="•"/>
            </a:pP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Appetence score </a:t>
            </a:r>
            <a:r>
              <a:rPr kumimoji="0" lang="en-GB" sz="1000" b="0" i="0" u="none" strike="noStrike" kern="1200" cap="none" spc="0" normalizeH="0" baseline="0" noProof="0">
                <a:ln>
                  <a:noFill/>
                </a:ln>
                <a:effectLst/>
                <a:uLnTx/>
                <a:uFillTx/>
                <a:latin typeface="Trebuchet MS" panose="020B0603020202020204" pitchFamily="34" charset="0"/>
                <a:ea typeface="+mn-ea"/>
                <a:cs typeface="Arial" pitchFamily="34" charset="0"/>
              </a:rPr>
              <a:t>enriched by data science and contextualised for the customer in order to sort and prioritise </a:t>
            </a:r>
            <a:r>
              <a:rPr lang="en-GB" sz="1000">
                <a:latin typeface="Trebuchet MS" panose="020B0603020202020204" pitchFamily="34" charset="0"/>
              </a:rPr>
              <a:t>prospects (e.g. leads associated with email templates...)</a:t>
            </a:r>
            <a:endParaRPr kumimoji="0" lang="en-GB" sz="1000" b="0" i="0" u="none" strike="noStrike" kern="1200" cap="none" spc="0" normalizeH="0" baseline="0" noProof="0">
              <a:ln>
                <a:noFill/>
              </a:ln>
              <a:effectLst/>
              <a:uLnTx/>
              <a:uFillTx/>
              <a:latin typeface="Trebuchet MS" panose="020B0603020202020204" pitchFamily="34" charset="0"/>
              <a:ea typeface="+mn-ea"/>
              <a:cs typeface="Arial" pitchFamily="34" charset="0"/>
            </a:endParaRPr>
          </a:p>
          <a:p>
            <a:pPr marL="171450" marR="0" lvl="0" indent="-171450" defTabSz="914400" rtl="0" eaLnBrk="1" fontAlgn="base" latinLnBrk="0" hangingPunct="1">
              <a:lnSpc>
                <a:spcPct val="100000"/>
              </a:lnSpc>
              <a:spcBef>
                <a:spcPts val="300"/>
              </a:spcBef>
              <a:spcAft>
                <a:spcPct val="0"/>
              </a:spcAft>
              <a:buClr>
                <a:schemeClr val="tx1"/>
              </a:buClr>
              <a:buSzTx/>
              <a:buFont typeface="Arial" panose="020B0604020202020204" pitchFamily="34" charset="0"/>
              <a:buChar char="•"/>
              <a:tabLst/>
              <a:defRPr/>
            </a:pP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New API/connectors </a:t>
            </a:r>
            <a:r>
              <a:rPr kumimoji="0" lang="en-GB" sz="1000" b="0" i="0" u="none" strike="noStrike" kern="1200" cap="none" spc="0" normalizeH="0" baseline="0" noProof="0">
                <a:ln>
                  <a:noFill/>
                </a:ln>
                <a:effectLst/>
                <a:uLnTx/>
                <a:uFillTx/>
                <a:latin typeface="Trebuchet MS" panose="020B0603020202020204" pitchFamily="34" charset="0"/>
                <a:ea typeface="Calibri" panose="020F0502020204030204" pitchFamily="34" charset="0"/>
                <a:cs typeface="Arial" panose="020B0604020202020204" pitchFamily="34" charset="0"/>
              </a:rPr>
              <a:t>developments to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deepen the integration within the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clients’ CRM and workflow</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 which is expected to increase ARPU on the short term: </a:t>
            </a:r>
          </a:p>
          <a:p>
            <a:pPr marL="635000" marR="0" lvl="2" indent="-177800" defTabSz="914400" rtl="0" eaLnBrk="1" fontAlgn="base" latinLnBrk="0" hangingPunct="1">
              <a:lnSpc>
                <a:spcPct val="107000"/>
              </a:lnSpc>
              <a:spcBef>
                <a:spcPct val="0"/>
              </a:spcBef>
              <a:spcAft>
                <a:spcPts val="0"/>
              </a:spcAft>
              <a:buClr>
                <a:srgbClr val="6C6C6C"/>
              </a:buClr>
              <a:buSzTx/>
              <a:buFont typeface="Courier New" panose="02070309020205020404" pitchFamily="49" charset="0"/>
              <a:buChar char="o"/>
              <a:tabLst/>
              <a:defRPr/>
            </a:pP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Salesforce </a:t>
            </a:r>
            <a:r>
              <a:rPr kumimoji="0" lang="en-GB" sz="1000" b="0" i="0" u="none" strike="noStrike" kern="1200" cap="none" spc="0" normalizeH="0" baseline="0" noProof="0">
                <a:ln>
                  <a:noFill/>
                </a:ln>
                <a:effectLst/>
                <a:uLnTx/>
                <a:uFillTx/>
                <a:latin typeface="Trebuchet MS" panose="020B0603020202020204" pitchFamily="34" charset="0"/>
                <a:ea typeface="Calibri" panose="020F0502020204030204" pitchFamily="34" charset="0"/>
                <a:cs typeface="Arial" panose="020B0604020202020204" pitchFamily="34" charset="0"/>
              </a:rPr>
              <a:t>connectivity</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 </a:t>
            </a:r>
            <a:r>
              <a:rPr kumimoji="0" lang="en-GB" sz="1000" b="0" i="0" u="none" strike="noStrike" kern="1200" cap="none" spc="0" normalizeH="0" baseline="0" noProof="0">
                <a:ln>
                  <a:noFill/>
                </a:ln>
                <a:effectLst/>
                <a:uLnTx/>
                <a:uFillTx/>
                <a:latin typeface="Trebuchet MS" panose="020B0603020202020204" pitchFamily="34" charset="0"/>
                <a:ea typeface="Calibri" panose="020F0502020204030204" pitchFamily="34" charset="0"/>
                <a:cs typeface="Arial" panose="020B0604020202020204" pitchFamily="34" charset="0"/>
              </a:rPr>
              <a:t>in SMART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Q4 2020) </a:t>
            </a:r>
          </a:p>
          <a:p>
            <a:pPr marL="635000" marR="0" lvl="2" indent="-177800" defTabSz="914400" rtl="0" eaLnBrk="1" fontAlgn="base" latinLnBrk="0" hangingPunct="1">
              <a:lnSpc>
                <a:spcPct val="107000"/>
              </a:lnSpc>
              <a:spcBef>
                <a:spcPct val="0"/>
              </a:spcBef>
              <a:spcAft>
                <a:spcPts val="0"/>
              </a:spcAft>
              <a:buClr>
                <a:srgbClr val="6C6C6C"/>
              </a:buClr>
              <a:buSzTx/>
              <a:buFont typeface="Courier New" panose="02070309020205020404" pitchFamily="49" charset="0"/>
              <a:buChar char="o"/>
              <a:tabLst/>
              <a:defRPr/>
            </a:pP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Microsoft Dynamics </a:t>
            </a:r>
            <a:r>
              <a:rPr kumimoji="0" lang="en-GB" sz="1000" b="0" i="0" u="none" strike="noStrike" kern="1200" cap="none" spc="0" normalizeH="0" baseline="0" noProof="0">
                <a:ln>
                  <a:noFill/>
                </a:ln>
                <a:effectLst/>
                <a:uLnTx/>
                <a:uFillTx/>
                <a:latin typeface="Trebuchet MS" panose="020B0603020202020204" pitchFamily="34" charset="0"/>
                <a:ea typeface="Calibri" panose="020F0502020204030204" pitchFamily="34" charset="0"/>
                <a:cs typeface="Arial" panose="020B0604020202020204" pitchFamily="34" charset="0"/>
              </a:rPr>
              <a:t>connectivity</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 </a:t>
            </a:r>
            <a:r>
              <a:rPr kumimoji="0" lang="en-GB" sz="1000" b="0" i="0" u="none" strike="noStrike" kern="1200" cap="none" spc="0" normalizeH="0" baseline="0" noProof="0">
                <a:ln>
                  <a:noFill/>
                </a:ln>
                <a:effectLst/>
                <a:uLnTx/>
                <a:uFillTx/>
                <a:latin typeface="Trebuchet MS" panose="020B0603020202020204" pitchFamily="34" charset="0"/>
                <a:ea typeface="Calibri" panose="020F0502020204030204" pitchFamily="34" charset="0"/>
                <a:cs typeface="Arial" panose="020B0604020202020204" pitchFamily="34" charset="0"/>
              </a:rPr>
              <a:t>in SMART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Q4 2020)</a:t>
            </a:r>
          </a:p>
          <a:p>
            <a:pPr marL="635000" marR="0" lvl="2" indent="-177800" defTabSz="914400" rtl="0" eaLnBrk="1" fontAlgn="base" latinLnBrk="0" hangingPunct="1">
              <a:lnSpc>
                <a:spcPct val="107000"/>
              </a:lnSpc>
              <a:spcBef>
                <a:spcPct val="0"/>
              </a:spcBef>
              <a:spcAft>
                <a:spcPts val="0"/>
              </a:spcAft>
              <a:buClr>
                <a:srgbClr val="6C6C6C"/>
              </a:buClr>
              <a:buSzTx/>
              <a:buFont typeface="Courier New" panose="02070309020205020404" pitchFamily="49" charset="0"/>
              <a:buChar char="o"/>
              <a:tabLst/>
              <a:defRPr/>
            </a:pPr>
            <a:r>
              <a:rPr kumimoji="0" lang="en-GB" sz="1000" b="0" i="0" u="none" strike="noStrike" kern="1200" cap="none" spc="0" normalizeH="0" baseline="0" noProof="0">
                <a:ln>
                  <a:noFill/>
                </a:ln>
                <a:solidFill>
                  <a:schemeClr val="tx2"/>
                </a:solidFill>
                <a:effectLst/>
                <a:uLnTx/>
                <a:uFillTx/>
                <a:latin typeface="Trebuchet MS" panose="020B0603020202020204" pitchFamily="34" charset="0"/>
                <a:ea typeface="Calibri" panose="020F0502020204030204" pitchFamily="34" charset="0"/>
                <a:cs typeface="Arial" panose="020B0604020202020204" pitchFamily="34" charset="0"/>
              </a:rPr>
              <a:t>Microsoft</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 partnership for </a:t>
            </a:r>
            <a:r>
              <a:rPr kumimoji="0" lang="en-GB" sz="1000" b="0" i="0" u="none" strike="noStrike" kern="1200" cap="none" spc="0" normalizeH="0" baseline="0" noProof="0" err="1">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Dataxess</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 native integration (under discussion, 2021)</a:t>
            </a:r>
          </a:p>
          <a:p>
            <a:pPr marL="635000" marR="0" lvl="2" indent="-177800" defTabSz="914400" rtl="0" eaLnBrk="1" fontAlgn="base" latinLnBrk="0" hangingPunct="1">
              <a:lnSpc>
                <a:spcPct val="107000"/>
              </a:lnSpc>
              <a:spcBef>
                <a:spcPct val="0"/>
              </a:spcBef>
              <a:spcAft>
                <a:spcPts val="0"/>
              </a:spcAft>
              <a:buClr>
                <a:srgbClr val="6C6C6C"/>
              </a:buClr>
              <a:buSzTx/>
              <a:buFont typeface="Courier New" panose="02070309020205020404" pitchFamily="49" charset="0"/>
              <a:buChar char="o"/>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Launch of </a:t>
            </a:r>
            <a:r>
              <a:rPr kumimoji="0" lang="en-GB" sz="1000" b="0" i="0" u="none" strike="noStrike" kern="1200" cap="none" spc="0" normalizeH="0" baseline="0" noProof="0" err="1">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Altares</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 Datahub API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on the Benelux markets (Q2 2021)</a:t>
            </a:r>
          </a:p>
          <a:p>
            <a:pPr marL="177800" lvl="1" indent="-177800">
              <a:lnSpc>
                <a:spcPct val="107000"/>
              </a:lnSpc>
              <a:spcAft>
                <a:spcPts val="0"/>
              </a:spcAft>
              <a:buClr>
                <a:srgbClr val="6C6C6C"/>
              </a:buClr>
              <a:buFont typeface="Courier New" panose="02070309020205020404" pitchFamily="49" charset="0"/>
              <a:buChar char="o"/>
              <a:defRPr/>
            </a:pPr>
            <a:endPar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endParaRPr>
          </a:p>
          <a:p>
            <a:pPr marL="171450" marR="0" lvl="0" indent="-171450" defTabSz="914400" rtl="0" eaLnBrk="1" fontAlgn="base" latinLnBrk="0" hangingPunct="1">
              <a:lnSpc>
                <a:spcPct val="100000"/>
              </a:lnSpc>
              <a:spcBef>
                <a:spcPts val="300"/>
              </a:spcBef>
              <a:spcAft>
                <a:spcPct val="0"/>
              </a:spcAft>
              <a:buClrTx/>
              <a:buSzTx/>
              <a:buFont typeface="Arial" panose="020B0604020202020204" pitchFamily="34" charset="0"/>
              <a:buChar char="•"/>
              <a:tabLst/>
              <a:defRPr/>
            </a:pPr>
            <a:endParaRPr kumimoji="0" lang="en-GB" sz="1000" b="0" i="0" u="none" strike="noStrike" kern="1200" cap="none" spc="0" normalizeH="0" baseline="0" noProof="0">
              <a:ln>
                <a:noFill/>
              </a:ln>
              <a:solidFill>
                <a:srgbClr val="6C6C6C"/>
              </a:solidFill>
              <a:effectLst/>
              <a:uLnTx/>
              <a:uFillTx/>
              <a:latin typeface="Trebuchet MS" pitchFamily="34" charset="0"/>
              <a:ea typeface="+mn-ea"/>
              <a:cs typeface="Arial" pitchFamily="34" charset="0"/>
            </a:endParaRPr>
          </a:p>
        </p:txBody>
      </p:sp>
      <p:grpSp>
        <p:nvGrpSpPr>
          <p:cNvPr id="56" name="Groupe 55">
            <a:extLst>
              <a:ext uri="{FF2B5EF4-FFF2-40B4-BE49-F238E27FC236}">
                <a16:creationId xmlns:a16="http://schemas.microsoft.com/office/drawing/2014/main" id="{93B0C648-077E-49B2-9AB5-3724044A7E2C}"/>
              </a:ext>
            </a:extLst>
          </p:cNvPr>
          <p:cNvGrpSpPr/>
          <p:nvPr/>
        </p:nvGrpSpPr>
        <p:grpSpPr>
          <a:xfrm>
            <a:off x="3242803" y="1395937"/>
            <a:ext cx="222565" cy="277000"/>
            <a:chOff x="3409503" y="1194238"/>
            <a:chExt cx="269305" cy="368686"/>
          </a:xfrm>
        </p:grpSpPr>
        <p:sp>
          <p:nvSpPr>
            <p:cNvPr id="58" name="Ellipse 57">
              <a:extLst>
                <a:ext uri="{FF2B5EF4-FFF2-40B4-BE49-F238E27FC236}">
                  <a16:creationId xmlns:a16="http://schemas.microsoft.com/office/drawing/2014/main" id="{47DFFA68-FB00-4A24-AD0B-DD0F95EBEBDD}"/>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289B38"/>
                </a:solidFill>
                <a:effectLst/>
                <a:uLnTx/>
                <a:uFillTx/>
                <a:latin typeface="Trebuchet MS" pitchFamily="34" charset="0"/>
                <a:ea typeface="+mn-ea"/>
                <a:cs typeface="Arial" pitchFamily="34" charset="0"/>
              </a:endParaRPr>
            </a:p>
          </p:txBody>
        </p:sp>
        <p:sp>
          <p:nvSpPr>
            <p:cNvPr id="59" name="ZoneTexte 58">
              <a:extLst>
                <a:ext uri="{FF2B5EF4-FFF2-40B4-BE49-F238E27FC236}">
                  <a16:creationId xmlns:a16="http://schemas.microsoft.com/office/drawing/2014/main" id="{1379F0CC-5BF8-404B-BD9F-29BBF7BE8A27}"/>
                </a:ext>
              </a:extLst>
            </p:cNvPr>
            <p:cNvSpPr txBox="1"/>
            <p:nvPr/>
          </p:nvSpPr>
          <p:spPr>
            <a:xfrm>
              <a:off x="3409503" y="1194238"/>
              <a:ext cx="269305" cy="368686"/>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Trebuchet MS"/>
                  <a:ea typeface="+mn-ea"/>
                  <a:cs typeface="Arial" pitchFamily="34" charset="0"/>
                </a:rPr>
                <a:t>1</a:t>
              </a:r>
            </a:p>
          </p:txBody>
        </p:sp>
      </p:grpSp>
      <p:grpSp>
        <p:nvGrpSpPr>
          <p:cNvPr id="60" name="Groupe 59">
            <a:extLst>
              <a:ext uri="{FF2B5EF4-FFF2-40B4-BE49-F238E27FC236}">
                <a16:creationId xmlns:a16="http://schemas.microsoft.com/office/drawing/2014/main" id="{8E5F37E4-BE2B-45A1-82BA-6EFBCF92CB4E}"/>
              </a:ext>
            </a:extLst>
          </p:cNvPr>
          <p:cNvGrpSpPr/>
          <p:nvPr/>
        </p:nvGrpSpPr>
        <p:grpSpPr>
          <a:xfrm>
            <a:off x="1011936" y="3784408"/>
            <a:ext cx="222565" cy="277000"/>
            <a:chOff x="3409503" y="1194238"/>
            <a:chExt cx="269305" cy="368684"/>
          </a:xfrm>
        </p:grpSpPr>
        <p:sp>
          <p:nvSpPr>
            <p:cNvPr id="61" name="Ellipse 60">
              <a:extLst>
                <a:ext uri="{FF2B5EF4-FFF2-40B4-BE49-F238E27FC236}">
                  <a16:creationId xmlns:a16="http://schemas.microsoft.com/office/drawing/2014/main" id="{A384BB33-17D0-4556-856E-0904D5871162}"/>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289B38"/>
                </a:solidFill>
                <a:effectLst/>
                <a:uLnTx/>
                <a:uFillTx/>
                <a:latin typeface="Trebuchet MS" pitchFamily="34" charset="0"/>
                <a:ea typeface="+mn-ea"/>
                <a:cs typeface="Arial" pitchFamily="34" charset="0"/>
              </a:endParaRPr>
            </a:p>
          </p:txBody>
        </p:sp>
        <p:sp>
          <p:nvSpPr>
            <p:cNvPr id="62" name="ZoneTexte 61">
              <a:extLst>
                <a:ext uri="{FF2B5EF4-FFF2-40B4-BE49-F238E27FC236}">
                  <a16:creationId xmlns:a16="http://schemas.microsoft.com/office/drawing/2014/main" id="{B6D357C0-5344-4F55-82C3-F24DB9EF8742}"/>
                </a:ext>
              </a:extLst>
            </p:cNvPr>
            <p:cNvSpPr txBox="1"/>
            <p:nvPr/>
          </p:nvSpPr>
          <p:spPr>
            <a:xfrm>
              <a:off x="3409503" y="1194238"/>
              <a:ext cx="269305" cy="36868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Trebuchet MS"/>
                  <a:ea typeface="+mn-ea"/>
                  <a:cs typeface="Arial" pitchFamily="34" charset="0"/>
                </a:rPr>
                <a:t>2</a:t>
              </a:r>
            </a:p>
          </p:txBody>
        </p:sp>
      </p:grpSp>
      <p:grpSp>
        <p:nvGrpSpPr>
          <p:cNvPr id="63" name="Groupe 62">
            <a:extLst>
              <a:ext uri="{FF2B5EF4-FFF2-40B4-BE49-F238E27FC236}">
                <a16:creationId xmlns:a16="http://schemas.microsoft.com/office/drawing/2014/main" id="{68016B45-48AF-4CE4-82E6-0BA07CC2AEAD}"/>
              </a:ext>
            </a:extLst>
          </p:cNvPr>
          <p:cNvGrpSpPr/>
          <p:nvPr/>
        </p:nvGrpSpPr>
        <p:grpSpPr>
          <a:xfrm>
            <a:off x="5103220" y="3810249"/>
            <a:ext cx="222565" cy="277000"/>
            <a:chOff x="3409500" y="1194238"/>
            <a:chExt cx="269305" cy="368684"/>
          </a:xfrm>
        </p:grpSpPr>
        <p:sp>
          <p:nvSpPr>
            <p:cNvPr id="64" name="Ellipse 63">
              <a:extLst>
                <a:ext uri="{FF2B5EF4-FFF2-40B4-BE49-F238E27FC236}">
                  <a16:creationId xmlns:a16="http://schemas.microsoft.com/office/drawing/2014/main" id="{74F75FB8-3F26-4908-BD1D-AC24D68E26DB}"/>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289B38"/>
                </a:solidFill>
                <a:effectLst/>
                <a:uLnTx/>
                <a:uFillTx/>
                <a:latin typeface="Trebuchet MS" pitchFamily="34" charset="0"/>
                <a:ea typeface="+mn-ea"/>
                <a:cs typeface="Arial" pitchFamily="34" charset="0"/>
              </a:endParaRPr>
            </a:p>
          </p:txBody>
        </p:sp>
        <p:sp>
          <p:nvSpPr>
            <p:cNvPr id="65" name="ZoneTexte 64">
              <a:extLst>
                <a:ext uri="{FF2B5EF4-FFF2-40B4-BE49-F238E27FC236}">
                  <a16:creationId xmlns:a16="http://schemas.microsoft.com/office/drawing/2014/main" id="{5395328B-7CCC-41F7-B6AF-0ACA664DF620}"/>
                </a:ext>
              </a:extLst>
            </p:cNvPr>
            <p:cNvSpPr txBox="1"/>
            <p:nvPr/>
          </p:nvSpPr>
          <p:spPr>
            <a:xfrm>
              <a:off x="3409500" y="1194238"/>
              <a:ext cx="269305" cy="36868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Trebuchet MS"/>
                  <a:ea typeface="+mn-ea"/>
                  <a:cs typeface="Arial" pitchFamily="34" charset="0"/>
                </a:rPr>
                <a:t>3</a:t>
              </a:r>
            </a:p>
          </p:txBody>
        </p:sp>
      </p:grpSp>
      <p:pic>
        <p:nvPicPr>
          <p:cNvPr id="9" name="Graphique 8" descr="Produits chimiques">
            <a:extLst>
              <a:ext uri="{FF2B5EF4-FFF2-40B4-BE49-F238E27FC236}">
                <a16:creationId xmlns:a16="http://schemas.microsoft.com/office/drawing/2014/main" id="{02A9172B-B848-435B-9663-D8DFFFDEE3F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483580" y="3802616"/>
            <a:ext cx="516155" cy="516155"/>
          </a:xfrm>
          <a:prstGeom prst="rect">
            <a:avLst/>
          </a:prstGeom>
        </p:spPr>
      </p:pic>
      <p:pic>
        <p:nvPicPr>
          <p:cNvPr id="11" name="Graphique 10" descr="Amélioration continue">
            <a:extLst>
              <a:ext uri="{FF2B5EF4-FFF2-40B4-BE49-F238E27FC236}">
                <a16:creationId xmlns:a16="http://schemas.microsoft.com/office/drawing/2014/main" id="{3B32E1EB-69D1-47A7-AFFC-1F5449EFCEF7}"/>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366127" y="1343259"/>
            <a:ext cx="567771" cy="567771"/>
          </a:xfrm>
          <a:prstGeom prst="rect">
            <a:avLst/>
          </a:prstGeom>
        </p:spPr>
      </p:pic>
      <p:pic>
        <p:nvPicPr>
          <p:cNvPr id="21" name="Graphique 20" descr="Base de données">
            <a:extLst>
              <a:ext uri="{FF2B5EF4-FFF2-40B4-BE49-F238E27FC236}">
                <a16:creationId xmlns:a16="http://schemas.microsoft.com/office/drawing/2014/main" id="{45E5D396-82E2-433F-9745-890660C181CE}"/>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98527" y="3810249"/>
            <a:ext cx="469232" cy="469232"/>
          </a:xfrm>
          <a:prstGeom prst="rect">
            <a:avLst/>
          </a:prstGeom>
        </p:spPr>
      </p:pic>
      <p:sp>
        <p:nvSpPr>
          <p:cNvPr id="66" name="ZoneTexte 65">
            <a:extLst>
              <a:ext uri="{FF2B5EF4-FFF2-40B4-BE49-F238E27FC236}">
                <a16:creationId xmlns:a16="http://schemas.microsoft.com/office/drawing/2014/main" id="{E6BDF360-DB3D-4CF8-B16E-DC935FB35B3E}"/>
              </a:ext>
            </a:extLst>
          </p:cNvPr>
          <p:cNvSpPr txBox="1"/>
          <p:nvPr/>
        </p:nvSpPr>
        <p:spPr>
          <a:xfrm>
            <a:off x="1367235" y="1809822"/>
            <a:ext cx="2355679" cy="1682512"/>
          </a:xfrm>
          <a:prstGeom prst="rect">
            <a:avLst/>
          </a:prstGeom>
          <a:noFill/>
        </p:spPr>
        <p:txBody>
          <a:bodyPr wrap="square">
            <a:spAutoFit/>
          </a:bodyPr>
          <a:lstStyle/>
          <a:p>
            <a:pPr marL="171450" marR="0" lvl="0" indent="-171450" algn="l" defTabSz="914400" rtl="0" eaLnBrk="1" fontAlgn="base" latinLnBrk="0" hangingPunct="1">
              <a:lnSpc>
                <a:spcPct val="100000"/>
              </a:lnSpc>
              <a:spcBef>
                <a:spcPts val="4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Harmonization of the product range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round</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two “flagship products”</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Hoovers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amp;B product) and a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ombination of </a:t>
            </a:r>
            <a:r>
              <a:rPr kumimoji="0" lang="en-GB" sz="1000" b="0" i="0" u="none" strike="noStrike" kern="1200" cap="none" spc="0" normalizeH="0" baseline="0" noProof="0" err="1">
                <a:ln>
                  <a:noFill/>
                </a:ln>
                <a:solidFill>
                  <a:srgbClr val="289B38"/>
                </a:solidFill>
                <a:effectLst/>
                <a:uLnTx/>
                <a:uFillTx/>
                <a:latin typeface="Trebuchet MS" panose="020B0603020202020204" pitchFamily="34" charset="0"/>
                <a:ea typeface="+mn-ea"/>
                <a:cs typeface="Arial" pitchFamily="34" charset="0"/>
              </a:rPr>
              <a:t>SMART+mlist</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products)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n all geographies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expected late 2021 - early 2022)</a:t>
            </a:r>
          </a:p>
          <a:p>
            <a:pPr marL="171450" marR="0" lvl="0" indent="-171450" algn="l" defTabSz="914400" rtl="0" eaLnBrk="1" fontAlgn="base" latinLnBrk="0" hangingPunct="1">
              <a:lnSpc>
                <a:spcPct val="100000"/>
              </a:lnSpc>
              <a:spcBef>
                <a:spcPts val="4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Launch of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D&amp;B </a:t>
            </a:r>
            <a:r>
              <a:rPr kumimoji="0" lang="en-GB" sz="1000" b="0" i="0" u="none" strike="noStrike" kern="1200" cap="none" spc="0" normalizeH="0" baseline="0" noProof="0" err="1">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Datablocks</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 Direct+ API</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 allowing to access D&amp;B data in a “pick and choose” manner</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Q4 2020) </a:t>
            </a:r>
            <a:endPar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p:txBody>
      </p:sp>
      <p:sp>
        <p:nvSpPr>
          <p:cNvPr id="67" name="ZoneTexte 66">
            <a:extLst>
              <a:ext uri="{FF2B5EF4-FFF2-40B4-BE49-F238E27FC236}">
                <a16:creationId xmlns:a16="http://schemas.microsoft.com/office/drawing/2014/main" id="{323A694C-FF5E-4302-8C5A-9BB0A925FF28}"/>
              </a:ext>
            </a:extLst>
          </p:cNvPr>
          <p:cNvSpPr txBox="1"/>
          <p:nvPr/>
        </p:nvSpPr>
        <p:spPr>
          <a:xfrm>
            <a:off x="3717854" y="1652584"/>
            <a:ext cx="4924494" cy="1990288"/>
          </a:xfrm>
          <a:prstGeom prst="rect">
            <a:avLst/>
          </a:prstGeom>
          <a:noFill/>
        </p:spPr>
        <p:txBody>
          <a:bodyPr wrap="square">
            <a:spAutoFit/>
          </a:bodyPr>
          <a:lstStyle/>
          <a:p>
            <a:pPr marL="171450" indent="-171450">
              <a:spcBef>
                <a:spcPts val="400"/>
              </a:spcBef>
              <a:buClr>
                <a:srgbClr val="6C6C6C"/>
              </a:buClr>
              <a:buFont typeface="Arial" panose="020B0604020202020204" pitchFamily="34" charset="0"/>
              <a:buChar char="•"/>
              <a:defRPr/>
            </a:pPr>
            <a:r>
              <a:rPr kumimoji="0" lang="en-GB" sz="1000" b="0" i="0" u="none" strike="noStrike" kern="1200" cap="none" spc="0" normalizeH="0" baseline="0" noProof="0">
                <a:ln>
                  <a:noFill/>
                </a:ln>
                <a:effectLst/>
                <a:uLnTx/>
                <a:uFillTx/>
                <a:latin typeface="Trebuchet MS" panose="020B0603020202020204" pitchFamily="34" charset="0"/>
                <a:ea typeface="+mn-ea"/>
                <a:cs typeface="Arial" pitchFamily="34" charset="0"/>
              </a:rPr>
              <a:t>Customers requiring Altares support to </a:t>
            </a:r>
            <a:r>
              <a:rPr kumimoji="0" lang="en-GB" sz="1000" b="0" i="0" u="none" strike="noStrike" kern="1200" cap="none" spc="0" normalizeH="0" baseline="0" noProof="0" err="1">
                <a:ln>
                  <a:noFill/>
                </a:ln>
                <a:effectLst/>
                <a:uLnTx/>
                <a:uFillTx/>
                <a:latin typeface="Trebuchet MS" panose="020B0603020202020204" pitchFamily="34" charset="0"/>
                <a:ea typeface="+mn-ea"/>
                <a:cs typeface="Arial" pitchFamily="34" charset="0"/>
              </a:rPr>
              <a:t>rebounce</a:t>
            </a:r>
            <a:r>
              <a:rPr kumimoji="0" lang="en-GB" sz="1000" b="0" i="0" u="none" strike="noStrike" kern="1200" cap="none" spc="0" normalizeH="0" baseline="0" noProof="0">
                <a:ln>
                  <a:noFill/>
                </a:ln>
                <a:effectLst/>
                <a:uLnTx/>
                <a:uFillTx/>
                <a:latin typeface="Trebuchet MS" panose="020B0603020202020204" pitchFamily="34" charset="0"/>
                <a:ea typeface="+mn-ea"/>
                <a:cs typeface="Arial" pitchFamily="34" charset="0"/>
              </a:rPr>
              <a:t> in </a:t>
            </a:r>
            <a:r>
              <a:rPr kumimoji="0" lang="en-GB" sz="1000" b="0"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post Covid-19 </a:t>
            </a:r>
            <a:r>
              <a:rPr kumimoji="0" lang="en-GB" sz="1000" b="0" i="0" u="none" strike="noStrike" kern="1200" cap="none" spc="0" normalizeH="0" baseline="0" noProof="0">
                <a:ln>
                  <a:noFill/>
                </a:ln>
                <a:effectLst/>
                <a:uLnTx/>
                <a:uFillTx/>
                <a:latin typeface="Trebuchet MS" panose="020B0603020202020204" pitchFamily="34" charset="0"/>
                <a:ea typeface="+mn-ea"/>
                <a:cs typeface="Arial" pitchFamily="34" charset="0"/>
              </a:rPr>
              <a:t>environment</a:t>
            </a:r>
          </a:p>
          <a:p>
            <a:pPr marL="171450" marR="0" lvl="0" indent="-171450" algn="l" defTabSz="914400" rtl="0" eaLnBrk="1" fontAlgn="base" latinLnBrk="0" hangingPunct="1">
              <a:lnSpc>
                <a:spcPct val="100000"/>
              </a:lnSpc>
              <a:spcBef>
                <a:spcPts val="4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Reinforcement of </a:t>
            </a:r>
            <a:r>
              <a:rPr kumimoji="0" lang="en-GB" sz="1000" b="0" i="0" u="none" strike="noStrike" kern="1200" cap="none" spc="0" normalizeH="0" baseline="0" noProof="0" err="1">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Manageo</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 tele-sales team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addressing the mid- and mass-market with </a:t>
            </a:r>
            <a:r>
              <a:rPr kumimoji="0" lang="en-GB" sz="1000" b="0" i="0" u="none" strike="noStrike" kern="1200" cap="none" spc="0" normalizeH="0" baseline="0" noProof="0" err="1">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SMART+mlist</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 (objective to increase the average basket – today of 1500€, as well as the recurrence) </a:t>
            </a:r>
          </a:p>
          <a:p>
            <a:pPr marL="171450" marR="0" lvl="0" indent="-171450" algn="l" defTabSz="914400" rtl="0" eaLnBrk="1" fontAlgn="base" latinLnBrk="0" hangingPunct="1">
              <a:lnSpc>
                <a:spcPct val="100000"/>
              </a:lnSpc>
              <a:spcBef>
                <a:spcPts val="4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Finalization of </a:t>
            </a:r>
            <a:r>
              <a:rPr kumimoji="0" lang="en-GB" sz="1000" b="0" i="0" u="none" strike="noStrike" kern="1200" cap="none" spc="0" normalizeH="0" baseline="0" noProof="0" err="1">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Olbico</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 integration</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 with all teams and IT platforms being fully integrated into allowing a smooth and consistent communication between IT, operations, pre-sales, sales… (Q3 2020)</a:t>
            </a:r>
          </a:p>
          <a:p>
            <a:pPr marL="171450" marR="0" lvl="0" indent="-171450" algn="l" defTabSz="914400" rtl="0" eaLnBrk="1" fontAlgn="base" latinLnBrk="0" hangingPunct="1">
              <a:lnSpc>
                <a:spcPct val="100000"/>
              </a:lnSpc>
              <a:spcBef>
                <a:spcPts val="4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Increase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focus on key accounts with </a:t>
            </a:r>
            <a:r>
              <a:rPr kumimoji="0" lang="en-GB" sz="1000" b="0" i="0" u="none" strike="noStrike" kern="1200" cap="none" spc="0" normalizeH="0" baseline="0" noProof="0" err="1">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mAds</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 towards communication agencies, thanks to pre-identified clients’ needs and win-back operations </a:t>
            </a:r>
          </a:p>
          <a:p>
            <a:pPr marL="171450" marR="0" lvl="0" indent="-171450" algn="l" defTabSz="914400" rtl="0" eaLnBrk="1" fontAlgn="base" latinLnBrk="0" hangingPunct="1">
              <a:lnSpc>
                <a:spcPct val="100000"/>
              </a:lnSpc>
              <a:spcBef>
                <a:spcPts val="4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Develop the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Spanish and the British markets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with </a:t>
            </a:r>
            <a:r>
              <a:rPr kumimoji="0" lang="en-GB" sz="1000" b="0" i="0" u="none" strike="noStrike" kern="1200" cap="none" spc="0" normalizeH="0" baseline="0" noProof="0" err="1">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mAds</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 to target the communication agencies following the success of the Belgium launch</a:t>
            </a:r>
            <a:endPar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p:txBody>
      </p:sp>
      <p:cxnSp>
        <p:nvCxnSpPr>
          <p:cNvPr id="8" name="Connecteur droit 7">
            <a:extLst>
              <a:ext uri="{FF2B5EF4-FFF2-40B4-BE49-F238E27FC236}">
                <a16:creationId xmlns:a16="http://schemas.microsoft.com/office/drawing/2014/main" id="{C008E6F0-6420-4509-B51B-25EA2963AE72}"/>
              </a:ext>
            </a:extLst>
          </p:cNvPr>
          <p:cNvCxnSpPr/>
          <p:nvPr/>
        </p:nvCxnSpPr>
        <p:spPr bwMode="auto">
          <a:xfrm>
            <a:off x="3720383" y="1728863"/>
            <a:ext cx="0" cy="1781096"/>
          </a:xfrm>
          <a:prstGeom prst="line">
            <a:avLst/>
          </a:prstGeom>
          <a:solidFill>
            <a:schemeClr val="accent1"/>
          </a:solidFill>
          <a:ln w="9525" cap="flat" cmpd="sng" algn="ctr">
            <a:solidFill>
              <a:schemeClr val="bg2"/>
            </a:solidFill>
            <a:prstDash val="solid"/>
            <a:round/>
            <a:headEnd type="none" w="med" len="med"/>
            <a:tailEnd type="none" w="med" len="med"/>
          </a:ln>
          <a:effectLst/>
        </p:spPr>
      </p:cxnSp>
      <p:grpSp>
        <p:nvGrpSpPr>
          <p:cNvPr id="34" name="Group 3">
            <a:extLst>
              <a:ext uri="{FF2B5EF4-FFF2-40B4-BE49-F238E27FC236}">
                <a16:creationId xmlns:a16="http://schemas.microsoft.com/office/drawing/2014/main" id="{70CC677D-8B0C-4BFD-902E-19EDC32D4225}"/>
              </a:ext>
            </a:extLst>
          </p:cNvPr>
          <p:cNvGrpSpPr>
            <a:grpSpLocks noChangeAspect="1"/>
          </p:cNvGrpSpPr>
          <p:nvPr/>
        </p:nvGrpSpPr>
        <p:grpSpPr bwMode="auto">
          <a:xfrm>
            <a:off x="4133426" y="3600884"/>
            <a:ext cx="453184" cy="353138"/>
            <a:chOff x="823" y="904"/>
            <a:chExt cx="684" cy="533"/>
          </a:xfrm>
          <a:solidFill>
            <a:schemeClr val="tx1"/>
          </a:solidFill>
        </p:grpSpPr>
        <p:sp>
          <p:nvSpPr>
            <p:cNvPr id="35" name="Freeform 4">
              <a:extLst>
                <a:ext uri="{FF2B5EF4-FFF2-40B4-BE49-F238E27FC236}">
                  <a16:creationId xmlns:a16="http://schemas.microsoft.com/office/drawing/2014/main" id="{C80DE3B2-6CEF-4BAF-A3E0-AF0F83476960}"/>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36" name="Freeform 5">
              <a:extLst>
                <a:ext uri="{FF2B5EF4-FFF2-40B4-BE49-F238E27FC236}">
                  <a16:creationId xmlns:a16="http://schemas.microsoft.com/office/drawing/2014/main" id="{92D5B810-0807-4DA5-9DE3-F075B8292439}"/>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grpSp>
        <p:nvGrpSpPr>
          <p:cNvPr id="55" name="Groupe 54">
            <a:extLst>
              <a:ext uri="{FF2B5EF4-FFF2-40B4-BE49-F238E27FC236}">
                <a16:creationId xmlns:a16="http://schemas.microsoft.com/office/drawing/2014/main" id="{A9115D41-40B8-4E00-997F-58775A2EB136}"/>
              </a:ext>
            </a:extLst>
          </p:cNvPr>
          <p:cNvGrpSpPr/>
          <p:nvPr/>
        </p:nvGrpSpPr>
        <p:grpSpPr>
          <a:xfrm>
            <a:off x="362696" y="193602"/>
            <a:ext cx="222565" cy="276999"/>
            <a:chOff x="3409503" y="1194238"/>
            <a:chExt cx="269305" cy="368686"/>
          </a:xfrm>
        </p:grpSpPr>
        <p:sp>
          <p:nvSpPr>
            <p:cNvPr id="57" name="Ellipse 56">
              <a:extLst>
                <a:ext uri="{FF2B5EF4-FFF2-40B4-BE49-F238E27FC236}">
                  <a16:creationId xmlns:a16="http://schemas.microsoft.com/office/drawing/2014/main" id="{C3FCF3BC-BDB5-4FC8-8193-DE7CACE16EBE}"/>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68" name="ZoneTexte 67">
              <a:extLst>
                <a:ext uri="{FF2B5EF4-FFF2-40B4-BE49-F238E27FC236}">
                  <a16:creationId xmlns:a16="http://schemas.microsoft.com/office/drawing/2014/main" id="{A9A84AE3-D2DC-4351-8E70-1E16E888CA94}"/>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1</a:t>
              </a:r>
            </a:p>
          </p:txBody>
        </p:sp>
      </p:grpSp>
      <p:grpSp>
        <p:nvGrpSpPr>
          <p:cNvPr id="69" name="Groupe 68">
            <a:extLst>
              <a:ext uri="{FF2B5EF4-FFF2-40B4-BE49-F238E27FC236}">
                <a16:creationId xmlns:a16="http://schemas.microsoft.com/office/drawing/2014/main" id="{9BEF36D9-2EEA-4614-AC57-95D4A9D54545}"/>
              </a:ext>
            </a:extLst>
          </p:cNvPr>
          <p:cNvGrpSpPr/>
          <p:nvPr/>
        </p:nvGrpSpPr>
        <p:grpSpPr>
          <a:xfrm>
            <a:off x="362696" y="412881"/>
            <a:ext cx="222565" cy="276999"/>
            <a:chOff x="3409503" y="1194238"/>
            <a:chExt cx="269305" cy="368686"/>
          </a:xfrm>
        </p:grpSpPr>
        <p:sp>
          <p:nvSpPr>
            <p:cNvPr id="70" name="Ellipse 69">
              <a:extLst>
                <a:ext uri="{FF2B5EF4-FFF2-40B4-BE49-F238E27FC236}">
                  <a16:creationId xmlns:a16="http://schemas.microsoft.com/office/drawing/2014/main" id="{56B033F2-4463-4800-8C97-AF4F2DB2BFAE}"/>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71" name="ZoneTexte 70">
              <a:extLst>
                <a:ext uri="{FF2B5EF4-FFF2-40B4-BE49-F238E27FC236}">
                  <a16:creationId xmlns:a16="http://schemas.microsoft.com/office/drawing/2014/main" id="{692982A3-FEC9-4ABA-88F3-C1BC36500BBF}"/>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2</a:t>
              </a:r>
            </a:p>
          </p:txBody>
        </p:sp>
      </p:grpSp>
      <p:grpSp>
        <p:nvGrpSpPr>
          <p:cNvPr id="72" name="Groupe 71">
            <a:extLst>
              <a:ext uri="{FF2B5EF4-FFF2-40B4-BE49-F238E27FC236}">
                <a16:creationId xmlns:a16="http://schemas.microsoft.com/office/drawing/2014/main" id="{6354CBFA-D14C-423E-A09C-AB1D46055E68}"/>
              </a:ext>
            </a:extLst>
          </p:cNvPr>
          <p:cNvGrpSpPr/>
          <p:nvPr/>
        </p:nvGrpSpPr>
        <p:grpSpPr>
          <a:xfrm>
            <a:off x="362696" y="626790"/>
            <a:ext cx="222565" cy="276999"/>
            <a:chOff x="3409503" y="1194238"/>
            <a:chExt cx="269305" cy="368686"/>
          </a:xfrm>
        </p:grpSpPr>
        <p:sp>
          <p:nvSpPr>
            <p:cNvPr id="73" name="Ellipse 72">
              <a:extLst>
                <a:ext uri="{FF2B5EF4-FFF2-40B4-BE49-F238E27FC236}">
                  <a16:creationId xmlns:a16="http://schemas.microsoft.com/office/drawing/2014/main" id="{68C6FCB2-4B89-4DE7-ABE2-4F3B184AD667}"/>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74" name="ZoneTexte 73">
              <a:extLst>
                <a:ext uri="{FF2B5EF4-FFF2-40B4-BE49-F238E27FC236}">
                  <a16:creationId xmlns:a16="http://schemas.microsoft.com/office/drawing/2014/main" id="{3EE567D1-AB5F-4536-98B0-5C19A2BF3325}"/>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3</a:t>
              </a:r>
            </a:p>
          </p:txBody>
        </p:sp>
      </p:grpSp>
    </p:spTree>
    <p:extLst>
      <p:ext uri="{BB962C8B-B14F-4D97-AF65-F5344CB8AC3E}">
        <p14:creationId xmlns:p14="http://schemas.microsoft.com/office/powerpoint/2010/main" val="2575659523"/>
      </p:ext>
    </p:extLst>
  </p:cSld>
  <p:clrMapOvr>
    <a:masterClrMapping/>
  </p:clrMapOvr>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3094C17-2AAB-497A-83FA-D4C368CBAB53}"/>
              </a:ext>
            </a:extLst>
          </p:cNvPr>
          <p:cNvGraphicFramePr>
            <a:graphicFrameLocks noChangeAspect="1"/>
          </p:cNvGraphicFramePr>
          <p:nvPr>
            <p:custDataLst>
              <p:tags r:id="rId1"/>
            </p:custDataLst>
            <p:extLst>
              <p:ext uri="{D42A27DB-BD31-4B8C-83A1-F6EECF244321}">
                <p14:modId xmlns:p14="http://schemas.microsoft.com/office/powerpoint/2010/main" val="20684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8" name="Objet 7" hidden="1">
                        <a:extLst>
                          <a:ext uri="{FF2B5EF4-FFF2-40B4-BE49-F238E27FC236}">
                            <a16:creationId xmlns:a16="http://schemas.microsoft.com/office/drawing/2014/main" id="{E3094C17-2AAB-497A-83FA-D4C368CBAB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CADFD501-5D43-4106-92F2-67EDE24A876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19" name="Rectangle 118">
            <a:extLst>
              <a:ext uri="{FF2B5EF4-FFF2-40B4-BE49-F238E27FC236}">
                <a16:creationId xmlns:a16="http://schemas.microsoft.com/office/drawing/2014/main" id="{CBEF2824-6C32-4F46-BCA6-BA2EB328B21D}"/>
              </a:ext>
            </a:extLst>
          </p:cNvPr>
          <p:cNvSpPr/>
          <p:nvPr/>
        </p:nvSpPr>
        <p:spPr bwMode="auto">
          <a:xfrm>
            <a:off x="141716" y="1265382"/>
            <a:ext cx="6822502" cy="51622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0" name="Rectangle 119">
            <a:extLst>
              <a:ext uri="{FF2B5EF4-FFF2-40B4-BE49-F238E27FC236}">
                <a16:creationId xmlns:a16="http://schemas.microsoft.com/office/drawing/2014/main" id="{AE6C35D3-BB1E-4486-8C4A-32E725ECE125}"/>
              </a:ext>
            </a:extLst>
          </p:cNvPr>
          <p:cNvSpPr/>
          <p:nvPr/>
        </p:nvSpPr>
        <p:spPr bwMode="auto">
          <a:xfrm>
            <a:off x="7081011" y="1265381"/>
            <a:ext cx="2665061" cy="515649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nSpc>
                <a:spcPct val="107000"/>
              </a:lnSpc>
              <a:spcAft>
                <a:spcPts val="600"/>
              </a:spcAft>
            </a:pPr>
            <a:r>
              <a:rPr lang="en-GB" sz="1000" dirty="0" err="1">
                <a:effectLst/>
                <a:latin typeface="Trebuchet MS" panose="020B0603020202020204" pitchFamily="34" charset="0"/>
                <a:ea typeface="Calibri" panose="020F0502020204030204" pitchFamily="34" charset="0"/>
                <a:cs typeface="Arial" panose="020B0604020202020204" pitchFamily="34" charset="0"/>
              </a:rPr>
              <a:t>Altares</a:t>
            </a:r>
            <a:r>
              <a:rPr lang="en-GB" sz="1000" dirty="0">
                <a:effectLst/>
                <a:latin typeface="Trebuchet MS" panose="020B0603020202020204" pitchFamily="34" charset="0"/>
                <a:ea typeface="Calibri" panose="020F0502020204030204" pitchFamily="34" charset="0"/>
                <a:cs typeface="Arial" panose="020B0604020202020204" pitchFamily="34" charset="0"/>
              </a:rPr>
              <a:t> aims at bu</a:t>
            </a:r>
            <a:r>
              <a:rPr lang="en-GB" sz="1000" dirty="0">
                <a:latin typeface="Trebuchet MS" panose="020B0603020202020204" pitchFamily="34" charset="0"/>
                <a:ea typeface="Calibri" panose="020F0502020204030204" pitchFamily="34" charset="0"/>
              </a:rPr>
              <a:t>ilding </a:t>
            </a:r>
            <a:r>
              <a:rPr lang="en-GB" sz="1000" dirty="0">
                <a:solidFill>
                  <a:schemeClr val="tx2"/>
                </a:solidFill>
                <a:latin typeface="Trebuchet MS" panose="020B0603020202020204" pitchFamily="34" charset="0"/>
                <a:ea typeface="Calibri" panose="020F0502020204030204" pitchFamily="34" charset="0"/>
              </a:rPr>
              <a:t>the first platform of targeting and activation of B2B audience</a:t>
            </a:r>
            <a:r>
              <a:rPr lang="en-GB" sz="1000" dirty="0">
                <a:latin typeface="Trebuchet MS" panose="020B0603020202020204" pitchFamily="34" charset="0"/>
                <a:ea typeface="Calibri" panose="020F0502020204030204" pitchFamily="34" charset="0"/>
              </a:rPr>
              <a:t>, based on:</a:t>
            </a:r>
            <a:endParaRPr lang="en-GB" sz="1000" dirty="0">
              <a:effectLst/>
              <a:latin typeface="Trebuchet MS" panose="020B0603020202020204" pitchFamily="34" charset="0"/>
              <a:ea typeface="Calibri" panose="020F0502020204030204" pitchFamily="34" charset="0"/>
              <a:cs typeface="Arial" panose="020B0604020202020204" pitchFamily="34" charset="0"/>
            </a:endParaRPr>
          </a:p>
          <a:p>
            <a:pPr marL="342900" lvl="0" indent="-342900">
              <a:lnSpc>
                <a:spcPct val="107000"/>
              </a:lnSpc>
              <a:spcAft>
                <a:spcPts val="600"/>
              </a:spcAft>
              <a:buFont typeface="+mj-lt"/>
              <a:buAutoNum type="arabicPeriod"/>
            </a:pPr>
            <a:r>
              <a:rPr lang="en-GB" sz="1000" dirty="0">
                <a:latin typeface="Trebuchet MS" panose="020B0603020202020204" pitchFamily="34" charset="0"/>
                <a:ea typeface="Calibri" panose="020F0502020204030204" pitchFamily="34" charset="0"/>
              </a:rPr>
              <a:t>A</a:t>
            </a:r>
            <a:r>
              <a:rPr lang="en-GB" sz="1000" dirty="0">
                <a:effectLst/>
                <a:latin typeface="Trebuchet MS" panose="020B0603020202020204" pitchFamily="34" charset="0"/>
                <a:ea typeface="Calibri" panose="020F0502020204030204" pitchFamily="34" charset="0"/>
                <a:cs typeface="Arial" panose="020B0604020202020204" pitchFamily="34" charset="0"/>
              </a:rPr>
              <a:t> </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global platform </a:t>
            </a:r>
            <a:r>
              <a:rPr lang="en-GB" sz="1000" dirty="0">
                <a:effectLst/>
                <a:latin typeface="Trebuchet MS" panose="020B0603020202020204" pitchFamily="34" charset="0"/>
                <a:ea typeface="Calibri" panose="020F0502020204030204" pitchFamily="34" charset="0"/>
                <a:cs typeface="Arial" panose="020B0604020202020204" pitchFamily="34" charset="0"/>
              </a:rPr>
              <a:t>combining the offerings on B2B marketing (e.g. </a:t>
            </a:r>
            <a:r>
              <a:rPr lang="en-GB" sz="1000" dirty="0" err="1">
                <a:effectLst/>
                <a:latin typeface="Trebuchet MS" panose="020B0603020202020204" pitchFamily="34" charset="0"/>
                <a:ea typeface="Calibri" panose="020F0502020204030204" pitchFamily="34" charset="0"/>
                <a:cs typeface="Arial" panose="020B0604020202020204" pitchFamily="34" charset="0"/>
              </a:rPr>
              <a:t>SMART+mlist</a:t>
            </a:r>
            <a:r>
              <a:rPr lang="en-GB" sz="1000" dirty="0">
                <a:effectLst/>
                <a:latin typeface="Trebuchet MS" panose="020B0603020202020204" pitchFamily="34" charset="0"/>
                <a:ea typeface="Calibri" panose="020F0502020204030204" pitchFamily="34" charset="0"/>
                <a:cs typeface="Arial" panose="020B0604020202020204" pitchFamily="34" charset="0"/>
              </a:rPr>
              <a:t>, </a:t>
            </a:r>
            <a:r>
              <a:rPr lang="en-GB" sz="1000" dirty="0" err="1">
                <a:effectLst/>
                <a:latin typeface="Trebuchet MS" panose="020B0603020202020204" pitchFamily="34" charset="0"/>
                <a:ea typeface="Calibri" panose="020F0502020204030204" pitchFamily="34" charset="0"/>
                <a:cs typeface="Arial" panose="020B0604020202020204" pitchFamily="34" charset="0"/>
              </a:rPr>
              <a:t>mAds</a:t>
            </a:r>
            <a:r>
              <a:rPr lang="en-GB" sz="1000" dirty="0">
                <a:effectLst/>
                <a:latin typeface="Trebuchet MS" panose="020B0603020202020204" pitchFamily="34" charset="0"/>
                <a:ea typeface="Calibri" panose="020F0502020204030204" pitchFamily="34" charset="0"/>
                <a:cs typeface="Arial" panose="020B0604020202020204" pitchFamily="34" charset="0"/>
              </a:rPr>
              <a:t>, </a:t>
            </a:r>
            <a:r>
              <a:rPr lang="en-GB" sz="1000" dirty="0" err="1">
                <a:effectLst/>
                <a:latin typeface="Trebuchet MS" panose="020B0603020202020204" pitchFamily="34" charset="0"/>
                <a:ea typeface="Calibri" panose="020F0502020204030204" pitchFamily="34" charset="0"/>
                <a:cs typeface="Arial" panose="020B0604020202020204" pitchFamily="34" charset="0"/>
              </a:rPr>
              <a:t>mDetect</a:t>
            </a:r>
            <a:r>
              <a:rPr lang="en-GB" sz="1000" dirty="0">
                <a:effectLst/>
                <a:latin typeface="Trebuchet MS" panose="020B0603020202020204" pitchFamily="34" charset="0"/>
                <a:ea typeface="Calibri" panose="020F0502020204030204" pitchFamily="34" charset="0"/>
                <a:cs typeface="Arial" panose="020B0604020202020204" pitchFamily="34" charset="0"/>
              </a:rPr>
              <a:t>…), being developed with an </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agile approach </a:t>
            </a:r>
            <a:r>
              <a:rPr lang="en-GB" sz="1000" dirty="0">
                <a:effectLst/>
                <a:latin typeface="Trebuchet MS" panose="020B0603020202020204" pitchFamily="34" charset="0"/>
                <a:ea typeface="Calibri" panose="020F0502020204030204" pitchFamily="34" charset="0"/>
                <a:cs typeface="Arial" panose="020B0604020202020204" pitchFamily="34" charset="0"/>
              </a:rPr>
              <a:t>(e.g. regular delivery, modular products…)</a:t>
            </a:r>
          </a:p>
          <a:p>
            <a:pPr marL="342900" lvl="0" indent="-342900">
              <a:lnSpc>
                <a:spcPct val="107000"/>
              </a:lnSpc>
              <a:spcAft>
                <a:spcPts val="600"/>
              </a:spcAft>
              <a:buFont typeface="+mj-lt"/>
              <a:buAutoNum type="arabicPeriod"/>
            </a:pPr>
            <a:r>
              <a:rPr lang="en-GB" sz="1000" dirty="0">
                <a:effectLst/>
                <a:latin typeface="Trebuchet MS" panose="020B0603020202020204" pitchFamily="34" charset="0"/>
                <a:ea typeface="Calibri" panose="020F0502020204030204" pitchFamily="34" charset="0"/>
                <a:cs typeface="Arial" panose="020B0604020202020204" pitchFamily="34" charset="0"/>
              </a:rPr>
              <a:t>The combination of </a:t>
            </a:r>
            <a:r>
              <a:rPr lang="en-GB" sz="1000" dirty="0">
                <a:solidFill>
                  <a:schemeClr val="tx2"/>
                </a:solidFill>
                <a:latin typeface="Trebuchet MS" panose="020B0603020202020204" pitchFamily="34" charset="0"/>
                <a:ea typeface="Calibri" panose="020F0502020204030204" pitchFamily="34" charset="0"/>
              </a:rPr>
              <a:t>marketing and technological </a:t>
            </a:r>
            <a:r>
              <a:rPr lang="en-GB" sz="1000" dirty="0">
                <a:latin typeface="Trebuchet MS" panose="020B0603020202020204" pitchFamily="34" charset="0"/>
                <a:ea typeface="Calibri" panose="020F0502020204030204" pitchFamily="34" charset="0"/>
              </a:rPr>
              <a:t>solutions: scoring algorithms, machine learning to develop predictive marketing model, marketing automation, social selling…</a:t>
            </a:r>
          </a:p>
          <a:p>
            <a:pPr marL="342900" lvl="0" indent="-342900">
              <a:lnSpc>
                <a:spcPct val="107000"/>
              </a:lnSpc>
              <a:spcAft>
                <a:spcPts val="600"/>
              </a:spcAft>
              <a:buFont typeface="+mj-lt"/>
              <a:buAutoNum type="arabicPeriod"/>
            </a:pPr>
            <a:r>
              <a:rPr lang="en-GB" sz="1000" dirty="0">
                <a:effectLst/>
                <a:latin typeface="Trebuchet MS" panose="020B0603020202020204" pitchFamily="34" charset="0"/>
                <a:ea typeface="Calibri" panose="020F0502020204030204" pitchFamily="34" charset="0"/>
                <a:cs typeface="Arial" panose="020B0604020202020204" pitchFamily="34" charset="0"/>
              </a:rPr>
              <a:t>A </a:t>
            </a:r>
            <a:r>
              <a:rPr lang="en-GB" sz="1000" dirty="0">
                <a:latin typeface="Trebuchet MS" panose="020B0603020202020204" pitchFamily="34" charset="0"/>
                <a:ea typeface="Calibri" panose="020F0502020204030204" pitchFamily="34" charset="0"/>
              </a:rPr>
              <a:t>business model in favour of </a:t>
            </a:r>
            <a:r>
              <a:rPr lang="en-GB" sz="1000" dirty="0">
                <a:solidFill>
                  <a:schemeClr val="tx2"/>
                </a:solidFill>
                <a:latin typeface="Trebuchet MS" panose="020B0603020202020204" pitchFamily="34" charset="0"/>
                <a:ea typeface="Calibri" panose="020F0502020204030204" pitchFamily="34" charset="0"/>
              </a:rPr>
              <a:t>increasing the recurrence of revenue </a:t>
            </a:r>
            <a:r>
              <a:rPr lang="en-GB" sz="1000" dirty="0">
                <a:latin typeface="Trebuchet MS" panose="020B0603020202020204" pitchFamily="34" charset="0"/>
                <a:ea typeface="Calibri" panose="020F0502020204030204" pitchFamily="34" charset="0"/>
              </a:rPr>
              <a:t>(e.g. licenses…) : </a:t>
            </a:r>
            <a:r>
              <a:rPr lang="en-US" sz="1000" dirty="0">
                <a:solidFill>
                  <a:schemeClr val="tx2"/>
                </a:solidFill>
                <a:latin typeface="Trebuchet MS" panose="020B0603020202020204" pitchFamily="34" charset="0"/>
                <a:ea typeface="Calibri" panose="020F0502020204030204" pitchFamily="34" charset="0"/>
              </a:rPr>
              <a:t>modular platform</a:t>
            </a:r>
            <a:r>
              <a:rPr lang="en-US" sz="1000" dirty="0">
                <a:latin typeface="Trebuchet MS" panose="020B0603020202020204" pitchFamily="34" charset="0"/>
                <a:ea typeface="Calibri" panose="020F0502020204030204" pitchFamily="34" charset="0"/>
              </a:rPr>
              <a:t> evolving with customer needs to address several customer segments</a:t>
            </a:r>
            <a:endParaRPr lang="en-GB" sz="1000" dirty="0">
              <a:latin typeface="Trebuchet MS" panose="020B0603020202020204" pitchFamily="34" charset="0"/>
              <a:ea typeface="Calibri" panose="020F0502020204030204" pitchFamily="34" charset="0"/>
            </a:endParaRPr>
          </a:p>
          <a:p>
            <a:pPr marL="342900" lvl="0" indent="-342900">
              <a:lnSpc>
                <a:spcPct val="107000"/>
              </a:lnSpc>
              <a:spcAft>
                <a:spcPts val="600"/>
              </a:spcAft>
              <a:buFont typeface="+mj-lt"/>
              <a:buAutoNum type="arabicPeriod"/>
            </a:pPr>
            <a:r>
              <a:rPr lang="en-GB" sz="1000" dirty="0">
                <a:effectLst/>
                <a:latin typeface="Trebuchet MS" panose="020B0603020202020204" pitchFamily="34" charset="0"/>
                <a:ea typeface="Calibri" panose="020F0502020204030204" pitchFamily="34" charset="0"/>
                <a:cs typeface="Arial" panose="020B0604020202020204" pitchFamily="34" charset="0"/>
              </a:rPr>
              <a:t>A platform with </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value-added services: </a:t>
            </a:r>
            <a:r>
              <a:rPr lang="en-GB" sz="1000" dirty="0">
                <a:effectLst/>
                <a:latin typeface="Trebuchet MS" panose="020B0603020202020204" pitchFamily="34" charset="0"/>
                <a:ea typeface="Calibri" panose="020F0502020204030204" pitchFamily="34" charset="0"/>
                <a:cs typeface="Arial" panose="020B0604020202020204" pitchFamily="34" charset="0"/>
              </a:rPr>
              <a:t>acquisition pool, marketing desk, trading desk…</a:t>
            </a:r>
          </a:p>
          <a:p>
            <a:pPr marL="342900" lvl="0" indent="-342900">
              <a:lnSpc>
                <a:spcPct val="107000"/>
              </a:lnSpc>
              <a:spcAft>
                <a:spcPts val="600"/>
              </a:spcAft>
              <a:buFont typeface="+mj-lt"/>
              <a:buAutoNum type="arabicPeriod"/>
            </a:pPr>
            <a:r>
              <a:rPr lang="en-GB" sz="1000" dirty="0">
                <a:latin typeface="Trebuchet MS" panose="020B0603020202020204" pitchFamily="34" charset="0"/>
                <a:ea typeface="Calibri" panose="020F0502020204030204" pitchFamily="34" charset="0"/>
              </a:rPr>
              <a:t>Thanks to</a:t>
            </a:r>
            <a:r>
              <a:rPr lang="en-GB" sz="1000" dirty="0">
                <a:solidFill>
                  <a:schemeClr val="tx2"/>
                </a:solidFill>
                <a:latin typeface="Trebuchet MS" panose="020B0603020202020204" pitchFamily="34" charset="0"/>
                <a:ea typeface="Calibri" panose="020F0502020204030204" pitchFamily="34" charset="0"/>
              </a:rPr>
              <a:t> skills </a:t>
            </a:r>
            <a:r>
              <a:rPr lang="en-GB" sz="1000" dirty="0">
                <a:latin typeface="Trebuchet MS" panose="020B0603020202020204" pitchFamily="34" charset="0"/>
                <a:ea typeface="Calibri" panose="020F0502020204030204" pitchFamily="34" charset="0"/>
              </a:rPr>
              <a:t>mastered by </a:t>
            </a:r>
            <a:r>
              <a:rPr lang="en-GB" sz="1000" dirty="0" err="1">
                <a:latin typeface="Trebuchet MS" panose="020B0603020202020204" pitchFamily="34" charset="0"/>
                <a:ea typeface="Calibri" panose="020F0502020204030204" pitchFamily="34" charset="0"/>
              </a:rPr>
              <a:t>Manageo</a:t>
            </a:r>
            <a:r>
              <a:rPr lang="en-GB" sz="1000" dirty="0">
                <a:latin typeface="Trebuchet MS" panose="020B0603020202020204" pitchFamily="34" charset="0"/>
                <a:ea typeface="Calibri" panose="020F0502020204030204" pitchFamily="34" charset="0"/>
              </a:rPr>
              <a:t>/</a:t>
            </a:r>
            <a:r>
              <a:rPr lang="en-GB" sz="1000" dirty="0" err="1">
                <a:latin typeface="Trebuchet MS" panose="020B0603020202020204" pitchFamily="34" charset="0"/>
                <a:ea typeface="Calibri" panose="020F0502020204030204" pitchFamily="34" charset="0"/>
              </a:rPr>
              <a:t>Altares</a:t>
            </a:r>
            <a:r>
              <a:rPr lang="en-GB" sz="1000" dirty="0">
                <a:latin typeface="Trebuchet MS" panose="020B0603020202020204" pitchFamily="34" charset="0"/>
                <a:ea typeface="Calibri" panose="020F0502020204030204" pitchFamily="34" charset="0"/>
              </a:rPr>
              <a:t>:  expertise </a:t>
            </a:r>
            <a:r>
              <a:rPr lang="en-GB" sz="1000" dirty="0">
                <a:solidFill>
                  <a:schemeClr val="tx2"/>
                </a:solidFill>
                <a:latin typeface="Trebuchet MS" panose="020B0603020202020204" pitchFamily="34" charset="0"/>
                <a:ea typeface="Calibri" panose="020F0502020204030204" pitchFamily="34" charset="0"/>
              </a:rPr>
              <a:t>on tele-sales</a:t>
            </a:r>
            <a:r>
              <a:rPr lang="en-GB" sz="1000" dirty="0">
                <a:latin typeface="Trebuchet MS" panose="020B0603020202020204" pitchFamily="34" charset="0"/>
                <a:ea typeface="Calibri" panose="020F0502020204030204" pitchFamily="34" charset="0"/>
              </a:rPr>
              <a:t>, recognized skills of digital </a:t>
            </a:r>
            <a:r>
              <a:rPr lang="en-GB" sz="1000" dirty="0">
                <a:solidFill>
                  <a:schemeClr val="tx2"/>
                </a:solidFill>
                <a:latin typeface="Trebuchet MS" panose="020B0603020202020204" pitchFamily="34" charset="0"/>
                <a:ea typeface="Calibri" panose="020F0502020204030204" pitchFamily="34" charset="0"/>
              </a:rPr>
              <a:t>marketing/UX/search</a:t>
            </a:r>
            <a:r>
              <a:rPr lang="en-GB" sz="1000" dirty="0">
                <a:latin typeface="Trebuchet MS" panose="020B0603020202020204" pitchFamily="34" charset="0"/>
                <a:ea typeface="Calibri" panose="020F0502020204030204" pitchFamily="34" charset="0"/>
              </a:rPr>
              <a:t>, dedicated </a:t>
            </a:r>
            <a:r>
              <a:rPr lang="en-GB" sz="1000" dirty="0">
                <a:solidFill>
                  <a:schemeClr val="tx2"/>
                </a:solidFill>
                <a:latin typeface="Trebuchet MS" panose="020B0603020202020204" pitchFamily="34" charset="0"/>
                <a:ea typeface="Calibri" panose="020F0502020204030204" pitchFamily="34" charset="0"/>
              </a:rPr>
              <a:t>data science </a:t>
            </a:r>
            <a:r>
              <a:rPr lang="en-GB" sz="1000" dirty="0">
                <a:latin typeface="Trebuchet MS" panose="020B0603020202020204" pitchFamily="34" charset="0"/>
                <a:ea typeface="Calibri" panose="020F0502020204030204" pitchFamily="34" charset="0"/>
              </a:rPr>
              <a:t>team…</a:t>
            </a:r>
            <a:endParaRPr lang="en-GB" sz="1000" dirty="0">
              <a:effectLst/>
              <a:latin typeface="Trebuchet MS" panose="020B0603020202020204" pitchFamily="34" charset="0"/>
              <a:ea typeface="Calibri" panose="020F0502020204030204" pitchFamily="34" charset="0"/>
              <a:cs typeface="Arial" panose="020B0604020202020204" pitchFamily="34" charset="0"/>
            </a:endParaRPr>
          </a:p>
          <a:p>
            <a:pPr lvl="0">
              <a:lnSpc>
                <a:spcPct val="107000"/>
              </a:lnSpc>
              <a:spcAft>
                <a:spcPts val="600"/>
              </a:spcAft>
            </a:pPr>
            <a:endParaRPr lang="en-GB" sz="1000" dirty="0">
              <a:effectLst/>
              <a:latin typeface="Trebuchet MS" panose="020B0603020202020204" pitchFamily="34" charset="0"/>
              <a:ea typeface="Calibri" panose="020F0502020204030204" pitchFamily="34" charset="0"/>
              <a:cs typeface="Arial" panose="020B0604020202020204" pitchFamily="34" charset="0"/>
            </a:endParaRPr>
          </a:p>
        </p:txBody>
      </p:sp>
      <p:cxnSp>
        <p:nvCxnSpPr>
          <p:cNvPr id="26" name="Connecteur droit 4">
            <a:extLst>
              <a:ext uri="{FF2B5EF4-FFF2-40B4-BE49-F238E27FC236}">
                <a16:creationId xmlns:a16="http://schemas.microsoft.com/office/drawing/2014/main" id="{9CD60947-5793-4F81-BBE8-D776302C86C9}"/>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7" name="TextBox 30">
            <a:extLst>
              <a:ext uri="{FF2B5EF4-FFF2-40B4-BE49-F238E27FC236}">
                <a16:creationId xmlns:a16="http://schemas.microsoft.com/office/drawing/2014/main" id="{B87C2E06-4688-4B04-9566-5A29A235D5F9}"/>
              </a:ext>
            </a:extLst>
          </p:cNvPr>
          <p:cNvSpPr txBox="1"/>
          <p:nvPr/>
        </p:nvSpPr>
        <p:spPr>
          <a:xfrm>
            <a:off x="3042720" y="968778"/>
            <a:ext cx="3820560"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manageo.com: a global platform of « </a:t>
            </a:r>
            <a:r>
              <a:rPr kumimoji="0" lang="fr-FR" sz="10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DatActivation</a:t>
            </a:r>
            <a:r>
              <a:rPr kumimoji="0" lang="fr-FR"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p>
        </p:txBody>
      </p:sp>
      <p:sp>
        <p:nvSpPr>
          <p:cNvPr id="2" name="Titre 1">
            <a:extLst>
              <a:ext uri="{FF2B5EF4-FFF2-40B4-BE49-F238E27FC236}">
                <a16:creationId xmlns:a16="http://schemas.microsoft.com/office/drawing/2014/main" id="{76220716-6EE1-49C9-8E19-B2AD0F45E33F}"/>
              </a:ext>
            </a:extLst>
          </p:cNvPr>
          <p:cNvSpPr>
            <a:spLocks noGrp="1"/>
          </p:cNvSpPr>
          <p:nvPr>
            <p:ph type="title"/>
          </p:nvPr>
        </p:nvSpPr>
        <p:spPr>
          <a:xfrm>
            <a:off x="559805" y="147600"/>
            <a:ext cx="7993959" cy="684000"/>
          </a:xfrm>
        </p:spPr>
        <p:txBody>
          <a:bodyPr/>
          <a:lstStyle/>
          <a:p>
            <a:r>
              <a:rPr lang="en-GB" dirty="0"/>
              <a:t>Furthermore, the ongoing </a:t>
            </a:r>
            <a:r>
              <a:rPr lang="en-GB" dirty="0">
                <a:solidFill>
                  <a:schemeClr val="tx2"/>
                </a:solidFill>
              </a:rPr>
              <a:t>platform strategy </a:t>
            </a:r>
            <a:r>
              <a:rPr lang="en-GB" dirty="0"/>
              <a:t>will allow to </a:t>
            </a:r>
            <a:r>
              <a:rPr lang="en-GB" sz="1600" dirty="0">
                <a:solidFill>
                  <a:schemeClr val="tx2"/>
                </a:solidFill>
                <a:cs typeface="Arial"/>
              </a:rPr>
              <a:t>consolidate B2B targeting and activation services </a:t>
            </a:r>
            <a:r>
              <a:rPr lang="en-GB" sz="1600" dirty="0">
                <a:cs typeface="Arial"/>
              </a:rPr>
              <a:t>into a unique platform </a:t>
            </a:r>
            <a:r>
              <a:rPr lang="en-GB" dirty="0"/>
              <a:t>with </a:t>
            </a:r>
            <a:r>
              <a:rPr kumimoji="0" lang="en-GB" sz="1600" b="0" i="0" u="none" strike="noStrike" kern="1200" cap="none" spc="0" normalizeH="0" baseline="0" noProof="0" dirty="0">
                <a:ln>
                  <a:noFill/>
                </a:ln>
                <a:effectLst/>
                <a:uLnTx/>
                <a:uFillTx/>
                <a:latin typeface="Trebuchet MS" pitchFamily="34" charset="0"/>
                <a:ea typeface="+mn-ea"/>
                <a:cs typeface="Arial" pitchFamily="34" charset="0"/>
              </a:rPr>
              <a:t>value-added-services</a:t>
            </a:r>
            <a:br>
              <a:rPr lang="en-GB" sz="1600" dirty="0">
                <a:cs typeface="Arial"/>
              </a:rPr>
            </a:br>
            <a:endParaRPr lang="en-GB" dirty="0"/>
          </a:p>
        </p:txBody>
      </p:sp>
      <p:sp>
        <p:nvSpPr>
          <p:cNvPr id="3" name="Espace réservé du texte 2">
            <a:extLst>
              <a:ext uri="{FF2B5EF4-FFF2-40B4-BE49-F238E27FC236}">
                <a16:creationId xmlns:a16="http://schemas.microsoft.com/office/drawing/2014/main" id="{753942E6-140C-4FC4-B3C6-37607A76B89E}"/>
              </a:ext>
            </a:extLst>
          </p:cNvPr>
          <p:cNvSpPr>
            <a:spLocks noGrp="1"/>
          </p:cNvSpPr>
          <p:nvPr>
            <p:ph type="body" sz="quarter" idx="10"/>
          </p:nvPr>
        </p:nvSpPr>
        <p:spPr/>
        <p:txBody>
          <a:bodyPr/>
          <a:lstStyle/>
          <a:p>
            <a:r>
              <a:rPr lang="en-GB"/>
              <a:t>Sources: eleven research &amp; analysis, company data, interviews with management</a:t>
            </a:r>
          </a:p>
        </p:txBody>
      </p:sp>
      <p:grpSp>
        <p:nvGrpSpPr>
          <p:cNvPr id="5" name="Groupe 4">
            <a:extLst>
              <a:ext uri="{FF2B5EF4-FFF2-40B4-BE49-F238E27FC236}">
                <a16:creationId xmlns:a16="http://schemas.microsoft.com/office/drawing/2014/main" id="{6F5A8237-4174-4A7E-9094-84EB711494A5}"/>
              </a:ext>
            </a:extLst>
          </p:cNvPr>
          <p:cNvGrpSpPr/>
          <p:nvPr/>
        </p:nvGrpSpPr>
        <p:grpSpPr>
          <a:xfrm>
            <a:off x="362696" y="193602"/>
            <a:ext cx="222565" cy="276999"/>
            <a:chOff x="3409503" y="1194238"/>
            <a:chExt cx="269305" cy="368686"/>
          </a:xfrm>
        </p:grpSpPr>
        <p:sp>
          <p:nvSpPr>
            <p:cNvPr id="6" name="Ellipse 5">
              <a:extLst>
                <a:ext uri="{FF2B5EF4-FFF2-40B4-BE49-F238E27FC236}">
                  <a16:creationId xmlns:a16="http://schemas.microsoft.com/office/drawing/2014/main" id="{3DD4ADB5-78F1-4B30-9D1E-A69DBEBAE479}"/>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7" name="ZoneTexte 6">
              <a:extLst>
                <a:ext uri="{FF2B5EF4-FFF2-40B4-BE49-F238E27FC236}">
                  <a16:creationId xmlns:a16="http://schemas.microsoft.com/office/drawing/2014/main" id="{649BC23B-4D27-4EC5-BD78-4FF49D86A982}"/>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4</a:t>
              </a:r>
            </a:p>
          </p:txBody>
        </p:sp>
      </p:grpSp>
      <p:grpSp>
        <p:nvGrpSpPr>
          <p:cNvPr id="9" name="Groupe 8">
            <a:extLst>
              <a:ext uri="{FF2B5EF4-FFF2-40B4-BE49-F238E27FC236}">
                <a16:creationId xmlns:a16="http://schemas.microsoft.com/office/drawing/2014/main" id="{A9BF82F0-93D9-4299-A764-076401DEBA4B}"/>
              </a:ext>
            </a:extLst>
          </p:cNvPr>
          <p:cNvGrpSpPr/>
          <p:nvPr/>
        </p:nvGrpSpPr>
        <p:grpSpPr>
          <a:xfrm>
            <a:off x="8448150" y="-11528"/>
            <a:ext cx="1435548" cy="588143"/>
            <a:chOff x="8448150" y="-11528"/>
            <a:chExt cx="1435548" cy="588143"/>
          </a:xfrm>
        </p:grpSpPr>
        <p:sp>
          <p:nvSpPr>
            <p:cNvPr id="10" name="Rectangle : coins arrondis 199">
              <a:extLst>
                <a:ext uri="{FF2B5EF4-FFF2-40B4-BE49-F238E27FC236}">
                  <a16:creationId xmlns:a16="http://schemas.microsoft.com/office/drawing/2014/main" id="{33E03342-5CD7-4F16-8158-A47BB38FFA64}"/>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 name="Rectangle : coins arrondis 200">
              <a:extLst>
                <a:ext uri="{FF2B5EF4-FFF2-40B4-BE49-F238E27FC236}">
                  <a16:creationId xmlns:a16="http://schemas.microsoft.com/office/drawing/2014/main" id="{CA7088DA-4CA1-4D4F-8941-9B1AD29A118A}"/>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 name="Rectangle : coins arrondis 201">
              <a:extLst>
                <a:ext uri="{FF2B5EF4-FFF2-40B4-BE49-F238E27FC236}">
                  <a16:creationId xmlns:a16="http://schemas.microsoft.com/office/drawing/2014/main" id="{23F4FA1C-8507-49EC-A33E-A20F0ACE2ACD}"/>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 name="ZoneTexte 18">
              <a:extLst>
                <a:ext uri="{FF2B5EF4-FFF2-40B4-BE49-F238E27FC236}">
                  <a16:creationId xmlns:a16="http://schemas.microsoft.com/office/drawing/2014/main" id="{CF9E3071-400A-4C92-BB0B-5D8D0C6DD5CA}"/>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4" name="Graphique 128" descr="Jauge">
              <a:extLst>
                <a:ext uri="{FF2B5EF4-FFF2-40B4-BE49-F238E27FC236}">
                  <a16:creationId xmlns:a16="http://schemas.microsoft.com/office/drawing/2014/main" id="{1DBE795B-FF0C-43D2-994C-D6CB1A7EC4D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5" name="Graphique 90" descr="Poignée de main">
              <a:extLst>
                <a:ext uri="{FF2B5EF4-FFF2-40B4-BE49-F238E27FC236}">
                  <a16:creationId xmlns:a16="http://schemas.microsoft.com/office/drawing/2014/main" id="{BDAF94EE-BCD3-4124-AFA4-CE43F29BB61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16" name="Graphique 74" descr="Mégaphone">
              <a:extLst>
                <a:ext uri="{FF2B5EF4-FFF2-40B4-BE49-F238E27FC236}">
                  <a16:creationId xmlns:a16="http://schemas.microsoft.com/office/drawing/2014/main" id="{F23DBE21-33FA-46BD-BEBE-28AB2F9AD18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17" name="Picture 2" descr="Drapeau France">
              <a:extLst>
                <a:ext uri="{FF2B5EF4-FFF2-40B4-BE49-F238E27FC236}">
                  <a16:creationId xmlns:a16="http://schemas.microsoft.com/office/drawing/2014/main" id="{BE09FB27-372D-46AE-B5CE-76C7807FDA9E}"/>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8" name="Picture 2" descr="5 ft x 3 ft 150 x 90 cm-DRAPEAU BELGE Belgique 100% Polyester ...">
              <a:extLst>
                <a:ext uri="{FF2B5EF4-FFF2-40B4-BE49-F238E27FC236}">
                  <a16:creationId xmlns:a16="http://schemas.microsoft.com/office/drawing/2014/main" id="{B8178ECC-0C3E-436A-AB2E-15D80E1C8A34}"/>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9" name="Picture 2 - 1" descr="Drapeau des Pays-Bas — Wikipédia">
              <a:extLst>
                <a:ext uri="{FF2B5EF4-FFF2-40B4-BE49-F238E27FC236}">
                  <a16:creationId xmlns:a16="http://schemas.microsoft.com/office/drawing/2014/main" id="{B4CBDB09-06DE-4C39-8574-5F0F419542B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20" name="Picture 2 - 2" descr="Drapeau du Luxembourg">
              <a:extLst>
                <a:ext uri="{FF2B5EF4-FFF2-40B4-BE49-F238E27FC236}">
                  <a16:creationId xmlns:a16="http://schemas.microsoft.com/office/drawing/2014/main" id="{D22B2499-6CC6-4824-A897-823A003B5BC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21" name="ZoneTexte 20">
              <a:extLst>
                <a:ext uri="{FF2B5EF4-FFF2-40B4-BE49-F238E27FC236}">
                  <a16:creationId xmlns:a16="http://schemas.microsoft.com/office/drawing/2014/main" id="{467614D8-3BAD-48DF-B33D-3942A80EC6D4}"/>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sp>
        <p:nvSpPr>
          <p:cNvPr id="22" name="Rectangle 21">
            <a:extLst>
              <a:ext uri="{FF2B5EF4-FFF2-40B4-BE49-F238E27FC236}">
                <a16:creationId xmlns:a16="http://schemas.microsoft.com/office/drawing/2014/main" id="{864C235E-E2F1-4549-888E-51EFC79E8D30}"/>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Trebuchet MS" panose="020B0603020202020204" pitchFamily="34" charset="0"/>
                <a:ea typeface="+mn-ea"/>
                <a:cs typeface="Arial" pitchFamily="34" charset="0"/>
              </a:rPr>
              <a:t>C</a:t>
            </a:r>
          </a:p>
        </p:txBody>
      </p:sp>
      <p:grpSp>
        <p:nvGrpSpPr>
          <p:cNvPr id="117" name="Groupe 116">
            <a:extLst>
              <a:ext uri="{FF2B5EF4-FFF2-40B4-BE49-F238E27FC236}">
                <a16:creationId xmlns:a16="http://schemas.microsoft.com/office/drawing/2014/main" id="{632E5AF1-6B10-4D6E-8504-7470E9F4B8BD}"/>
              </a:ext>
            </a:extLst>
          </p:cNvPr>
          <p:cNvGrpSpPr/>
          <p:nvPr/>
        </p:nvGrpSpPr>
        <p:grpSpPr>
          <a:xfrm>
            <a:off x="320664" y="1851602"/>
            <a:ext cx="6449411" cy="4143868"/>
            <a:chOff x="261870" y="1559576"/>
            <a:chExt cx="6449411" cy="4143868"/>
          </a:xfrm>
        </p:grpSpPr>
        <p:pic>
          <p:nvPicPr>
            <p:cNvPr id="47" name="Image 46">
              <a:extLst>
                <a:ext uri="{FF2B5EF4-FFF2-40B4-BE49-F238E27FC236}">
                  <a16:creationId xmlns:a16="http://schemas.microsoft.com/office/drawing/2014/main" id="{A3CA0870-9352-443A-A8A5-A563D2D8FA83}"/>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22841" y="4868649"/>
              <a:ext cx="834795" cy="834795"/>
            </a:xfrm>
            <a:prstGeom prst="rect">
              <a:avLst/>
            </a:prstGeom>
          </p:spPr>
        </p:pic>
        <p:sp>
          <p:nvSpPr>
            <p:cNvPr id="103" name="Rectangle à coins arrondis 81">
              <a:extLst>
                <a:ext uri="{FF2B5EF4-FFF2-40B4-BE49-F238E27FC236}">
                  <a16:creationId xmlns:a16="http://schemas.microsoft.com/office/drawing/2014/main" id="{ADE13D4E-E23B-4900-BA26-A4A9F2866C06}"/>
                </a:ext>
              </a:extLst>
            </p:cNvPr>
            <p:cNvSpPr/>
            <p:nvPr/>
          </p:nvSpPr>
          <p:spPr>
            <a:xfrm>
              <a:off x="261870" y="1565372"/>
              <a:ext cx="3181571" cy="1520923"/>
            </a:xfrm>
            <a:prstGeom prst="roundRect">
              <a:avLst/>
            </a:prstGeom>
            <a:noFill/>
            <a:ln w="12700">
              <a:solidFill>
                <a:srgbClr val="69B86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104" name="Titre 32">
              <a:extLst>
                <a:ext uri="{FF2B5EF4-FFF2-40B4-BE49-F238E27FC236}">
                  <a16:creationId xmlns:a16="http://schemas.microsoft.com/office/drawing/2014/main" id="{919EE1AA-8C98-494A-8D2A-8DF8FDE645D3}"/>
                </a:ext>
              </a:extLst>
            </p:cNvPr>
            <p:cNvSpPr txBox="1">
              <a:spLocks/>
            </p:cNvSpPr>
            <p:nvPr/>
          </p:nvSpPr>
          <p:spPr>
            <a:xfrm>
              <a:off x="612380" y="1559576"/>
              <a:ext cx="2360220" cy="289907"/>
            </a:xfrm>
            <a:prstGeom prst="rect">
              <a:avLst/>
            </a:prstGeom>
          </p:spPr>
          <p:txBody>
            <a:bodyPr anchor="ctr"/>
            <a:lstStyle>
              <a:lvl1pPr algn="ctr" defTabSz="914319" rtl="0" eaLnBrk="1" latinLnBrk="0" hangingPunct="1">
                <a:lnSpc>
                  <a:spcPct val="90000"/>
                </a:lnSpc>
                <a:spcBef>
                  <a:spcPct val="0"/>
                </a:spcBef>
                <a:buNone/>
                <a:defRPr sz="2000" b="0" i="0" kern="1200">
                  <a:solidFill>
                    <a:schemeClr val="tx1">
                      <a:lumMod val="50000"/>
                      <a:lumOff val="50000"/>
                    </a:schemeClr>
                  </a:solidFill>
                  <a:latin typeface="Century Gothic" charset="0"/>
                  <a:ea typeface="Century Gothic" charset="0"/>
                  <a:cs typeface="Century Gothic" charset="0"/>
                </a:defRPr>
              </a:lvl1pPr>
            </a:lstStyle>
            <a:p>
              <a:r>
                <a:rPr lang="en-GB" sz="1100" b="1">
                  <a:solidFill>
                    <a:srgbClr val="69B861"/>
                  </a:solidFill>
                </a:rPr>
                <a:t>Qualification modules</a:t>
              </a:r>
            </a:p>
          </p:txBody>
        </p:sp>
        <p:pic>
          <p:nvPicPr>
            <p:cNvPr id="49" name="Image 48">
              <a:extLst>
                <a:ext uri="{FF2B5EF4-FFF2-40B4-BE49-F238E27FC236}">
                  <a16:creationId xmlns:a16="http://schemas.microsoft.com/office/drawing/2014/main" id="{4309239E-C53B-4683-91E9-91B15D4A7FD7}"/>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845828" y="3475784"/>
              <a:ext cx="3367764" cy="2027826"/>
            </a:xfrm>
            <a:prstGeom prst="rect">
              <a:avLst/>
            </a:prstGeom>
          </p:spPr>
        </p:pic>
        <p:sp>
          <p:nvSpPr>
            <p:cNvPr id="50" name="Flèche droite rayée 91">
              <a:extLst>
                <a:ext uri="{FF2B5EF4-FFF2-40B4-BE49-F238E27FC236}">
                  <a16:creationId xmlns:a16="http://schemas.microsoft.com/office/drawing/2014/main" id="{047D8B9D-9E67-4A16-A340-8E4EE54047F8}"/>
                </a:ext>
              </a:extLst>
            </p:cNvPr>
            <p:cNvSpPr/>
            <p:nvPr/>
          </p:nvSpPr>
          <p:spPr>
            <a:xfrm rot="5400000">
              <a:off x="4246164" y="3107763"/>
              <a:ext cx="318032" cy="309174"/>
            </a:xfrm>
            <a:prstGeom prst="stripedRightArrow">
              <a:avLst/>
            </a:prstGeom>
            <a:solidFill>
              <a:srgbClr val="97A6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51" name="Flèche droite rayée 94">
              <a:extLst>
                <a:ext uri="{FF2B5EF4-FFF2-40B4-BE49-F238E27FC236}">
                  <a16:creationId xmlns:a16="http://schemas.microsoft.com/office/drawing/2014/main" id="{DFBE5F8C-962C-4CC1-B3F4-4AF409CA175B}"/>
                </a:ext>
              </a:extLst>
            </p:cNvPr>
            <p:cNvSpPr/>
            <p:nvPr/>
          </p:nvSpPr>
          <p:spPr>
            <a:xfrm rot="5400000">
              <a:off x="2140724" y="3098422"/>
              <a:ext cx="313931" cy="339196"/>
            </a:xfrm>
            <a:prstGeom prst="stripedRightArrow">
              <a:avLst/>
            </a:prstGeom>
            <a:solidFill>
              <a:srgbClr val="87C7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52" name="Flèche vers la droite 99">
              <a:extLst>
                <a:ext uri="{FF2B5EF4-FFF2-40B4-BE49-F238E27FC236}">
                  <a16:creationId xmlns:a16="http://schemas.microsoft.com/office/drawing/2014/main" id="{8C4E6533-9246-4D71-BCB8-45F39073DDBF}"/>
                </a:ext>
              </a:extLst>
            </p:cNvPr>
            <p:cNvSpPr/>
            <p:nvPr/>
          </p:nvSpPr>
          <p:spPr>
            <a:xfrm rot="16200000">
              <a:off x="5640095" y="3373619"/>
              <a:ext cx="531301" cy="309174"/>
            </a:xfrm>
            <a:prstGeom prst="rightArrow">
              <a:avLst/>
            </a:prstGeom>
            <a:solidFill>
              <a:srgbClr val="97A6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grpSp>
          <p:nvGrpSpPr>
            <p:cNvPr id="53" name="Grouper 19">
              <a:extLst>
                <a:ext uri="{FF2B5EF4-FFF2-40B4-BE49-F238E27FC236}">
                  <a16:creationId xmlns:a16="http://schemas.microsoft.com/office/drawing/2014/main" id="{AF8A4172-895B-4E2D-B4B3-F03B9B295B80}"/>
                </a:ext>
              </a:extLst>
            </p:cNvPr>
            <p:cNvGrpSpPr/>
            <p:nvPr/>
          </p:nvGrpSpPr>
          <p:grpSpPr>
            <a:xfrm>
              <a:off x="5225058" y="3786004"/>
              <a:ext cx="1317980" cy="1011924"/>
              <a:chOff x="8921258" y="3826826"/>
              <a:chExt cx="1962777" cy="1506988"/>
            </a:xfrm>
          </p:grpSpPr>
          <p:grpSp>
            <p:nvGrpSpPr>
              <p:cNvPr id="96" name="Grouper 16">
                <a:extLst>
                  <a:ext uri="{FF2B5EF4-FFF2-40B4-BE49-F238E27FC236}">
                    <a16:creationId xmlns:a16="http://schemas.microsoft.com/office/drawing/2014/main" id="{40F1354A-7B0B-495C-9EDF-223F82A50233}"/>
                  </a:ext>
                </a:extLst>
              </p:cNvPr>
              <p:cNvGrpSpPr/>
              <p:nvPr/>
            </p:nvGrpSpPr>
            <p:grpSpPr>
              <a:xfrm>
                <a:off x="8921258" y="3826826"/>
                <a:ext cx="1962777" cy="1506988"/>
                <a:chOff x="8870091" y="2369750"/>
                <a:chExt cx="1551317" cy="1726135"/>
              </a:xfrm>
              <a:solidFill>
                <a:srgbClr val="97A6D3"/>
              </a:solidFill>
            </p:grpSpPr>
            <p:sp>
              <p:nvSpPr>
                <p:cNvPr id="98" name="Rectangle à coins arrondis 57">
                  <a:extLst>
                    <a:ext uri="{FF2B5EF4-FFF2-40B4-BE49-F238E27FC236}">
                      <a16:creationId xmlns:a16="http://schemas.microsoft.com/office/drawing/2014/main" id="{ECF5DF67-DABC-434A-BC5E-617A901E2B28}"/>
                    </a:ext>
                  </a:extLst>
                </p:cNvPr>
                <p:cNvSpPr/>
                <p:nvPr/>
              </p:nvSpPr>
              <p:spPr>
                <a:xfrm>
                  <a:off x="8870091" y="2369750"/>
                  <a:ext cx="1523016" cy="1726135"/>
                </a:xfrm>
                <a:prstGeom prst="roundRect">
                  <a:avLst/>
                </a:prstGeom>
                <a:grpFill/>
                <a:ln w="28575">
                  <a:solidFill>
                    <a:srgbClr val="97A6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99" name="ZoneTexte 98">
                  <a:extLst>
                    <a:ext uri="{FF2B5EF4-FFF2-40B4-BE49-F238E27FC236}">
                      <a16:creationId xmlns:a16="http://schemas.microsoft.com/office/drawing/2014/main" id="{A1FD2D6F-F1B7-4093-8239-151E7E8D951A}"/>
                    </a:ext>
                  </a:extLst>
                </p:cNvPr>
                <p:cNvSpPr txBox="1"/>
                <p:nvPr/>
              </p:nvSpPr>
              <p:spPr>
                <a:xfrm>
                  <a:off x="8898392" y="3376626"/>
                  <a:ext cx="1523016" cy="393752"/>
                </a:xfrm>
                <a:prstGeom prst="rect">
                  <a:avLst/>
                </a:prstGeom>
                <a:noFill/>
              </p:spPr>
              <p:txBody>
                <a:bodyPr wrap="square" rtlCol="0">
                  <a:spAutoFit/>
                </a:bodyPr>
                <a:lstStyle/>
                <a:p>
                  <a:pPr algn="ctr"/>
                  <a:r>
                    <a:rPr lang="en-GB" sz="900" b="1">
                      <a:solidFill>
                        <a:schemeClr val="bg1"/>
                      </a:solidFill>
                      <a:latin typeface="Century Gothic" charset="0"/>
                      <a:ea typeface="Century Gothic" charset="0"/>
                      <a:cs typeface="Century Gothic" charset="0"/>
                    </a:rPr>
                    <a:t>mRetargeting</a:t>
                  </a:r>
                  <a:endParaRPr lang="en-GB" sz="900">
                    <a:solidFill>
                      <a:schemeClr val="bg1"/>
                    </a:solidFill>
                    <a:latin typeface="Century Gothic" charset="0"/>
                    <a:ea typeface="Century Gothic" charset="0"/>
                    <a:cs typeface="Century Gothic" charset="0"/>
                  </a:endParaRPr>
                </a:p>
              </p:txBody>
            </p:sp>
          </p:grpSp>
          <p:pic>
            <p:nvPicPr>
              <p:cNvPr id="97" name="Image 96">
                <a:extLst>
                  <a:ext uri="{FF2B5EF4-FFF2-40B4-BE49-F238E27FC236}">
                    <a16:creationId xmlns:a16="http://schemas.microsoft.com/office/drawing/2014/main" id="{924139B8-E07C-432B-881A-7C91E99E3E46}"/>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flipH="1">
                <a:off x="9587930" y="4009689"/>
                <a:ext cx="696183" cy="696183"/>
              </a:xfrm>
              <a:prstGeom prst="rect">
                <a:avLst/>
              </a:prstGeom>
            </p:spPr>
          </p:pic>
        </p:grpSp>
        <p:sp>
          <p:nvSpPr>
            <p:cNvPr id="54" name="Flèche droite rayée 75">
              <a:extLst>
                <a:ext uri="{FF2B5EF4-FFF2-40B4-BE49-F238E27FC236}">
                  <a16:creationId xmlns:a16="http://schemas.microsoft.com/office/drawing/2014/main" id="{1B2584D6-EAB3-4B7E-A43E-6D6042332316}"/>
                </a:ext>
              </a:extLst>
            </p:cNvPr>
            <p:cNvSpPr/>
            <p:nvPr/>
          </p:nvSpPr>
          <p:spPr>
            <a:xfrm rot="5400000">
              <a:off x="2503556" y="3095746"/>
              <a:ext cx="305196" cy="339196"/>
            </a:xfrm>
            <a:prstGeom prst="stripedRightArrow">
              <a:avLst/>
            </a:prstGeom>
            <a:solidFill>
              <a:srgbClr val="87C7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55" name="Flèche droite rayée 93">
              <a:extLst>
                <a:ext uri="{FF2B5EF4-FFF2-40B4-BE49-F238E27FC236}">
                  <a16:creationId xmlns:a16="http://schemas.microsoft.com/office/drawing/2014/main" id="{B54E6D51-A005-499F-AE74-3995D05EC322}"/>
                </a:ext>
              </a:extLst>
            </p:cNvPr>
            <p:cNvSpPr/>
            <p:nvPr/>
          </p:nvSpPr>
          <p:spPr>
            <a:xfrm rot="5400000">
              <a:off x="4599987" y="3106846"/>
              <a:ext cx="314188" cy="309174"/>
            </a:xfrm>
            <a:prstGeom prst="stripedRightArrow">
              <a:avLst/>
            </a:prstGeom>
            <a:solidFill>
              <a:srgbClr val="97A6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grpSp>
          <p:nvGrpSpPr>
            <p:cNvPr id="56" name="Grouper 25">
              <a:extLst>
                <a:ext uri="{FF2B5EF4-FFF2-40B4-BE49-F238E27FC236}">
                  <a16:creationId xmlns:a16="http://schemas.microsoft.com/office/drawing/2014/main" id="{46421386-DE91-454C-84FF-6CCD1EC401C7}"/>
                </a:ext>
              </a:extLst>
            </p:cNvPr>
            <p:cNvGrpSpPr/>
            <p:nvPr/>
          </p:nvGrpSpPr>
          <p:grpSpPr>
            <a:xfrm>
              <a:off x="2516767" y="4828521"/>
              <a:ext cx="1904736" cy="816639"/>
              <a:chOff x="4351099" y="5413621"/>
              <a:chExt cx="2836591" cy="1216164"/>
            </a:xfrm>
          </p:grpSpPr>
          <p:grpSp>
            <p:nvGrpSpPr>
              <p:cNvPr id="89" name="Grouper 15">
                <a:extLst>
                  <a:ext uri="{FF2B5EF4-FFF2-40B4-BE49-F238E27FC236}">
                    <a16:creationId xmlns:a16="http://schemas.microsoft.com/office/drawing/2014/main" id="{71AF90DF-5B39-4FC1-8A91-B9FE69609B00}"/>
                  </a:ext>
                </a:extLst>
              </p:cNvPr>
              <p:cNvGrpSpPr/>
              <p:nvPr/>
            </p:nvGrpSpPr>
            <p:grpSpPr>
              <a:xfrm>
                <a:off x="4351099" y="5413621"/>
                <a:ext cx="2836591" cy="1216164"/>
                <a:chOff x="6279661" y="3646450"/>
                <a:chExt cx="2836591" cy="1763434"/>
              </a:xfrm>
              <a:solidFill>
                <a:srgbClr val="003E4E"/>
              </a:solidFill>
            </p:grpSpPr>
            <p:sp>
              <p:nvSpPr>
                <p:cNvPr id="94" name="Rectangle à coins arrondis 56">
                  <a:extLst>
                    <a:ext uri="{FF2B5EF4-FFF2-40B4-BE49-F238E27FC236}">
                      <a16:creationId xmlns:a16="http://schemas.microsoft.com/office/drawing/2014/main" id="{134725CA-88FC-4FA5-AD51-C9C2D892338A}"/>
                    </a:ext>
                  </a:extLst>
                </p:cNvPr>
                <p:cNvSpPr/>
                <p:nvPr/>
              </p:nvSpPr>
              <p:spPr>
                <a:xfrm>
                  <a:off x="6279661" y="3646450"/>
                  <a:ext cx="2827667" cy="1763434"/>
                </a:xfrm>
                <a:prstGeom prst="roundRect">
                  <a:avLst/>
                </a:prstGeom>
                <a:grpFill/>
                <a:ln w="28575">
                  <a:solidFill>
                    <a:srgbClr val="003E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95" name="ZoneTexte 94">
                  <a:extLst>
                    <a:ext uri="{FF2B5EF4-FFF2-40B4-BE49-F238E27FC236}">
                      <a16:creationId xmlns:a16="http://schemas.microsoft.com/office/drawing/2014/main" id="{B9291A80-B08C-4D8F-85D5-216D966F336B}"/>
                    </a:ext>
                  </a:extLst>
                </p:cNvPr>
                <p:cNvSpPr txBox="1"/>
                <p:nvPr/>
              </p:nvSpPr>
              <p:spPr>
                <a:xfrm>
                  <a:off x="6288584" y="4270422"/>
                  <a:ext cx="2827668" cy="731067"/>
                </a:xfrm>
                <a:prstGeom prst="rect">
                  <a:avLst/>
                </a:prstGeom>
                <a:noFill/>
              </p:spPr>
              <p:txBody>
                <a:bodyPr wrap="square" rtlCol="0">
                  <a:spAutoFit/>
                </a:bodyPr>
                <a:lstStyle/>
                <a:p>
                  <a:pPr algn="ctr"/>
                  <a:r>
                    <a:rPr lang="en-GB" sz="1600" b="1">
                      <a:solidFill>
                        <a:schemeClr val="bg1"/>
                      </a:solidFill>
                      <a:latin typeface="Century Gothic" charset="0"/>
                      <a:ea typeface="Century Gothic" charset="0"/>
                      <a:cs typeface="Century Gothic" charset="0"/>
                    </a:rPr>
                    <a:t>DMP</a:t>
                  </a:r>
                  <a:endParaRPr lang="en-GB" sz="1600">
                    <a:solidFill>
                      <a:schemeClr val="bg1"/>
                    </a:solidFill>
                    <a:latin typeface="Century Gothic" charset="0"/>
                    <a:ea typeface="Century Gothic" charset="0"/>
                    <a:cs typeface="Century Gothic" charset="0"/>
                  </a:endParaRPr>
                </a:p>
              </p:txBody>
            </p:sp>
          </p:grpSp>
          <p:pic>
            <p:nvPicPr>
              <p:cNvPr id="90" name="Image 89">
                <a:extLst>
                  <a:ext uri="{FF2B5EF4-FFF2-40B4-BE49-F238E27FC236}">
                    <a16:creationId xmlns:a16="http://schemas.microsoft.com/office/drawing/2014/main" id="{A0CB5E8C-E698-46C5-8CDA-E499F1FFE0AC}"/>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616975" y="6098208"/>
                <a:ext cx="478701" cy="478701"/>
              </a:xfrm>
              <a:prstGeom prst="rect">
                <a:avLst/>
              </a:prstGeom>
            </p:spPr>
          </p:pic>
          <p:pic>
            <p:nvPicPr>
              <p:cNvPr id="91" name="Image 90">
                <a:extLst>
                  <a:ext uri="{FF2B5EF4-FFF2-40B4-BE49-F238E27FC236}">
                    <a16:creationId xmlns:a16="http://schemas.microsoft.com/office/drawing/2014/main" id="{F16CCE7E-93E8-4F31-9A78-6D852CEC757F}"/>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4814156" y="5467409"/>
                <a:ext cx="533836" cy="533836"/>
              </a:xfrm>
              <a:prstGeom prst="rect">
                <a:avLst/>
              </a:prstGeom>
            </p:spPr>
          </p:pic>
          <p:pic>
            <p:nvPicPr>
              <p:cNvPr id="92" name="Image 91">
                <a:extLst>
                  <a:ext uri="{FF2B5EF4-FFF2-40B4-BE49-F238E27FC236}">
                    <a16:creationId xmlns:a16="http://schemas.microsoft.com/office/drawing/2014/main" id="{6861B275-535A-4259-9C4C-B3E64BE36651}"/>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412249" y="6079249"/>
                <a:ext cx="532030" cy="532030"/>
              </a:xfrm>
              <a:prstGeom prst="rect">
                <a:avLst/>
              </a:prstGeom>
            </p:spPr>
          </p:pic>
          <p:pic>
            <p:nvPicPr>
              <p:cNvPr id="93" name="Image 92">
                <a:extLst>
                  <a:ext uri="{FF2B5EF4-FFF2-40B4-BE49-F238E27FC236}">
                    <a16:creationId xmlns:a16="http://schemas.microsoft.com/office/drawing/2014/main" id="{70EF4394-CCA9-4B4D-9AA0-5BADB39425AC}"/>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6272755" y="5439025"/>
                <a:ext cx="536612" cy="536612"/>
              </a:xfrm>
              <a:prstGeom prst="rect">
                <a:avLst/>
              </a:prstGeom>
            </p:spPr>
          </p:pic>
        </p:grpSp>
        <p:sp>
          <p:nvSpPr>
            <p:cNvPr id="57" name="Flèche vers la droite 98">
              <a:extLst>
                <a:ext uri="{FF2B5EF4-FFF2-40B4-BE49-F238E27FC236}">
                  <a16:creationId xmlns:a16="http://schemas.microsoft.com/office/drawing/2014/main" id="{FCDBEA10-2479-4614-B809-BDE9A1C80103}"/>
                </a:ext>
              </a:extLst>
            </p:cNvPr>
            <p:cNvSpPr/>
            <p:nvPr/>
          </p:nvSpPr>
          <p:spPr>
            <a:xfrm>
              <a:off x="2033291" y="5130080"/>
              <a:ext cx="468625" cy="285418"/>
            </a:xfrm>
            <a:prstGeom prst="leftRightArrow">
              <a:avLst/>
            </a:prstGeom>
            <a:solidFill>
              <a:srgbClr val="003E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pic>
          <p:nvPicPr>
            <p:cNvPr id="58" name="Image 57">
              <a:extLst>
                <a:ext uri="{FF2B5EF4-FFF2-40B4-BE49-F238E27FC236}">
                  <a16:creationId xmlns:a16="http://schemas.microsoft.com/office/drawing/2014/main" id="{FFDF3B9F-7477-44EB-98AA-352D0FD81D78}"/>
                </a:ext>
              </a:extLst>
            </p:cNvPr>
            <p:cNvPicPr>
              <a:picLocks noChangeAspect="1"/>
            </p:cNvPicPr>
            <p:nvPr/>
          </p:nvPicPr>
          <p:blipFill>
            <a:blip r:embed="rId23"/>
            <a:stretch>
              <a:fillRect/>
            </a:stretch>
          </p:blipFill>
          <p:spPr>
            <a:xfrm>
              <a:off x="540115" y="4940186"/>
              <a:ext cx="414157" cy="202672"/>
            </a:xfrm>
            <a:prstGeom prst="rect">
              <a:avLst/>
            </a:prstGeom>
          </p:spPr>
        </p:pic>
        <p:pic>
          <p:nvPicPr>
            <p:cNvPr id="59" name="Image 58">
              <a:extLst>
                <a:ext uri="{FF2B5EF4-FFF2-40B4-BE49-F238E27FC236}">
                  <a16:creationId xmlns:a16="http://schemas.microsoft.com/office/drawing/2014/main" id="{AF4C64F0-B2CF-4501-A230-FAB3E10BFA88}"/>
                </a:ext>
              </a:extLst>
            </p:cNvPr>
            <p:cNvPicPr>
              <a:picLocks noChangeAspect="1"/>
            </p:cNvPicPr>
            <p:nvPr/>
          </p:nvPicPr>
          <p:blipFill>
            <a:blip r:embed="rId24"/>
            <a:stretch>
              <a:fillRect/>
            </a:stretch>
          </p:blipFill>
          <p:spPr>
            <a:xfrm>
              <a:off x="830970" y="4563609"/>
              <a:ext cx="517432" cy="342031"/>
            </a:xfrm>
            <a:prstGeom prst="rect">
              <a:avLst/>
            </a:prstGeom>
          </p:spPr>
        </p:pic>
        <p:pic>
          <p:nvPicPr>
            <p:cNvPr id="60" name="Image 59">
              <a:extLst>
                <a:ext uri="{FF2B5EF4-FFF2-40B4-BE49-F238E27FC236}">
                  <a16:creationId xmlns:a16="http://schemas.microsoft.com/office/drawing/2014/main" id="{804D891C-E52B-4175-9171-0AA9670BA2CE}"/>
                </a:ext>
              </a:extLst>
            </p:cNvPr>
            <p:cNvPicPr>
              <a:picLocks noChangeAspect="1"/>
            </p:cNvPicPr>
            <p:nvPr/>
          </p:nvPicPr>
          <p:blipFill>
            <a:blip r:embed="rId25"/>
            <a:stretch>
              <a:fillRect/>
            </a:stretch>
          </p:blipFill>
          <p:spPr>
            <a:xfrm>
              <a:off x="267336" y="4643063"/>
              <a:ext cx="567092" cy="229829"/>
            </a:xfrm>
            <a:prstGeom prst="rect">
              <a:avLst/>
            </a:prstGeom>
          </p:spPr>
        </p:pic>
        <p:pic>
          <p:nvPicPr>
            <p:cNvPr id="61" name="Image 60">
              <a:extLst>
                <a:ext uri="{FF2B5EF4-FFF2-40B4-BE49-F238E27FC236}">
                  <a16:creationId xmlns:a16="http://schemas.microsoft.com/office/drawing/2014/main" id="{1EBB8E51-F617-4446-B95F-74FB91A58CE5}"/>
                </a:ext>
              </a:extLst>
            </p:cNvPr>
            <p:cNvPicPr>
              <a:picLocks noChangeAspect="1"/>
            </p:cNvPicPr>
            <p:nvPr/>
          </p:nvPicPr>
          <p:blipFill>
            <a:blip r:embed="rId26"/>
            <a:stretch>
              <a:fillRect/>
            </a:stretch>
          </p:blipFill>
          <p:spPr>
            <a:xfrm>
              <a:off x="611612" y="5272832"/>
              <a:ext cx="321448" cy="323243"/>
            </a:xfrm>
            <a:prstGeom prst="rect">
              <a:avLst/>
            </a:prstGeom>
          </p:spPr>
        </p:pic>
        <p:sp>
          <p:nvSpPr>
            <p:cNvPr id="62" name="Flèche : double flèche verticale 61">
              <a:extLst>
                <a:ext uri="{FF2B5EF4-FFF2-40B4-BE49-F238E27FC236}">
                  <a16:creationId xmlns:a16="http://schemas.microsoft.com/office/drawing/2014/main" id="{FD663C11-C069-4724-A909-091C75F717A4}"/>
                </a:ext>
              </a:extLst>
            </p:cNvPr>
            <p:cNvSpPr/>
            <p:nvPr/>
          </p:nvSpPr>
          <p:spPr>
            <a:xfrm>
              <a:off x="1341899" y="3222176"/>
              <a:ext cx="212393" cy="1741719"/>
            </a:xfrm>
            <a:prstGeom prst="upDownArrow">
              <a:avLst/>
            </a:prstGeom>
            <a:solidFill>
              <a:srgbClr val="69B8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grpSp>
          <p:nvGrpSpPr>
            <p:cNvPr id="63" name="Grouper 28">
              <a:extLst>
                <a:ext uri="{FF2B5EF4-FFF2-40B4-BE49-F238E27FC236}">
                  <a16:creationId xmlns:a16="http://schemas.microsoft.com/office/drawing/2014/main" id="{F0BF362C-27B7-47E2-BD47-B05AFEB328D5}"/>
                </a:ext>
              </a:extLst>
            </p:cNvPr>
            <p:cNvGrpSpPr/>
            <p:nvPr/>
          </p:nvGrpSpPr>
          <p:grpSpPr>
            <a:xfrm>
              <a:off x="4427490" y="4808915"/>
              <a:ext cx="1520974" cy="585475"/>
              <a:chOff x="7207291" y="5405825"/>
              <a:chExt cx="2948137" cy="871909"/>
            </a:xfrm>
          </p:grpSpPr>
          <p:grpSp>
            <p:nvGrpSpPr>
              <p:cNvPr id="85" name="Grouper 27">
                <a:extLst>
                  <a:ext uri="{FF2B5EF4-FFF2-40B4-BE49-F238E27FC236}">
                    <a16:creationId xmlns:a16="http://schemas.microsoft.com/office/drawing/2014/main" id="{A65A748F-DE57-4681-B5DA-3ED9B6A91204}"/>
                  </a:ext>
                </a:extLst>
              </p:cNvPr>
              <p:cNvGrpSpPr/>
              <p:nvPr/>
            </p:nvGrpSpPr>
            <p:grpSpPr>
              <a:xfrm>
                <a:off x="7949500" y="5405825"/>
                <a:ext cx="2205928" cy="754397"/>
                <a:chOff x="7949500" y="5405825"/>
                <a:chExt cx="2205928" cy="754397"/>
              </a:xfrm>
            </p:grpSpPr>
            <p:sp>
              <p:nvSpPr>
                <p:cNvPr id="87" name="Rectangle 86">
                  <a:extLst>
                    <a:ext uri="{FF2B5EF4-FFF2-40B4-BE49-F238E27FC236}">
                      <a16:creationId xmlns:a16="http://schemas.microsoft.com/office/drawing/2014/main" id="{BF289C96-7579-421C-8A1E-AC9341A6E51C}"/>
                    </a:ext>
                  </a:extLst>
                </p:cNvPr>
                <p:cNvSpPr/>
                <p:nvPr/>
              </p:nvSpPr>
              <p:spPr>
                <a:xfrm rot="10800000">
                  <a:off x="7949500" y="5929689"/>
                  <a:ext cx="2093387" cy="230533"/>
                </a:xfrm>
                <a:prstGeom prst="rect">
                  <a:avLst/>
                </a:prstGeom>
                <a:solidFill>
                  <a:srgbClr val="003E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88" name="Flèche vers la droite 96">
                  <a:extLst>
                    <a:ext uri="{FF2B5EF4-FFF2-40B4-BE49-F238E27FC236}">
                      <a16:creationId xmlns:a16="http://schemas.microsoft.com/office/drawing/2014/main" id="{7A60A4EE-8D49-4E1E-BE54-26B297802B3C}"/>
                    </a:ext>
                  </a:extLst>
                </p:cNvPr>
                <p:cNvSpPr/>
                <p:nvPr/>
              </p:nvSpPr>
              <p:spPr>
                <a:xfrm rot="16200000">
                  <a:off x="9551522" y="5549299"/>
                  <a:ext cx="747380" cy="460432"/>
                </a:xfrm>
                <a:prstGeom prst="rightArrow">
                  <a:avLst/>
                </a:prstGeom>
                <a:solidFill>
                  <a:srgbClr val="003E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grpSp>
          <p:sp>
            <p:nvSpPr>
              <p:cNvPr id="86" name="Flèche vers la droite 84">
                <a:extLst>
                  <a:ext uri="{FF2B5EF4-FFF2-40B4-BE49-F238E27FC236}">
                    <a16:creationId xmlns:a16="http://schemas.microsoft.com/office/drawing/2014/main" id="{C9750923-53C0-4298-8621-D773634B662A}"/>
                  </a:ext>
                </a:extLst>
              </p:cNvPr>
              <p:cNvSpPr/>
              <p:nvPr/>
            </p:nvSpPr>
            <p:spPr>
              <a:xfrm rot="10800000">
                <a:off x="7207291" y="5808672"/>
                <a:ext cx="1236174" cy="469062"/>
              </a:xfrm>
              <a:prstGeom prst="rightArrow">
                <a:avLst/>
              </a:prstGeom>
              <a:solidFill>
                <a:srgbClr val="003E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grpSp>
        <p:pic>
          <p:nvPicPr>
            <p:cNvPr id="64" name="Image 63">
              <a:extLst>
                <a:ext uri="{FF2B5EF4-FFF2-40B4-BE49-F238E27FC236}">
                  <a16:creationId xmlns:a16="http://schemas.microsoft.com/office/drawing/2014/main" id="{32A733E5-FF34-421C-83D1-588BBBED0595}"/>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980533" y="3321346"/>
              <a:ext cx="307585" cy="307585"/>
            </a:xfrm>
            <a:prstGeom prst="rect">
              <a:avLst/>
            </a:prstGeom>
          </p:spPr>
        </p:pic>
        <p:pic>
          <p:nvPicPr>
            <p:cNvPr id="65" name="Image 64">
              <a:extLst>
                <a:ext uri="{FF2B5EF4-FFF2-40B4-BE49-F238E27FC236}">
                  <a16:creationId xmlns:a16="http://schemas.microsoft.com/office/drawing/2014/main" id="{CFA4FDCD-73D7-47C8-9A82-BC3C17726C60}"/>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3365574" y="3330746"/>
              <a:ext cx="307585" cy="307585"/>
            </a:xfrm>
            <a:prstGeom prst="rect">
              <a:avLst/>
            </a:prstGeom>
          </p:spPr>
        </p:pic>
        <p:pic>
          <p:nvPicPr>
            <p:cNvPr id="66" name="Image 65">
              <a:extLst>
                <a:ext uri="{FF2B5EF4-FFF2-40B4-BE49-F238E27FC236}">
                  <a16:creationId xmlns:a16="http://schemas.microsoft.com/office/drawing/2014/main" id="{4246C199-CA33-4044-9CA3-FAA49F55FDE0}"/>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3742187" y="3325686"/>
              <a:ext cx="307585" cy="307585"/>
            </a:xfrm>
            <a:prstGeom prst="rect">
              <a:avLst/>
            </a:prstGeom>
          </p:spPr>
        </p:pic>
        <p:sp>
          <p:nvSpPr>
            <p:cNvPr id="76" name="Rectangle à coins arrondis 87">
              <a:extLst>
                <a:ext uri="{FF2B5EF4-FFF2-40B4-BE49-F238E27FC236}">
                  <a16:creationId xmlns:a16="http://schemas.microsoft.com/office/drawing/2014/main" id="{7E3A6622-DA2C-4CBF-A071-0905CA30C72D}"/>
                </a:ext>
              </a:extLst>
            </p:cNvPr>
            <p:cNvSpPr/>
            <p:nvPr/>
          </p:nvSpPr>
          <p:spPr>
            <a:xfrm>
              <a:off x="3529710" y="1562688"/>
              <a:ext cx="3181571" cy="1520923"/>
            </a:xfrm>
            <a:prstGeom prst="roundRect">
              <a:avLst/>
            </a:prstGeom>
            <a:noFill/>
            <a:ln w="12700">
              <a:solidFill>
                <a:srgbClr val="97A6D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77" name="Titre 32">
              <a:extLst>
                <a:ext uri="{FF2B5EF4-FFF2-40B4-BE49-F238E27FC236}">
                  <a16:creationId xmlns:a16="http://schemas.microsoft.com/office/drawing/2014/main" id="{21A6A5A7-D6EE-4C86-A5D0-EB57C2D12212}"/>
                </a:ext>
              </a:extLst>
            </p:cNvPr>
            <p:cNvSpPr txBox="1">
              <a:spLocks/>
            </p:cNvSpPr>
            <p:nvPr/>
          </p:nvSpPr>
          <p:spPr>
            <a:xfrm>
              <a:off x="3734664" y="1566513"/>
              <a:ext cx="2633563" cy="247498"/>
            </a:xfrm>
            <a:prstGeom prst="rect">
              <a:avLst/>
            </a:prstGeom>
          </p:spPr>
          <p:txBody>
            <a:bodyPr anchor="ctr"/>
            <a:lstStyle>
              <a:lvl1pPr algn="ctr" defTabSz="914319" rtl="0" eaLnBrk="1" latinLnBrk="0" hangingPunct="1">
                <a:lnSpc>
                  <a:spcPct val="90000"/>
                </a:lnSpc>
                <a:spcBef>
                  <a:spcPct val="0"/>
                </a:spcBef>
                <a:buNone/>
                <a:defRPr sz="2000" b="0" i="0" kern="1200">
                  <a:solidFill>
                    <a:schemeClr val="tx1">
                      <a:lumMod val="50000"/>
                      <a:lumOff val="50000"/>
                    </a:schemeClr>
                  </a:solidFill>
                  <a:latin typeface="Century Gothic" charset="0"/>
                  <a:ea typeface="Century Gothic" charset="0"/>
                  <a:cs typeface="Century Gothic" charset="0"/>
                </a:defRPr>
              </a:lvl1pPr>
            </a:lstStyle>
            <a:p>
              <a:r>
                <a:rPr lang="en-GB" sz="1100" b="1">
                  <a:solidFill>
                    <a:srgbClr val="97A6D3"/>
                  </a:solidFill>
                </a:rPr>
                <a:t>Activation modules</a:t>
              </a:r>
            </a:p>
          </p:txBody>
        </p:sp>
        <p:sp>
          <p:nvSpPr>
            <p:cNvPr id="111" name="Rectangle à coins arrondis 46">
              <a:extLst>
                <a:ext uri="{FF2B5EF4-FFF2-40B4-BE49-F238E27FC236}">
                  <a16:creationId xmlns:a16="http://schemas.microsoft.com/office/drawing/2014/main" id="{81766C2E-872A-4286-9184-456F79DDB8A8}"/>
                </a:ext>
              </a:extLst>
            </p:cNvPr>
            <p:cNvSpPr/>
            <p:nvPr/>
          </p:nvSpPr>
          <p:spPr>
            <a:xfrm>
              <a:off x="331276" y="1804576"/>
              <a:ext cx="949698" cy="1144225"/>
            </a:xfrm>
            <a:prstGeom prst="roundRect">
              <a:avLst/>
            </a:prstGeom>
            <a:noFill/>
            <a:ln w="12700">
              <a:solidFill>
                <a:srgbClr val="69B8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112" name="ZoneTexte 111">
              <a:extLst>
                <a:ext uri="{FF2B5EF4-FFF2-40B4-BE49-F238E27FC236}">
                  <a16:creationId xmlns:a16="http://schemas.microsoft.com/office/drawing/2014/main" id="{96F4A199-2CDD-4377-893C-0E1F63969FB7}"/>
                </a:ext>
              </a:extLst>
            </p:cNvPr>
            <p:cNvSpPr txBox="1"/>
            <p:nvPr/>
          </p:nvSpPr>
          <p:spPr>
            <a:xfrm>
              <a:off x="331276" y="2192446"/>
              <a:ext cx="949698" cy="784830"/>
            </a:xfrm>
            <a:prstGeom prst="rect">
              <a:avLst/>
            </a:prstGeom>
            <a:noFill/>
          </p:spPr>
          <p:txBody>
            <a:bodyPr wrap="square" rtlCol="0">
              <a:spAutoFit/>
            </a:bodyPr>
            <a:lstStyle/>
            <a:p>
              <a:pPr algn="ctr">
                <a:spcAft>
                  <a:spcPts val="600"/>
                </a:spcAft>
              </a:pPr>
              <a:r>
                <a:rPr lang="en-US" sz="800" b="1" dirty="0" err="1">
                  <a:solidFill>
                    <a:srgbClr val="69B861"/>
                  </a:solidFill>
                  <a:latin typeface="Century Gothic" charset="0"/>
                  <a:ea typeface="Century Gothic" charset="0"/>
                  <a:cs typeface="Century Gothic" charset="0"/>
                </a:rPr>
                <a:t>SMART+mList</a:t>
              </a:r>
              <a:r>
                <a:rPr lang="en-US" sz="800" b="1" dirty="0">
                  <a:solidFill>
                    <a:srgbClr val="69B861"/>
                  </a:solidFill>
                  <a:latin typeface="Century Gothic" charset="0"/>
                  <a:ea typeface="Century Gothic" charset="0"/>
                  <a:cs typeface="Century Gothic" charset="0"/>
                </a:rPr>
                <a:t>
Creating, analyzing and extracting B2B segments</a:t>
              </a:r>
              <a:endParaRPr lang="en-GB" sz="800" b="1" dirty="0">
                <a:solidFill>
                  <a:srgbClr val="69B861"/>
                </a:solidFill>
                <a:latin typeface="Century Gothic" charset="0"/>
                <a:ea typeface="Century Gothic" charset="0"/>
                <a:cs typeface="Century Gothic" charset="0"/>
              </a:endParaRPr>
            </a:p>
          </p:txBody>
        </p:sp>
        <p:pic>
          <p:nvPicPr>
            <p:cNvPr id="113" name="Image 112">
              <a:extLst>
                <a:ext uri="{FF2B5EF4-FFF2-40B4-BE49-F238E27FC236}">
                  <a16:creationId xmlns:a16="http://schemas.microsoft.com/office/drawing/2014/main" id="{3C5E9C67-153D-4463-830D-6F535F9E8648}"/>
                </a:ext>
              </a:extLst>
            </p:cNvPr>
            <p:cNvPicPr>
              <a:picLocks noChangeAspect="1"/>
            </p:cNvPicPr>
            <p:nvPr/>
          </p:nvPicPr>
          <p:blipFill>
            <a:blip r:embed="rId27">
              <a:duotone>
                <a:prstClr val="black"/>
                <a:srgbClr val="69B861">
                  <a:tint val="45000"/>
                  <a:satMod val="400000"/>
                </a:srgbClr>
              </a:duotone>
              <a:extLst>
                <a:ext uri="{BEBA8EAE-BF5A-486C-A8C5-ECC9F3942E4B}">
                  <a14:imgProps xmlns:a14="http://schemas.microsoft.com/office/drawing/2010/main">
                    <a14:imgLayer r:embed="rId28">
                      <a14:imgEffect>
                        <a14:brightnessContrast bright="-23000"/>
                      </a14:imgEffect>
                    </a14:imgLayer>
                  </a14:imgProps>
                </a:ext>
                <a:ext uri="{28A0092B-C50C-407E-A947-70E740481C1C}">
                  <a14:useLocalDpi xmlns:a14="http://schemas.microsoft.com/office/drawing/2010/main" val="0"/>
                </a:ext>
              </a:extLst>
            </a:blip>
            <a:stretch>
              <a:fillRect/>
            </a:stretch>
          </p:blipFill>
          <p:spPr>
            <a:xfrm>
              <a:off x="710635" y="1887043"/>
              <a:ext cx="234037" cy="242886"/>
            </a:xfrm>
            <a:prstGeom prst="rect">
              <a:avLst/>
            </a:prstGeom>
          </p:spPr>
        </p:pic>
        <p:sp>
          <p:nvSpPr>
            <p:cNvPr id="108" name="Rectangle à coins arrondis 49">
              <a:extLst>
                <a:ext uri="{FF2B5EF4-FFF2-40B4-BE49-F238E27FC236}">
                  <a16:creationId xmlns:a16="http://schemas.microsoft.com/office/drawing/2014/main" id="{F2BB2114-F979-4B2D-B6D9-2A1B40C1CC46}"/>
                </a:ext>
              </a:extLst>
            </p:cNvPr>
            <p:cNvSpPr/>
            <p:nvPr/>
          </p:nvSpPr>
          <p:spPr>
            <a:xfrm>
              <a:off x="2396225" y="1804577"/>
              <a:ext cx="946287" cy="1157598"/>
            </a:xfrm>
            <a:prstGeom prst="roundRect">
              <a:avLst/>
            </a:prstGeom>
            <a:noFill/>
            <a:ln w="12700">
              <a:solidFill>
                <a:srgbClr val="69B8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109" name="ZoneTexte 108">
              <a:extLst>
                <a:ext uri="{FF2B5EF4-FFF2-40B4-BE49-F238E27FC236}">
                  <a16:creationId xmlns:a16="http://schemas.microsoft.com/office/drawing/2014/main" id="{B8AF6D38-7D74-4FD2-99B3-390A31C550D9}"/>
                </a:ext>
              </a:extLst>
            </p:cNvPr>
            <p:cNvSpPr txBox="1"/>
            <p:nvPr/>
          </p:nvSpPr>
          <p:spPr>
            <a:xfrm>
              <a:off x="2399496" y="2192446"/>
              <a:ext cx="931343" cy="738664"/>
            </a:xfrm>
            <a:prstGeom prst="rect">
              <a:avLst/>
            </a:prstGeom>
            <a:noFill/>
          </p:spPr>
          <p:txBody>
            <a:bodyPr wrap="square" rtlCol="0">
              <a:spAutoFit/>
            </a:bodyPr>
            <a:lstStyle/>
            <a:p>
              <a:pPr algn="ctr">
                <a:spcAft>
                  <a:spcPts val="600"/>
                </a:spcAft>
              </a:pPr>
              <a:r>
                <a:rPr lang="en-US" sz="800" b="1" err="1">
                  <a:solidFill>
                    <a:srgbClr val="69B861"/>
                  </a:solidFill>
                  <a:latin typeface="Century Gothic" charset="0"/>
                  <a:ea typeface="Century Gothic" charset="0"/>
                  <a:cs typeface="Century Gothic" charset="0"/>
                </a:rPr>
                <a:t>mDetect</a:t>
              </a:r>
              <a:r>
                <a:rPr lang="en-US" sz="800" b="1">
                  <a:solidFill>
                    <a:srgbClr val="69B861"/>
                  </a:solidFill>
                  <a:latin typeface="Century Gothic" charset="0"/>
                  <a:ea typeface="Century Gothic" charset="0"/>
                  <a:cs typeface="Century Gothic" charset="0"/>
                </a:rPr>
                <a:t>
Identifying website visitors
</a:t>
              </a:r>
              <a:endParaRPr lang="en-GB" sz="800" b="1">
                <a:solidFill>
                  <a:srgbClr val="69B861"/>
                </a:solidFill>
                <a:latin typeface="Century Gothic" charset="0"/>
                <a:ea typeface="Century Gothic" charset="0"/>
                <a:cs typeface="Century Gothic" charset="0"/>
              </a:endParaRPr>
            </a:p>
          </p:txBody>
        </p:sp>
        <p:pic>
          <p:nvPicPr>
            <p:cNvPr id="110" name="Image 109">
              <a:extLst>
                <a:ext uri="{FF2B5EF4-FFF2-40B4-BE49-F238E27FC236}">
                  <a16:creationId xmlns:a16="http://schemas.microsoft.com/office/drawing/2014/main" id="{D918B7B0-3683-4B3F-BDD5-B051A6CAD794}"/>
                </a:ext>
              </a:extLst>
            </p:cNvPr>
            <p:cNvPicPr>
              <a:picLocks noChangeAspect="1"/>
            </p:cNvPicPr>
            <p:nvPr/>
          </p:nvPicPr>
          <p:blipFill>
            <a:blip r:embed="rId29">
              <a:duotone>
                <a:prstClr val="black"/>
                <a:srgbClr val="69B861">
                  <a:tint val="45000"/>
                  <a:satMod val="400000"/>
                </a:srgbClr>
              </a:duotone>
              <a:extLst>
                <a:ext uri="{28A0092B-C50C-407E-A947-70E740481C1C}">
                  <a14:useLocalDpi xmlns:a14="http://schemas.microsoft.com/office/drawing/2010/main" val="0"/>
                </a:ext>
              </a:extLst>
            </a:blip>
            <a:stretch>
              <a:fillRect/>
            </a:stretch>
          </p:blipFill>
          <p:spPr>
            <a:xfrm>
              <a:off x="2740228" y="1872788"/>
              <a:ext cx="249881" cy="257141"/>
            </a:xfrm>
            <a:prstGeom prst="rect">
              <a:avLst/>
            </a:prstGeom>
          </p:spPr>
        </p:pic>
        <p:sp>
          <p:nvSpPr>
            <p:cNvPr id="105" name="Rectangle à coins arrondis 47">
              <a:extLst>
                <a:ext uri="{FF2B5EF4-FFF2-40B4-BE49-F238E27FC236}">
                  <a16:creationId xmlns:a16="http://schemas.microsoft.com/office/drawing/2014/main" id="{9DE1639A-CCB0-49C2-979E-911553446F5C}"/>
                </a:ext>
              </a:extLst>
            </p:cNvPr>
            <p:cNvSpPr/>
            <p:nvPr/>
          </p:nvSpPr>
          <p:spPr>
            <a:xfrm>
              <a:off x="1371061" y="1804576"/>
              <a:ext cx="943856" cy="1133985"/>
            </a:xfrm>
            <a:prstGeom prst="roundRect">
              <a:avLst/>
            </a:prstGeom>
            <a:noFill/>
            <a:ln w="12700">
              <a:solidFill>
                <a:srgbClr val="69B8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pic>
          <p:nvPicPr>
            <p:cNvPr id="106" name="Image 105">
              <a:extLst>
                <a:ext uri="{FF2B5EF4-FFF2-40B4-BE49-F238E27FC236}">
                  <a16:creationId xmlns:a16="http://schemas.microsoft.com/office/drawing/2014/main" id="{F072705C-A836-4DE3-86DD-40EE51ABC26D}"/>
                </a:ext>
              </a:extLst>
            </p:cNvPr>
            <p:cNvPicPr>
              <a:picLocks noChangeAspect="1"/>
            </p:cNvPicPr>
            <p:nvPr/>
          </p:nvPicPr>
          <p:blipFill rotWithShape="1">
            <a:blip r:embed="rId30">
              <a:extLst>
                <a:ext uri="{28A0092B-C50C-407E-A947-70E740481C1C}">
                  <a14:useLocalDpi xmlns:a14="http://schemas.microsoft.com/office/drawing/2010/main" val="0"/>
                </a:ext>
              </a:extLst>
            </a:blip>
            <a:srcRect l="91979" t="83959" r="1387" b="4663"/>
            <a:stretch/>
          </p:blipFill>
          <p:spPr>
            <a:xfrm>
              <a:off x="1665880" y="1854716"/>
              <a:ext cx="377842" cy="336296"/>
            </a:xfrm>
            <a:prstGeom prst="rect">
              <a:avLst/>
            </a:prstGeom>
          </p:spPr>
        </p:pic>
        <p:sp>
          <p:nvSpPr>
            <p:cNvPr id="107" name="ZoneTexte 106">
              <a:extLst>
                <a:ext uri="{FF2B5EF4-FFF2-40B4-BE49-F238E27FC236}">
                  <a16:creationId xmlns:a16="http://schemas.microsoft.com/office/drawing/2014/main" id="{F6C89389-C125-4AC7-94DC-81A467F0D738}"/>
                </a:ext>
              </a:extLst>
            </p:cNvPr>
            <p:cNvSpPr txBox="1"/>
            <p:nvPr/>
          </p:nvSpPr>
          <p:spPr>
            <a:xfrm>
              <a:off x="1282631" y="2192446"/>
              <a:ext cx="1122565" cy="861774"/>
            </a:xfrm>
            <a:prstGeom prst="rect">
              <a:avLst/>
            </a:prstGeom>
            <a:noFill/>
          </p:spPr>
          <p:txBody>
            <a:bodyPr wrap="square" rtlCol="0">
              <a:spAutoFit/>
            </a:bodyPr>
            <a:lstStyle>
              <a:defPPr>
                <a:defRPr lang="fr-FR"/>
              </a:defPPr>
              <a:lvl1pPr algn="ctr">
                <a:defRPr sz="1050" b="1">
                  <a:solidFill>
                    <a:srgbClr val="69B861"/>
                  </a:solidFill>
                  <a:latin typeface="Century Gothic" charset="0"/>
                  <a:ea typeface="Century Gothic" charset="0"/>
                  <a:cs typeface="Century Gothic" charset="0"/>
                </a:defRPr>
              </a:lvl1pPr>
            </a:lstStyle>
            <a:p>
              <a:pPr>
                <a:spcAft>
                  <a:spcPts val="600"/>
                </a:spcAft>
              </a:pPr>
              <a:r>
                <a:rPr lang="en-GB" sz="800" err="1"/>
                <a:t>mBot</a:t>
              </a:r>
              <a:r>
                <a:rPr lang="en-GB" sz="800"/>
                <a:t>
Contact recommendation algorithm
</a:t>
              </a:r>
            </a:p>
          </p:txBody>
        </p:sp>
        <p:sp>
          <p:nvSpPr>
            <p:cNvPr id="82" name="Rectangle à coins arrondis 52">
              <a:extLst>
                <a:ext uri="{FF2B5EF4-FFF2-40B4-BE49-F238E27FC236}">
                  <a16:creationId xmlns:a16="http://schemas.microsoft.com/office/drawing/2014/main" id="{1279FFBC-B559-40B6-B515-327546E258DE}"/>
                </a:ext>
              </a:extLst>
            </p:cNvPr>
            <p:cNvSpPr/>
            <p:nvPr/>
          </p:nvSpPr>
          <p:spPr>
            <a:xfrm>
              <a:off x="4647857" y="1804577"/>
              <a:ext cx="945198" cy="1172068"/>
            </a:xfrm>
            <a:prstGeom prst="roundRect">
              <a:avLst/>
            </a:prstGeom>
            <a:noFill/>
            <a:ln w="12700">
              <a:solidFill>
                <a:srgbClr val="97A6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83" name="ZoneTexte 82">
              <a:extLst>
                <a:ext uri="{FF2B5EF4-FFF2-40B4-BE49-F238E27FC236}">
                  <a16:creationId xmlns:a16="http://schemas.microsoft.com/office/drawing/2014/main" id="{AFD5ECC1-60DE-4134-A9CB-C055CA979799}"/>
                </a:ext>
              </a:extLst>
            </p:cNvPr>
            <p:cNvSpPr txBox="1"/>
            <p:nvPr/>
          </p:nvSpPr>
          <p:spPr>
            <a:xfrm>
              <a:off x="4652217" y="2192446"/>
              <a:ext cx="936476" cy="538609"/>
            </a:xfrm>
            <a:prstGeom prst="rect">
              <a:avLst/>
            </a:prstGeom>
            <a:noFill/>
          </p:spPr>
          <p:txBody>
            <a:bodyPr wrap="square" rtlCol="0">
              <a:spAutoFit/>
            </a:bodyPr>
            <a:lstStyle/>
            <a:p>
              <a:pPr algn="ctr">
                <a:spcAft>
                  <a:spcPts val="600"/>
                </a:spcAft>
              </a:pPr>
              <a:r>
                <a:rPr lang="en-GB" sz="800" b="1" err="1">
                  <a:solidFill>
                    <a:srgbClr val="97A6D3"/>
                  </a:solidFill>
                  <a:latin typeface="Century Gothic" charset="0"/>
                  <a:ea typeface="Century Gothic" charset="0"/>
                  <a:cs typeface="Century Gothic" charset="0"/>
                </a:rPr>
                <a:t>mCampaign</a:t>
              </a:r>
              <a:endParaRPr lang="en-GB" sz="800" b="1">
                <a:solidFill>
                  <a:srgbClr val="97A6D3"/>
                </a:solidFill>
                <a:latin typeface="Century Gothic" charset="0"/>
                <a:ea typeface="Century Gothic" charset="0"/>
                <a:cs typeface="Century Gothic" charset="0"/>
              </a:endParaRPr>
            </a:p>
            <a:p>
              <a:pPr algn="ctr">
                <a:spcAft>
                  <a:spcPts val="600"/>
                </a:spcAft>
              </a:pPr>
              <a:r>
                <a:rPr lang="en-GB" sz="800" b="1">
                  <a:solidFill>
                    <a:srgbClr val="97A6D3"/>
                  </a:solidFill>
                  <a:latin typeface="Century Gothic" charset="0"/>
                  <a:ea typeface="Century Gothic" charset="0"/>
                  <a:cs typeface="Century Gothic" charset="0"/>
                </a:rPr>
                <a:t>Emailing campaigns</a:t>
              </a:r>
            </a:p>
          </p:txBody>
        </p:sp>
        <p:pic>
          <p:nvPicPr>
            <p:cNvPr id="84" name="Image 83">
              <a:extLst>
                <a:ext uri="{FF2B5EF4-FFF2-40B4-BE49-F238E27FC236}">
                  <a16:creationId xmlns:a16="http://schemas.microsoft.com/office/drawing/2014/main" id="{8265B643-0CB6-458A-B5EC-6B22D61C48BB}"/>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4959368" y="1845392"/>
              <a:ext cx="320421" cy="335413"/>
            </a:xfrm>
            <a:prstGeom prst="rect">
              <a:avLst/>
            </a:prstGeom>
          </p:spPr>
        </p:pic>
        <p:sp>
          <p:nvSpPr>
            <p:cNvPr id="79" name="Rectangle à coins arrondis 51">
              <a:extLst>
                <a:ext uri="{FF2B5EF4-FFF2-40B4-BE49-F238E27FC236}">
                  <a16:creationId xmlns:a16="http://schemas.microsoft.com/office/drawing/2014/main" id="{B2482321-9596-4493-A47C-9AC0F5E9949C}"/>
                </a:ext>
              </a:extLst>
            </p:cNvPr>
            <p:cNvSpPr/>
            <p:nvPr/>
          </p:nvSpPr>
          <p:spPr>
            <a:xfrm>
              <a:off x="3588546" y="1804577"/>
              <a:ext cx="948130" cy="1167840"/>
            </a:xfrm>
            <a:prstGeom prst="roundRect">
              <a:avLst/>
            </a:prstGeom>
            <a:noFill/>
            <a:ln w="12700">
              <a:solidFill>
                <a:srgbClr val="97A6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80" name="ZoneTexte 79">
              <a:extLst>
                <a:ext uri="{FF2B5EF4-FFF2-40B4-BE49-F238E27FC236}">
                  <a16:creationId xmlns:a16="http://schemas.microsoft.com/office/drawing/2014/main" id="{EFEC8738-2623-4984-A7BD-91F0EA34CA02}"/>
                </a:ext>
              </a:extLst>
            </p:cNvPr>
            <p:cNvSpPr txBox="1"/>
            <p:nvPr/>
          </p:nvSpPr>
          <p:spPr>
            <a:xfrm>
              <a:off x="3633945" y="2192446"/>
              <a:ext cx="908275" cy="738664"/>
            </a:xfrm>
            <a:prstGeom prst="rect">
              <a:avLst/>
            </a:prstGeom>
            <a:noFill/>
          </p:spPr>
          <p:txBody>
            <a:bodyPr wrap="square" rtlCol="0">
              <a:spAutoFit/>
            </a:bodyPr>
            <a:lstStyle/>
            <a:p>
              <a:pPr algn="ctr">
                <a:spcAft>
                  <a:spcPts val="600"/>
                </a:spcAft>
              </a:pPr>
              <a:r>
                <a:rPr lang="en-GB" sz="800" b="1" err="1">
                  <a:solidFill>
                    <a:srgbClr val="97A6D3"/>
                  </a:solidFill>
                  <a:latin typeface="Century Gothic" charset="0"/>
                  <a:ea typeface="Century Gothic" charset="0"/>
                  <a:cs typeface="Century Gothic" charset="0"/>
                </a:rPr>
                <a:t>mAds</a:t>
              </a:r>
              <a:r>
                <a:rPr lang="en-GB" sz="800" b="1">
                  <a:solidFill>
                    <a:srgbClr val="97A6D3"/>
                  </a:solidFill>
                  <a:latin typeface="Century Gothic" charset="0"/>
                  <a:ea typeface="Century Gothic" charset="0"/>
                  <a:cs typeface="Century Gothic" charset="0"/>
                </a:rPr>
                <a:t>
Programmatic campaigns
</a:t>
              </a:r>
            </a:p>
          </p:txBody>
        </p:sp>
        <p:pic>
          <p:nvPicPr>
            <p:cNvPr id="81" name="Image 80">
              <a:extLst>
                <a:ext uri="{FF2B5EF4-FFF2-40B4-BE49-F238E27FC236}">
                  <a16:creationId xmlns:a16="http://schemas.microsoft.com/office/drawing/2014/main" id="{63613394-12B0-43D1-A8DF-11D48830CFF7}"/>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3923957" y="1861163"/>
              <a:ext cx="297263" cy="297264"/>
            </a:xfrm>
            <a:prstGeom prst="rect">
              <a:avLst/>
            </a:prstGeom>
          </p:spPr>
        </p:pic>
        <p:sp>
          <p:nvSpPr>
            <p:cNvPr id="72" name="Rectangle à coins arrondis 70">
              <a:extLst>
                <a:ext uri="{FF2B5EF4-FFF2-40B4-BE49-F238E27FC236}">
                  <a16:creationId xmlns:a16="http://schemas.microsoft.com/office/drawing/2014/main" id="{DFBE39D5-0B5F-470D-B3B7-940FAF0A83E4}"/>
                </a:ext>
              </a:extLst>
            </p:cNvPr>
            <p:cNvSpPr/>
            <p:nvPr/>
          </p:nvSpPr>
          <p:spPr>
            <a:xfrm>
              <a:off x="5703052" y="1804576"/>
              <a:ext cx="942736" cy="1161571"/>
            </a:xfrm>
            <a:prstGeom prst="roundRect">
              <a:avLst/>
            </a:prstGeom>
            <a:noFill/>
            <a:ln w="12700">
              <a:solidFill>
                <a:srgbClr val="97A6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73" name="ZoneTexte 72">
              <a:extLst>
                <a:ext uri="{FF2B5EF4-FFF2-40B4-BE49-F238E27FC236}">
                  <a16:creationId xmlns:a16="http://schemas.microsoft.com/office/drawing/2014/main" id="{E45C9D33-828A-4DC2-90FB-72AE60D2065A}"/>
                </a:ext>
              </a:extLst>
            </p:cNvPr>
            <p:cNvSpPr txBox="1"/>
            <p:nvPr/>
          </p:nvSpPr>
          <p:spPr>
            <a:xfrm>
              <a:off x="5733615" y="2192446"/>
              <a:ext cx="912173" cy="738664"/>
            </a:xfrm>
            <a:prstGeom prst="rect">
              <a:avLst/>
            </a:prstGeom>
            <a:noFill/>
          </p:spPr>
          <p:txBody>
            <a:bodyPr wrap="square" rtlCol="0">
              <a:spAutoFit/>
            </a:bodyPr>
            <a:lstStyle/>
            <a:p>
              <a:pPr algn="ctr">
                <a:spcAft>
                  <a:spcPts val="600"/>
                </a:spcAft>
              </a:pPr>
              <a:r>
                <a:rPr lang="en-GB" sz="800" b="1" err="1">
                  <a:solidFill>
                    <a:srgbClr val="97A6D3"/>
                  </a:solidFill>
                  <a:latin typeface="Century Gothic" charset="0"/>
                  <a:ea typeface="Century Gothic" charset="0"/>
                  <a:cs typeface="Century Gothic" charset="0"/>
                </a:rPr>
                <a:t>mSocial</a:t>
              </a:r>
              <a:r>
                <a:rPr lang="en-GB" sz="800" b="1">
                  <a:solidFill>
                    <a:srgbClr val="97A6D3"/>
                  </a:solidFill>
                  <a:latin typeface="Century Gothic" charset="0"/>
                  <a:ea typeface="Century Gothic" charset="0"/>
                  <a:cs typeface="Century Gothic" charset="0"/>
                </a:rPr>
                <a:t>
Social media campaigns
</a:t>
              </a:r>
            </a:p>
          </p:txBody>
        </p:sp>
        <p:pic>
          <p:nvPicPr>
            <p:cNvPr id="74" name="Image 73">
              <a:extLst>
                <a:ext uri="{FF2B5EF4-FFF2-40B4-BE49-F238E27FC236}">
                  <a16:creationId xmlns:a16="http://schemas.microsoft.com/office/drawing/2014/main" id="{1906D50D-B4E6-4005-B2B8-E5E337D17F10}"/>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6019134" y="1862475"/>
              <a:ext cx="310572" cy="310572"/>
            </a:xfrm>
            <a:prstGeom prst="rect">
              <a:avLst/>
            </a:prstGeom>
          </p:spPr>
        </p:pic>
        <p:grpSp>
          <p:nvGrpSpPr>
            <p:cNvPr id="69" name="Groupe 68">
              <a:extLst>
                <a:ext uri="{FF2B5EF4-FFF2-40B4-BE49-F238E27FC236}">
                  <a16:creationId xmlns:a16="http://schemas.microsoft.com/office/drawing/2014/main" id="{1CE0E7D6-ADE6-4687-BD0B-5806B40F47B5}"/>
                </a:ext>
              </a:extLst>
            </p:cNvPr>
            <p:cNvGrpSpPr/>
            <p:nvPr/>
          </p:nvGrpSpPr>
          <p:grpSpPr>
            <a:xfrm>
              <a:off x="1541619" y="4237628"/>
              <a:ext cx="629498" cy="629498"/>
              <a:chOff x="1365868" y="3675878"/>
              <a:chExt cx="1372547" cy="1372547"/>
            </a:xfrm>
          </p:grpSpPr>
          <p:pic>
            <p:nvPicPr>
              <p:cNvPr id="70" name="Image 69">
                <a:extLst>
                  <a:ext uri="{FF2B5EF4-FFF2-40B4-BE49-F238E27FC236}">
                    <a16:creationId xmlns:a16="http://schemas.microsoft.com/office/drawing/2014/main" id="{05D8CB99-75C2-4A87-AD3D-F55231B92274}"/>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1365868" y="3675878"/>
                <a:ext cx="1372547" cy="1372547"/>
              </a:xfrm>
              <a:prstGeom prst="rect">
                <a:avLst/>
              </a:prstGeom>
            </p:spPr>
          </p:pic>
          <p:sp>
            <p:nvSpPr>
              <p:cNvPr id="71" name="ZoneTexte 70">
                <a:extLst>
                  <a:ext uri="{FF2B5EF4-FFF2-40B4-BE49-F238E27FC236}">
                    <a16:creationId xmlns:a16="http://schemas.microsoft.com/office/drawing/2014/main" id="{25E2CEBE-A570-47D7-A126-44A9A31586F3}"/>
                  </a:ext>
                </a:extLst>
              </p:cNvPr>
              <p:cNvSpPr txBox="1"/>
              <p:nvPr/>
            </p:nvSpPr>
            <p:spPr>
              <a:xfrm>
                <a:off x="1499251" y="4024247"/>
                <a:ext cx="1107218" cy="503302"/>
              </a:xfrm>
              <a:prstGeom prst="rect">
                <a:avLst/>
              </a:prstGeom>
              <a:noFill/>
            </p:spPr>
            <p:txBody>
              <a:bodyPr wrap="square" rtlCol="0">
                <a:spAutoFit/>
              </a:bodyPr>
              <a:lstStyle/>
              <a:p>
                <a:pPr algn="ctr"/>
                <a:r>
                  <a:rPr lang="en-GB" sz="900" b="1">
                    <a:solidFill>
                      <a:srgbClr val="F7786B"/>
                    </a:solidFill>
                    <a:latin typeface="Century Gothic" charset="0"/>
                    <a:ea typeface="Century Gothic" charset="0"/>
                    <a:cs typeface="Century Gothic" charset="0"/>
                  </a:rPr>
                  <a:t>mAPI</a:t>
                </a:r>
                <a:endParaRPr lang="en-GB" sz="900">
                  <a:solidFill>
                    <a:srgbClr val="F7786B"/>
                  </a:solidFill>
                  <a:latin typeface="Century Gothic" charset="0"/>
                  <a:ea typeface="Century Gothic" charset="0"/>
                  <a:cs typeface="Century Gothic" charset="0"/>
                </a:endParaRPr>
              </a:p>
            </p:txBody>
          </p:sp>
        </p:grpSp>
        <p:pic>
          <p:nvPicPr>
            <p:cNvPr id="42" name="Image 41">
              <a:extLst>
                <a:ext uri="{FF2B5EF4-FFF2-40B4-BE49-F238E27FC236}">
                  <a16:creationId xmlns:a16="http://schemas.microsoft.com/office/drawing/2014/main" id="{6A54DC70-7073-437C-A595-D732343E9E4E}"/>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3405450" y="3825283"/>
              <a:ext cx="208169" cy="208169"/>
            </a:xfrm>
            <a:prstGeom prst="rect">
              <a:avLst/>
            </a:prstGeom>
          </p:spPr>
        </p:pic>
        <p:sp>
          <p:nvSpPr>
            <p:cNvPr id="43" name="Rectangle 42">
              <a:extLst>
                <a:ext uri="{FF2B5EF4-FFF2-40B4-BE49-F238E27FC236}">
                  <a16:creationId xmlns:a16="http://schemas.microsoft.com/office/drawing/2014/main" id="{652294AB-D697-4906-8521-739CCAF30901}"/>
                </a:ext>
              </a:extLst>
            </p:cNvPr>
            <p:cNvSpPr/>
            <p:nvPr/>
          </p:nvSpPr>
          <p:spPr>
            <a:xfrm>
              <a:off x="2350298" y="3606457"/>
              <a:ext cx="2323068" cy="230832"/>
            </a:xfrm>
            <a:prstGeom prst="rect">
              <a:avLst/>
            </a:prstGeom>
          </p:spPr>
          <p:txBody>
            <a:bodyPr wrap="square">
              <a:spAutoFit/>
            </a:bodyPr>
            <a:lstStyle/>
            <a:p>
              <a:pPr lvl="0" algn="ctr"/>
              <a:r>
                <a:rPr lang="en-GB" sz="900">
                  <a:solidFill>
                    <a:srgbClr val="003E4E"/>
                  </a:solidFill>
                  <a:latin typeface="Century Gothic" charset="0"/>
                  <a:ea typeface="Century Gothic" charset="0"/>
                  <a:cs typeface="Century Gothic" charset="0"/>
                </a:rPr>
                <a:t>Scoring algorythm</a:t>
              </a:r>
            </a:p>
          </p:txBody>
        </p:sp>
        <p:sp>
          <p:nvSpPr>
            <p:cNvPr id="44" name="Rectangle 43">
              <a:extLst>
                <a:ext uri="{FF2B5EF4-FFF2-40B4-BE49-F238E27FC236}">
                  <a16:creationId xmlns:a16="http://schemas.microsoft.com/office/drawing/2014/main" id="{6D744996-1E7B-4864-992C-691926A3D1C8}"/>
                </a:ext>
              </a:extLst>
            </p:cNvPr>
            <p:cNvSpPr/>
            <p:nvPr/>
          </p:nvSpPr>
          <p:spPr>
            <a:xfrm>
              <a:off x="2917368" y="4107973"/>
              <a:ext cx="1229907" cy="461665"/>
            </a:xfrm>
            <a:prstGeom prst="rect">
              <a:avLst/>
            </a:prstGeom>
          </p:spPr>
          <p:txBody>
            <a:bodyPr wrap="square">
              <a:spAutoFit/>
            </a:bodyPr>
            <a:lstStyle/>
            <a:p>
              <a:pPr lvl="0" algn="ctr"/>
              <a:r>
                <a:rPr lang="en-GB" sz="800" b="1">
                  <a:solidFill>
                    <a:srgbClr val="003E4E"/>
                  </a:solidFill>
                  <a:latin typeface="Century Gothic" charset="0"/>
                  <a:ea typeface="Century Gothic" charset="0"/>
                  <a:cs typeface="Century Gothic" charset="0"/>
                </a:rPr>
                <a:t>mData to lead</a:t>
              </a:r>
              <a:br>
                <a:rPr lang="en-GB" sz="800">
                  <a:solidFill>
                    <a:srgbClr val="003E4E"/>
                  </a:solidFill>
                  <a:latin typeface="Century Gothic" charset="0"/>
                  <a:ea typeface="Century Gothic" charset="0"/>
                  <a:cs typeface="Century Gothic" charset="0"/>
                </a:rPr>
              </a:br>
              <a:r>
                <a:rPr lang="en-GB" sz="800">
                  <a:solidFill>
                    <a:srgbClr val="003E4E"/>
                  </a:solidFill>
                  <a:latin typeface="Century Gothic" charset="0"/>
                  <a:ea typeface="Century Gothic" charset="0"/>
                  <a:cs typeface="Century Gothic" charset="0"/>
                </a:rPr>
                <a:t>Appetence score of the leads</a:t>
              </a:r>
            </a:p>
          </p:txBody>
        </p:sp>
        <p:sp>
          <p:nvSpPr>
            <p:cNvPr id="45" name="Chevron 101">
              <a:extLst>
                <a:ext uri="{FF2B5EF4-FFF2-40B4-BE49-F238E27FC236}">
                  <a16:creationId xmlns:a16="http://schemas.microsoft.com/office/drawing/2014/main" id="{EF41D204-1EB6-495C-A94D-DD93BE60B903}"/>
                </a:ext>
              </a:extLst>
            </p:cNvPr>
            <p:cNvSpPr/>
            <p:nvPr/>
          </p:nvSpPr>
          <p:spPr>
            <a:xfrm rot="5400000">
              <a:off x="3414740" y="3920059"/>
              <a:ext cx="186003" cy="323754"/>
            </a:xfrm>
            <a:prstGeom prst="chevron">
              <a:avLst/>
            </a:prstGeom>
            <a:solidFill>
              <a:srgbClr val="003E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solidFill>
                  <a:schemeClr val="tx1"/>
                </a:solidFill>
              </a:endParaRPr>
            </a:p>
          </p:txBody>
        </p:sp>
        <p:sp>
          <p:nvSpPr>
            <p:cNvPr id="46" name="Chevron 102">
              <a:extLst>
                <a:ext uri="{FF2B5EF4-FFF2-40B4-BE49-F238E27FC236}">
                  <a16:creationId xmlns:a16="http://schemas.microsoft.com/office/drawing/2014/main" id="{3DF3BAEF-8812-486A-93CF-09CA09293C09}"/>
                </a:ext>
              </a:extLst>
            </p:cNvPr>
            <p:cNvSpPr/>
            <p:nvPr/>
          </p:nvSpPr>
          <p:spPr>
            <a:xfrm rot="5400000">
              <a:off x="3414740" y="4550510"/>
              <a:ext cx="186003" cy="323754"/>
            </a:xfrm>
            <a:prstGeom prst="chevron">
              <a:avLst/>
            </a:prstGeom>
            <a:solidFill>
              <a:srgbClr val="003E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solidFill>
                  <a:schemeClr val="tx1"/>
                </a:solidFill>
              </a:endParaRPr>
            </a:p>
          </p:txBody>
        </p:sp>
      </p:grpSp>
      <p:sp>
        <p:nvSpPr>
          <p:cNvPr id="118" name="TextBox 30">
            <a:extLst>
              <a:ext uri="{FF2B5EF4-FFF2-40B4-BE49-F238E27FC236}">
                <a16:creationId xmlns:a16="http://schemas.microsoft.com/office/drawing/2014/main" id="{EE87FEAC-3C51-45D0-81EF-F4D4724BD43E}"/>
              </a:ext>
            </a:extLst>
          </p:cNvPr>
          <p:cNvSpPr txBox="1"/>
          <p:nvPr/>
        </p:nvSpPr>
        <p:spPr>
          <a:xfrm>
            <a:off x="261656" y="1332556"/>
            <a:ext cx="4622878" cy="246221"/>
          </a:xfrm>
          <a:prstGeom prst="rect">
            <a:avLst/>
          </a:prstGeom>
          <a:noFill/>
        </p:spPr>
        <p:txBody>
          <a:bodyPr wrap="square" lIns="0" rIns="0" rtlCol="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fr-FR" sz="1000" b="1" i="1" u="none" strike="noStrike" kern="1200" cap="none" spc="0" normalizeH="0" baseline="0" noProof="0">
                <a:ln>
                  <a:noFill/>
                </a:ln>
                <a:effectLst/>
                <a:uLnTx/>
                <a:uFillTx/>
                <a:latin typeface="Trebuchet MS" panose="020B0603020202020204" pitchFamily="34" charset="0"/>
                <a:ea typeface="+mn-ea"/>
                <a:cs typeface="Arial" pitchFamily="34" charset="0"/>
              </a:rPr>
              <a:t>manageo.com: a global platform of « </a:t>
            </a:r>
            <a:r>
              <a:rPr kumimoji="0" lang="fr-FR" sz="1000" b="1" i="1" u="none" strike="noStrike" kern="1200" cap="none" spc="0" normalizeH="0" baseline="0" noProof="0" err="1">
                <a:ln>
                  <a:noFill/>
                </a:ln>
                <a:effectLst/>
                <a:uLnTx/>
                <a:uFillTx/>
                <a:latin typeface="Trebuchet MS" panose="020B0603020202020204" pitchFamily="34" charset="0"/>
                <a:ea typeface="+mn-ea"/>
                <a:cs typeface="Arial" pitchFamily="34" charset="0"/>
              </a:rPr>
              <a:t>DatActivation</a:t>
            </a:r>
            <a:r>
              <a:rPr kumimoji="0" lang="fr-FR" sz="1000" b="1" i="1" u="none" strike="noStrike" kern="1200" cap="none" spc="0" normalizeH="0" baseline="0" noProof="0">
                <a:ln>
                  <a:noFill/>
                </a:ln>
                <a:effectLst/>
                <a:uLnTx/>
                <a:uFillTx/>
                <a:latin typeface="Trebuchet MS" panose="020B0603020202020204" pitchFamily="34" charset="0"/>
                <a:ea typeface="+mn-ea"/>
                <a:cs typeface="Arial" pitchFamily="34" charset="0"/>
              </a:rPr>
              <a:t> »</a:t>
            </a:r>
          </a:p>
        </p:txBody>
      </p:sp>
    </p:spTree>
    <p:extLst>
      <p:ext uri="{BB962C8B-B14F-4D97-AF65-F5344CB8AC3E}">
        <p14:creationId xmlns:p14="http://schemas.microsoft.com/office/powerpoint/2010/main" val="932497199"/>
      </p:ext>
    </p:extLst>
  </p:cSld>
  <p:clrMapOvr>
    <a:masterClrMapping/>
  </p:clrMapOvr>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A44C8C8-2F36-450B-A067-045DF42C7170}"/>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59AD0D4C-52B6-4887-95DD-FD6DE794558F}"/>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F0A06676-82C0-4F43-87A1-A34EA0E8CFAF}"/>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347663" marR="338138" indent="-228600">
              <a:spcBef>
                <a:spcPts val="600"/>
              </a:spcBef>
              <a:spcAft>
                <a:spcPts val="0"/>
              </a:spcAft>
              <a:buFont typeface="+mj-lt"/>
              <a:buAutoNum type="arabicPeriod"/>
            </a:pPr>
            <a:r>
              <a:rPr lang="en-GB" sz="1200">
                <a:latin typeface="Trebuchet MS" panose="020B0603020202020204" pitchFamily="34" charset="0"/>
              </a:rPr>
              <a:t>Key strategic levers supporting </a:t>
            </a:r>
            <a:r>
              <a:rPr lang="en-GB" sz="1200" err="1">
                <a:latin typeface="Trebuchet MS" panose="020B0603020202020204" pitchFamily="34" charset="0"/>
              </a:rPr>
              <a:t>Altares</a:t>
            </a:r>
            <a:r>
              <a:rPr lang="en-GB" sz="1200">
                <a:latin typeface="Trebuchet MS" panose="020B0603020202020204" pitchFamily="34" charset="0"/>
              </a:rPr>
              <a:t>’ future growth </a:t>
            </a:r>
          </a:p>
          <a:p>
            <a:pPr marL="347663" marR="338138" indent="-228600">
              <a:spcBef>
                <a:spcPts val="600"/>
              </a:spcBef>
              <a:spcAft>
                <a:spcPts val="0"/>
              </a:spcAft>
              <a:buFont typeface="+mj-lt"/>
              <a:buAutoNum type="arabicPeriod"/>
            </a:pPr>
            <a:r>
              <a:rPr lang="en-GB" sz="1200">
                <a:solidFill>
                  <a:schemeClr val="tx2"/>
                </a:solidFill>
                <a:latin typeface="Trebuchet MS" panose="020B0603020202020204" pitchFamily="34" charset="0"/>
              </a:rPr>
              <a:t>Business plan assessment</a:t>
            </a:r>
          </a:p>
          <a:p>
            <a:pPr marL="804863" marR="338138" lvl="1" indent="-228600">
              <a:spcBef>
                <a:spcPts val="600"/>
              </a:spcBef>
              <a:spcAft>
                <a:spcPts val="0"/>
              </a:spcAft>
              <a:buFont typeface="+mj-lt"/>
              <a:buAutoNum type="arabicPeriod"/>
            </a:pPr>
            <a:r>
              <a:rPr lang="en-GB" sz="1200">
                <a:latin typeface="Trebuchet MS" panose="020B0603020202020204" pitchFamily="34" charset="0"/>
              </a:rPr>
              <a:t>Overall BP presentation</a:t>
            </a:r>
          </a:p>
          <a:p>
            <a:pPr marL="804863" marR="338138" lvl="1" indent="-228600">
              <a:spcBef>
                <a:spcPts val="600"/>
              </a:spcBef>
              <a:spcAft>
                <a:spcPts val="0"/>
              </a:spcAft>
              <a:buFont typeface="+mj-lt"/>
              <a:buAutoNum type="arabicPeriod"/>
            </a:pPr>
            <a:r>
              <a:rPr lang="en-GB" sz="1200">
                <a:solidFill>
                  <a:schemeClr val="tx2"/>
                </a:solidFill>
                <a:latin typeface="Trebuchet MS" panose="020B0603020202020204" pitchFamily="34" charset="0"/>
              </a:rPr>
              <a:t>Detailed growth assessment per activity</a:t>
            </a:r>
          </a:p>
          <a:p>
            <a:pPr marL="1319213" marR="338138" lvl="2" indent="-285750">
              <a:spcBef>
                <a:spcPts val="600"/>
              </a:spcBef>
              <a:spcAft>
                <a:spcPts val="0"/>
              </a:spcAft>
              <a:buFont typeface="+mj-lt"/>
              <a:buAutoNum type="alphaUcPeriod"/>
            </a:pPr>
            <a:r>
              <a:rPr lang="en-GB" sz="1200">
                <a:latin typeface="Trebuchet MS" panose="020B0603020202020204" pitchFamily="34" charset="0"/>
              </a:rPr>
              <a:t>Credit risk</a:t>
            </a:r>
          </a:p>
          <a:p>
            <a:pPr marL="1319213" marR="338138" lvl="2" indent="-285750">
              <a:spcBef>
                <a:spcPts val="600"/>
              </a:spcBef>
              <a:spcAft>
                <a:spcPts val="0"/>
              </a:spcAft>
              <a:buFont typeface="+mj-lt"/>
              <a:buAutoNum type="alphaUcPeriod"/>
            </a:pPr>
            <a:r>
              <a:rPr lang="en-GB" sz="1200">
                <a:latin typeface="Trebuchet MS" panose="020B0603020202020204" pitchFamily="34" charset="0"/>
              </a:rPr>
              <a:t>Compliance</a:t>
            </a:r>
          </a:p>
          <a:p>
            <a:pPr marL="1319213" marR="338138" lvl="2" indent="-285750">
              <a:spcBef>
                <a:spcPts val="600"/>
              </a:spcBef>
              <a:spcAft>
                <a:spcPts val="0"/>
              </a:spcAft>
              <a:buFont typeface="+mj-lt"/>
              <a:buAutoNum type="alphaUcPeriod"/>
            </a:pPr>
            <a:r>
              <a:rPr lang="en-GB" sz="1200">
                <a:latin typeface="Trebuchet MS" panose="020B0603020202020204" pitchFamily="34" charset="0"/>
              </a:rPr>
              <a:t>B2B Marketing</a:t>
            </a:r>
          </a:p>
          <a:p>
            <a:pPr marL="1319213" marR="338138" lvl="2" indent="-285750">
              <a:spcBef>
                <a:spcPts val="600"/>
              </a:spcBef>
              <a:spcAft>
                <a:spcPts val="0"/>
              </a:spcAft>
              <a:buFont typeface="+mj-lt"/>
              <a:buAutoNum type="alphaUcPeriod"/>
            </a:pPr>
            <a:r>
              <a:rPr lang="en-GB" sz="1200">
                <a:solidFill>
                  <a:schemeClr val="tx2"/>
                </a:solidFill>
                <a:latin typeface="Trebuchet MS" panose="020B0603020202020204" pitchFamily="34" charset="0"/>
              </a:rPr>
              <a:t>Other activities</a:t>
            </a:r>
          </a:p>
          <a:p>
            <a:pPr marL="804863" marR="338138" lvl="1" indent="-228600">
              <a:spcBef>
                <a:spcPts val="600"/>
              </a:spcBef>
              <a:spcAft>
                <a:spcPts val="0"/>
              </a:spcAft>
              <a:buFont typeface="+mj-lt"/>
              <a:buAutoNum type="arabicPeriod"/>
            </a:pPr>
            <a:r>
              <a:rPr lang="en-GB" sz="1200">
                <a:latin typeface="Trebuchet MS" panose="020B0603020202020204" pitchFamily="34" charset="0"/>
              </a:rPr>
              <a:t>Synthesis of BP assessment </a:t>
            </a:r>
          </a:p>
          <a:p>
            <a:pPr marL="127000">
              <a:spcBef>
                <a:spcPts val="1200"/>
              </a:spcBef>
            </a:pPr>
            <a:endParaRPr lang="en-GB" sz="1200">
              <a:latin typeface="Trebuchet MS" panose="020B0603020202020204" pitchFamily="34" charset="0"/>
            </a:endParaRPr>
          </a:p>
        </p:txBody>
      </p:sp>
      <p:sp>
        <p:nvSpPr>
          <p:cNvPr id="16" name="Section">
            <a:extLst>
              <a:ext uri="{FF2B5EF4-FFF2-40B4-BE49-F238E27FC236}">
                <a16:creationId xmlns:a16="http://schemas.microsoft.com/office/drawing/2014/main" id="{D2A8C65D-42ED-44C1-BDB8-ADE75A4ED3CA}"/>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6</a:t>
            </a:r>
          </a:p>
        </p:txBody>
      </p:sp>
      <p:sp>
        <p:nvSpPr>
          <p:cNvPr id="71" name="Chevron">
            <a:extLst>
              <a:ext uri="{FF2B5EF4-FFF2-40B4-BE49-F238E27FC236}">
                <a16:creationId xmlns:a16="http://schemas.microsoft.com/office/drawing/2014/main" id="{2A230948-1EC9-463F-98FF-E0E458B9B00C}"/>
              </a:ext>
            </a:extLst>
          </p:cNvPr>
          <p:cNvSpPr/>
          <p:nvPr/>
        </p:nvSpPr>
        <p:spPr bwMode="auto">
          <a:xfrm>
            <a:off x="1418399" y="3189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3" name="Isosceles Triangle">
            <a:extLst>
              <a:ext uri="{FF2B5EF4-FFF2-40B4-BE49-F238E27FC236}">
                <a16:creationId xmlns:a16="http://schemas.microsoft.com/office/drawing/2014/main" id="{2F6A703F-B3C1-47A0-9B67-EA8C250C6378}"/>
              </a:ext>
            </a:extLst>
          </p:cNvPr>
          <p:cNvSpPr/>
          <p:nvPr/>
        </p:nvSpPr>
        <p:spPr bwMode="auto">
          <a:xfrm rot="5400000">
            <a:off x="5731200" y="3295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5" name="Arrow: Pentagon">
            <a:extLst>
              <a:ext uri="{FF2B5EF4-FFF2-40B4-BE49-F238E27FC236}">
                <a16:creationId xmlns:a16="http://schemas.microsoft.com/office/drawing/2014/main" id="{687182C5-600B-4842-941B-D7AA2EC602E8}"/>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77" name="Oval">
            <a:extLst>
              <a:ext uri="{FF2B5EF4-FFF2-40B4-BE49-F238E27FC236}">
                <a16:creationId xmlns:a16="http://schemas.microsoft.com/office/drawing/2014/main" id="{F8B0EA57-1766-4B3D-B7F4-E5BBD4A165F7}"/>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79" name="Arrow: Pentagon">
            <a:extLst>
              <a:ext uri="{FF2B5EF4-FFF2-40B4-BE49-F238E27FC236}">
                <a16:creationId xmlns:a16="http://schemas.microsoft.com/office/drawing/2014/main" id="{10B8981B-19E4-4385-981D-25A5007598AA}"/>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81" name="Oval">
            <a:extLst>
              <a:ext uri="{FF2B5EF4-FFF2-40B4-BE49-F238E27FC236}">
                <a16:creationId xmlns:a16="http://schemas.microsoft.com/office/drawing/2014/main" id="{C413A741-D678-4385-937F-D33EDF42C6AB}"/>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83" name="Arrow: Pentagon">
            <a:extLst>
              <a:ext uri="{FF2B5EF4-FFF2-40B4-BE49-F238E27FC236}">
                <a16:creationId xmlns:a16="http://schemas.microsoft.com/office/drawing/2014/main" id="{64E73FA2-B329-4D2D-8D0E-15D2319094F9}"/>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85" name="Arrow: Pentagon">
            <a:extLst>
              <a:ext uri="{FF2B5EF4-FFF2-40B4-BE49-F238E27FC236}">
                <a16:creationId xmlns:a16="http://schemas.microsoft.com/office/drawing/2014/main" id="{985BA656-5B44-4E71-9925-25139C2373BD}"/>
              </a:ext>
            </a:extLst>
          </p:cNvPr>
          <p:cNvSpPr/>
          <p:nvPr/>
        </p:nvSpPr>
        <p:spPr bwMode="auto">
          <a:xfrm>
            <a:off x="1641598" y="2685599"/>
            <a:ext cx="3960001"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87" name="Oval">
            <a:extLst>
              <a:ext uri="{FF2B5EF4-FFF2-40B4-BE49-F238E27FC236}">
                <a16:creationId xmlns:a16="http://schemas.microsoft.com/office/drawing/2014/main" id="{6BF7EF7B-31D9-4755-B185-D85D836C29A6}"/>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89" name="Arrow: Pentagon">
            <a:extLst>
              <a:ext uri="{FF2B5EF4-FFF2-40B4-BE49-F238E27FC236}">
                <a16:creationId xmlns:a16="http://schemas.microsoft.com/office/drawing/2014/main" id="{3BFE52A2-BA74-4709-B70F-79A099726685}"/>
              </a:ext>
            </a:extLst>
          </p:cNvPr>
          <p:cNvSpPr/>
          <p:nvPr/>
        </p:nvSpPr>
        <p:spPr bwMode="auto">
          <a:xfrm>
            <a:off x="1641599" y="3189599"/>
            <a:ext cx="4319992"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BP assessment &amp; growth avenues</a:t>
            </a:r>
          </a:p>
        </p:txBody>
      </p:sp>
      <p:sp>
        <p:nvSpPr>
          <p:cNvPr id="91" name="Oval">
            <a:extLst>
              <a:ext uri="{FF2B5EF4-FFF2-40B4-BE49-F238E27FC236}">
                <a16:creationId xmlns:a16="http://schemas.microsoft.com/office/drawing/2014/main" id="{D6302CAE-26B1-4743-814E-57949CE9DA2D}"/>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93" name="Oval">
            <a:extLst>
              <a:ext uri="{FF2B5EF4-FFF2-40B4-BE49-F238E27FC236}">
                <a16:creationId xmlns:a16="http://schemas.microsoft.com/office/drawing/2014/main" id="{D9A46FFF-E3EB-45F0-A36C-0F884A650B6B}"/>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2896264086"/>
      </p:ext>
    </p:extLst>
  </p:cSld>
  <p:clrMapOvr>
    <a:masterClrMapping/>
  </p:clrMapOvr>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94216223-8FFB-43F9-88CA-FBC1E7915EBF}"/>
              </a:ext>
            </a:extLst>
          </p:cNvPr>
          <p:cNvGraphicFramePr>
            <a:graphicFrameLocks noChangeAspect="1"/>
          </p:cNvGraphicFramePr>
          <p:nvPr>
            <p:custDataLst>
              <p:tags r:id="rId1"/>
            </p:custDataLst>
            <p:extLst>
              <p:ext uri="{D42A27DB-BD31-4B8C-83A1-F6EECF244321}">
                <p14:modId xmlns:p14="http://schemas.microsoft.com/office/powerpoint/2010/main" val="1988221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8" name="Objet 7" hidden="1">
                        <a:extLst>
                          <a:ext uri="{FF2B5EF4-FFF2-40B4-BE49-F238E27FC236}">
                            <a16:creationId xmlns:a16="http://schemas.microsoft.com/office/drawing/2014/main" id="{94216223-8FFB-43F9-88CA-FBC1E7915E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du texte 2">
            <a:extLst>
              <a:ext uri="{FF2B5EF4-FFF2-40B4-BE49-F238E27FC236}">
                <a16:creationId xmlns:a16="http://schemas.microsoft.com/office/drawing/2014/main" id="{130A723F-4D8B-40D5-A87C-4C1A87D5173A}"/>
              </a:ext>
            </a:extLst>
          </p:cNvPr>
          <p:cNvSpPr>
            <a:spLocks noGrp="1"/>
          </p:cNvSpPr>
          <p:nvPr>
            <p:ph type="body" sz="quarter" idx="10"/>
          </p:nvPr>
        </p:nvSpPr>
        <p:spPr/>
        <p:txBody>
          <a:bodyPr/>
          <a:lstStyle/>
          <a:p>
            <a:r>
              <a:rPr lang="en-GB" sz="800" i="1" kern="0"/>
              <a:t>Sources: eleven research &amp; analysis, company data, interviews with management</a:t>
            </a:r>
          </a:p>
        </p:txBody>
      </p:sp>
      <p:sp>
        <p:nvSpPr>
          <p:cNvPr id="16" name="Titre 1">
            <a:extLst>
              <a:ext uri="{FF2B5EF4-FFF2-40B4-BE49-F238E27FC236}">
                <a16:creationId xmlns:a16="http://schemas.microsoft.com/office/drawing/2014/main" id="{E0619338-5D4B-4738-B2C8-F5858D8BB8CA}"/>
              </a:ext>
            </a:extLst>
          </p:cNvPr>
          <p:cNvSpPr txBox="1">
            <a:spLocks/>
          </p:cNvSpPr>
          <p:nvPr/>
        </p:nvSpPr>
        <p:spPr bwMode="auto">
          <a:xfrm>
            <a:off x="323010" y="147600"/>
            <a:ext cx="8230753" cy="68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err="1">
                <a:latin typeface="Trebuchet MS" panose="020B0603020202020204" pitchFamily="34" charset="0"/>
              </a:rPr>
              <a:t>Altares</a:t>
            </a:r>
            <a:r>
              <a:rPr lang="en-GB">
                <a:latin typeface="Trebuchet MS" panose="020B0603020202020204" pitchFamily="34" charset="0"/>
              </a:rPr>
              <a:t>’ growth drivers on the </a:t>
            </a:r>
            <a:r>
              <a:rPr lang="en-GB">
                <a:solidFill>
                  <a:schemeClr val="tx2"/>
                </a:solidFill>
                <a:latin typeface="Trebuchet MS" panose="020B0603020202020204" pitchFamily="34" charset="0"/>
              </a:rPr>
              <a:t>other activities (DBI) </a:t>
            </a:r>
            <a:r>
              <a:rPr lang="en-GB">
                <a:latin typeface="Trebuchet MS" panose="020B0603020202020204" pitchFamily="34" charset="0"/>
              </a:rPr>
              <a:t>mainly consist in </a:t>
            </a:r>
            <a:r>
              <a:rPr lang="en-GB">
                <a:solidFill>
                  <a:schemeClr val="tx2"/>
                </a:solidFill>
                <a:latin typeface="Trebuchet MS" panose="020B0603020202020204" pitchFamily="34" charset="0"/>
              </a:rPr>
              <a:t>secured cross border fee </a:t>
            </a:r>
            <a:endParaRPr lang="en-GB" kern="0">
              <a:latin typeface="Trebuchet MS" panose="020B0603020202020204" pitchFamily="34" charset="0"/>
            </a:endParaRPr>
          </a:p>
        </p:txBody>
      </p:sp>
      <p:sp>
        <p:nvSpPr>
          <p:cNvPr id="17" name="Rectangle 16">
            <a:extLst>
              <a:ext uri="{FF2B5EF4-FFF2-40B4-BE49-F238E27FC236}">
                <a16:creationId xmlns:a16="http://schemas.microsoft.com/office/drawing/2014/main" id="{E4732452-243E-4933-BDC3-632AC5C3AE71}"/>
              </a:ext>
            </a:extLst>
          </p:cNvPr>
          <p:cNvSpPr/>
          <p:nvPr/>
        </p:nvSpPr>
        <p:spPr bwMode="auto">
          <a:xfrm>
            <a:off x="141716" y="205119"/>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b="1">
                <a:solidFill>
                  <a:schemeClr val="bg1"/>
                </a:solidFill>
                <a:latin typeface="Trebuchet MS" panose="020B0603020202020204" pitchFamily="34" charset="0"/>
              </a:rPr>
              <a:t>D</a:t>
            </a:r>
            <a:endParaRPr kumimoji="0" lang="en-GB" sz="1200" b="1" i="0" u="none" strike="noStrike" cap="none" normalizeH="0" baseline="0">
              <a:ln>
                <a:noFill/>
              </a:ln>
              <a:solidFill>
                <a:schemeClr val="bg1"/>
              </a:solidFill>
              <a:effectLst/>
              <a:latin typeface="Trebuchet MS" panose="020B0603020202020204" pitchFamily="34" charset="0"/>
            </a:endParaRPr>
          </a:p>
        </p:txBody>
      </p:sp>
      <p:grpSp>
        <p:nvGrpSpPr>
          <p:cNvPr id="34" name="Groupe 33">
            <a:extLst>
              <a:ext uri="{FF2B5EF4-FFF2-40B4-BE49-F238E27FC236}">
                <a16:creationId xmlns:a16="http://schemas.microsoft.com/office/drawing/2014/main" id="{50F8E6E4-7CD9-4A86-85D5-2860AC8E2C31}"/>
              </a:ext>
            </a:extLst>
          </p:cNvPr>
          <p:cNvGrpSpPr/>
          <p:nvPr/>
        </p:nvGrpSpPr>
        <p:grpSpPr>
          <a:xfrm>
            <a:off x="8448150" y="-11528"/>
            <a:ext cx="1435548" cy="588143"/>
            <a:chOff x="8448150" y="-11528"/>
            <a:chExt cx="1435548" cy="588143"/>
          </a:xfrm>
        </p:grpSpPr>
        <p:sp>
          <p:nvSpPr>
            <p:cNvPr id="35" name="Rectangle : coins arrondis 199">
              <a:extLst>
                <a:ext uri="{FF2B5EF4-FFF2-40B4-BE49-F238E27FC236}">
                  <a16:creationId xmlns:a16="http://schemas.microsoft.com/office/drawing/2014/main" id="{1720AF01-B97E-4A96-A364-79B030B4EBFC}"/>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6" name="Rectangle : coins arrondis 200">
              <a:extLst>
                <a:ext uri="{FF2B5EF4-FFF2-40B4-BE49-F238E27FC236}">
                  <a16:creationId xmlns:a16="http://schemas.microsoft.com/office/drawing/2014/main" id="{97557C2D-4F56-4EE3-AC28-A1968E4C6C6B}"/>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7" name="Rectangle : coins arrondis 201">
              <a:extLst>
                <a:ext uri="{FF2B5EF4-FFF2-40B4-BE49-F238E27FC236}">
                  <a16:creationId xmlns:a16="http://schemas.microsoft.com/office/drawing/2014/main" id="{9F66E24E-1BDC-47EA-8BDD-B3C9A7CAA84F}"/>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ZoneTexte 18">
              <a:extLst>
                <a:ext uri="{FF2B5EF4-FFF2-40B4-BE49-F238E27FC236}">
                  <a16:creationId xmlns:a16="http://schemas.microsoft.com/office/drawing/2014/main" id="{6C2BA8BF-3D77-41F4-A732-8BDC82AFCDC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39" name="Graphique 128" descr="Jauge">
              <a:extLst>
                <a:ext uri="{FF2B5EF4-FFF2-40B4-BE49-F238E27FC236}">
                  <a16:creationId xmlns:a16="http://schemas.microsoft.com/office/drawing/2014/main" id="{A84ADDD4-97AE-4B02-BF77-E6464B1E975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53764" y="187516"/>
              <a:ext cx="234953" cy="218224"/>
            </a:xfrm>
            <a:prstGeom prst="rect">
              <a:avLst/>
            </a:prstGeom>
            <a:effectLst/>
          </p:spPr>
        </p:pic>
        <p:pic>
          <p:nvPicPr>
            <p:cNvPr id="40" name="Graphique 90" descr="Poignée de main">
              <a:extLst>
                <a:ext uri="{FF2B5EF4-FFF2-40B4-BE49-F238E27FC236}">
                  <a16:creationId xmlns:a16="http://schemas.microsoft.com/office/drawing/2014/main" id="{57F62B95-313F-4F7B-8220-93C5A231BED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60868" y="152880"/>
              <a:ext cx="256313" cy="287496"/>
            </a:xfrm>
            <a:prstGeom prst="rect">
              <a:avLst/>
            </a:prstGeom>
            <a:effectLst/>
          </p:spPr>
        </p:pic>
        <p:pic>
          <p:nvPicPr>
            <p:cNvPr id="41" name="Graphique 74" descr="Mégaphone">
              <a:extLst>
                <a:ext uri="{FF2B5EF4-FFF2-40B4-BE49-F238E27FC236}">
                  <a16:creationId xmlns:a16="http://schemas.microsoft.com/office/drawing/2014/main" id="{8C96F7D7-5E76-4183-B555-5BC19EF0040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389331" y="181519"/>
              <a:ext cx="233011" cy="216420"/>
            </a:xfrm>
            <a:prstGeom prst="rect">
              <a:avLst/>
            </a:prstGeom>
            <a:effectLst/>
          </p:spPr>
        </p:pic>
        <p:pic>
          <p:nvPicPr>
            <p:cNvPr id="42" name="Picture 2" descr="Drapeau France">
              <a:extLst>
                <a:ext uri="{FF2B5EF4-FFF2-40B4-BE49-F238E27FC236}">
                  <a16:creationId xmlns:a16="http://schemas.microsoft.com/office/drawing/2014/main" id="{37140E2C-0194-4C14-8E22-FBA68E2C83DC}"/>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43" name="Picture 2" descr="5 ft x 3 ft 150 x 90 cm-DRAPEAU BELGE Belgique 100% Polyester ...">
              <a:extLst>
                <a:ext uri="{FF2B5EF4-FFF2-40B4-BE49-F238E27FC236}">
                  <a16:creationId xmlns:a16="http://schemas.microsoft.com/office/drawing/2014/main" id="{5184E839-B384-4199-9DE3-E5EDCD0C798A}"/>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4" name="Picture 2 - 1" descr="Drapeau des Pays-Bas — Wikipédia">
              <a:extLst>
                <a:ext uri="{FF2B5EF4-FFF2-40B4-BE49-F238E27FC236}">
                  <a16:creationId xmlns:a16="http://schemas.microsoft.com/office/drawing/2014/main" id="{D6DDC86D-3D1B-4476-8508-4D6CAB3C872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45" name="Picture 2 - 2" descr="Drapeau du Luxembourg">
              <a:extLst>
                <a:ext uri="{FF2B5EF4-FFF2-40B4-BE49-F238E27FC236}">
                  <a16:creationId xmlns:a16="http://schemas.microsoft.com/office/drawing/2014/main" id="{29A12C29-FC23-471A-B0DB-49D4B71A440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46" name="ZoneTexte 45">
              <a:extLst>
                <a:ext uri="{FF2B5EF4-FFF2-40B4-BE49-F238E27FC236}">
                  <a16:creationId xmlns:a16="http://schemas.microsoft.com/office/drawing/2014/main" id="{E8A3F5A2-8705-4189-B6FF-A3D3ADC8A2D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sp>
        <p:nvSpPr>
          <p:cNvPr id="27" name="Rectangle 26">
            <a:extLst>
              <a:ext uri="{FF2B5EF4-FFF2-40B4-BE49-F238E27FC236}">
                <a16:creationId xmlns:a16="http://schemas.microsoft.com/office/drawing/2014/main" id="{89A50E69-B7A7-4C78-986E-EF01E9DA772D}"/>
              </a:ext>
            </a:extLst>
          </p:cNvPr>
          <p:cNvSpPr/>
          <p:nvPr/>
        </p:nvSpPr>
        <p:spPr bwMode="auto">
          <a:xfrm>
            <a:off x="256803" y="914401"/>
            <a:ext cx="9392393" cy="551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3" name="Rectangle 32">
            <a:extLst>
              <a:ext uri="{FF2B5EF4-FFF2-40B4-BE49-F238E27FC236}">
                <a16:creationId xmlns:a16="http://schemas.microsoft.com/office/drawing/2014/main" id="{9E63C95D-1808-49DA-AF51-7A2B446970FD}"/>
              </a:ext>
            </a:extLst>
          </p:cNvPr>
          <p:cNvSpPr/>
          <p:nvPr/>
        </p:nvSpPr>
        <p:spPr bwMode="auto">
          <a:xfrm>
            <a:off x="552309" y="4953143"/>
            <a:ext cx="8801381" cy="1366618"/>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marL="0" lvl="1" algn="ctr">
              <a:spcBef>
                <a:spcPts val="600"/>
              </a:spcBef>
              <a:buClr>
                <a:schemeClr val="tx1"/>
              </a:buClr>
            </a:pPr>
            <a:r>
              <a:rPr lang="en-GB" sz="1000" b="1" dirty="0">
                <a:solidFill>
                  <a:schemeClr val="tx2"/>
                </a:solidFill>
                <a:latin typeface="Trebuchet MS" panose="020B0603020202020204" pitchFamily="34" charset="0"/>
              </a:rPr>
              <a:t>Key growth drivers</a:t>
            </a:r>
            <a:r>
              <a:rPr lang="en-GB" sz="1000" b="1" dirty="0">
                <a:latin typeface="Trebuchet MS" pitchFamily="34" charset="0"/>
              </a:rPr>
              <a:t>:</a:t>
            </a:r>
          </a:p>
          <a:p>
            <a:pPr marL="342900" lvl="0" indent="-342900" algn="just">
              <a:lnSpc>
                <a:spcPct val="107000"/>
              </a:lnSpc>
              <a:buFont typeface="+mj-lt"/>
              <a:buAutoNum type="arabicPeriod"/>
            </a:pPr>
            <a:endParaRPr lang="en-GB" sz="1000" dirty="0">
              <a:effectLst/>
              <a:latin typeface="Trebuchet MS" panose="020B0603020202020204" pitchFamily="34" charset="0"/>
              <a:ea typeface="Calibri" panose="020F0502020204030204" pitchFamily="34" charset="0"/>
              <a:cs typeface="Arial" panose="020B0604020202020204" pitchFamily="34" charset="0"/>
            </a:endParaRPr>
          </a:p>
          <a:p>
            <a:pPr marL="171450" lvl="0" indent="-171450" algn="just">
              <a:lnSpc>
                <a:spcPct val="107000"/>
              </a:lnSpc>
              <a:buFont typeface="Arial" panose="020B0604020202020204" pitchFamily="34" charset="0"/>
              <a:buChar char="•"/>
            </a:pPr>
            <a:r>
              <a:rPr lang="en-GB" sz="1000" dirty="0" err="1">
                <a:effectLst/>
                <a:latin typeface="Trebuchet MS" panose="020B0603020202020204" pitchFamily="34" charset="0"/>
                <a:ea typeface="Calibri" panose="020F0502020204030204" pitchFamily="34" charset="0"/>
                <a:cs typeface="Arial" panose="020B0604020202020204" pitchFamily="34" charset="0"/>
              </a:rPr>
              <a:t>Xborder</a:t>
            </a:r>
            <a:r>
              <a:rPr lang="en-GB" sz="1000" dirty="0">
                <a:effectLst/>
                <a:latin typeface="Trebuchet MS" panose="020B0603020202020204" pitchFamily="34" charset="0"/>
                <a:ea typeface="Calibri" panose="020F0502020204030204" pitchFamily="34" charset="0"/>
                <a:cs typeface="Arial" panose="020B0604020202020204" pitchFamily="34" charset="0"/>
              </a:rPr>
              <a:t> fees for FR and BNL grow at a 2.5% contractual rate inducing secured revenue</a:t>
            </a:r>
          </a:p>
          <a:p>
            <a:pPr marL="171450" lvl="0" indent="-171450" algn="just">
              <a:lnSpc>
                <a:spcPct val="107000"/>
              </a:lnSpc>
              <a:buFont typeface="Arial" panose="020B0604020202020204" pitchFamily="34" charset="0"/>
              <a:buChar char="•"/>
            </a:pPr>
            <a:r>
              <a:rPr lang="en-GB" sz="1000" dirty="0">
                <a:latin typeface="Trebuchet MS" panose="020B0603020202020204" pitchFamily="34" charset="0"/>
                <a:ea typeface="Calibri" panose="020F0502020204030204" pitchFamily="34" charset="0"/>
              </a:rPr>
              <a:t>Non-secured revenue comes from growth hypothesis not contractually guaranteed :</a:t>
            </a:r>
            <a:endParaRPr lang="en-GB" sz="1000" dirty="0">
              <a:effectLst/>
              <a:latin typeface="Trebuchet MS" panose="020B0603020202020204" pitchFamily="34" charset="0"/>
              <a:ea typeface="Calibri" panose="020F0502020204030204" pitchFamily="34" charset="0"/>
              <a:cs typeface="Arial" panose="020B0604020202020204" pitchFamily="34" charset="0"/>
            </a:endParaRPr>
          </a:p>
          <a:p>
            <a:pPr marL="628650" lvl="1" indent="-171450" algn="just">
              <a:lnSpc>
                <a:spcPct val="107000"/>
              </a:lnSpc>
              <a:buFont typeface="Courier New" panose="02070309020205020404" pitchFamily="49" charset="0"/>
              <a:buChar char="o"/>
            </a:pPr>
            <a:r>
              <a:rPr lang="en-GB" sz="1000" dirty="0">
                <a:effectLst/>
                <a:latin typeface="Trebuchet MS" panose="020B0603020202020204" pitchFamily="34" charset="0"/>
                <a:ea typeface="Calibri" panose="020F0502020204030204" pitchFamily="34" charset="0"/>
                <a:cs typeface="Arial" panose="020B0604020202020204" pitchFamily="34" charset="0"/>
              </a:rPr>
              <a:t>Maghreb Cross-border as expected to grow much more given the macro-economic forecast in the region (50% growth between 2017 (688) and 2020 (1029 </a:t>
            </a:r>
            <a:r>
              <a:rPr lang="en-GB" sz="1000" dirty="0" err="1">
                <a:effectLst/>
                <a:latin typeface="Trebuchet MS" panose="020B0603020202020204" pitchFamily="34" charset="0"/>
                <a:ea typeface="Calibri" panose="020F0502020204030204" pitchFamily="34" charset="0"/>
                <a:cs typeface="Arial" panose="020B0604020202020204" pitchFamily="34" charset="0"/>
              </a:rPr>
              <a:t>fcst</a:t>
            </a:r>
            <a:r>
              <a:rPr lang="en-GB" sz="1000" dirty="0">
                <a:effectLst/>
                <a:latin typeface="Trebuchet MS" panose="020B0603020202020204" pitchFamily="34" charset="0"/>
                <a:ea typeface="Calibri" panose="020F0502020204030204" pitchFamily="34" charset="0"/>
                <a:cs typeface="Arial" panose="020B0604020202020204" pitchFamily="34" charset="0"/>
              </a:rPr>
              <a:t>)</a:t>
            </a:r>
          </a:p>
          <a:p>
            <a:pPr marL="628650" lvl="1" indent="-171450" algn="just">
              <a:lnSpc>
                <a:spcPct val="107000"/>
              </a:lnSpc>
              <a:buFont typeface="Courier New" panose="02070309020205020404" pitchFamily="49" charset="0"/>
              <a:buChar char="o"/>
            </a:pPr>
            <a:r>
              <a:rPr lang="en-GB" sz="1000" dirty="0">
                <a:latin typeface="Trebuchet MS" panose="020B0603020202020204" pitchFamily="34" charset="0"/>
              </a:rPr>
              <a:t>New product development</a:t>
            </a:r>
          </a:p>
          <a:p>
            <a:pPr marL="628650" lvl="1" indent="-171450" algn="just">
              <a:lnSpc>
                <a:spcPct val="107000"/>
              </a:lnSpc>
              <a:buFont typeface="Courier New" panose="02070309020205020404" pitchFamily="49" charset="0"/>
              <a:buChar char="o"/>
            </a:pPr>
            <a:r>
              <a:rPr lang="en-GB" sz="1000" dirty="0">
                <a:latin typeface="Trebuchet MS" panose="020B0603020202020204" pitchFamily="34" charset="0"/>
              </a:rPr>
              <a:t>New product content</a:t>
            </a:r>
          </a:p>
        </p:txBody>
      </p:sp>
      <p:grpSp>
        <p:nvGrpSpPr>
          <p:cNvPr id="48" name="Groupe 47">
            <a:extLst>
              <a:ext uri="{FF2B5EF4-FFF2-40B4-BE49-F238E27FC236}">
                <a16:creationId xmlns:a16="http://schemas.microsoft.com/office/drawing/2014/main" id="{8E33CF71-2DEF-4147-B852-348EFD67960D}"/>
              </a:ext>
            </a:extLst>
          </p:cNvPr>
          <p:cNvGrpSpPr/>
          <p:nvPr/>
        </p:nvGrpSpPr>
        <p:grpSpPr>
          <a:xfrm>
            <a:off x="571509" y="5229415"/>
            <a:ext cx="222565" cy="277000"/>
            <a:chOff x="3409504" y="1194238"/>
            <a:chExt cx="269305" cy="368686"/>
          </a:xfrm>
        </p:grpSpPr>
        <p:sp>
          <p:nvSpPr>
            <p:cNvPr id="49" name="Ellipse 48">
              <a:extLst>
                <a:ext uri="{FF2B5EF4-FFF2-40B4-BE49-F238E27FC236}">
                  <a16:creationId xmlns:a16="http://schemas.microsoft.com/office/drawing/2014/main" id="{8B30313C-9DBA-48D7-98E0-5EA7D6DEC7CA}"/>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50" name="ZoneTexte 49">
              <a:extLst>
                <a:ext uri="{FF2B5EF4-FFF2-40B4-BE49-F238E27FC236}">
                  <a16:creationId xmlns:a16="http://schemas.microsoft.com/office/drawing/2014/main" id="{5AFA1066-3589-4B65-BA74-4624E32C0CBA}"/>
                </a:ext>
              </a:extLst>
            </p:cNvPr>
            <p:cNvSpPr txBox="1"/>
            <p:nvPr/>
          </p:nvSpPr>
          <p:spPr>
            <a:xfrm>
              <a:off x="3409504" y="1194238"/>
              <a:ext cx="269305" cy="368686"/>
            </a:xfrm>
            <a:prstGeom prst="rect">
              <a:avLst/>
            </a:prstGeom>
            <a:noFill/>
          </p:spPr>
          <p:txBody>
            <a:bodyPr wrap="square" rtlCol="0">
              <a:spAutoFit/>
            </a:bodyPr>
            <a:lstStyle/>
            <a:p>
              <a:pPr algn="ctr"/>
              <a:r>
                <a:rPr lang="en-GB" sz="1200">
                  <a:solidFill>
                    <a:schemeClr val="bg1"/>
                  </a:solidFill>
                  <a:latin typeface="+mj-lt"/>
                </a:rPr>
                <a:t>1</a:t>
              </a:r>
            </a:p>
          </p:txBody>
        </p:sp>
      </p:grpSp>
      <p:grpSp>
        <p:nvGrpSpPr>
          <p:cNvPr id="51" name="Groupe 50">
            <a:extLst>
              <a:ext uri="{FF2B5EF4-FFF2-40B4-BE49-F238E27FC236}">
                <a16:creationId xmlns:a16="http://schemas.microsoft.com/office/drawing/2014/main" id="{C0DE674D-A1F8-44FF-9B25-EEC2061D7FAD}"/>
              </a:ext>
            </a:extLst>
          </p:cNvPr>
          <p:cNvGrpSpPr/>
          <p:nvPr/>
        </p:nvGrpSpPr>
        <p:grpSpPr>
          <a:xfrm>
            <a:off x="570693" y="5430424"/>
            <a:ext cx="222565" cy="277000"/>
            <a:chOff x="3409503" y="1194238"/>
            <a:chExt cx="269305" cy="368684"/>
          </a:xfrm>
        </p:grpSpPr>
        <p:sp>
          <p:nvSpPr>
            <p:cNvPr id="52" name="Ellipse 51">
              <a:extLst>
                <a:ext uri="{FF2B5EF4-FFF2-40B4-BE49-F238E27FC236}">
                  <a16:creationId xmlns:a16="http://schemas.microsoft.com/office/drawing/2014/main" id="{585CF0D3-C2BB-488A-810D-6EC3019C3A45}"/>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53" name="ZoneTexte 52">
              <a:extLst>
                <a:ext uri="{FF2B5EF4-FFF2-40B4-BE49-F238E27FC236}">
                  <a16:creationId xmlns:a16="http://schemas.microsoft.com/office/drawing/2014/main" id="{46646A08-8E04-44A2-B3FD-0F180B6AF5B4}"/>
                </a:ext>
              </a:extLst>
            </p:cNvPr>
            <p:cNvSpPr txBox="1"/>
            <p:nvPr/>
          </p:nvSpPr>
          <p:spPr>
            <a:xfrm>
              <a:off x="3409503" y="1194238"/>
              <a:ext cx="269305" cy="368684"/>
            </a:xfrm>
            <a:prstGeom prst="rect">
              <a:avLst/>
            </a:prstGeom>
            <a:noFill/>
          </p:spPr>
          <p:txBody>
            <a:bodyPr wrap="square" rtlCol="0">
              <a:spAutoFit/>
            </a:bodyPr>
            <a:lstStyle/>
            <a:p>
              <a:pPr algn="ctr"/>
              <a:r>
                <a:rPr lang="en-GB" sz="1200">
                  <a:solidFill>
                    <a:schemeClr val="bg1"/>
                  </a:solidFill>
                  <a:latin typeface="+mj-lt"/>
                </a:rPr>
                <a:t>2</a:t>
              </a:r>
            </a:p>
          </p:txBody>
        </p:sp>
      </p:grpSp>
      <p:graphicFrame>
        <p:nvGraphicFramePr>
          <p:cNvPr id="11" name="Chart 10">
            <a:extLst>
              <a:ext uri="{FF2B5EF4-FFF2-40B4-BE49-F238E27FC236}">
                <a16:creationId xmlns:a16="http://schemas.microsoft.com/office/drawing/2014/main" id="{373E9F32-3508-4699-B95C-446417612343}"/>
              </a:ext>
            </a:extLst>
          </p:cNvPr>
          <p:cNvGraphicFramePr/>
          <p:nvPr>
            <p:extLst>
              <p:ext uri="{D42A27DB-BD31-4B8C-83A1-F6EECF244321}">
                <p14:modId xmlns:p14="http://schemas.microsoft.com/office/powerpoint/2010/main" val="391415105"/>
              </p:ext>
            </p:extLst>
          </p:nvPr>
        </p:nvGraphicFramePr>
        <p:xfrm>
          <a:off x="454201" y="1240738"/>
          <a:ext cx="8762980" cy="3547534"/>
        </p:xfrm>
        <a:graphic>
          <a:graphicData uri="http://schemas.openxmlformats.org/drawingml/2006/chart">
            <c:chart xmlns:c="http://schemas.openxmlformats.org/drawingml/2006/chart" xmlns:r="http://schemas.openxmlformats.org/officeDocument/2006/relationships" r:id="rId15"/>
          </a:graphicData>
        </a:graphic>
      </p:graphicFrame>
      <p:sp>
        <p:nvSpPr>
          <p:cNvPr id="13" name="TextBox 12">
            <a:extLst>
              <a:ext uri="{FF2B5EF4-FFF2-40B4-BE49-F238E27FC236}">
                <a16:creationId xmlns:a16="http://schemas.microsoft.com/office/drawing/2014/main" id="{694C4C19-04E1-4F91-A6DD-A55644294499}"/>
              </a:ext>
            </a:extLst>
          </p:cNvPr>
          <p:cNvSpPr txBox="1"/>
          <p:nvPr/>
        </p:nvSpPr>
        <p:spPr>
          <a:xfrm>
            <a:off x="9077249" y="1995867"/>
            <a:ext cx="1061870" cy="400110"/>
          </a:xfrm>
          <a:prstGeom prst="rect">
            <a:avLst/>
          </a:prstGeom>
          <a:noFill/>
        </p:spPr>
        <p:txBody>
          <a:bodyPr wrap="square" rtlCol="0">
            <a:spAutoFit/>
          </a:bodyPr>
          <a:lstStyle/>
          <a:p>
            <a:r>
              <a:rPr lang="en-GB" sz="1000" i="1" dirty="0">
                <a:latin typeface="+mj-lt"/>
              </a:rPr>
              <a:t>Non secured revenue</a:t>
            </a:r>
          </a:p>
        </p:txBody>
      </p:sp>
      <p:sp>
        <p:nvSpPr>
          <p:cNvPr id="68" name="TextBox 67">
            <a:extLst>
              <a:ext uri="{FF2B5EF4-FFF2-40B4-BE49-F238E27FC236}">
                <a16:creationId xmlns:a16="http://schemas.microsoft.com/office/drawing/2014/main" id="{FF288548-CDB1-446F-8A56-991904D556E0}"/>
              </a:ext>
            </a:extLst>
          </p:cNvPr>
          <p:cNvSpPr txBox="1"/>
          <p:nvPr/>
        </p:nvSpPr>
        <p:spPr>
          <a:xfrm>
            <a:off x="9095023" y="3479979"/>
            <a:ext cx="826916" cy="400110"/>
          </a:xfrm>
          <a:prstGeom prst="rect">
            <a:avLst/>
          </a:prstGeom>
          <a:noFill/>
        </p:spPr>
        <p:txBody>
          <a:bodyPr wrap="square" rtlCol="0">
            <a:spAutoFit/>
          </a:bodyPr>
          <a:lstStyle/>
          <a:p>
            <a:r>
              <a:rPr lang="en-GB" sz="1000" i="1" dirty="0">
                <a:solidFill>
                  <a:schemeClr val="tx2"/>
                </a:solidFill>
                <a:latin typeface="+mj-lt"/>
              </a:rPr>
              <a:t>Secured revenue</a:t>
            </a:r>
          </a:p>
        </p:txBody>
      </p:sp>
      <p:sp>
        <p:nvSpPr>
          <p:cNvPr id="69" name="Rectangle 68">
            <a:extLst>
              <a:ext uri="{FF2B5EF4-FFF2-40B4-BE49-F238E27FC236}">
                <a16:creationId xmlns:a16="http://schemas.microsoft.com/office/drawing/2014/main" id="{495C44C9-E739-4255-B4DB-FE60DB6E2D87}"/>
              </a:ext>
            </a:extLst>
          </p:cNvPr>
          <p:cNvSpPr/>
          <p:nvPr/>
        </p:nvSpPr>
        <p:spPr bwMode="auto">
          <a:xfrm>
            <a:off x="596673" y="912962"/>
            <a:ext cx="7147330" cy="314706"/>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dirty="0">
                <a:ln>
                  <a:noFill/>
                </a:ln>
                <a:effectLst/>
                <a:uLnTx/>
                <a:uFillTx/>
                <a:latin typeface="Trebuchet MS" panose="020B0603020202020204" pitchFamily="34" charset="0"/>
              </a:rPr>
              <a:t>DBI revenue evolution in €m</a:t>
            </a:r>
          </a:p>
        </p:txBody>
      </p:sp>
      <p:grpSp>
        <p:nvGrpSpPr>
          <p:cNvPr id="7" name="Group 6">
            <a:extLst>
              <a:ext uri="{FF2B5EF4-FFF2-40B4-BE49-F238E27FC236}">
                <a16:creationId xmlns:a16="http://schemas.microsoft.com/office/drawing/2014/main" id="{1880F187-B3CC-4486-BA7B-CBFC06AC4B7B}"/>
              </a:ext>
            </a:extLst>
          </p:cNvPr>
          <p:cNvGrpSpPr/>
          <p:nvPr/>
        </p:nvGrpSpPr>
        <p:grpSpPr>
          <a:xfrm>
            <a:off x="2842866" y="998299"/>
            <a:ext cx="4876592" cy="400110"/>
            <a:chOff x="2811919" y="1038016"/>
            <a:chExt cx="4876592" cy="400110"/>
          </a:xfrm>
        </p:grpSpPr>
        <p:sp>
          <p:nvSpPr>
            <p:cNvPr id="6" name="Rectangle 5">
              <a:extLst>
                <a:ext uri="{FF2B5EF4-FFF2-40B4-BE49-F238E27FC236}">
                  <a16:creationId xmlns:a16="http://schemas.microsoft.com/office/drawing/2014/main" id="{81CC9A1E-00B9-4F5D-92BF-73D82068FFAA}"/>
                </a:ext>
              </a:extLst>
            </p:cNvPr>
            <p:cNvSpPr/>
            <p:nvPr/>
          </p:nvSpPr>
          <p:spPr bwMode="auto">
            <a:xfrm>
              <a:off x="2811919" y="1070315"/>
              <a:ext cx="4876592" cy="309755"/>
            </a:xfrm>
            <a:prstGeom prst="rect">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 name="TextBox 3">
              <a:extLst>
                <a:ext uri="{FF2B5EF4-FFF2-40B4-BE49-F238E27FC236}">
                  <a16:creationId xmlns:a16="http://schemas.microsoft.com/office/drawing/2014/main" id="{03AE7BBC-40ED-4E9B-B40A-C5E7D4BC9E16}"/>
                </a:ext>
              </a:extLst>
            </p:cNvPr>
            <p:cNvSpPr txBox="1"/>
            <p:nvPr/>
          </p:nvSpPr>
          <p:spPr>
            <a:xfrm>
              <a:off x="3979838" y="1114961"/>
              <a:ext cx="429926" cy="246221"/>
            </a:xfrm>
            <a:prstGeom prst="rect">
              <a:avLst/>
            </a:prstGeom>
            <a:noFill/>
          </p:spPr>
          <p:txBody>
            <a:bodyPr wrap="none" rtlCol="0">
              <a:spAutoFit/>
            </a:bodyPr>
            <a:lstStyle/>
            <a:p>
              <a:r>
                <a:rPr lang="en-GB" sz="1000" b="1" i="1">
                  <a:latin typeface="+mj-lt"/>
                </a:rPr>
                <a:t>69%</a:t>
              </a:r>
            </a:p>
          </p:txBody>
        </p:sp>
        <p:sp>
          <p:nvSpPr>
            <p:cNvPr id="55" name="TextBox 54">
              <a:extLst>
                <a:ext uri="{FF2B5EF4-FFF2-40B4-BE49-F238E27FC236}">
                  <a16:creationId xmlns:a16="http://schemas.microsoft.com/office/drawing/2014/main" id="{E1031151-A381-4D0C-B232-A64F9423DA4E}"/>
                </a:ext>
              </a:extLst>
            </p:cNvPr>
            <p:cNvSpPr txBox="1"/>
            <p:nvPr/>
          </p:nvSpPr>
          <p:spPr>
            <a:xfrm>
              <a:off x="4724127" y="1114961"/>
              <a:ext cx="429926" cy="246221"/>
            </a:xfrm>
            <a:prstGeom prst="rect">
              <a:avLst/>
            </a:prstGeom>
            <a:noFill/>
          </p:spPr>
          <p:txBody>
            <a:bodyPr wrap="none" rtlCol="0">
              <a:spAutoFit/>
            </a:bodyPr>
            <a:lstStyle/>
            <a:p>
              <a:r>
                <a:rPr lang="en-GB" sz="1000" b="1" i="1">
                  <a:latin typeface="+mj-lt"/>
                </a:rPr>
                <a:t>69%</a:t>
              </a:r>
            </a:p>
          </p:txBody>
        </p:sp>
        <p:sp>
          <p:nvSpPr>
            <p:cNvPr id="56" name="TextBox 55">
              <a:extLst>
                <a:ext uri="{FF2B5EF4-FFF2-40B4-BE49-F238E27FC236}">
                  <a16:creationId xmlns:a16="http://schemas.microsoft.com/office/drawing/2014/main" id="{3EB84117-2BD1-41F3-AB66-B05C63C517E1}"/>
                </a:ext>
              </a:extLst>
            </p:cNvPr>
            <p:cNvSpPr txBox="1"/>
            <p:nvPr/>
          </p:nvSpPr>
          <p:spPr>
            <a:xfrm>
              <a:off x="5468416" y="1114961"/>
              <a:ext cx="429926" cy="246221"/>
            </a:xfrm>
            <a:prstGeom prst="rect">
              <a:avLst/>
            </a:prstGeom>
            <a:noFill/>
          </p:spPr>
          <p:txBody>
            <a:bodyPr wrap="none" rtlCol="0">
              <a:spAutoFit/>
            </a:bodyPr>
            <a:lstStyle/>
            <a:p>
              <a:r>
                <a:rPr lang="en-GB" sz="1000" b="1" i="1">
                  <a:latin typeface="+mj-lt"/>
                </a:rPr>
                <a:t>69%</a:t>
              </a:r>
            </a:p>
          </p:txBody>
        </p:sp>
        <p:sp>
          <p:nvSpPr>
            <p:cNvPr id="57" name="TextBox 56">
              <a:extLst>
                <a:ext uri="{FF2B5EF4-FFF2-40B4-BE49-F238E27FC236}">
                  <a16:creationId xmlns:a16="http://schemas.microsoft.com/office/drawing/2014/main" id="{D38D7D4E-014E-48CA-B224-CB37C3C226B3}"/>
                </a:ext>
              </a:extLst>
            </p:cNvPr>
            <p:cNvSpPr txBox="1"/>
            <p:nvPr/>
          </p:nvSpPr>
          <p:spPr>
            <a:xfrm>
              <a:off x="6212705" y="1114961"/>
              <a:ext cx="429926" cy="246221"/>
            </a:xfrm>
            <a:prstGeom prst="rect">
              <a:avLst/>
            </a:prstGeom>
            <a:noFill/>
          </p:spPr>
          <p:txBody>
            <a:bodyPr wrap="none" rtlCol="0">
              <a:spAutoFit/>
            </a:bodyPr>
            <a:lstStyle/>
            <a:p>
              <a:r>
                <a:rPr lang="en-GB" sz="1000" b="1" i="1">
                  <a:latin typeface="+mj-lt"/>
                </a:rPr>
                <a:t>68%</a:t>
              </a:r>
            </a:p>
          </p:txBody>
        </p:sp>
        <p:sp>
          <p:nvSpPr>
            <p:cNvPr id="58" name="TextBox 57">
              <a:extLst>
                <a:ext uri="{FF2B5EF4-FFF2-40B4-BE49-F238E27FC236}">
                  <a16:creationId xmlns:a16="http://schemas.microsoft.com/office/drawing/2014/main" id="{45565FB7-2EC0-40E9-A3DF-5A779EDB823E}"/>
                </a:ext>
              </a:extLst>
            </p:cNvPr>
            <p:cNvSpPr txBox="1"/>
            <p:nvPr/>
          </p:nvSpPr>
          <p:spPr>
            <a:xfrm>
              <a:off x="6956995" y="1114961"/>
              <a:ext cx="429926" cy="246221"/>
            </a:xfrm>
            <a:prstGeom prst="rect">
              <a:avLst/>
            </a:prstGeom>
            <a:noFill/>
          </p:spPr>
          <p:txBody>
            <a:bodyPr wrap="none" rtlCol="0">
              <a:spAutoFit/>
            </a:bodyPr>
            <a:lstStyle/>
            <a:p>
              <a:r>
                <a:rPr lang="en-GB" sz="1000" b="1" i="1">
                  <a:latin typeface="+mj-lt"/>
                </a:rPr>
                <a:t>68%</a:t>
              </a:r>
            </a:p>
          </p:txBody>
        </p:sp>
        <p:sp>
          <p:nvSpPr>
            <p:cNvPr id="5" name="TextBox 4">
              <a:extLst>
                <a:ext uri="{FF2B5EF4-FFF2-40B4-BE49-F238E27FC236}">
                  <a16:creationId xmlns:a16="http://schemas.microsoft.com/office/drawing/2014/main" id="{6D9258D7-7340-4D8A-95DA-B6AC917746BD}"/>
                </a:ext>
              </a:extLst>
            </p:cNvPr>
            <p:cNvSpPr txBox="1"/>
            <p:nvPr/>
          </p:nvSpPr>
          <p:spPr>
            <a:xfrm>
              <a:off x="2811919" y="1038016"/>
              <a:ext cx="1288867" cy="400110"/>
            </a:xfrm>
            <a:prstGeom prst="rect">
              <a:avLst/>
            </a:prstGeom>
            <a:noFill/>
          </p:spPr>
          <p:txBody>
            <a:bodyPr wrap="square" rtlCol="0">
              <a:spAutoFit/>
            </a:bodyPr>
            <a:lstStyle/>
            <a:p>
              <a:r>
                <a:rPr lang="en-GB" sz="1000" b="1" dirty="0">
                  <a:latin typeface="+mj-lt"/>
                </a:rPr>
                <a:t>Secured forward revenue:</a:t>
              </a:r>
            </a:p>
          </p:txBody>
        </p:sp>
      </p:grpSp>
      <p:sp>
        <p:nvSpPr>
          <p:cNvPr id="10" name="Bulle narrative : rectangle 9">
            <a:extLst>
              <a:ext uri="{FF2B5EF4-FFF2-40B4-BE49-F238E27FC236}">
                <a16:creationId xmlns:a16="http://schemas.microsoft.com/office/drawing/2014/main" id="{29674868-0EE8-4029-BD1C-94D99F1F86E9}"/>
              </a:ext>
            </a:extLst>
          </p:cNvPr>
          <p:cNvSpPr/>
          <p:nvPr/>
        </p:nvSpPr>
        <p:spPr bwMode="auto">
          <a:xfrm>
            <a:off x="7936333" y="1398409"/>
            <a:ext cx="1147157" cy="497317"/>
          </a:xfrm>
          <a:prstGeom prst="wedgeRectCallout">
            <a:avLst>
              <a:gd name="adj1" fmla="val -65918"/>
              <a:gd name="adj2" fmla="val 37811"/>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00" b="0" i="1" u="none" strike="noStrike" cap="none" normalizeH="0" baseline="0">
                <a:ln>
                  <a:noFill/>
                </a:ln>
                <a:solidFill>
                  <a:schemeClr val="tx1"/>
                </a:solidFill>
                <a:effectLst/>
                <a:latin typeface="Trebuchet MS" pitchFamily="34" charset="0"/>
              </a:rPr>
              <a:t>Estimated dollar effect 2020-2025: 1.15</a:t>
            </a:r>
          </a:p>
        </p:txBody>
      </p:sp>
      <p:cxnSp>
        <p:nvCxnSpPr>
          <p:cNvPr id="61" name="Straight Connector 194">
            <a:extLst>
              <a:ext uri="{FF2B5EF4-FFF2-40B4-BE49-F238E27FC236}">
                <a16:creationId xmlns:a16="http://schemas.microsoft.com/office/drawing/2014/main" id="{1694DDFC-ACE1-4662-A65C-B07252C508C8}"/>
              </a:ext>
            </a:extLst>
          </p:cNvPr>
          <p:cNvCxnSpPr>
            <a:cxnSpLocks/>
          </p:cNvCxnSpPr>
          <p:nvPr/>
        </p:nvCxnSpPr>
        <p:spPr bwMode="auto">
          <a:xfrm flipV="1">
            <a:off x="3592945" y="1628547"/>
            <a:ext cx="3394997" cy="407643"/>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sp>
        <p:nvSpPr>
          <p:cNvPr id="62" name="Espace réservé du texte 2">
            <a:extLst>
              <a:ext uri="{FF2B5EF4-FFF2-40B4-BE49-F238E27FC236}">
                <a16:creationId xmlns:a16="http://schemas.microsoft.com/office/drawing/2014/main" id="{5CEAACA1-D312-4F02-B82D-53BF47DABF9D}"/>
              </a:ext>
            </a:extLst>
          </p:cNvPr>
          <p:cNvSpPr>
            <a:spLocks noGrp="1"/>
          </p:cNvSpPr>
          <p:nvPr/>
        </p:nvSpPr>
        <p:spPr bwMode="auto">
          <a:xfrm>
            <a:off x="4567169" y="1616146"/>
            <a:ext cx="1147157" cy="298144"/>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CAGR</a:t>
            </a:r>
            <a:r>
              <a:rPr lang="en-GB" altLang="en-US" sz="800" b="1" baseline="-25000">
                <a:effectLst/>
              </a:rPr>
              <a:t>20-25</a:t>
            </a:r>
            <a:r>
              <a:rPr lang="en-GB" altLang="en-US" sz="800" b="1">
                <a:effectLst/>
              </a:rPr>
              <a:t>:+4.1%</a:t>
            </a:r>
            <a:endParaRPr lang="en-GB" sz="800" b="1">
              <a:latin typeface="+mn-lt"/>
              <a:sym typeface="+mn-lt"/>
            </a:endParaRPr>
          </a:p>
        </p:txBody>
      </p:sp>
      <p:cxnSp>
        <p:nvCxnSpPr>
          <p:cNvPr id="54" name="Straight Connector 194">
            <a:extLst>
              <a:ext uri="{FF2B5EF4-FFF2-40B4-BE49-F238E27FC236}">
                <a16:creationId xmlns:a16="http://schemas.microsoft.com/office/drawing/2014/main" id="{7F2056BD-A912-4AA3-A701-E8550CEA1D5A}"/>
              </a:ext>
            </a:extLst>
          </p:cNvPr>
          <p:cNvCxnSpPr>
            <a:cxnSpLocks/>
          </p:cNvCxnSpPr>
          <p:nvPr/>
        </p:nvCxnSpPr>
        <p:spPr bwMode="auto">
          <a:xfrm flipV="1">
            <a:off x="1200727" y="2263320"/>
            <a:ext cx="1443827" cy="227132"/>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sp>
        <p:nvSpPr>
          <p:cNvPr id="59" name="Espace réservé du texte 2">
            <a:extLst>
              <a:ext uri="{FF2B5EF4-FFF2-40B4-BE49-F238E27FC236}">
                <a16:creationId xmlns:a16="http://schemas.microsoft.com/office/drawing/2014/main" id="{8AE17340-2E8C-4536-86F8-34454B02EC5B}"/>
              </a:ext>
            </a:extLst>
          </p:cNvPr>
          <p:cNvSpPr>
            <a:spLocks noGrp="1"/>
          </p:cNvSpPr>
          <p:nvPr/>
        </p:nvSpPr>
        <p:spPr bwMode="auto">
          <a:xfrm>
            <a:off x="1349062" y="2227814"/>
            <a:ext cx="1147157" cy="298144"/>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CAGR</a:t>
            </a:r>
            <a:r>
              <a:rPr lang="en-GB" altLang="en-US" sz="800" b="1" baseline="-25000"/>
              <a:t>17</a:t>
            </a:r>
            <a:r>
              <a:rPr lang="en-GB" altLang="en-US" sz="800" b="1" baseline="-25000">
                <a:effectLst/>
              </a:rPr>
              <a:t>-19</a:t>
            </a:r>
            <a:r>
              <a:rPr lang="en-GB" altLang="en-US" sz="800" b="1">
                <a:effectLst/>
              </a:rPr>
              <a:t>:+7.7%</a:t>
            </a:r>
            <a:endParaRPr lang="en-GB" sz="800" b="1">
              <a:latin typeface="+mn-lt"/>
              <a:sym typeface="+mn-lt"/>
            </a:endParaRPr>
          </a:p>
        </p:txBody>
      </p:sp>
      <p:cxnSp>
        <p:nvCxnSpPr>
          <p:cNvPr id="60" name="Straight Connector 157">
            <a:extLst>
              <a:ext uri="{FF2B5EF4-FFF2-40B4-BE49-F238E27FC236}">
                <a16:creationId xmlns:a16="http://schemas.microsoft.com/office/drawing/2014/main" id="{9BA747DD-A032-431F-917B-4264B0406881}"/>
              </a:ext>
            </a:extLst>
          </p:cNvPr>
          <p:cNvCxnSpPr>
            <a:cxnSpLocks/>
          </p:cNvCxnSpPr>
          <p:nvPr/>
        </p:nvCxnSpPr>
        <p:spPr bwMode="auto">
          <a:xfrm flipV="1">
            <a:off x="2761826" y="1887230"/>
            <a:ext cx="0" cy="37609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63" name="Straight Connector 159">
            <a:extLst>
              <a:ext uri="{FF2B5EF4-FFF2-40B4-BE49-F238E27FC236}">
                <a16:creationId xmlns:a16="http://schemas.microsoft.com/office/drawing/2014/main" id="{C6DE7397-28FC-4C03-88E2-1636A7C6ECF8}"/>
              </a:ext>
            </a:extLst>
          </p:cNvPr>
          <p:cNvCxnSpPr/>
          <p:nvPr/>
        </p:nvCxnSpPr>
        <p:spPr bwMode="auto">
          <a:xfrm>
            <a:off x="3427674" y="1887230"/>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sp>
        <p:nvSpPr>
          <p:cNvPr id="64" name="Espace réservé du texte 2">
            <a:extLst>
              <a:ext uri="{FF2B5EF4-FFF2-40B4-BE49-F238E27FC236}">
                <a16:creationId xmlns:a16="http://schemas.microsoft.com/office/drawing/2014/main" id="{B9B63693-12EC-4EF3-80F2-A2778DCE8487}"/>
              </a:ext>
            </a:extLst>
          </p:cNvPr>
          <p:cNvSpPr>
            <a:spLocks noGrp="1"/>
          </p:cNvSpPr>
          <p:nvPr/>
        </p:nvSpPr>
        <p:spPr bwMode="auto">
          <a:xfrm>
            <a:off x="2760239" y="1801505"/>
            <a:ext cx="66743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6.6%</a:t>
            </a:r>
            <a:endParaRPr lang="en-GB" sz="800" b="1">
              <a:latin typeface="+mn-lt"/>
              <a:sym typeface="+mn-lt"/>
            </a:endParaRPr>
          </a:p>
        </p:txBody>
      </p:sp>
      <p:sp>
        <p:nvSpPr>
          <p:cNvPr id="66" name="TextBox 65">
            <a:extLst>
              <a:ext uri="{FF2B5EF4-FFF2-40B4-BE49-F238E27FC236}">
                <a16:creationId xmlns:a16="http://schemas.microsoft.com/office/drawing/2014/main" id="{5495D559-5AD5-4BB7-8F14-0A0F57C38508}"/>
              </a:ext>
            </a:extLst>
          </p:cNvPr>
          <p:cNvSpPr txBox="1"/>
          <p:nvPr/>
        </p:nvSpPr>
        <p:spPr>
          <a:xfrm>
            <a:off x="9095023" y="2512329"/>
            <a:ext cx="821626" cy="707886"/>
          </a:xfrm>
          <a:prstGeom prst="rect">
            <a:avLst/>
          </a:prstGeom>
          <a:noFill/>
          <a:ln>
            <a:noFill/>
          </a:ln>
        </p:spPr>
        <p:txBody>
          <a:bodyPr wrap="square" rtlCol="0">
            <a:spAutoFit/>
          </a:bodyPr>
          <a:lstStyle/>
          <a:p>
            <a:r>
              <a:rPr lang="en-GB" sz="1000" i="1" dirty="0">
                <a:solidFill>
                  <a:schemeClr val="accent1"/>
                </a:solidFill>
                <a:latin typeface="+mj-lt"/>
              </a:rPr>
              <a:t>Secured revenue under conditions</a:t>
            </a:r>
          </a:p>
        </p:txBody>
      </p:sp>
      <p:sp>
        <p:nvSpPr>
          <p:cNvPr id="28" name="Right Brace 27">
            <a:extLst>
              <a:ext uri="{FF2B5EF4-FFF2-40B4-BE49-F238E27FC236}">
                <a16:creationId xmlns:a16="http://schemas.microsoft.com/office/drawing/2014/main" id="{CD78E8D4-1303-410A-82C0-1D0E1C19AB0C}"/>
              </a:ext>
            </a:extLst>
          </p:cNvPr>
          <p:cNvSpPr/>
          <p:nvPr/>
        </p:nvSpPr>
        <p:spPr bwMode="auto">
          <a:xfrm>
            <a:off x="8959663" y="2000796"/>
            <a:ext cx="187200" cy="376090"/>
          </a:xfrm>
          <a:prstGeom prst="rightBrace">
            <a:avLst>
              <a:gd name="adj1" fmla="val 8333"/>
              <a:gd name="adj2" fmla="val 50000"/>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800" b="0" i="0" u="none" strike="noStrike" cap="none" normalizeH="0" baseline="0">
              <a:ln>
                <a:noFill/>
              </a:ln>
              <a:solidFill>
                <a:schemeClr val="tx1"/>
              </a:solidFill>
              <a:effectLst/>
              <a:latin typeface="Trebuchet MS" pitchFamily="34" charset="0"/>
            </a:endParaRPr>
          </a:p>
        </p:txBody>
      </p:sp>
      <p:sp>
        <p:nvSpPr>
          <p:cNvPr id="70" name="Right Brace 69">
            <a:extLst>
              <a:ext uri="{FF2B5EF4-FFF2-40B4-BE49-F238E27FC236}">
                <a16:creationId xmlns:a16="http://schemas.microsoft.com/office/drawing/2014/main" id="{5101C598-A771-49C2-B608-E0E80A510A2C}"/>
              </a:ext>
            </a:extLst>
          </p:cNvPr>
          <p:cNvSpPr/>
          <p:nvPr/>
        </p:nvSpPr>
        <p:spPr bwMode="auto">
          <a:xfrm>
            <a:off x="8959663" y="2514444"/>
            <a:ext cx="187200" cy="703657"/>
          </a:xfrm>
          <a:prstGeom prst="rightBrace">
            <a:avLst>
              <a:gd name="adj1" fmla="val 8333"/>
              <a:gd name="adj2" fmla="val 50000"/>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800" b="0" i="0" u="none" strike="noStrike" cap="none" normalizeH="0" baseline="0">
              <a:ln>
                <a:noFill/>
              </a:ln>
              <a:solidFill>
                <a:schemeClr val="accent1"/>
              </a:solidFill>
              <a:effectLst/>
              <a:latin typeface="Trebuchet MS" pitchFamily="34" charset="0"/>
            </a:endParaRPr>
          </a:p>
        </p:txBody>
      </p:sp>
      <p:sp>
        <p:nvSpPr>
          <p:cNvPr id="71" name="Right Brace 70">
            <a:extLst>
              <a:ext uri="{FF2B5EF4-FFF2-40B4-BE49-F238E27FC236}">
                <a16:creationId xmlns:a16="http://schemas.microsoft.com/office/drawing/2014/main" id="{8357F281-3F7E-4C39-B00F-4A89502A2959}"/>
              </a:ext>
            </a:extLst>
          </p:cNvPr>
          <p:cNvSpPr/>
          <p:nvPr/>
        </p:nvSpPr>
        <p:spPr bwMode="auto">
          <a:xfrm>
            <a:off x="8959663" y="3328206"/>
            <a:ext cx="187200" cy="703657"/>
          </a:xfrm>
          <a:prstGeom prst="rightBrace">
            <a:avLst>
              <a:gd name="adj1" fmla="val 8333"/>
              <a:gd name="adj2" fmla="val 5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800" b="0" i="0" u="none" strike="noStrike" cap="none" normalizeH="0" baseline="0">
              <a:ln>
                <a:noFill/>
              </a:ln>
              <a:solidFill>
                <a:schemeClr val="tx2"/>
              </a:solidFill>
              <a:effectLst/>
              <a:latin typeface="Trebuchet MS" pitchFamily="34" charset="0"/>
            </a:endParaRPr>
          </a:p>
        </p:txBody>
      </p:sp>
    </p:spTree>
    <p:extLst>
      <p:ext uri="{BB962C8B-B14F-4D97-AF65-F5344CB8AC3E}">
        <p14:creationId xmlns:p14="http://schemas.microsoft.com/office/powerpoint/2010/main" val="2838286066"/>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t 34" hidden="1">
            <a:extLst>
              <a:ext uri="{FF2B5EF4-FFF2-40B4-BE49-F238E27FC236}">
                <a16:creationId xmlns:a16="http://schemas.microsoft.com/office/drawing/2014/main" id="{6D0C25DD-0533-47FB-BB2B-FC0472B880D3}"/>
              </a:ext>
            </a:extLst>
          </p:cNvPr>
          <p:cNvGraphicFramePr>
            <a:graphicFrameLocks noChangeAspect="1"/>
          </p:cNvGraphicFramePr>
          <p:nvPr>
            <p:custDataLst>
              <p:tags r:id="rId1"/>
            </p:custDataLst>
            <p:extLst>
              <p:ext uri="{D42A27DB-BD31-4B8C-83A1-F6EECF244321}">
                <p14:modId xmlns:p14="http://schemas.microsoft.com/office/powerpoint/2010/main" val="3912908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5" name="Objet 34" hidden="1">
                        <a:extLst>
                          <a:ext uri="{FF2B5EF4-FFF2-40B4-BE49-F238E27FC236}">
                            <a16:creationId xmlns:a16="http://schemas.microsoft.com/office/drawing/2014/main" id="{6D0C25DD-0533-47FB-BB2B-FC0472B880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64330D-A578-4298-842B-B0EEED11C426}"/>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3820F9AE-72B7-4FDB-9C32-8E43C01904C0}"/>
              </a:ext>
            </a:extLst>
          </p:cNvPr>
          <p:cNvSpPr>
            <a:spLocks noGrp="1"/>
          </p:cNvSpPr>
          <p:nvPr>
            <p:ph type="title"/>
          </p:nvPr>
        </p:nvSpPr>
        <p:spPr>
          <a:xfrm>
            <a:off x="165599" y="100641"/>
            <a:ext cx="8234365" cy="700474"/>
          </a:xfrm>
          <a:noFill/>
        </p:spPr>
        <p:txBody>
          <a:bodyPr/>
          <a:lstStyle/>
          <a:p>
            <a:r>
              <a:rPr lang="en-GB" err="1">
                <a:latin typeface="Trebuchet MS"/>
              </a:rPr>
              <a:t>Altares</a:t>
            </a:r>
            <a:r>
              <a:rPr lang="en-GB">
                <a:latin typeface="Trebuchet MS"/>
              </a:rPr>
              <a:t> is the </a:t>
            </a:r>
            <a:r>
              <a:rPr lang="en-GB">
                <a:solidFill>
                  <a:schemeClr val="tx2"/>
                </a:solidFill>
                <a:latin typeface="Trebuchet MS"/>
              </a:rPr>
              <a:t>exclusive partner </a:t>
            </a:r>
            <a:r>
              <a:rPr lang="en-GB">
                <a:latin typeface="Trebuchet MS"/>
              </a:rPr>
              <a:t>of Dun &amp; Bradstreet in </a:t>
            </a:r>
            <a:r>
              <a:rPr lang="en-GB">
                <a:solidFill>
                  <a:schemeClr val="tx2"/>
                </a:solidFill>
                <a:latin typeface="Trebuchet MS"/>
              </a:rPr>
              <a:t>seven countries </a:t>
            </a:r>
            <a:r>
              <a:rPr lang="en-GB">
                <a:latin typeface="Trebuchet MS"/>
              </a:rPr>
              <a:t>with a contract </a:t>
            </a:r>
            <a:r>
              <a:rPr lang="en-GB">
                <a:solidFill>
                  <a:schemeClr val="tx2"/>
                </a:solidFill>
                <a:latin typeface="Trebuchet MS"/>
              </a:rPr>
              <a:t>running until 2031 </a:t>
            </a:r>
            <a:r>
              <a:rPr lang="en-GB">
                <a:latin typeface="Trebuchet MS"/>
              </a:rPr>
              <a:t>providing </a:t>
            </a:r>
            <a:r>
              <a:rPr lang="en-GB" err="1">
                <a:latin typeface="Trebuchet MS"/>
              </a:rPr>
              <a:t>Altares</a:t>
            </a:r>
            <a:r>
              <a:rPr lang="en-GB">
                <a:latin typeface="Trebuchet MS"/>
              </a:rPr>
              <a:t> with a </a:t>
            </a:r>
            <a:r>
              <a:rPr lang="en-GB">
                <a:solidFill>
                  <a:schemeClr val="tx2"/>
                </a:solidFill>
                <a:latin typeface="Trebuchet MS"/>
              </a:rPr>
              <a:t>worldwide coverage of its data</a:t>
            </a:r>
            <a:endParaRPr lang="en-GB">
              <a:solidFill>
                <a:schemeClr val="tx2"/>
              </a:solidFill>
              <a:highlight>
                <a:srgbClr val="FFFF00"/>
              </a:highlight>
              <a:latin typeface="Trebuchet MS"/>
            </a:endParaRPr>
          </a:p>
        </p:txBody>
      </p:sp>
      <p:sp>
        <p:nvSpPr>
          <p:cNvPr id="3" name="Espace réservé du texte 2">
            <a:extLst>
              <a:ext uri="{FF2B5EF4-FFF2-40B4-BE49-F238E27FC236}">
                <a16:creationId xmlns:a16="http://schemas.microsoft.com/office/drawing/2014/main" id="{748376CE-8CE9-4270-BCC5-FF81F21E6EB4}"/>
              </a:ext>
            </a:extLst>
          </p:cNvPr>
          <p:cNvSpPr>
            <a:spLocks noGrp="1"/>
          </p:cNvSpPr>
          <p:nvPr>
            <p:ph type="body" sz="quarter" idx="10"/>
          </p:nvPr>
        </p:nvSpPr>
        <p:spPr/>
        <p:txBody>
          <a:bodyPr/>
          <a:lstStyle/>
          <a:p>
            <a:r>
              <a:rPr lang="en-GB"/>
              <a:t>Sources: eleven research &amp; analysis, company data, interviews with management</a:t>
            </a:r>
          </a:p>
        </p:txBody>
      </p:sp>
      <p:cxnSp>
        <p:nvCxnSpPr>
          <p:cNvPr id="4" name="Connecteur droit 3">
            <a:extLst>
              <a:ext uri="{FF2B5EF4-FFF2-40B4-BE49-F238E27FC236}">
                <a16:creationId xmlns:a16="http://schemas.microsoft.com/office/drawing/2014/main" id="{35015742-1C1E-4FF0-B40D-7BF6D8BEA93A}"/>
              </a:ext>
            </a:extLst>
          </p:cNvPr>
          <p:cNvCxnSpPr>
            <a:cxnSpLocks/>
          </p:cNvCxnSpPr>
          <p:nvPr/>
        </p:nvCxnSpPr>
        <p:spPr bwMode="auto">
          <a:xfrm>
            <a:off x="201074" y="917189"/>
            <a:ext cx="9304762"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6" name="Rectangle 5">
            <a:extLst>
              <a:ext uri="{FF2B5EF4-FFF2-40B4-BE49-F238E27FC236}">
                <a16:creationId xmlns:a16="http://schemas.microsoft.com/office/drawing/2014/main" id="{DBD9DB15-66E2-47F5-8345-A626A98D460C}"/>
              </a:ext>
            </a:extLst>
          </p:cNvPr>
          <p:cNvSpPr/>
          <p:nvPr/>
        </p:nvSpPr>
        <p:spPr bwMode="auto">
          <a:xfrm>
            <a:off x="93049" y="1144390"/>
            <a:ext cx="4556860" cy="37564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 name="Rectangle 6">
            <a:extLst>
              <a:ext uri="{FF2B5EF4-FFF2-40B4-BE49-F238E27FC236}">
                <a16:creationId xmlns:a16="http://schemas.microsoft.com/office/drawing/2014/main" id="{EDF31B05-C628-49A7-84C1-8815E03B2092}"/>
              </a:ext>
            </a:extLst>
          </p:cNvPr>
          <p:cNvSpPr/>
          <p:nvPr/>
        </p:nvSpPr>
        <p:spPr bwMode="auto">
          <a:xfrm>
            <a:off x="4953000" y="1150610"/>
            <a:ext cx="4856120" cy="37564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 name="Arrondir un rectangle à un seul coin 24">
            <a:extLst>
              <a:ext uri="{FF2B5EF4-FFF2-40B4-BE49-F238E27FC236}">
                <a16:creationId xmlns:a16="http://schemas.microsoft.com/office/drawing/2014/main" id="{9F62BC4A-095C-4674-8BF1-0854344AED23}"/>
              </a:ext>
            </a:extLst>
          </p:cNvPr>
          <p:cNvSpPr/>
          <p:nvPr/>
        </p:nvSpPr>
        <p:spPr bwMode="auto">
          <a:xfrm>
            <a:off x="390054" y="1197827"/>
            <a:ext cx="761959" cy="3562180"/>
          </a:xfrm>
          <a:prstGeom prst="round1Rect">
            <a:avLst>
              <a:gd name="adj" fmla="val 0"/>
            </a:avLst>
          </a:prstGeom>
          <a:solidFill>
            <a:schemeClr val="tx2"/>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r>
              <a:rPr lang="en-GB" sz="1000" cap="small" err="1">
                <a:solidFill>
                  <a:schemeClr val="bg1"/>
                </a:solidFill>
                <a:latin typeface="Trebuchet MS" panose="020B0603020202020204" pitchFamily="34" charset="0"/>
              </a:rPr>
              <a:t>Altares</a:t>
            </a:r>
            <a:r>
              <a:rPr lang="en-GB" sz="1000" cap="small">
                <a:solidFill>
                  <a:schemeClr val="bg1"/>
                </a:solidFill>
                <a:latin typeface="Trebuchet MS" panose="020B0603020202020204" pitchFamily="34" charset="0"/>
              </a:rPr>
              <a:t> </a:t>
            </a:r>
          </a:p>
          <a:p>
            <a:pPr algn="ctr"/>
            <a:r>
              <a:rPr lang="en-GB" sz="1800" cap="small">
                <a:solidFill>
                  <a:schemeClr val="bg1"/>
                </a:solidFill>
                <a:latin typeface="Trebuchet MS" panose="020B0603020202020204" pitchFamily="34" charset="0"/>
                <a:sym typeface="Wingdings" panose="05000000000000000000" pitchFamily="2" charset="2"/>
              </a:rPr>
              <a:t> </a:t>
            </a:r>
          </a:p>
          <a:p>
            <a:pPr algn="ctr"/>
            <a:r>
              <a:rPr lang="en-GB" sz="1000" cap="small">
                <a:solidFill>
                  <a:schemeClr val="bg1"/>
                </a:solidFill>
                <a:latin typeface="Trebuchet MS" panose="020B0603020202020204" pitchFamily="34" charset="0"/>
              </a:rPr>
              <a:t>Dun &amp; Bradstreet</a:t>
            </a:r>
          </a:p>
        </p:txBody>
      </p:sp>
      <p:sp>
        <p:nvSpPr>
          <p:cNvPr id="10" name="Arrondir un rectangle à un seul coin 23">
            <a:extLst>
              <a:ext uri="{FF2B5EF4-FFF2-40B4-BE49-F238E27FC236}">
                <a16:creationId xmlns:a16="http://schemas.microsoft.com/office/drawing/2014/main" id="{6A93C87A-47E8-46EB-8D5C-35CB3C68221A}"/>
              </a:ext>
            </a:extLst>
          </p:cNvPr>
          <p:cNvSpPr/>
          <p:nvPr/>
        </p:nvSpPr>
        <p:spPr bwMode="auto">
          <a:xfrm>
            <a:off x="3795397" y="1197826"/>
            <a:ext cx="693895" cy="3562181"/>
          </a:xfrm>
          <a:prstGeom prst="round1Rect">
            <a:avLst>
              <a:gd name="adj" fmla="val 0"/>
            </a:avLst>
          </a:prstGeom>
          <a:solidFill>
            <a:schemeClr val="tx1"/>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r>
              <a:rPr lang="en-GB" sz="1000" cap="small">
                <a:solidFill>
                  <a:schemeClr val="bg1"/>
                </a:solidFill>
                <a:latin typeface="Trebuchet MS" panose="020B0603020202020204" pitchFamily="34" charset="0"/>
              </a:rPr>
              <a:t>Dun &amp; Bradstreet</a:t>
            </a:r>
          </a:p>
          <a:p>
            <a:pPr algn="ctr"/>
            <a:r>
              <a:rPr lang="en-GB" sz="1000" cap="small">
                <a:solidFill>
                  <a:schemeClr val="bg1"/>
                </a:solidFill>
                <a:latin typeface="Trebuchet MS" panose="020B0603020202020204" pitchFamily="34" charset="0"/>
              </a:rPr>
              <a:t> </a:t>
            </a:r>
            <a:r>
              <a:rPr lang="en-GB" sz="1800" cap="small">
                <a:solidFill>
                  <a:schemeClr val="bg1"/>
                </a:solidFill>
                <a:latin typeface="Trebuchet MS" panose="020B0603020202020204" pitchFamily="34" charset="0"/>
                <a:sym typeface="Wingdings" panose="05000000000000000000" pitchFamily="2" charset="2"/>
              </a:rPr>
              <a:t> </a:t>
            </a:r>
          </a:p>
          <a:p>
            <a:pPr algn="ctr"/>
            <a:r>
              <a:rPr lang="en-GB" sz="1000" cap="small" err="1">
                <a:solidFill>
                  <a:schemeClr val="bg1"/>
                </a:solidFill>
                <a:latin typeface="Trebuchet MS" panose="020B0603020202020204" pitchFamily="34" charset="0"/>
              </a:rPr>
              <a:t>Altares</a:t>
            </a:r>
            <a:endParaRPr lang="en-GB" sz="1000" cap="small">
              <a:solidFill>
                <a:schemeClr val="bg1"/>
              </a:solidFill>
              <a:latin typeface="Trebuchet MS" panose="020B0603020202020204" pitchFamily="34" charset="0"/>
            </a:endParaRPr>
          </a:p>
        </p:txBody>
      </p:sp>
      <p:sp>
        <p:nvSpPr>
          <p:cNvPr id="13" name="Flèche droite 52">
            <a:extLst>
              <a:ext uri="{FF2B5EF4-FFF2-40B4-BE49-F238E27FC236}">
                <a16:creationId xmlns:a16="http://schemas.microsoft.com/office/drawing/2014/main" id="{3DDC8206-0B22-4352-A7C3-793E20949F1B}"/>
              </a:ext>
            </a:extLst>
          </p:cNvPr>
          <p:cNvSpPr/>
          <p:nvPr/>
        </p:nvSpPr>
        <p:spPr bwMode="auto">
          <a:xfrm>
            <a:off x="1524346" y="1287975"/>
            <a:ext cx="1923775" cy="498764"/>
          </a:xfrm>
          <a:prstGeom prst="rightArrow">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1"/>
                </a:solidFill>
                <a:effectLst/>
                <a:latin typeface="Trebuchet MS" panose="020B0603020202020204" pitchFamily="34" charset="0"/>
              </a:rPr>
              <a:t>Flux 2019 </a:t>
            </a:r>
            <a:r>
              <a:rPr kumimoji="0" lang="en-GB" sz="900" b="0" i="0" u="none" strike="noStrike" cap="none" normalizeH="0" baseline="0" err="1">
                <a:ln>
                  <a:noFill/>
                </a:ln>
                <a:solidFill>
                  <a:schemeClr val="bg1"/>
                </a:solidFill>
                <a:effectLst/>
                <a:latin typeface="Trebuchet MS" panose="020B0603020202020204" pitchFamily="34" charset="0"/>
              </a:rPr>
              <a:t>Altares</a:t>
            </a:r>
            <a:r>
              <a:rPr kumimoji="0" lang="en-GB" sz="900" b="0" i="0" u="none" strike="noStrike" cap="none" normalizeH="0" baseline="0">
                <a:ln>
                  <a:noFill/>
                </a:ln>
                <a:solidFill>
                  <a:schemeClr val="bg1"/>
                </a:solidFill>
                <a:effectLst/>
                <a:latin typeface="Trebuchet MS" panose="020B0603020202020204" pitchFamily="34" charset="0"/>
              </a:rPr>
              <a:t> -&gt; D&amp;B: ~</a:t>
            </a:r>
            <a:r>
              <a:rPr lang="en-GB" sz="900">
                <a:solidFill>
                  <a:schemeClr val="bg1"/>
                </a:solidFill>
                <a:latin typeface="Trebuchet MS" panose="020B0603020202020204" pitchFamily="34" charset="0"/>
              </a:rPr>
              <a:t>7€m</a:t>
            </a:r>
            <a:endParaRPr kumimoji="0" lang="en-GB" sz="900" b="0" i="0" u="none" strike="noStrike" cap="none" normalizeH="0" baseline="0">
              <a:ln>
                <a:noFill/>
              </a:ln>
              <a:solidFill>
                <a:schemeClr val="tx2"/>
              </a:solidFill>
              <a:effectLst/>
              <a:latin typeface="Trebuchet MS" panose="020B0603020202020204" pitchFamily="34" charset="0"/>
            </a:endParaRPr>
          </a:p>
        </p:txBody>
      </p:sp>
      <p:sp>
        <p:nvSpPr>
          <p:cNvPr id="14" name="Flèche droite 58">
            <a:extLst>
              <a:ext uri="{FF2B5EF4-FFF2-40B4-BE49-F238E27FC236}">
                <a16:creationId xmlns:a16="http://schemas.microsoft.com/office/drawing/2014/main" id="{B9338DA5-F565-435D-AFC4-7915A744460F}"/>
              </a:ext>
            </a:extLst>
          </p:cNvPr>
          <p:cNvSpPr/>
          <p:nvPr/>
        </p:nvSpPr>
        <p:spPr bwMode="auto">
          <a:xfrm flipH="1">
            <a:off x="1522063" y="1684808"/>
            <a:ext cx="1878145" cy="498764"/>
          </a:xfrm>
          <a:prstGeom prst="rightArrow">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900">
                <a:solidFill>
                  <a:schemeClr val="bg1"/>
                </a:solidFill>
                <a:latin typeface="Trebuchet MS" panose="020B0603020202020204" pitchFamily="34" charset="0"/>
              </a:rPr>
              <a:t>Flux 2019 D&amp;B -&gt; Altares: ~10.2€m</a:t>
            </a:r>
            <a:endParaRPr lang="en-GB" sz="900">
              <a:latin typeface="Trebuchet MS" panose="020B0603020202020204" pitchFamily="34" charset="0"/>
            </a:endParaRPr>
          </a:p>
        </p:txBody>
      </p:sp>
      <p:sp>
        <p:nvSpPr>
          <p:cNvPr id="19" name="Rectangle 18">
            <a:extLst>
              <a:ext uri="{FF2B5EF4-FFF2-40B4-BE49-F238E27FC236}">
                <a16:creationId xmlns:a16="http://schemas.microsoft.com/office/drawing/2014/main" id="{49A05D93-7CA8-4353-B161-43B4768B24DC}"/>
              </a:ext>
            </a:extLst>
          </p:cNvPr>
          <p:cNvSpPr/>
          <p:nvPr/>
        </p:nvSpPr>
        <p:spPr bwMode="auto">
          <a:xfrm>
            <a:off x="1447191" y="2213920"/>
            <a:ext cx="2065959" cy="579214"/>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000" dirty="0">
                <a:solidFill>
                  <a:schemeClr val="bg1"/>
                </a:solidFill>
                <a:latin typeface="Trebuchet MS" panose="020B0603020202020204" pitchFamily="34" charset="0"/>
              </a:rPr>
              <a:t>revenue from D&amp;B Products In France (billing, 2019)</a:t>
            </a:r>
          </a:p>
          <a:p>
            <a:pPr algn="ctr"/>
            <a:r>
              <a:rPr lang="en-GB" b="1" dirty="0">
                <a:solidFill>
                  <a:schemeClr val="bg1"/>
                </a:solidFill>
                <a:latin typeface="Trebuchet MS" panose="020B0603020202020204" pitchFamily="34" charset="0"/>
              </a:rPr>
              <a:t>~17.6€m</a:t>
            </a:r>
            <a:endParaRPr lang="en-GB" sz="1000" b="1" dirty="0">
              <a:solidFill>
                <a:schemeClr val="bg1"/>
              </a:solidFill>
              <a:latin typeface="Trebuchet MS" panose="020B0603020202020204" pitchFamily="34" charset="0"/>
            </a:endParaRPr>
          </a:p>
        </p:txBody>
      </p:sp>
      <p:sp>
        <p:nvSpPr>
          <p:cNvPr id="29" name="Rectangle 28">
            <a:extLst>
              <a:ext uri="{FF2B5EF4-FFF2-40B4-BE49-F238E27FC236}">
                <a16:creationId xmlns:a16="http://schemas.microsoft.com/office/drawing/2014/main" id="{6A57239F-273F-4B05-AABA-99F407B112E6}"/>
              </a:ext>
            </a:extLst>
          </p:cNvPr>
          <p:cNvSpPr/>
          <p:nvPr/>
        </p:nvSpPr>
        <p:spPr bwMode="auto">
          <a:xfrm>
            <a:off x="1374886" y="1197827"/>
            <a:ext cx="2233367" cy="1654002"/>
          </a:xfrm>
          <a:prstGeom prst="rect">
            <a:avLst/>
          </a:prstGeom>
          <a:noFill/>
          <a:ln w="9525" cap="flat" cmpd="sng" algn="ctr">
            <a:solidFill>
              <a:schemeClr val="accent1"/>
            </a:solidFill>
            <a:prstDash val="lg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6" name="Flèche droite 52">
            <a:extLst>
              <a:ext uri="{FF2B5EF4-FFF2-40B4-BE49-F238E27FC236}">
                <a16:creationId xmlns:a16="http://schemas.microsoft.com/office/drawing/2014/main" id="{0FA9C5EB-911B-461F-B036-2EDC726DACAA}"/>
              </a:ext>
            </a:extLst>
          </p:cNvPr>
          <p:cNvSpPr/>
          <p:nvPr/>
        </p:nvSpPr>
        <p:spPr bwMode="auto">
          <a:xfrm>
            <a:off x="1524346" y="3078142"/>
            <a:ext cx="1923775" cy="498764"/>
          </a:xfrm>
          <a:prstGeom prst="rightArrow">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1"/>
                </a:solidFill>
                <a:effectLst/>
                <a:latin typeface="Trebuchet MS" panose="020B0603020202020204" pitchFamily="34" charset="0"/>
              </a:rPr>
              <a:t>Flux 2019 Altares -&gt; D&amp;B: ~30.4€m</a:t>
            </a:r>
            <a:endParaRPr kumimoji="0" lang="en-GB" sz="900" b="0" i="0" u="none" strike="noStrike" cap="none" normalizeH="0" baseline="0">
              <a:ln>
                <a:noFill/>
              </a:ln>
              <a:solidFill>
                <a:schemeClr val="tx2"/>
              </a:solidFill>
              <a:effectLst/>
              <a:latin typeface="Trebuchet MS" panose="020B0603020202020204" pitchFamily="34" charset="0"/>
            </a:endParaRPr>
          </a:p>
        </p:txBody>
      </p:sp>
      <p:sp>
        <p:nvSpPr>
          <p:cNvPr id="37" name="Flèche droite 58">
            <a:extLst>
              <a:ext uri="{FF2B5EF4-FFF2-40B4-BE49-F238E27FC236}">
                <a16:creationId xmlns:a16="http://schemas.microsoft.com/office/drawing/2014/main" id="{EDD82E92-AC5D-4EDC-9641-8F05B60D3C20}"/>
              </a:ext>
            </a:extLst>
          </p:cNvPr>
          <p:cNvSpPr/>
          <p:nvPr/>
        </p:nvSpPr>
        <p:spPr bwMode="auto">
          <a:xfrm flipH="1">
            <a:off x="1522063" y="3466625"/>
            <a:ext cx="1878145" cy="498764"/>
          </a:xfrm>
          <a:prstGeom prst="rightArrow">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900">
                <a:solidFill>
                  <a:schemeClr val="bg1"/>
                </a:solidFill>
                <a:latin typeface="Trebuchet MS" panose="020B0603020202020204" pitchFamily="34" charset="0"/>
              </a:rPr>
              <a:t>Flux 2019 D&amp;B -&gt; Altares: ~7.8€m</a:t>
            </a:r>
            <a:endParaRPr lang="en-GB" sz="900">
              <a:latin typeface="Trebuchet MS" panose="020B0603020202020204" pitchFamily="34" charset="0"/>
            </a:endParaRPr>
          </a:p>
        </p:txBody>
      </p:sp>
      <p:sp>
        <p:nvSpPr>
          <p:cNvPr id="38" name="Rectangle 37">
            <a:extLst>
              <a:ext uri="{FF2B5EF4-FFF2-40B4-BE49-F238E27FC236}">
                <a16:creationId xmlns:a16="http://schemas.microsoft.com/office/drawing/2014/main" id="{19958C83-CA2C-45E2-A9D5-146D8A1C38CE}"/>
              </a:ext>
            </a:extLst>
          </p:cNvPr>
          <p:cNvSpPr/>
          <p:nvPr/>
        </p:nvSpPr>
        <p:spPr bwMode="auto">
          <a:xfrm>
            <a:off x="1447191" y="4006172"/>
            <a:ext cx="2065959" cy="579214"/>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000" dirty="0">
                <a:solidFill>
                  <a:schemeClr val="bg1"/>
                </a:solidFill>
                <a:latin typeface="Trebuchet MS" panose="020B0603020202020204" pitchFamily="34" charset="0"/>
              </a:rPr>
              <a:t>revenue from D&amp;B Products In Benelux (booking, 2019)</a:t>
            </a:r>
          </a:p>
          <a:p>
            <a:pPr algn="ctr"/>
            <a:r>
              <a:rPr lang="en-GB" b="1" dirty="0">
                <a:solidFill>
                  <a:schemeClr val="bg1"/>
                </a:solidFill>
                <a:latin typeface="Trebuchet MS" panose="020B0603020202020204" pitchFamily="34" charset="0"/>
              </a:rPr>
              <a:t>~37.9€m</a:t>
            </a:r>
          </a:p>
        </p:txBody>
      </p:sp>
      <p:sp>
        <p:nvSpPr>
          <p:cNvPr id="39" name="Rectangle 38">
            <a:extLst>
              <a:ext uri="{FF2B5EF4-FFF2-40B4-BE49-F238E27FC236}">
                <a16:creationId xmlns:a16="http://schemas.microsoft.com/office/drawing/2014/main" id="{6E3E471B-9108-45D9-9B3A-CC2D68284D48}"/>
              </a:ext>
            </a:extLst>
          </p:cNvPr>
          <p:cNvSpPr/>
          <p:nvPr/>
        </p:nvSpPr>
        <p:spPr bwMode="auto">
          <a:xfrm>
            <a:off x="1374886" y="2912091"/>
            <a:ext cx="2233367" cy="1847915"/>
          </a:xfrm>
          <a:prstGeom prst="rect">
            <a:avLst/>
          </a:prstGeom>
          <a:noFill/>
          <a:ln w="9525" cap="flat" cmpd="sng" algn="ctr">
            <a:solidFill>
              <a:schemeClr val="accent1"/>
            </a:solidFill>
            <a:prstDash val="lg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0" name="Ellipse 19">
            <a:extLst>
              <a:ext uri="{FF2B5EF4-FFF2-40B4-BE49-F238E27FC236}">
                <a16:creationId xmlns:a16="http://schemas.microsoft.com/office/drawing/2014/main" id="{D54E648E-9AB7-48BC-8D79-4A661BA4B99C}"/>
              </a:ext>
            </a:extLst>
          </p:cNvPr>
          <p:cNvSpPr/>
          <p:nvPr/>
        </p:nvSpPr>
        <p:spPr bwMode="auto">
          <a:xfrm>
            <a:off x="1278118" y="2349031"/>
            <a:ext cx="323233" cy="342885"/>
          </a:xfrm>
          <a:prstGeom prst="ellipse">
            <a:avLst/>
          </a:prstGeom>
          <a:solidFill>
            <a:schemeClr val="bg2"/>
          </a:solidFill>
          <a:ln w="2857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a:ln>
                <a:noFill/>
              </a:ln>
              <a:solidFill>
                <a:schemeClr val="bg1"/>
              </a:solidFill>
              <a:effectLst/>
              <a:latin typeface="Trebuchet MS" pitchFamily="34" charset="0"/>
            </a:endParaRPr>
          </a:p>
        </p:txBody>
      </p:sp>
      <p:sp>
        <p:nvSpPr>
          <p:cNvPr id="21" name="ZoneTexte 20">
            <a:extLst>
              <a:ext uri="{FF2B5EF4-FFF2-40B4-BE49-F238E27FC236}">
                <a16:creationId xmlns:a16="http://schemas.microsoft.com/office/drawing/2014/main" id="{4413C54A-23FB-4FFC-A537-E5B039B6EFC0}"/>
              </a:ext>
            </a:extLst>
          </p:cNvPr>
          <p:cNvSpPr txBox="1"/>
          <p:nvPr/>
        </p:nvSpPr>
        <p:spPr>
          <a:xfrm>
            <a:off x="1207670" y="2316849"/>
            <a:ext cx="464128" cy="400110"/>
          </a:xfrm>
          <a:prstGeom prst="rect">
            <a:avLst/>
          </a:prstGeom>
          <a:noFill/>
          <a:ln>
            <a:noFill/>
          </a:ln>
        </p:spPr>
        <p:txBody>
          <a:bodyPr wrap="square" rtlCol="0">
            <a:spAutoFit/>
          </a:bodyPr>
          <a:lstStyle/>
          <a:p>
            <a:pPr algn="ctr"/>
            <a:r>
              <a:rPr lang="en-GB" sz="2000" b="1">
                <a:solidFill>
                  <a:schemeClr val="bg1"/>
                </a:solidFill>
                <a:latin typeface="Trebuchet MS" panose="020B0603020202020204" pitchFamily="34" charset="0"/>
              </a:rPr>
              <a:t>+</a:t>
            </a:r>
          </a:p>
        </p:txBody>
      </p:sp>
      <p:sp>
        <p:nvSpPr>
          <p:cNvPr id="41" name="Ellipse 40">
            <a:extLst>
              <a:ext uri="{FF2B5EF4-FFF2-40B4-BE49-F238E27FC236}">
                <a16:creationId xmlns:a16="http://schemas.microsoft.com/office/drawing/2014/main" id="{D02B8EB8-EAC5-4CC3-BD5A-E3165F30F6A9}"/>
              </a:ext>
            </a:extLst>
          </p:cNvPr>
          <p:cNvSpPr/>
          <p:nvPr/>
        </p:nvSpPr>
        <p:spPr bwMode="auto">
          <a:xfrm>
            <a:off x="1278118" y="4124337"/>
            <a:ext cx="323233" cy="342885"/>
          </a:xfrm>
          <a:prstGeom prst="ellipse">
            <a:avLst/>
          </a:prstGeom>
          <a:solidFill>
            <a:schemeClr val="bg2"/>
          </a:solidFill>
          <a:ln w="2857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a:ln>
                <a:noFill/>
              </a:ln>
              <a:solidFill>
                <a:schemeClr val="bg1"/>
              </a:solidFill>
              <a:effectLst/>
              <a:latin typeface="Trebuchet MS" pitchFamily="34" charset="0"/>
            </a:endParaRPr>
          </a:p>
        </p:txBody>
      </p:sp>
      <p:sp>
        <p:nvSpPr>
          <p:cNvPr id="42" name="ZoneTexte 41">
            <a:extLst>
              <a:ext uri="{FF2B5EF4-FFF2-40B4-BE49-F238E27FC236}">
                <a16:creationId xmlns:a16="http://schemas.microsoft.com/office/drawing/2014/main" id="{034C130F-7FD0-4EA3-8AFC-344475A7868A}"/>
              </a:ext>
            </a:extLst>
          </p:cNvPr>
          <p:cNvSpPr txBox="1"/>
          <p:nvPr/>
        </p:nvSpPr>
        <p:spPr>
          <a:xfrm>
            <a:off x="1207670" y="4095724"/>
            <a:ext cx="464128" cy="400110"/>
          </a:xfrm>
          <a:prstGeom prst="rect">
            <a:avLst/>
          </a:prstGeom>
          <a:noFill/>
          <a:ln>
            <a:noFill/>
          </a:ln>
        </p:spPr>
        <p:txBody>
          <a:bodyPr wrap="square" rtlCol="0">
            <a:spAutoFit/>
          </a:bodyPr>
          <a:lstStyle/>
          <a:p>
            <a:pPr algn="ctr"/>
            <a:r>
              <a:rPr lang="en-GB" sz="2000" b="1">
                <a:solidFill>
                  <a:schemeClr val="bg1"/>
                </a:solidFill>
                <a:latin typeface="Trebuchet MS" panose="020B0603020202020204" pitchFamily="34" charset="0"/>
              </a:rPr>
              <a:t>+</a:t>
            </a:r>
          </a:p>
        </p:txBody>
      </p:sp>
      <p:sp>
        <p:nvSpPr>
          <p:cNvPr id="43" name="Rectangle 42">
            <a:extLst>
              <a:ext uri="{FF2B5EF4-FFF2-40B4-BE49-F238E27FC236}">
                <a16:creationId xmlns:a16="http://schemas.microsoft.com/office/drawing/2014/main" id="{2FF5ED70-50C7-4628-992D-BA68A952A0A1}"/>
              </a:ext>
            </a:extLst>
          </p:cNvPr>
          <p:cNvSpPr/>
          <p:nvPr/>
        </p:nvSpPr>
        <p:spPr bwMode="auto">
          <a:xfrm>
            <a:off x="77626" y="4982253"/>
            <a:ext cx="9716071" cy="14803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lvl="1" indent="-171450">
              <a:spcBef>
                <a:spcPts val="300"/>
              </a:spcBef>
              <a:buClr>
                <a:schemeClr val="tx1"/>
              </a:buClr>
              <a:buFont typeface="Arial" panose="020B0604020202020204" pitchFamily="34" charset="0"/>
              <a:buChar char="•"/>
            </a:pPr>
            <a:r>
              <a:rPr lang="en-GB" sz="1000" err="1">
                <a:latin typeface="Trebuchet MS" panose="020B0603020202020204" pitchFamily="34" charset="0"/>
              </a:rPr>
              <a:t>Altares</a:t>
            </a:r>
            <a:r>
              <a:rPr lang="en-GB" sz="1000">
                <a:latin typeface="Trebuchet MS" panose="020B0603020202020204" pitchFamily="34" charset="0"/>
              </a:rPr>
              <a:t> is a </a:t>
            </a:r>
            <a:r>
              <a:rPr lang="en-GB" sz="1000">
                <a:solidFill>
                  <a:schemeClr val="tx2"/>
                </a:solidFill>
                <a:latin typeface="Trebuchet MS" panose="020B0603020202020204" pitchFamily="34" charset="0"/>
              </a:rPr>
              <a:t>trusted partner </a:t>
            </a:r>
            <a:r>
              <a:rPr lang="en-GB" sz="1000">
                <a:latin typeface="Trebuchet MS" panose="020B0603020202020204" pitchFamily="34" charset="0"/>
              </a:rPr>
              <a:t>that has been providing quality data to D&amp;B for years </a:t>
            </a:r>
          </a:p>
          <a:p>
            <a:pPr marL="628650" lvl="2" indent="-171450">
              <a:spcBef>
                <a:spcPts val="300"/>
              </a:spcBef>
              <a:buClr>
                <a:schemeClr val="tx1"/>
              </a:buClr>
              <a:buFont typeface="Courier New" panose="02070309020205020404" pitchFamily="49" charset="0"/>
              <a:buChar char="o"/>
            </a:pPr>
            <a:r>
              <a:rPr lang="en-GB" sz="1000">
                <a:latin typeface="Trebuchet MS" panose="020B0603020202020204" pitchFamily="34" charset="0"/>
              </a:rPr>
              <a:t>The contract with D&amp;B has been renewed until 2031: </a:t>
            </a:r>
            <a:r>
              <a:rPr lang="en-GB" sz="1000">
                <a:solidFill>
                  <a:schemeClr val="tx2"/>
                </a:solidFill>
                <a:latin typeface="Trebuchet MS" panose="020B0603020202020204" pitchFamily="34" charset="0"/>
              </a:rPr>
              <a:t>D&amp;B's share of </a:t>
            </a:r>
            <a:r>
              <a:rPr lang="en-GB" sz="1000" err="1">
                <a:solidFill>
                  <a:schemeClr val="tx2"/>
                </a:solidFill>
                <a:latin typeface="Trebuchet MS" panose="020B0603020202020204" pitchFamily="34" charset="0"/>
              </a:rPr>
              <a:t>Altares</a:t>
            </a:r>
            <a:r>
              <a:rPr lang="en-GB" sz="1000">
                <a:solidFill>
                  <a:schemeClr val="tx2"/>
                </a:solidFill>
                <a:latin typeface="Trebuchet MS" panose="020B0603020202020204" pitchFamily="34" charset="0"/>
              </a:rPr>
              <a:t>’ booking is therefore guaranteed until 2031</a:t>
            </a:r>
          </a:p>
          <a:p>
            <a:pPr marL="171450" lvl="1" indent="-171450">
              <a:spcBef>
                <a:spcPts val="300"/>
              </a:spcBef>
              <a:buClr>
                <a:schemeClr val="tx1"/>
              </a:buClr>
              <a:buFont typeface="Arial" panose="020B0604020202020204" pitchFamily="34" charset="0"/>
              <a:buChar char="•"/>
            </a:pPr>
            <a:r>
              <a:rPr lang="en-GB" sz="1000" err="1">
                <a:latin typeface="Trebuchet MS" panose="020B0603020202020204" pitchFamily="34" charset="0"/>
              </a:rPr>
              <a:t>Altares</a:t>
            </a:r>
            <a:r>
              <a:rPr lang="en-GB" sz="1000">
                <a:latin typeface="Trebuchet MS" panose="020B0603020202020204" pitchFamily="34" charset="0"/>
              </a:rPr>
              <a:t> (France, Benelux) is one of the most </a:t>
            </a:r>
            <a:r>
              <a:rPr lang="en-GB" sz="1000">
                <a:solidFill>
                  <a:schemeClr val="tx2"/>
                </a:solidFill>
                <a:latin typeface="Trebuchet MS" panose="020B0603020202020204" pitchFamily="34" charset="0"/>
              </a:rPr>
              <a:t>important</a:t>
            </a:r>
            <a:r>
              <a:rPr lang="en-GB" sz="1000">
                <a:latin typeface="Trebuchet MS" panose="020B0603020202020204" pitchFamily="34" charset="0"/>
              </a:rPr>
              <a:t> </a:t>
            </a:r>
            <a:r>
              <a:rPr lang="en-GB" sz="1000">
                <a:solidFill>
                  <a:schemeClr val="tx2"/>
                </a:solidFill>
                <a:latin typeface="Trebuchet MS" panose="020B0603020202020204" pitchFamily="34" charset="0"/>
              </a:rPr>
              <a:t>exclusive</a:t>
            </a:r>
            <a:r>
              <a:rPr lang="en-GB" sz="1000">
                <a:latin typeface="Trebuchet MS" panose="020B0603020202020204" pitchFamily="34" charset="0"/>
              </a:rPr>
              <a:t> </a:t>
            </a:r>
            <a:r>
              <a:rPr lang="en-GB" sz="1000">
                <a:solidFill>
                  <a:schemeClr val="tx2"/>
                </a:solidFill>
                <a:latin typeface="Trebuchet MS" panose="020B0603020202020204" pitchFamily="34" charset="0"/>
              </a:rPr>
              <a:t>partner of D&amp;B </a:t>
            </a:r>
            <a:r>
              <a:rPr lang="en-GB" sz="1000">
                <a:latin typeface="Trebuchet MS" panose="020B0603020202020204" pitchFamily="34" charset="0"/>
              </a:rPr>
              <a:t>in terms of turnover (~20% of the €140€m D&amp;B worldwide network turnover)</a:t>
            </a:r>
          </a:p>
          <a:p>
            <a:pPr marL="628650" lvl="2" indent="-171450">
              <a:spcBef>
                <a:spcPts val="300"/>
              </a:spcBef>
              <a:buClr>
                <a:schemeClr val="tx1"/>
              </a:buClr>
              <a:buFont typeface="Courier New" panose="02070309020205020404" pitchFamily="49" charset="0"/>
              <a:buChar char="o"/>
            </a:pPr>
            <a:r>
              <a:rPr lang="en-GB" sz="1000">
                <a:latin typeface="Trebuchet MS" panose="020B0603020202020204" pitchFamily="34" charset="0"/>
              </a:rPr>
              <a:t>All the data collected by </a:t>
            </a:r>
            <a:r>
              <a:rPr lang="en-GB" sz="1000" err="1">
                <a:latin typeface="Trebuchet MS" panose="020B0603020202020204" pitchFamily="34" charset="0"/>
              </a:rPr>
              <a:t>Altares</a:t>
            </a:r>
            <a:r>
              <a:rPr lang="en-GB" sz="1000">
                <a:latin typeface="Trebuchet MS" panose="020B0603020202020204" pitchFamily="34" charset="0"/>
              </a:rPr>
              <a:t> in </a:t>
            </a:r>
            <a:r>
              <a:rPr lang="en-GB" sz="1000">
                <a:solidFill>
                  <a:schemeClr val="tx2"/>
                </a:solidFill>
                <a:latin typeface="Trebuchet MS" panose="020B0603020202020204" pitchFamily="34" charset="0"/>
              </a:rPr>
              <a:t>France</a:t>
            </a:r>
            <a:r>
              <a:rPr lang="en-GB" sz="1000">
                <a:latin typeface="Trebuchet MS" panose="020B0603020202020204" pitchFamily="34" charset="0"/>
              </a:rPr>
              <a:t>, </a:t>
            </a:r>
            <a:r>
              <a:rPr lang="en-GB" sz="1000">
                <a:solidFill>
                  <a:schemeClr val="tx2"/>
                </a:solidFill>
                <a:latin typeface="Trebuchet MS" panose="020B0603020202020204" pitchFamily="34" charset="0"/>
              </a:rPr>
              <a:t>Benelux</a:t>
            </a:r>
            <a:r>
              <a:rPr lang="en-GB" sz="1000">
                <a:latin typeface="Trebuchet MS" panose="020B0603020202020204" pitchFamily="34" charset="0"/>
              </a:rPr>
              <a:t> and </a:t>
            </a:r>
            <a:r>
              <a:rPr lang="en-GB" sz="1000">
                <a:solidFill>
                  <a:schemeClr val="tx2"/>
                </a:solidFill>
                <a:latin typeface="Trebuchet MS" panose="020B0603020202020204" pitchFamily="34" charset="0"/>
              </a:rPr>
              <a:t>Maghreb</a:t>
            </a:r>
            <a:r>
              <a:rPr lang="en-GB" sz="1000">
                <a:latin typeface="Trebuchet MS" panose="020B0603020202020204" pitchFamily="34" charset="0"/>
              </a:rPr>
              <a:t> are </a:t>
            </a:r>
            <a:r>
              <a:rPr lang="en-GB" sz="1000">
                <a:solidFill>
                  <a:schemeClr val="tx2"/>
                </a:solidFill>
                <a:latin typeface="Trebuchet MS" panose="020B0603020202020204" pitchFamily="34" charset="0"/>
              </a:rPr>
              <a:t>distributed</a:t>
            </a:r>
            <a:r>
              <a:rPr lang="en-GB" sz="1000">
                <a:latin typeface="Trebuchet MS" panose="020B0603020202020204" pitchFamily="34" charset="0"/>
              </a:rPr>
              <a:t> </a:t>
            </a:r>
            <a:r>
              <a:rPr lang="en-GB" sz="1000">
                <a:solidFill>
                  <a:schemeClr val="tx2"/>
                </a:solidFill>
                <a:latin typeface="Trebuchet MS" panose="020B0603020202020204" pitchFamily="34" charset="0"/>
              </a:rPr>
              <a:t>by</a:t>
            </a:r>
            <a:r>
              <a:rPr lang="en-GB" sz="1000">
                <a:latin typeface="Trebuchet MS" panose="020B0603020202020204" pitchFamily="34" charset="0"/>
              </a:rPr>
              <a:t> </a:t>
            </a:r>
            <a:r>
              <a:rPr lang="en-GB" sz="1000">
                <a:solidFill>
                  <a:schemeClr val="tx2"/>
                </a:solidFill>
                <a:latin typeface="Trebuchet MS" panose="020B0603020202020204" pitchFamily="34" charset="0"/>
              </a:rPr>
              <a:t>D&amp;B</a:t>
            </a:r>
            <a:r>
              <a:rPr lang="en-GB" sz="1000">
                <a:latin typeface="Trebuchet MS" panose="020B0603020202020204" pitchFamily="34" charset="0"/>
              </a:rPr>
              <a:t> network around the </a:t>
            </a:r>
            <a:r>
              <a:rPr lang="en-GB" sz="1000">
                <a:solidFill>
                  <a:schemeClr val="tx2"/>
                </a:solidFill>
                <a:latin typeface="Trebuchet MS" panose="020B0603020202020204" pitchFamily="34" charset="0"/>
              </a:rPr>
              <a:t>world</a:t>
            </a:r>
            <a:endParaRPr lang="en-GB" sz="1000">
              <a:latin typeface="Trebuchet MS" panose="020B0603020202020204" pitchFamily="34" charset="0"/>
            </a:endParaRPr>
          </a:p>
          <a:p>
            <a:pPr marL="171450" lvl="1" indent="-171450">
              <a:spcBef>
                <a:spcPts val="300"/>
              </a:spcBef>
              <a:buClr>
                <a:schemeClr val="tx1"/>
              </a:buClr>
              <a:buFont typeface="Arial" panose="020B0604020202020204" pitchFamily="34" charset="0"/>
              <a:buChar char="•"/>
            </a:pPr>
            <a:r>
              <a:rPr lang="en-GB" sz="1000" err="1">
                <a:latin typeface="Trebuchet MS" panose="020B0603020202020204" pitchFamily="34" charset="0"/>
              </a:rPr>
              <a:t>Altares</a:t>
            </a:r>
            <a:r>
              <a:rPr lang="en-GB" sz="1000">
                <a:latin typeface="Trebuchet MS" panose="020B0603020202020204" pitchFamily="34" charset="0"/>
              </a:rPr>
              <a:t> benefits from </a:t>
            </a:r>
            <a:r>
              <a:rPr lang="en-GB" sz="1000">
                <a:solidFill>
                  <a:schemeClr val="tx2"/>
                </a:solidFill>
                <a:latin typeface="Trebuchet MS" panose="020B0603020202020204" pitchFamily="34" charset="0"/>
              </a:rPr>
              <a:t>D&amp;B brand image</a:t>
            </a:r>
            <a:r>
              <a:rPr lang="en-GB" sz="1000">
                <a:latin typeface="Trebuchet MS" panose="020B0603020202020204" pitchFamily="34" charset="0"/>
              </a:rPr>
              <a:t>, considered as a market leader thanks to the </a:t>
            </a:r>
            <a:r>
              <a:rPr lang="en-GB" sz="1000">
                <a:solidFill>
                  <a:schemeClr val="tx2"/>
                </a:solidFill>
                <a:latin typeface="Trebuchet MS" panose="020B0603020202020204" pitchFamily="34" charset="0"/>
              </a:rPr>
              <a:t>high-quality</a:t>
            </a:r>
            <a:r>
              <a:rPr lang="en-GB" sz="1000">
                <a:latin typeface="Trebuchet MS" panose="020B0603020202020204" pitchFamily="34" charset="0"/>
              </a:rPr>
              <a:t> international data and the </a:t>
            </a:r>
            <a:r>
              <a:rPr lang="en-GB" sz="1000">
                <a:solidFill>
                  <a:schemeClr val="tx2"/>
                </a:solidFill>
                <a:latin typeface="Trebuchet MS" panose="020B0603020202020204" pitchFamily="34" charset="0"/>
              </a:rPr>
              <a:t>homogeneity of its database</a:t>
            </a:r>
          </a:p>
          <a:p>
            <a:pPr marL="171450" lvl="1" indent="-171450">
              <a:spcBef>
                <a:spcPts val="300"/>
              </a:spcBef>
              <a:buClr>
                <a:schemeClr val="tx1"/>
              </a:buClr>
              <a:buFont typeface="Arial" panose="020B0604020202020204" pitchFamily="34" charset="0"/>
              <a:buChar char="•"/>
            </a:pPr>
            <a:r>
              <a:rPr lang="en-GB" sz="1000">
                <a:solidFill>
                  <a:schemeClr val="tx2"/>
                </a:solidFill>
                <a:latin typeface="Trebuchet MS" panose="020B0603020202020204" pitchFamily="34" charset="0"/>
              </a:rPr>
              <a:t>Dun &amp; Bradstreet</a:t>
            </a:r>
            <a:r>
              <a:rPr lang="en-GB" sz="1000">
                <a:latin typeface="Trebuchet MS" panose="020B0603020202020204" pitchFamily="34" charset="0"/>
              </a:rPr>
              <a:t> provides the </a:t>
            </a:r>
            <a:r>
              <a:rPr lang="en-GB" sz="1000">
                <a:solidFill>
                  <a:schemeClr val="tx2"/>
                </a:solidFill>
                <a:latin typeface="Trebuchet MS" panose="020B0603020202020204" pitchFamily="34" charset="0"/>
              </a:rPr>
              <a:t>IT</a:t>
            </a:r>
            <a:r>
              <a:rPr lang="en-GB" sz="1000">
                <a:latin typeface="Trebuchet MS" panose="020B0603020202020204" pitchFamily="34" charset="0"/>
              </a:rPr>
              <a:t> </a:t>
            </a:r>
            <a:r>
              <a:rPr lang="en-GB" sz="1000">
                <a:solidFill>
                  <a:schemeClr val="tx2"/>
                </a:solidFill>
                <a:latin typeface="Trebuchet MS" panose="020B0603020202020204" pitchFamily="34" charset="0"/>
              </a:rPr>
              <a:t>platform</a:t>
            </a:r>
            <a:r>
              <a:rPr lang="en-GB" sz="1000">
                <a:latin typeface="Trebuchet MS" panose="020B0603020202020204" pitchFamily="34" charset="0"/>
              </a:rPr>
              <a:t> that enables the data storage and production of the D&amp;B services distributed by </a:t>
            </a:r>
            <a:r>
              <a:rPr lang="en-GB" sz="1000" err="1">
                <a:latin typeface="Trebuchet MS" panose="020B0603020202020204" pitchFamily="34" charset="0"/>
              </a:rPr>
              <a:t>Altares</a:t>
            </a:r>
            <a:r>
              <a:rPr lang="en-GB" sz="1000">
                <a:latin typeface="Trebuchet MS" panose="020B0603020202020204" pitchFamily="34" charset="0"/>
              </a:rPr>
              <a:t> </a:t>
            </a:r>
          </a:p>
          <a:p>
            <a:pPr marL="628650" lvl="2" indent="-171450">
              <a:spcBef>
                <a:spcPts val="300"/>
              </a:spcBef>
              <a:buClr>
                <a:schemeClr val="tx1"/>
              </a:buClr>
              <a:buFont typeface="Courier New" panose="02070309020205020404" pitchFamily="49" charset="0"/>
              <a:buChar char="o"/>
            </a:pPr>
            <a:r>
              <a:rPr lang="en-GB" sz="1000">
                <a:solidFill>
                  <a:schemeClr val="tx2"/>
                </a:solidFill>
                <a:latin typeface="Trebuchet MS" panose="020B0603020202020204" pitchFamily="34" charset="0"/>
              </a:rPr>
              <a:t>D&amp;B products </a:t>
            </a:r>
            <a:r>
              <a:rPr lang="en-GB" sz="1000">
                <a:latin typeface="Trebuchet MS" panose="020B0603020202020204" pitchFamily="34" charset="0"/>
              </a:rPr>
              <a:t>distributed by </a:t>
            </a:r>
            <a:r>
              <a:rPr lang="en-GB" sz="1000" err="1">
                <a:latin typeface="Trebuchet MS" panose="020B0603020202020204" pitchFamily="34" charset="0"/>
              </a:rPr>
              <a:t>Altares</a:t>
            </a:r>
            <a:r>
              <a:rPr lang="en-GB" sz="1000">
                <a:latin typeface="Trebuchet MS" panose="020B0603020202020204" pitchFamily="34" charset="0"/>
              </a:rPr>
              <a:t> group generated ~55.5€m or ~50% of its turnover in 2019</a:t>
            </a:r>
            <a:endParaRPr lang="en-GB" sz="1000">
              <a:solidFill>
                <a:schemeClr val="tx2"/>
              </a:solidFill>
              <a:latin typeface="Trebuchet MS" panose="020B0603020202020204" pitchFamily="34" charset="0"/>
            </a:endParaRPr>
          </a:p>
        </p:txBody>
      </p:sp>
      <p:graphicFrame>
        <p:nvGraphicFramePr>
          <p:cNvPr id="45" name="Graphique 44">
            <a:extLst>
              <a:ext uri="{FF2B5EF4-FFF2-40B4-BE49-F238E27FC236}">
                <a16:creationId xmlns:a16="http://schemas.microsoft.com/office/drawing/2014/main" id="{7D0EFD98-758B-45B3-97BF-CE241986ECF7}"/>
              </a:ext>
            </a:extLst>
          </p:cNvPr>
          <p:cNvGraphicFramePr/>
          <p:nvPr>
            <p:extLst>
              <p:ext uri="{D42A27DB-BD31-4B8C-83A1-F6EECF244321}">
                <p14:modId xmlns:p14="http://schemas.microsoft.com/office/powerpoint/2010/main" val="3376974451"/>
              </p:ext>
            </p:extLst>
          </p:nvPr>
        </p:nvGraphicFramePr>
        <p:xfrm>
          <a:off x="5421316" y="1200751"/>
          <a:ext cx="4239515" cy="161602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9" name="Graphique 48">
            <a:extLst>
              <a:ext uri="{FF2B5EF4-FFF2-40B4-BE49-F238E27FC236}">
                <a16:creationId xmlns:a16="http://schemas.microsoft.com/office/drawing/2014/main" id="{1903CFC9-61D0-4FF7-A22F-28FA1F560959}"/>
              </a:ext>
            </a:extLst>
          </p:cNvPr>
          <p:cNvGraphicFramePr/>
          <p:nvPr>
            <p:extLst>
              <p:ext uri="{D42A27DB-BD31-4B8C-83A1-F6EECF244321}">
                <p14:modId xmlns:p14="http://schemas.microsoft.com/office/powerpoint/2010/main" val="3606297246"/>
              </p:ext>
            </p:extLst>
          </p:nvPr>
        </p:nvGraphicFramePr>
        <p:xfrm>
          <a:off x="5421316" y="2921366"/>
          <a:ext cx="4239515" cy="1842817"/>
        </p:xfrm>
        <a:graphic>
          <a:graphicData uri="http://schemas.openxmlformats.org/drawingml/2006/chart">
            <c:chart xmlns:c="http://schemas.openxmlformats.org/drawingml/2006/chart" xmlns:r="http://schemas.openxmlformats.org/officeDocument/2006/relationships" r:id="rId7"/>
          </a:graphicData>
        </a:graphic>
      </p:graphicFrame>
      <p:sp>
        <p:nvSpPr>
          <p:cNvPr id="50" name="TextBox 19">
            <a:extLst>
              <a:ext uri="{FF2B5EF4-FFF2-40B4-BE49-F238E27FC236}">
                <a16:creationId xmlns:a16="http://schemas.microsoft.com/office/drawing/2014/main" id="{F9C4C24B-FEB7-49DB-849E-9DB18EE0D38B}"/>
              </a:ext>
            </a:extLst>
          </p:cNvPr>
          <p:cNvSpPr txBox="1"/>
          <p:nvPr/>
        </p:nvSpPr>
        <p:spPr>
          <a:xfrm>
            <a:off x="7232873" y="4621507"/>
            <a:ext cx="2207741" cy="138499"/>
          </a:xfrm>
          <a:prstGeom prst="rect">
            <a:avLst/>
          </a:prstGeom>
          <a:noFill/>
        </p:spPr>
        <p:txBody>
          <a:bodyPr wrap="square" lIns="0" tIns="0" rIns="0" bIns="0" rtlCol="0">
            <a:spAutoFit/>
          </a:bodyPr>
          <a:lstStyle/>
          <a:p>
            <a:r>
              <a:rPr lang="en-GB" sz="900" i="1">
                <a:latin typeface="Trebuchet MS" panose="020B0603020202020204" pitchFamily="34" charset="0"/>
              </a:rPr>
              <a:t>Share of </a:t>
            </a:r>
            <a:r>
              <a:rPr lang="en-GB" sz="900" i="1" err="1">
                <a:latin typeface="Trebuchet MS" panose="020B0603020202020204" pitchFamily="34" charset="0"/>
              </a:rPr>
              <a:t>Altares</a:t>
            </a:r>
            <a:r>
              <a:rPr lang="en-GB" sz="900" i="1">
                <a:latin typeface="Trebuchet MS" panose="020B0603020202020204" pitchFamily="34" charset="0"/>
              </a:rPr>
              <a:t>’ product in total booking</a:t>
            </a:r>
          </a:p>
        </p:txBody>
      </p:sp>
      <p:pic>
        <p:nvPicPr>
          <p:cNvPr id="55" name="Picture 2" descr="Drapeau France">
            <a:extLst>
              <a:ext uri="{FF2B5EF4-FFF2-40B4-BE49-F238E27FC236}">
                <a16:creationId xmlns:a16="http://schemas.microsoft.com/office/drawing/2014/main" id="{C2D50E7F-0B2F-426B-8E87-37420C39352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06" b="16757"/>
          <a:stretch/>
        </p:blipFill>
        <p:spPr bwMode="auto">
          <a:xfrm>
            <a:off x="5070348" y="2065048"/>
            <a:ext cx="253285" cy="152675"/>
          </a:xfrm>
          <a:prstGeom prst="roundRect">
            <a:avLst/>
          </a:prstGeom>
          <a:noFill/>
          <a:extLst>
            <a:ext uri="{909E8E84-426E-40DD-AFC4-6F175D3DCCD1}">
              <a14:hiddenFill xmlns:a14="http://schemas.microsoft.com/office/drawing/2010/main">
                <a:solidFill>
                  <a:srgbClr val="FFFFFF"/>
                </a:solidFill>
              </a14:hiddenFill>
            </a:ext>
          </a:extLst>
        </p:spPr>
      </p:pic>
      <p:pic>
        <p:nvPicPr>
          <p:cNvPr id="56" name="Picture 2 - 1" descr="Drapeau des Pays-Bas — Wikipédia">
            <a:extLst>
              <a:ext uri="{FF2B5EF4-FFF2-40B4-BE49-F238E27FC236}">
                <a16:creationId xmlns:a16="http://schemas.microsoft.com/office/drawing/2014/main" id="{6161E0ED-03B6-4410-9AE4-8680580F7FA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97979" y="3386326"/>
            <a:ext cx="253285" cy="152675"/>
          </a:xfrm>
          <a:prstGeom prst="roundRect">
            <a:avLst/>
          </a:prstGeom>
          <a:noFill/>
          <a:extLst>
            <a:ext uri="{909E8E84-426E-40DD-AFC4-6F175D3DCCD1}">
              <a14:hiddenFill xmlns:a14="http://schemas.microsoft.com/office/drawing/2010/main">
                <a:solidFill>
                  <a:srgbClr val="FFFFFF"/>
                </a:solidFill>
              </a14:hiddenFill>
            </a:ext>
          </a:extLst>
        </p:spPr>
      </p:pic>
      <p:pic>
        <p:nvPicPr>
          <p:cNvPr id="57" name="Picture 2" descr="5 ft x 3 ft 150 x 90 cm-DRAPEAU BELGE Belgique 100% Polyester ...">
            <a:extLst>
              <a:ext uri="{FF2B5EF4-FFF2-40B4-BE49-F238E27FC236}">
                <a16:creationId xmlns:a16="http://schemas.microsoft.com/office/drawing/2014/main" id="{038C2F13-1FB9-409A-9054-D4564F042DA6}"/>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73"/>
          <a:stretch/>
        </p:blipFill>
        <p:spPr bwMode="auto">
          <a:xfrm>
            <a:off x="5097979" y="3901782"/>
            <a:ext cx="253287" cy="152675"/>
          </a:xfrm>
          <a:prstGeom prst="roundRect">
            <a:avLst/>
          </a:prstGeom>
          <a:noFill/>
          <a:extLst>
            <a:ext uri="{909E8E84-426E-40DD-AFC4-6F175D3DCCD1}">
              <a14:hiddenFill xmlns:a14="http://schemas.microsoft.com/office/drawing/2010/main">
                <a:solidFill>
                  <a:srgbClr val="FFFFFF"/>
                </a:solidFill>
              </a14:hiddenFill>
            </a:ext>
          </a:extLst>
        </p:spPr>
      </p:pic>
      <p:pic>
        <p:nvPicPr>
          <p:cNvPr id="58" name="Picture 5" descr="A picture containing bird&#10;&#10;Description automatically generated">
            <a:extLst>
              <a:ext uri="{FF2B5EF4-FFF2-40B4-BE49-F238E27FC236}">
                <a16:creationId xmlns:a16="http://schemas.microsoft.com/office/drawing/2014/main" id="{0BF60B22-E615-4903-8E74-4185ADAB95A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097979" y="3644207"/>
            <a:ext cx="253287" cy="152368"/>
          </a:xfrm>
          <a:prstGeom prst="roundRect">
            <a:avLst/>
          </a:prstGeom>
          <a:noFill/>
        </p:spPr>
      </p:pic>
      <p:sp>
        <p:nvSpPr>
          <p:cNvPr id="59" name="Triangle isocèle 58">
            <a:extLst>
              <a:ext uri="{FF2B5EF4-FFF2-40B4-BE49-F238E27FC236}">
                <a16:creationId xmlns:a16="http://schemas.microsoft.com/office/drawing/2014/main" id="{252E9BC1-689B-4E82-A808-C908B89808D8}"/>
              </a:ext>
            </a:extLst>
          </p:cNvPr>
          <p:cNvSpPr/>
          <p:nvPr/>
        </p:nvSpPr>
        <p:spPr bwMode="auto">
          <a:xfrm rot="5400000">
            <a:off x="4293073" y="3034129"/>
            <a:ext cx="1032853" cy="126564"/>
          </a:xfrm>
          <a:prstGeom prst="triangle">
            <a:avLst/>
          </a:prstGeom>
          <a:solidFill>
            <a:srgbClr val="007AA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61" name="Connecteur droit 60">
            <a:extLst>
              <a:ext uri="{FF2B5EF4-FFF2-40B4-BE49-F238E27FC236}">
                <a16:creationId xmlns:a16="http://schemas.microsoft.com/office/drawing/2014/main" id="{3684C38F-5729-40C2-903A-1919DF99C27F}"/>
              </a:ext>
            </a:extLst>
          </p:cNvPr>
          <p:cNvCxnSpPr>
            <a:cxnSpLocks/>
          </p:cNvCxnSpPr>
          <p:nvPr/>
        </p:nvCxnSpPr>
        <p:spPr bwMode="auto">
          <a:xfrm>
            <a:off x="6765114" y="4701149"/>
            <a:ext cx="387541" cy="0"/>
          </a:xfrm>
          <a:prstGeom prst="line">
            <a:avLst/>
          </a:prstGeom>
          <a:solidFill>
            <a:schemeClr val="accent1"/>
          </a:solidFill>
          <a:ln w="38100" cap="flat" cmpd="sng" algn="ctr">
            <a:solidFill>
              <a:schemeClr val="accent1"/>
            </a:solidFill>
            <a:prstDash val="solid"/>
            <a:round/>
            <a:headEnd type="none" w="med" len="med"/>
            <a:tailEnd type="none" w="med" len="med"/>
          </a:ln>
          <a:effectLst/>
        </p:spPr>
      </p:cxnSp>
      <p:sp>
        <p:nvSpPr>
          <p:cNvPr id="5" name="Rectangle 84">
            <a:extLst>
              <a:ext uri="{FF2B5EF4-FFF2-40B4-BE49-F238E27FC236}">
                <a16:creationId xmlns:a16="http://schemas.microsoft.com/office/drawing/2014/main" id="{C2BE1FD7-242D-405F-9583-E426167BABCF}"/>
              </a:ext>
            </a:extLst>
          </p:cNvPr>
          <p:cNvSpPr/>
          <p:nvPr/>
        </p:nvSpPr>
        <p:spPr bwMode="auto">
          <a:xfrm>
            <a:off x="960372" y="768519"/>
            <a:ext cx="2822214" cy="3384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defRPr/>
            </a:pPr>
            <a:r>
              <a:rPr lang="en-GB" sz="1100">
                <a:solidFill>
                  <a:schemeClr val="accent1">
                    <a:lumMod val="75000"/>
                  </a:schemeClr>
                </a:solidFill>
                <a:latin typeface="Trebuchet MS" panose="020B0603020202020204" pitchFamily="34" charset="0"/>
              </a:rPr>
              <a:t>Key elements of the partnership between </a:t>
            </a:r>
            <a:r>
              <a:rPr lang="en-GB" sz="1100" err="1">
                <a:solidFill>
                  <a:schemeClr val="accent1">
                    <a:lumMod val="75000"/>
                  </a:schemeClr>
                </a:solidFill>
                <a:latin typeface="Trebuchet MS" panose="020B0603020202020204" pitchFamily="34" charset="0"/>
              </a:rPr>
              <a:t>Altares</a:t>
            </a:r>
            <a:r>
              <a:rPr lang="en-GB" sz="1100">
                <a:solidFill>
                  <a:schemeClr val="accent1">
                    <a:lumMod val="75000"/>
                  </a:schemeClr>
                </a:solidFill>
                <a:latin typeface="Trebuchet MS" panose="020B0603020202020204" pitchFamily="34" charset="0"/>
              </a:rPr>
              <a:t> and D&amp;B</a:t>
            </a:r>
          </a:p>
        </p:txBody>
      </p:sp>
      <p:sp>
        <p:nvSpPr>
          <p:cNvPr id="60" name="Rectangle 84">
            <a:extLst>
              <a:ext uri="{FF2B5EF4-FFF2-40B4-BE49-F238E27FC236}">
                <a16:creationId xmlns:a16="http://schemas.microsoft.com/office/drawing/2014/main" id="{684E5C29-8D10-4FA6-B851-B68483CC187D}"/>
              </a:ext>
            </a:extLst>
          </p:cNvPr>
          <p:cNvSpPr/>
          <p:nvPr/>
        </p:nvSpPr>
        <p:spPr bwMode="auto">
          <a:xfrm>
            <a:off x="5450959" y="768519"/>
            <a:ext cx="3860203" cy="339068"/>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defRPr/>
            </a:pPr>
            <a:r>
              <a:rPr lang="en-GB" sz="1100" err="1">
                <a:solidFill>
                  <a:schemeClr val="accent1">
                    <a:lumMod val="75000"/>
                  </a:schemeClr>
                </a:solidFill>
                <a:latin typeface="Trebuchet MS" panose="020B0603020202020204" pitchFamily="34" charset="0"/>
              </a:rPr>
              <a:t>Altares</a:t>
            </a:r>
            <a:r>
              <a:rPr lang="en-GB" sz="1100">
                <a:solidFill>
                  <a:schemeClr val="accent1">
                    <a:lumMod val="75000"/>
                  </a:schemeClr>
                </a:solidFill>
                <a:latin typeface="Trebuchet MS" panose="020B0603020202020204" pitchFamily="34" charset="0"/>
              </a:rPr>
              <a:t>’ total billing(FR)/booking(BNL) evolution split between D&amp;B products and proprietary products</a:t>
            </a:r>
          </a:p>
        </p:txBody>
      </p:sp>
      <p:grpSp>
        <p:nvGrpSpPr>
          <p:cNvPr id="66" name="Groupe 65">
            <a:extLst>
              <a:ext uri="{FF2B5EF4-FFF2-40B4-BE49-F238E27FC236}">
                <a16:creationId xmlns:a16="http://schemas.microsoft.com/office/drawing/2014/main" id="{452ADFC4-793F-4D87-AE24-F663B7E0C51B}"/>
              </a:ext>
            </a:extLst>
          </p:cNvPr>
          <p:cNvGrpSpPr/>
          <p:nvPr/>
        </p:nvGrpSpPr>
        <p:grpSpPr>
          <a:xfrm>
            <a:off x="8448150" y="-11528"/>
            <a:ext cx="1435548" cy="588143"/>
            <a:chOff x="8448150" y="-11528"/>
            <a:chExt cx="1435548" cy="588143"/>
          </a:xfrm>
        </p:grpSpPr>
        <p:sp>
          <p:nvSpPr>
            <p:cNvPr id="67" name="Rectangle : coins arrondis 199">
              <a:extLst>
                <a:ext uri="{FF2B5EF4-FFF2-40B4-BE49-F238E27FC236}">
                  <a16:creationId xmlns:a16="http://schemas.microsoft.com/office/drawing/2014/main" id="{A6EFDB0B-0155-4C37-A098-73365350EA2A}"/>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8" name="Rectangle : coins arrondis 200">
              <a:extLst>
                <a:ext uri="{FF2B5EF4-FFF2-40B4-BE49-F238E27FC236}">
                  <a16:creationId xmlns:a16="http://schemas.microsoft.com/office/drawing/2014/main" id="{74032168-D6A2-4B50-9D24-532B323FB82F}"/>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9" name="Rectangle : coins arrondis 201">
              <a:extLst>
                <a:ext uri="{FF2B5EF4-FFF2-40B4-BE49-F238E27FC236}">
                  <a16:creationId xmlns:a16="http://schemas.microsoft.com/office/drawing/2014/main" id="{1FF75278-CA94-4871-B5C0-89F85AB5D5A7}"/>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0" name="ZoneTexte 18">
              <a:extLst>
                <a:ext uri="{FF2B5EF4-FFF2-40B4-BE49-F238E27FC236}">
                  <a16:creationId xmlns:a16="http://schemas.microsoft.com/office/drawing/2014/main" id="{B0E52101-26C1-4BB1-ABB5-C8327F9213A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key assets</a:t>
              </a:r>
            </a:p>
          </p:txBody>
        </p:sp>
        <p:pic>
          <p:nvPicPr>
            <p:cNvPr id="71" name="Graphique 128" descr="Jauge">
              <a:extLst>
                <a:ext uri="{FF2B5EF4-FFF2-40B4-BE49-F238E27FC236}">
                  <a16:creationId xmlns:a16="http://schemas.microsoft.com/office/drawing/2014/main" id="{DBDD5F71-6A70-46AF-AA81-C9923A29021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53764" y="187516"/>
              <a:ext cx="234953" cy="218224"/>
            </a:xfrm>
            <a:prstGeom prst="rect">
              <a:avLst/>
            </a:prstGeom>
            <a:effectLst/>
          </p:spPr>
        </p:pic>
        <p:pic>
          <p:nvPicPr>
            <p:cNvPr id="72" name="Graphique 90" descr="Poignée de main">
              <a:extLst>
                <a:ext uri="{FF2B5EF4-FFF2-40B4-BE49-F238E27FC236}">
                  <a16:creationId xmlns:a16="http://schemas.microsoft.com/office/drawing/2014/main" id="{A72492AB-9D25-496B-BA1C-065E8390873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960868" y="152880"/>
              <a:ext cx="256313" cy="287496"/>
            </a:xfrm>
            <a:prstGeom prst="rect">
              <a:avLst/>
            </a:prstGeom>
            <a:effectLst/>
          </p:spPr>
        </p:pic>
        <p:pic>
          <p:nvPicPr>
            <p:cNvPr id="73" name="Graphique 74" descr="Mégaphone">
              <a:extLst>
                <a:ext uri="{FF2B5EF4-FFF2-40B4-BE49-F238E27FC236}">
                  <a16:creationId xmlns:a16="http://schemas.microsoft.com/office/drawing/2014/main" id="{C85F9B9E-F941-4779-973A-D20720F12EC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89331" y="181519"/>
              <a:ext cx="233011" cy="216420"/>
            </a:xfrm>
            <a:prstGeom prst="rect">
              <a:avLst/>
            </a:prstGeom>
            <a:effectLst/>
          </p:spPr>
        </p:pic>
        <p:pic>
          <p:nvPicPr>
            <p:cNvPr id="74" name="Picture 2" descr="5 ft x 3 ft 150 x 90 cm-DRAPEAU BELGE Belgique 100% Polyester ...">
              <a:extLst>
                <a:ext uri="{FF2B5EF4-FFF2-40B4-BE49-F238E27FC236}">
                  <a16:creationId xmlns:a16="http://schemas.microsoft.com/office/drawing/2014/main" id="{18701B0C-701C-48CD-809C-5E06E0E45FDA}"/>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75" name="Picture 2 - 1" descr="Drapeau des Pays-Bas — Wikipédia">
              <a:extLst>
                <a:ext uri="{FF2B5EF4-FFF2-40B4-BE49-F238E27FC236}">
                  <a16:creationId xmlns:a16="http://schemas.microsoft.com/office/drawing/2014/main" id="{1340197B-AC94-4BE8-9138-8BC4476356F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6" name="Picture 2 - 2" descr="Drapeau du Luxembourg">
              <a:extLst>
                <a:ext uri="{FF2B5EF4-FFF2-40B4-BE49-F238E27FC236}">
                  <a16:creationId xmlns:a16="http://schemas.microsoft.com/office/drawing/2014/main" id="{0AB05C00-A56A-439A-9F06-C744AD93C65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77" name="ZoneTexte 18">
              <a:extLst>
                <a:ext uri="{FF2B5EF4-FFF2-40B4-BE49-F238E27FC236}">
                  <a16:creationId xmlns:a16="http://schemas.microsoft.com/office/drawing/2014/main" id="{4721D394-E657-4FED-A39D-D12747DE4BA9}"/>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D&amp;B partnership</a:t>
              </a:r>
            </a:p>
          </p:txBody>
        </p:sp>
      </p:grpSp>
      <p:pic>
        <p:nvPicPr>
          <p:cNvPr id="25" name="Picture 2 - 1" descr="Drapeau des Pays-Bas — Wikipédia">
            <a:extLst>
              <a:ext uri="{FF2B5EF4-FFF2-40B4-BE49-F238E27FC236}">
                <a16:creationId xmlns:a16="http://schemas.microsoft.com/office/drawing/2014/main" id="{F096EA48-D2AC-4A76-8202-16CC9A8C2D1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45618" y="2996761"/>
            <a:ext cx="253285" cy="152675"/>
          </a:xfrm>
          <a:prstGeom prst="roundRect">
            <a:avLst/>
          </a:prstGeom>
          <a:noFill/>
          <a:extLst>
            <a:ext uri="{909E8E84-426E-40DD-AFC4-6F175D3DCCD1}">
              <a14:hiddenFill xmlns:a14="http://schemas.microsoft.com/office/drawing/2010/main">
                <a:solidFill>
                  <a:srgbClr val="FFFFFF"/>
                </a:solidFill>
              </a14:hiddenFill>
            </a:ext>
          </a:extLst>
        </p:spPr>
      </p:pic>
      <p:pic>
        <p:nvPicPr>
          <p:cNvPr id="26" name="Picture 2" descr="5 ft x 3 ft 150 x 90 cm-DRAPEAU BELGE Belgique 100% Polyester ...">
            <a:extLst>
              <a:ext uri="{FF2B5EF4-FFF2-40B4-BE49-F238E27FC236}">
                <a16:creationId xmlns:a16="http://schemas.microsoft.com/office/drawing/2014/main" id="{E7236348-7680-477A-B3DE-764F8314061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73"/>
          <a:stretch/>
        </p:blipFill>
        <p:spPr bwMode="auto">
          <a:xfrm>
            <a:off x="2692934" y="2991755"/>
            <a:ext cx="253287" cy="152675"/>
          </a:xfrm>
          <a:prstGeom prst="roundRect">
            <a:avLst/>
          </a:prstGeom>
          <a:noFill/>
          <a:extLst>
            <a:ext uri="{909E8E84-426E-40DD-AFC4-6F175D3DCCD1}">
              <a14:hiddenFill xmlns:a14="http://schemas.microsoft.com/office/drawing/2010/main">
                <a:solidFill>
                  <a:srgbClr val="FFFFFF"/>
                </a:solidFill>
              </a14:hiddenFill>
            </a:ext>
          </a:extLst>
        </p:spPr>
      </p:pic>
      <p:pic>
        <p:nvPicPr>
          <p:cNvPr id="27" name="Picture 5" descr="A picture containing bird&#10;&#10;Description automatically generated">
            <a:extLst>
              <a:ext uri="{FF2B5EF4-FFF2-40B4-BE49-F238E27FC236}">
                <a16:creationId xmlns:a16="http://schemas.microsoft.com/office/drawing/2014/main" id="{18B14AB5-16C1-48B2-93F1-AF9D51F7B8F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355801" y="2989626"/>
            <a:ext cx="253287" cy="152368"/>
          </a:xfrm>
          <a:prstGeom prst="roundRect">
            <a:avLst/>
          </a:prstGeom>
          <a:noFill/>
        </p:spPr>
      </p:pic>
      <p:pic>
        <p:nvPicPr>
          <p:cNvPr id="28" name="Picture 2" descr="Drapeau France">
            <a:extLst>
              <a:ext uri="{FF2B5EF4-FFF2-40B4-BE49-F238E27FC236}">
                <a16:creationId xmlns:a16="http://schemas.microsoft.com/office/drawing/2014/main" id="{83F2A869-7182-43E4-A379-D38CFED579E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06" b="16757"/>
          <a:stretch/>
        </p:blipFill>
        <p:spPr bwMode="auto">
          <a:xfrm>
            <a:off x="2280819" y="1220505"/>
            <a:ext cx="253285" cy="152675"/>
          </a:xfrm>
          <a:prstGeom prst="roundRect">
            <a:avLst/>
          </a:prstGeom>
          <a:noFill/>
          <a:extLst>
            <a:ext uri="{909E8E84-426E-40DD-AFC4-6F175D3DCCD1}">
              <a14:hiddenFill xmlns:a14="http://schemas.microsoft.com/office/drawing/2010/main">
                <a:solidFill>
                  <a:srgbClr val="FFFFFF"/>
                </a:solidFill>
              </a14:hiddenFill>
            </a:ext>
          </a:extLst>
        </p:spPr>
      </p:pic>
      <p:pic>
        <p:nvPicPr>
          <p:cNvPr id="52" name="Picture 2" descr="Drapeau France">
            <a:extLst>
              <a:ext uri="{FF2B5EF4-FFF2-40B4-BE49-F238E27FC236}">
                <a16:creationId xmlns:a16="http://schemas.microsoft.com/office/drawing/2014/main" id="{43B34788-4449-40B4-936A-59583BDDA5C9}"/>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2190796301"/>
      </p:ext>
    </p:extLst>
  </p:cSld>
  <p:clrMapOvr>
    <a:masterClrMapping/>
  </p:clrMapOvr>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A44C8C8-2F36-450B-A067-045DF42C7170}"/>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59AD0D4C-52B6-4887-95DD-FD6DE794558F}"/>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F0A06676-82C0-4F43-87A1-A34EA0E8CFAF}"/>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347663" marR="338138" indent="-228600">
              <a:spcBef>
                <a:spcPts val="600"/>
              </a:spcBef>
              <a:spcAft>
                <a:spcPts val="0"/>
              </a:spcAft>
              <a:buFont typeface="+mj-lt"/>
              <a:buAutoNum type="arabicPeriod"/>
            </a:pPr>
            <a:r>
              <a:rPr lang="en-GB" sz="1200">
                <a:latin typeface="Trebuchet MS" panose="020B0603020202020204" pitchFamily="34" charset="0"/>
              </a:rPr>
              <a:t>Key strategic levers supporting </a:t>
            </a:r>
            <a:r>
              <a:rPr lang="en-GB" sz="1200" err="1">
                <a:latin typeface="Trebuchet MS" panose="020B0603020202020204" pitchFamily="34" charset="0"/>
              </a:rPr>
              <a:t>Altares</a:t>
            </a:r>
            <a:r>
              <a:rPr lang="en-GB" sz="1200">
                <a:latin typeface="Trebuchet MS" panose="020B0603020202020204" pitchFamily="34" charset="0"/>
              </a:rPr>
              <a:t>’ future growth </a:t>
            </a:r>
          </a:p>
          <a:p>
            <a:pPr marL="347663" marR="338138" indent="-228600">
              <a:spcBef>
                <a:spcPts val="600"/>
              </a:spcBef>
              <a:spcAft>
                <a:spcPts val="0"/>
              </a:spcAft>
              <a:buFont typeface="+mj-lt"/>
              <a:buAutoNum type="arabicPeriod"/>
            </a:pPr>
            <a:r>
              <a:rPr lang="en-GB" sz="1200">
                <a:solidFill>
                  <a:schemeClr val="tx2"/>
                </a:solidFill>
                <a:latin typeface="Trebuchet MS" panose="020B0603020202020204" pitchFamily="34" charset="0"/>
              </a:rPr>
              <a:t>Business plan assessment</a:t>
            </a:r>
          </a:p>
          <a:p>
            <a:pPr marL="804863" marR="338138" lvl="1" indent="-228600">
              <a:spcBef>
                <a:spcPts val="600"/>
              </a:spcBef>
              <a:spcAft>
                <a:spcPts val="0"/>
              </a:spcAft>
              <a:buFont typeface="+mj-lt"/>
              <a:buAutoNum type="arabicPeriod"/>
            </a:pPr>
            <a:r>
              <a:rPr lang="en-GB" sz="1200">
                <a:latin typeface="Trebuchet MS" panose="020B0603020202020204" pitchFamily="34" charset="0"/>
              </a:rPr>
              <a:t>Overall BP presentation</a:t>
            </a:r>
          </a:p>
          <a:p>
            <a:pPr marL="804863" marR="338138" lvl="1" indent="-228600">
              <a:spcBef>
                <a:spcPts val="600"/>
              </a:spcBef>
              <a:spcAft>
                <a:spcPts val="0"/>
              </a:spcAft>
              <a:buFont typeface="+mj-lt"/>
              <a:buAutoNum type="arabicPeriod"/>
            </a:pPr>
            <a:r>
              <a:rPr lang="en-GB" sz="1200">
                <a:latin typeface="Trebuchet MS" panose="020B0603020202020204" pitchFamily="34" charset="0"/>
              </a:rPr>
              <a:t>Detailed growth assessment per activity</a:t>
            </a:r>
          </a:p>
          <a:p>
            <a:pPr marL="1319213" marR="338138" lvl="2" indent="-285750">
              <a:spcBef>
                <a:spcPts val="600"/>
              </a:spcBef>
              <a:spcAft>
                <a:spcPts val="0"/>
              </a:spcAft>
              <a:buFont typeface="+mj-lt"/>
              <a:buAutoNum type="alphaUcPeriod"/>
            </a:pPr>
            <a:r>
              <a:rPr lang="en-GB" sz="1200">
                <a:latin typeface="Trebuchet MS" panose="020B0603020202020204" pitchFamily="34" charset="0"/>
              </a:rPr>
              <a:t>Credit risk</a:t>
            </a:r>
          </a:p>
          <a:p>
            <a:pPr marL="1319213" marR="338138" lvl="2" indent="-285750">
              <a:spcBef>
                <a:spcPts val="600"/>
              </a:spcBef>
              <a:spcAft>
                <a:spcPts val="0"/>
              </a:spcAft>
              <a:buFont typeface="+mj-lt"/>
              <a:buAutoNum type="alphaUcPeriod"/>
            </a:pPr>
            <a:r>
              <a:rPr lang="en-GB" sz="1200">
                <a:latin typeface="Trebuchet MS" panose="020B0603020202020204" pitchFamily="34" charset="0"/>
              </a:rPr>
              <a:t>Compliance</a:t>
            </a:r>
          </a:p>
          <a:p>
            <a:pPr marL="1319213" marR="338138" lvl="2" indent="-285750">
              <a:spcBef>
                <a:spcPts val="600"/>
              </a:spcBef>
              <a:spcAft>
                <a:spcPts val="0"/>
              </a:spcAft>
              <a:buFont typeface="+mj-lt"/>
              <a:buAutoNum type="alphaUcPeriod"/>
            </a:pPr>
            <a:r>
              <a:rPr lang="en-GB" sz="1200">
                <a:latin typeface="Trebuchet MS" panose="020B0603020202020204" pitchFamily="34" charset="0"/>
              </a:rPr>
              <a:t>B2B Marketing</a:t>
            </a:r>
          </a:p>
          <a:p>
            <a:pPr marL="1319213" marR="338138" lvl="2" indent="-285750">
              <a:spcBef>
                <a:spcPts val="600"/>
              </a:spcBef>
              <a:spcAft>
                <a:spcPts val="0"/>
              </a:spcAft>
              <a:buFont typeface="+mj-lt"/>
              <a:buAutoNum type="alphaUcPeriod"/>
            </a:pPr>
            <a:r>
              <a:rPr lang="en-GB" sz="1200">
                <a:latin typeface="Trebuchet MS" panose="020B0603020202020204" pitchFamily="34" charset="0"/>
              </a:rPr>
              <a:t>Other activities</a:t>
            </a:r>
          </a:p>
          <a:p>
            <a:pPr marL="804863" marR="338138" lvl="1" indent="-228600">
              <a:spcBef>
                <a:spcPts val="600"/>
              </a:spcBef>
              <a:spcAft>
                <a:spcPts val="0"/>
              </a:spcAft>
              <a:buFont typeface="+mj-lt"/>
              <a:buAutoNum type="arabicPeriod"/>
            </a:pPr>
            <a:r>
              <a:rPr lang="en-GB" sz="1200">
                <a:solidFill>
                  <a:schemeClr val="tx2"/>
                </a:solidFill>
                <a:latin typeface="Trebuchet MS" panose="020B0603020202020204" pitchFamily="34" charset="0"/>
              </a:rPr>
              <a:t>Synthesis of BP assessment </a:t>
            </a:r>
          </a:p>
          <a:p>
            <a:pPr marL="127000">
              <a:spcBef>
                <a:spcPts val="1200"/>
              </a:spcBef>
            </a:pPr>
            <a:endParaRPr lang="en-GB" sz="1200">
              <a:latin typeface="Trebuchet MS" panose="020B0603020202020204" pitchFamily="34" charset="0"/>
            </a:endParaRPr>
          </a:p>
        </p:txBody>
      </p:sp>
      <p:sp>
        <p:nvSpPr>
          <p:cNvPr id="16" name="Section">
            <a:extLst>
              <a:ext uri="{FF2B5EF4-FFF2-40B4-BE49-F238E27FC236}">
                <a16:creationId xmlns:a16="http://schemas.microsoft.com/office/drawing/2014/main" id="{D2A8C65D-42ED-44C1-BDB8-ADE75A4ED3CA}"/>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6</a:t>
            </a:r>
          </a:p>
        </p:txBody>
      </p:sp>
      <p:sp>
        <p:nvSpPr>
          <p:cNvPr id="71" name="Chevron">
            <a:extLst>
              <a:ext uri="{FF2B5EF4-FFF2-40B4-BE49-F238E27FC236}">
                <a16:creationId xmlns:a16="http://schemas.microsoft.com/office/drawing/2014/main" id="{2A230948-1EC9-463F-98FF-E0E458B9B00C}"/>
              </a:ext>
            </a:extLst>
          </p:cNvPr>
          <p:cNvSpPr/>
          <p:nvPr/>
        </p:nvSpPr>
        <p:spPr bwMode="auto">
          <a:xfrm>
            <a:off x="1418399" y="3189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3" name="Isosceles Triangle">
            <a:extLst>
              <a:ext uri="{FF2B5EF4-FFF2-40B4-BE49-F238E27FC236}">
                <a16:creationId xmlns:a16="http://schemas.microsoft.com/office/drawing/2014/main" id="{2F6A703F-B3C1-47A0-9B67-EA8C250C6378}"/>
              </a:ext>
            </a:extLst>
          </p:cNvPr>
          <p:cNvSpPr/>
          <p:nvPr/>
        </p:nvSpPr>
        <p:spPr bwMode="auto">
          <a:xfrm rot="5400000">
            <a:off x="5731200" y="3295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5" name="Arrow: Pentagon">
            <a:extLst>
              <a:ext uri="{FF2B5EF4-FFF2-40B4-BE49-F238E27FC236}">
                <a16:creationId xmlns:a16="http://schemas.microsoft.com/office/drawing/2014/main" id="{687182C5-600B-4842-941B-D7AA2EC602E8}"/>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77" name="Oval">
            <a:extLst>
              <a:ext uri="{FF2B5EF4-FFF2-40B4-BE49-F238E27FC236}">
                <a16:creationId xmlns:a16="http://schemas.microsoft.com/office/drawing/2014/main" id="{F8B0EA57-1766-4B3D-B7F4-E5BBD4A165F7}"/>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79" name="Arrow: Pentagon">
            <a:extLst>
              <a:ext uri="{FF2B5EF4-FFF2-40B4-BE49-F238E27FC236}">
                <a16:creationId xmlns:a16="http://schemas.microsoft.com/office/drawing/2014/main" id="{10B8981B-19E4-4385-981D-25A5007598AA}"/>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81" name="Oval">
            <a:extLst>
              <a:ext uri="{FF2B5EF4-FFF2-40B4-BE49-F238E27FC236}">
                <a16:creationId xmlns:a16="http://schemas.microsoft.com/office/drawing/2014/main" id="{C413A741-D678-4385-937F-D33EDF42C6AB}"/>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83" name="Arrow: Pentagon">
            <a:extLst>
              <a:ext uri="{FF2B5EF4-FFF2-40B4-BE49-F238E27FC236}">
                <a16:creationId xmlns:a16="http://schemas.microsoft.com/office/drawing/2014/main" id="{64E73FA2-B329-4D2D-8D0E-15D2319094F9}"/>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85" name="Arrow: Pentagon">
            <a:extLst>
              <a:ext uri="{FF2B5EF4-FFF2-40B4-BE49-F238E27FC236}">
                <a16:creationId xmlns:a16="http://schemas.microsoft.com/office/drawing/2014/main" id="{985BA656-5B44-4E71-9925-25139C2373BD}"/>
              </a:ext>
            </a:extLst>
          </p:cNvPr>
          <p:cNvSpPr/>
          <p:nvPr/>
        </p:nvSpPr>
        <p:spPr bwMode="auto">
          <a:xfrm>
            <a:off x="1641598" y="2685599"/>
            <a:ext cx="3960001"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87" name="Oval">
            <a:extLst>
              <a:ext uri="{FF2B5EF4-FFF2-40B4-BE49-F238E27FC236}">
                <a16:creationId xmlns:a16="http://schemas.microsoft.com/office/drawing/2014/main" id="{6BF7EF7B-31D9-4755-B185-D85D836C29A6}"/>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89" name="Arrow: Pentagon">
            <a:extLst>
              <a:ext uri="{FF2B5EF4-FFF2-40B4-BE49-F238E27FC236}">
                <a16:creationId xmlns:a16="http://schemas.microsoft.com/office/drawing/2014/main" id="{3BFE52A2-BA74-4709-B70F-79A099726685}"/>
              </a:ext>
            </a:extLst>
          </p:cNvPr>
          <p:cNvSpPr/>
          <p:nvPr/>
        </p:nvSpPr>
        <p:spPr bwMode="auto">
          <a:xfrm>
            <a:off x="1641599" y="3189599"/>
            <a:ext cx="4319992"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BP assessment &amp; growth avenues</a:t>
            </a:r>
          </a:p>
        </p:txBody>
      </p:sp>
      <p:sp>
        <p:nvSpPr>
          <p:cNvPr id="91" name="Oval">
            <a:extLst>
              <a:ext uri="{FF2B5EF4-FFF2-40B4-BE49-F238E27FC236}">
                <a16:creationId xmlns:a16="http://schemas.microsoft.com/office/drawing/2014/main" id="{D6302CAE-26B1-4743-814E-57949CE9DA2D}"/>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93" name="Oval">
            <a:extLst>
              <a:ext uri="{FF2B5EF4-FFF2-40B4-BE49-F238E27FC236}">
                <a16:creationId xmlns:a16="http://schemas.microsoft.com/office/drawing/2014/main" id="{D9A46FFF-E3EB-45F0-A36C-0F884A650B6B}"/>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689191810"/>
      </p:ext>
    </p:extLst>
  </p:cSld>
  <p:clrMapOvr>
    <a:masterClrMapping/>
  </p:clrMapOvr>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7D38F5E-F154-4DC7-8F4C-7E25FC6151BB}"/>
              </a:ext>
            </a:extLst>
          </p:cNvPr>
          <p:cNvGraphicFramePr>
            <a:graphicFrameLocks noChangeAspect="1"/>
          </p:cNvGraphicFramePr>
          <p:nvPr>
            <p:custDataLst>
              <p:tags r:id="rId1"/>
            </p:custDataLst>
            <p:extLst>
              <p:ext uri="{D42A27DB-BD31-4B8C-83A1-F6EECF244321}">
                <p14:modId xmlns:p14="http://schemas.microsoft.com/office/powerpoint/2010/main" val="4077694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8" name="Objet 7" hidden="1">
                        <a:extLst>
                          <a:ext uri="{FF2B5EF4-FFF2-40B4-BE49-F238E27FC236}">
                            <a16:creationId xmlns:a16="http://schemas.microsoft.com/office/drawing/2014/main" id="{E7D38F5E-F154-4DC7-8F4C-7E25FC6151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A6022E3-4DB9-46DF-966E-81EED0537A86}"/>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41BBF145-A48D-4579-9141-BF43E68DBC5B}"/>
              </a:ext>
            </a:extLst>
          </p:cNvPr>
          <p:cNvSpPr>
            <a:spLocks noGrp="1"/>
          </p:cNvSpPr>
          <p:nvPr>
            <p:ph type="title"/>
          </p:nvPr>
        </p:nvSpPr>
        <p:spPr>
          <a:xfrm>
            <a:off x="165600" y="147600"/>
            <a:ext cx="8332871" cy="684000"/>
          </a:xfrm>
        </p:spPr>
        <p:txBody>
          <a:bodyPr/>
          <a:lstStyle/>
          <a:p>
            <a:r>
              <a:rPr lang="en-GB">
                <a:latin typeface="Trebuchet MS" panose="020B0603020202020204" pitchFamily="34" charset="0"/>
              </a:rPr>
              <a:t>Overall, </a:t>
            </a:r>
            <a:r>
              <a:rPr lang="en-GB" err="1">
                <a:solidFill>
                  <a:schemeClr val="tx2"/>
                </a:solidFill>
                <a:latin typeface="Trebuchet MS" panose="020B0603020202020204" pitchFamily="34" charset="0"/>
              </a:rPr>
              <a:t>Altares</a:t>
            </a:r>
            <a:r>
              <a:rPr lang="en-GB">
                <a:solidFill>
                  <a:schemeClr val="tx2"/>
                </a:solidFill>
                <a:latin typeface="Trebuchet MS" panose="020B0603020202020204" pitchFamily="34" charset="0"/>
              </a:rPr>
              <a:t> business plan </a:t>
            </a:r>
            <a:r>
              <a:rPr lang="en-GB">
                <a:latin typeface="Trebuchet MS" panose="020B0603020202020204" pitchFamily="34" charset="0"/>
              </a:rPr>
              <a:t>appears as </a:t>
            </a:r>
            <a:r>
              <a:rPr lang="en-GB">
                <a:solidFill>
                  <a:schemeClr val="tx2"/>
                </a:solidFill>
                <a:latin typeface="Trebuchet MS" panose="020B0603020202020204" pitchFamily="34" charset="0"/>
              </a:rPr>
              <a:t>achievable</a:t>
            </a:r>
            <a:r>
              <a:rPr lang="en-GB">
                <a:latin typeface="Trebuchet MS" panose="020B0603020202020204" pitchFamily="34" charset="0"/>
              </a:rPr>
              <a:t>, according to </a:t>
            </a:r>
            <a:r>
              <a:rPr lang="en-GB">
                <a:solidFill>
                  <a:schemeClr val="tx2"/>
                </a:solidFill>
                <a:latin typeface="Trebuchet MS" panose="020B0603020202020204" pitchFamily="34" charset="0"/>
              </a:rPr>
              <a:t>recent performance </a:t>
            </a:r>
            <a:r>
              <a:rPr lang="en-GB">
                <a:latin typeface="Trebuchet MS" panose="020B0603020202020204" pitchFamily="34" charset="0"/>
              </a:rPr>
              <a:t>and </a:t>
            </a:r>
            <a:r>
              <a:rPr lang="en-GB">
                <a:solidFill>
                  <a:schemeClr val="tx2"/>
                </a:solidFill>
                <a:latin typeface="Trebuchet MS" panose="020B0603020202020204" pitchFamily="34" charset="0"/>
              </a:rPr>
              <a:t>ongoing strategic projects </a:t>
            </a:r>
            <a:r>
              <a:rPr lang="en-GB">
                <a:latin typeface="Trebuchet MS" panose="020B0603020202020204" pitchFamily="34" charset="0"/>
              </a:rPr>
              <a:t>launched by the new management</a:t>
            </a:r>
          </a:p>
        </p:txBody>
      </p:sp>
      <p:sp>
        <p:nvSpPr>
          <p:cNvPr id="3" name="Espace réservé du texte 2">
            <a:extLst>
              <a:ext uri="{FF2B5EF4-FFF2-40B4-BE49-F238E27FC236}">
                <a16:creationId xmlns:a16="http://schemas.microsoft.com/office/drawing/2014/main" id="{73049BF9-8D13-481B-9A48-46C6C4E9E852}"/>
              </a:ext>
            </a:extLst>
          </p:cNvPr>
          <p:cNvSpPr>
            <a:spLocks noGrp="1"/>
          </p:cNvSpPr>
          <p:nvPr>
            <p:ph type="body" sz="quarter" idx="10"/>
          </p:nvPr>
        </p:nvSpPr>
        <p:spPr/>
        <p:txBody>
          <a:bodyPr/>
          <a:lstStyle/>
          <a:p>
            <a:r>
              <a:rPr lang="en-GB" sz="800" i="1" kern="0"/>
              <a:t>Sources: eleven research &amp; analysis, company data, interviews with management</a:t>
            </a:r>
          </a:p>
        </p:txBody>
      </p:sp>
      <p:cxnSp>
        <p:nvCxnSpPr>
          <p:cNvPr id="6" name="Connecteur droit 4">
            <a:extLst>
              <a:ext uri="{FF2B5EF4-FFF2-40B4-BE49-F238E27FC236}">
                <a16:creationId xmlns:a16="http://schemas.microsoft.com/office/drawing/2014/main" id="{C77CA9A7-4E8D-472A-BDF7-16095C994634}"/>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0" name="TextBox 30">
            <a:extLst>
              <a:ext uri="{FF2B5EF4-FFF2-40B4-BE49-F238E27FC236}">
                <a16:creationId xmlns:a16="http://schemas.microsoft.com/office/drawing/2014/main" id="{99E0C0D1-7BEF-45AF-9AF8-43C5BF48838D}"/>
              </a:ext>
            </a:extLst>
          </p:cNvPr>
          <p:cNvSpPr txBox="1"/>
          <p:nvPr/>
        </p:nvSpPr>
        <p:spPr>
          <a:xfrm>
            <a:off x="2641561" y="978303"/>
            <a:ext cx="4622878"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a:latin typeface="Trebuchet MS" panose="020B0603020202020204" pitchFamily="34" charset="0"/>
              </a:rPr>
              <a:t>Breakdown of </a:t>
            </a:r>
            <a:r>
              <a:rPr lang="en-GB" sz="1000" err="1">
                <a:latin typeface="Trebuchet MS" panose="020B0603020202020204" pitchFamily="34" charset="0"/>
              </a:rPr>
              <a:t>Altares</a:t>
            </a:r>
            <a:r>
              <a:rPr lang="en-GB" sz="1000">
                <a:latin typeface="Trebuchet MS" panose="020B0603020202020204" pitchFamily="34" charset="0"/>
              </a:rPr>
              <a:t>’ revenue growth forecasts by business line</a:t>
            </a:r>
          </a:p>
        </p:txBody>
      </p:sp>
      <p:sp>
        <p:nvSpPr>
          <p:cNvPr id="67" name="Rectangle 66">
            <a:extLst>
              <a:ext uri="{FF2B5EF4-FFF2-40B4-BE49-F238E27FC236}">
                <a16:creationId xmlns:a16="http://schemas.microsoft.com/office/drawing/2014/main" id="{395D9023-BB8D-4C07-A58A-9CA420892AF9}"/>
              </a:ext>
            </a:extLst>
          </p:cNvPr>
          <p:cNvSpPr/>
          <p:nvPr/>
        </p:nvSpPr>
        <p:spPr bwMode="auto">
          <a:xfrm>
            <a:off x="5349014" y="1345553"/>
            <a:ext cx="4460121" cy="5064868"/>
          </a:xfrm>
          <a:prstGeom prst="rect">
            <a:avLst/>
          </a:prstGeom>
          <a:pattFill prst="ltUpDiag">
            <a:fgClr>
              <a:schemeClr val="bg2">
                <a:lumMod val="20000"/>
                <a:lumOff val="80000"/>
              </a:schemeClr>
            </a:fgClr>
            <a:bgClr>
              <a:schemeClr val="bg1"/>
            </a:bgClr>
          </a:patt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50" b="0" i="0" u="none" strike="noStrike" cap="none" normalizeH="0" baseline="0">
              <a:ln>
                <a:noFill/>
              </a:ln>
              <a:solidFill>
                <a:schemeClr val="tx1"/>
              </a:solidFill>
              <a:effectLst/>
              <a:latin typeface="Trebuchet MS" pitchFamily="34" charset="0"/>
            </a:endParaRPr>
          </a:p>
        </p:txBody>
      </p:sp>
      <p:sp>
        <p:nvSpPr>
          <p:cNvPr id="69" name="Rectangle 68">
            <a:extLst>
              <a:ext uri="{FF2B5EF4-FFF2-40B4-BE49-F238E27FC236}">
                <a16:creationId xmlns:a16="http://schemas.microsoft.com/office/drawing/2014/main" id="{14932ABF-B3F2-4614-9FA3-744906B2F197}"/>
              </a:ext>
            </a:extLst>
          </p:cNvPr>
          <p:cNvSpPr/>
          <p:nvPr/>
        </p:nvSpPr>
        <p:spPr bwMode="auto">
          <a:xfrm>
            <a:off x="5170683" y="1310498"/>
            <a:ext cx="1450390" cy="22809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300"/>
              </a:spcAft>
            </a:pPr>
            <a:r>
              <a:rPr lang="en-GB" sz="1050" b="1" i="1">
                <a:latin typeface="Trebuchet MS" panose="020B0603020202020204" pitchFamily="34" charset="0"/>
              </a:rPr>
              <a:t>BP value buckets</a:t>
            </a:r>
            <a:endParaRPr lang="en-GB" sz="1050" i="1">
              <a:latin typeface="Trebuchet MS" panose="020B0603020202020204" pitchFamily="34" charset="0"/>
            </a:endParaRPr>
          </a:p>
        </p:txBody>
      </p:sp>
      <p:sp>
        <p:nvSpPr>
          <p:cNvPr id="71" name="Rectangle 70">
            <a:extLst>
              <a:ext uri="{FF2B5EF4-FFF2-40B4-BE49-F238E27FC236}">
                <a16:creationId xmlns:a16="http://schemas.microsoft.com/office/drawing/2014/main" id="{AD9B7B8C-EC95-4D2A-9D6F-36CF469DC9DC}"/>
              </a:ext>
            </a:extLst>
          </p:cNvPr>
          <p:cNvSpPr/>
          <p:nvPr/>
        </p:nvSpPr>
        <p:spPr bwMode="auto">
          <a:xfrm>
            <a:off x="6449088" y="5200952"/>
            <a:ext cx="3280809" cy="540000"/>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Achievable</a:t>
            </a:r>
          </a:p>
          <a:p>
            <a:pPr marL="171450" lvl="0" indent="-171450">
              <a:lnSpc>
                <a:spcPct val="107000"/>
              </a:lnSpc>
              <a:spcBef>
                <a:spcPts val="0"/>
              </a:spcBef>
              <a:buClr>
                <a:schemeClr val="tx1"/>
              </a:buClr>
              <a:buFont typeface="Arial" panose="020B0604020202020204" pitchFamily="34" charset="0"/>
              <a:buChar char="•"/>
            </a:pPr>
            <a:r>
              <a:rPr lang="en-GB" sz="900">
                <a:solidFill>
                  <a:schemeClr val="tx2"/>
                </a:solidFill>
                <a:latin typeface="Trebuchet MS" panose="020B0603020202020204" pitchFamily="34" charset="0"/>
              </a:rPr>
              <a:t>Contract-secured </a:t>
            </a:r>
            <a:r>
              <a:rPr lang="en-GB" sz="900">
                <a:latin typeface="Trebuchet MS" panose="020B0603020202020204" pitchFamily="34" charset="0"/>
              </a:rPr>
              <a:t>growth of </a:t>
            </a:r>
            <a:r>
              <a:rPr lang="en-GB" sz="900" err="1">
                <a:latin typeface="Trebuchet MS" panose="020B0603020202020204" pitchFamily="34" charset="0"/>
              </a:rPr>
              <a:t>Xborder</a:t>
            </a:r>
            <a:r>
              <a:rPr lang="en-GB" sz="900">
                <a:latin typeface="Trebuchet MS" panose="020B0603020202020204" pitchFamily="34" charset="0"/>
              </a:rPr>
              <a:t> fees</a:t>
            </a:r>
          </a:p>
          <a:p>
            <a:pPr marL="171450" lvl="0" indent="-171450">
              <a:lnSpc>
                <a:spcPct val="107000"/>
              </a:lnSpc>
              <a:spcBef>
                <a:spcPts val="0"/>
              </a:spcBef>
              <a:buClr>
                <a:schemeClr val="tx1"/>
              </a:buClr>
              <a:buFont typeface="Arial" panose="020B0604020202020204" pitchFamily="34" charset="0"/>
              <a:buChar char="•"/>
            </a:pPr>
            <a:r>
              <a:rPr lang="en-GB" sz="900">
                <a:latin typeface="Trebuchet MS" panose="020B0603020202020204" pitchFamily="34" charset="0"/>
              </a:rPr>
              <a:t>Growth of </a:t>
            </a:r>
            <a:r>
              <a:rPr lang="en-GB" sz="900">
                <a:solidFill>
                  <a:schemeClr val="tx2"/>
                </a:solidFill>
                <a:latin typeface="Trebuchet MS" panose="020B0603020202020204" pitchFamily="34" charset="0"/>
              </a:rPr>
              <a:t>new D&amp;B</a:t>
            </a:r>
            <a:r>
              <a:rPr lang="en-GB" sz="900">
                <a:latin typeface="Trebuchet MS" panose="020B0603020202020204" pitchFamily="34" charset="0"/>
              </a:rPr>
              <a:t> products and of </a:t>
            </a:r>
            <a:r>
              <a:rPr lang="en-GB" sz="900">
                <a:solidFill>
                  <a:schemeClr val="tx2"/>
                </a:solidFill>
                <a:latin typeface="Trebuchet MS" panose="020B0603020202020204" pitchFamily="34" charset="0"/>
              </a:rPr>
              <a:t>Maghreb</a:t>
            </a:r>
            <a:r>
              <a:rPr lang="en-GB" sz="900">
                <a:latin typeface="Trebuchet MS" panose="020B0603020202020204" pitchFamily="34" charset="0"/>
              </a:rPr>
              <a:t> </a:t>
            </a:r>
            <a:r>
              <a:rPr lang="en-GB" sz="900" err="1">
                <a:latin typeface="Trebuchet MS" panose="020B0603020202020204" pitchFamily="34" charset="0"/>
              </a:rPr>
              <a:t>Xborder</a:t>
            </a:r>
            <a:r>
              <a:rPr lang="en-GB" sz="900">
                <a:latin typeface="Trebuchet MS" panose="020B0603020202020204" pitchFamily="34" charset="0"/>
              </a:rPr>
              <a:t> fees</a:t>
            </a:r>
          </a:p>
          <a:p>
            <a:pPr lvl="0" algn="just">
              <a:lnSpc>
                <a:spcPct val="107000"/>
              </a:lnSpc>
            </a:pPr>
            <a:endParaRPr lang="en-GB" sz="1000">
              <a:effectLst/>
              <a:latin typeface="Trebuchet MS" panose="020B0603020202020204" pitchFamily="34" charset="0"/>
              <a:ea typeface="Calibri" panose="020F0502020204030204" pitchFamily="34" charset="0"/>
              <a:cs typeface="Arial" panose="020B0604020202020204" pitchFamily="34" charset="0"/>
            </a:endParaRPr>
          </a:p>
        </p:txBody>
      </p:sp>
      <p:sp>
        <p:nvSpPr>
          <p:cNvPr id="80" name="Rectangle 79">
            <a:extLst>
              <a:ext uri="{FF2B5EF4-FFF2-40B4-BE49-F238E27FC236}">
                <a16:creationId xmlns:a16="http://schemas.microsoft.com/office/drawing/2014/main" id="{85224B74-BFCF-40D4-8F5A-4DBD358E4A6A}"/>
              </a:ext>
            </a:extLst>
          </p:cNvPr>
          <p:cNvSpPr/>
          <p:nvPr/>
        </p:nvSpPr>
        <p:spPr bwMode="auto">
          <a:xfrm>
            <a:off x="5394223" y="1519764"/>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A</a:t>
            </a:r>
          </a:p>
        </p:txBody>
      </p:sp>
      <p:sp>
        <p:nvSpPr>
          <p:cNvPr id="81" name="Rectangle 80">
            <a:extLst>
              <a:ext uri="{FF2B5EF4-FFF2-40B4-BE49-F238E27FC236}">
                <a16:creationId xmlns:a16="http://schemas.microsoft.com/office/drawing/2014/main" id="{67520AEC-ABAB-415A-ADD8-DF870797CCB0}"/>
              </a:ext>
            </a:extLst>
          </p:cNvPr>
          <p:cNvSpPr/>
          <p:nvPr/>
        </p:nvSpPr>
        <p:spPr bwMode="auto">
          <a:xfrm>
            <a:off x="5394223" y="28332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B</a:t>
            </a:r>
          </a:p>
        </p:txBody>
      </p:sp>
      <p:sp>
        <p:nvSpPr>
          <p:cNvPr id="82" name="Rectangle 81">
            <a:extLst>
              <a:ext uri="{FF2B5EF4-FFF2-40B4-BE49-F238E27FC236}">
                <a16:creationId xmlns:a16="http://schemas.microsoft.com/office/drawing/2014/main" id="{24EAE7A4-064F-4847-974C-384E1DE8F678}"/>
              </a:ext>
            </a:extLst>
          </p:cNvPr>
          <p:cNvSpPr/>
          <p:nvPr/>
        </p:nvSpPr>
        <p:spPr bwMode="auto">
          <a:xfrm>
            <a:off x="5394223" y="5200952"/>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D</a:t>
            </a:r>
          </a:p>
        </p:txBody>
      </p:sp>
      <p:sp>
        <p:nvSpPr>
          <p:cNvPr id="109" name="Rectangle 108">
            <a:extLst>
              <a:ext uri="{FF2B5EF4-FFF2-40B4-BE49-F238E27FC236}">
                <a16:creationId xmlns:a16="http://schemas.microsoft.com/office/drawing/2014/main" id="{4ECC307B-5762-484B-95C3-CE4E6DCFD810}"/>
              </a:ext>
            </a:extLst>
          </p:cNvPr>
          <p:cNvSpPr/>
          <p:nvPr/>
        </p:nvSpPr>
        <p:spPr bwMode="auto">
          <a:xfrm>
            <a:off x="6449088" y="4103077"/>
            <a:ext cx="3280809" cy="1045840"/>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a:spcBef>
                <a:spcPts val="300"/>
              </a:spcBef>
            </a:pPr>
            <a:r>
              <a:rPr lang="en-GB" sz="1050" b="1">
                <a:solidFill>
                  <a:schemeClr val="tx2"/>
                </a:solidFill>
                <a:cs typeface="Arial"/>
              </a:rPr>
              <a:t>Achievable</a:t>
            </a:r>
            <a:endParaRPr lang="en-GB" sz="900">
              <a:solidFill>
                <a:schemeClr val="tx2"/>
              </a:solidFill>
              <a:cs typeface="Arial"/>
            </a:endParaRPr>
          </a:p>
          <a:p>
            <a:pPr marL="171450" indent="-171450">
              <a:spcBef>
                <a:spcPts val="0"/>
              </a:spcBef>
              <a:buClr>
                <a:schemeClr val="tx1"/>
              </a:buClr>
              <a:buFont typeface="Arial" panose="020B0604020202020204" pitchFamily="34" charset="0"/>
              <a:buChar char="•"/>
            </a:pPr>
            <a:r>
              <a:rPr lang="en-GB" sz="900">
                <a:solidFill>
                  <a:schemeClr val="tx2"/>
                </a:solidFill>
                <a:cs typeface="Arial"/>
              </a:rPr>
              <a:t>Ongoing product harmonization </a:t>
            </a:r>
            <a:r>
              <a:rPr lang="en-GB" sz="900">
                <a:cs typeface="Arial"/>
              </a:rPr>
              <a:t>and </a:t>
            </a:r>
            <a:r>
              <a:rPr lang="en-GB" sz="900">
                <a:solidFill>
                  <a:schemeClr val="tx2"/>
                </a:solidFill>
                <a:cs typeface="Arial"/>
              </a:rPr>
              <a:t>go-to-market</a:t>
            </a:r>
          </a:p>
          <a:p>
            <a:pPr marL="171450" indent="-171450">
              <a:spcBef>
                <a:spcPts val="0"/>
              </a:spcBef>
              <a:buClr>
                <a:schemeClr val="tx1"/>
              </a:buClr>
              <a:buFont typeface="Arial" panose="020B0604020202020204" pitchFamily="34" charset="0"/>
              <a:buChar char="•"/>
            </a:pPr>
            <a:r>
              <a:rPr lang="en-GB" sz="900">
                <a:solidFill>
                  <a:schemeClr val="tx2"/>
                </a:solidFill>
                <a:cs typeface="Arial"/>
              </a:rPr>
              <a:t>Data enrichment </a:t>
            </a:r>
            <a:r>
              <a:rPr lang="en-GB" sz="900">
                <a:cs typeface="Arial"/>
              </a:rPr>
              <a:t>of the products, combined with </a:t>
            </a:r>
            <a:r>
              <a:rPr lang="en-GB" sz="900">
                <a:solidFill>
                  <a:schemeClr val="tx2"/>
                </a:solidFill>
                <a:cs typeface="Arial"/>
              </a:rPr>
              <a:t>artificial intelligence </a:t>
            </a:r>
            <a:r>
              <a:rPr lang="en-GB" sz="900">
                <a:cs typeface="Arial"/>
              </a:rPr>
              <a:t>and growing</a:t>
            </a:r>
            <a:r>
              <a:rPr lang="en-GB" sz="900">
                <a:solidFill>
                  <a:schemeClr val="tx2"/>
                </a:solidFill>
                <a:cs typeface="Arial"/>
              </a:rPr>
              <a:t> integration</a:t>
            </a:r>
            <a:endParaRPr lang="en-GB" sz="900">
              <a:cs typeface="Arial"/>
            </a:endParaRPr>
          </a:p>
          <a:p>
            <a:pPr marL="171450" indent="-171450">
              <a:spcBef>
                <a:spcPts val="0"/>
              </a:spcBef>
              <a:buClr>
                <a:schemeClr val="tx1"/>
              </a:buClr>
              <a:buFont typeface="Arial" panose="020B0604020202020204" pitchFamily="34" charset="0"/>
              <a:buChar char="•"/>
            </a:pPr>
            <a:r>
              <a:rPr lang="en-GB" sz="900">
                <a:solidFill>
                  <a:schemeClr val="tx2"/>
                </a:solidFill>
                <a:cs typeface="Arial"/>
              </a:rPr>
              <a:t>Platform strategy </a:t>
            </a:r>
            <a:r>
              <a:rPr lang="en-GB" sz="900">
                <a:cs typeface="Arial"/>
              </a:rPr>
              <a:t>consolidating targeting and activation of B2B audience</a:t>
            </a:r>
          </a:p>
          <a:p>
            <a:pPr>
              <a:spcBef>
                <a:spcPts val="0"/>
              </a:spcBef>
              <a:buClr>
                <a:schemeClr val="tx1"/>
              </a:buClr>
            </a:pPr>
            <a:r>
              <a:rPr lang="en-GB" sz="900">
                <a:cs typeface="Arial"/>
                <a:sym typeface="Wingdings" panose="05000000000000000000" pitchFamily="2" charset="2"/>
              </a:rPr>
              <a:t> </a:t>
            </a:r>
            <a:r>
              <a:rPr lang="en-GB" sz="900">
                <a:cs typeface="Arial"/>
              </a:rPr>
              <a:t>Subject to the delivery of the </a:t>
            </a:r>
            <a:r>
              <a:rPr lang="en-GB" sz="900">
                <a:solidFill>
                  <a:schemeClr val="tx2"/>
                </a:solidFill>
                <a:cs typeface="Arial"/>
              </a:rPr>
              <a:t>datahub project in BNL</a:t>
            </a:r>
          </a:p>
          <a:p>
            <a:pPr marL="171450" indent="-171450">
              <a:spcBef>
                <a:spcPts val="0"/>
              </a:spcBef>
              <a:buClr>
                <a:schemeClr val="tx1"/>
              </a:buClr>
              <a:buFont typeface="Arial" panose="020B0604020202020204" pitchFamily="34" charset="0"/>
              <a:buChar char="•"/>
            </a:pPr>
            <a:endParaRPr lang="en-GB" sz="900">
              <a:solidFill>
                <a:schemeClr val="tx2"/>
              </a:solidFill>
              <a:latin typeface="Trebuchet MS" panose="020B0603020202020204" pitchFamily="34" charset="0"/>
            </a:endParaRPr>
          </a:p>
        </p:txBody>
      </p:sp>
      <p:sp>
        <p:nvSpPr>
          <p:cNvPr id="110" name="Rectangle 109">
            <a:extLst>
              <a:ext uri="{FF2B5EF4-FFF2-40B4-BE49-F238E27FC236}">
                <a16:creationId xmlns:a16="http://schemas.microsoft.com/office/drawing/2014/main" id="{31B10026-F685-4E9C-8685-A675CDC44995}"/>
              </a:ext>
            </a:extLst>
          </p:cNvPr>
          <p:cNvSpPr/>
          <p:nvPr/>
        </p:nvSpPr>
        <p:spPr bwMode="auto">
          <a:xfrm>
            <a:off x="5394223" y="4098531"/>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C</a:t>
            </a:r>
          </a:p>
        </p:txBody>
      </p:sp>
      <p:grpSp>
        <p:nvGrpSpPr>
          <p:cNvPr id="136" name="Groupe 135">
            <a:extLst>
              <a:ext uri="{FF2B5EF4-FFF2-40B4-BE49-F238E27FC236}">
                <a16:creationId xmlns:a16="http://schemas.microsoft.com/office/drawing/2014/main" id="{0E2E0132-4928-48A3-81A2-F148EDBF5440}"/>
              </a:ext>
            </a:extLst>
          </p:cNvPr>
          <p:cNvGrpSpPr/>
          <p:nvPr/>
        </p:nvGrpSpPr>
        <p:grpSpPr>
          <a:xfrm>
            <a:off x="8448150" y="-11528"/>
            <a:ext cx="1435548" cy="588143"/>
            <a:chOff x="8448150" y="-11528"/>
            <a:chExt cx="1435548" cy="588143"/>
          </a:xfrm>
        </p:grpSpPr>
        <p:sp>
          <p:nvSpPr>
            <p:cNvPr id="137" name="Rectangle : coins arrondis 199">
              <a:extLst>
                <a:ext uri="{FF2B5EF4-FFF2-40B4-BE49-F238E27FC236}">
                  <a16:creationId xmlns:a16="http://schemas.microsoft.com/office/drawing/2014/main" id="{EBC0BF2E-2394-4848-88BE-E5C107D23CA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8" name="Rectangle : coins arrondis 200">
              <a:extLst>
                <a:ext uri="{FF2B5EF4-FFF2-40B4-BE49-F238E27FC236}">
                  <a16:creationId xmlns:a16="http://schemas.microsoft.com/office/drawing/2014/main" id="{7D65E3D7-5DDF-46AE-A0F5-D92B88ECDED2}"/>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9" name="Rectangle : coins arrondis 201">
              <a:extLst>
                <a:ext uri="{FF2B5EF4-FFF2-40B4-BE49-F238E27FC236}">
                  <a16:creationId xmlns:a16="http://schemas.microsoft.com/office/drawing/2014/main" id="{FDF7A913-D092-4B17-A259-CA3F4B6D3405}"/>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0" name="ZoneTexte 18">
              <a:extLst>
                <a:ext uri="{FF2B5EF4-FFF2-40B4-BE49-F238E27FC236}">
                  <a16:creationId xmlns:a16="http://schemas.microsoft.com/office/drawing/2014/main" id="{AB80A9D7-8C95-4C47-AEF4-EB3EA40E903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41" name="Graphique 128" descr="Jauge">
              <a:extLst>
                <a:ext uri="{FF2B5EF4-FFF2-40B4-BE49-F238E27FC236}">
                  <a16:creationId xmlns:a16="http://schemas.microsoft.com/office/drawing/2014/main" id="{0DD5F44C-E7D7-44D8-B4E4-9DA553E775C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42" name="Graphique 90" descr="Poignée de main">
              <a:extLst>
                <a:ext uri="{FF2B5EF4-FFF2-40B4-BE49-F238E27FC236}">
                  <a16:creationId xmlns:a16="http://schemas.microsoft.com/office/drawing/2014/main" id="{E31EE0FA-5612-4059-83C1-5956666D169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143" name="Graphique 74" descr="Mégaphone">
              <a:extLst>
                <a:ext uri="{FF2B5EF4-FFF2-40B4-BE49-F238E27FC236}">
                  <a16:creationId xmlns:a16="http://schemas.microsoft.com/office/drawing/2014/main" id="{786E1D59-B9F4-49AB-91A3-0527AED762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144" name="Picture 2" descr="Drapeau France">
              <a:extLst>
                <a:ext uri="{FF2B5EF4-FFF2-40B4-BE49-F238E27FC236}">
                  <a16:creationId xmlns:a16="http://schemas.microsoft.com/office/drawing/2014/main" id="{A7E884AE-D876-4FDF-9A9E-7F5C91184B02}"/>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45" name="Picture 2" descr="5 ft x 3 ft 150 x 90 cm-DRAPEAU BELGE Belgique 100% Polyester ...">
              <a:extLst>
                <a:ext uri="{FF2B5EF4-FFF2-40B4-BE49-F238E27FC236}">
                  <a16:creationId xmlns:a16="http://schemas.microsoft.com/office/drawing/2014/main" id="{75065C02-6546-4CAB-AD88-515D3D28AF51}"/>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46" name="Picture 2 - 1" descr="Drapeau des Pays-Bas — Wikipédia">
              <a:extLst>
                <a:ext uri="{FF2B5EF4-FFF2-40B4-BE49-F238E27FC236}">
                  <a16:creationId xmlns:a16="http://schemas.microsoft.com/office/drawing/2014/main" id="{D8753B4F-39C7-419A-8207-B0B4FD6E5C1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47" name="Picture 2 - 2" descr="Drapeau du Luxembourg">
              <a:extLst>
                <a:ext uri="{FF2B5EF4-FFF2-40B4-BE49-F238E27FC236}">
                  <a16:creationId xmlns:a16="http://schemas.microsoft.com/office/drawing/2014/main" id="{9264BF57-BC40-42C0-BFA7-82094A957B9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48" name="ZoneTexte 147">
              <a:extLst>
                <a:ext uri="{FF2B5EF4-FFF2-40B4-BE49-F238E27FC236}">
                  <a16:creationId xmlns:a16="http://schemas.microsoft.com/office/drawing/2014/main" id="{25992A77-6B87-4B2B-8D07-B9238BF3F0A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sp>
        <p:nvSpPr>
          <p:cNvPr id="94" name="Triangle isocèle 93">
            <a:extLst>
              <a:ext uri="{FF2B5EF4-FFF2-40B4-BE49-F238E27FC236}">
                <a16:creationId xmlns:a16="http://schemas.microsoft.com/office/drawing/2014/main" id="{9C9F2D24-9073-45C0-B88A-BB6D0AD2D5D0}"/>
              </a:ext>
            </a:extLst>
          </p:cNvPr>
          <p:cNvSpPr/>
          <p:nvPr/>
        </p:nvSpPr>
        <p:spPr bwMode="auto">
          <a:xfrm flipV="1">
            <a:off x="5912676" y="5801991"/>
            <a:ext cx="3332796" cy="134852"/>
          </a:xfrm>
          <a:prstGeom prst="triangl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5" name="Rectangle 94">
            <a:extLst>
              <a:ext uri="{FF2B5EF4-FFF2-40B4-BE49-F238E27FC236}">
                <a16:creationId xmlns:a16="http://schemas.microsoft.com/office/drawing/2014/main" id="{FE9A3CCF-0E1C-4A01-B825-6EC293BD6D25}"/>
              </a:ext>
            </a:extLst>
          </p:cNvPr>
          <p:cNvSpPr/>
          <p:nvPr/>
        </p:nvSpPr>
        <p:spPr bwMode="auto">
          <a:xfrm>
            <a:off x="5394859" y="5988878"/>
            <a:ext cx="936000" cy="390726"/>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00" i="1">
                <a:latin typeface="Trebuchet MS" panose="020B0603020202020204" pitchFamily="34" charset="0"/>
              </a:rPr>
              <a:t>Overall assessment</a:t>
            </a:r>
            <a:endParaRPr lang="en-GB" sz="800" i="1">
              <a:latin typeface="Trebuchet MS" panose="020B0603020202020204" pitchFamily="34" charset="0"/>
            </a:endParaRPr>
          </a:p>
        </p:txBody>
      </p:sp>
      <p:sp>
        <p:nvSpPr>
          <p:cNvPr id="96" name="Rectangle 95">
            <a:extLst>
              <a:ext uri="{FF2B5EF4-FFF2-40B4-BE49-F238E27FC236}">
                <a16:creationId xmlns:a16="http://schemas.microsoft.com/office/drawing/2014/main" id="{7F6CF344-8867-42BA-B9C8-1B0814B86C77}"/>
              </a:ext>
            </a:extLst>
          </p:cNvPr>
          <p:cNvSpPr/>
          <p:nvPr/>
        </p:nvSpPr>
        <p:spPr bwMode="auto">
          <a:xfrm>
            <a:off x="6449089" y="5988878"/>
            <a:ext cx="3280808" cy="390726"/>
          </a:xfrm>
          <a:prstGeom prst="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square" lIns="72000" tIns="45720" rIns="3600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Achievable</a:t>
            </a:r>
          </a:p>
        </p:txBody>
      </p:sp>
      <p:sp>
        <p:nvSpPr>
          <p:cNvPr id="97" name="Rectangle 96">
            <a:extLst>
              <a:ext uri="{FF2B5EF4-FFF2-40B4-BE49-F238E27FC236}">
                <a16:creationId xmlns:a16="http://schemas.microsoft.com/office/drawing/2014/main" id="{89FD5C46-1A02-4BD4-BDD0-AE2F9F2302BC}"/>
              </a:ext>
            </a:extLst>
          </p:cNvPr>
          <p:cNvSpPr/>
          <p:nvPr/>
        </p:nvSpPr>
        <p:spPr bwMode="auto">
          <a:xfrm>
            <a:off x="6598732" y="1310499"/>
            <a:ext cx="2880970" cy="22809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300"/>
              </a:spcAft>
            </a:pPr>
            <a:r>
              <a:rPr lang="en-GB" sz="1050" b="1" i="1">
                <a:latin typeface="Trebuchet MS" panose="020B0603020202020204" pitchFamily="34" charset="0"/>
              </a:rPr>
              <a:t>eleven assessment</a:t>
            </a:r>
            <a:endParaRPr lang="en-GB" sz="1050" i="1">
              <a:latin typeface="Trebuchet MS" panose="020B0603020202020204" pitchFamily="34" charset="0"/>
            </a:endParaRPr>
          </a:p>
        </p:txBody>
      </p:sp>
      <p:sp>
        <p:nvSpPr>
          <p:cNvPr id="103" name="Rectangle 102">
            <a:extLst>
              <a:ext uri="{FF2B5EF4-FFF2-40B4-BE49-F238E27FC236}">
                <a16:creationId xmlns:a16="http://schemas.microsoft.com/office/drawing/2014/main" id="{61ABFF05-F090-4F9C-9748-EB4E2AC9ACBA}"/>
              </a:ext>
            </a:extLst>
          </p:cNvPr>
          <p:cNvSpPr/>
          <p:nvPr/>
        </p:nvSpPr>
        <p:spPr bwMode="auto">
          <a:xfrm>
            <a:off x="5394859" y="1515742"/>
            <a:ext cx="936000" cy="1271492"/>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Risk</a:t>
            </a:r>
          </a:p>
        </p:txBody>
      </p:sp>
      <p:sp>
        <p:nvSpPr>
          <p:cNvPr id="105" name="Rectangle 104">
            <a:extLst>
              <a:ext uri="{FF2B5EF4-FFF2-40B4-BE49-F238E27FC236}">
                <a16:creationId xmlns:a16="http://schemas.microsoft.com/office/drawing/2014/main" id="{202D74BB-1153-480E-86C5-37803D6DAC96}"/>
              </a:ext>
            </a:extLst>
          </p:cNvPr>
          <p:cNvSpPr/>
          <p:nvPr/>
        </p:nvSpPr>
        <p:spPr bwMode="auto">
          <a:xfrm>
            <a:off x="5394859" y="2835194"/>
            <a:ext cx="936000" cy="1214645"/>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Compliance</a:t>
            </a:r>
          </a:p>
        </p:txBody>
      </p:sp>
      <p:sp>
        <p:nvSpPr>
          <p:cNvPr id="128" name="Rectangle 127">
            <a:extLst>
              <a:ext uri="{FF2B5EF4-FFF2-40B4-BE49-F238E27FC236}">
                <a16:creationId xmlns:a16="http://schemas.microsoft.com/office/drawing/2014/main" id="{D1AA31DB-E764-4FC5-BEF5-895B2C06956F}"/>
              </a:ext>
            </a:extLst>
          </p:cNvPr>
          <p:cNvSpPr/>
          <p:nvPr/>
        </p:nvSpPr>
        <p:spPr bwMode="auto">
          <a:xfrm>
            <a:off x="5394859" y="4103077"/>
            <a:ext cx="936000" cy="104584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B2B Marketing</a:t>
            </a:r>
          </a:p>
          <a:p>
            <a:pPr algn="ctr">
              <a:spcBef>
                <a:spcPts val="300"/>
              </a:spcBef>
            </a:pPr>
            <a:endParaRPr lang="en-GB" sz="1050" b="1">
              <a:solidFill>
                <a:schemeClr val="tx2"/>
              </a:solidFill>
              <a:latin typeface="Trebuchet MS" panose="020B0603020202020204" pitchFamily="34" charset="0"/>
            </a:endParaRPr>
          </a:p>
        </p:txBody>
      </p:sp>
      <p:sp>
        <p:nvSpPr>
          <p:cNvPr id="149" name="Rectangle 148">
            <a:extLst>
              <a:ext uri="{FF2B5EF4-FFF2-40B4-BE49-F238E27FC236}">
                <a16:creationId xmlns:a16="http://schemas.microsoft.com/office/drawing/2014/main" id="{DC34049B-0477-4731-8D3A-BEA957D6CD1A}"/>
              </a:ext>
            </a:extLst>
          </p:cNvPr>
          <p:cNvSpPr/>
          <p:nvPr/>
        </p:nvSpPr>
        <p:spPr bwMode="auto">
          <a:xfrm>
            <a:off x="5394859" y="5200952"/>
            <a:ext cx="936000" cy="54000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Other </a:t>
            </a:r>
          </a:p>
          <a:p>
            <a:pPr algn="ctr">
              <a:spcBef>
                <a:spcPts val="300"/>
              </a:spcBef>
            </a:pPr>
            <a:r>
              <a:rPr lang="en-GB" sz="1050" b="1">
                <a:solidFill>
                  <a:schemeClr val="tx2"/>
                </a:solidFill>
                <a:latin typeface="Trebuchet MS" panose="020B0603020202020204" pitchFamily="34" charset="0"/>
              </a:rPr>
              <a:t>(DBI)</a:t>
            </a:r>
          </a:p>
        </p:txBody>
      </p:sp>
      <p:sp>
        <p:nvSpPr>
          <p:cNvPr id="70" name="Rectangle 69">
            <a:extLst>
              <a:ext uri="{FF2B5EF4-FFF2-40B4-BE49-F238E27FC236}">
                <a16:creationId xmlns:a16="http://schemas.microsoft.com/office/drawing/2014/main" id="{D6ECC423-047F-4FFA-A595-20B725419789}"/>
              </a:ext>
            </a:extLst>
          </p:cNvPr>
          <p:cNvSpPr/>
          <p:nvPr/>
        </p:nvSpPr>
        <p:spPr bwMode="auto">
          <a:xfrm>
            <a:off x="6449088" y="1515742"/>
            <a:ext cx="3280809" cy="127149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Achievable</a:t>
            </a:r>
            <a:endParaRPr lang="en-GB" sz="900">
              <a:latin typeface="Trebuchet MS" pitchFamily="34" charset="0"/>
            </a:endParaRPr>
          </a:p>
          <a:p>
            <a:pPr marL="0" lvl="1">
              <a:spcBef>
                <a:spcPts val="0"/>
              </a:spcBef>
              <a:spcAft>
                <a:spcPts val="600"/>
              </a:spcAft>
              <a:buClr>
                <a:schemeClr val="tx1"/>
              </a:buClr>
            </a:pPr>
            <a:r>
              <a:rPr lang="en-GB" sz="900" i="1">
                <a:latin typeface="Trebuchet MS" pitchFamily="34" charset="0"/>
              </a:rPr>
              <a:t>Main rationale:</a:t>
            </a:r>
          </a:p>
          <a:p>
            <a:pPr marL="228600" lvl="1" indent="-228600">
              <a:spcBef>
                <a:spcPts val="0"/>
              </a:spcBef>
              <a:buClr>
                <a:schemeClr val="tx1"/>
              </a:buClr>
              <a:buFont typeface="Arial" panose="020B0604020202020204" pitchFamily="34" charset="0"/>
              <a:buChar char="•"/>
            </a:pPr>
            <a:r>
              <a:rPr lang="en-GB" sz="900">
                <a:latin typeface="Trebuchet MS" pitchFamily="34" charset="0"/>
              </a:rPr>
              <a:t>Credit risk </a:t>
            </a:r>
            <a:r>
              <a:rPr lang="en-GB" sz="900">
                <a:solidFill>
                  <a:schemeClr val="tx2"/>
                </a:solidFill>
                <a:latin typeface="Trebuchet MS" pitchFamily="34" charset="0"/>
              </a:rPr>
              <a:t>products portfolio rationalization </a:t>
            </a:r>
          </a:p>
          <a:p>
            <a:pPr marL="228600" lvl="1" indent="-228600">
              <a:spcBef>
                <a:spcPts val="0"/>
              </a:spcBef>
              <a:buClr>
                <a:schemeClr val="tx1"/>
              </a:buClr>
              <a:buFont typeface="Arial" panose="020B0604020202020204" pitchFamily="34" charset="0"/>
              <a:buChar char="•"/>
            </a:pPr>
            <a:r>
              <a:rPr lang="en-GB" sz="900">
                <a:latin typeface="Trebuchet MS" panose="020B0603020202020204" pitchFamily="34" charset="0"/>
              </a:rPr>
              <a:t>Increased </a:t>
            </a:r>
            <a:r>
              <a:rPr lang="en-GB" sz="900">
                <a:solidFill>
                  <a:schemeClr val="tx2"/>
                </a:solidFill>
                <a:latin typeface="Trebuchet MS" pitchFamily="34" charset="0"/>
              </a:rPr>
              <a:t>commercial local proximity </a:t>
            </a:r>
            <a:r>
              <a:rPr lang="en-GB" sz="900">
                <a:latin typeface="Trebuchet MS" panose="020B0603020202020204" pitchFamily="34" charset="0"/>
              </a:rPr>
              <a:t>in France</a:t>
            </a:r>
            <a:endParaRPr lang="en-GB" sz="900">
              <a:solidFill>
                <a:schemeClr val="accent1"/>
              </a:solidFill>
              <a:latin typeface="Trebuchet MS" pitchFamily="34" charset="0"/>
            </a:endParaRPr>
          </a:p>
          <a:p>
            <a:pPr marL="228600" lvl="1" indent="-228600">
              <a:spcBef>
                <a:spcPts val="0"/>
              </a:spcBef>
              <a:buClr>
                <a:schemeClr val="tx1"/>
              </a:buClr>
              <a:buFont typeface="Arial" panose="020B0604020202020204" pitchFamily="34" charset="0"/>
              <a:buChar char="•"/>
            </a:pPr>
            <a:r>
              <a:rPr lang="en-GB" sz="900">
                <a:latin typeface="Trebuchet MS" panose="020B0603020202020204" pitchFamily="34" charset="0"/>
              </a:rPr>
              <a:t>Major </a:t>
            </a:r>
            <a:r>
              <a:rPr lang="en-GB" sz="900">
                <a:solidFill>
                  <a:schemeClr val="tx2"/>
                </a:solidFill>
                <a:latin typeface="Trebuchet MS" pitchFamily="34" charset="0"/>
              </a:rPr>
              <a:t>contract signed with the European Commission</a:t>
            </a:r>
            <a:endParaRPr lang="en-GB" sz="900">
              <a:latin typeface="Trebuchet MS" panose="020B0603020202020204" pitchFamily="34" charset="0"/>
            </a:endParaRPr>
          </a:p>
          <a:p>
            <a:pPr marL="228600" lvl="1" indent="-228600">
              <a:spcBef>
                <a:spcPts val="0"/>
              </a:spcBef>
              <a:buClr>
                <a:schemeClr val="tx1"/>
              </a:buClr>
              <a:buFont typeface="Arial" panose="020B0604020202020204" pitchFamily="34" charset="0"/>
              <a:buChar char="•"/>
            </a:pPr>
            <a:r>
              <a:rPr lang="en-GB" sz="900">
                <a:latin typeface="Trebuchet MS" panose="020B0603020202020204" pitchFamily="34" charset="0"/>
              </a:rPr>
              <a:t>Deployment of </a:t>
            </a:r>
            <a:r>
              <a:rPr lang="en-GB" sz="900">
                <a:solidFill>
                  <a:schemeClr val="tx2"/>
                </a:solidFill>
                <a:latin typeface="Trebuchet MS" panose="020B0603020202020204" pitchFamily="34" charset="0"/>
              </a:rPr>
              <a:t>local proprietary products in Benelux</a:t>
            </a:r>
            <a:endParaRPr lang="en-GB" sz="900">
              <a:solidFill>
                <a:schemeClr val="accent1"/>
              </a:solidFill>
              <a:latin typeface="Trebuchet MS" pitchFamily="34" charset="0"/>
            </a:endParaRPr>
          </a:p>
          <a:p>
            <a:pPr marL="228600" lvl="1" indent="-228600">
              <a:spcBef>
                <a:spcPts val="0"/>
              </a:spcBef>
              <a:buClr>
                <a:schemeClr val="tx1"/>
              </a:buClr>
              <a:buFont typeface="Arial" panose="020B0604020202020204" pitchFamily="34" charset="0"/>
              <a:buChar char="•"/>
            </a:pPr>
            <a:r>
              <a:rPr lang="en-GB" sz="900">
                <a:latin typeface="Trebuchet MS" panose="020B0603020202020204" pitchFamily="34" charset="0"/>
              </a:rPr>
              <a:t>Transversal </a:t>
            </a:r>
            <a:r>
              <a:rPr lang="en-GB" sz="900">
                <a:solidFill>
                  <a:schemeClr val="tx2"/>
                </a:solidFill>
                <a:latin typeface="Trebuchet MS" pitchFamily="34" charset="0"/>
              </a:rPr>
              <a:t>product innovation </a:t>
            </a:r>
            <a:r>
              <a:rPr lang="en-GB" sz="900">
                <a:latin typeface="Trebuchet MS" panose="020B0603020202020204" pitchFamily="34" charset="0"/>
              </a:rPr>
              <a:t>(API, data enrichment, </a:t>
            </a:r>
            <a:r>
              <a:rPr lang="en-GB" sz="900" err="1">
                <a:latin typeface="Trebuchet MS" panose="020B0603020202020204" pitchFamily="34" charset="0"/>
              </a:rPr>
              <a:t>AltaMarket</a:t>
            </a:r>
            <a:r>
              <a:rPr lang="en-GB" sz="900">
                <a:latin typeface="Trebuchet MS" panose="020B0603020202020204" pitchFamily="34" charset="0"/>
              </a:rPr>
              <a:t>…)</a:t>
            </a:r>
            <a:endParaRPr lang="en-GB" sz="900">
              <a:solidFill>
                <a:schemeClr val="accent1"/>
              </a:solidFill>
              <a:latin typeface="Trebuchet MS" pitchFamily="34" charset="0"/>
            </a:endParaRPr>
          </a:p>
          <a:p>
            <a:pPr marL="0" lvl="1">
              <a:spcBef>
                <a:spcPts val="300"/>
              </a:spcBef>
              <a:buClr>
                <a:schemeClr val="tx1"/>
              </a:buClr>
            </a:pPr>
            <a:endParaRPr lang="en-GB" sz="900">
              <a:latin typeface="Trebuchet MS" pitchFamily="34" charset="0"/>
            </a:endParaRPr>
          </a:p>
        </p:txBody>
      </p:sp>
      <p:sp>
        <p:nvSpPr>
          <p:cNvPr id="68" name="Rectangle 67">
            <a:extLst>
              <a:ext uri="{FF2B5EF4-FFF2-40B4-BE49-F238E27FC236}">
                <a16:creationId xmlns:a16="http://schemas.microsoft.com/office/drawing/2014/main" id="{EACF4C40-5F5A-4F7F-BA6B-57A106712858}"/>
              </a:ext>
            </a:extLst>
          </p:cNvPr>
          <p:cNvSpPr/>
          <p:nvPr/>
        </p:nvSpPr>
        <p:spPr bwMode="auto">
          <a:xfrm>
            <a:off x="6449088" y="2835194"/>
            <a:ext cx="3280809" cy="1214645"/>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a:spcBef>
                <a:spcPts val="300"/>
              </a:spcBef>
            </a:pPr>
            <a:r>
              <a:rPr lang="en-GB" sz="1050" b="1" dirty="0">
                <a:solidFill>
                  <a:schemeClr val="tx2"/>
                </a:solidFill>
                <a:latin typeface="Trebuchet MS" panose="020B0603020202020204" pitchFamily="34" charset="0"/>
              </a:rPr>
              <a:t>Achievable</a:t>
            </a:r>
          </a:p>
          <a:p>
            <a:pPr marL="171450" lvl="1" indent="-171450">
              <a:spcBef>
                <a:spcPts val="0"/>
              </a:spcBef>
              <a:buClr>
                <a:schemeClr val="tx1"/>
              </a:buClr>
              <a:buFont typeface="Arial" panose="020B0604020202020204" pitchFamily="34" charset="0"/>
              <a:buChar char="•"/>
            </a:pPr>
            <a:r>
              <a:rPr lang="en-GB" sz="900" dirty="0">
                <a:solidFill>
                  <a:schemeClr val="tx2"/>
                </a:solidFill>
                <a:latin typeface="Trebuchet MS" pitchFamily="34" charset="0"/>
              </a:rPr>
              <a:t>Favourable market trends </a:t>
            </a:r>
            <a:r>
              <a:rPr lang="en-GB" sz="900" dirty="0">
                <a:latin typeface="Trebuchet MS" pitchFamily="34" charset="0"/>
              </a:rPr>
              <a:t>with </a:t>
            </a:r>
            <a:r>
              <a:rPr lang="en-GB" sz="900" dirty="0">
                <a:solidFill>
                  <a:schemeClr val="tx2"/>
                </a:solidFill>
                <a:latin typeface="Trebuchet MS" pitchFamily="34" charset="0"/>
              </a:rPr>
              <a:t>increasing clients’ maturity</a:t>
            </a:r>
          </a:p>
          <a:p>
            <a:pPr marL="171450" lvl="1" indent="-171450">
              <a:spcBef>
                <a:spcPts val="0"/>
              </a:spcBef>
              <a:buClr>
                <a:schemeClr val="tx1"/>
              </a:buClr>
              <a:buFont typeface="Arial" panose="020B0604020202020204" pitchFamily="34" charset="0"/>
              <a:buChar char="•"/>
            </a:pPr>
            <a:r>
              <a:rPr lang="en-GB" sz="900" dirty="0" err="1">
                <a:latin typeface="Trebuchet MS" pitchFamily="34" charset="0"/>
              </a:rPr>
              <a:t>Altares</a:t>
            </a:r>
            <a:r>
              <a:rPr lang="en-GB" sz="900" dirty="0">
                <a:latin typeface="Trebuchet MS" pitchFamily="34" charset="0"/>
              </a:rPr>
              <a:t>’ focus on </a:t>
            </a:r>
            <a:r>
              <a:rPr lang="en-GB" sz="900" dirty="0">
                <a:solidFill>
                  <a:schemeClr val="tx2"/>
                </a:solidFill>
                <a:latin typeface="Trebuchet MS" pitchFamily="34" charset="0"/>
              </a:rPr>
              <a:t>anti-corruption corporate compliance segment </a:t>
            </a:r>
            <a:r>
              <a:rPr lang="en-GB" sz="900" dirty="0">
                <a:latin typeface="Trebuchet MS" pitchFamily="34" charset="0"/>
              </a:rPr>
              <a:t>(as opposed to AML) </a:t>
            </a:r>
          </a:p>
          <a:p>
            <a:pPr marL="171450" lvl="1" indent="-171450">
              <a:spcBef>
                <a:spcPts val="0"/>
              </a:spcBef>
              <a:buClr>
                <a:schemeClr val="tx1"/>
              </a:buClr>
              <a:buFont typeface="Arial" panose="020B0604020202020204" pitchFamily="34" charset="0"/>
              <a:buChar char="•"/>
            </a:pPr>
            <a:r>
              <a:rPr lang="en-GB" sz="900" dirty="0">
                <a:solidFill>
                  <a:schemeClr val="tx2"/>
                </a:solidFill>
                <a:latin typeface="Trebuchet MS" pitchFamily="34" charset="0"/>
              </a:rPr>
              <a:t>Limited competition </a:t>
            </a:r>
            <a:r>
              <a:rPr lang="en-GB" sz="900" dirty="0">
                <a:latin typeface="Trebuchet MS" pitchFamily="34" charset="0"/>
              </a:rPr>
              <a:t>and strong adherence with the existing customer base </a:t>
            </a:r>
          </a:p>
          <a:p>
            <a:pPr marL="171450" lvl="1" indent="-171450">
              <a:spcBef>
                <a:spcPts val="0"/>
              </a:spcBef>
              <a:buClr>
                <a:schemeClr val="tx1"/>
              </a:buClr>
              <a:buFont typeface="Arial" panose="020B0604020202020204" pitchFamily="34" charset="0"/>
              <a:buChar char="•"/>
            </a:pPr>
            <a:r>
              <a:rPr lang="en-GB" sz="900" dirty="0">
                <a:latin typeface="Trebuchet MS" pitchFamily="34" charset="0"/>
              </a:rPr>
              <a:t>Proprietary product (</a:t>
            </a:r>
            <a:r>
              <a:rPr lang="en-GB" sz="900" dirty="0" err="1">
                <a:latin typeface="Trebuchet MS" pitchFamily="34" charset="0"/>
              </a:rPr>
              <a:t>indueD</a:t>
            </a:r>
            <a:r>
              <a:rPr lang="en-GB" sz="900" dirty="0">
                <a:latin typeface="Trebuchet MS" pitchFamily="34" charset="0"/>
              </a:rPr>
              <a:t>) with a </a:t>
            </a:r>
            <a:r>
              <a:rPr lang="en-GB" sz="900" dirty="0">
                <a:solidFill>
                  <a:schemeClr val="tx2"/>
                </a:solidFill>
                <a:latin typeface="Trebuchet MS" pitchFamily="34" charset="0"/>
              </a:rPr>
              <a:t>strong momentum </a:t>
            </a:r>
            <a:r>
              <a:rPr lang="en-GB" sz="900" dirty="0">
                <a:latin typeface="Trebuchet MS" pitchFamily="34" charset="0"/>
              </a:rPr>
              <a:t>on the market and significant investment on the product</a:t>
            </a:r>
          </a:p>
          <a:p>
            <a:pPr marL="171450" indent="-171450" algn="ctr">
              <a:spcBef>
                <a:spcPts val="0"/>
              </a:spcBef>
              <a:buFont typeface="Arial" panose="020B0604020202020204" pitchFamily="34" charset="0"/>
              <a:buChar char="•"/>
            </a:pPr>
            <a:endParaRPr lang="en-GB" sz="900" b="1" dirty="0">
              <a:solidFill>
                <a:schemeClr val="tx2"/>
              </a:solidFill>
              <a:latin typeface="Trebuchet MS" panose="020B0603020202020204" pitchFamily="34" charset="0"/>
            </a:endParaRPr>
          </a:p>
          <a:p>
            <a:pPr algn="ctr">
              <a:spcBef>
                <a:spcPts val="300"/>
              </a:spcBef>
            </a:pPr>
            <a:endParaRPr lang="en-GB" sz="1050" dirty="0">
              <a:latin typeface="Trebuchet MS" panose="020B0603020202020204" pitchFamily="34" charset="0"/>
            </a:endParaRPr>
          </a:p>
        </p:txBody>
      </p:sp>
      <p:grpSp>
        <p:nvGrpSpPr>
          <p:cNvPr id="99" name="Groupe 98">
            <a:extLst>
              <a:ext uri="{FF2B5EF4-FFF2-40B4-BE49-F238E27FC236}">
                <a16:creationId xmlns:a16="http://schemas.microsoft.com/office/drawing/2014/main" id="{BE545D98-E5E5-43F0-9614-8F69D021EDCE}"/>
              </a:ext>
            </a:extLst>
          </p:cNvPr>
          <p:cNvGrpSpPr/>
          <p:nvPr/>
        </p:nvGrpSpPr>
        <p:grpSpPr>
          <a:xfrm rot="5400000">
            <a:off x="6024542" y="2497497"/>
            <a:ext cx="365753" cy="143284"/>
            <a:chOff x="6900119" y="6591876"/>
            <a:chExt cx="591606" cy="186820"/>
          </a:xfrm>
        </p:grpSpPr>
        <p:grpSp>
          <p:nvGrpSpPr>
            <p:cNvPr id="100" name="Groupe 99">
              <a:extLst>
                <a:ext uri="{FF2B5EF4-FFF2-40B4-BE49-F238E27FC236}">
                  <a16:creationId xmlns:a16="http://schemas.microsoft.com/office/drawing/2014/main" id="{E47736A3-6A92-41F6-8CCE-B3E2A9D9C1F4}"/>
                </a:ext>
              </a:extLst>
            </p:cNvPr>
            <p:cNvGrpSpPr/>
            <p:nvPr/>
          </p:nvGrpSpPr>
          <p:grpSpPr>
            <a:xfrm>
              <a:off x="6900119" y="6591876"/>
              <a:ext cx="591606" cy="186820"/>
              <a:chOff x="6900119" y="6591876"/>
              <a:chExt cx="591606" cy="186820"/>
            </a:xfrm>
          </p:grpSpPr>
          <p:sp>
            <p:nvSpPr>
              <p:cNvPr id="126" name="Rectangle 125">
                <a:extLst>
                  <a:ext uri="{FF2B5EF4-FFF2-40B4-BE49-F238E27FC236}">
                    <a16:creationId xmlns:a16="http://schemas.microsoft.com/office/drawing/2014/main" id="{99B24971-AFBE-4816-A877-E67D2C6F618B}"/>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1" name="Ellipse 130">
                <a:extLst>
                  <a:ext uri="{FF2B5EF4-FFF2-40B4-BE49-F238E27FC236}">
                    <a16:creationId xmlns:a16="http://schemas.microsoft.com/office/drawing/2014/main" id="{41992B07-9E81-48C1-8E2F-8D3002AB306A}"/>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01" name="Ellipse 100">
              <a:extLst>
                <a:ext uri="{FF2B5EF4-FFF2-40B4-BE49-F238E27FC236}">
                  <a16:creationId xmlns:a16="http://schemas.microsoft.com/office/drawing/2014/main" id="{1615A055-1FE9-4630-8EE5-D74DF04310BF}"/>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2" name="Ellipse 101">
              <a:extLst>
                <a:ext uri="{FF2B5EF4-FFF2-40B4-BE49-F238E27FC236}">
                  <a16:creationId xmlns:a16="http://schemas.microsoft.com/office/drawing/2014/main" id="{26FFA62C-B22D-4AD0-8C66-A2F9A60CEE46}"/>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32" name="Groupe 131">
            <a:extLst>
              <a:ext uri="{FF2B5EF4-FFF2-40B4-BE49-F238E27FC236}">
                <a16:creationId xmlns:a16="http://schemas.microsoft.com/office/drawing/2014/main" id="{1690D086-D53E-49B8-960E-745EBEB0F0AE}"/>
              </a:ext>
            </a:extLst>
          </p:cNvPr>
          <p:cNvGrpSpPr/>
          <p:nvPr/>
        </p:nvGrpSpPr>
        <p:grpSpPr>
          <a:xfrm rot="5400000">
            <a:off x="6024542" y="3760102"/>
            <a:ext cx="365753" cy="143284"/>
            <a:chOff x="6900119" y="6591876"/>
            <a:chExt cx="591606" cy="186820"/>
          </a:xfrm>
        </p:grpSpPr>
        <p:grpSp>
          <p:nvGrpSpPr>
            <p:cNvPr id="133" name="Groupe 132">
              <a:extLst>
                <a:ext uri="{FF2B5EF4-FFF2-40B4-BE49-F238E27FC236}">
                  <a16:creationId xmlns:a16="http://schemas.microsoft.com/office/drawing/2014/main" id="{DE995DE3-4726-4CEE-BFA9-B5746483DDAA}"/>
                </a:ext>
              </a:extLst>
            </p:cNvPr>
            <p:cNvGrpSpPr/>
            <p:nvPr/>
          </p:nvGrpSpPr>
          <p:grpSpPr>
            <a:xfrm>
              <a:off x="6900119" y="6591876"/>
              <a:ext cx="591606" cy="186820"/>
              <a:chOff x="6900119" y="6591876"/>
              <a:chExt cx="591606" cy="186820"/>
            </a:xfrm>
          </p:grpSpPr>
          <p:sp>
            <p:nvSpPr>
              <p:cNvPr id="150" name="Rectangle 149">
                <a:extLst>
                  <a:ext uri="{FF2B5EF4-FFF2-40B4-BE49-F238E27FC236}">
                    <a16:creationId xmlns:a16="http://schemas.microsoft.com/office/drawing/2014/main" id="{F0AABDD4-8B4A-4F8B-BDE2-11BA83646A69}"/>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1" name="Ellipse 150">
                <a:extLst>
                  <a:ext uri="{FF2B5EF4-FFF2-40B4-BE49-F238E27FC236}">
                    <a16:creationId xmlns:a16="http://schemas.microsoft.com/office/drawing/2014/main" id="{93EFC7AB-0EFD-4F20-BB23-79B70F43FF89}"/>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34" name="Ellipse 133">
              <a:extLst>
                <a:ext uri="{FF2B5EF4-FFF2-40B4-BE49-F238E27FC236}">
                  <a16:creationId xmlns:a16="http://schemas.microsoft.com/office/drawing/2014/main" id="{F71FB997-9948-4A2D-ADBC-BE8D6BD12F7D}"/>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5" name="Ellipse 134">
              <a:extLst>
                <a:ext uri="{FF2B5EF4-FFF2-40B4-BE49-F238E27FC236}">
                  <a16:creationId xmlns:a16="http://schemas.microsoft.com/office/drawing/2014/main" id="{31B11279-E75B-405E-BA87-B099864062A0}"/>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52" name="Groupe 151">
            <a:extLst>
              <a:ext uri="{FF2B5EF4-FFF2-40B4-BE49-F238E27FC236}">
                <a16:creationId xmlns:a16="http://schemas.microsoft.com/office/drawing/2014/main" id="{BF36767E-8DF8-4EFB-8DE7-E59D3D7A7237}"/>
              </a:ext>
            </a:extLst>
          </p:cNvPr>
          <p:cNvGrpSpPr/>
          <p:nvPr/>
        </p:nvGrpSpPr>
        <p:grpSpPr>
          <a:xfrm rot="5400000">
            <a:off x="6024542" y="4863995"/>
            <a:ext cx="365753" cy="143284"/>
            <a:chOff x="6900119" y="6591876"/>
            <a:chExt cx="591606" cy="186820"/>
          </a:xfrm>
        </p:grpSpPr>
        <p:grpSp>
          <p:nvGrpSpPr>
            <p:cNvPr id="153" name="Groupe 152">
              <a:extLst>
                <a:ext uri="{FF2B5EF4-FFF2-40B4-BE49-F238E27FC236}">
                  <a16:creationId xmlns:a16="http://schemas.microsoft.com/office/drawing/2014/main" id="{CB296E49-0AA8-4654-A548-A6C7C24C32E0}"/>
                </a:ext>
              </a:extLst>
            </p:cNvPr>
            <p:cNvGrpSpPr/>
            <p:nvPr/>
          </p:nvGrpSpPr>
          <p:grpSpPr>
            <a:xfrm>
              <a:off x="6900119" y="6591876"/>
              <a:ext cx="591606" cy="186820"/>
              <a:chOff x="6900119" y="6591876"/>
              <a:chExt cx="591606" cy="186820"/>
            </a:xfrm>
          </p:grpSpPr>
          <p:sp>
            <p:nvSpPr>
              <p:cNvPr id="156" name="Rectangle 155">
                <a:extLst>
                  <a:ext uri="{FF2B5EF4-FFF2-40B4-BE49-F238E27FC236}">
                    <a16:creationId xmlns:a16="http://schemas.microsoft.com/office/drawing/2014/main" id="{F082D3D3-3654-4484-A3AB-8B157DCA8F95}"/>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7" name="Ellipse 156">
                <a:extLst>
                  <a:ext uri="{FF2B5EF4-FFF2-40B4-BE49-F238E27FC236}">
                    <a16:creationId xmlns:a16="http://schemas.microsoft.com/office/drawing/2014/main" id="{25BCA09D-EE9A-4FC7-A4F8-39BA83C4145E}"/>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54" name="Ellipse 153">
              <a:extLst>
                <a:ext uri="{FF2B5EF4-FFF2-40B4-BE49-F238E27FC236}">
                  <a16:creationId xmlns:a16="http://schemas.microsoft.com/office/drawing/2014/main" id="{F036D833-673D-422D-A22A-3930DE736D22}"/>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5" name="Ellipse 154">
              <a:extLst>
                <a:ext uri="{FF2B5EF4-FFF2-40B4-BE49-F238E27FC236}">
                  <a16:creationId xmlns:a16="http://schemas.microsoft.com/office/drawing/2014/main" id="{97EE1C23-2D9B-42F0-A8A5-E4DB3414BC72}"/>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58" name="Groupe 157">
            <a:extLst>
              <a:ext uri="{FF2B5EF4-FFF2-40B4-BE49-F238E27FC236}">
                <a16:creationId xmlns:a16="http://schemas.microsoft.com/office/drawing/2014/main" id="{EA3C8649-D715-46B5-B20E-76F08F8CC150}"/>
              </a:ext>
            </a:extLst>
          </p:cNvPr>
          <p:cNvGrpSpPr/>
          <p:nvPr/>
        </p:nvGrpSpPr>
        <p:grpSpPr>
          <a:xfrm rot="5400000">
            <a:off x="6024542" y="5451686"/>
            <a:ext cx="365753" cy="143284"/>
            <a:chOff x="6900119" y="6591876"/>
            <a:chExt cx="591606" cy="186820"/>
          </a:xfrm>
        </p:grpSpPr>
        <p:grpSp>
          <p:nvGrpSpPr>
            <p:cNvPr id="159" name="Groupe 158">
              <a:extLst>
                <a:ext uri="{FF2B5EF4-FFF2-40B4-BE49-F238E27FC236}">
                  <a16:creationId xmlns:a16="http://schemas.microsoft.com/office/drawing/2014/main" id="{DD40F6EF-C59C-456C-B47F-A3ED538BF9AB}"/>
                </a:ext>
              </a:extLst>
            </p:cNvPr>
            <p:cNvGrpSpPr/>
            <p:nvPr/>
          </p:nvGrpSpPr>
          <p:grpSpPr>
            <a:xfrm>
              <a:off x="6900119" y="6591876"/>
              <a:ext cx="591606" cy="186820"/>
              <a:chOff x="6900119" y="6591876"/>
              <a:chExt cx="591606" cy="186820"/>
            </a:xfrm>
          </p:grpSpPr>
          <p:sp>
            <p:nvSpPr>
              <p:cNvPr id="162" name="Rectangle 161">
                <a:extLst>
                  <a:ext uri="{FF2B5EF4-FFF2-40B4-BE49-F238E27FC236}">
                    <a16:creationId xmlns:a16="http://schemas.microsoft.com/office/drawing/2014/main" id="{CC88B5F5-A843-4FF3-8DA9-D6C303243B9C}"/>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3" name="Ellipse 162">
                <a:extLst>
                  <a:ext uri="{FF2B5EF4-FFF2-40B4-BE49-F238E27FC236}">
                    <a16:creationId xmlns:a16="http://schemas.microsoft.com/office/drawing/2014/main" id="{00EEFD2C-5F1C-4671-A395-288DA3BF7062}"/>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60" name="Ellipse 159">
              <a:extLst>
                <a:ext uri="{FF2B5EF4-FFF2-40B4-BE49-F238E27FC236}">
                  <a16:creationId xmlns:a16="http://schemas.microsoft.com/office/drawing/2014/main" id="{0C33FFD5-10CE-4A2F-B91D-466ECAD715B0}"/>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1" name="Ellipse 160">
              <a:extLst>
                <a:ext uri="{FF2B5EF4-FFF2-40B4-BE49-F238E27FC236}">
                  <a16:creationId xmlns:a16="http://schemas.microsoft.com/office/drawing/2014/main" id="{06C09F0F-BB6A-4D15-B423-C84213D1E808}"/>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64" name="Groupe 163">
            <a:extLst>
              <a:ext uri="{FF2B5EF4-FFF2-40B4-BE49-F238E27FC236}">
                <a16:creationId xmlns:a16="http://schemas.microsoft.com/office/drawing/2014/main" id="{1F792940-E9CE-49D5-87F3-B2457DD679B2}"/>
              </a:ext>
            </a:extLst>
          </p:cNvPr>
          <p:cNvGrpSpPr/>
          <p:nvPr/>
        </p:nvGrpSpPr>
        <p:grpSpPr>
          <a:xfrm rot="5400000">
            <a:off x="6388957" y="6112599"/>
            <a:ext cx="365753" cy="143284"/>
            <a:chOff x="6900119" y="6591876"/>
            <a:chExt cx="591606" cy="186820"/>
          </a:xfrm>
        </p:grpSpPr>
        <p:grpSp>
          <p:nvGrpSpPr>
            <p:cNvPr id="165" name="Groupe 164">
              <a:extLst>
                <a:ext uri="{FF2B5EF4-FFF2-40B4-BE49-F238E27FC236}">
                  <a16:creationId xmlns:a16="http://schemas.microsoft.com/office/drawing/2014/main" id="{1615C638-CD5C-4277-93C6-F3C2F185B82A}"/>
                </a:ext>
              </a:extLst>
            </p:cNvPr>
            <p:cNvGrpSpPr/>
            <p:nvPr/>
          </p:nvGrpSpPr>
          <p:grpSpPr>
            <a:xfrm>
              <a:off x="6900119" y="6591876"/>
              <a:ext cx="591606" cy="186820"/>
              <a:chOff x="6900119" y="6591876"/>
              <a:chExt cx="591606" cy="186820"/>
            </a:xfrm>
          </p:grpSpPr>
          <p:sp>
            <p:nvSpPr>
              <p:cNvPr id="168" name="Rectangle 167">
                <a:extLst>
                  <a:ext uri="{FF2B5EF4-FFF2-40B4-BE49-F238E27FC236}">
                    <a16:creationId xmlns:a16="http://schemas.microsoft.com/office/drawing/2014/main" id="{EE7E3340-1F4E-4463-BD51-7A19151D1C27}"/>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9" name="Ellipse 168">
                <a:extLst>
                  <a:ext uri="{FF2B5EF4-FFF2-40B4-BE49-F238E27FC236}">
                    <a16:creationId xmlns:a16="http://schemas.microsoft.com/office/drawing/2014/main" id="{228F4CF2-B9DF-422D-A0A0-50C90C47021B}"/>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66" name="Ellipse 165">
              <a:extLst>
                <a:ext uri="{FF2B5EF4-FFF2-40B4-BE49-F238E27FC236}">
                  <a16:creationId xmlns:a16="http://schemas.microsoft.com/office/drawing/2014/main" id="{378B8DB9-09FB-4848-B24D-EC49307EC398}"/>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7" name="Ellipse 166">
              <a:extLst>
                <a:ext uri="{FF2B5EF4-FFF2-40B4-BE49-F238E27FC236}">
                  <a16:creationId xmlns:a16="http://schemas.microsoft.com/office/drawing/2014/main" id="{C3A5AA05-B000-4576-BF03-3C3D1CC7D664}"/>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70" name="Groupe 169">
            <a:extLst>
              <a:ext uri="{FF2B5EF4-FFF2-40B4-BE49-F238E27FC236}">
                <a16:creationId xmlns:a16="http://schemas.microsoft.com/office/drawing/2014/main" id="{B4C73986-C6B3-4567-B9AC-8AF6B5088D33}"/>
              </a:ext>
            </a:extLst>
          </p:cNvPr>
          <p:cNvGrpSpPr/>
          <p:nvPr/>
        </p:nvGrpSpPr>
        <p:grpSpPr>
          <a:xfrm>
            <a:off x="217806" y="1345552"/>
            <a:ext cx="4837426" cy="5090085"/>
            <a:chOff x="217806" y="1345552"/>
            <a:chExt cx="4837426" cy="5090085"/>
          </a:xfrm>
        </p:grpSpPr>
        <p:sp>
          <p:nvSpPr>
            <p:cNvPr id="174" name="Rectangle 173">
              <a:extLst>
                <a:ext uri="{FF2B5EF4-FFF2-40B4-BE49-F238E27FC236}">
                  <a16:creationId xmlns:a16="http://schemas.microsoft.com/office/drawing/2014/main" id="{92ED022E-CD8D-43DD-95B5-B7AF6F902775}"/>
                </a:ext>
              </a:extLst>
            </p:cNvPr>
            <p:cNvSpPr/>
            <p:nvPr/>
          </p:nvSpPr>
          <p:spPr bwMode="auto">
            <a:xfrm>
              <a:off x="217806" y="1345552"/>
              <a:ext cx="4837426" cy="509008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mc:AlternateContent xmlns:mc="http://schemas.openxmlformats.org/markup-compatibility/2006" xmlns:cx1="http://schemas.microsoft.com/office/drawing/2015/9/8/chartex">
          <mc:Choice Requires="cx1">
            <p:graphicFrame>
              <p:nvGraphicFramePr>
                <p:cNvPr id="175" name="Graphique 174">
                  <a:extLst>
                    <a:ext uri="{FF2B5EF4-FFF2-40B4-BE49-F238E27FC236}">
                      <a16:creationId xmlns:a16="http://schemas.microsoft.com/office/drawing/2014/main" id="{8CC35C20-45E0-410C-B362-0E641F577E4C}"/>
                    </a:ext>
                  </a:extLst>
                </p:cNvPr>
                <p:cNvGraphicFramePr/>
                <p:nvPr>
                  <p:extLst>
                    <p:ext uri="{D42A27DB-BD31-4B8C-83A1-F6EECF244321}">
                      <p14:modId xmlns:p14="http://schemas.microsoft.com/office/powerpoint/2010/main" val="682899271"/>
                    </p:ext>
                  </p:extLst>
                </p:nvPr>
              </p:nvGraphicFramePr>
              <p:xfrm>
                <a:off x="510669" y="2111576"/>
                <a:ext cx="4412176" cy="3240000"/>
              </p:xfrm>
              <a:graphic>
                <a:graphicData uri="http://schemas.microsoft.com/office/drawing/2014/chartex">
                  <cx:chart xmlns:cx="http://schemas.microsoft.com/office/drawing/2014/chartex" xmlns:r="http://schemas.openxmlformats.org/officeDocument/2006/relationships" r:id="rId16"/>
                </a:graphicData>
              </a:graphic>
            </p:graphicFrame>
          </mc:Choice>
          <mc:Fallback xmlns="">
            <p:pic>
              <p:nvPicPr>
                <p:cNvPr id="175" name="Graphique 174">
                  <a:extLst>
                    <a:ext uri="{FF2B5EF4-FFF2-40B4-BE49-F238E27FC236}">
                      <a16:creationId xmlns:a16="http://schemas.microsoft.com/office/drawing/2014/main" id="{8CC35C20-45E0-410C-B362-0E641F577E4C}"/>
                    </a:ext>
                  </a:extLst>
                </p:cNvPr>
                <p:cNvPicPr>
                  <a:picLocks noGrp="1" noRot="1" noChangeAspect="1" noMove="1" noResize="1" noEditPoints="1" noAdjustHandles="1" noChangeArrowheads="1" noChangeShapeType="1"/>
                </p:cNvPicPr>
                <p:nvPr/>
              </p:nvPicPr>
              <p:blipFill>
                <a:blip r:embed="rId18"/>
                <a:stretch>
                  <a:fillRect/>
                </a:stretch>
              </p:blipFill>
              <p:spPr>
                <a:xfrm>
                  <a:off x="510669" y="2111576"/>
                  <a:ext cx="4412176" cy="3240000"/>
                </a:xfrm>
                <a:prstGeom prst="rect">
                  <a:avLst/>
                </a:prstGeom>
              </p:spPr>
            </p:pic>
          </mc:Fallback>
        </mc:AlternateContent>
        <p:sp>
          <p:nvSpPr>
            <p:cNvPr id="176" name="Rectangle 175">
              <a:extLst>
                <a:ext uri="{FF2B5EF4-FFF2-40B4-BE49-F238E27FC236}">
                  <a16:creationId xmlns:a16="http://schemas.microsoft.com/office/drawing/2014/main" id="{03F1EBC9-EE27-4103-9225-CEDCC1316A2A}"/>
                </a:ext>
              </a:extLst>
            </p:cNvPr>
            <p:cNvSpPr>
              <a:spLocks/>
            </p:cNvSpPr>
            <p:nvPr/>
          </p:nvSpPr>
          <p:spPr>
            <a:xfrm>
              <a:off x="233430" y="5540269"/>
              <a:ext cx="751606" cy="362093"/>
            </a:xfrm>
            <a:prstGeom prst="rect">
              <a:avLst/>
            </a:prstGeom>
            <a:solidFill>
              <a:schemeClr val="bg1"/>
            </a:solidFill>
            <a:ln>
              <a:solidFill>
                <a:schemeClr val="accent1">
                  <a:lumMod val="75000"/>
                </a:schemeClr>
              </a:solidFill>
            </a:ln>
          </p:spPr>
          <p:txBody>
            <a:bodyPr wrap="square" lIns="0" tIns="36000" rIns="0" bIns="36000" anchor="ctr">
              <a:noAutofit/>
            </a:bodyPr>
            <a:lstStyle/>
            <a:p>
              <a:pPr algn="ctr"/>
              <a:r>
                <a:rPr lang="en-GB" sz="900" b="1">
                  <a:solidFill>
                    <a:schemeClr val="accent1">
                      <a:lumMod val="50000"/>
                    </a:schemeClr>
                  </a:solidFill>
                  <a:latin typeface="Trebuchet MS" pitchFamily="34" charset="0"/>
                </a:rPr>
                <a:t>Contribution to growth</a:t>
              </a:r>
            </a:p>
          </p:txBody>
        </p:sp>
        <p:sp>
          <p:nvSpPr>
            <p:cNvPr id="177" name="Freeform 5">
              <a:extLst>
                <a:ext uri="{FF2B5EF4-FFF2-40B4-BE49-F238E27FC236}">
                  <a16:creationId xmlns:a16="http://schemas.microsoft.com/office/drawing/2014/main" id="{B2853EE1-8807-4371-B9C3-4558C1751B6F}"/>
                </a:ext>
              </a:extLst>
            </p:cNvPr>
            <p:cNvSpPr>
              <a:spLocks/>
            </p:cNvSpPr>
            <p:nvPr/>
          </p:nvSpPr>
          <p:spPr bwMode="auto">
            <a:xfrm>
              <a:off x="4893521" y="5643807"/>
              <a:ext cx="57109" cy="57109"/>
            </a:xfrm>
            <a:custGeom>
              <a:avLst/>
              <a:gdLst>
                <a:gd name="T0" fmla="*/ 0 w 28"/>
                <a:gd name="T1" fmla="*/ 0 h 28"/>
                <a:gd name="T2" fmla="*/ 0 w 28"/>
                <a:gd name="T3" fmla="*/ 28 h 28"/>
                <a:gd name="T4" fmla="*/ 28 w 28"/>
                <a:gd name="T5" fmla="*/ 28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28"/>
                    <a:pt x="0" y="28"/>
                    <a:pt x="0" y="28"/>
                  </a:cubicBezTo>
                  <a:cubicBezTo>
                    <a:pt x="28" y="28"/>
                    <a:pt x="28" y="28"/>
                    <a:pt x="28" y="28"/>
                  </a:cubicBezTo>
                  <a:cubicBezTo>
                    <a:pt x="28" y="13"/>
                    <a:pt x="16" y="0"/>
                    <a:pt x="0" y="0"/>
                  </a:cubicBez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solidFill>
                  <a:schemeClr val="tx2"/>
                </a:solidFill>
              </a:endParaRPr>
            </a:p>
          </p:txBody>
        </p:sp>
        <p:sp>
          <p:nvSpPr>
            <p:cNvPr id="178" name="Freeform 6">
              <a:extLst>
                <a:ext uri="{FF2B5EF4-FFF2-40B4-BE49-F238E27FC236}">
                  <a16:creationId xmlns:a16="http://schemas.microsoft.com/office/drawing/2014/main" id="{AD3F5321-1E74-4B5E-86AC-6AB666C25BBB}"/>
                </a:ext>
              </a:extLst>
            </p:cNvPr>
            <p:cNvSpPr>
              <a:spLocks noEditPoints="1"/>
            </p:cNvSpPr>
            <p:nvPr/>
          </p:nvSpPr>
          <p:spPr bwMode="auto">
            <a:xfrm>
              <a:off x="4821295" y="5660604"/>
              <a:ext cx="112538" cy="112538"/>
            </a:xfrm>
            <a:custGeom>
              <a:avLst/>
              <a:gdLst>
                <a:gd name="T0" fmla="*/ 28 w 56"/>
                <a:gd name="T1" fmla="*/ 0 h 56"/>
                <a:gd name="T2" fmla="*/ 0 w 56"/>
                <a:gd name="T3" fmla="*/ 28 h 56"/>
                <a:gd name="T4" fmla="*/ 28 w 56"/>
                <a:gd name="T5" fmla="*/ 56 h 56"/>
                <a:gd name="T6" fmla="*/ 56 w 56"/>
                <a:gd name="T7" fmla="*/ 28 h 56"/>
                <a:gd name="T8" fmla="*/ 28 w 56"/>
                <a:gd name="T9" fmla="*/ 28 h 56"/>
                <a:gd name="T10" fmla="*/ 28 w 56"/>
                <a:gd name="T11" fmla="*/ 0 h 56"/>
                <a:gd name="T12" fmla="*/ 52 w 56"/>
                <a:gd name="T13" fmla="*/ 32 h 56"/>
                <a:gd name="T14" fmla="*/ 28 w 56"/>
                <a:gd name="T15" fmla="*/ 52 h 56"/>
                <a:gd name="T16" fmla="*/ 4 w 56"/>
                <a:gd name="T17" fmla="*/ 28 h 56"/>
                <a:gd name="T18" fmla="*/ 24 w 56"/>
                <a:gd name="T19" fmla="*/ 4 h 56"/>
                <a:gd name="T20" fmla="*/ 24 w 56"/>
                <a:gd name="T21" fmla="*/ 32 h 56"/>
                <a:gd name="T22" fmla="*/ 52 w 56"/>
                <a:gd name="T23"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56">
                  <a:moveTo>
                    <a:pt x="28" y="0"/>
                  </a:moveTo>
                  <a:cubicBezTo>
                    <a:pt x="13" y="0"/>
                    <a:pt x="0" y="13"/>
                    <a:pt x="0" y="28"/>
                  </a:cubicBezTo>
                  <a:cubicBezTo>
                    <a:pt x="0" y="44"/>
                    <a:pt x="13" y="56"/>
                    <a:pt x="28" y="56"/>
                  </a:cubicBezTo>
                  <a:cubicBezTo>
                    <a:pt x="44" y="56"/>
                    <a:pt x="56" y="44"/>
                    <a:pt x="56" y="28"/>
                  </a:cubicBezTo>
                  <a:cubicBezTo>
                    <a:pt x="28" y="28"/>
                    <a:pt x="28" y="28"/>
                    <a:pt x="28" y="28"/>
                  </a:cubicBezTo>
                  <a:lnTo>
                    <a:pt x="28" y="0"/>
                  </a:lnTo>
                  <a:close/>
                  <a:moveTo>
                    <a:pt x="52" y="32"/>
                  </a:moveTo>
                  <a:cubicBezTo>
                    <a:pt x="50" y="43"/>
                    <a:pt x="40" y="52"/>
                    <a:pt x="28" y="52"/>
                  </a:cubicBezTo>
                  <a:cubicBezTo>
                    <a:pt x="15" y="52"/>
                    <a:pt x="4" y="41"/>
                    <a:pt x="4" y="28"/>
                  </a:cubicBezTo>
                  <a:cubicBezTo>
                    <a:pt x="4" y="16"/>
                    <a:pt x="13" y="6"/>
                    <a:pt x="24" y="4"/>
                  </a:cubicBezTo>
                  <a:cubicBezTo>
                    <a:pt x="24" y="32"/>
                    <a:pt x="24" y="32"/>
                    <a:pt x="24" y="32"/>
                  </a:cubicBezTo>
                  <a:lnTo>
                    <a:pt x="52" y="32"/>
                  </a:ln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solidFill>
                  <a:schemeClr val="tx2"/>
                </a:solidFill>
              </a:endParaRPr>
            </a:p>
          </p:txBody>
        </p:sp>
        <p:sp>
          <p:nvSpPr>
            <p:cNvPr id="179" name="Rectangle 178">
              <a:extLst>
                <a:ext uri="{FF2B5EF4-FFF2-40B4-BE49-F238E27FC236}">
                  <a16:creationId xmlns:a16="http://schemas.microsoft.com/office/drawing/2014/main" id="{03F55C19-41AE-411B-9B35-12F0C5C56264}"/>
                </a:ext>
              </a:extLst>
            </p:cNvPr>
            <p:cNvSpPr>
              <a:spLocks/>
            </p:cNvSpPr>
            <p:nvPr/>
          </p:nvSpPr>
          <p:spPr>
            <a:xfrm>
              <a:off x="233430" y="5966506"/>
              <a:ext cx="751606" cy="362093"/>
            </a:xfrm>
            <a:prstGeom prst="rect">
              <a:avLst/>
            </a:prstGeom>
            <a:solidFill>
              <a:schemeClr val="bg1"/>
            </a:solidFill>
            <a:ln>
              <a:solidFill>
                <a:schemeClr val="tx1"/>
              </a:solidFill>
            </a:ln>
          </p:spPr>
          <p:txBody>
            <a:bodyPr wrap="square" lIns="0" tIns="36000" rIns="0" bIns="36000" anchor="ctr">
              <a:noAutofit/>
            </a:bodyPr>
            <a:lstStyle/>
            <a:p>
              <a:pPr algn="ctr"/>
              <a:r>
                <a:rPr lang="en-GB" sz="900" b="1">
                  <a:latin typeface="Trebuchet MS" pitchFamily="34" charset="0"/>
                </a:rPr>
                <a:t>Expected CAGR</a:t>
              </a:r>
              <a:r>
                <a:rPr lang="en-GB" sz="900" b="1" baseline="-25000">
                  <a:latin typeface="Trebuchet MS" pitchFamily="34" charset="0"/>
                </a:rPr>
                <a:t>20-25</a:t>
              </a:r>
              <a:endParaRPr lang="en-GB" sz="900" b="1">
                <a:latin typeface="Trebuchet MS" pitchFamily="34" charset="0"/>
              </a:endParaRPr>
            </a:p>
          </p:txBody>
        </p:sp>
        <p:sp>
          <p:nvSpPr>
            <p:cNvPr id="180" name="Rectangle 5">
              <a:extLst>
                <a:ext uri="{FF2B5EF4-FFF2-40B4-BE49-F238E27FC236}">
                  <a16:creationId xmlns:a16="http://schemas.microsoft.com/office/drawing/2014/main" id="{ACC0F8D9-B541-401A-8134-79E2D8C741CA}"/>
                </a:ext>
              </a:extLst>
            </p:cNvPr>
            <p:cNvSpPr>
              <a:spLocks noChangeArrowheads="1"/>
            </p:cNvSpPr>
            <p:nvPr/>
          </p:nvSpPr>
          <p:spPr bwMode="auto">
            <a:xfrm>
              <a:off x="4833567" y="6158026"/>
              <a:ext cx="23773" cy="2360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1" name="Rectangle 6">
              <a:extLst>
                <a:ext uri="{FF2B5EF4-FFF2-40B4-BE49-F238E27FC236}">
                  <a16:creationId xmlns:a16="http://schemas.microsoft.com/office/drawing/2014/main" id="{D7CC21CD-DB09-41EB-A05E-703B5421A02B}"/>
                </a:ext>
              </a:extLst>
            </p:cNvPr>
            <p:cNvSpPr>
              <a:spLocks noChangeArrowheads="1"/>
            </p:cNvSpPr>
            <p:nvPr/>
          </p:nvSpPr>
          <p:spPr bwMode="auto">
            <a:xfrm>
              <a:off x="4865151" y="6142234"/>
              <a:ext cx="23603" cy="393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2" name="Rectangle 7">
              <a:extLst>
                <a:ext uri="{FF2B5EF4-FFF2-40B4-BE49-F238E27FC236}">
                  <a16:creationId xmlns:a16="http://schemas.microsoft.com/office/drawing/2014/main" id="{F221834C-F534-4FF9-816D-F3A8D5656D8D}"/>
                </a:ext>
              </a:extLst>
            </p:cNvPr>
            <p:cNvSpPr>
              <a:spLocks noChangeArrowheads="1"/>
            </p:cNvSpPr>
            <p:nvPr/>
          </p:nvSpPr>
          <p:spPr bwMode="auto">
            <a:xfrm>
              <a:off x="4896565" y="6126442"/>
              <a:ext cx="23603" cy="55187"/>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3" name="Rectangle 8">
              <a:extLst>
                <a:ext uri="{FF2B5EF4-FFF2-40B4-BE49-F238E27FC236}">
                  <a16:creationId xmlns:a16="http://schemas.microsoft.com/office/drawing/2014/main" id="{2DBE5F81-6957-4830-8BC5-894E5C74673E}"/>
                </a:ext>
              </a:extLst>
            </p:cNvPr>
            <p:cNvSpPr>
              <a:spLocks noChangeArrowheads="1"/>
            </p:cNvSpPr>
            <p:nvPr/>
          </p:nvSpPr>
          <p:spPr bwMode="auto">
            <a:xfrm>
              <a:off x="4928149" y="6110650"/>
              <a:ext cx="23603" cy="70979"/>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4" name="Freeform 9">
              <a:extLst>
                <a:ext uri="{FF2B5EF4-FFF2-40B4-BE49-F238E27FC236}">
                  <a16:creationId xmlns:a16="http://schemas.microsoft.com/office/drawing/2014/main" id="{B28A600C-774D-4516-AA3F-A8B6A2439718}"/>
                </a:ext>
              </a:extLst>
            </p:cNvPr>
            <p:cNvSpPr>
              <a:spLocks/>
            </p:cNvSpPr>
            <p:nvPr/>
          </p:nvSpPr>
          <p:spPr bwMode="auto">
            <a:xfrm>
              <a:off x="4825756" y="6067349"/>
              <a:ext cx="125996" cy="74885"/>
            </a:xfrm>
            <a:custGeom>
              <a:avLst/>
              <a:gdLst>
                <a:gd name="T0" fmla="*/ 649 w 742"/>
                <a:gd name="T1" fmla="*/ 105 h 441"/>
                <a:gd name="T2" fmla="*/ 510 w 742"/>
                <a:gd name="T3" fmla="*/ 105 h 441"/>
                <a:gd name="T4" fmla="*/ 325 w 742"/>
                <a:gd name="T5" fmla="*/ 244 h 441"/>
                <a:gd name="T6" fmla="*/ 232 w 742"/>
                <a:gd name="T7" fmla="*/ 186 h 441"/>
                <a:gd name="T8" fmla="*/ 0 w 742"/>
                <a:gd name="T9" fmla="*/ 383 h 441"/>
                <a:gd name="T10" fmla="*/ 0 w 742"/>
                <a:gd name="T11" fmla="*/ 441 h 441"/>
                <a:gd name="T12" fmla="*/ 244 w 742"/>
                <a:gd name="T13" fmla="*/ 244 h 441"/>
                <a:gd name="T14" fmla="*/ 336 w 742"/>
                <a:gd name="T15" fmla="*/ 290 h 441"/>
                <a:gd name="T16" fmla="*/ 522 w 742"/>
                <a:gd name="T17" fmla="*/ 151 h 441"/>
                <a:gd name="T18" fmla="*/ 661 w 742"/>
                <a:gd name="T19" fmla="*/ 151 h 441"/>
                <a:gd name="T20" fmla="*/ 742 w 742"/>
                <a:gd name="T21" fmla="*/ 70 h 441"/>
                <a:gd name="T22" fmla="*/ 742 w 742"/>
                <a:gd name="T23" fmla="*/ 0 h 441"/>
                <a:gd name="T24" fmla="*/ 649 w 742"/>
                <a:gd name="T25" fmla="*/ 105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2" h="441">
                  <a:moveTo>
                    <a:pt x="649" y="105"/>
                  </a:moveTo>
                  <a:lnTo>
                    <a:pt x="510" y="105"/>
                  </a:lnTo>
                  <a:lnTo>
                    <a:pt x="325" y="244"/>
                  </a:lnTo>
                  <a:lnTo>
                    <a:pt x="232" y="186"/>
                  </a:lnTo>
                  <a:lnTo>
                    <a:pt x="0" y="383"/>
                  </a:lnTo>
                  <a:lnTo>
                    <a:pt x="0" y="441"/>
                  </a:lnTo>
                  <a:lnTo>
                    <a:pt x="244" y="244"/>
                  </a:lnTo>
                  <a:lnTo>
                    <a:pt x="336" y="290"/>
                  </a:lnTo>
                  <a:lnTo>
                    <a:pt x="522" y="151"/>
                  </a:lnTo>
                  <a:lnTo>
                    <a:pt x="661" y="151"/>
                  </a:lnTo>
                  <a:lnTo>
                    <a:pt x="742" y="70"/>
                  </a:lnTo>
                  <a:lnTo>
                    <a:pt x="742" y="0"/>
                  </a:lnTo>
                  <a:lnTo>
                    <a:pt x="649" y="10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5" name="Rectangle 184">
              <a:extLst>
                <a:ext uri="{FF2B5EF4-FFF2-40B4-BE49-F238E27FC236}">
                  <a16:creationId xmlns:a16="http://schemas.microsoft.com/office/drawing/2014/main" id="{898D1B71-72AD-4AD3-B710-68246C8356A9}"/>
                </a:ext>
              </a:extLst>
            </p:cNvPr>
            <p:cNvSpPr/>
            <p:nvPr/>
          </p:nvSpPr>
          <p:spPr bwMode="auto">
            <a:xfrm>
              <a:off x="1008978"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186" name="Rectangle 185">
              <a:extLst>
                <a:ext uri="{FF2B5EF4-FFF2-40B4-BE49-F238E27FC236}">
                  <a16:creationId xmlns:a16="http://schemas.microsoft.com/office/drawing/2014/main" id="{1AB68B18-A13A-4F27-9AFC-7E940F231152}"/>
                </a:ext>
              </a:extLst>
            </p:cNvPr>
            <p:cNvSpPr/>
            <p:nvPr/>
          </p:nvSpPr>
          <p:spPr bwMode="auto">
            <a:xfrm>
              <a:off x="1769157"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187" name="Rectangle 186">
              <a:extLst>
                <a:ext uri="{FF2B5EF4-FFF2-40B4-BE49-F238E27FC236}">
                  <a16:creationId xmlns:a16="http://schemas.microsoft.com/office/drawing/2014/main" id="{0B4AC973-FC8B-4E17-A4DB-1EB063BDC5C2}"/>
                </a:ext>
              </a:extLst>
            </p:cNvPr>
            <p:cNvSpPr/>
            <p:nvPr/>
          </p:nvSpPr>
          <p:spPr bwMode="auto">
            <a:xfrm>
              <a:off x="1290570"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A</a:t>
              </a:r>
            </a:p>
          </p:txBody>
        </p:sp>
        <p:sp>
          <p:nvSpPr>
            <p:cNvPr id="188" name="Rectangle 187">
              <a:extLst>
                <a:ext uri="{FF2B5EF4-FFF2-40B4-BE49-F238E27FC236}">
                  <a16:creationId xmlns:a16="http://schemas.microsoft.com/office/drawing/2014/main" id="{2261DFC6-40E1-43CA-B7CE-E36A094CC4B6}"/>
                </a:ext>
              </a:extLst>
            </p:cNvPr>
            <p:cNvSpPr/>
            <p:nvPr/>
          </p:nvSpPr>
          <p:spPr bwMode="auto">
            <a:xfrm>
              <a:off x="2019252"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B</a:t>
              </a:r>
            </a:p>
          </p:txBody>
        </p:sp>
        <p:sp>
          <p:nvSpPr>
            <p:cNvPr id="189" name="Rectangle 188">
              <a:extLst>
                <a:ext uri="{FF2B5EF4-FFF2-40B4-BE49-F238E27FC236}">
                  <a16:creationId xmlns:a16="http://schemas.microsoft.com/office/drawing/2014/main" id="{8678B25D-693D-44C9-B16E-423A69A659BA}"/>
                </a:ext>
              </a:extLst>
            </p:cNvPr>
            <p:cNvSpPr/>
            <p:nvPr/>
          </p:nvSpPr>
          <p:spPr bwMode="auto">
            <a:xfrm>
              <a:off x="2824654"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C</a:t>
              </a:r>
            </a:p>
          </p:txBody>
        </p:sp>
        <p:sp>
          <p:nvSpPr>
            <p:cNvPr id="190" name="Rectangle 189">
              <a:extLst>
                <a:ext uri="{FF2B5EF4-FFF2-40B4-BE49-F238E27FC236}">
                  <a16:creationId xmlns:a16="http://schemas.microsoft.com/office/drawing/2014/main" id="{56D7EDEF-2616-403A-9860-E0F0717F042F}"/>
                </a:ext>
              </a:extLst>
            </p:cNvPr>
            <p:cNvSpPr/>
            <p:nvPr/>
          </p:nvSpPr>
          <p:spPr bwMode="auto">
            <a:xfrm>
              <a:off x="3774866" y="1577884"/>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D</a:t>
              </a:r>
            </a:p>
          </p:txBody>
        </p:sp>
        <p:sp>
          <p:nvSpPr>
            <p:cNvPr id="191" name="ZoneTexte 190">
              <a:extLst>
                <a:ext uri="{FF2B5EF4-FFF2-40B4-BE49-F238E27FC236}">
                  <a16:creationId xmlns:a16="http://schemas.microsoft.com/office/drawing/2014/main" id="{4D43ED5B-8B35-4A65-B54D-B914AF61F9E8}"/>
                </a:ext>
              </a:extLst>
            </p:cNvPr>
            <p:cNvSpPr txBox="1"/>
            <p:nvPr/>
          </p:nvSpPr>
          <p:spPr>
            <a:xfrm>
              <a:off x="1061021" y="1866347"/>
              <a:ext cx="659789"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Risk</a:t>
              </a:r>
            </a:p>
          </p:txBody>
        </p:sp>
        <p:sp>
          <p:nvSpPr>
            <p:cNvPr id="192" name="ZoneTexte 191">
              <a:extLst>
                <a:ext uri="{FF2B5EF4-FFF2-40B4-BE49-F238E27FC236}">
                  <a16:creationId xmlns:a16="http://schemas.microsoft.com/office/drawing/2014/main" id="{96C5730C-FEF9-498A-95CE-6F9DD9BF553F}"/>
                </a:ext>
              </a:extLst>
            </p:cNvPr>
            <p:cNvSpPr txBox="1"/>
            <p:nvPr/>
          </p:nvSpPr>
          <p:spPr>
            <a:xfrm>
              <a:off x="1636309" y="1863615"/>
              <a:ext cx="1012587"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ompliance</a:t>
              </a:r>
            </a:p>
          </p:txBody>
        </p:sp>
        <p:sp>
          <p:nvSpPr>
            <p:cNvPr id="193" name="Rectangle 192">
              <a:extLst>
                <a:ext uri="{FF2B5EF4-FFF2-40B4-BE49-F238E27FC236}">
                  <a16:creationId xmlns:a16="http://schemas.microsoft.com/office/drawing/2014/main" id="{8F9F8DA6-494B-456E-A42A-79B97D496C00}"/>
                </a:ext>
              </a:extLst>
            </p:cNvPr>
            <p:cNvSpPr/>
            <p:nvPr/>
          </p:nvSpPr>
          <p:spPr bwMode="auto">
            <a:xfrm>
              <a:off x="2529336"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194" name="ZoneTexte 193">
              <a:extLst>
                <a:ext uri="{FF2B5EF4-FFF2-40B4-BE49-F238E27FC236}">
                  <a16:creationId xmlns:a16="http://schemas.microsoft.com/office/drawing/2014/main" id="{1A4FA6D6-A65F-46D0-9758-003B6D63CD96}"/>
                </a:ext>
              </a:extLst>
            </p:cNvPr>
            <p:cNvSpPr txBox="1"/>
            <p:nvPr/>
          </p:nvSpPr>
          <p:spPr>
            <a:xfrm>
              <a:off x="2424669" y="1872342"/>
              <a:ext cx="1012587"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B2B Marketing</a:t>
              </a:r>
            </a:p>
          </p:txBody>
        </p:sp>
        <p:sp>
          <p:nvSpPr>
            <p:cNvPr id="195" name="Rectangle 194">
              <a:extLst>
                <a:ext uri="{FF2B5EF4-FFF2-40B4-BE49-F238E27FC236}">
                  <a16:creationId xmlns:a16="http://schemas.microsoft.com/office/drawing/2014/main" id="{4C7E400B-87D1-4D48-A29B-56823A70C92A}"/>
                </a:ext>
              </a:extLst>
            </p:cNvPr>
            <p:cNvSpPr/>
            <p:nvPr/>
          </p:nvSpPr>
          <p:spPr bwMode="auto">
            <a:xfrm>
              <a:off x="3289514" y="2111575"/>
              <a:ext cx="1152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196" name="ZoneTexte 195">
              <a:extLst>
                <a:ext uri="{FF2B5EF4-FFF2-40B4-BE49-F238E27FC236}">
                  <a16:creationId xmlns:a16="http://schemas.microsoft.com/office/drawing/2014/main" id="{4FCA7CA0-C0B3-4C69-BD22-A1FB21B1ACC9}"/>
                </a:ext>
              </a:extLst>
            </p:cNvPr>
            <p:cNvSpPr txBox="1"/>
            <p:nvPr/>
          </p:nvSpPr>
          <p:spPr>
            <a:xfrm>
              <a:off x="3315097" y="1872342"/>
              <a:ext cx="1113846"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Other activities</a:t>
              </a:r>
            </a:p>
          </p:txBody>
        </p:sp>
        <p:cxnSp>
          <p:nvCxnSpPr>
            <p:cNvPr id="197" name="Straight Connector 156">
              <a:extLst>
                <a:ext uri="{FF2B5EF4-FFF2-40B4-BE49-F238E27FC236}">
                  <a16:creationId xmlns:a16="http://schemas.microsoft.com/office/drawing/2014/main" id="{08D78962-93B7-4704-8381-B771591FC9DC}"/>
                </a:ext>
              </a:extLst>
            </p:cNvPr>
            <p:cNvCxnSpPr>
              <a:cxnSpLocks/>
            </p:cNvCxnSpPr>
            <p:nvPr/>
          </p:nvCxnSpPr>
          <p:spPr bwMode="auto">
            <a:xfrm flipV="1">
              <a:off x="640663" y="1489932"/>
              <a:ext cx="0" cy="195116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98" name="Straight Connector 157">
              <a:extLst>
                <a:ext uri="{FF2B5EF4-FFF2-40B4-BE49-F238E27FC236}">
                  <a16:creationId xmlns:a16="http://schemas.microsoft.com/office/drawing/2014/main" id="{212544B9-8056-4D9A-95E8-39D7714914BD}"/>
                </a:ext>
              </a:extLst>
            </p:cNvPr>
            <p:cNvCxnSpPr>
              <a:cxnSpLocks/>
            </p:cNvCxnSpPr>
            <p:nvPr/>
          </p:nvCxnSpPr>
          <p:spPr bwMode="auto">
            <a:xfrm>
              <a:off x="640663" y="1489932"/>
              <a:ext cx="4028379"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99" name="Oval 158">
              <a:extLst>
                <a:ext uri="{FF2B5EF4-FFF2-40B4-BE49-F238E27FC236}">
                  <a16:creationId xmlns:a16="http://schemas.microsoft.com/office/drawing/2014/main" id="{504534A3-79AA-4088-8CC9-72F345D35758}"/>
                </a:ext>
              </a:extLst>
            </p:cNvPr>
            <p:cNvSpPr/>
            <p:nvPr/>
          </p:nvSpPr>
          <p:spPr bwMode="auto">
            <a:xfrm>
              <a:off x="1866783" y="1361923"/>
              <a:ext cx="1453776" cy="206992"/>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a:r>
                <a:rPr lang="en-GB" sz="900" b="1">
                  <a:latin typeface="Trebuchet MS" pitchFamily="34" charset="0"/>
                </a:rPr>
                <a:t>CAGR</a:t>
              </a:r>
              <a:r>
                <a:rPr lang="en-GB" sz="900" b="1" baseline="-25000">
                  <a:latin typeface="Trebuchet MS" pitchFamily="34" charset="0"/>
                </a:rPr>
                <a:t>20-25 </a:t>
              </a:r>
              <a:r>
                <a:rPr kumimoji="0" lang="en-GB" sz="900" b="1" i="0" u="none" strike="noStrike" cap="none" normalizeH="0" baseline="0">
                  <a:ln>
                    <a:noFill/>
                  </a:ln>
                  <a:solidFill>
                    <a:schemeClr val="tx1"/>
                  </a:solidFill>
                  <a:effectLst/>
                  <a:latin typeface="Trebuchet MS" pitchFamily="34" charset="0"/>
                </a:rPr>
                <a:t>: +</a:t>
              </a:r>
              <a:r>
                <a:rPr lang="en-GB" sz="900" b="1">
                  <a:latin typeface="Trebuchet MS" pitchFamily="34" charset="0"/>
                </a:rPr>
                <a:t>5,5</a:t>
              </a:r>
              <a:r>
                <a:rPr kumimoji="0" lang="en-GB" sz="900" b="1" i="0" u="none" strike="noStrike" cap="none" normalizeH="0" baseline="0">
                  <a:ln>
                    <a:noFill/>
                  </a:ln>
                  <a:solidFill>
                    <a:schemeClr val="tx1"/>
                  </a:solidFill>
                  <a:effectLst/>
                  <a:latin typeface="Trebuchet MS" pitchFamily="34" charset="0"/>
                </a:rPr>
                <a:t>%</a:t>
              </a:r>
            </a:p>
          </p:txBody>
        </p:sp>
        <p:cxnSp>
          <p:nvCxnSpPr>
            <p:cNvPr id="200" name="Straight Connector 156">
              <a:extLst>
                <a:ext uri="{FF2B5EF4-FFF2-40B4-BE49-F238E27FC236}">
                  <a16:creationId xmlns:a16="http://schemas.microsoft.com/office/drawing/2014/main" id="{22C61A40-30B2-489E-A6BB-2712EFD90340}"/>
                </a:ext>
              </a:extLst>
            </p:cNvPr>
            <p:cNvCxnSpPr>
              <a:cxnSpLocks/>
            </p:cNvCxnSpPr>
            <p:nvPr/>
          </p:nvCxnSpPr>
          <p:spPr bwMode="auto">
            <a:xfrm flipV="1">
              <a:off x="4669042" y="1489933"/>
              <a:ext cx="0" cy="751741"/>
            </a:xfrm>
            <a:prstGeom prst="line">
              <a:avLst/>
            </a:prstGeom>
            <a:solidFill>
              <a:schemeClr val="accent1"/>
            </a:solidFill>
            <a:ln w="9525" cap="flat" cmpd="sng" algn="ctr">
              <a:solidFill>
                <a:schemeClr val="tx1"/>
              </a:solidFill>
              <a:prstDash val="solid"/>
              <a:round/>
              <a:headEnd type="triangle" w="med" len="med"/>
              <a:tailEnd type="none" w="med" len="med"/>
            </a:ln>
            <a:effectLst/>
          </p:spPr>
        </p:cxnSp>
        <p:cxnSp>
          <p:nvCxnSpPr>
            <p:cNvPr id="201" name="Connecteur droit 200">
              <a:extLst>
                <a:ext uri="{FF2B5EF4-FFF2-40B4-BE49-F238E27FC236}">
                  <a16:creationId xmlns:a16="http://schemas.microsoft.com/office/drawing/2014/main" id="{6FF8D539-C270-4BDD-BF5D-C243AAEC9FE5}"/>
                </a:ext>
              </a:extLst>
            </p:cNvPr>
            <p:cNvCxnSpPr/>
            <p:nvPr/>
          </p:nvCxnSpPr>
          <p:spPr bwMode="auto">
            <a:xfrm flipV="1">
              <a:off x="580240" y="3972348"/>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202" name="Connecteur droit 201">
              <a:extLst>
                <a:ext uri="{FF2B5EF4-FFF2-40B4-BE49-F238E27FC236}">
                  <a16:creationId xmlns:a16="http://schemas.microsoft.com/office/drawing/2014/main" id="{22E10386-A05E-431C-B20D-815C8BA8BE2D}"/>
                </a:ext>
              </a:extLst>
            </p:cNvPr>
            <p:cNvCxnSpPr/>
            <p:nvPr/>
          </p:nvCxnSpPr>
          <p:spPr bwMode="auto">
            <a:xfrm flipV="1">
              <a:off x="580240" y="3929062"/>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203" name="Connecteur droit 202">
              <a:extLst>
                <a:ext uri="{FF2B5EF4-FFF2-40B4-BE49-F238E27FC236}">
                  <a16:creationId xmlns:a16="http://schemas.microsoft.com/office/drawing/2014/main" id="{681A31CF-4FE3-4C51-8772-07B9BF118BF1}"/>
                </a:ext>
              </a:extLst>
            </p:cNvPr>
            <p:cNvCxnSpPr/>
            <p:nvPr/>
          </p:nvCxnSpPr>
          <p:spPr bwMode="auto">
            <a:xfrm flipV="1">
              <a:off x="4451954" y="3972348"/>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204" name="Connecteur droit 203">
              <a:extLst>
                <a:ext uri="{FF2B5EF4-FFF2-40B4-BE49-F238E27FC236}">
                  <a16:creationId xmlns:a16="http://schemas.microsoft.com/office/drawing/2014/main" id="{78A934E6-5D0C-4DFA-BD06-A4F510849C1E}"/>
                </a:ext>
              </a:extLst>
            </p:cNvPr>
            <p:cNvCxnSpPr/>
            <p:nvPr/>
          </p:nvCxnSpPr>
          <p:spPr bwMode="auto">
            <a:xfrm flipV="1">
              <a:off x="4451954" y="3929062"/>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grpSp>
      <p:cxnSp>
        <p:nvCxnSpPr>
          <p:cNvPr id="205" name="Connecteur droit 204">
            <a:extLst>
              <a:ext uri="{FF2B5EF4-FFF2-40B4-BE49-F238E27FC236}">
                <a16:creationId xmlns:a16="http://schemas.microsoft.com/office/drawing/2014/main" id="{EFEAF531-7909-4C2B-BD00-193EBCB132C2}"/>
              </a:ext>
            </a:extLst>
          </p:cNvPr>
          <p:cNvCxnSpPr>
            <a:cxnSpLocks/>
          </p:cNvCxnSpPr>
          <p:nvPr/>
        </p:nvCxnSpPr>
        <p:spPr bwMode="auto">
          <a:xfrm>
            <a:off x="5179680" y="1353207"/>
            <a:ext cx="0" cy="5040000"/>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206" name="Isosceles Triangle 125">
            <a:extLst>
              <a:ext uri="{FF2B5EF4-FFF2-40B4-BE49-F238E27FC236}">
                <a16:creationId xmlns:a16="http://schemas.microsoft.com/office/drawing/2014/main" id="{897B5A13-ABE6-47F5-9D05-F3792212786A}"/>
              </a:ext>
            </a:extLst>
          </p:cNvPr>
          <p:cNvSpPr/>
          <p:nvPr/>
        </p:nvSpPr>
        <p:spPr bwMode="auto">
          <a:xfrm rot="5400000">
            <a:off x="4945346" y="3571330"/>
            <a:ext cx="538015" cy="184234"/>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207" name="Rectangle 206">
            <a:extLst>
              <a:ext uri="{FF2B5EF4-FFF2-40B4-BE49-F238E27FC236}">
                <a16:creationId xmlns:a16="http://schemas.microsoft.com/office/drawing/2014/main" id="{905E8E6E-C9A5-4341-983A-DD77521F9AAA}"/>
              </a:ext>
            </a:extLst>
          </p:cNvPr>
          <p:cNvSpPr/>
          <p:nvPr/>
        </p:nvSpPr>
        <p:spPr bwMode="auto">
          <a:xfrm>
            <a:off x="934510" y="5579515"/>
            <a:ext cx="457642"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9.1%</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08" name="Rectangle 207">
            <a:extLst>
              <a:ext uri="{FF2B5EF4-FFF2-40B4-BE49-F238E27FC236}">
                <a16:creationId xmlns:a16="http://schemas.microsoft.com/office/drawing/2014/main" id="{CC20E3C2-FA02-404C-930C-73F5DA25BA52}"/>
              </a:ext>
            </a:extLst>
          </p:cNvPr>
          <p:cNvSpPr/>
          <p:nvPr/>
        </p:nvSpPr>
        <p:spPr bwMode="auto">
          <a:xfrm>
            <a:off x="4412431"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00%</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09" name="Rectangle 208">
            <a:extLst>
              <a:ext uri="{FF2B5EF4-FFF2-40B4-BE49-F238E27FC236}">
                <a16:creationId xmlns:a16="http://schemas.microsoft.com/office/drawing/2014/main" id="{3D89DEE1-BE9A-4081-82EC-B5EDBBF62200}"/>
              </a:ext>
            </a:extLst>
          </p:cNvPr>
          <p:cNvSpPr/>
          <p:nvPr/>
        </p:nvSpPr>
        <p:spPr bwMode="auto">
          <a:xfrm>
            <a:off x="1284182"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6.7%</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10" name="Rectangle 209">
            <a:extLst>
              <a:ext uri="{FF2B5EF4-FFF2-40B4-BE49-F238E27FC236}">
                <a16:creationId xmlns:a16="http://schemas.microsoft.com/office/drawing/2014/main" id="{9CFD1992-0996-4A63-95BE-E0C0CC4BBB44}"/>
              </a:ext>
            </a:extLst>
          </p:cNvPr>
          <p:cNvSpPr/>
          <p:nvPr/>
        </p:nvSpPr>
        <p:spPr bwMode="auto">
          <a:xfrm>
            <a:off x="1695548"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4,6%</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11" name="Rectangle 210">
            <a:extLst>
              <a:ext uri="{FF2B5EF4-FFF2-40B4-BE49-F238E27FC236}">
                <a16:creationId xmlns:a16="http://schemas.microsoft.com/office/drawing/2014/main" id="{4653C8D1-FB7D-4A6F-B9A4-D23AE20BB867}"/>
              </a:ext>
            </a:extLst>
          </p:cNvPr>
          <p:cNvSpPr/>
          <p:nvPr/>
        </p:nvSpPr>
        <p:spPr bwMode="auto">
          <a:xfrm>
            <a:off x="2090984"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8.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12" name="Rectangle 211">
            <a:extLst>
              <a:ext uri="{FF2B5EF4-FFF2-40B4-BE49-F238E27FC236}">
                <a16:creationId xmlns:a16="http://schemas.microsoft.com/office/drawing/2014/main" id="{91A59E3A-D5D0-4FB3-99E3-6FBECCF9641D}"/>
              </a:ext>
            </a:extLst>
          </p:cNvPr>
          <p:cNvSpPr/>
          <p:nvPr/>
        </p:nvSpPr>
        <p:spPr bwMode="auto">
          <a:xfrm>
            <a:off x="2469917"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9.5%</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13" name="Rectangle 212">
            <a:extLst>
              <a:ext uri="{FF2B5EF4-FFF2-40B4-BE49-F238E27FC236}">
                <a16:creationId xmlns:a16="http://schemas.microsoft.com/office/drawing/2014/main" id="{5A41CA91-0E88-4428-9C1E-C1EDDFA2871C}"/>
              </a:ext>
            </a:extLst>
          </p:cNvPr>
          <p:cNvSpPr/>
          <p:nvPr/>
        </p:nvSpPr>
        <p:spPr bwMode="auto">
          <a:xfrm>
            <a:off x="2828760"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8.8%</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14" name="Rectangle 213">
            <a:extLst>
              <a:ext uri="{FF2B5EF4-FFF2-40B4-BE49-F238E27FC236}">
                <a16:creationId xmlns:a16="http://schemas.microsoft.com/office/drawing/2014/main" id="{307EC465-A3E7-4ACE-B1D8-C70FF64D1BCA}"/>
              </a:ext>
            </a:extLst>
          </p:cNvPr>
          <p:cNvSpPr/>
          <p:nvPr/>
        </p:nvSpPr>
        <p:spPr bwMode="auto">
          <a:xfrm>
            <a:off x="3229206"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15" name="Rectangle 214">
            <a:extLst>
              <a:ext uri="{FF2B5EF4-FFF2-40B4-BE49-F238E27FC236}">
                <a16:creationId xmlns:a16="http://schemas.microsoft.com/office/drawing/2014/main" id="{30EB4849-7E53-4306-8153-A88317441E8D}"/>
              </a:ext>
            </a:extLst>
          </p:cNvPr>
          <p:cNvSpPr/>
          <p:nvPr/>
        </p:nvSpPr>
        <p:spPr bwMode="auto">
          <a:xfrm>
            <a:off x="3608085"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8%</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16" name="Rectangle 215">
            <a:extLst>
              <a:ext uri="{FF2B5EF4-FFF2-40B4-BE49-F238E27FC236}">
                <a16:creationId xmlns:a16="http://schemas.microsoft.com/office/drawing/2014/main" id="{2BAA2CB9-E7B4-4F4C-B3C8-3D094DF04E62}"/>
              </a:ext>
            </a:extLst>
          </p:cNvPr>
          <p:cNvSpPr/>
          <p:nvPr/>
        </p:nvSpPr>
        <p:spPr bwMode="auto">
          <a:xfrm>
            <a:off x="4008689"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9%</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17" name="Rectangle 216">
            <a:extLst>
              <a:ext uri="{FF2B5EF4-FFF2-40B4-BE49-F238E27FC236}">
                <a16:creationId xmlns:a16="http://schemas.microsoft.com/office/drawing/2014/main" id="{FB5C989D-191E-4BA3-95E0-2BCC70EB9788}"/>
              </a:ext>
            </a:extLst>
          </p:cNvPr>
          <p:cNvSpPr/>
          <p:nvPr/>
        </p:nvSpPr>
        <p:spPr bwMode="auto">
          <a:xfrm>
            <a:off x="934512" y="6013089"/>
            <a:ext cx="457642"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2.1%</a:t>
            </a:r>
            <a:endParaRPr kumimoji="0" lang="en-GB" sz="800" i="0" u="none" strike="noStrike" cap="none" normalizeH="0" baseline="0">
              <a:ln>
                <a:noFill/>
              </a:ln>
              <a:effectLst/>
              <a:latin typeface="Trebuchet MS" pitchFamily="34" charset="0"/>
            </a:endParaRPr>
          </a:p>
        </p:txBody>
      </p:sp>
      <p:sp>
        <p:nvSpPr>
          <p:cNvPr id="218" name="Rectangle 217">
            <a:extLst>
              <a:ext uri="{FF2B5EF4-FFF2-40B4-BE49-F238E27FC236}">
                <a16:creationId xmlns:a16="http://schemas.microsoft.com/office/drawing/2014/main" id="{B67913E9-3BA4-4D8F-8474-C25AF13B31BC}"/>
              </a:ext>
            </a:extLst>
          </p:cNvPr>
          <p:cNvSpPr/>
          <p:nvPr/>
        </p:nvSpPr>
        <p:spPr bwMode="auto">
          <a:xfrm>
            <a:off x="4412433"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5,5%</a:t>
            </a:r>
            <a:endParaRPr kumimoji="0" lang="en-GB" sz="800" i="0" u="none" strike="noStrike" cap="none" normalizeH="0" baseline="0">
              <a:ln>
                <a:noFill/>
              </a:ln>
              <a:effectLst/>
              <a:latin typeface="Trebuchet MS" pitchFamily="34" charset="0"/>
            </a:endParaRPr>
          </a:p>
        </p:txBody>
      </p:sp>
      <p:sp>
        <p:nvSpPr>
          <p:cNvPr id="219" name="Rectangle 218">
            <a:extLst>
              <a:ext uri="{FF2B5EF4-FFF2-40B4-BE49-F238E27FC236}">
                <a16:creationId xmlns:a16="http://schemas.microsoft.com/office/drawing/2014/main" id="{4A12E8EC-CA4C-4423-9CDF-074E62797389}"/>
              </a:ext>
            </a:extLst>
          </p:cNvPr>
          <p:cNvSpPr/>
          <p:nvPr/>
        </p:nvSpPr>
        <p:spPr bwMode="auto">
          <a:xfrm>
            <a:off x="1284184"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3.6%</a:t>
            </a:r>
            <a:endParaRPr kumimoji="0" lang="en-GB" sz="800" i="0" u="none" strike="noStrike" cap="none" normalizeH="0" baseline="0">
              <a:ln>
                <a:noFill/>
              </a:ln>
              <a:effectLst/>
              <a:latin typeface="Trebuchet MS" pitchFamily="34" charset="0"/>
            </a:endParaRPr>
          </a:p>
        </p:txBody>
      </p:sp>
      <p:sp>
        <p:nvSpPr>
          <p:cNvPr id="220" name="Rectangle 219">
            <a:extLst>
              <a:ext uri="{FF2B5EF4-FFF2-40B4-BE49-F238E27FC236}">
                <a16:creationId xmlns:a16="http://schemas.microsoft.com/office/drawing/2014/main" id="{1893681E-8767-49B0-9E1E-0065B8805DC7}"/>
              </a:ext>
            </a:extLst>
          </p:cNvPr>
          <p:cNvSpPr/>
          <p:nvPr/>
        </p:nvSpPr>
        <p:spPr bwMode="auto">
          <a:xfrm>
            <a:off x="1695550"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14.7%</a:t>
            </a:r>
            <a:endParaRPr kumimoji="0" lang="en-GB" sz="800" i="0" u="none" strike="noStrike" cap="none" normalizeH="0" baseline="0">
              <a:ln>
                <a:noFill/>
              </a:ln>
              <a:effectLst/>
              <a:latin typeface="Trebuchet MS" pitchFamily="34" charset="0"/>
            </a:endParaRPr>
          </a:p>
        </p:txBody>
      </p:sp>
      <p:sp>
        <p:nvSpPr>
          <p:cNvPr id="221" name="Rectangle 220">
            <a:extLst>
              <a:ext uri="{FF2B5EF4-FFF2-40B4-BE49-F238E27FC236}">
                <a16:creationId xmlns:a16="http://schemas.microsoft.com/office/drawing/2014/main" id="{5CE2A868-A669-48A2-B986-A018579C4858}"/>
              </a:ext>
            </a:extLst>
          </p:cNvPr>
          <p:cNvSpPr/>
          <p:nvPr/>
        </p:nvSpPr>
        <p:spPr bwMode="auto">
          <a:xfrm>
            <a:off x="2090986"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15.2%</a:t>
            </a:r>
            <a:endParaRPr kumimoji="0" lang="en-GB" sz="800" i="0" u="none" strike="noStrike" cap="none" normalizeH="0" baseline="0">
              <a:ln>
                <a:noFill/>
              </a:ln>
              <a:effectLst/>
              <a:latin typeface="Trebuchet MS" pitchFamily="34" charset="0"/>
            </a:endParaRPr>
          </a:p>
        </p:txBody>
      </p:sp>
      <p:sp>
        <p:nvSpPr>
          <p:cNvPr id="222" name="Rectangle 221">
            <a:extLst>
              <a:ext uri="{FF2B5EF4-FFF2-40B4-BE49-F238E27FC236}">
                <a16:creationId xmlns:a16="http://schemas.microsoft.com/office/drawing/2014/main" id="{1F2DAEDD-8ECF-434E-8B38-6B5C9D62876F}"/>
              </a:ext>
            </a:extLst>
          </p:cNvPr>
          <p:cNvSpPr/>
          <p:nvPr/>
        </p:nvSpPr>
        <p:spPr bwMode="auto">
          <a:xfrm>
            <a:off x="2469919"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9.2%</a:t>
            </a:r>
            <a:endParaRPr kumimoji="0" lang="en-GB" sz="800" i="0" u="none" strike="noStrike" cap="none" normalizeH="0" baseline="0">
              <a:ln>
                <a:noFill/>
              </a:ln>
              <a:effectLst/>
              <a:latin typeface="Trebuchet MS" pitchFamily="34" charset="0"/>
            </a:endParaRPr>
          </a:p>
        </p:txBody>
      </p:sp>
      <p:sp>
        <p:nvSpPr>
          <p:cNvPr id="223" name="Rectangle 222">
            <a:extLst>
              <a:ext uri="{FF2B5EF4-FFF2-40B4-BE49-F238E27FC236}">
                <a16:creationId xmlns:a16="http://schemas.microsoft.com/office/drawing/2014/main" id="{71F21BA9-7D4F-4F07-B2E8-F8C501D90158}"/>
              </a:ext>
            </a:extLst>
          </p:cNvPr>
          <p:cNvSpPr/>
          <p:nvPr/>
        </p:nvSpPr>
        <p:spPr bwMode="auto">
          <a:xfrm>
            <a:off x="2828762"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9.2%</a:t>
            </a:r>
            <a:endParaRPr kumimoji="0" lang="en-GB" sz="800" i="0" u="none" strike="noStrike" cap="none" normalizeH="0" baseline="0">
              <a:ln>
                <a:noFill/>
              </a:ln>
              <a:effectLst/>
              <a:latin typeface="Trebuchet MS" pitchFamily="34" charset="0"/>
            </a:endParaRPr>
          </a:p>
        </p:txBody>
      </p:sp>
      <p:sp>
        <p:nvSpPr>
          <p:cNvPr id="224" name="Rectangle 223">
            <a:extLst>
              <a:ext uri="{FF2B5EF4-FFF2-40B4-BE49-F238E27FC236}">
                <a16:creationId xmlns:a16="http://schemas.microsoft.com/office/drawing/2014/main" id="{DEA39C9F-C160-42F7-8537-FC59F0004CFF}"/>
              </a:ext>
            </a:extLst>
          </p:cNvPr>
          <p:cNvSpPr/>
          <p:nvPr/>
        </p:nvSpPr>
        <p:spPr bwMode="auto">
          <a:xfrm>
            <a:off x="3229208"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5.7%</a:t>
            </a:r>
            <a:endParaRPr kumimoji="0" lang="en-GB" sz="800" i="0" u="none" strike="noStrike" cap="none" normalizeH="0" baseline="0">
              <a:ln>
                <a:noFill/>
              </a:ln>
              <a:effectLst/>
              <a:latin typeface="Trebuchet MS" pitchFamily="34" charset="0"/>
            </a:endParaRPr>
          </a:p>
        </p:txBody>
      </p:sp>
      <p:sp>
        <p:nvSpPr>
          <p:cNvPr id="225" name="Rectangle 224">
            <a:extLst>
              <a:ext uri="{FF2B5EF4-FFF2-40B4-BE49-F238E27FC236}">
                <a16:creationId xmlns:a16="http://schemas.microsoft.com/office/drawing/2014/main" id="{DBB85967-C6F3-4248-B21A-F5A48E70D578}"/>
              </a:ext>
            </a:extLst>
          </p:cNvPr>
          <p:cNvSpPr/>
          <p:nvPr/>
        </p:nvSpPr>
        <p:spPr bwMode="auto">
          <a:xfrm>
            <a:off x="3608087"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4.1%</a:t>
            </a:r>
            <a:endParaRPr kumimoji="0" lang="en-GB" sz="800" i="0" u="none" strike="noStrike" cap="none" normalizeH="0" baseline="0">
              <a:ln>
                <a:noFill/>
              </a:ln>
              <a:effectLst/>
              <a:latin typeface="Trebuchet MS" pitchFamily="34" charset="0"/>
            </a:endParaRPr>
          </a:p>
        </p:txBody>
      </p:sp>
      <p:sp>
        <p:nvSpPr>
          <p:cNvPr id="226" name="Rectangle 225">
            <a:extLst>
              <a:ext uri="{FF2B5EF4-FFF2-40B4-BE49-F238E27FC236}">
                <a16:creationId xmlns:a16="http://schemas.microsoft.com/office/drawing/2014/main" id="{F16EE641-BA64-4254-B648-C0D87D12FB17}"/>
              </a:ext>
            </a:extLst>
          </p:cNvPr>
          <p:cNvSpPr/>
          <p:nvPr/>
        </p:nvSpPr>
        <p:spPr bwMode="auto">
          <a:xfrm>
            <a:off x="4008691"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5.9%</a:t>
            </a:r>
            <a:endParaRPr kumimoji="0" lang="en-GB" sz="800" i="0" u="none" strike="noStrike" cap="none" normalizeH="0" baseline="0">
              <a:ln>
                <a:noFill/>
              </a:ln>
              <a:effectLst/>
              <a:latin typeface="Trebuchet MS" pitchFamily="34" charset="0"/>
            </a:endParaRPr>
          </a:p>
        </p:txBody>
      </p:sp>
    </p:spTree>
    <p:extLst>
      <p:ext uri="{BB962C8B-B14F-4D97-AF65-F5344CB8AC3E}">
        <p14:creationId xmlns:p14="http://schemas.microsoft.com/office/powerpoint/2010/main" val="2603419662"/>
      </p:ext>
    </p:extLst>
  </p:cSld>
  <p:clrMapOvr>
    <a:masterClrMapping/>
  </p:clrMapOvr>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A44C8C8-2F36-450B-A067-045DF42C7170}"/>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59AD0D4C-52B6-4887-95DD-FD6DE794558F}"/>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F0A06676-82C0-4F43-87A1-A34EA0E8CFAF}"/>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127000">
              <a:spcBef>
                <a:spcPts val="1200"/>
              </a:spcBef>
            </a:pPr>
            <a:endParaRPr lang="en-GB" sz="1100" b="1">
              <a:solidFill>
                <a:srgbClr val="6C6C6C"/>
              </a:solidFill>
              <a:latin typeface="+mj-lt"/>
            </a:endParaRPr>
          </a:p>
        </p:txBody>
      </p:sp>
      <p:sp>
        <p:nvSpPr>
          <p:cNvPr id="16" name="Section">
            <a:extLst>
              <a:ext uri="{FF2B5EF4-FFF2-40B4-BE49-F238E27FC236}">
                <a16:creationId xmlns:a16="http://schemas.microsoft.com/office/drawing/2014/main" id="{D2A8C65D-42ED-44C1-BDB8-ADE75A4ED3CA}"/>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7</a:t>
            </a:r>
          </a:p>
        </p:txBody>
      </p:sp>
      <p:sp>
        <p:nvSpPr>
          <p:cNvPr id="7" name="Chevron">
            <a:extLst>
              <a:ext uri="{FF2B5EF4-FFF2-40B4-BE49-F238E27FC236}">
                <a16:creationId xmlns:a16="http://schemas.microsoft.com/office/drawing/2014/main" id="{EF6CEB47-AB43-43A1-9490-E2BF43F53355}"/>
              </a:ext>
            </a:extLst>
          </p:cNvPr>
          <p:cNvSpPr/>
          <p:nvPr/>
        </p:nvSpPr>
        <p:spPr bwMode="auto">
          <a:xfrm>
            <a:off x="1418399" y="3699631"/>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 name="Isosceles Triangle">
            <a:extLst>
              <a:ext uri="{FF2B5EF4-FFF2-40B4-BE49-F238E27FC236}">
                <a16:creationId xmlns:a16="http://schemas.microsoft.com/office/drawing/2014/main" id="{483FAFCB-BCA1-4BF2-90A4-2FDF3C290D79}"/>
              </a:ext>
            </a:extLst>
          </p:cNvPr>
          <p:cNvSpPr/>
          <p:nvPr/>
        </p:nvSpPr>
        <p:spPr bwMode="auto">
          <a:xfrm rot="5400000">
            <a:off x="5731200" y="3799798"/>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 name="Arrow: Pentagon">
            <a:extLst>
              <a:ext uri="{FF2B5EF4-FFF2-40B4-BE49-F238E27FC236}">
                <a16:creationId xmlns:a16="http://schemas.microsoft.com/office/drawing/2014/main" id="{218C89E4-1789-4EA9-90DD-60D657130BAB}"/>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10" name="Oval">
            <a:extLst>
              <a:ext uri="{FF2B5EF4-FFF2-40B4-BE49-F238E27FC236}">
                <a16:creationId xmlns:a16="http://schemas.microsoft.com/office/drawing/2014/main" id="{916F90DB-3562-48B4-9000-C34F4CC8568C}"/>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11" name="Arrow: Pentagon">
            <a:extLst>
              <a:ext uri="{FF2B5EF4-FFF2-40B4-BE49-F238E27FC236}">
                <a16:creationId xmlns:a16="http://schemas.microsoft.com/office/drawing/2014/main" id="{FB9A14FE-9D15-4E50-9E97-7495237542B1}"/>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12" name="Oval">
            <a:extLst>
              <a:ext uri="{FF2B5EF4-FFF2-40B4-BE49-F238E27FC236}">
                <a16:creationId xmlns:a16="http://schemas.microsoft.com/office/drawing/2014/main" id="{FF827FA1-22F2-45E7-A936-0BD8A9052C68}"/>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13" name="Arrow: Pentagon">
            <a:extLst>
              <a:ext uri="{FF2B5EF4-FFF2-40B4-BE49-F238E27FC236}">
                <a16:creationId xmlns:a16="http://schemas.microsoft.com/office/drawing/2014/main" id="{C84C660F-9968-445C-8F36-FE6D13D3A76E}"/>
              </a:ext>
            </a:extLst>
          </p:cNvPr>
          <p:cNvSpPr/>
          <p:nvPr/>
        </p:nvSpPr>
        <p:spPr bwMode="auto">
          <a:xfrm>
            <a:off x="1641599" y="3693598"/>
            <a:ext cx="4319992"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FFFFFF"/>
                </a:solidFill>
                <a:latin typeface="Trebuchet MS" panose="020B0603020202020204" pitchFamily="34" charset="0"/>
              </a:rPr>
              <a:t>Appendix</a:t>
            </a:r>
          </a:p>
        </p:txBody>
      </p:sp>
      <p:sp>
        <p:nvSpPr>
          <p:cNvPr id="14" name="Arrow: Pentagon">
            <a:extLst>
              <a:ext uri="{FF2B5EF4-FFF2-40B4-BE49-F238E27FC236}">
                <a16:creationId xmlns:a16="http://schemas.microsoft.com/office/drawing/2014/main" id="{D46299C8-1BDC-4414-9620-4FF3D708313F}"/>
              </a:ext>
            </a:extLst>
          </p:cNvPr>
          <p:cNvSpPr/>
          <p:nvPr/>
        </p:nvSpPr>
        <p:spPr bwMode="auto">
          <a:xfrm>
            <a:off x="1641598" y="2685599"/>
            <a:ext cx="3960001"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15" name="Oval">
            <a:extLst>
              <a:ext uri="{FF2B5EF4-FFF2-40B4-BE49-F238E27FC236}">
                <a16:creationId xmlns:a16="http://schemas.microsoft.com/office/drawing/2014/main" id="{6BF436DB-CA80-4E5B-9D7C-6B249DCD03FC}"/>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17" name="Arrow: Pentagon">
            <a:extLst>
              <a:ext uri="{FF2B5EF4-FFF2-40B4-BE49-F238E27FC236}">
                <a16:creationId xmlns:a16="http://schemas.microsoft.com/office/drawing/2014/main" id="{F19FB127-0E41-4C94-9364-7A5AB392900F}"/>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43" name="Oval">
            <a:extLst>
              <a:ext uri="{FF2B5EF4-FFF2-40B4-BE49-F238E27FC236}">
                <a16:creationId xmlns:a16="http://schemas.microsoft.com/office/drawing/2014/main" id="{6F78956D-F1F5-418A-9346-88328C2CC839}"/>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45" name="Oval">
            <a:extLst>
              <a:ext uri="{FF2B5EF4-FFF2-40B4-BE49-F238E27FC236}">
                <a16:creationId xmlns:a16="http://schemas.microsoft.com/office/drawing/2014/main" id="{ACA2A043-BF56-44AC-9D60-5B29C38659B2}"/>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3068203980"/>
      </p:ext>
    </p:extLst>
  </p:cSld>
  <p:clrMapOvr>
    <a:masterClrMapping/>
  </p:clrMapOvr>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4378C24-85FA-4D98-A70A-A93C81C801EC}"/>
              </a:ext>
            </a:extLst>
          </p:cNvPr>
          <p:cNvGraphicFramePr>
            <a:graphicFrameLocks noChangeAspect="1"/>
          </p:cNvGraphicFramePr>
          <p:nvPr>
            <p:custDataLst>
              <p:tags r:id="rId1"/>
            </p:custDataLst>
            <p:extLst>
              <p:ext uri="{D42A27DB-BD31-4B8C-83A1-F6EECF244321}">
                <p14:modId xmlns:p14="http://schemas.microsoft.com/office/powerpoint/2010/main" val="57900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7" name="Objet 6" hidden="1">
                        <a:extLst>
                          <a:ext uri="{FF2B5EF4-FFF2-40B4-BE49-F238E27FC236}">
                            <a16:creationId xmlns:a16="http://schemas.microsoft.com/office/drawing/2014/main" id="{54378C24-85FA-4D98-A70A-A93C81C801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73FB595-40AB-4BB2-9103-56BF2E36D6AE}"/>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7D7E6DAC-9585-4765-BAA6-94FE40B43AD2}"/>
              </a:ext>
            </a:extLst>
          </p:cNvPr>
          <p:cNvSpPr>
            <a:spLocks noGrp="1"/>
          </p:cNvSpPr>
          <p:nvPr>
            <p:ph type="title"/>
          </p:nvPr>
        </p:nvSpPr>
        <p:spPr>
          <a:xfrm>
            <a:off x="165600" y="147600"/>
            <a:ext cx="8357688" cy="684000"/>
          </a:xfrm>
        </p:spPr>
        <p:txBody>
          <a:bodyPr/>
          <a:lstStyle/>
          <a:p>
            <a:r>
              <a:rPr lang="en-GB">
                <a:latin typeface="Trebuchet MS" panose="020B0603020202020204" pitchFamily="34" charset="0"/>
              </a:rPr>
              <a:t>The </a:t>
            </a:r>
            <a:r>
              <a:rPr lang="en-GB">
                <a:solidFill>
                  <a:schemeClr val="tx2"/>
                </a:solidFill>
                <a:latin typeface="Trebuchet MS" panose="020B0603020202020204" pitchFamily="34" charset="0"/>
              </a:rPr>
              <a:t>BD&amp;A market </a:t>
            </a:r>
            <a:r>
              <a:rPr lang="en-GB">
                <a:latin typeface="Trebuchet MS" panose="020B0603020202020204" pitchFamily="34" charset="0"/>
              </a:rPr>
              <a:t>has been assessed – for each of the </a:t>
            </a:r>
            <a:r>
              <a:rPr lang="en-GB">
                <a:solidFill>
                  <a:schemeClr val="tx2"/>
                </a:solidFill>
                <a:latin typeface="Trebuchet MS" panose="020B0603020202020204" pitchFamily="34" charset="0"/>
              </a:rPr>
              <a:t>three verticals </a:t>
            </a:r>
            <a:r>
              <a:rPr lang="en-GB">
                <a:latin typeface="Trebuchet MS" panose="020B0603020202020204" pitchFamily="34" charset="0"/>
              </a:rPr>
              <a:t>(Credit risk, compliance, B2B marketing) - using a complementary approach between the </a:t>
            </a:r>
            <a:r>
              <a:rPr lang="en-GB">
                <a:solidFill>
                  <a:schemeClr val="tx2"/>
                </a:solidFill>
                <a:latin typeface="Trebuchet MS" panose="020B0603020202020204" pitchFamily="34" charset="0"/>
              </a:rPr>
              <a:t>bottom-up a</a:t>
            </a:r>
            <a:r>
              <a:rPr lang="en-GB">
                <a:latin typeface="Trebuchet MS" panose="020B0603020202020204" pitchFamily="34" charset="0"/>
              </a:rPr>
              <a:t>nd the</a:t>
            </a:r>
            <a:r>
              <a:rPr lang="en-GB">
                <a:solidFill>
                  <a:schemeClr val="tx2"/>
                </a:solidFill>
                <a:latin typeface="Trebuchet MS" panose="020B0603020202020204" pitchFamily="34" charset="0"/>
              </a:rPr>
              <a:t> top-down </a:t>
            </a:r>
            <a:r>
              <a:rPr lang="en-GB">
                <a:latin typeface="Trebuchet MS" panose="020B0603020202020204" pitchFamily="34" charset="0"/>
              </a:rPr>
              <a:t>approaches</a:t>
            </a:r>
          </a:p>
        </p:txBody>
      </p:sp>
      <p:sp>
        <p:nvSpPr>
          <p:cNvPr id="3" name="Text Placeholder 2">
            <a:extLst>
              <a:ext uri="{FF2B5EF4-FFF2-40B4-BE49-F238E27FC236}">
                <a16:creationId xmlns:a16="http://schemas.microsoft.com/office/drawing/2014/main" id="{415BA172-C3CA-4025-B3E1-665B245AB959}"/>
              </a:ext>
            </a:extLst>
          </p:cNvPr>
          <p:cNvSpPr>
            <a:spLocks noGrp="1"/>
          </p:cNvSpPr>
          <p:nvPr>
            <p:ph type="body" sz="quarter" idx="10"/>
          </p:nvPr>
        </p:nvSpPr>
        <p:spPr/>
        <p:txBody>
          <a:bodyPr/>
          <a:lstStyle/>
          <a:p>
            <a:r>
              <a:rPr lang="en-GB"/>
              <a:t>Sources: eleven research &amp; analysis, company data, interviews with management</a:t>
            </a:r>
          </a:p>
          <a:p>
            <a:endParaRPr lang="en-GB"/>
          </a:p>
        </p:txBody>
      </p:sp>
      <p:sp>
        <p:nvSpPr>
          <p:cNvPr id="4" name="Rectangle 3">
            <a:extLst>
              <a:ext uri="{FF2B5EF4-FFF2-40B4-BE49-F238E27FC236}">
                <a16:creationId xmlns:a16="http://schemas.microsoft.com/office/drawing/2014/main" id="{4749A4D0-7849-4BAC-96B9-C542EBD00FE9}"/>
              </a:ext>
            </a:extLst>
          </p:cNvPr>
          <p:cNvSpPr/>
          <p:nvPr/>
        </p:nvSpPr>
        <p:spPr bwMode="auto">
          <a:xfrm>
            <a:off x="381000" y="1758704"/>
            <a:ext cx="3496461" cy="478638"/>
          </a:xfrm>
          <a:prstGeom prst="rect">
            <a:avLst/>
          </a:prstGeom>
          <a:solidFill>
            <a:schemeClr val="bg1"/>
          </a:solid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solidFill>
                  <a:schemeClr val="tx2"/>
                </a:solidFill>
                <a:latin typeface="Trebuchet MS" panose="020B0603020202020204" pitchFamily="34" charset="0"/>
              </a:rPr>
              <a:t>Top-Down</a:t>
            </a:r>
          </a:p>
          <a:p>
            <a:pPr algn="ctr"/>
            <a:r>
              <a:rPr lang="en-GB" sz="1200" i="1">
                <a:solidFill>
                  <a:schemeClr val="tx2"/>
                </a:solidFill>
                <a:latin typeface="Trebuchet MS" panose="020B0603020202020204" pitchFamily="34" charset="0"/>
              </a:rPr>
              <a:t>Based on clients’ </a:t>
            </a:r>
            <a:r>
              <a:rPr lang="en-GB" sz="1200" i="1" err="1">
                <a:solidFill>
                  <a:schemeClr val="tx2"/>
                </a:solidFill>
                <a:latin typeface="Trebuchet MS" panose="020B0603020202020204" pitchFamily="34" charset="0"/>
              </a:rPr>
              <a:t>spendings</a:t>
            </a:r>
            <a:endParaRPr lang="en-GB" sz="1200" i="1">
              <a:solidFill>
                <a:schemeClr val="tx2"/>
              </a:solidFill>
              <a:latin typeface="Trebuchet MS" panose="020B0603020202020204" pitchFamily="34" charset="0"/>
            </a:endParaRPr>
          </a:p>
        </p:txBody>
      </p:sp>
      <p:sp>
        <p:nvSpPr>
          <p:cNvPr id="5" name="Rectangle 4">
            <a:extLst>
              <a:ext uri="{FF2B5EF4-FFF2-40B4-BE49-F238E27FC236}">
                <a16:creationId xmlns:a16="http://schemas.microsoft.com/office/drawing/2014/main" id="{CB097341-2EEA-414F-819D-639745E1D754}"/>
              </a:ext>
            </a:extLst>
          </p:cNvPr>
          <p:cNvSpPr/>
          <p:nvPr/>
        </p:nvSpPr>
        <p:spPr bwMode="auto">
          <a:xfrm>
            <a:off x="427839" y="5928745"/>
            <a:ext cx="9144000" cy="444899"/>
          </a:xfrm>
          <a:prstGeom prst="rect">
            <a:avLst/>
          </a:prstGeom>
          <a:solidFill>
            <a:schemeClr val="bg1"/>
          </a:solid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solidFill>
                  <a:schemeClr val="tx2"/>
                </a:solidFill>
                <a:latin typeface="Trebuchet MS" panose="020B0603020202020204" pitchFamily="34" charset="0"/>
              </a:rPr>
              <a:t>Market studies, Expert calls, internal interviews…</a:t>
            </a:r>
          </a:p>
        </p:txBody>
      </p:sp>
      <p:sp>
        <p:nvSpPr>
          <p:cNvPr id="15" name="Rectangle 14">
            <a:extLst>
              <a:ext uri="{FF2B5EF4-FFF2-40B4-BE49-F238E27FC236}">
                <a16:creationId xmlns:a16="http://schemas.microsoft.com/office/drawing/2014/main" id="{D182096F-5687-4740-9CBE-6DDF96A384B9}"/>
              </a:ext>
            </a:extLst>
          </p:cNvPr>
          <p:cNvSpPr/>
          <p:nvPr/>
        </p:nvSpPr>
        <p:spPr bwMode="auto">
          <a:xfrm>
            <a:off x="6028539" y="1758704"/>
            <a:ext cx="3496461" cy="478638"/>
          </a:xfrm>
          <a:prstGeom prst="rect">
            <a:avLst/>
          </a:prstGeom>
          <a:solidFill>
            <a:schemeClr val="bg1"/>
          </a:solid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solidFill>
                  <a:schemeClr val="tx2"/>
                </a:solidFill>
                <a:latin typeface="Trebuchet MS" panose="020B0603020202020204" pitchFamily="34" charset="0"/>
              </a:rPr>
              <a:t>Bottom-up</a:t>
            </a:r>
          </a:p>
          <a:p>
            <a:pPr algn="ctr"/>
            <a:r>
              <a:rPr lang="en-GB" sz="1200" i="1">
                <a:solidFill>
                  <a:schemeClr val="tx2"/>
                </a:solidFill>
                <a:latin typeface="Trebuchet MS" panose="020B0603020202020204" pitchFamily="34" charset="0"/>
              </a:rPr>
              <a:t>Based on players’ revenue</a:t>
            </a:r>
          </a:p>
        </p:txBody>
      </p:sp>
      <p:sp>
        <p:nvSpPr>
          <p:cNvPr id="16" name="Rectangle 15">
            <a:extLst>
              <a:ext uri="{FF2B5EF4-FFF2-40B4-BE49-F238E27FC236}">
                <a16:creationId xmlns:a16="http://schemas.microsoft.com/office/drawing/2014/main" id="{6D344AEF-7E0C-46A8-BB7F-A078297FF907}"/>
              </a:ext>
            </a:extLst>
          </p:cNvPr>
          <p:cNvSpPr/>
          <p:nvPr/>
        </p:nvSpPr>
        <p:spPr bwMode="auto">
          <a:xfrm>
            <a:off x="381000" y="2453104"/>
            <a:ext cx="3496461" cy="538296"/>
          </a:xfrm>
          <a:prstGeom prst="rect">
            <a:avLst/>
          </a:prstGeom>
          <a:solidFill>
            <a:schemeClr val="bg2">
              <a:lumMod val="20000"/>
              <a:lumOff val="80000"/>
            </a:schemeClr>
          </a:solidFill>
          <a:ln w="12700" cap="flat" cmpd="sng" algn="ctr">
            <a:solidFill>
              <a:schemeClr val="tx2"/>
            </a:solidFill>
            <a:prstDash val="dash"/>
            <a:round/>
            <a:headEnd type="none" w="med" len="med"/>
            <a:tailEnd type="none" w="med" len="med"/>
          </a:ln>
          <a:effectLst/>
        </p:spPr>
        <p:txBody>
          <a:bodyPr vert="horz" wrap="square" lIns="504000" tIns="90000" rIns="0" bIns="45720" numCol="1" rtlCol="0" anchor="t" anchorCtr="0" compatLnSpc="1">
            <a:prstTxWarp prst="textNoShape">
              <a:avLst/>
            </a:prstTxWarp>
          </a:bodyPr>
          <a:lstStyle/>
          <a:p>
            <a:r>
              <a:rPr lang="en-GB" sz="1000" b="1">
                <a:solidFill>
                  <a:schemeClr val="tx2"/>
                </a:solidFill>
                <a:latin typeface="Trebuchet MS" panose="020B0603020202020204" pitchFamily="34" charset="0"/>
              </a:rPr>
              <a:t>Number of companies on each domestic market</a:t>
            </a:r>
          </a:p>
          <a:p>
            <a:r>
              <a:rPr lang="en-GB" sz="1000">
                <a:latin typeface="Trebuchet MS" panose="020B0603020202020204" pitchFamily="34" charset="0"/>
              </a:rPr>
              <a:t>Per client segment (Key accounts vs Mid market vs Mass market)</a:t>
            </a:r>
          </a:p>
        </p:txBody>
      </p:sp>
      <p:sp>
        <p:nvSpPr>
          <p:cNvPr id="17" name="Rectangle 16">
            <a:extLst>
              <a:ext uri="{FF2B5EF4-FFF2-40B4-BE49-F238E27FC236}">
                <a16:creationId xmlns:a16="http://schemas.microsoft.com/office/drawing/2014/main" id="{D6ECFEA6-61A1-4474-A295-651246114309}"/>
              </a:ext>
            </a:extLst>
          </p:cNvPr>
          <p:cNvSpPr/>
          <p:nvPr/>
        </p:nvSpPr>
        <p:spPr bwMode="auto">
          <a:xfrm>
            <a:off x="381000" y="3085112"/>
            <a:ext cx="3496461" cy="538296"/>
          </a:xfrm>
          <a:prstGeom prst="rect">
            <a:avLst/>
          </a:prstGeom>
          <a:solidFill>
            <a:schemeClr val="bg2">
              <a:lumMod val="20000"/>
              <a:lumOff val="80000"/>
            </a:schemeClr>
          </a:solidFill>
          <a:ln w="12700" cap="flat" cmpd="sng" algn="ctr">
            <a:solidFill>
              <a:schemeClr val="tx2"/>
            </a:solidFill>
            <a:prstDash val="dash"/>
            <a:round/>
            <a:headEnd type="none" w="med" len="med"/>
            <a:tailEnd type="none" w="med" len="med"/>
          </a:ln>
          <a:effectLst/>
        </p:spPr>
        <p:txBody>
          <a:bodyPr vert="horz" wrap="square" lIns="504000" tIns="90000" rIns="0" bIns="45720" numCol="1" rtlCol="0" anchor="ctr" anchorCtr="0" compatLnSpc="1">
            <a:prstTxWarp prst="textNoShape">
              <a:avLst/>
            </a:prstTxWarp>
          </a:bodyPr>
          <a:lstStyle/>
          <a:p>
            <a:r>
              <a:rPr lang="en-GB" sz="1000" b="1">
                <a:solidFill>
                  <a:schemeClr val="tx2"/>
                </a:solidFill>
                <a:latin typeface="Trebuchet MS" panose="020B0603020202020204" pitchFamily="34" charset="0"/>
              </a:rPr>
              <a:t>Average need rate by company segment and sub-vertical </a:t>
            </a:r>
            <a:r>
              <a:rPr lang="en-GB" sz="1000">
                <a:latin typeface="Trebuchet MS" panose="020B0603020202020204" pitchFamily="34" charset="0"/>
              </a:rPr>
              <a:t>(the proportion of companies in the segments expressing a need)</a:t>
            </a:r>
          </a:p>
        </p:txBody>
      </p:sp>
      <p:sp>
        <p:nvSpPr>
          <p:cNvPr id="18" name="Rectangle 17">
            <a:extLst>
              <a:ext uri="{FF2B5EF4-FFF2-40B4-BE49-F238E27FC236}">
                <a16:creationId xmlns:a16="http://schemas.microsoft.com/office/drawing/2014/main" id="{9F0D9BEE-7114-4948-84B8-C570F758A4E5}"/>
              </a:ext>
            </a:extLst>
          </p:cNvPr>
          <p:cNvSpPr/>
          <p:nvPr/>
        </p:nvSpPr>
        <p:spPr bwMode="auto">
          <a:xfrm>
            <a:off x="381000" y="3717120"/>
            <a:ext cx="3496461" cy="538296"/>
          </a:xfrm>
          <a:prstGeom prst="rect">
            <a:avLst/>
          </a:prstGeom>
          <a:solidFill>
            <a:schemeClr val="bg2">
              <a:lumMod val="20000"/>
              <a:lumOff val="80000"/>
            </a:schemeClr>
          </a:solidFill>
          <a:ln w="12700" cap="flat" cmpd="sng" algn="ctr">
            <a:solidFill>
              <a:schemeClr val="tx2"/>
            </a:solidFill>
            <a:prstDash val="dash"/>
            <a:round/>
            <a:headEnd type="none" w="med" len="med"/>
            <a:tailEnd type="none" w="med" len="med"/>
          </a:ln>
          <a:effectLst/>
        </p:spPr>
        <p:txBody>
          <a:bodyPr vert="horz" wrap="square" lIns="504000" tIns="90000" rIns="0" bIns="45720" numCol="1" rtlCol="0" anchor="ctr" anchorCtr="0" compatLnSpc="1">
            <a:prstTxWarp prst="textNoShape">
              <a:avLst/>
            </a:prstTxWarp>
          </a:bodyPr>
          <a:lstStyle/>
          <a:p>
            <a:r>
              <a:rPr lang="en-GB" sz="1000" b="1">
                <a:solidFill>
                  <a:schemeClr val="tx2"/>
                </a:solidFill>
                <a:latin typeface="Trebuchet MS" panose="020B0603020202020204" pitchFamily="34" charset="0"/>
              </a:rPr>
              <a:t>Adoption rate by company segment and sub-vertical </a:t>
            </a:r>
            <a:r>
              <a:rPr lang="en-GB" sz="1000">
                <a:latin typeface="Trebuchet MS" panose="020B0603020202020204" pitchFamily="34" charset="0"/>
              </a:rPr>
              <a:t>(the proportion of companies with a need actually addressed by market’s players)</a:t>
            </a:r>
          </a:p>
        </p:txBody>
      </p:sp>
      <p:sp>
        <p:nvSpPr>
          <p:cNvPr id="19" name="Rectangle 18">
            <a:extLst>
              <a:ext uri="{FF2B5EF4-FFF2-40B4-BE49-F238E27FC236}">
                <a16:creationId xmlns:a16="http://schemas.microsoft.com/office/drawing/2014/main" id="{E9F076AD-19DE-4CCA-9FB3-951F140D1C62}"/>
              </a:ext>
            </a:extLst>
          </p:cNvPr>
          <p:cNvSpPr/>
          <p:nvPr/>
        </p:nvSpPr>
        <p:spPr bwMode="auto">
          <a:xfrm>
            <a:off x="381000" y="4349129"/>
            <a:ext cx="3496461" cy="478638"/>
          </a:xfrm>
          <a:prstGeom prst="rect">
            <a:avLst/>
          </a:prstGeom>
          <a:solidFill>
            <a:schemeClr val="bg2">
              <a:lumMod val="20000"/>
              <a:lumOff val="80000"/>
            </a:schemeClr>
          </a:solidFill>
          <a:ln w="12700" cap="flat" cmpd="sng" algn="ctr">
            <a:solidFill>
              <a:schemeClr val="tx2"/>
            </a:solidFill>
            <a:prstDash val="dash"/>
            <a:round/>
            <a:headEnd type="none" w="med" len="med"/>
            <a:tailEnd type="none" w="med" len="med"/>
          </a:ln>
          <a:effectLst/>
        </p:spPr>
        <p:txBody>
          <a:bodyPr vert="horz" wrap="square" lIns="504000" tIns="90000" rIns="0" bIns="45720" numCol="1" rtlCol="0" anchor="ctr" anchorCtr="0" compatLnSpc="1">
            <a:prstTxWarp prst="textNoShape">
              <a:avLst/>
            </a:prstTxWarp>
          </a:bodyPr>
          <a:lstStyle/>
          <a:p>
            <a:r>
              <a:rPr lang="en-GB" sz="1000" b="1">
                <a:solidFill>
                  <a:schemeClr val="tx2"/>
                </a:solidFill>
                <a:latin typeface="Trebuchet MS" panose="020B0603020202020204" pitchFamily="34" charset="0"/>
              </a:rPr>
              <a:t>Average basket size by company segment and sub-vertical </a:t>
            </a:r>
            <a:r>
              <a:rPr lang="en-GB" sz="1000">
                <a:latin typeface="Trebuchet MS" panose="020B0603020202020204" pitchFamily="34" charset="0"/>
              </a:rPr>
              <a:t>(willingness to pay)</a:t>
            </a:r>
          </a:p>
        </p:txBody>
      </p:sp>
      <p:sp>
        <p:nvSpPr>
          <p:cNvPr id="21" name="Rectangle 20">
            <a:extLst>
              <a:ext uri="{FF2B5EF4-FFF2-40B4-BE49-F238E27FC236}">
                <a16:creationId xmlns:a16="http://schemas.microsoft.com/office/drawing/2014/main" id="{00616BC8-88E9-460A-97E6-FF29B59DCEED}"/>
              </a:ext>
            </a:extLst>
          </p:cNvPr>
          <p:cNvSpPr/>
          <p:nvPr/>
        </p:nvSpPr>
        <p:spPr bwMode="auto">
          <a:xfrm>
            <a:off x="6028539" y="2453104"/>
            <a:ext cx="3496461" cy="1170304"/>
          </a:xfrm>
          <a:prstGeom prst="rect">
            <a:avLst/>
          </a:prstGeom>
          <a:solidFill>
            <a:schemeClr val="bg2">
              <a:lumMod val="20000"/>
              <a:lumOff val="80000"/>
            </a:schemeClr>
          </a:solidFill>
          <a:ln w="12700" cap="flat" cmpd="sng" algn="ctr">
            <a:solidFill>
              <a:schemeClr val="tx2"/>
            </a:solidFill>
            <a:prstDash val="dash"/>
            <a:round/>
            <a:headEnd type="none" w="med" len="med"/>
            <a:tailEnd type="none" w="med" len="med"/>
          </a:ln>
          <a:effectLst/>
        </p:spPr>
        <p:txBody>
          <a:bodyPr vert="horz" wrap="square" lIns="0" tIns="90000" rIns="0" bIns="45720" numCol="1" rtlCol="0" anchor="ctr" anchorCtr="0" compatLnSpc="1">
            <a:prstTxWarp prst="textNoShape">
              <a:avLst/>
            </a:prstTxWarp>
          </a:bodyPr>
          <a:lstStyle/>
          <a:p>
            <a:pPr algn="ctr"/>
            <a:r>
              <a:rPr lang="en-GB" sz="1000" b="1">
                <a:solidFill>
                  <a:schemeClr val="tx2"/>
                </a:solidFill>
                <a:latin typeface="Trebuchet MS" panose="020B0603020202020204" pitchFamily="34" charset="0"/>
              </a:rPr>
              <a:t>Key players revenue on each domestic market and sub-vertical</a:t>
            </a:r>
          </a:p>
        </p:txBody>
      </p:sp>
      <p:sp>
        <p:nvSpPr>
          <p:cNvPr id="22" name="Rectangle 21">
            <a:extLst>
              <a:ext uri="{FF2B5EF4-FFF2-40B4-BE49-F238E27FC236}">
                <a16:creationId xmlns:a16="http://schemas.microsoft.com/office/drawing/2014/main" id="{D72A6BA8-4E5F-46F1-96DC-5E6F7193E63E}"/>
              </a:ext>
            </a:extLst>
          </p:cNvPr>
          <p:cNvSpPr/>
          <p:nvPr/>
        </p:nvSpPr>
        <p:spPr bwMode="auto">
          <a:xfrm>
            <a:off x="6028539" y="3750366"/>
            <a:ext cx="3496461" cy="1093116"/>
          </a:xfrm>
          <a:prstGeom prst="rect">
            <a:avLst/>
          </a:prstGeom>
          <a:solidFill>
            <a:schemeClr val="bg2">
              <a:lumMod val="20000"/>
              <a:lumOff val="80000"/>
            </a:schemeClr>
          </a:solidFill>
          <a:ln w="12700" cap="flat" cmpd="sng" algn="ctr">
            <a:solidFill>
              <a:schemeClr val="tx2"/>
            </a:solidFill>
            <a:prstDash val="dash"/>
            <a:round/>
            <a:headEnd type="none" w="med" len="med"/>
            <a:tailEnd type="none" w="med" len="med"/>
          </a:ln>
          <a:effectLst/>
        </p:spPr>
        <p:txBody>
          <a:bodyPr vert="horz" wrap="square" lIns="0" tIns="90000" rIns="0" bIns="45720" numCol="1" rtlCol="0" anchor="ctr" anchorCtr="0" compatLnSpc="1">
            <a:prstTxWarp prst="textNoShape">
              <a:avLst/>
            </a:prstTxWarp>
          </a:bodyPr>
          <a:lstStyle/>
          <a:p>
            <a:pPr algn="ctr"/>
            <a:r>
              <a:rPr lang="en-GB" sz="1000" b="1">
                <a:solidFill>
                  <a:schemeClr val="tx2"/>
                </a:solidFill>
                <a:latin typeface="Trebuchet MS" panose="020B0603020202020204" pitchFamily="34" charset="0"/>
              </a:rPr>
              <a:t>Combined market shares of these key players</a:t>
            </a:r>
          </a:p>
        </p:txBody>
      </p:sp>
      <p:sp>
        <p:nvSpPr>
          <p:cNvPr id="23" name="Rectangle 22">
            <a:extLst>
              <a:ext uri="{FF2B5EF4-FFF2-40B4-BE49-F238E27FC236}">
                <a16:creationId xmlns:a16="http://schemas.microsoft.com/office/drawing/2014/main" id="{1FD52EDD-BE68-4FEE-93CE-E6CC8654587E}"/>
              </a:ext>
            </a:extLst>
          </p:cNvPr>
          <p:cNvSpPr/>
          <p:nvPr/>
        </p:nvSpPr>
        <p:spPr bwMode="auto">
          <a:xfrm>
            <a:off x="3004475" y="5127002"/>
            <a:ext cx="3990729" cy="444899"/>
          </a:xfrm>
          <a:prstGeom prst="rect">
            <a:avLst/>
          </a:prstGeom>
          <a:solidFill>
            <a:schemeClr val="bg1"/>
          </a:solid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solidFill>
                  <a:schemeClr val="tx2"/>
                </a:solidFill>
                <a:latin typeface="Trebuchet MS" panose="020B0603020202020204" pitchFamily="34" charset="0"/>
              </a:rPr>
              <a:t>Market sizing</a:t>
            </a:r>
          </a:p>
        </p:txBody>
      </p:sp>
      <p:sp>
        <p:nvSpPr>
          <p:cNvPr id="13" name="Arrow: Bent 12">
            <a:extLst>
              <a:ext uri="{FF2B5EF4-FFF2-40B4-BE49-F238E27FC236}">
                <a16:creationId xmlns:a16="http://schemas.microsoft.com/office/drawing/2014/main" id="{6D8C82C9-0D4B-45FE-801A-B29CC8E51644}"/>
              </a:ext>
            </a:extLst>
          </p:cNvPr>
          <p:cNvSpPr/>
          <p:nvPr/>
        </p:nvSpPr>
        <p:spPr bwMode="auto">
          <a:xfrm rot="10800000">
            <a:off x="7396555" y="5024992"/>
            <a:ext cx="666750" cy="478638"/>
          </a:xfrm>
          <a:prstGeom prst="bent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4" name="Arrow: Bent 23">
            <a:extLst>
              <a:ext uri="{FF2B5EF4-FFF2-40B4-BE49-F238E27FC236}">
                <a16:creationId xmlns:a16="http://schemas.microsoft.com/office/drawing/2014/main" id="{4E935DFC-2DDA-48B8-9563-A0B2D9FE0CE4}"/>
              </a:ext>
            </a:extLst>
          </p:cNvPr>
          <p:cNvSpPr/>
          <p:nvPr/>
        </p:nvSpPr>
        <p:spPr bwMode="auto">
          <a:xfrm flipV="1">
            <a:off x="1842694" y="5024991"/>
            <a:ext cx="666750" cy="478639"/>
          </a:xfrm>
          <a:prstGeom prst="bent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 name="Oval 13">
            <a:extLst>
              <a:ext uri="{FF2B5EF4-FFF2-40B4-BE49-F238E27FC236}">
                <a16:creationId xmlns:a16="http://schemas.microsoft.com/office/drawing/2014/main" id="{8DAA2C47-1C54-4C13-9070-D386727A39AD}"/>
              </a:ext>
            </a:extLst>
          </p:cNvPr>
          <p:cNvSpPr/>
          <p:nvPr/>
        </p:nvSpPr>
        <p:spPr bwMode="auto">
          <a:xfrm>
            <a:off x="2057230" y="2997017"/>
            <a:ext cx="144000" cy="144000"/>
          </a:xfrm>
          <a:prstGeom prst="ellipse">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X</a:t>
            </a:r>
          </a:p>
        </p:txBody>
      </p:sp>
      <p:sp>
        <p:nvSpPr>
          <p:cNvPr id="26" name="Oval 25">
            <a:extLst>
              <a:ext uri="{FF2B5EF4-FFF2-40B4-BE49-F238E27FC236}">
                <a16:creationId xmlns:a16="http://schemas.microsoft.com/office/drawing/2014/main" id="{19011EBB-D36E-4967-BA72-3E1020C82835}"/>
              </a:ext>
            </a:extLst>
          </p:cNvPr>
          <p:cNvSpPr/>
          <p:nvPr/>
        </p:nvSpPr>
        <p:spPr bwMode="auto">
          <a:xfrm>
            <a:off x="2057230" y="3627039"/>
            <a:ext cx="144000" cy="144000"/>
          </a:xfrm>
          <a:prstGeom prst="ellipse">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X</a:t>
            </a:r>
          </a:p>
        </p:txBody>
      </p:sp>
      <p:sp>
        <p:nvSpPr>
          <p:cNvPr id="27" name="Oval 26">
            <a:extLst>
              <a:ext uri="{FF2B5EF4-FFF2-40B4-BE49-F238E27FC236}">
                <a16:creationId xmlns:a16="http://schemas.microsoft.com/office/drawing/2014/main" id="{C646581A-66F7-43A1-92EE-EE4C546E3BB6}"/>
              </a:ext>
            </a:extLst>
          </p:cNvPr>
          <p:cNvSpPr/>
          <p:nvPr/>
        </p:nvSpPr>
        <p:spPr bwMode="auto">
          <a:xfrm>
            <a:off x="2057230" y="4218597"/>
            <a:ext cx="144000" cy="144000"/>
          </a:xfrm>
          <a:prstGeom prst="ellipse">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X</a:t>
            </a:r>
          </a:p>
        </p:txBody>
      </p:sp>
      <p:sp>
        <p:nvSpPr>
          <p:cNvPr id="28" name="Oval 27">
            <a:extLst>
              <a:ext uri="{FF2B5EF4-FFF2-40B4-BE49-F238E27FC236}">
                <a16:creationId xmlns:a16="http://schemas.microsoft.com/office/drawing/2014/main" id="{36C1C047-9003-4526-927E-7936CFBA11F5}"/>
              </a:ext>
            </a:extLst>
          </p:cNvPr>
          <p:cNvSpPr/>
          <p:nvPr/>
        </p:nvSpPr>
        <p:spPr bwMode="auto">
          <a:xfrm>
            <a:off x="7704770" y="3636004"/>
            <a:ext cx="144000" cy="144000"/>
          </a:xfrm>
          <a:prstGeom prst="ellipse">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X</a:t>
            </a:r>
          </a:p>
        </p:txBody>
      </p:sp>
      <p:pic>
        <p:nvPicPr>
          <p:cNvPr id="9" name="Graphique 8">
            <a:extLst>
              <a:ext uri="{FF2B5EF4-FFF2-40B4-BE49-F238E27FC236}">
                <a16:creationId xmlns:a16="http://schemas.microsoft.com/office/drawing/2014/main" id="{3DC6155F-1BD4-47DC-B09C-20086AF22AB5}"/>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19273"/>
          <a:stretch/>
        </p:blipFill>
        <p:spPr>
          <a:xfrm>
            <a:off x="4011000" y="5157218"/>
            <a:ext cx="381000" cy="384466"/>
          </a:xfrm>
          <a:prstGeom prst="rect">
            <a:avLst/>
          </a:prstGeom>
        </p:spPr>
      </p:pic>
      <p:pic>
        <p:nvPicPr>
          <p:cNvPr id="11" name="Graphique 10">
            <a:extLst>
              <a:ext uri="{FF2B5EF4-FFF2-40B4-BE49-F238E27FC236}">
                <a16:creationId xmlns:a16="http://schemas.microsoft.com/office/drawing/2014/main" id="{92BE4B05-B99B-49B2-BCA4-E16E0048F425}"/>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500"/>
          <a:stretch/>
        </p:blipFill>
        <p:spPr>
          <a:xfrm>
            <a:off x="453034" y="2595327"/>
            <a:ext cx="321054" cy="331086"/>
          </a:xfrm>
          <a:prstGeom prst="rect">
            <a:avLst/>
          </a:prstGeom>
        </p:spPr>
      </p:pic>
      <p:pic>
        <p:nvPicPr>
          <p:cNvPr id="25" name="Graphique 24">
            <a:extLst>
              <a:ext uri="{FF2B5EF4-FFF2-40B4-BE49-F238E27FC236}">
                <a16:creationId xmlns:a16="http://schemas.microsoft.com/office/drawing/2014/main" id="{3574739C-C30A-4CF8-9066-66E4F820745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50958" y="3205320"/>
            <a:ext cx="289367" cy="397887"/>
          </a:xfrm>
          <a:prstGeom prst="rect">
            <a:avLst/>
          </a:prstGeom>
        </p:spPr>
      </p:pic>
      <p:pic>
        <p:nvPicPr>
          <p:cNvPr id="30" name="Graphique 29">
            <a:extLst>
              <a:ext uri="{FF2B5EF4-FFF2-40B4-BE49-F238E27FC236}">
                <a16:creationId xmlns:a16="http://schemas.microsoft.com/office/drawing/2014/main" id="{F8CA810C-D030-4475-A210-551795FAA03E}"/>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b="29200"/>
          <a:stretch/>
        </p:blipFill>
        <p:spPr>
          <a:xfrm>
            <a:off x="470593" y="3865442"/>
            <a:ext cx="303495" cy="268595"/>
          </a:xfrm>
          <a:prstGeom prst="rect">
            <a:avLst/>
          </a:prstGeom>
        </p:spPr>
      </p:pic>
      <p:pic>
        <p:nvPicPr>
          <p:cNvPr id="32" name="Graphique 31">
            <a:extLst>
              <a:ext uri="{FF2B5EF4-FFF2-40B4-BE49-F238E27FC236}">
                <a16:creationId xmlns:a16="http://schemas.microsoft.com/office/drawing/2014/main" id="{4FB4E9F5-CBB3-4800-B6DB-FBCA808C3DD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76067" y="4470813"/>
            <a:ext cx="239146" cy="328832"/>
          </a:xfrm>
          <a:prstGeom prst="rect">
            <a:avLst/>
          </a:prstGeom>
        </p:spPr>
      </p:pic>
      <p:pic>
        <p:nvPicPr>
          <p:cNvPr id="34" name="Graphique 33">
            <a:extLst>
              <a:ext uri="{FF2B5EF4-FFF2-40B4-BE49-F238E27FC236}">
                <a16:creationId xmlns:a16="http://schemas.microsoft.com/office/drawing/2014/main" id="{FB61F2B0-2453-4CCB-A2C3-6EBFAEFCABE4}"/>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25453"/>
          <a:stretch/>
        </p:blipFill>
        <p:spPr>
          <a:xfrm>
            <a:off x="7609845" y="2551707"/>
            <a:ext cx="333845" cy="311089"/>
          </a:xfrm>
          <a:prstGeom prst="rect">
            <a:avLst/>
          </a:prstGeom>
        </p:spPr>
      </p:pic>
      <p:pic>
        <p:nvPicPr>
          <p:cNvPr id="36" name="Graphique 35">
            <a:extLst>
              <a:ext uri="{FF2B5EF4-FFF2-40B4-BE49-F238E27FC236}">
                <a16:creationId xmlns:a16="http://schemas.microsoft.com/office/drawing/2014/main" id="{59163134-D03F-405D-ACF5-FBFCD424CD46}"/>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b="17083"/>
          <a:stretch/>
        </p:blipFill>
        <p:spPr>
          <a:xfrm>
            <a:off x="7659254" y="3886177"/>
            <a:ext cx="235028" cy="243595"/>
          </a:xfrm>
          <a:prstGeom prst="rect">
            <a:avLst/>
          </a:prstGeom>
        </p:spPr>
      </p:pic>
      <p:pic>
        <p:nvPicPr>
          <p:cNvPr id="38" name="Graphique 37">
            <a:extLst>
              <a:ext uri="{FF2B5EF4-FFF2-40B4-BE49-F238E27FC236}">
                <a16:creationId xmlns:a16="http://schemas.microsoft.com/office/drawing/2014/main" id="{552E2701-2B8E-46F1-B10B-098FABC5744D}"/>
              </a:ext>
            </a:extLst>
          </p:cNvPr>
          <p:cNvPicPr>
            <a:picLocks noChangeAspect="1"/>
          </p:cNvPicPr>
          <p:nvPr/>
        </p:nvPicPr>
        <p:blipFill rotWithShape="1">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b="23516"/>
          <a:stretch/>
        </p:blipFill>
        <p:spPr>
          <a:xfrm>
            <a:off x="560075" y="5958095"/>
            <a:ext cx="403953" cy="386198"/>
          </a:xfrm>
          <a:prstGeom prst="rect">
            <a:avLst/>
          </a:prstGeom>
        </p:spPr>
      </p:pic>
      <p:grpSp>
        <p:nvGrpSpPr>
          <p:cNvPr id="37" name="Groupe 36">
            <a:extLst>
              <a:ext uri="{FF2B5EF4-FFF2-40B4-BE49-F238E27FC236}">
                <a16:creationId xmlns:a16="http://schemas.microsoft.com/office/drawing/2014/main" id="{D2458FE3-2064-4CC8-9BD5-245312CA5776}"/>
              </a:ext>
            </a:extLst>
          </p:cNvPr>
          <p:cNvGrpSpPr/>
          <p:nvPr/>
        </p:nvGrpSpPr>
        <p:grpSpPr>
          <a:xfrm>
            <a:off x="6119404" y="1789931"/>
            <a:ext cx="446281" cy="444873"/>
            <a:chOff x="4380164" y="2798981"/>
            <a:chExt cx="540000" cy="538296"/>
          </a:xfrm>
        </p:grpSpPr>
        <p:sp>
          <p:nvSpPr>
            <p:cNvPr id="39" name="Ellipse 38">
              <a:extLst>
                <a:ext uri="{FF2B5EF4-FFF2-40B4-BE49-F238E27FC236}">
                  <a16:creationId xmlns:a16="http://schemas.microsoft.com/office/drawing/2014/main" id="{179871B6-DEDB-41E5-ACDE-8D390F01449B}"/>
                </a:ext>
              </a:extLst>
            </p:cNvPr>
            <p:cNvSpPr/>
            <p:nvPr/>
          </p:nvSpPr>
          <p:spPr bwMode="auto">
            <a:xfrm>
              <a:off x="4380164" y="2798981"/>
              <a:ext cx="540000" cy="538296"/>
            </a:xfrm>
            <a:prstGeom prst="ellipse">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1" name="Flèche : droite 40">
              <a:extLst>
                <a:ext uri="{FF2B5EF4-FFF2-40B4-BE49-F238E27FC236}">
                  <a16:creationId xmlns:a16="http://schemas.microsoft.com/office/drawing/2014/main" id="{9EA9F4F5-52C7-4CF0-922F-E4A65FA55BC6}"/>
                </a:ext>
              </a:extLst>
            </p:cNvPr>
            <p:cNvSpPr/>
            <p:nvPr/>
          </p:nvSpPr>
          <p:spPr bwMode="auto">
            <a:xfrm rot="16200000">
              <a:off x="4474673" y="2869186"/>
              <a:ext cx="350982" cy="397887"/>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42" name="Groupe 41">
            <a:extLst>
              <a:ext uri="{FF2B5EF4-FFF2-40B4-BE49-F238E27FC236}">
                <a16:creationId xmlns:a16="http://schemas.microsoft.com/office/drawing/2014/main" id="{EB28CDA7-B9A4-4E9D-B622-340FCE330C9A}"/>
              </a:ext>
            </a:extLst>
          </p:cNvPr>
          <p:cNvGrpSpPr/>
          <p:nvPr/>
        </p:nvGrpSpPr>
        <p:grpSpPr>
          <a:xfrm rot="10800000">
            <a:off x="470593" y="1789931"/>
            <a:ext cx="446281" cy="444873"/>
            <a:chOff x="4380164" y="2798981"/>
            <a:chExt cx="540000" cy="538296"/>
          </a:xfrm>
        </p:grpSpPr>
        <p:sp>
          <p:nvSpPr>
            <p:cNvPr id="43" name="Ellipse 42">
              <a:extLst>
                <a:ext uri="{FF2B5EF4-FFF2-40B4-BE49-F238E27FC236}">
                  <a16:creationId xmlns:a16="http://schemas.microsoft.com/office/drawing/2014/main" id="{747A3E83-D716-46B3-9807-F1A4854AB660}"/>
                </a:ext>
              </a:extLst>
            </p:cNvPr>
            <p:cNvSpPr/>
            <p:nvPr/>
          </p:nvSpPr>
          <p:spPr bwMode="auto">
            <a:xfrm>
              <a:off x="4380164" y="2798981"/>
              <a:ext cx="540000" cy="538296"/>
            </a:xfrm>
            <a:prstGeom prst="ellipse">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4" name="Flèche : droite 43">
              <a:extLst>
                <a:ext uri="{FF2B5EF4-FFF2-40B4-BE49-F238E27FC236}">
                  <a16:creationId xmlns:a16="http://schemas.microsoft.com/office/drawing/2014/main" id="{59093492-2846-4D38-916C-94D845B79ECD}"/>
                </a:ext>
              </a:extLst>
            </p:cNvPr>
            <p:cNvSpPr/>
            <p:nvPr/>
          </p:nvSpPr>
          <p:spPr bwMode="auto">
            <a:xfrm rot="16200000">
              <a:off x="4474673" y="2869186"/>
              <a:ext cx="350982" cy="397887"/>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45" name="Groupe 44">
            <a:extLst>
              <a:ext uri="{FF2B5EF4-FFF2-40B4-BE49-F238E27FC236}">
                <a16:creationId xmlns:a16="http://schemas.microsoft.com/office/drawing/2014/main" id="{BB21AB47-578F-4DCB-988D-6C3FC696C7A0}"/>
              </a:ext>
            </a:extLst>
          </p:cNvPr>
          <p:cNvGrpSpPr/>
          <p:nvPr/>
        </p:nvGrpSpPr>
        <p:grpSpPr>
          <a:xfrm>
            <a:off x="8448150" y="-11528"/>
            <a:ext cx="1435548" cy="711253"/>
            <a:chOff x="8448150" y="-11528"/>
            <a:chExt cx="1435548" cy="711253"/>
          </a:xfrm>
        </p:grpSpPr>
        <p:grpSp>
          <p:nvGrpSpPr>
            <p:cNvPr id="46" name="Groupe 45">
              <a:extLst>
                <a:ext uri="{FF2B5EF4-FFF2-40B4-BE49-F238E27FC236}">
                  <a16:creationId xmlns:a16="http://schemas.microsoft.com/office/drawing/2014/main" id="{F79B8BA5-313B-4086-9A85-2B0A4FA10A5A}"/>
                </a:ext>
              </a:extLst>
            </p:cNvPr>
            <p:cNvGrpSpPr/>
            <p:nvPr/>
          </p:nvGrpSpPr>
          <p:grpSpPr>
            <a:xfrm>
              <a:off x="8448150" y="-11528"/>
              <a:ext cx="1435548" cy="555653"/>
              <a:chOff x="8448150" y="-11528"/>
              <a:chExt cx="1435548" cy="555653"/>
            </a:xfrm>
          </p:grpSpPr>
          <p:sp>
            <p:nvSpPr>
              <p:cNvPr id="48" name="Rectangle : coins arrondis 199">
                <a:extLst>
                  <a:ext uri="{FF2B5EF4-FFF2-40B4-BE49-F238E27FC236}">
                    <a16:creationId xmlns:a16="http://schemas.microsoft.com/office/drawing/2014/main" id="{53009741-A9D4-4F45-9A74-DEF61D597C95}"/>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9" name="Rectangle : coins arrondis 200">
                <a:extLst>
                  <a:ext uri="{FF2B5EF4-FFF2-40B4-BE49-F238E27FC236}">
                    <a16:creationId xmlns:a16="http://schemas.microsoft.com/office/drawing/2014/main" id="{758CA0D3-8761-467B-B0D2-050A4A97DA67}"/>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0" name="Rectangle : coins arrondis 201">
                <a:extLst>
                  <a:ext uri="{FF2B5EF4-FFF2-40B4-BE49-F238E27FC236}">
                    <a16:creationId xmlns:a16="http://schemas.microsoft.com/office/drawing/2014/main" id="{1FE80298-3407-4AE4-83F0-F1C1974C64C1}"/>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1" name="ZoneTexte 18">
                <a:extLst>
                  <a:ext uri="{FF2B5EF4-FFF2-40B4-BE49-F238E27FC236}">
                    <a16:creationId xmlns:a16="http://schemas.microsoft.com/office/drawing/2014/main" id="{425CD5DA-3A38-4DCC-8726-3DFF0926E9B1}"/>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52" name="Graphique 128" descr="Jauge">
                <a:extLst>
                  <a:ext uri="{FF2B5EF4-FFF2-40B4-BE49-F238E27FC236}">
                    <a16:creationId xmlns:a16="http://schemas.microsoft.com/office/drawing/2014/main" id="{FDC66D7E-11C0-4A03-B8F3-078A75F5CC0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553764" y="187516"/>
                <a:ext cx="234953" cy="218224"/>
              </a:xfrm>
              <a:prstGeom prst="rect">
                <a:avLst/>
              </a:prstGeom>
              <a:effectLst/>
            </p:spPr>
          </p:pic>
          <p:pic>
            <p:nvPicPr>
              <p:cNvPr id="53" name="Graphique 90" descr="Poignée de main">
                <a:extLst>
                  <a:ext uri="{FF2B5EF4-FFF2-40B4-BE49-F238E27FC236}">
                    <a16:creationId xmlns:a16="http://schemas.microsoft.com/office/drawing/2014/main" id="{E7352A00-315C-4B58-A0F8-90833364874B}"/>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960868" y="152880"/>
                <a:ext cx="256313" cy="287496"/>
              </a:xfrm>
              <a:prstGeom prst="rect">
                <a:avLst/>
              </a:prstGeom>
              <a:effectLst/>
            </p:spPr>
          </p:pic>
          <p:pic>
            <p:nvPicPr>
              <p:cNvPr id="54" name="Graphique 74" descr="Mégaphone">
                <a:extLst>
                  <a:ext uri="{FF2B5EF4-FFF2-40B4-BE49-F238E27FC236}">
                    <a16:creationId xmlns:a16="http://schemas.microsoft.com/office/drawing/2014/main" id="{E4E6B597-0E8B-4FEB-B5BE-AD6EE234D669}"/>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9389331" y="181519"/>
                <a:ext cx="233011" cy="216420"/>
              </a:xfrm>
              <a:prstGeom prst="rect">
                <a:avLst/>
              </a:prstGeom>
              <a:effectLst/>
            </p:spPr>
          </p:pic>
          <p:pic>
            <p:nvPicPr>
              <p:cNvPr id="55" name="Picture 2" descr="Drapeau France">
                <a:extLst>
                  <a:ext uri="{FF2B5EF4-FFF2-40B4-BE49-F238E27FC236}">
                    <a16:creationId xmlns:a16="http://schemas.microsoft.com/office/drawing/2014/main" id="{33567ED0-54EB-4EC0-A3E1-50BFDE88CA08}"/>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6" name="Picture 2" descr="5 ft x 3 ft 150 x 90 cm-DRAPEAU BELGE Belgique 100% Polyester ...">
                <a:extLst>
                  <a:ext uri="{FF2B5EF4-FFF2-40B4-BE49-F238E27FC236}">
                    <a16:creationId xmlns:a16="http://schemas.microsoft.com/office/drawing/2014/main" id="{3F94FB64-26C6-4110-B30B-9F32BF1AF450}"/>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7" name="Picture 2 - 1" descr="Drapeau des Pays-Bas — Wikipédia">
                <a:extLst>
                  <a:ext uri="{FF2B5EF4-FFF2-40B4-BE49-F238E27FC236}">
                    <a16:creationId xmlns:a16="http://schemas.microsoft.com/office/drawing/2014/main" id="{59E54A24-6F95-486F-8E7E-C61C16619257}"/>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8" name="Picture 2 - 2" descr="Drapeau du Luxembourg">
                <a:extLst>
                  <a:ext uri="{FF2B5EF4-FFF2-40B4-BE49-F238E27FC236}">
                    <a16:creationId xmlns:a16="http://schemas.microsoft.com/office/drawing/2014/main" id="{6FB2761F-15D4-4153-BE0A-45DB222F0CEF}"/>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47" name="ZoneTexte 18">
              <a:extLst>
                <a:ext uri="{FF2B5EF4-FFF2-40B4-BE49-F238E27FC236}">
                  <a16:creationId xmlns:a16="http://schemas.microsoft.com/office/drawing/2014/main" id="{34D34095-C169-4068-A1AA-08C9EBE02214}"/>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Global market assessment</a:t>
              </a:r>
            </a:p>
          </p:txBody>
        </p:sp>
      </p:grpSp>
      <p:sp>
        <p:nvSpPr>
          <p:cNvPr id="59" name="Rectangle 58">
            <a:extLst>
              <a:ext uri="{FF2B5EF4-FFF2-40B4-BE49-F238E27FC236}">
                <a16:creationId xmlns:a16="http://schemas.microsoft.com/office/drawing/2014/main" id="{A833EA4D-D03B-42D0-B249-A57D5778E84D}"/>
              </a:ext>
            </a:extLst>
          </p:cNvPr>
          <p:cNvSpPr/>
          <p:nvPr/>
        </p:nvSpPr>
        <p:spPr bwMode="auto">
          <a:xfrm>
            <a:off x="381000" y="1195383"/>
            <a:ext cx="9144000" cy="444899"/>
          </a:xfrm>
          <a:prstGeom prst="rect">
            <a:avLst/>
          </a:prstGeom>
          <a:solidFill>
            <a:schemeClr val="bg1"/>
          </a:solid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360363"/>
            <a:r>
              <a:rPr lang="en-GB" sz="1200" b="1">
                <a:solidFill>
                  <a:schemeClr val="tx2"/>
                </a:solidFill>
                <a:latin typeface="Trebuchet MS" panose="020B0603020202020204" pitchFamily="34" charset="0"/>
              </a:rPr>
              <a:t>Per vertical	X 	Per geographies</a:t>
            </a:r>
          </a:p>
        </p:txBody>
      </p:sp>
      <p:grpSp>
        <p:nvGrpSpPr>
          <p:cNvPr id="60" name="Group 4">
            <a:extLst>
              <a:ext uri="{FF2B5EF4-FFF2-40B4-BE49-F238E27FC236}">
                <a16:creationId xmlns:a16="http://schemas.microsoft.com/office/drawing/2014/main" id="{FBD7C669-7597-458C-B81C-5B4D532FC03E}"/>
              </a:ext>
            </a:extLst>
          </p:cNvPr>
          <p:cNvGrpSpPr>
            <a:grpSpLocks noChangeAspect="1"/>
          </p:cNvGrpSpPr>
          <p:nvPr/>
        </p:nvGrpSpPr>
        <p:grpSpPr bwMode="auto">
          <a:xfrm>
            <a:off x="4768589" y="5612805"/>
            <a:ext cx="368828" cy="287405"/>
            <a:chOff x="823" y="904"/>
            <a:chExt cx="684" cy="533"/>
          </a:xfrm>
          <a:solidFill>
            <a:schemeClr val="accent1">
              <a:lumMod val="75000"/>
            </a:schemeClr>
          </a:solidFill>
        </p:grpSpPr>
        <p:sp>
          <p:nvSpPr>
            <p:cNvPr id="62" name="Freeform 5">
              <a:extLst>
                <a:ext uri="{FF2B5EF4-FFF2-40B4-BE49-F238E27FC236}">
                  <a16:creationId xmlns:a16="http://schemas.microsoft.com/office/drawing/2014/main" id="{D5EC4EB5-865A-4749-BF39-8C4DB7F7580F}"/>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6">
              <a:extLst>
                <a:ext uri="{FF2B5EF4-FFF2-40B4-BE49-F238E27FC236}">
                  <a16:creationId xmlns:a16="http://schemas.microsoft.com/office/drawing/2014/main" id="{76D03428-07D1-4515-B9DB-205C02911F7A}"/>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7" name="Rectangle : coins arrondis 199">
            <a:extLst>
              <a:ext uri="{FF2B5EF4-FFF2-40B4-BE49-F238E27FC236}">
                <a16:creationId xmlns:a16="http://schemas.microsoft.com/office/drawing/2014/main" id="{D32D6026-ED9A-4BBE-9C9A-405FE3EECC28}"/>
              </a:ext>
            </a:extLst>
          </p:cNvPr>
          <p:cNvSpPr/>
          <p:nvPr/>
        </p:nvSpPr>
        <p:spPr bwMode="auto">
          <a:xfrm>
            <a:off x="2329008" y="1341038"/>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8" name="Rectangle : coins arrondis 200">
            <a:extLst>
              <a:ext uri="{FF2B5EF4-FFF2-40B4-BE49-F238E27FC236}">
                <a16:creationId xmlns:a16="http://schemas.microsoft.com/office/drawing/2014/main" id="{94B1629F-7AD8-4B31-964C-3C95DACAE374}"/>
              </a:ext>
            </a:extLst>
          </p:cNvPr>
          <p:cNvSpPr/>
          <p:nvPr/>
        </p:nvSpPr>
        <p:spPr bwMode="auto">
          <a:xfrm>
            <a:off x="2743821" y="1341038"/>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9" name="Rectangle : coins arrondis 201">
            <a:extLst>
              <a:ext uri="{FF2B5EF4-FFF2-40B4-BE49-F238E27FC236}">
                <a16:creationId xmlns:a16="http://schemas.microsoft.com/office/drawing/2014/main" id="{29ECFD18-45CB-460D-B2E6-155820A67828}"/>
              </a:ext>
            </a:extLst>
          </p:cNvPr>
          <p:cNvSpPr/>
          <p:nvPr/>
        </p:nvSpPr>
        <p:spPr bwMode="auto">
          <a:xfrm>
            <a:off x="3158634" y="1341038"/>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pic>
        <p:nvPicPr>
          <p:cNvPr id="71" name="Graphique 128" descr="Jauge">
            <a:extLst>
              <a:ext uri="{FF2B5EF4-FFF2-40B4-BE49-F238E27FC236}">
                <a16:creationId xmlns:a16="http://schemas.microsoft.com/office/drawing/2014/main" id="{DA17759B-EFB0-4E61-A93A-617C98E5B382}"/>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374360" y="1332519"/>
            <a:ext cx="234953" cy="218224"/>
          </a:xfrm>
          <a:prstGeom prst="rect">
            <a:avLst/>
          </a:prstGeom>
          <a:effectLst/>
        </p:spPr>
      </p:pic>
      <p:pic>
        <p:nvPicPr>
          <p:cNvPr id="72" name="Graphique 90" descr="Poignée de main">
            <a:extLst>
              <a:ext uri="{FF2B5EF4-FFF2-40B4-BE49-F238E27FC236}">
                <a16:creationId xmlns:a16="http://schemas.microsoft.com/office/drawing/2014/main" id="{43C2ED89-E5A4-4331-AFDC-589E9830FD7D}"/>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781464" y="1297883"/>
            <a:ext cx="256313" cy="287496"/>
          </a:xfrm>
          <a:prstGeom prst="rect">
            <a:avLst/>
          </a:prstGeom>
          <a:effectLst/>
        </p:spPr>
      </p:pic>
      <p:pic>
        <p:nvPicPr>
          <p:cNvPr id="73" name="Graphique 74" descr="Mégaphone">
            <a:extLst>
              <a:ext uri="{FF2B5EF4-FFF2-40B4-BE49-F238E27FC236}">
                <a16:creationId xmlns:a16="http://schemas.microsoft.com/office/drawing/2014/main" id="{7929A816-4895-4A8E-A899-D1C857CA802D}"/>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209927" y="1326522"/>
            <a:ext cx="233011" cy="216420"/>
          </a:xfrm>
          <a:prstGeom prst="rect">
            <a:avLst/>
          </a:prstGeom>
          <a:effectLst/>
        </p:spPr>
      </p:pic>
      <p:pic>
        <p:nvPicPr>
          <p:cNvPr id="74" name="Picture 2" descr="Drapeau France">
            <a:extLst>
              <a:ext uri="{FF2B5EF4-FFF2-40B4-BE49-F238E27FC236}">
                <a16:creationId xmlns:a16="http://schemas.microsoft.com/office/drawing/2014/main" id="{EC176F73-2668-47B4-9420-7C71AB0EFF21}"/>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t="17006" b="16757"/>
          <a:stretch/>
        </p:blipFill>
        <p:spPr bwMode="auto">
          <a:xfrm>
            <a:off x="6463063" y="1366026"/>
            <a:ext cx="198002" cy="118800"/>
          </a:xfrm>
          <a:prstGeom prst="rect">
            <a:avLst/>
          </a:prstGeom>
          <a:solidFill>
            <a:schemeClr val="bg1"/>
          </a:solidFill>
          <a:ln w="9525" cap="flat" cmpd="sng" algn="ctr">
            <a:noFill/>
            <a:prstDash val="solid"/>
            <a:round/>
            <a:headEnd type="none" w="med" len="med"/>
            <a:tailEnd type="none" w="med" len="med"/>
          </a:ln>
          <a:effectLst/>
        </p:spPr>
      </p:pic>
      <p:pic>
        <p:nvPicPr>
          <p:cNvPr id="75" name="Picture 2" descr="5 ft x 3 ft 150 x 90 cm-DRAPEAU BELGE Belgique 100% Polyester ...">
            <a:extLst>
              <a:ext uri="{FF2B5EF4-FFF2-40B4-BE49-F238E27FC236}">
                <a16:creationId xmlns:a16="http://schemas.microsoft.com/office/drawing/2014/main" id="{66A15672-8AE1-46FD-B808-9B3D62F09019}"/>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l="3973"/>
          <a:stretch/>
        </p:blipFill>
        <p:spPr bwMode="auto">
          <a:xfrm>
            <a:off x="6755884" y="1366026"/>
            <a:ext cx="197089" cy="118800"/>
          </a:xfrm>
          <a:prstGeom prst="rect">
            <a:avLst/>
          </a:prstGeom>
          <a:solidFill>
            <a:schemeClr val="bg1"/>
          </a:solidFill>
          <a:ln w="9525" cap="flat" cmpd="sng" algn="ctr">
            <a:noFill/>
            <a:prstDash val="solid"/>
            <a:round/>
            <a:headEnd type="none" w="med" len="med"/>
            <a:tailEnd type="none" w="med" len="med"/>
          </a:ln>
          <a:effectLst/>
        </p:spPr>
      </p:pic>
      <p:pic>
        <p:nvPicPr>
          <p:cNvPr id="76" name="Picture 2 - 1" descr="Drapeau des Pays-Bas — Wikipédia">
            <a:extLst>
              <a:ext uri="{FF2B5EF4-FFF2-40B4-BE49-F238E27FC236}">
                <a16:creationId xmlns:a16="http://schemas.microsoft.com/office/drawing/2014/main" id="{7A1876F2-25A7-44E0-9ECF-0DB8622BC49E}"/>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7047832" y="1366026"/>
            <a:ext cx="197088" cy="118800"/>
          </a:xfrm>
          <a:prstGeom prst="rect">
            <a:avLst/>
          </a:prstGeom>
          <a:solidFill>
            <a:schemeClr val="bg1"/>
          </a:solidFill>
          <a:ln w="9525" cap="flat" cmpd="sng" algn="ctr">
            <a:noFill/>
            <a:prstDash val="solid"/>
            <a:round/>
            <a:headEnd type="none" w="med" len="med"/>
            <a:tailEnd type="none" w="med" len="med"/>
          </a:ln>
          <a:effectLst/>
        </p:spPr>
      </p:pic>
      <p:pic>
        <p:nvPicPr>
          <p:cNvPr id="77" name="Picture 2 - 2" descr="Drapeau du Luxembourg">
            <a:extLst>
              <a:ext uri="{FF2B5EF4-FFF2-40B4-BE49-F238E27FC236}">
                <a16:creationId xmlns:a16="http://schemas.microsoft.com/office/drawing/2014/main" id="{1C344FBA-7D2F-4814-BB69-E025F40FBEFA}"/>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7339738" y="1366026"/>
            <a:ext cx="198002" cy="1188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4208723415"/>
      </p:ext>
    </p:extLst>
  </p:cSld>
  <p:clrMapOvr>
    <a:masterClrMapping/>
  </p:clrMapOvr>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3E76E0-5C46-4ACA-B431-C28AEE11FFCF}"/>
              </a:ext>
            </a:extLst>
          </p:cNvPr>
          <p:cNvGraphicFramePr>
            <a:graphicFrameLocks noChangeAspect="1"/>
          </p:cNvGraphicFramePr>
          <p:nvPr>
            <p:custDataLst>
              <p:tags r:id="rId1"/>
            </p:custDataLst>
            <p:extLst>
              <p:ext uri="{D42A27DB-BD31-4B8C-83A1-F6EECF244321}">
                <p14:modId xmlns:p14="http://schemas.microsoft.com/office/powerpoint/2010/main" val="3623026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4" name="Object 3" hidden="1">
                        <a:extLst>
                          <a:ext uri="{FF2B5EF4-FFF2-40B4-BE49-F238E27FC236}">
                            <a16:creationId xmlns:a16="http://schemas.microsoft.com/office/drawing/2014/main" id="{5F3E76E0-5C46-4ACA-B431-C28AEE11FF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E942C53-B867-41C1-B7F0-7E4946DC61B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9038BDD3-0CF4-4C22-9416-871410D5C95B}"/>
              </a:ext>
            </a:extLst>
          </p:cNvPr>
          <p:cNvSpPr>
            <a:spLocks noGrp="1"/>
          </p:cNvSpPr>
          <p:nvPr>
            <p:ph type="title"/>
          </p:nvPr>
        </p:nvSpPr>
        <p:spPr/>
        <p:txBody>
          <a:bodyPr/>
          <a:lstStyle/>
          <a:p>
            <a:r>
              <a:rPr lang="en-GB">
                <a:solidFill>
                  <a:srgbClr val="646464"/>
                </a:solidFill>
                <a:latin typeface="Trebuchet MS" panose="020B0603020202020204" pitchFamily="34" charset="0"/>
              </a:rPr>
              <a:t>Both </a:t>
            </a:r>
            <a:r>
              <a:rPr lang="en-GB">
                <a:solidFill>
                  <a:srgbClr val="36964F"/>
                </a:solidFill>
                <a:latin typeface="Trebuchet MS" panose="020B0603020202020204" pitchFamily="34" charset="0"/>
              </a:rPr>
              <a:t>interviews</a:t>
            </a:r>
            <a:r>
              <a:rPr lang="en-GB">
                <a:solidFill>
                  <a:srgbClr val="646464"/>
                </a:solidFill>
                <a:latin typeface="Trebuchet MS" panose="020B0603020202020204" pitchFamily="34" charset="0"/>
              </a:rPr>
              <a:t> and </a:t>
            </a:r>
            <a:r>
              <a:rPr lang="en-GB">
                <a:solidFill>
                  <a:srgbClr val="36964F"/>
                </a:solidFill>
                <a:latin typeface="Trebuchet MS" panose="020B0603020202020204" pitchFamily="34" charset="0"/>
              </a:rPr>
              <a:t>reference materials </a:t>
            </a:r>
            <a:r>
              <a:rPr lang="en-GB">
                <a:solidFill>
                  <a:srgbClr val="646464"/>
                </a:solidFill>
                <a:latin typeface="Trebuchet MS" panose="020B0603020202020204" pitchFamily="34" charset="0"/>
              </a:rPr>
              <a:t>coming from internal and external sources have been leveraged throughout eleven’s analyses</a:t>
            </a:r>
            <a:br>
              <a:rPr lang="en-GB">
                <a:solidFill>
                  <a:srgbClr val="646464"/>
                </a:solidFill>
                <a:latin typeface="Trebuchet MS" panose="020B0603020202020204" pitchFamily="34" charset="0"/>
              </a:rPr>
            </a:br>
            <a:endParaRPr lang="en-GB">
              <a:latin typeface="Trebuchet MS" panose="020B0603020202020204" pitchFamily="34" charset="0"/>
            </a:endParaRPr>
          </a:p>
        </p:txBody>
      </p:sp>
      <p:cxnSp>
        <p:nvCxnSpPr>
          <p:cNvPr id="14" name="Connecteur droit 13">
            <a:extLst>
              <a:ext uri="{FF2B5EF4-FFF2-40B4-BE49-F238E27FC236}">
                <a16:creationId xmlns:a16="http://schemas.microsoft.com/office/drawing/2014/main" id="{1A48854F-3495-40D8-ADB0-44A5F6870A69}"/>
              </a:ext>
            </a:extLst>
          </p:cNvPr>
          <p:cNvCxnSpPr>
            <a:cxnSpLocks/>
          </p:cNvCxnSpPr>
          <p:nvPr/>
        </p:nvCxnSpPr>
        <p:spPr bwMode="auto">
          <a:xfrm>
            <a:off x="4953000" y="798555"/>
            <a:ext cx="0" cy="540000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5" name="Connecteur droit 14">
            <a:extLst>
              <a:ext uri="{FF2B5EF4-FFF2-40B4-BE49-F238E27FC236}">
                <a16:creationId xmlns:a16="http://schemas.microsoft.com/office/drawing/2014/main" id="{41AC842B-81AB-4383-8D12-E9E08CBF61C0}"/>
              </a:ext>
            </a:extLst>
          </p:cNvPr>
          <p:cNvCxnSpPr>
            <a:cxnSpLocks/>
          </p:cNvCxnSpPr>
          <p:nvPr/>
        </p:nvCxnSpPr>
        <p:spPr bwMode="auto">
          <a:xfrm>
            <a:off x="236418" y="1081343"/>
            <a:ext cx="4320000" cy="0"/>
          </a:xfrm>
          <a:prstGeom prst="line">
            <a:avLst/>
          </a:prstGeom>
          <a:solidFill>
            <a:schemeClr val="accent1"/>
          </a:solidFill>
          <a:ln w="12700" cap="flat" cmpd="sng" algn="ctr">
            <a:solidFill>
              <a:schemeClr val="tx2"/>
            </a:solidFill>
            <a:prstDash val="solid"/>
            <a:round/>
            <a:headEnd type="none" w="med" len="med"/>
            <a:tailEnd type="none" w="med" len="med"/>
          </a:ln>
          <a:effectLst/>
        </p:spPr>
      </p:cxnSp>
      <p:sp>
        <p:nvSpPr>
          <p:cNvPr id="17" name="ZoneTexte 16">
            <a:extLst>
              <a:ext uri="{FF2B5EF4-FFF2-40B4-BE49-F238E27FC236}">
                <a16:creationId xmlns:a16="http://schemas.microsoft.com/office/drawing/2014/main" id="{79542B58-C0DE-407D-A96B-E1BDB505A35B}"/>
              </a:ext>
            </a:extLst>
          </p:cNvPr>
          <p:cNvSpPr txBox="1"/>
          <p:nvPr/>
        </p:nvSpPr>
        <p:spPr>
          <a:xfrm>
            <a:off x="485055" y="824403"/>
            <a:ext cx="3822726" cy="276999"/>
          </a:xfrm>
          <a:prstGeom prst="rect">
            <a:avLst/>
          </a:prstGeom>
          <a:noFill/>
        </p:spPr>
        <p:txBody>
          <a:bodyPr wrap="square" rtlCol="0">
            <a:spAutoFit/>
          </a:bodyPr>
          <a:lstStyle/>
          <a:p>
            <a:pPr lvl="0" algn="ctr">
              <a:spcBef>
                <a:spcPts val="600"/>
              </a:spcBef>
              <a:spcAft>
                <a:spcPts val="0"/>
              </a:spcAft>
              <a:defRPr/>
            </a:pPr>
            <a:r>
              <a:rPr lang="en-GB" sz="1200" b="1">
                <a:solidFill>
                  <a:srgbClr val="36964F"/>
                </a:solidFill>
                <a:latin typeface="Trebuchet MS" panose="020B0603020202020204" pitchFamily="34" charset="0"/>
              </a:rPr>
              <a:t>Management interviews</a:t>
            </a:r>
            <a:endParaRPr lang="en-GB" sz="1200" b="1" baseline="30000">
              <a:solidFill>
                <a:srgbClr val="36964F"/>
              </a:solidFill>
              <a:latin typeface="Trebuchet MS" panose="020B0603020202020204" pitchFamily="34" charset="0"/>
            </a:endParaRPr>
          </a:p>
        </p:txBody>
      </p:sp>
      <p:grpSp>
        <p:nvGrpSpPr>
          <p:cNvPr id="22" name="Group 8">
            <a:extLst>
              <a:ext uri="{FF2B5EF4-FFF2-40B4-BE49-F238E27FC236}">
                <a16:creationId xmlns:a16="http://schemas.microsoft.com/office/drawing/2014/main" id="{D805EC59-AB86-472B-BD2C-0393201CE3AB}"/>
              </a:ext>
            </a:extLst>
          </p:cNvPr>
          <p:cNvGrpSpPr>
            <a:grpSpLocks noChangeAspect="1"/>
          </p:cNvGrpSpPr>
          <p:nvPr/>
        </p:nvGrpSpPr>
        <p:grpSpPr bwMode="auto">
          <a:xfrm>
            <a:off x="5365740" y="812004"/>
            <a:ext cx="216001" cy="216000"/>
            <a:chOff x="-1" y="0"/>
            <a:chExt cx="77" cy="77"/>
          </a:xfrm>
          <a:solidFill>
            <a:srgbClr val="289B38"/>
          </a:solidFill>
        </p:grpSpPr>
        <p:sp>
          <p:nvSpPr>
            <p:cNvPr id="24" name="Freeform 9">
              <a:extLst>
                <a:ext uri="{FF2B5EF4-FFF2-40B4-BE49-F238E27FC236}">
                  <a16:creationId xmlns:a16="http://schemas.microsoft.com/office/drawing/2014/main" id="{5D63AE7F-E3F2-4D76-B094-ADCF9F6035DF}"/>
                </a:ext>
              </a:extLst>
            </p:cNvPr>
            <p:cNvSpPr>
              <a:spLocks/>
            </p:cNvSpPr>
            <p:nvPr/>
          </p:nvSpPr>
          <p:spPr bwMode="auto">
            <a:xfrm>
              <a:off x="-1" y="22"/>
              <a:ext cx="54" cy="55"/>
            </a:xfrm>
            <a:custGeom>
              <a:avLst/>
              <a:gdLst>
                <a:gd name="T0" fmla="*/ 34 w 45"/>
                <a:gd name="T1" fmla="*/ 30 h 46"/>
                <a:gd name="T2" fmla="*/ 28 w 45"/>
                <a:gd name="T3" fmla="*/ 27 h 46"/>
                <a:gd name="T4" fmla="*/ 28 w 45"/>
                <a:gd name="T5" fmla="*/ 23 h 46"/>
                <a:gd name="T6" fmla="*/ 31 w 45"/>
                <a:gd name="T7" fmla="*/ 18 h 46"/>
                <a:gd name="T8" fmla="*/ 33 w 45"/>
                <a:gd name="T9" fmla="*/ 15 h 46"/>
                <a:gd name="T10" fmla="*/ 31 w 45"/>
                <a:gd name="T11" fmla="*/ 12 h 46"/>
                <a:gd name="T12" fmla="*/ 32 w 45"/>
                <a:gd name="T13" fmla="*/ 7 h 46"/>
                <a:gd name="T14" fmla="*/ 23 w 45"/>
                <a:gd name="T15" fmla="*/ 0 h 46"/>
                <a:gd name="T16" fmla="*/ 14 w 45"/>
                <a:gd name="T17" fmla="*/ 7 h 46"/>
                <a:gd name="T18" fmla="*/ 14 w 45"/>
                <a:gd name="T19" fmla="*/ 12 h 46"/>
                <a:gd name="T20" fmla="*/ 13 w 45"/>
                <a:gd name="T21" fmla="*/ 15 h 46"/>
                <a:gd name="T22" fmla="*/ 15 w 45"/>
                <a:gd name="T23" fmla="*/ 18 h 46"/>
                <a:gd name="T24" fmla="*/ 17 w 45"/>
                <a:gd name="T25" fmla="*/ 23 h 46"/>
                <a:gd name="T26" fmla="*/ 17 w 45"/>
                <a:gd name="T27" fmla="*/ 27 h 46"/>
                <a:gd name="T28" fmla="*/ 12 w 45"/>
                <a:gd name="T29" fmla="*/ 30 h 46"/>
                <a:gd name="T30" fmla="*/ 1 w 45"/>
                <a:gd name="T31" fmla="*/ 35 h 46"/>
                <a:gd name="T32" fmla="*/ 1 w 45"/>
                <a:gd name="T33" fmla="*/ 46 h 46"/>
                <a:gd name="T34" fmla="*/ 45 w 45"/>
                <a:gd name="T35" fmla="*/ 46 h 46"/>
                <a:gd name="T36" fmla="*/ 44 w 45"/>
                <a:gd name="T37" fmla="*/ 35 h 46"/>
                <a:gd name="T38" fmla="*/ 34 w 45"/>
                <a:gd name="T39"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6">
                  <a:moveTo>
                    <a:pt x="34" y="30"/>
                  </a:moveTo>
                  <a:cubicBezTo>
                    <a:pt x="29" y="28"/>
                    <a:pt x="28" y="27"/>
                    <a:pt x="28" y="27"/>
                  </a:cubicBezTo>
                  <a:cubicBezTo>
                    <a:pt x="28" y="23"/>
                    <a:pt x="28" y="23"/>
                    <a:pt x="28" y="23"/>
                  </a:cubicBezTo>
                  <a:cubicBezTo>
                    <a:pt x="28" y="23"/>
                    <a:pt x="30" y="22"/>
                    <a:pt x="31" y="18"/>
                  </a:cubicBezTo>
                  <a:cubicBezTo>
                    <a:pt x="32" y="18"/>
                    <a:pt x="33" y="16"/>
                    <a:pt x="33" y="15"/>
                  </a:cubicBezTo>
                  <a:cubicBezTo>
                    <a:pt x="33" y="14"/>
                    <a:pt x="33" y="12"/>
                    <a:pt x="31" y="12"/>
                  </a:cubicBezTo>
                  <a:cubicBezTo>
                    <a:pt x="32" y="10"/>
                    <a:pt x="32" y="8"/>
                    <a:pt x="32" y="7"/>
                  </a:cubicBezTo>
                  <a:cubicBezTo>
                    <a:pt x="31" y="4"/>
                    <a:pt x="28" y="0"/>
                    <a:pt x="23" y="0"/>
                  </a:cubicBezTo>
                  <a:cubicBezTo>
                    <a:pt x="18" y="0"/>
                    <a:pt x="14" y="4"/>
                    <a:pt x="14" y="7"/>
                  </a:cubicBezTo>
                  <a:cubicBezTo>
                    <a:pt x="14" y="8"/>
                    <a:pt x="14" y="10"/>
                    <a:pt x="14" y="12"/>
                  </a:cubicBezTo>
                  <a:cubicBezTo>
                    <a:pt x="13" y="12"/>
                    <a:pt x="13" y="14"/>
                    <a:pt x="13" y="15"/>
                  </a:cubicBezTo>
                  <a:cubicBezTo>
                    <a:pt x="13" y="16"/>
                    <a:pt x="14" y="18"/>
                    <a:pt x="15" y="18"/>
                  </a:cubicBezTo>
                  <a:cubicBezTo>
                    <a:pt x="16" y="22"/>
                    <a:pt x="17" y="23"/>
                    <a:pt x="17" y="23"/>
                  </a:cubicBezTo>
                  <a:cubicBezTo>
                    <a:pt x="17" y="27"/>
                    <a:pt x="17" y="27"/>
                    <a:pt x="17" y="27"/>
                  </a:cubicBezTo>
                  <a:cubicBezTo>
                    <a:pt x="17" y="27"/>
                    <a:pt x="16" y="28"/>
                    <a:pt x="12" y="30"/>
                  </a:cubicBezTo>
                  <a:cubicBezTo>
                    <a:pt x="7" y="32"/>
                    <a:pt x="3" y="33"/>
                    <a:pt x="1" y="35"/>
                  </a:cubicBezTo>
                  <a:cubicBezTo>
                    <a:pt x="0" y="37"/>
                    <a:pt x="1" y="46"/>
                    <a:pt x="1" y="46"/>
                  </a:cubicBezTo>
                  <a:cubicBezTo>
                    <a:pt x="45" y="46"/>
                    <a:pt x="45" y="46"/>
                    <a:pt x="45" y="46"/>
                  </a:cubicBezTo>
                  <a:cubicBezTo>
                    <a:pt x="45" y="46"/>
                    <a:pt x="45" y="37"/>
                    <a:pt x="44" y="35"/>
                  </a:cubicBezTo>
                  <a:cubicBezTo>
                    <a:pt x="43" y="33"/>
                    <a:pt x="38" y="32"/>
                    <a:pt x="3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25" name="Freeform 10">
              <a:extLst>
                <a:ext uri="{FF2B5EF4-FFF2-40B4-BE49-F238E27FC236}">
                  <a16:creationId xmlns:a16="http://schemas.microsoft.com/office/drawing/2014/main" id="{AB3C1D1D-B445-41C4-A460-6B7860223F16}"/>
                </a:ext>
              </a:extLst>
            </p:cNvPr>
            <p:cNvSpPr>
              <a:spLocks/>
            </p:cNvSpPr>
            <p:nvPr/>
          </p:nvSpPr>
          <p:spPr bwMode="auto">
            <a:xfrm>
              <a:off x="28" y="0"/>
              <a:ext cx="48" cy="48"/>
            </a:xfrm>
            <a:custGeom>
              <a:avLst/>
              <a:gdLst>
                <a:gd name="T0" fmla="*/ 0 w 48"/>
                <a:gd name="T1" fmla="*/ 0 h 48"/>
                <a:gd name="T2" fmla="*/ 0 w 48"/>
                <a:gd name="T3" fmla="*/ 14 h 48"/>
                <a:gd name="T4" fmla="*/ 4 w 48"/>
                <a:gd name="T5" fmla="*/ 14 h 48"/>
                <a:gd name="T6" fmla="*/ 4 w 48"/>
                <a:gd name="T7" fmla="*/ 5 h 48"/>
                <a:gd name="T8" fmla="*/ 43 w 48"/>
                <a:gd name="T9" fmla="*/ 5 h 48"/>
                <a:gd name="T10" fmla="*/ 43 w 48"/>
                <a:gd name="T11" fmla="*/ 29 h 48"/>
                <a:gd name="T12" fmla="*/ 39 w 48"/>
                <a:gd name="T13" fmla="*/ 29 h 48"/>
                <a:gd name="T14" fmla="*/ 37 w 48"/>
                <a:gd name="T15" fmla="*/ 29 h 48"/>
                <a:gd name="T16" fmla="*/ 36 w 48"/>
                <a:gd name="T17" fmla="*/ 30 h 48"/>
                <a:gd name="T18" fmla="*/ 24 w 48"/>
                <a:gd name="T19" fmla="*/ 38 h 48"/>
                <a:gd name="T20" fmla="*/ 24 w 48"/>
                <a:gd name="T21" fmla="*/ 29 h 48"/>
                <a:gd name="T22" fmla="*/ 19 w 48"/>
                <a:gd name="T23" fmla="*/ 29 h 48"/>
                <a:gd name="T24" fmla="*/ 14 w 48"/>
                <a:gd name="T25" fmla="*/ 29 h 48"/>
                <a:gd name="T26" fmla="*/ 14 w 48"/>
                <a:gd name="T27" fmla="*/ 34 h 48"/>
                <a:gd name="T28" fmla="*/ 19 w 48"/>
                <a:gd name="T29" fmla="*/ 34 h 48"/>
                <a:gd name="T30" fmla="*/ 19 w 48"/>
                <a:gd name="T31" fmla="*/ 48 h 48"/>
                <a:gd name="T32" fmla="*/ 38 w 48"/>
                <a:gd name="T33" fmla="*/ 34 h 48"/>
                <a:gd name="T34" fmla="*/ 48 w 48"/>
                <a:gd name="T35" fmla="*/ 34 h 48"/>
                <a:gd name="T36" fmla="*/ 48 w 48"/>
                <a:gd name="T37" fmla="*/ 0 h 48"/>
                <a:gd name="T38" fmla="*/ 0 w 48"/>
                <a:gd name="T3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48">
                  <a:moveTo>
                    <a:pt x="0" y="0"/>
                  </a:moveTo>
                  <a:lnTo>
                    <a:pt x="0" y="14"/>
                  </a:lnTo>
                  <a:lnTo>
                    <a:pt x="4" y="14"/>
                  </a:lnTo>
                  <a:lnTo>
                    <a:pt x="4" y="5"/>
                  </a:lnTo>
                  <a:lnTo>
                    <a:pt x="43" y="5"/>
                  </a:lnTo>
                  <a:lnTo>
                    <a:pt x="43" y="29"/>
                  </a:lnTo>
                  <a:lnTo>
                    <a:pt x="39" y="29"/>
                  </a:lnTo>
                  <a:lnTo>
                    <a:pt x="37" y="29"/>
                  </a:lnTo>
                  <a:lnTo>
                    <a:pt x="36" y="30"/>
                  </a:lnTo>
                  <a:lnTo>
                    <a:pt x="24" y="38"/>
                  </a:lnTo>
                  <a:lnTo>
                    <a:pt x="24" y="29"/>
                  </a:lnTo>
                  <a:lnTo>
                    <a:pt x="19" y="29"/>
                  </a:lnTo>
                  <a:lnTo>
                    <a:pt x="14" y="29"/>
                  </a:lnTo>
                  <a:lnTo>
                    <a:pt x="14" y="34"/>
                  </a:lnTo>
                  <a:lnTo>
                    <a:pt x="19" y="34"/>
                  </a:lnTo>
                  <a:lnTo>
                    <a:pt x="19" y="48"/>
                  </a:lnTo>
                  <a:lnTo>
                    <a:pt x="38" y="34"/>
                  </a:lnTo>
                  <a:lnTo>
                    <a:pt x="48" y="34"/>
                  </a:lnTo>
                  <a:lnTo>
                    <a:pt x="4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grpSp>
      <p:sp>
        <p:nvSpPr>
          <p:cNvPr id="66" name="Title 1">
            <a:extLst>
              <a:ext uri="{FF2B5EF4-FFF2-40B4-BE49-F238E27FC236}">
                <a16:creationId xmlns:a16="http://schemas.microsoft.com/office/drawing/2014/main" id="{11AC2BF9-A8AA-4D9B-A774-9622B7E27451}"/>
              </a:ext>
            </a:extLst>
          </p:cNvPr>
          <p:cNvSpPr txBox="1">
            <a:spLocks/>
          </p:cNvSpPr>
          <p:nvPr/>
        </p:nvSpPr>
        <p:spPr>
          <a:xfrm>
            <a:off x="165599" y="147600"/>
            <a:ext cx="9454970" cy="684000"/>
          </a:xfrm>
          <a:prstGeom prst="rect">
            <a:avLst/>
          </a:prstGeom>
        </p:spPr>
        <p:txBody>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Helvetica 35 Thin" pitchFamily="34" charset="0"/>
              </a:defRPr>
            </a:lvl6pPr>
            <a:lvl7pPr marL="914400" algn="l" rtl="0" eaLnBrk="1" fontAlgn="base" hangingPunct="1">
              <a:spcBef>
                <a:spcPct val="0"/>
              </a:spcBef>
              <a:spcAft>
                <a:spcPct val="0"/>
              </a:spcAft>
              <a:defRPr sz="3200" b="1">
                <a:solidFill>
                  <a:schemeClr val="accent1"/>
                </a:solidFill>
                <a:latin typeface="Helvetica 35 Thin" pitchFamily="34" charset="0"/>
              </a:defRPr>
            </a:lvl7pPr>
            <a:lvl8pPr marL="1371600" algn="l" rtl="0" eaLnBrk="1" fontAlgn="base" hangingPunct="1">
              <a:spcBef>
                <a:spcPct val="0"/>
              </a:spcBef>
              <a:spcAft>
                <a:spcPct val="0"/>
              </a:spcAft>
              <a:defRPr sz="3200" b="1">
                <a:solidFill>
                  <a:schemeClr val="accent1"/>
                </a:solidFill>
                <a:latin typeface="Helvetica 35 Thin" pitchFamily="34" charset="0"/>
              </a:defRPr>
            </a:lvl8pPr>
            <a:lvl9pPr marL="1828800" algn="l" rtl="0" eaLnBrk="1" fontAlgn="base" hangingPunct="1">
              <a:spcBef>
                <a:spcPct val="0"/>
              </a:spcBef>
              <a:spcAft>
                <a:spcPct val="0"/>
              </a:spcAft>
              <a:defRPr sz="3200" b="1">
                <a:solidFill>
                  <a:schemeClr val="accent1"/>
                </a:solidFill>
                <a:latin typeface="Helvetica 35 Thin" pitchFamily="34" charset="0"/>
              </a:defRPr>
            </a:lvl9p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600" b="0" i="0" u="none" strike="noStrike" kern="0" cap="none" spc="0" normalizeH="0" baseline="0" noProof="0">
              <a:ln>
                <a:noFill/>
              </a:ln>
              <a:solidFill>
                <a:srgbClr val="646464"/>
              </a:solidFill>
              <a:effectLst/>
              <a:uLnTx/>
              <a:uFillTx/>
              <a:ea typeface="+mj-ea"/>
              <a:cs typeface="+mj-cs"/>
            </a:endParaRPr>
          </a:p>
        </p:txBody>
      </p:sp>
      <p:cxnSp>
        <p:nvCxnSpPr>
          <p:cNvPr id="16" name="Connecteur droit 14">
            <a:extLst>
              <a:ext uri="{FF2B5EF4-FFF2-40B4-BE49-F238E27FC236}">
                <a16:creationId xmlns:a16="http://schemas.microsoft.com/office/drawing/2014/main" id="{0CBC6FBD-DF8B-4CB6-8ACD-D13787A13DC6}"/>
              </a:ext>
            </a:extLst>
          </p:cNvPr>
          <p:cNvCxnSpPr>
            <a:cxnSpLocks/>
          </p:cNvCxnSpPr>
          <p:nvPr/>
        </p:nvCxnSpPr>
        <p:spPr bwMode="auto">
          <a:xfrm>
            <a:off x="5269269" y="1081343"/>
            <a:ext cx="4320000" cy="0"/>
          </a:xfrm>
          <a:prstGeom prst="line">
            <a:avLst/>
          </a:prstGeom>
          <a:solidFill>
            <a:schemeClr val="accent1"/>
          </a:solidFill>
          <a:ln w="12700" cap="flat" cmpd="sng" algn="ctr">
            <a:solidFill>
              <a:schemeClr val="tx2"/>
            </a:solidFill>
            <a:prstDash val="solid"/>
            <a:round/>
            <a:headEnd type="none" w="med" len="med"/>
            <a:tailEnd type="none" w="med" len="med"/>
          </a:ln>
          <a:effectLst/>
        </p:spPr>
      </p:cxnSp>
      <p:sp>
        <p:nvSpPr>
          <p:cNvPr id="30" name="ZoneTexte 11">
            <a:extLst>
              <a:ext uri="{FF2B5EF4-FFF2-40B4-BE49-F238E27FC236}">
                <a16:creationId xmlns:a16="http://schemas.microsoft.com/office/drawing/2014/main" id="{B9005132-E02A-4690-A859-ADCFCCD210FC}"/>
              </a:ext>
            </a:extLst>
          </p:cNvPr>
          <p:cNvSpPr txBox="1"/>
          <p:nvPr/>
        </p:nvSpPr>
        <p:spPr>
          <a:xfrm>
            <a:off x="524786" y="5190410"/>
            <a:ext cx="3743264" cy="276999"/>
          </a:xfrm>
          <a:prstGeom prst="rect">
            <a:avLst/>
          </a:prstGeom>
          <a:noFill/>
        </p:spPr>
        <p:txBody>
          <a:bodyPr wrap="square" rtlCol="0">
            <a:spAutoFit/>
          </a:bodyPr>
          <a:lstStyle/>
          <a:p>
            <a:pPr algn="ctr">
              <a:defRPr/>
            </a:pPr>
            <a:r>
              <a:rPr lang="en-GB" sz="1200" b="1">
                <a:solidFill>
                  <a:srgbClr val="36964F"/>
                </a:solidFill>
                <a:latin typeface="Trebuchet MS" panose="020B0603020202020204" pitchFamily="34" charset="0"/>
              </a:rPr>
              <a:t>Company information</a:t>
            </a:r>
          </a:p>
        </p:txBody>
      </p:sp>
      <p:cxnSp>
        <p:nvCxnSpPr>
          <p:cNvPr id="49" name="Connecteur droit 14">
            <a:extLst>
              <a:ext uri="{FF2B5EF4-FFF2-40B4-BE49-F238E27FC236}">
                <a16:creationId xmlns:a16="http://schemas.microsoft.com/office/drawing/2014/main" id="{C0EC8DBC-3E66-4549-9EE4-4AA62B4958F1}"/>
              </a:ext>
            </a:extLst>
          </p:cNvPr>
          <p:cNvCxnSpPr>
            <a:cxnSpLocks/>
          </p:cNvCxnSpPr>
          <p:nvPr/>
        </p:nvCxnSpPr>
        <p:spPr bwMode="auto">
          <a:xfrm>
            <a:off x="236418" y="5441122"/>
            <a:ext cx="4320000" cy="0"/>
          </a:xfrm>
          <a:prstGeom prst="line">
            <a:avLst/>
          </a:prstGeom>
          <a:solidFill>
            <a:schemeClr val="accent1"/>
          </a:solidFill>
          <a:ln w="12700" cap="flat" cmpd="sng" algn="ctr">
            <a:solidFill>
              <a:schemeClr val="tx2"/>
            </a:solidFill>
            <a:prstDash val="solid"/>
            <a:round/>
            <a:headEnd type="none" w="med" len="med"/>
            <a:tailEnd type="none" w="med" len="med"/>
          </a:ln>
          <a:effectLst/>
        </p:spPr>
      </p:cxnSp>
      <p:sp>
        <p:nvSpPr>
          <p:cNvPr id="50" name="ZoneTexte 16">
            <a:extLst>
              <a:ext uri="{FF2B5EF4-FFF2-40B4-BE49-F238E27FC236}">
                <a16:creationId xmlns:a16="http://schemas.microsoft.com/office/drawing/2014/main" id="{7F2304D4-CE75-469D-8D65-CB800D1DE9A1}"/>
              </a:ext>
            </a:extLst>
          </p:cNvPr>
          <p:cNvSpPr txBox="1"/>
          <p:nvPr/>
        </p:nvSpPr>
        <p:spPr>
          <a:xfrm>
            <a:off x="5874249" y="824403"/>
            <a:ext cx="3110041" cy="276999"/>
          </a:xfrm>
          <a:prstGeom prst="rect">
            <a:avLst/>
          </a:prstGeom>
          <a:noFill/>
        </p:spPr>
        <p:txBody>
          <a:bodyPr wrap="square" rtlCol="0">
            <a:spAutoFit/>
          </a:bodyPr>
          <a:lstStyle/>
          <a:p>
            <a:pPr lvl="0" algn="ctr">
              <a:defRPr/>
            </a:pPr>
            <a:r>
              <a:rPr lang="en-GB" sz="1200" b="1">
                <a:solidFill>
                  <a:schemeClr val="tx2"/>
                </a:solidFill>
                <a:latin typeface="Trebuchet MS" panose="020B0603020202020204" pitchFamily="34" charset="0"/>
              </a:rPr>
              <a:t>Expert calls</a:t>
            </a:r>
          </a:p>
        </p:txBody>
      </p:sp>
      <p:grpSp>
        <p:nvGrpSpPr>
          <p:cNvPr id="9" name="Group 8">
            <a:extLst>
              <a:ext uri="{FF2B5EF4-FFF2-40B4-BE49-F238E27FC236}">
                <a16:creationId xmlns:a16="http://schemas.microsoft.com/office/drawing/2014/main" id="{8AAA1369-4376-489D-BA9D-8DBB1D2A2276}"/>
              </a:ext>
            </a:extLst>
          </p:cNvPr>
          <p:cNvGrpSpPr>
            <a:grpSpLocks noChangeAspect="1"/>
          </p:cNvGrpSpPr>
          <p:nvPr/>
        </p:nvGrpSpPr>
        <p:grpSpPr bwMode="auto">
          <a:xfrm>
            <a:off x="305734" y="5206567"/>
            <a:ext cx="260496" cy="192437"/>
            <a:chOff x="788" y="892"/>
            <a:chExt cx="754" cy="557"/>
          </a:xfrm>
          <a:solidFill>
            <a:srgbClr val="289B38"/>
          </a:solidFill>
        </p:grpSpPr>
        <p:sp>
          <p:nvSpPr>
            <p:cNvPr id="11" name="Freeform 9">
              <a:extLst>
                <a:ext uri="{FF2B5EF4-FFF2-40B4-BE49-F238E27FC236}">
                  <a16:creationId xmlns:a16="http://schemas.microsoft.com/office/drawing/2014/main" id="{6D630299-E2B0-4AFE-966A-7C1FC66C165C}"/>
                </a:ext>
              </a:extLst>
            </p:cNvPr>
            <p:cNvSpPr>
              <a:spLocks noEditPoints="1"/>
            </p:cNvSpPr>
            <p:nvPr/>
          </p:nvSpPr>
          <p:spPr bwMode="auto">
            <a:xfrm>
              <a:off x="788" y="892"/>
              <a:ext cx="754" cy="279"/>
            </a:xfrm>
            <a:custGeom>
              <a:avLst/>
              <a:gdLst>
                <a:gd name="T0" fmla="*/ 57 w 65"/>
                <a:gd name="T1" fmla="*/ 8 h 24"/>
                <a:gd name="T2" fmla="*/ 48 w 65"/>
                <a:gd name="T3" fmla="*/ 8 h 24"/>
                <a:gd name="T4" fmla="*/ 39 w 65"/>
                <a:gd name="T5" fmla="*/ 0 h 24"/>
                <a:gd name="T6" fmla="*/ 27 w 65"/>
                <a:gd name="T7" fmla="*/ 0 h 24"/>
                <a:gd name="T8" fmla="*/ 17 w 65"/>
                <a:gd name="T9" fmla="*/ 8 h 24"/>
                <a:gd name="T10" fmla="*/ 9 w 65"/>
                <a:gd name="T11" fmla="*/ 8 h 24"/>
                <a:gd name="T12" fmla="*/ 0 w 65"/>
                <a:gd name="T13" fmla="*/ 16 h 24"/>
                <a:gd name="T14" fmla="*/ 0 w 65"/>
                <a:gd name="T15" fmla="*/ 24 h 24"/>
                <a:gd name="T16" fmla="*/ 64 w 65"/>
                <a:gd name="T17" fmla="*/ 24 h 24"/>
                <a:gd name="T18" fmla="*/ 64 w 65"/>
                <a:gd name="T19" fmla="*/ 16 h 24"/>
                <a:gd name="T20" fmla="*/ 57 w 65"/>
                <a:gd name="T21" fmla="*/ 8 h 24"/>
                <a:gd name="T22" fmla="*/ 21 w 65"/>
                <a:gd name="T23" fmla="*/ 8 h 24"/>
                <a:gd name="T24" fmla="*/ 27 w 65"/>
                <a:gd name="T25" fmla="*/ 4 h 24"/>
                <a:gd name="T26" fmla="*/ 39 w 65"/>
                <a:gd name="T27" fmla="*/ 4 h 24"/>
                <a:gd name="T28" fmla="*/ 44 w 65"/>
                <a:gd name="T29" fmla="*/ 8 h 24"/>
                <a:gd name="T30" fmla="*/ 21 w 65"/>
                <a:gd name="T3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24">
                  <a:moveTo>
                    <a:pt x="57" y="8"/>
                  </a:moveTo>
                  <a:cubicBezTo>
                    <a:pt x="54" y="8"/>
                    <a:pt x="51" y="8"/>
                    <a:pt x="48" y="8"/>
                  </a:cubicBezTo>
                  <a:cubicBezTo>
                    <a:pt x="47" y="4"/>
                    <a:pt x="43" y="0"/>
                    <a:pt x="39" y="0"/>
                  </a:cubicBezTo>
                  <a:cubicBezTo>
                    <a:pt x="27" y="0"/>
                    <a:pt x="27" y="0"/>
                    <a:pt x="27" y="0"/>
                  </a:cubicBezTo>
                  <a:cubicBezTo>
                    <a:pt x="22" y="0"/>
                    <a:pt x="18" y="3"/>
                    <a:pt x="17" y="8"/>
                  </a:cubicBezTo>
                  <a:cubicBezTo>
                    <a:pt x="13" y="8"/>
                    <a:pt x="10" y="8"/>
                    <a:pt x="9" y="8"/>
                  </a:cubicBezTo>
                  <a:cubicBezTo>
                    <a:pt x="1" y="8"/>
                    <a:pt x="0" y="16"/>
                    <a:pt x="0" y="16"/>
                  </a:cubicBezTo>
                  <a:cubicBezTo>
                    <a:pt x="0" y="24"/>
                    <a:pt x="0" y="24"/>
                    <a:pt x="0" y="24"/>
                  </a:cubicBezTo>
                  <a:cubicBezTo>
                    <a:pt x="64" y="24"/>
                    <a:pt x="64" y="24"/>
                    <a:pt x="64" y="24"/>
                  </a:cubicBezTo>
                  <a:cubicBezTo>
                    <a:pt x="64" y="16"/>
                    <a:pt x="64" y="16"/>
                    <a:pt x="64" y="16"/>
                  </a:cubicBezTo>
                  <a:cubicBezTo>
                    <a:pt x="64" y="16"/>
                    <a:pt x="65" y="8"/>
                    <a:pt x="57" y="8"/>
                  </a:cubicBezTo>
                  <a:close/>
                  <a:moveTo>
                    <a:pt x="21" y="8"/>
                  </a:moveTo>
                  <a:cubicBezTo>
                    <a:pt x="22" y="6"/>
                    <a:pt x="24" y="4"/>
                    <a:pt x="27" y="4"/>
                  </a:cubicBezTo>
                  <a:cubicBezTo>
                    <a:pt x="39" y="4"/>
                    <a:pt x="39" y="4"/>
                    <a:pt x="39" y="4"/>
                  </a:cubicBezTo>
                  <a:cubicBezTo>
                    <a:pt x="41" y="4"/>
                    <a:pt x="43" y="6"/>
                    <a:pt x="44" y="8"/>
                  </a:cubicBezTo>
                  <a:cubicBezTo>
                    <a:pt x="36" y="8"/>
                    <a:pt x="28" y="8"/>
                    <a:pt x="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a:extLst>
                <a:ext uri="{FF2B5EF4-FFF2-40B4-BE49-F238E27FC236}">
                  <a16:creationId xmlns:a16="http://schemas.microsoft.com/office/drawing/2014/main" id="{7000481F-B7B4-4D7B-9E2C-A83DF4FE9927}"/>
                </a:ext>
              </a:extLst>
            </p:cNvPr>
            <p:cNvSpPr>
              <a:spLocks/>
            </p:cNvSpPr>
            <p:nvPr/>
          </p:nvSpPr>
          <p:spPr bwMode="auto">
            <a:xfrm>
              <a:off x="788" y="1217"/>
              <a:ext cx="742" cy="232"/>
            </a:xfrm>
            <a:custGeom>
              <a:avLst/>
              <a:gdLst>
                <a:gd name="T0" fmla="*/ 40 w 64"/>
                <a:gd name="T1" fmla="*/ 4 h 20"/>
                <a:gd name="T2" fmla="*/ 36 w 64"/>
                <a:gd name="T3" fmla="*/ 8 h 20"/>
                <a:gd name="T4" fmla="*/ 28 w 64"/>
                <a:gd name="T5" fmla="*/ 8 h 20"/>
                <a:gd name="T6" fmla="*/ 24 w 64"/>
                <a:gd name="T7" fmla="*/ 4 h 20"/>
                <a:gd name="T8" fmla="*/ 24 w 64"/>
                <a:gd name="T9" fmla="*/ 0 h 20"/>
                <a:gd name="T10" fmla="*/ 0 w 64"/>
                <a:gd name="T11" fmla="*/ 0 h 20"/>
                <a:gd name="T12" fmla="*/ 0 w 64"/>
                <a:gd name="T13" fmla="*/ 16 h 20"/>
                <a:gd name="T14" fmla="*/ 8 w 64"/>
                <a:gd name="T15" fmla="*/ 20 h 20"/>
                <a:gd name="T16" fmla="*/ 56 w 64"/>
                <a:gd name="T17" fmla="*/ 20 h 20"/>
                <a:gd name="T18" fmla="*/ 64 w 64"/>
                <a:gd name="T19" fmla="*/ 16 h 20"/>
                <a:gd name="T20" fmla="*/ 64 w 64"/>
                <a:gd name="T21" fmla="*/ 0 h 20"/>
                <a:gd name="T22" fmla="*/ 40 w 64"/>
                <a:gd name="T23" fmla="*/ 0 h 20"/>
                <a:gd name="T24" fmla="*/ 40 w 64"/>
                <a:gd name="T25"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20">
                  <a:moveTo>
                    <a:pt x="40" y="4"/>
                  </a:moveTo>
                  <a:cubicBezTo>
                    <a:pt x="40" y="6"/>
                    <a:pt x="39" y="8"/>
                    <a:pt x="36" y="8"/>
                  </a:cubicBezTo>
                  <a:cubicBezTo>
                    <a:pt x="28" y="8"/>
                    <a:pt x="28" y="8"/>
                    <a:pt x="28" y="8"/>
                  </a:cubicBezTo>
                  <a:cubicBezTo>
                    <a:pt x="26" y="8"/>
                    <a:pt x="24" y="6"/>
                    <a:pt x="24" y="4"/>
                  </a:cubicBezTo>
                  <a:cubicBezTo>
                    <a:pt x="24" y="0"/>
                    <a:pt x="24" y="0"/>
                    <a:pt x="24" y="0"/>
                  </a:cubicBezTo>
                  <a:cubicBezTo>
                    <a:pt x="0" y="0"/>
                    <a:pt x="0" y="0"/>
                    <a:pt x="0" y="0"/>
                  </a:cubicBezTo>
                  <a:cubicBezTo>
                    <a:pt x="0" y="16"/>
                    <a:pt x="0" y="16"/>
                    <a:pt x="0" y="16"/>
                  </a:cubicBezTo>
                  <a:cubicBezTo>
                    <a:pt x="0" y="16"/>
                    <a:pt x="0" y="20"/>
                    <a:pt x="8" y="20"/>
                  </a:cubicBezTo>
                  <a:cubicBezTo>
                    <a:pt x="23" y="20"/>
                    <a:pt x="51" y="20"/>
                    <a:pt x="56" y="20"/>
                  </a:cubicBezTo>
                  <a:cubicBezTo>
                    <a:pt x="64" y="20"/>
                    <a:pt x="64" y="16"/>
                    <a:pt x="64" y="16"/>
                  </a:cubicBezTo>
                  <a:cubicBezTo>
                    <a:pt x="64" y="0"/>
                    <a:pt x="64" y="0"/>
                    <a:pt x="64" y="0"/>
                  </a:cubicBezTo>
                  <a:cubicBezTo>
                    <a:pt x="40" y="0"/>
                    <a:pt x="40" y="0"/>
                    <a:pt x="40" y="0"/>
                  </a:cubicBezTo>
                  <a:lnTo>
                    <a:pt x="4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Rectangle 11">
              <a:extLst>
                <a:ext uri="{FF2B5EF4-FFF2-40B4-BE49-F238E27FC236}">
                  <a16:creationId xmlns:a16="http://schemas.microsoft.com/office/drawing/2014/main" id="{A435B4B4-AC29-4B65-B0CE-40273AB272DC}"/>
                </a:ext>
              </a:extLst>
            </p:cNvPr>
            <p:cNvSpPr>
              <a:spLocks noChangeArrowheads="1"/>
            </p:cNvSpPr>
            <p:nvPr/>
          </p:nvSpPr>
          <p:spPr bwMode="auto">
            <a:xfrm>
              <a:off x="1113" y="1217"/>
              <a:ext cx="92"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a:extLst>
              <a:ext uri="{FF2B5EF4-FFF2-40B4-BE49-F238E27FC236}">
                <a16:creationId xmlns:a16="http://schemas.microsoft.com/office/drawing/2014/main" id="{A49947C0-79EA-4457-B403-2388F3ECF06B}"/>
              </a:ext>
            </a:extLst>
          </p:cNvPr>
          <p:cNvSpPr>
            <a:spLocks noGrp="1"/>
          </p:cNvSpPr>
          <p:nvPr>
            <p:ph type="body" sz="quarter" idx="10"/>
          </p:nvPr>
        </p:nvSpPr>
        <p:spPr/>
        <p:txBody>
          <a:bodyPr/>
          <a:lstStyle/>
          <a:p>
            <a:r>
              <a:rPr lang="en-GB"/>
              <a:t>Note: Non-exhaustive lists</a:t>
            </a:r>
          </a:p>
        </p:txBody>
      </p:sp>
      <p:sp>
        <p:nvSpPr>
          <p:cNvPr id="41" name="ZoneTexte 28">
            <a:extLst>
              <a:ext uri="{FF2B5EF4-FFF2-40B4-BE49-F238E27FC236}">
                <a16:creationId xmlns:a16="http://schemas.microsoft.com/office/drawing/2014/main" id="{A1C57B7F-445F-4E16-9D97-2C83BFDDC577}"/>
              </a:ext>
            </a:extLst>
          </p:cNvPr>
          <p:cNvSpPr txBox="1"/>
          <p:nvPr/>
        </p:nvSpPr>
        <p:spPr>
          <a:xfrm>
            <a:off x="5447091" y="1112192"/>
            <a:ext cx="4304418" cy="1610697"/>
          </a:xfrm>
          <a:prstGeom prst="rect">
            <a:avLst/>
          </a:prstGeom>
          <a:noFill/>
        </p:spPr>
        <p:txBody>
          <a:bodyPr wrap="square" lIns="91440" rIns="0" rtlCol="0" anchor="t">
            <a:spAutoFit/>
          </a:bodyPr>
          <a:lstStyle/>
          <a:p>
            <a:pPr marL="357188" indent="-171450" defTabSz="360363">
              <a:spcBef>
                <a:spcPts val="4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Managing Director France and Italia at </a:t>
            </a:r>
            <a:r>
              <a:rPr lang="en-GB" sz="900" err="1">
                <a:solidFill>
                  <a:srgbClr val="6C6C6C"/>
                </a:solidFill>
                <a:latin typeface="Trebuchet MS" panose="020B0603020202020204" pitchFamily="34" charset="0"/>
                <a:cs typeface="Arial"/>
              </a:rPr>
              <a:t>Creditsafe</a:t>
            </a:r>
            <a:r>
              <a:rPr lang="en-GB" sz="900">
                <a:solidFill>
                  <a:srgbClr val="6C6C6C"/>
                </a:solidFill>
                <a:latin typeface="Trebuchet MS" panose="020B0603020202020204" pitchFamily="34" charset="0"/>
                <a:cs typeface="Arial"/>
              </a:rPr>
              <a:t>, former Dun &amp; Bradstreet Sales Director	</a:t>
            </a:r>
            <a:r>
              <a:rPr lang="en-GB" sz="1000">
                <a:solidFill>
                  <a:srgbClr val="6C6C6C"/>
                </a:solidFill>
                <a:latin typeface="Trebuchet MS" panose="020B0603020202020204" pitchFamily="34" charset="0"/>
                <a:cs typeface="Arial"/>
              </a:rPr>
              <a:t>			</a:t>
            </a:r>
            <a:endParaRPr lang="en-GB" sz="900">
              <a:solidFill>
                <a:srgbClr val="6C6C6C"/>
              </a:solidFill>
              <a:latin typeface="Trebuchet MS" panose="020B0603020202020204" pitchFamily="34" charset="0"/>
              <a:cs typeface="Arial"/>
            </a:endParaRPr>
          </a:p>
          <a:p>
            <a:pPr marL="357188" lvl="1" indent="-171450" defTabSz="360363">
              <a:spcBef>
                <a:spcPts val="4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Former Sales Director at </a:t>
            </a:r>
            <a:r>
              <a:rPr lang="en-GB" sz="900" err="1">
                <a:solidFill>
                  <a:srgbClr val="6C6C6C"/>
                </a:solidFill>
                <a:latin typeface="Trebuchet MS" panose="020B0603020202020204" pitchFamily="34" charset="0"/>
                <a:cs typeface="Arial"/>
              </a:rPr>
              <a:t>Creditsafe</a:t>
            </a:r>
            <a:r>
              <a:rPr lang="en-GB" sz="900">
                <a:solidFill>
                  <a:srgbClr val="6C6C6C"/>
                </a:solidFill>
                <a:latin typeface="Trebuchet MS" panose="020B0603020202020204" pitchFamily="34" charset="0"/>
                <a:cs typeface="Arial"/>
              </a:rPr>
              <a:t> &amp; Current Associate director Sales at Bureau Van Dijk					</a:t>
            </a:r>
          </a:p>
          <a:p>
            <a:pPr marL="357188" lvl="1" indent="-171450" defTabSz="360363">
              <a:spcBef>
                <a:spcPts val="4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Director Marketing, Consulting, and Finance at Bisnode Belgium</a:t>
            </a:r>
          </a:p>
          <a:p>
            <a:pPr marL="357188" lvl="1" indent="-171450" defTabSz="360363">
              <a:spcBef>
                <a:spcPts val="4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Former Managing Director at Graydon Belgium</a:t>
            </a:r>
          </a:p>
          <a:p>
            <a:pPr marL="357188" indent="-171450" defTabSz="360363">
              <a:spcBef>
                <a:spcPts val="4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Former Commercial Development Manager at </a:t>
            </a:r>
            <a:r>
              <a:rPr lang="en-GB" sz="900" err="1">
                <a:solidFill>
                  <a:srgbClr val="6C6C6C"/>
                </a:solidFill>
                <a:latin typeface="Trebuchet MS" panose="020B0603020202020204" pitchFamily="34" charset="0"/>
                <a:cs typeface="Arial"/>
              </a:rPr>
              <a:t>Ellisphere</a:t>
            </a:r>
            <a:r>
              <a:rPr lang="en-GB" sz="900">
                <a:solidFill>
                  <a:srgbClr val="6C6C6C"/>
                </a:solidFill>
                <a:latin typeface="Trebuchet MS" panose="020B0603020202020204" pitchFamily="34" charset="0"/>
                <a:cs typeface="Arial"/>
              </a:rPr>
              <a:t>, former marketing at </a:t>
            </a:r>
            <a:r>
              <a:rPr lang="en-GB" sz="900" err="1">
                <a:solidFill>
                  <a:srgbClr val="6C6C6C"/>
                </a:solidFill>
                <a:latin typeface="Trebuchet MS" panose="020B0603020202020204" pitchFamily="34" charset="0"/>
                <a:cs typeface="Arial"/>
              </a:rPr>
              <a:t>Coface</a:t>
            </a:r>
            <a:endParaRPr lang="en-GB" sz="900">
              <a:solidFill>
                <a:srgbClr val="6C6C6C"/>
              </a:solidFill>
              <a:latin typeface="Trebuchet MS" panose="020B0603020202020204" pitchFamily="34" charset="0"/>
              <a:cs typeface="Arial"/>
            </a:endParaRPr>
          </a:p>
          <a:p>
            <a:pPr marL="357188" indent="-171450" defTabSz="360363">
              <a:spcBef>
                <a:spcPts val="4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Legal &amp; Compliance Director ABL Europe SAS at Groupe </a:t>
            </a:r>
            <a:r>
              <a:rPr lang="en-GB" sz="900" err="1">
                <a:solidFill>
                  <a:srgbClr val="6C6C6C"/>
                </a:solidFill>
                <a:latin typeface="Trebuchet MS" panose="020B0603020202020204" pitchFamily="34" charset="0"/>
                <a:cs typeface="Arial"/>
              </a:rPr>
              <a:t>Institut</a:t>
            </a:r>
            <a:r>
              <a:rPr lang="en-GB" sz="900">
                <a:solidFill>
                  <a:srgbClr val="6C6C6C"/>
                </a:solidFill>
                <a:latin typeface="Trebuchet MS" panose="020B0603020202020204" pitchFamily="34" charset="0"/>
                <a:cs typeface="Arial"/>
              </a:rPr>
              <a:t> </a:t>
            </a:r>
            <a:r>
              <a:rPr lang="en-GB" sz="900" err="1">
                <a:solidFill>
                  <a:srgbClr val="6C6C6C"/>
                </a:solidFill>
                <a:latin typeface="Trebuchet MS" panose="020B0603020202020204" pitchFamily="34" charset="0"/>
                <a:cs typeface="Arial"/>
              </a:rPr>
              <a:t>Mérieux</a:t>
            </a:r>
            <a:endParaRPr lang="en-GB" sz="900">
              <a:solidFill>
                <a:srgbClr val="6C6C6C"/>
              </a:solidFill>
              <a:latin typeface="Trebuchet MS" panose="020B0603020202020204" pitchFamily="34" charset="0"/>
              <a:cs typeface="Arial"/>
            </a:endParaRPr>
          </a:p>
        </p:txBody>
      </p:sp>
      <p:sp>
        <p:nvSpPr>
          <p:cNvPr id="46" name="ZoneTexte 28">
            <a:extLst>
              <a:ext uri="{FF2B5EF4-FFF2-40B4-BE49-F238E27FC236}">
                <a16:creationId xmlns:a16="http://schemas.microsoft.com/office/drawing/2014/main" id="{33A4EF29-CBE5-4998-BA9A-365E3BB2690C}"/>
              </a:ext>
            </a:extLst>
          </p:cNvPr>
          <p:cNvSpPr txBox="1"/>
          <p:nvPr/>
        </p:nvSpPr>
        <p:spPr>
          <a:xfrm>
            <a:off x="236418" y="1106407"/>
            <a:ext cx="4320000" cy="4108817"/>
          </a:xfrm>
          <a:prstGeom prst="rect">
            <a:avLst/>
          </a:prstGeom>
          <a:noFill/>
        </p:spPr>
        <p:txBody>
          <a:bodyPr wrap="square" lIns="91440" rIns="0" rtlCol="0" anchor="t">
            <a:spAutoFit/>
          </a:bodyPr>
          <a:lstStyle/>
          <a:p>
            <a:pPr>
              <a:spcBef>
                <a:spcPts val="600"/>
              </a:spcBef>
              <a:spcAft>
                <a:spcPts val="0"/>
              </a:spcAft>
              <a:buClr>
                <a:schemeClr val="tx2"/>
              </a:buClr>
              <a:buSzPct val="150000"/>
              <a:defRPr/>
            </a:pPr>
            <a:r>
              <a:rPr lang="en-GB" sz="800" b="1" i="1">
                <a:solidFill>
                  <a:srgbClr val="6C6C6C"/>
                </a:solidFill>
                <a:latin typeface="Trebuchet MS" panose="020B0603020202020204" pitchFamily="34" charset="0"/>
                <a:cs typeface="Arial"/>
              </a:rPr>
              <a:t>General management</a:t>
            </a:r>
            <a:endParaRPr lang="en-GB" sz="900">
              <a:solidFill>
                <a:srgbClr val="6C6C6C"/>
              </a:solidFill>
              <a:latin typeface="Trebuchet MS" panose="020B0603020202020204" pitchFamily="34" charset="0"/>
              <a:cs typeface="Arial"/>
            </a:endParaRP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Luc </a:t>
            </a:r>
            <a:r>
              <a:rPr lang="en-GB" sz="900" err="1">
                <a:solidFill>
                  <a:srgbClr val="6C6C6C"/>
                </a:solidFill>
                <a:latin typeface="Trebuchet MS" panose="020B0603020202020204" pitchFamily="34" charset="0"/>
                <a:cs typeface="Arial"/>
              </a:rPr>
              <a:t>Querton</a:t>
            </a:r>
            <a:r>
              <a:rPr lang="en-GB" sz="900">
                <a:solidFill>
                  <a:srgbClr val="6C6C6C"/>
                </a:solidFill>
                <a:latin typeface="Trebuchet MS" panose="020B0603020202020204" pitchFamily="34" charset="0"/>
                <a:cs typeface="Arial"/>
              </a:rPr>
              <a:t>, CEO</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Frederic Barth, MD France</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David </a:t>
            </a:r>
            <a:r>
              <a:rPr lang="en-GB" sz="900" err="1">
                <a:solidFill>
                  <a:srgbClr val="6C6C6C"/>
                </a:solidFill>
                <a:latin typeface="Trebuchet MS" panose="020B0603020202020204" pitchFamily="34" charset="0"/>
                <a:cs typeface="Arial"/>
              </a:rPr>
              <a:t>Verheecke</a:t>
            </a:r>
            <a:r>
              <a:rPr lang="en-GB" sz="900">
                <a:solidFill>
                  <a:srgbClr val="6C6C6C"/>
                </a:solidFill>
                <a:latin typeface="Trebuchet MS" panose="020B0603020202020204" pitchFamily="34" charset="0"/>
                <a:cs typeface="Arial"/>
              </a:rPr>
              <a:t>, MD Benelux</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Thomas </a:t>
            </a:r>
            <a:r>
              <a:rPr lang="en-GB" sz="900" err="1">
                <a:solidFill>
                  <a:srgbClr val="6C6C6C"/>
                </a:solidFill>
                <a:latin typeface="Trebuchet MS" panose="020B0603020202020204" pitchFamily="34" charset="0"/>
                <a:cs typeface="Arial"/>
              </a:rPr>
              <a:t>Poussardin</a:t>
            </a:r>
            <a:r>
              <a:rPr lang="en-GB" sz="900">
                <a:solidFill>
                  <a:srgbClr val="6C6C6C"/>
                </a:solidFill>
                <a:latin typeface="Trebuchet MS" panose="020B0603020202020204" pitchFamily="34" charset="0"/>
                <a:cs typeface="Arial"/>
              </a:rPr>
              <a:t>, MD </a:t>
            </a:r>
            <a:r>
              <a:rPr lang="en-GB" sz="900" err="1">
                <a:solidFill>
                  <a:srgbClr val="6C6C6C"/>
                </a:solidFill>
                <a:latin typeface="Trebuchet MS" panose="020B0603020202020204" pitchFamily="34" charset="0"/>
                <a:cs typeface="Arial"/>
              </a:rPr>
              <a:t>Manageo</a:t>
            </a:r>
            <a:endParaRPr lang="en-GB" sz="900">
              <a:solidFill>
                <a:srgbClr val="6C6C6C"/>
              </a:solidFill>
              <a:latin typeface="Trebuchet MS" panose="020B0603020202020204" pitchFamily="34" charset="0"/>
              <a:cs typeface="Arial"/>
            </a:endParaRP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Rania </a:t>
            </a:r>
            <a:r>
              <a:rPr lang="en-GB" sz="900" err="1">
                <a:solidFill>
                  <a:srgbClr val="6C6C6C"/>
                </a:solidFill>
                <a:latin typeface="Trebuchet MS" panose="020B0603020202020204" pitchFamily="34" charset="0"/>
                <a:cs typeface="Arial"/>
              </a:rPr>
              <a:t>Aouad</a:t>
            </a:r>
            <a:r>
              <a:rPr lang="en-GB" sz="900">
                <a:solidFill>
                  <a:srgbClr val="6C6C6C"/>
                </a:solidFill>
                <a:latin typeface="Trebuchet MS" panose="020B0603020202020204" pitchFamily="34" charset="0"/>
                <a:cs typeface="Arial"/>
              </a:rPr>
              <a:t>, Head of IT</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Nicolas Godard, Head of Finance</a:t>
            </a:r>
          </a:p>
          <a:p>
            <a:pPr marL="171450" indent="-171450">
              <a:spcBef>
                <a:spcPts val="600"/>
              </a:spcBef>
              <a:spcAft>
                <a:spcPts val="0"/>
              </a:spcAft>
              <a:buClr>
                <a:schemeClr val="tx2"/>
              </a:buClr>
              <a:buSzPct val="150000"/>
              <a:buFont typeface="Wingdings" panose="05000000000000000000" pitchFamily="2" charset="2"/>
              <a:buChar char="ü"/>
              <a:defRPr/>
            </a:pPr>
            <a:r>
              <a:rPr lang="en-GB" sz="900" err="1">
                <a:solidFill>
                  <a:srgbClr val="6C6C6C"/>
                </a:solidFill>
                <a:latin typeface="Trebuchet MS" panose="020B0603020202020204" pitchFamily="34" charset="0"/>
                <a:cs typeface="Arial"/>
              </a:rPr>
              <a:t>Gildas</a:t>
            </a:r>
            <a:r>
              <a:rPr lang="en-GB" sz="900">
                <a:solidFill>
                  <a:srgbClr val="6C6C6C"/>
                </a:solidFill>
                <a:latin typeface="Trebuchet MS" panose="020B0603020202020204" pitchFamily="34" charset="0"/>
                <a:cs typeface="Arial"/>
              </a:rPr>
              <a:t> Delon, Head of HR</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Nicolas Pintart, Head of product &amp; strategy</a:t>
            </a:r>
          </a:p>
          <a:p>
            <a:pPr>
              <a:spcBef>
                <a:spcPts val="600"/>
              </a:spcBef>
              <a:spcAft>
                <a:spcPts val="0"/>
              </a:spcAft>
              <a:buClr>
                <a:schemeClr val="tx2"/>
              </a:buClr>
              <a:buSzPct val="150000"/>
              <a:defRPr/>
            </a:pPr>
            <a:r>
              <a:rPr lang="en-GB" sz="800" b="1" i="1">
                <a:solidFill>
                  <a:srgbClr val="6C6C6C"/>
                </a:solidFill>
                <a:latin typeface="Trebuchet MS" panose="020B0603020202020204" pitchFamily="34" charset="0"/>
                <a:cs typeface="Arial"/>
              </a:rPr>
              <a:t>Sales team</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terviews with the sales team in France, in Netherlands, and in Belgium &amp; Luxembourg</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terview with the Maghreb Director</a:t>
            </a:r>
          </a:p>
          <a:p>
            <a:pPr>
              <a:spcBef>
                <a:spcPts val="600"/>
              </a:spcBef>
              <a:spcAft>
                <a:spcPts val="0"/>
              </a:spcAft>
              <a:buClr>
                <a:schemeClr val="tx2"/>
              </a:buClr>
              <a:buSzPct val="150000"/>
              <a:defRPr/>
            </a:pPr>
            <a:r>
              <a:rPr lang="en-GB" sz="800" b="1" i="1">
                <a:solidFill>
                  <a:srgbClr val="6C6C6C"/>
                </a:solidFill>
                <a:latin typeface="Trebuchet MS" panose="020B0603020202020204" pitchFamily="34" charset="0"/>
                <a:cs typeface="Arial"/>
              </a:rPr>
              <a:t>Other key people</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terviews with the product managers related to risk, B2B marketing/</a:t>
            </a:r>
            <a:r>
              <a:rPr lang="en-GB" sz="900" err="1">
                <a:solidFill>
                  <a:srgbClr val="6C6C6C"/>
                </a:solidFill>
                <a:latin typeface="Trebuchet MS" panose="020B0603020202020204" pitchFamily="34" charset="0"/>
                <a:cs typeface="Arial"/>
              </a:rPr>
              <a:t>Manageo</a:t>
            </a:r>
            <a:r>
              <a:rPr lang="en-GB" sz="900">
                <a:solidFill>
                  <a:srgbClr val="6C6C6C"/>
                </a:solidFill>
                <a:latin typeface="Trebuchet MS" panose="020B0603020202020204" pitchFamily="34" charset="0"/>
                <a:cs typeface="Arial"/>
              </a:rPr>
              <a:t>, compliance, D&amp;B products</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terviews with the Operations Directors in France, and in Benelux</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terview with the Data Science Director in Benelux</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terview with the Director of International development</a:t>
            </a:r>
          </a:p>
          <a:p>
            <a:pPr marL="171450" indent="-171450">
              <a:spcBef>
                <a:spcPts val="600"/>
              </a:spcBef>
              <a:spcAft>
                <a:spcPts val="0"/>
              </a:spcAft>
              <a:buClr>
                <a:schemeClr val="tx2"/>
              </a:buClr>
              <a:buSzPct val="150000"/>
              <a:buFont typeface="Wingdings" panose="05000000000000000000" pitchFamily="2" charset="2"/>
              <a:buChar char="ü"/>
              <a:defRPr/>
            </a:pPr>
            <a:r>
              <a:rPr lang="en-GB" sz="900" b="1" i="1">
                <a:solidFill>
                  <a:srgbClr val="6C6C6C"/>
                </a:solidFill>
                <a:latin typeface="Trebuchet MS" panose="020B0603020202020204" pitchFamily="34" charset="0"/>
                <a:cs typeface="Arial"/>
              </a:rPr>
              <a:t>...</a:t>
            </a:r>
            <a:endParaRPr lang="en-GB" sz="800" b="1" i="1">
              <a:solidFill>
                <a:srgbClr val="6C6C6C"/>
              </a:solidFill>
              <a:latin typeface="Trebuchet MS" panose="020B0603020202020204" pitchFamily="34" charset="0"/>
              <a:cs typeface="Arial"/>
            </a:endParaRPr>
          </a:p>
        </p:txBody>
      </p:sp>
      <p:sp>
        <p:nvSpPr>
          <p:cNvPr id="47" name="ZoneTexte 28">
            <a:extLst>
              <a:ext uri="{FF2B5EF4-FFF2-40B4-BE49-F238E27FC236}">
                <a16:creationId xmlns:a16="http://schemas.microsoft.com/office/drawing/2014/main" id="{5CA9BDD4-CDB4-48EF-8419-CCFC5DD0A28E}"/>
              </a:ext>
            </a:extLst>
          </p:cNvPr>
          <p:cNvSpPr txBox="1"/>
          <p:nvPr/>
        </p:nvSpPr>
        <p:spPr>
          <a:xfrm>
            <a:off x="236417" y="5507227"/>
            <a:ext cx="4618801" cy="1015663"/>
          </a:xfrm>
          <a:prstGeom prst="rect">
            <a:avLst/>
          </a:prstGeom>
          <a:noFill/>
        </p:spPr>
        <p:txBody>
          <a:bodyPr wrap="square" lIns="91440" rIns="0" rtlCol="0" anchor="t">
            <a:spAutoFit/>
          </a:bodyPr>
          <a:lstStyle/>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Company data and corporate documents</a:t>
            </a:r>
          </a:p>
          <a:p>
            <a:pPr marL="171450" indent="-171450">
              <a:spcBef>
                <a:spcPts val="600"/>
              </a:spcBef>
              <a:spcAft>
                <a:spcPts val="0"/>
              </a:spcAft>
              <a:buClr>
                <a:schemeClr val="tx2"/>
              </a:buClr>
              <a:buSzPct val="150000"/>
              <a:buFont typeface="Wingdings" panose="05000000000000000000" pitchFamily="2" charset="2"/>
              <a:buChar char="ü"/>
              <a:defRPr/>
            </a:pPr>
            <a:r>
              <a:rPr lang="en-GB" sz="900">
                <a:latin typeface="Trebuchet MS" panose="020B0603020202020204" pitchFamily="34" charset="0"/>
                <a:cs typeface="Arial"/>
              </a:rPr>
              <a:t>Customer database from the customer intelligence data team (</a:t>
            </a:r>
            <a:r>
              <a:rPr lang="en-GB" sz="900" i="1">
                <a:latin typeface="Trebuchet MS" panose="020B0603020202020204" pitchFamily="34" charset="0"/>
                <a:cs typeface="Arial"/>
              </a:rPr>
              <a:t>“Benelux Consolidated Base File” </a:t>
            </a:r>
            <a:r>
              <a:rPr lang="en-GB" sz="900">
                <a:latin typeface="Trebuchet MS" panose="020B0603020202020204" pitchFamily="34" charset="0"/>
                <a:cs typeface="Arial"/>
              </a:rPr>
              <a:t>and </a:t>
            </a:r>
            <a:r>
              <a:rPr lang="en-GB" sz="900" i="1">
                <a:latin typeface="Trebuchet MS" panose="020B0603020202020204" pitchFamily="34" charset="0"/>
                <a:cs typeface="Arial"/>
              </a:rPr>
              <a:t>“LOT 3  2.5 Sales-ALT France-REC-2016 to may2020”</a:t>
            </a:r>
            <a:r>
              <a:rPr lang="en-GB" sz="900">
                <a:latin typeface="Trebuchet MS" panose="020B0603020202020204" pitchFamily="34" charset="0"/>
                <a:cs typeface="Arial"/>
              </a:rPr>
              <a:t>)</a:t>
            </a:r>
            <a:endParaRPr lang="en-GB" sz="900" i="1">
              <a:latin typeface="Trebuchet MS" panose="020B0603020202020204" pitchFamily="34" charset="0"/>
              <a:cs typeface="Arial"/>
            </a:endParaRPr>
          </a:p>
          <a:p>
            <a:pPr marL="171450" indent="-171450">
              <a:spcBef>
                <a:spcPts val="600"/>
              </a:spcBef>
              <a:spcAft>
                <a:spcPts val="0"/>
              </a:spcAft>
              <a:buClr>
                <a:schemeClr val="tx2"/>
              </a:buClr>
              <a:buSzPct val="150000"/>
              <a:buFont typeface="Wingdings" panose="05000000000000000000" pitchFamily="2" charset="2"/>
              <a:buChar char="ü"/>
              <a:defRPr/>
            </a:pPr>
            <a:r>
              <a:rPr lang="en-GB" sz="900">
                <a:latin typeface="Trebuchet MS" panose="020B0603020202020204" pitchFamily="34" charset="0"/>
                <a:cs typeface="Arial"/>
              </a:rPr>
              <a:t>Management’s Business Plan</a:t>
            </a:r>
          </a:p>
          <a:p>
            <a:pPr marL="171450" indent="-171450">
              <a:spcBef>
                <a:spcPts val="600"/>
              </a:spcBef>
              <a:spcAft>
                <a:spcPts val="0"/>
              </a:spcAft>
              <a:buClr>
                <a:schemeClr val="tx2"/>
              </a:buClr>
              <a:buSzPct val="150000"/>
              <a:buFont typeface="Wingdings" panose="05000000000000000000" pitchFamily="2" charset="2"/>
              <a:buChar char="ü"/>
              <a:defRPr/>
            </a:pPr>
            <a:r>
              <a:rPr lang="en-GB" sz="900" err="1">
                <a:latin typeface="Trebuchet MS" panose="020B0603020202020204" pitchFamily="34" charset="0"/>
                <a:cs typeface="Arial"/>
              </a:rPr>
              <a:t>Altares</a:t>
            </a:r>
            <a:r>
              <a:rPr lang="en-GB" sz="900">
                <a:latin typeface="Trebuchet MS" panose="020B0603020202020204" pitchFamily="34" charset="0"/>
                <a:cs typeface="Arial"/>
              </a:rPr>
              <a:t>’ macro-economic market studies on risk indicators in France and Benelux</a:t>
            </a:r>
          </a:p>
        </p:txBody>
      </p:sp>
      <p:grpSp>
        <p:nvGrpSpPr>
          <p:cNvPr id="51" name="Group 8">
            <a:extLst>
              <a:ext uri="{FF2B5EF4-FFF2-40B4-BE49-F238E27FC236}">
                <a16:creationId xmlns:a16="http://schemas.microsoft.com/office/drawing/2014/main" id="{0D06628D-39CA-4A1F-B664-52BDDBF20239}"/>
              </a:ext>
            </a:extLst>
          </p:cNvPr>
          <p:cNvGrpSpPr>
            <a:grpSpLocks noChangeAspect="1"/>
          </p:cNvGrpSpPr>
          <p:nvPr/>
        </p:nvGrpSpPr>
        <p:grpSpPr bwMode="auto">
          <a:xfrm>
            <a:off x="377055" y="825066"/>
            <a:ext cx="216001" cy="216000"/>
            <a:chOff x="-1" y="0"/>
            <a:chExt cx="77" cy="77"/>
          </a:xfrm>
          <a:solidFill>
            <a:srgbClr val="289B38"/>
          </a:solidFill>
        </p:grpSpPr>
        <p:sp>
          <p:nvSpPr>
            <p:cNvPr id="52" name="Freeform 9">
              <a:extLst>
                <a:ext uri="{FF2B5EF4-FFF2-40B4-BE49-F238E27FC236}">
                  <a16:creationId xmlns:a16="http://schemas.microsoft.com/office/drawing/2014/main" id="{F58709B3-0562-4F10-BA63-7AB60B9DD853}"/>
                </a:ext>
              </a:extLst>
            </p:cNvPr>
            <p:cNvSpPr>
              <a:spLocks/>
            </p:cNvSpPr>
            <p:nvPr/>
          </p:nvSpPr>
          <p:spPr bwMode="auto">
            <a:xfrm>
              <a:off x="-1" y="22"/>
              <a:ext cx="54" cy="55"/>
            </a:xfrm>
            <a:custGeom>
              <a:avLst/>
              <a:gdLst>
                <a:gd name="T0" fmla="*/ 34 w 45"/>
                <a:gd name="T1" fmla="*/ 30 h 46"/>
                <a:gd name="T2" fmla="*/ 28 w 45"/>
                <a:gd name="T3" fmla="*/ 27 h 46"/>
                <a:gd name="T4" fmla="*/ 28 w 45"/>
                <a:gd name="T5" fmla="*/ 23 h 46"/>
                <a:gd name="T6" fmla="*/ 31 w 45"/>
                <a:gd name="T7" fmla="*/ 18 h 46"/>
                <a:gd name="T8" fmla="*/ 33 w 45"/>
                <a:gd name="T9" fmla="*/ 15 h 46"/>
                <a:gd name="T10" fmla="*/ 31 w 45"/>
                <a:gd name="T11" fmla="*/ 12 h 46"/>
                <a:gd name="T12" fmla="*/ 32 w 45"/>
                <a:gd name="T13" fmla="*/ 7 h 46"/>
                <a:gd name="T14" fmla="*/ 23 w 45"/>
                <a:gd name="T15" fmla="*/ 0 h 46"/>
                <a:gd name="T16" fmla="*/ 14 w 45"/>
                <a:gd name="T17" fmla="*/ 7 h 46"/>
                <a:gd name="T18" fmla="*/ 14 w 45"/>
                <a:gd name="T19" fmla="*/ 12 h 46"/>
                <a:gd name="T20" fmla="*/ 13 w 45"/>
                <a:gd name="T21" fmla="*/ 15 h 46"/>
                <a:gd name="T22" fmla="*/ 15 w 45"/>
                <a:gd name="T23" fmla="*/ 18 h 46"/>
                <a:gd name="T24" fmla="*/ 17 w 45"/>
                <a:gd name="T25" fmla="*/ 23 h 46"/>
                <a:gd name="T26" fmla="*/ 17 w 45"/>
                <a:gd name="T27" fmla="*/ 27 h 46"/>
                <a:gd name="T28" fmla="*/ 12 w 45"/>
                <a:gd name="T29" fmla="*/ 30 h 46"/>
                <a:gd name="T30" fmla="*/ 1 w 45"/>
                <a:gd name="T31" fmla="*/ 35 h 46"/>
                <a:gd name="T32" fmla="*/ 1 w 45"/>
                <a:gd name="T33" fmla="*/ 46 h 46"/>
                <a:gd name="T34" fmla="*/ 45 w 45"/>
                <a:gd name="T35" fmla="*/ 46 h 46"/>
                <a:gd name="T36" fmla="*/ 44 w 45"/>
                <a:gd name="T37" fmla="*/ 35 h 46"/>
                <a:gd name="T38" fmla="*/ 34 w 45"/>
                <a:gd name="T39"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6">
                  <a:moveTo>
                    <a:pt x="34" y="30"/>
                  </a:moveTo>
                  <a:cubicBezTo>
                    <a:pt x="29" y="28"/>
                    <a:pt x="28" y="27"/>
                    <a:pt x="28" y="27"/>
                  </a:cubicBezTo>
                  <a:cubicBezTo>
                    <a:pt x="28" y="23"/>
                    <a:pt x="28" y="23"/>
                    <a:pt x="28" y="23"/>
                  </a:cubicBezTo>
                  <a:cubicBezTo>
                    <a:pt x="28" y="23"/>
                    <a:pt x="30" y="22"/>
                    <a:pt x="31" y="18"/>
                  </a:cubicBezTo>
                  <a:cubicBezTo>
                    <a:pt x="32" y="18"/>
                    <a:pt x="33" y="16"/>
                    <a:pt x="33" y="15"/>
                  </a:cubicBezTo>
                  <a:cubicBezTo>
                    <a:pt x="33" y="14"/>
                    <a:pt x="33" y="12"/>
                    <a:pt x="31" y="12"/>
                  </a:cubicBezTo>
                  <a:cubicBezTo>
                    <a:pt x="32" y="10"/>
                    <a:pt x="32" y="8"/>
                    <a:pt x="32" y="7"/>
                  </a:cubicBezTo>
                  <a:cubicBezTo>
                    <a:pt x="31" y="4"/>
                    <a:pt x="28" y="0"/>
                    <a:pt x="23" y="0"/>
                  </a:cubicBezTo>
                  <a:cubicBezTo>
                    <a:pt x="18" y="0"/>
                    <a:pt x="14" y="4"/>
                    <a:pt x="14" y="7"/>
                  </a:cubicBezTo>
                  <a:cubicBezTo>
                    <a:pt x="14" y="8"/>
                    <a:pt x="14" y="10"/>
                    <a:pt x="14" y="12"/>
                  </a:cubicBezTo>
                  <a:cubicBezTo>
                    <a:pt x="13" y="12"/>
                    <a:pt x="13" y="14"/>
                    <a:pt x="13" y="15"/>
                  </a:cubicBezTo>
                  <a:cubicBezTo>
                    <a:pt x="13" y="16"/>
                    <a:pt x="14" y="18"/>
                    <a:pt x="15" y="18"/>
                  </a:cubicBezTo>
                  <a:cubicBezTo>
                    <a:pt x="16" y="22"/>
                    <a:pt x="17" y="23"/>
                    <a:pt x="17" y="23"/>
                  </a:cubicBezTo>
                  <a:cubicBezTo>
                    <a:pt x="17" y="27"/>
                    <a:pt x="17" y="27"/>
                    <a:pt x="17" y="27"/>
                  </a:cubicBezTo>
                  <a:cubicBezTo>
                    <a:pt x="17" y="27"/>
                    <a:pt x="16" y="28"/>
                    <a:pt x="12" y="30"/>
                  </a:cubicBezTo>
                  <a:cubicBezTo>
                    <a:pt x="7" y="32"/>
                    <a:pt x="3" y="33"/>
                    <a:pt x="1" y="35"/>
                  </a:cubicBezTo>
                  <a:cubicBezTo>
                    <a:pt x="0" y="37"/>
                    <a:pt x="1" y="46"/>
                    <a:pt x="1" y="46"/>
                  </a:cubicBezTo>
                  <a:cubicBezTo>
                    <a:pt x="45" y="46"/>
                    <a:pt x="45" y="46"/>
                    <a:pt x="45" y="46"/>
                  </a:cubicBezTo>
                  <a:cubicBezTo>
                    <a:pt x="45" y="46"/>
                    <a:pt x="45" y="37"/>
                    <a:pt x="44" y="35"/>
                  </a:cubicBezTo>
                  <a:cubicBezTo>
                    <a:pt x="43" y="33"/>
                    <a:pt x="38" y="32"/>
                    <a:pt x="3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53" name="Freeform 10">
              <a:extLst>
                <a:ext uri="{FF2B5EF4-FFF2-40B4-BE49-F238E27FC236}">
                  <a16:creationId xmlns:a16="http://schemas.microsoft.com/office/drawing/2014/main" id="{FFC4DD58-98CB-477E-8D5C-AA4D63779F5E}"/>
                </a:ext>
              </a:extLst>
            </p:cNvPr>
            <p:cNvSpPr>
              <a:spLocks/>
            </p:cNvSpPr>
            <p:nvPr/>
          </p:nvSpPr>
          <p:spPr bwMode="auto">
            <a:xfrm>
              <a:off x="28" y="0"/>
              <a:ext cx="48" cy="48"/>
            </a:xfrm>
            <a:custGeom>
              <a:avLst/>
              <a:gdLst>
                <a:gd name="T0" fmla="*/ 0 w 48"/>
                <a:gd name="T1" fmla="*/ 0 h 48"/>
                <a:gd name="T2" fmla="*/ 0 w 48"/>
                <a:gd name="T3" fmla="*/ 14 h 48"/>
                <a:gd name="T4" fmla="*/ 4 w 48"/>
                <a:gd name="T5" fmla="*/ 14 h 48"/>
                <a:gd name="T6" fmla="*/ 4 w 48"/>
                <a:gd name="T7" fmla="*/ 5 h 48"/>
                <a:gd name="T8" fmla="*/ 43 w 48"/>
                <a:gd name="T9" fmla="*/ 5 h 48"/>
                <a:gd name="T10" fmla="*/ 43 w 48"/>
                <a:gd name="T11" fmla="*/ 29 h 48"/>
                <a:gd name="T12" fmla="*/ 39 w 48"/>
                <a:gd name="T13" fmla="*/ 29 h 48"/>
                <a:gd name="T14" fmla="*/ 37 w 48"/>
                <a:gd name="T15" fmla="*/ 29 h 48"/>
                <a:gd name="T16" fmla="*/ 36 w 48"/>
                <a:gd name="T17" fmla="*/ 30 h 48"/>
                <a:gd name="T18" fmla="*/ 24 w 48"/>
                <a:gd name="T19" fmla="*/ 38 h 48"/>
                <a:gd name="T20" fmla="*/ 24 w 48"/>
                <a:gd name="T21" fmla="*/ 29 h 48"/>
                <a:gd name="T22" fmla="*/ 19 w 48"/>
                <a:gd name="T23" fmla="*/ 29 h 48"/>
                <a:gd name="T24" fmla="*/ 14 w 48"/>
                <a:gd name="T25" fmla="*/ 29 h 48"/>
                <a:gd name="T26" fmla="*/ 14 w 48"/>
                <a:gd name="T27" fmla="*/ 34 h 48"/>
                <a:gd name="T28" fmla="*/ 19 w 48"/>
                <a:gd name="T29" fmla="*/ 34 h 48"/>
                <a:gd name="T30" fmla="*/ 19 w 48"/>
                <a:gd name="T31" fmla="*/ 48 h 48"/>
                <a:gd name="T32" fmla="*/ 38 w 48"/>
                <a:gd name="T33" fmla="*/ 34 h 48"/>
                <a:gd name="T34" fmla="*/ 48 w 48"/>
                <a:gd name="T35" fmla="*/ 34 h 48"/>
                <a:gd name="T36" fmla="*/ 48 w 48"/>
                <a:gd name="T37" fmla="*/ 0 h 48"/>
                <a:gd name="T38" fmla="*/ 0 w 48"/>
                <a:gd name="T3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48">
                  <a:moveTo>
                    <a:pt x="0" y="0"/>
                  </a:moveTo>
                  <a:lnTo>
                    <a:pt x="0" y="14"/>
                  </a:lnTo>
                  <a:lnTo>
                    <a:pt x="4" y="14"/>
                  </a:lnTo>
                  <a:lnTo>
                    <a:pt x="4" y="5"/>
                  </a:lnTo>
                  <a:lnTo>
                    <a:pt x="43" y="5"/>
                  </a:lnTo>
                  <a:lnTo>
                    <a:pt x="43" y="29"/>
                  </a:lnTo>
                  <a:lnTo>
                    <a:pt x="39" y="29"/>
                  </a:lnTo>
                  <a:lnTo>
                    <a:pt x="37" y="29"/>
                  </a:lnTo>
                  <a:lnTo>
                    <a:pt x="36" y="30"/>
                  </a:lnTo>
                  <a:lnTo>
                    <a:pt x="24" y="38"/>
                  </a:lnTo>
                  <a:lnTo>
                    <a:pt x="24" y="29"/>
                  </a:lnTo>
                  <a:lnTo>
                    <a:pt x="19" y="29"/>
                  </a:lnTo>
                  <a:lnTo>
                    <a:pt x="14" y="29"/>
                  </a:lnTo>
                  <a:lnTo>
                    <a:pt x="14" y="34"/>
                  </a:lnTo>
                  <a:lnTo>
                    <a:pt x="19" y="34"/>
                  </a:lnTo>
                  <a:lnTo>
                    <a:pt x="19" y="48"/>
                  </a:lnTo>
                  <a:lnTo>
                    <a:pt x="38" y="34"/>
                  </a:lnTo>
                  <a:lnTo>
                    <a:pt x="48" y="34"/>
                  </a:lnTo>
                  <a:lnTo>
                    <a:pt x="4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grpSp>
      <p:cxnSp>
        <p:nvCxnSpPr>
          <p:cNvPr id="38" name="Connecteur droit 14">
            <a:extLst>
              <a:ext uri="{FF2B5EF4-FFF2-40B4-BE49-F238E27FC236}">
                <a16:creationId xmlns:a16="http://schemas.microsoft.com/office/drawing/2014/main" id="{70159C8D-B453-4524-A01E-70EBF6B51823}"/>
              </a:ext>
            </a:extLst>
          </p:cNvPr>
          <p:cNvCxnSpPr>
            <a:cxnSpLocks/>
          </p:cNvCxnSpPr>
          <p:nvPr/>
        </p:nvCxnSpPr>
        <p:spPr bwMode="auto">
          <a:xfrm>
            <a:off x="5269269" y="3737597"/>
            <a:ext cx="4320000" cy="0"/>
          </a:xfrm>
          <a:prstGeom prst="line">
            <a:avLst/>
          </a:prstGeom>
          <a:solidFill>
            <a:schemeClr val="accent1"/>
          </a:solidFill>
          <a:ln w="12700" cap="flat" cmpd="sng" algn="ctr">
            <a:solidFill>
              <a:schemeClr val="tx2"/>
            </a:solidFill>
            <a:prstDash val="solid"/>
            <a:round/>
            <a:headEnd type="none" w="med" len="med"/>
            <a:tailEnd type="none" w="med" len="med"/>
          </a:ln>
          <a:effectLst/>
        </p:spPr>
      </p:cxnSp>
      <p:grpSp>
        <p:nvGrpSpPr>
          <p:cNvPr id="39" name="Group 13">
            <a:extLst>
              <a:ext uri="{FF2B5EF4-FFF2-40B4-BE49-F238E27FC236}">
                <a16:creationId xmlns:a16="http://schemas.microsoft.com/office/drawing/2014/main" id="{3821D78D-C7FA-44D0-B310-9BA0AEA9CBC8}"/>
              </a:ext>
            </a:extLst>
          </p:cNvPr>
          <p:cNvGrpSpPr>
            <a:grpSpLocks noChangeAspect="1"/>
          </p:cNvGrpSpPr>
          <p:nvPr/>
        </p:nvGrpSpPr>
        <p:grpSpPr bwMode="auto">
          <a:xfrm>
            <a:off x="5349607" y="3512164"/>
            <a:ext cx="254891" cy="208548"/>
            <a:chOff x="-1" y="7"/>
            <a:chExt cx="77" cy="63"/>
          </a:xfrm>
          <a:solidFill>
            <a:srgbClr val="289B38"/>
          </a:solidFill>
        </p:grpSpPr>
        <p:sp>
          <p:nvSpPr>
            <p:cNvPr id="40" name="Freeform 14">
              <a:extLst>
                <a:ext uri="{FF2B5EF4-FFF2-40B4-BE49-F238E27FC236}">
                  <a16:creationId xmlns:a16="http://schemas.microsoft.com/office/drawing/2014/main" id="{61144DF9-1F73-4963-8A7F-6C1F64D551C9}"/>
                </a:ext>
              </a:extLst>
            </p:cNvPr>
            <p:cNvSpPr>
              <a:spLocks noEditPoints="1"/>
            </p:cNvSpPr>
            <p:nvPr/>
          </p:nvSpPr>
          <p:spPr bwMode="auto">
            <a:xfrm>
              <a:off x="-1" y="7"/>
              <a:ext cx="77" cy="63"/>
            </a:xfrm>
            <a:custGeom>
              <a:avLst/>
              <a:gdLst>
                <a:gd name="T0" fmla="*/ 67 w 77"/>
                <a:gd name="T1" fmla="*/ 10 h 63"/>
                <a:gd name="T2" fmla="*/ 67 w 77"/>
                <a:gd name="T3" fmla="*/ 0 h 63"/>
                <a:gd name="T4" fmla="*/ 0 w 77"/>
                <a:gd name="T5" fmla="*/ 0 h 63"/>
                <a:gd name="T6" fmla="*/ 0 w 77"/>
                <a:gd name="T7" fmla="*/ 53 h 63"/>
                <a:gd name="T8" fmla="*/ 9 w 77"/>
                <a:gd name="T9" fmla="*/ 53 h 63"/>
                <a:gd name="T10" fmla="*/ 9 w 77"/>
                <a:gd name="T11" fmla="*/ 63 h 63"/>
                <a:gd name="T12" fmla="*/ 29 w 77"/>
                <a:gd name="T13" fmla="*/ 63 h 63"/>
                <a:gd name="T14" fmla="*/ 29 w 77"/>
                <a:gd name="T15" fmla="*/ 58 h 63"/>
                <a:gd name="T16" fmla="*/ 33 w 77"/>
                <a:gd name="T17" fmla="*/ 58 h 63"/>
                <a:gd name="T18" fmla="*/ 33 w 77"/>
                <a:gd name="T19" fmla="*/ 63 h 63"/>
                <a:gd name="T20" fmla="*/ 53 w 77"/>
                <a:gd name="T21" fmla="*/ 63 h 63"/>
                <a:gd name="T22" fmla="*/ 53 w 77"/>
                <a:gd name="T23" fmla="*/ 58 h 63"/>
                <a:gd name="T24" fmla="*/ 57 w 77"/>
                <a:gd name="T25" fmla="*/ 58 h 63"/>
                <a:gd name="T26" fmla="*/ 57 w 77"/>
                <a:gd name="T27" fmla="*/ 63 h 63"/>
                <a:gd name="T28" fmla="*/ 77 w 77"/>
                <a:gd name="T29" fmla="*/ 63 h 63"/>
                <a:gd name="T30" fmla="*/ 77 w 77"/>
                <a:gd name="T31" fmla="*/ 10 h 63"/>
                <a:gd name="T32" fmla="*/ 67 w 77"/>
                <a:gd name="T33" fmla="*/ 10 h 63"/>
                <a:gd name="T34" fmla="*/ 9 w 77"/>
                <a:gd name="T35" fmla="*/ 48 h 63"/>
                <a:gd name="T36" fmla="*/ 5 w 77"/>
                <a:gd name="T37" fmla="*/ 48 h 63"/>
                <a:gd name="T38" fmla="*/ 5 w 77"/>
                <a:gd name="T39" fmla="*/ 5 h 63"/>
                <a:gd name="T40" fmla="*/ 62 w 77"/>
                <a:gd name="T41" fmla="*/ 5 h 63"/>
                <a:gd name="T42" fmla="*/ 62 w 77"/>
                <a:gd name="T43" fmla="*/ 10 h 63"/>
                <a:gd name="T44" fmla="*/ 9 w 77"/>
                <a:gd name="T45" fmla="*/ 10 h 63"/>
                <a:gd name="T46" fmla="*/ 9 w 77"/>
                <a:gd name="T47" fmla="*/ 48 h 63"/>
                <a:gd name="T48" fmla="*/ 72 w 77"/>
                <a:gd name="T49" fmla="*/ 58 h 63"/>
                <a:gd name="T50" fmla="*/ 62 w 77"/>
                <a:gd name="T51" fmla="*/ 58 h 63"/>
                <a:gd name="T52" fmla="*/ 62 w 77"/>
                <a:gd name="T53" fmla="*/ 53 h 63"/>
                <a:gd name="T54" fmla="*/ 48 w 77"/>
                <a:gd name="T55" fmla="*/ 53 h 63"/>
                <a:gd name="T56" fmla="*/ 48 w 77"/>
                <a:gd name="T57" fmla="*/ 58 h 63"/>
                <a:gd name="T58" fmla="*/ 38 w 77"/>
                <a:gd name="T59" fmla="*/ 58 h 63"/>
                <a:gd name="T60" fmla="*/ 38 w 77"/>
                <a:gd name="T61" fmla="*/ 53 h 63"/>
                <a:gd name="T62" fmla="*/ 24 w 77"/>
                <a:gd name="T63" fmla="*/ 53 h 63"/>
                <a:gd name="T64" fmla="*/ 24 w 77"/>
                <a:gd name="T65" fmla="*/ 58 h 63"/>
                <a:gd name="T66" fmla="*/ 14 w 77"/>
                <a:gd name="T67" fmla="*/ 58 h 63"/>
                <a:gd name="T68" fmla="*/ 14 w 77"/>
                <a:gd name="T69" fmla="*/ 15 h 63"/>
                <a:gd name="T70" fmla="*/ 72 w 77"/>
                <a:gd name="T71" fmla="*/ 15 h 63"/>
                <a:gd name="T72" fmla="*/ 72 w 77"/>
                <a:gd name="T73" fmla="*/ 5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7" h="63">
                  <a:moveTo>
                    <a:pt x="67" y="10"/>
                  </a:moveTo>
                  <a:lnTo>
                    <a:pt x="67" y="0"/>
                  </a:lnTo>
                  <a:lnTo>
                    <a:pt x="0" y="0"/>
                  </a:lnTo>
                  <a:lnTo>
                    <a:pt x="0" y="53"/>
                  </a:lnTo>
                  <a:lnTo>
                    <a:pt x="9" y="53"/>
                  </a:lnTo>
                  <a:lnTo>
                    <a:pt x="9" y="63"/>
                  </a:lnTo>
                  <a:lnTo>
                    <a:pt x="29" y="63"/>
                  </a:lnTo>
                  <a:lnTo>
                    <a:pt x="29" y="58"/>
                  </a:lnTo>
                  <a:lnTo>
                    <a:pt x="33" y="58"/>
                  </a:lnTo>
                  <a:lnTo>
                    <a:pt x="33" y="63"/>
                  </a:lnTo>
                  <a:lnTo>
                    <a:pt x="53" y="63"/>
                  </a:lnTo>
                  <a:lnTo>
                    <a:pt x="53" y="58"/>
                  </a:lnTo>
                  <a:lnTo>
                    <a:pt x="57" y="58"/>
                  </a:lnTo>
                  <a:lnTo>
                    <a:pt x="57" y="63"/>
                  </a:lnTo>
                  <a:lnTo>
                    <a:pt x="77" y="63"/>
                  </a:lnTo>
                  <a:lnTo>
                    <a:pt x="77" y="10"/>
                  </a:lnTo>
                  <a:lnTo>
                    <a:pt x="67" y="10"/>
                  </a:lnTo>
                  <a:close/>
                  <a:moveTo>
                    <a:pt x="9" y="48"/>
                  </a:moveTo>
                  <a:lnTo>
                    <a:pt x="5" y="48"/>
                  </a:lnTo>
                  <a:lnTo>
                    <a:pt x="5" y="5"/>
                  </a:lnTo>
                  <a:lnTo>
                    <a:pt x="62" y="5"/>
                  </a:lnTo>
                  <a:lnTo>
                    <a:pt x="62" y="10"/>
                  </a:lnTo>
                  <a:lnTo>
                    <a:pt x="9" y="10"/>
                  </a:lnTo>
                  <a:lnTo>
                    <a:pt x="9" y="48"/>
                  </a:lnTo>
                  <a:close/>
                  <a:moveTo>
                    <a:pt x="72" y="58"/>
                  </a:moveTo>
                  <a:lnTo>
                    <a:pt x="62" y="58"/>
                  </a:lnTo>
                  <a:lnTo>
                    <a:pt x="62" y="53"/>
                  </a:lnTo>
                  <a:lnTo>
                    <a:pt x="48" y="53"/>
                  </a:lnTo>
                  <a:lnTo>
                    <a:pt x="48" y="58"/>
                  </a:lnTo>
                  <a:lnTo>
                    <a:pt x="38" y="58"/>
                  </a:lnTo>
                  <a:lnTo>
                    <a:pt x="38" y="53"/>
                  </a:lnTo>
                  <a:lnTo>
                    <a:pt x="24" y="53"/>
                  </a:lnTo>
                  <a:lnTo>
                    <a:pt x="24" y="58"/>
                  </a:lnTo>
                  <a:lnTo>
                    <a:pt x="14" y="58"/>
                  </a:lnTo>
                  <a:lnTo>
                    <a:pt x="14" y="15"/>
                  </a:lnTo>
                  <a:lnTo>
                    <a:pt x="72" y="15"/>
                  </a:lnTo>
                  <a:lnTo>
                    <a:pt x="7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42" name="Rectangle 15">
              <a:extLst>
                <a:ext uri="{FF2B5EF4-FFF2-40B4-BE49-F238E27FC236}">
                  <a16:creationId xmlns:a16="http://schemas.microsoft.com/office/drawing/2014/main" id="{04A5D62A-4442-464A-BD3D-E843A21238EE}"/>
                </a:ext>
              </a:extLst>
            </p:cNvPr>
            <p:cNvSpPr>
              <a:spLocks noChangeArrowheads="1"/>
            </p:cNvSpPr>
            <p:nvPr/>
          </p:nvSpPr>
          <p:spPr bwMode="auto">
            <a:xfrm>
              <a:off x="18" y="31"/>
              <a:ext cx="1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45" name="Rectangle 16">
              <a:extLst>
                <a:ext uri="{FF2B5EF4-FFF2-40B4-BE49-F238E27FC236}">
                  <a16:creationId xmlns:a16="http://schemas.microsoft.com/office/drawing/2014/main" id="{8BFED6BF-B339-4158-8364-561471B79CD0}"/>
                </a:ext>
              </a:extLst>
            </p:cNvPr>
            <p:cNvSpPr>
              <a:spLocks noChangeArrowheads="1"/>
            </p:cNvSpPr>
            <p:nvPr/>
          </p:nvSpPr>
          <p:spPr bwMode="auto">
            <a:xfrm>
              <a:off x="42" y="31"/>
              <a:ext cx="19" cy="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54" name="Rectangle 17">
              <a:extLst>
                <a:ext uri="{FF2B5EF4-FFF2-40B4-BE49-F238E27FC236}">
                  <a16:creationId xmlns:a16="http://schemas.microsoft.com/office/drawing/2014/main" id="{BC99B4F1-4ACF-45DD-9AF1-F147B43A86F6}"/>
                </a:ext>
              </a:extLst>
            </p:cNvPr>
            <p:cNvSpPr>
              <a:spLocks noChangeArrowheads="1"/>
            </p:cNvSpPr>
            <p:nvPr/>
          </p:nvSpPr>
          <p:spPr bwMode="auto">
            <a:xfrm>
              <a:off x="42" y="41"/>
              <a:ext cx="14" cy="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grpSp>
      <p:sp>
        <p:nvSpPr>
          <p:cNvPr id="55" name="ZoneTexte 16">
            <a:extLst>
              <a:ext uri="{FF2B5EF4-FFF2-40B4-BE49-F238E27FC236}">
                <a16:creationId xmlns:a16="http://schemas.microsoft.com/office/drawing/2014/main" id="{F36697AB-7CD2-45AD-B318-B7A1571D0A99}"/>
              </a:ext>
            </a:extLst>
          </p:cNvPr>
          <p:cNvSpPr txBox="1"/>
          <p:nvPr/>
        </p:nvSpPr>
        <p:spPr>
          <a:xfrm>
            <a:off x="5874249" y="3498555"/>
            <a:ext cx="3110041" cy="276999"/>
          </a:xfrm>
          <a:prstGeom prst="rect">
            <a:avLst/>
          </a:prstGeom>
          <a:noFill/>
        </p:spPr>
        <p:txBody>
          <a:bodyPr wrap="square" rtlCol="0">
            <a:spAutoFit/>
          </a:bodyPr>
          <a:lstStyle/>
          <a:p>
            <a:pPr lvl="0" algn="ctr">
              <a:defRPr/>
            </a:pPr>
            <a:r>
              <a:rPr lang="en-GB" sz="1200" b="1">
                <a:solidFill>
                  <a:schemeClr val="tx2"/>
                </a:solidFill>
                <a:latin typeface="Trebuchet MS" panose="020B0603020202020204" pitchFamily="34" charset="0"/>
              </a:rPr>
              <a:t>Industry reports</a:t>
            </a:r>
          </a:p>
        </p:txBody>
      </p:sp>
      <p:sp>
        <p:nvSpPr>
          <p:cNvPr id="56" name="ZoneTexte 28">
            <a:extLst>
              <a:ext uri="{FF2B5EF4-FFF2-40B4-BE49-F238E27FC236}">
                <a16:creationId xmlns:a16="http://schemas.microsoft.com/office/drawing/2014/main" id="{9000A707-3E4D-4067-925E-59EAB5500820}"/>
              </a:ext>
            </a:extLst>
          </p:cNvPr>
          <p:cNvSpPr txBox="1"/>
          <p:nvPr/>
        </p:nvSpPr>
        <p:spPr>
          <a:xfrm>
            <a:off x="5201637" y="3754195"/>
            <a:ext cx="4779021" cy="2800767"/>
          </a:xfrm>
          <a:prstGeom prst="rect">
            <a:avLst/>
          </a:prstGeom>
          <a:noFill/>
        </p:spPr>
        <p:txBody>
          <a:bodyPr wrap="square" lIns="91440" rIns="0" rtlCol="0" anchor="t">
            <a:spAutoFit/>
          </a:bodyPr>
          <a:lstStyle/>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Thomson Reuters: Cost of Compliance 2019: 10 years of regulatory change, by S. English and S. Hammond </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FERMA European Risk Manager Report (2020)</a:t>
            </a:r>
          </a:p>
          <a:p>
            <a:pPr marL="171450" indent="-171450">
              <a:spcBef>
                <a:spcPts val="600"/>
              </a:spcBef>
              <a:spcAft>
                <a:spcPts val="0"/>
              </a:spcAft>
              <a:buClr>
                <a:schemeClr val="tx2"/>
              </a:buClr>
              <a:buSzPct val="150000"/>
              <a:buFont typeface="Wingdings" panose="05000000000000000000" pitchFamily="2" charset="2"/>
              <a:buChar char="ü"/>
              <a:defRPr/>
            </a:pPr>
            <a:r>
              <a:rPr lang="en-GB" sz="900" err="1">
                <a:solidFill>
                  <a:srgbClr val="6C6C6C"/>
                </a:solidFill>
                <a:latin typeface="Trebuchet MS" panose="020B0603020202020204" pitchFamily="34" charset="0"/>
                <a:cs typeface="Arial"/>
              </a:rPr>
              <a:t>Pwc</a:t>
            </a:r>
            <a:r>
              <a:rPr lang="en-GB" sz="900">
                <a:solidFill>
                  <a:srgbClr val="6C6C6C"/>
                </a:solidFill>
                <a:latin typeface="Trebuchet MS" panose="020B0603020202020204" pitchFamily="34" charset="0"/>
                <a:cs typeface="Arial"/>
              </a:rPr>
              <a:t>: Le </a:t>
            </a:r>
            <a:r>
              <a:rPr lang="en-GB" sz="900" err="1">
                <a:solidFill>
                  <a:srgbClr val="6C6C6C"/>
                </a:solidFill>
                <a:latin typeface="Trebuchet MS" panose="020B0603020202020204" pitchFamily="34" charset="0"/>
                <a:cs typeface="Arial"/>
              </a:rPr>
              <a:t>Baromètre</a:t>
            </a:r>
            <a:r>
              <a:rPr lang="en-GB" sz="900">
                <a:solidFill>
                  <a:srgbClr val="6C6C6C"/>
                </a:solidFill>
                <a:latin typeface="Trebuchet MS" panose="020B0603020202020204" pitchFamily="34" charset="0"/>
                <a:cs typeface="Arial"/>
              </a:rPr>
              <a:t> du risk manager (2019)</a:t>
            </a:r>
          </a:p>
          <a:p>
            <a:pPr marL="171450" indent="-171450">
              <a:spcBef>
                <a:spcPts val="600"/>
              </a:spcBef>
              <a:spcAft>
                <a:spcPts val="0"/>
              </a:spcAft>
              <a:buClr>
                <a:schemeClr val="tx2"/>
              </a:buClr>
              <a:buSzPct val="150000"/>
              <a:buFont typeface="Wingdings" panose="05000000000000000000" pitchFamily="2" charset="2"/>
              <a:buChar char="ü"/>
              <a:defRPr/>
            </a:pPr>
            <a:r>
              <a:rPr lang="en-GB" sz="900" err="1">
                <a:solidFill>
                  <a:srgbClr val="6C6C6C"/>
                </a:solidFill>
                <a:latin typeface="Trebuchet MS" panose="020B0603020202020204" pitchFamily="34" charset="0"/>
                <a:cs typeface="Arial"/>
              </a:rPr>
              <a:t>Xerfi</a:t>
            </a:r>
            <a:r>
              <a:rPr lang="en-GB" sz="900">
                <a:solidFill>
                  <a:srgbClr val="6C6C6C"/>
                </a:solidFill>
                <a:latin typeface="Trebuchet MS" panose="020B0603020202020204" pitchFamily="34" charset="0"/>
                <a:cs typeface="Arial"/>
              </a:rPr>
              <a:t> studies: Les services de gestion du </a:t>
            </a:r>
            <a:r>
              <a:rPr lang="en-GB" sz="900" err="1">
                <a:solidFill>
                  <a:srgbClr val="6C6C6C"/>
                </a:solidFill>
                <a:latin typeface="Trebuchet MS" panose="020B0603020202020204" pitchFamily="34" charset="0"/>
                <a:cs typeface="Arial"/>
              </a:rPr>
              <a:t>compte</a:t>
            </a:r>
            <a:r>
              <a:rPr lang="en-GB" sz="900">
                <a:solidFill>
                  <a:srgbClr val="6C6C6C"/>
                </a:solidFill>
                <a:latin typeface="Trebuchet MS" panose="020B0603020202020204" pitchFamily="34" charset="0"/>
                <a:cs typeface="Arial"/>
              </a:rPr>
              <a:t> clients à </a:t>
            </a:r>
            <a:r>
              <a:rPr lang="en-GB" sz="900" err="1">
                <a:solidFill>
                  <a:srgbClr val="6C6C6C"/>
                </a:solidFill>
                <a:latin typeface="Trebuchet MS" panose="020B0603020202020204" pitchFamily="34" charset="0"/>
                <a:cs typeface="Arial"/>
              </a:rPr>
              <a:t>l’horizon</a:t>
            </a:r>
            <a:r>
              <a:rPr lang="en-GB" sz="900">
                <a:solidFill>
                  <a:srgbClr val="6C6C6C"/>
                </a:solidFill>
                <a:latin typeface="Trebuchet MS" panose="020B0603020202020204" pitchFamily="34" charset="0"/>
                <a:cs typeface="Arial"/>
              </a:rPr>
              <a:t> 2020 (2018)</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DC: European Data Market (2017)</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dustrial Marketing Management, by H. </a:t>
            </a:r>
            <a:r>
              <a:rPr lang="en-GB" sz="900" err="1">
                <a:solidFill>
                  <a:srgbClr val="6C6C6C"/>
                </a:solidFill>
                <a:latin typeface="Trebuchet MS" panose="020B0603020202020204" pitchFamily="34" charset="0"/>
                <a:cs typeface="Arial"/>
              </a:rPr>
              <a:t>Hallikainen</a:t>
            </a:r>
            <a:r>
              <a:rPr lang="en-GB" sz="900">
                <a:solidFill>
                  <a:srgbClr val="6C6C6C"/>
                </a:solidFill>
                <a:latin typeface="Trebuchet MS" panose="020B0603020202020204" pitchFamily="34" charset="0"/>
                <a:cs typeface="Arial"/>
              </a:rPr>
              <a:t>, E. </a:t>
            </a:r>
            <a:r>
              <a:rPr lang="en-GB" sz="900" err="1">
                <a:solidFill>
                  <a:srgbClr val="6C6C6C"/>
                </a:solidFill>
                <a:latin typeface="Trebuchet MS" panose="020B0603020202020204" pitchFamily="34" charset="0"/>
                <a:cs typeface="Arial"/>
              </a:rPr>
              <a:t>Savimäki</a:t>
            </a:r>
            <a:r>
              <a:rPr lang="en-GB" sz="900">
                <a:solidFill>
                  <a:srgbClr val="6C6C6C"/>
                </a:solidFill>
                <a:latin typeface="Trebuchet MS" panose="020B0603020202020204" pitchFamily="34" charset="0"/>
                <a:cs typeface="Arial"/>
              </a:rPr>
              <a:t> and T. Laukkanen (2019)</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Euler Hermes: Covid-19 to increase firms’ liquidity needs to a record USD8TN as payment delays and inventories surge (2020)</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OFCE: </a:t>
            </a:r>
            <a:r>
              <a:rPr lang="en-GB" sz="900" err="1">
                <a:solidFill>
                  <a:srgbClr val="6C6C6C"/>
                </a:solidFill>
                <a:latin typeface="Trebuchet MS" panose="020B0603020202020204" pitchFamily="34" charset="0"/>
                <a:cs typeface="Arial"/>
              </a:rPr>
              <a:t>Dynamique</a:t>
            </a:r>
            <a:r>
              <a:rPr lang="en-GB" sz="900">
                <a:solidFill>
                  <a:srgbClr val="6C6C6C"/>
                </a:solidFill>
                <a:latin typeface="Trebuchet MS" panose="020B0603020202020204" pitchFamily="34" charset="0"/>
                <a:cs typeface="Arial"/>
              </a:rPr>
              <a:t> des </a:t>
            </a:r>
            <a:r>
              <a:rPr lang="en-GB" sz="900" err="1">
                <a:solidFill>
                  <a:srgbClr val="6C6C6C"/>
                </a:solidFill>
                <a:latin typeface="Trebuchet MS" panose="020B0603020202020204" pitchFamily="34" charset="0"/>
                <a:cs typeface="Arial"/>
              </a:rPr>
              <a:t>défaillances</a:t>
            </a:r>
            <a:r>
              <a:rPr lang="en-GB" sz="900">
                <a:solidFill>
                  <a:srgbClr val="6C6C6C"/>
                </a:solidFill>
                <a:latin typeface="Trebuchet MS" panose="020B0603020202020204" pitchFamily="34" charset="0"/>
                <a:cs typeface="Arial"/>
              </a:rPr>
              <a:t> </a:t>
            </a:r>
            <a:r>
              <a:rPr lang="en-GB" sz="900" err="1">
                <a:solidFill>
                  <a:srgbClr val="6C6C6C"/>
                </a:solidFill>
                <a:latin typeface="Trebuchet MS" panose="020B0603020202020204" pitchFamily="34" charset="0"/>
                <a:cs typeface="Arial"/>
              </a:rPr>
              <a:t>d’entreprises</a:t>
            </a:r>
            <a:r>
              <a:rPr lang="en-GB" sz="900">
                <a:solidFill>
                  <a:srgbClr val="6C6C6C"/>
                </a:solidFill>
                <a:latin typeface="Trebuchet MS" panose="020B0603020202020204" pitchFamily="34" charset="0"/>
                <a:cs typeface="Arial"/>
              </a:rPr>
              <a:t> </a:t>
            </a:r>
            <a:r>
              <a:rPr lang="en-GB" sz="900" err="1">
                <a:solidFill>
                  <a:srgbClr val="6C6C6C"/>
                </a:solidFill>
                <a:latin typeface="Trebuchet MS" panose="020B0603020202020204" pitchFamily="34" charset="0"/>
                <a:cs typeface="Arial"/>
              </a:rPr>
              <a:t>en</a:t>
            </a:r>
            <a:r>
              <a:rPr lang="en-GB" sz="900">
                <a:solidFill>
                  <a:srgbClr val="6C6C6C"/>
                </a:solidFill>
                <a:latin typeface="Trebuchet MS" panose="020B0603020202020204" pitchFamily="34" charset="0"/>
                <a:cs typeface="Arial"/>
              </a:rPr>
              <a:t> France et crise Covid-19 (2020)</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Banque de France, </a:t>
            </a:r>
            <a:r>
              <a:rPr lang="en-GB" sz="900" err="1">
                <a:solidFill>
                  <a:srgbClr val="6C6C6C"/>
                </a:solidFill>
                <a:latin typeface="Trebuchet MS" panose="020B0603020202020204" pitchFamily="34" charset="0"/>
                <a:cs typeface="Arial"/>
              </a:rPr>
              <a:t>Observatoire</a:t>
            </a:r>
            <a:r>
              <a:rPr lang="en-GB" sz="900">
                <a:solidFill>
                  <a:srgbClr val="6C6C6C"/>
                </a:solidFill>
                <a:latin typeface="Trebuchet MS" panose="020B0603020202020204" pitchFamily="34" charset="0"/>
                <a:cs typeface="Arial"/>
              </a:rPr>
              <a:t> des </a:t>
            </a:r>
            <a:r>
              <a:rPr lang="en-GB" sz="900" err="1">
                <a:solidFill>
                  <a:srgbClr val="6C6C6C"/>
                </a:solidFill>
                <a:latin typeface="Trebuchet MS" panose="020B0603020202020204" pitchFamily="34" charset="0"/>
                <a:cs typeface="Arial"/>
              </a:rPr>
              <a:t>délais</a:t>
            </a:r>
            <a:r>
              <a:rPr lang="en-GB" sz="900">
                <a:solidFill>
                  <a:srgbClr val="6C6C6C"/>
                </a:solidFill>
                <a:latin typeface="Trebuchet MS" panose="020B0603020202020204" pitchFamily="34" charset="0"/>
                <a:cs typeface="Arial"/>
              </a:rPr>
              <a:t> de </a:t>
            </a:r>
            <a:r>
              <a:rPr lang="en-GB" sz="900" err="1">
                <a:solidFill>
                  <a:srgbClr val="6C6C6C"/>
                </a:solidFill>
                <a:latin typeface="Trebuchet MS" panose="020B0603020202020204" pitchFamily="34" charset="0"/>
                <a:cs typeface="Arial"/>
              </a:rPr>
              <a:t>paiement</a:t>
            </a:r>
            <a:r>
              <a:rPr lang="en-GB" sz="900">
                <a:solidFill>
                  <a:srgbClr val="6C6C6C"/>
                </a:solidFill>
                <a:latin typeface="Trebuchet MS" panose="020B0603020202020204" pitchFamily="34" charset="0"/>
                <a:cs typeface="Arial"/>
              </a:rPr>
              <a:t> (2018.2020)</a:t>
            </a:r>
          </a:p>
          <a:p>
            <a:pPr marL="171450" indent="-171450">
              <a:spcBef>
                <a:spcPts val="600"/>
              </a:spcBef>
              <a:spcAft>
                <a:spcPts val="0"/>
              </a:spcAft>
              <a:buClr>
                <a:schemeClr val="tx2"/>
              </a:buClr>
              <a:buSzPct val="150000"/>
              <a:buFont typeface="Wingdings" panose="05000000000000000000" pitchFamily="2" charset="2"/>
              <a:buChar char="ü"/>
              <a:defRPr/>
            </a:pPr>
            <a:r>
              <a:rPr lang="en-GB" sz="900" err="1">
                <a:solidFill>
                  <a:srgbClr val="6C6C6C"/>
                </a:solidFill>
                <a:latin typeface="Trebuchet MS" panose="020B0603020202020204" pitchFamily="34" charset="0"/>
                <a:cs typeface="Arial"/>
              </a:rPr>
              <a:t>Ministère</a:t>
            </a:r>
            <a:r>
              <a:rPr lang="en-GB" sz="900">
                <a:solidFill>
                  <a:srgbClr val="6C6C6C"/>
                </a:solidFill>
                <a:latin typeface="Trebuchet MS" panose="020B0603020202020204" pitchFamily="34" charset="0"/>
                <a:cs typeface="Arial"/>
              </a:rPr>
              <a:t> de </a:t>
            </a:r>
            <a:r>
              <a:rPr lang="en-GB" sz="900" err="1">
                <a:solidFill>
                  <a:srgbClr val="6C6C6C"/>
                </a:solidFill>
                <a:latin typeface="Trebuchet MS" panose="020B0603020202020204" pitchFamily="34" charset="0"/>
                <a:cs typeface="Arial"/>
              </a:rPr>
              <a:t>l’économie</a:t>
            </a:r>
            <a:r>
              <a:rPr lang="en-GB" sz="900">
                <a:solidFill>
                  <a:srgbClr val="6C6C6C"/>
                </a:solidFill>
                <a:latin typeface="Trebuchet MS" panose="020B0603020202020204" pitchFamily="34" charset="0"/>
                <a:cs typeface="Arial"/>
              </a:rPr>
              <a:t> et des finances, Communiqué de </a:t>
            </a:r>
            <a:r>
              <a:rPr lang="en-GB" sz="900" err="1">
                <a:solidFill>
                  <a:srgbClr val="6C6C6C"/>
                </a:solidFill>
                <a:latin typeface="Trebuchet MS" panose="020B0603020202020204" pitchFamily="34" charset="0"/>
                <a:cs typeface="Arial"/>
              </a:rPr>
              <a:t>presse</a:t>
            </a:r>
            <a:r>
              <a:rPr lang="en-GB" sz="900">
                <a:solidFill>
                  <a:srgbClr val="6C6C6C"/>
                </a:solidFill>
                <a:latin typeface="Trebuchet MS" panose="020B0603020202020204" pitchFamily="34" charset="0"/>
                <a:cs typeface="Arial"/>
              </a:rPr>
              <a:t> (2020)</a:t>
            </a:r>
          </a:p>
          <a:p>
            <a:pPr marL="171450" indent="-171450">
              <a:spcBef>
                <a:spcPts val="600"/>
              </a:spcBef>
              <a:spcAft>
                <a:spcPts val="0"/>
              </a:spcAft>
              <a:buClr>
                <a:schemeClr val="tx2"/>
              </a:buClr>
              <a:buSzPct val="150000"/>
              <a:buFont typeface="Wingdings" panose="05000000000000000000" pitchFamily="2" charset="2"/>
              <a:buChar char="ü"/>
              <a:defRPr/>
            </a:pPr>
            <a:r>
              <a:rPr lang="en-GB" sz="900" err="1">
                <a:solidFill>
                  <a:srgbClr val="6C6C6C"/>
                </a:solidFill>
                <a:latin typeface="Trebuchet MS" panose="020B0603020202020204" pitchFamily="34" charset="0"/>
                <a:cs typeface="Arial"/>
              </a:rPr>
              <a:t>Ministère</a:t>
            </a:r>
            <a:r>
              <a:rPr lang="en-GB" sz="900">
                <a:solidFill>
                  <a:srgbClr val="6C6C6C"/>
                </a:solidFill>
                <a:latin typeface="Trebuchet MS" panose="020B0603020202020204" pitchFamily="34" charset="0"/>
                <a:cs typeface="Arial"/>
              </a:rPr>
              <a:t> de </a:t>
            </a:r>
            <a:r>
              <a:rPr lang="en-GB" sz="900" err="1">
                <a:solidFill>
                  <a:srgbClr val="6C6C6C"/>
                </a:solidFill>
                <a:latin typeface="Trebuchet MS" panose="020B0603020202020204" pitchFamily="34" charset="0"/>
                <a:cs typeface="Arial"/>
              </a:rPr>
              <a:t>l’Europe</a:t>
            </a:r>
            <a:r>
              <a:rPr lang="en-GB" sz="900">
                <a:solidFill>
                  <a:srgbClr val="6C6C6C"/>
                </a:solidFill>
                <a:latin typeface="Trebuchet MS" panose="020B0603020202020204" pitchFamily="34" charset="0"/>
                <a:cs typeface="Arial"/>
              </a:rPr>
              <a:t> et des Affaires </a:t>
            </a:r>
            <a:r>
              <a:rPr lang="en-GB" sz="900" err="1">
                <a:solidFill>
                  <a:srgbClr val="6C6C6C"/>
                </a:solidFill>
                <a:latin typeface="Trebuchet MS" panose="020B0603020202020204" pitchFamily="34" charset="0"/>
                <a:cs typeface="Arial"/>
              </a:rPr>
              <a:t>étrangères</a:t>
            </a:r>
            <a:r>
              <a:rPr lang="en-GB" sz="900">
                <a:solidFill>
                  <a:srgbClr val="6C6C6C"/>
                </a:solidFill>
                <a:latin typeface="Trebuchet MS" panose="020B0603020202020204" pitchFamily="34" charset="0"/>
                <a:cs typeface="Arial"/>
              </a:rPr>
              <a:t>, rapport (2020)</a:t>
            </a:r>
          </a:p>
        </p:txBody>
      </p:sp>
      <p:sp>
        <p:nvSpPr>
          <p:cNvPr id="43" name="ZoneTexte 42">
            <a:extLst>
              <a:ext uri="{FF2B5EF4-FFF2-40B4-BE49-F238E27FC236}">
                <a16:creationId xmlns:a16="http://schemas.microsoft.com/office/drawing/2014/main" id="{FFD9C8AA-74A1-4E3D-B25E-7B6F6DDFE9AC}"/>
              </a:ext>
            </a:extLst>
          </p:cNvPr>
          <p:cNvSpPr txBox="1"/>
          <p:nvPr/>
        </p:nvSpPr>
        <p:spPr>
          <a:xfrm>
            <a:off x="5192928" y="1081624"/>
            <a:ext cx="1175476" cy="215444"/>
          </a:xfrm>
          <a:prstGeom prst="rect">
            <a:avLst/>
          </a:prstGeom>
          <a:noFill/>
        </p:spPr>
        <p:txBody>
          <a:bodyPr wrap="square">
            <a:spAutoFit/>
          </a:bodyPr>
          <a:lstStyle/>
          <a:p>
            <a:pPr marL="0" marR="0" lvl="0" indent="0" algn="l" defTabSz="360363" rtl="0" eaLnBrk="1" fontAlgn="base" latinLnBrk="0" hangingPunct="1">
              <a:lnSpc>
                <a:spcPct val="100000"/>
              </a:lnSpc>
              <a:spcBef>
                <a:spcPts val="400"/>
              </a:spcBef>
              <a:spcAft>
                <a:spcPts val="0"/>
              </a:spcAft>
              <a:buClr>
                <a:srgbClr val="289B38"/>
              </a:buClr>
              <a:buSzPct val="150000"/>
              <a:buFontTx/>
              <a:buNone/>
              <a:tabLst/>
              <a:defRPr/>
            </a:pPr>
            <a:r>
              <a:rPr kumimoji="0" lang="en-GB" sz="8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a:rPr>
              <a:t>Europe</a:t>
            </a:r>
          </a:p>
        </p:txBody>
      </p:sp>
      <p:sp>
        <p:nvSpPr>
          <p:cNvPr id="44" name="ZoneTexte 43">
            <a:extLst>
              <a:ext uri="{FF2B5EF4-FFF2-40B4-BE49-F238E27FC236}">
                <a16:creationId xmlns:a16="http://schemas.microsoft.com/office/drawing/2014/main" id="{CC56505C-CEAA-45B5-AF98-0EE86E43670D}"/>
              </a:ext>
            </a:extLst>
          </p:cNvPr>
          <p:cNvSpPr txBox="1"/>
          <p:nvPr/>
        </p:nvSpPr>
        <p:spPr>
          <a:xfrm>
            <a:off x="5192928" y="1441093"/>
            <a:ext cx="1175476" cy="215444"/>
          </a:xfrm>
          <a:prstGeom prst="rect">
            <a:avLst/>
          </a:prstGeom>
          <a:noFill/>
        </p:spPr>
        <p:txBody>
          <a:bodyPr wrap="square">
            <a:spAutoFit/>
          </a:bodyPr>
          <a:lstStyle/>
          <a:p>
            <a:pPr marL="0" marR="0" lvl="0" indent="0" algn="l" defTabSz="360363" rtl="0" eaLnBrk="1" fontAlgn="base" latinLnBrk="0" hangingPunct="1">
              <a:lnSpc>
                <a:spcPct val="100000"/>
              </a:lnSpc>
              <a:spcBef>
                <a:spcPts val="400"/>
              </a:spcBef>
              <a:spcAft>
                <a:spcPts val="0"/>
              </a:spcAft>
              <a:buClr>
                <a:srgbClr val="289B38"/>
              </a:buClr>
              <a:buSzPct val="150000"/>
              <a:buFontTx/>
              <a:buNone/>
              <a:tabLst/>
              <a:defRPr/>
            </a:pPr>
            <a:r>
              <a:rPr kumimoji="0" lang="en-GB" sz="8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a:rPr>
              <a:t>Benelux</a:t>
            </a:r>
          </a:p>
        </p:txBody>
      </p:sp>
      <p:sp>
        <p:nvSpPr>
          <p:cNvPr id="48" name="ZoneTexte 47">
            <a:extLst>
              <a:ext uri="{FF2B5EF4-FFF2-40B4-BE49-F238E27FC236}">
                <a16:creationId xmlns:a16="http://schemas.microsoft.com/office/drawing/2014/main" id="{77D67BC6-F051-459C-B093-C60824A83DD6}"/>
              </a:ext>
            </a:extLst>
          </p:cNvPr>
          <p:cNvSpPr txBox="1"/>
          <p:nvPr/>
        </p:nvSpPr>
        <p:spPr>
          <a:xfrm>
            <a:off x="5192929" y="2157676"/>
            <a:ext cx="1083018" cy="215444"/>
          </a:xfrm>
          <a:prstGeom prst="rect">
            <a:avLst/>
          </a:prstGeom>
          <a:noFill/>
        </p:spPr>
        <p:txBody>
          <a:bodyPr wrap="square">
            <a:spAutoFit/>
          </a:bodyPr>
          <a:lstStyle/>
          <a:p>
            <a:pPr marL="0" marR="0" lvl="0" indent="0" algn="l" defTabSz="360363" rtl="0" eaLnBrk="1" fontAlgn="base" latinLnBrk="0" hangingPunct="1">
              <a:lnSpc>
                <a:spcPct val="100000"/>
              </a:lnSpc>
              <a:spcBef>
                <a:spcPts val="400"/>
              </a:spcBef>
              <a:spcAft>
                <a:spcPts val="0"/>
              </a:spcAft>
              <a:buClr>
                <a:srgbClr val="289B38"/>
              </a:buClr>
              <a:buSzPct val="150000"/>
              <a:buFontTx/>
              <a:buNone/>
              <a:tabLst/>
              <a:defRPr/>
            </a:pPr>
            <a:r>
              <a:rPr lang="en-GB" sz="800" b="1" i="1">
                <a:solidFill>
                  <a:srgbClr val="6C6C6C"/>
                </a:solidFill>
                <a:latin typeface="Trebuchet MS" panose="020B0603020202020204" pitchFamily="34" charset="0"/>
                <a:cs typeface="Arial"/>
              </a:rPr>
              <a:t>French</a:t>
            </a:r>
            <a:endParaRPr kumimoji="0" lang="en-GB" sz="8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a:endParaRPr>
          </a:p>
        </p:txBody>
      </p:sp>
      <p:grpSp>
        <p:nvGrpSpPr>
          <p:cNvPr id="57" name="Group 8">
            <a:extLst>
              <a:ext uri="{FF2B5EF4-FFF2-40B4-BE49-F238E27FC236}">
                <a16:creationId xmlns:a16="http://schemas.microsoft.com/office/drawing/2014/main" id="{3A55D1CB-D693-454C-817A-168875FEE207}"/>
              </a:ext>
            </a:extLst>
          </p:cNvPr>
          <p:cNvGrpSpPr>
            <a:grpSpLocks noChangeAspect="1"/>
          </p:cNvGrpSpPr>
          <p:nvPr/>
        </p:nvGrpSpPr>
        <p:grpSpPr bwMode="auto">
          <a:xfrm>
            <a:off x="5365740" y="2759765"/>
            <a:ext cx="216001" cy="216000"/>
            <a:chOff x="-1" y="0"/>
            <a:chExt cx="77" cy="77"/>
          </a:xfrm>
          <a:solidFill>
            <a:srgbClr val="289B38"/>
          </a:solidFill>
        </p:grpSpPr>
        <p:sp>
          <p:nvSpPr>
            <p:cNvPr id="58" name="Freeform 9">
              <a:extLst>
                <a:ext uri="{FF2B5EF4-FFF2-40B4-BE49-F238E27FC236}">
                  <a16:creationId xmlns:a16="http://schemas.microsoft.com/office/drawing/2014/main" id="{93C91ECD-4128-4914-9D58-2A0F7117DC07}"/>
                </a:ext>
              </a:extLst>
            </p:cNvPr>
            <p:cNvSpPr>
              <a:spLocks/>
            </p:cNvSpPr>
            <p:nvPr/>
          </p:nvSpPr>
          <p:spPr bwMode="auto">
            <a:xfrm>
              <a:off x="-1" y="22"/>
              <a:ext cx="54" cy="55"/>
            </a:xfrm>
            <a:custGeom>
              <a:avLst/>
              <a:gdLst>
                <a:gd name="T0" fmla="*/ 34 w 45"/>
                <a:gd name="T1" fmla="*/ 30 h 46"/>
                <a:gd name="T2" fmla="*/ 28 w 45"/>
                <a:gd name="T3" fmla="*/ 27 h 46"/>
                <a:gd name="T4" fmla="*/ 28 w 45"/>
                <a:gd name="T5" fmla="*/ 23 h 46"/>
                <a:gd name="T6" fmla="*/ 31 w 45"/>
                <a:gd name="T7" fmla="*/ 18 h 46"/>
                <a:gd name="T8" fmla="*/ 33 w 45"/>
                <a:gd name="T9" fmla="*/ 15 h 46"/>
                <a:gd name="T10" fmla="*/ 31 w 45"/>
                <a:gd name="T11" fmla="*/ 12 h 46"/>
                <a:gd name="T12" fmla="*/ 32 w 45"/>
                <a:gd name="T13" fmla="*/ 7 h 46"/>
                <a:gd name="T14" fmla="*/ 23 w 45"/>
                <a:gd name="T15" fmla="*/ 0 h 46"/>
                <a:gd name="T16" fmla="*/ 14 w 45"/>
                <a:gd name="T17" fmla="*/ 7 h 46"/>
                <a:gd name="T18" fmla="*/ 14 w 45"/>
                <a:gd name="T19" fmla="*/ 12 h 46"/>
                <a:gd name="T20" fmla="*/ 13 w 45"/>
                <a:gd name="T21" fmla="*/ 15 h 46"/>
                <a:gd name="T22" fmla="*/ 15 w 45"/>
                <a:gd name="T23" fmla="*/ 18 h 46"/>
                <a:gd name="T24" fmla="*/ 17 w 45"/>
                <a:gd name="T25" fmla="*/ 23 h 46"/>
                <a:gd name="T26" fmla="*/ 17 w 45"/>
                <a:gd name="T27" fmla="*/ 27 h 46"/>
                <a:gd name="T28" fmla="*/ 12 w 45"/>
                <a:gd name="T29" fmla="*/ 30 h 46"/>
                <a:gd name="T30" fmla="*/ 1 w 45"/>
                <a:gd name="T31" fmla="*/ 35 h 46"/>
                <a:gd name="T32" fmla="*/ 1 w 45"/>
                <a:gd name="T33" fmla="*/ 46 h 46"/>
                <a:gd name="T34" fmla="*/ 45 w 45"/>
                <a:gd name="T35" fmla="*/ 46 h 46"/>
                <a:gd name="T36" fmla="*/ 44 w 45"/>
                <a:gd name="T37" fmla="*/ 35 h 46"/>
                <a:gd name="T38" fmla="*/ 34 w 45"/>
                <a:gd name="T39"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6">
                  <a:moveTo>
                    <a:pt x="34" y="30"/>
                  </a:moveTo>
                  <a:cubicBezTo>
                    <a:pt x="29" y="28"/>
                    <a:pt x="28" y="27"/>
                    <a:pt x="28" y="27"/>
                  </a:cubicBezTo>
                  <a:cubicBezTo>
                    <a:pt x="28" y="23"/>
                    <a:pt x="28" y="23"/>
                    <a:pt x="28" y="23"/>
                  </a:cubicBezTo>
                  <a:cubicBezTo>
                    <a:pt x="28" y="23"/>
                    <a:pt x="30" y="22"/>
                    <a:pt x="31" y="18"/>
                  </a:cubicBezTo>
                  <a:cubicBezTo>
                    <a:pt x="32" y="18"/>
                    <a:pt x="33" y="16"/>
                    <a:pt x="33" y="15"/>
                  </a:cubicBezTo>
                  <a:cubicBezTo>
                    <a:pt x="33" y="14"/>
                    <a:pt x="33" y="12"/>
                    <a:pt x="31" y="12"/>
                  </a:cubicBezTo>
                  <a:cubicBezTo>
                    <a:pt x="32" y="10"/>
                    <a:pt x="32" y="8"/>
                    <a:pt x="32" y="7"/>
                  </a:cubicBezTo>
                  <a:cubicBezTo>
                    <a:pt x="31" y="4"/>
                    <a:pt x="28" y="0"/>
                    <a:pt x="23" y="0"/>
                  </a:cubicBezTo>
                  <a:cubicBezTo>
                    <a:pt x="18" y="0"/>
                    <a:pt x="14" y="4"/>
                    <a:pt x="14" y="7"/>
                  </a:cubicBezTo>
                  <a:cubicBezTo>
                    <a:pt x="14" y="8"/>
                    <a:pt x="14" y="10"/>
                    <a:pt x="14" y="12"/>
                  </a:cubicBezTo>
                  <a:cubicBezTo>
                    <a:pt x="13" y="12"/>
                    <a:pt x="13" y="14"/>
                    <a:pt x="13" y="15"/>
                  </a:cubicBezTo>
                  <a:cubicBezTo>
                    <a:pt x="13" y="16"/>
                    <a:pt x="14" y="18"/>
                    <a:pt x="15" y="18"/>
                  </a:cubicBezTo>
                  <a:cubicBezTo>
                    <a:pt x="16" y="22"/>
                    <a:pt x="17" y="23"/>
                    <a:pt x="17" y="23"/>
                  </a:cubicBezTo>
                  <a:cubicBezTo>
                    <a:pt x="17" y="27"/>
                    <a:pt x="17" y="27"/>
                    <a:pt x="17" y="27"/>
                  </a:cubicBezTo>
                  <a:cubicBezTo>
                    <a:pt x="17" y="27"/>
                    <a:pt x="16" y="28"/>
                    <a:pt x="12" y="30"/>
                  </a:cubicBezTo>
                  <a:cubicBezTo>
                    <a:pt x="7" y="32"/>
                    <a:pt x="3" y="33"/>
                    <a:pt x="1" y="35"/>
                  </a:cubicBezTo>
                  <a:cubicBezTo>
                    <a:pt x="0" y="37"/>
                    <a:pt x="1" y="46"/>
                    <a:pt x="1" y="46"/>
                  </a:cubicBezTo>
                  <a:cubicBezTo>
                    <a:pt x="45" y="46"/>
                    <a:pt x="45" y="46"/>
                    <a:pt x="45" y="46"/>
                  </a:cubicBezTo>
                  <a:cubicBezTo>
                    <a:pt x="45" y="46"/>
                    <a:pt x="45" y="37"/>
                    <a:pt x="44" y="35"/>
                  </a:cubicBezTo>
                  <a:cubicBezTo>
                    <a:pt x="43" y="33"/>
                    <a:pt x="38" y="32"/>
                    <a:pt x="3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59" name="Freeform 10">
              <a:extLst>
                <a:ext uri="{FF2B5EF4-FFF2-40B4-BE49-F238E27FC236}">
                  <a16:creationId xmlns:a16="http://schemas.microsoft.com/office/drawing/2014/main" id="{4CB6381F-94B2-41C9-B5D4-AF750AEA5FBA}"/>
                </a:ext>
              </a:extLst>
            </p:cNvPr>
            <p:cNvSpPr>
              <a:spLocks/>
            </p:cNvSpPr>
            <p:nvPr/>
          </p:nvSpPr>
          <p:spPr bwMode="auto">
            <a:xfrm>
              <a:off x="28" y="0"/>
              <a:ext cx="48" cy="48"/>
            </a:xfrm>
            <a:custGeom>
              <a:avLst/>
              <a:gdLst>
                <a:gd name="T0" fmla="*/ 0 w 48"/>
                <a:gd name="T1" fmla="*/ 0 h 48"/>
                <a:gd name="T2" fmla="*/ 0 w 48"/>
                <a:gd name="T3" fmla="*/ 14 h 48"/>
                <a:gd name="T4" fmla="*/ 4 w 48"/>
                <a:gd name="T5" fmla="*/ 14 h 48"/>
                <a:gd name="T6" fmla="*/ 4 w 48"/>
                <a:gd name="T7" fmla="*/ 5 h 48"/>
                <a:gd name="T8" fmla="*/ 43 w 48"/>
                <a:gd name="T9" fmla="*/ 5 h 48"/>
                <a:gd name="T10" fmla="*/ 43 w 48"/>
                <a:gd name="T11" fmla="*/ 29 h 48"/>
                <a:gd name="T12" fmla="*/ 39 w 48"/>
                <a:gd name="T13" fmla="*/ 29 h 48"/>
                <a:gd name="T14" fmla="*/ 37 w 48"/>
                <a:gd name="T15" fmla="*/ 29 h 48"/>
                <a:gd name="T16" fmla="*/ 36 w 48"/>
                <a:gd name="T17" fmla="*/ 30 h 48"/>
                <a:gd name="T18" fmla="*/ 24 w 48"/>
                <a:gd name="T19" fmla="*/ 38 h 48"/>
                <a:gd name="T20" fmla="*/ 24 w 48"/>
                <a:gd name="T21" fmla="*/ 29 h 48"/>
                <a:gd name="T22" fmla="*/ 19 w 48"/>
                <a:gd name="T23" fmla="*/ 29 h 48"/>
                <a:gd name="T24" fmla="*/ 14 w 48"/>
                <a:gd name="T25" fmla="*/ 29 h 48"/>
                <a:gd name="T26" fmla="*/ 14 w 48"/>
                <a:gd name="T27" fmla="*/ 34 h 48"/>
                <a:gd name="T28" fmla="*/ 19 w 48"/>
                <a:gd name="T29" fmla="*/ 34 h 48"/>
                <a:gd name="T30" fmla="*/ 19 w 48"/>
                <a:gd name="T31" fmla="*/ 48 h 48"/>
                <a:gd name="T32" fmla="*/ 38 w 48"/>
                <a:gd name="T33" fmla="*/ 34 h 48"/>
                <a:gd name="T34" fmla="*/ 48 w 48"/>
                <a:gd name="T35" fmla="*/ 34 h 48"/>
                <a:gd name="T36" fmla="*/ 48 w 48"/>
                <a:gd name="T37" fmla="*/ 0 h 48"/>
                <a:gd name="T38" fmla="*/ 0 w 48"/>
                <a:gd name="T3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48">
                  <a:moveTo>
                    <a:pt x="0" y="0"/>
                  </a:moveTo>
                  <a:lnTo>
                    <a:pt x="0" y="14"/>
                  </a:lnTo>
                  <a:lnTo>
                    <a:pt x="4" y="14"/>
                  </a:lnTo>
                  <a:lnTo>
                    <a:pt x="4" y="5"/>
                  </a:lnTo>
                  <a:lnTo>
                    <a:pt x="43" y="5"/>
                  </a:lnTo>
                  <a:lnTo>
                    <a:pt x="43" y="29"/>
                  </a:lnTo>
                  <a:lnTo>
                    <a:pt x="39" y="29"/>
                  </a:lnTo>
                  <a:lnTo>
                    <a:pt x="37" y="29"/>
                  </a:lnTo>
                  <a:lnTo>
                    <a:pt x="36" y="30"/>
                  </a:lnTo>
                  <a:lnTo>
                    <a:pt x="24" y="38"/>
                  </a:lnTo>
                  <a:lnTo>
                    <a:pt x="24" y="29"/>
                  </a:lnTo>
                  <a:lnTo>
                    <a:pt x="19" y="29"/>
                  </a:lnTo>
                  <a:lnTo>
                    <a:pt x="14" y="29"/>
                  </a:lnTo>
                  <a:lnTo>
                    <a:pt x="14" y="34"/>
                  </a:lnTo>
                  <a:lnTo>
                    <a:pt x="19" y="34"/>
                  </a:lnTo>
                  <a:lnTo>
                    <a:pt x="19" y="48"/>
                  </a:lnTo>
                  <a:lnTo>
                    <a:pt x="38" y="34"/>
                  </a:lnTo>
                  <a:lnTo>
                    <a:pt x="48" y="34"/>
                  </a:lnTo>
                  <a:lnTo>
                    <a:pt x="4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grpSp>
      <p:cxnSp>
        <p:nvCxnSpPr>
          <p:cNvPr id="60" name="Connecteur droit 14">
            <a:extLst>
              <a:ext uri="{FF2B5EF4-FFF2-40B4-BE49-F238E27FC236}">
                <a16:creationId xmlns:a16="http://schemas.microsoft.com/office/drawing/2014/main" id="{E62B6214-D054-40C0-A8DC-178DB2429CCB}"/>
              </a:ext>
            </a:extLst>
          </p:cNvPr>
          <p:cNvCxnSpPr>
            <a:cxnSpLocks/>
          </p:cNvCxnSpPr>
          <p:nvPr/>
        </p:nvCxnSpPr>
        <p:spPr bwMode="auto">
          <a:xfrm>
            <a:off x="5269269" y="3001396"/>
            <a:ext cx="4320000" cy="0"/>
          </a:xfrm>
          <a:prstGeom prst="line">
            <a:avLst/>
          </a:prstGeom>
          <a:solidFill>
            <a:schemeClr val="accent1"/>
          </a:solidFill>
          <a:ln w="12700" cap="flat" cmpd="sng" algn="ctr">
            <a:solidFill>
              <a:schemeClr val="tx2"/>
            </a:solidFill>
            <a:prstDash val="solid"/>
            <a:round/>
            <a:headEnd type="none" w="med" len="med"/>
            <a:tailEnd type="none" w="med" len="med"/>
          </a:ln>
          <a:effectLst/>
        </p:spPr>
      </p:cxnSp>
      <p:sp>
        <p:nvSpPr>
          <p:cNvPr id="61" name="ZoneTexte 16">
            <a:extLst>
              <a:ext uri="{FF2B5EF4-FFF2-40B4-BE49-F238E27FC236}">
                <a16:creationId xmlns:a16="http://schemas.microsoft.com/office/drawing/2014/main" id="{6BD66FAC-1D19-4252-A0E6-5FD42CB55E95}"/>
              </a:ext>
            </a:extLst>
          </p:cNvPr>
          <p:cNvSpPr txBox="1"/>
          <p:nvPr/>
        </p:nvSpPr>
        <p:spPr>
          <a:xfrm>
            <a:off x="5874249" y="2760264"/>
            <a:ext cx="3110041" cy="276999"/>
          </a:xfrm>
          <a:prstGeom prst="rect">
            <a:avLst/>
          </a:prstGeom>
          <a:noFill/>
        </p:spPr>
        <p:txBody>
          <a:bodyPr wrap="square" rtlCol="0">
            <a:spAutoFit/>
          </a:bodyPr>
          <a:lstStyle/>
          <a:p>
            <a:pPr lvl="0" algn="ctr">
              <a:defRPr/>
            </a:pPr>
            <a:r>
              <a:rPr lang="en-GB" sz="1200" b="1">
                <a:solidFill>
                  <a:schemeClr val="tx2"/>
                </a:solidFill>
                <a:latin typeface="Trebuchet MS" panose="020B0603020202020204" pitchFamily="34" charset="0"/>
              </a:rPr>
              <a:t>Client calls</a:t>
            </a:r>
          </a:p>
        </p:txBody>
      </p:sp>
      <p:sp>
        <p:nvSpPr>
          <p:cNvPr id="63" name="ZoneTexte 28">
            <a:extLst>
              <a:ext uri="{FF2B5EF4-FFF2-40B4-BE49-F238E27FC236}">
                <a16:creationId xmlns:a16="http://schemas.microsoft.com/office/drawing/2014/main" id="{FE8B780A-72A4-4BA3-BEF8-7D38F7EF42BB}"/>
              </a:ext>
            </a:extLst>
          </p:cNvPr>
          <p:cNvSpPr txBox="1"/>
          <p:nvPr/>
        </p:nvSpPr>
        <p:spPr>
          <a:xfrm>
            <a:off x="5365740" y="3015865"/>
            <a:ext cx="1225170" cy="407804"/>
          </a:xfrm>
          <a:prstGeom prst="rect">
            <a:avLst/>
          </a:prstGeom>
          <a:noFill/>
        </p:spPr>
        <p:txBody>
          <a:bodyPr wrap="square" lIns="91440" rIns="0" rtlCol="0" anchor="t">
            <a:spAutoFit/>
          </a:bodyPr>
          <a:lstStyle/>
          <a:p>
            <a:pPr marL="171450" indent="-171450">
              <a:spcBef>
                <a:spcPts val="3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Bouygues</a:t>
            </a:r>
          </a:p>
          <a:p>
            <a:pPr marL="171450" indent="-171450">
              <a:spcBef>
                <a:spcPts val="300"/>
              </a:spcBef>
              <a:spcAft>
                <a:spcPts val="0"/>
              </a:spcAft>
              <a:buClr>
                <a:schemeClr val="tx2"/>
              </a:buClr>
              <a:buSzPct val="150000"/>
              <a:buFont typeface="Wingdings" panose="05000000000000000000" pitchFamily="2" charset="2"/>
              <a:buChar char="ü"/>
              <a:defRPr/>
            </a:pPr>
            <a:r>
              <a:rPr lang="en-GB" sz="900" err="1">
                <a:solidFill>
                  <a:srgbClr val="6C6C6C"/>
                </a:solidFill>
                <a:latin typeface="Trebuchet MS" panose="020B0603020202020204" pitchFamily="34" charset="0"/>
                <a:cs typeface="Arial"/>
              </a:rPr>
              <a:t>Imerys</a:t>
            </a:r>
            <a:endParaRPr lang="en-GB" sz="900">
              <a:solidFill>
                <a:srgbClr val="6C6C6C"/>
              </a:solidFill>
              <a:latin typeface="Trebuchet MS" panose="020B0603020202020204" pitchFamily="34" charset="0"/>
              <a:cs typeface="Arial"/>
            </a:endParaRPr>
          </a:p>
        </p:txBody>
      </p:sp>
      <p:sp>
        <p:nvSpPr>
          <p:cNvPr id="62" name="ZoneTexte 28">
            <a:extLst>
              <a:ext uri="{FF2B5EF4-FFF2-40B4-BE49-F238E27FC236}">
                <a16:creationId xmlns:a16="http://schemas.microsoft.com/office/drawing/2014/main" id="{7A117639-607C-4FC9-841A-BAEF2DF1E2C2}"/>
              </a:ext>
            </a:extLst>
          </p:cNvPr>
          <p:cNvSpPr txBox="1"/>
          <p:nvPr/>
        </p:nvSpPr>
        <p:spPr>
          <a:xfrm>
            <a:off x="6860661" y="3015865"/>
            <a:ext cx="1225170" cy="407804"/>
          </a:xfrm>
          <a:prstGeom prst="rect">
            <a:avLst/>
          </a:prstGeom>
          <a:noFill/>
        </p:spPr>
        <p:txBody>
          <a:bodyPr wrap="square" lIns="91440" rIns="0" rtlCol="0" anchor="t">
            <a:spAutoFit/>
          </a:bodyPr>
          <a:lstStyle/>
          <a:p>
            <a:pPr marL="171450" indent="-171450">
              <a:spcBef>
                <a:spcPts val="3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ABN AMRO (NL)</a:t>
            </a:r>
          </a:p>
          <a:p>
            <a:pPr marL="171450" indent="-171450">
              <a:spcBef>
                <a:spcPts val="300"/>
              </a:spcBef>
              <a:spcAft>
                <a:spcPts val="0"/>
              </a:spcAft>
              <a:buClr>
                <a:schemeClr val="tx2"/>
              </a:buClr>
              <a:buSzPct val="150000"/>
              <a:buFont typeface="Wingdings" panose="05000000000000000000" pitchFamily="2" charset="2"/>
              <a:buChar char="ü"/>
              <a:defRPr/>
            </a:pPr>
            <a:r>
              <a:rPr lang="en-GB" sz="900" err="1">
                <a:solidFill>
                  <a:srgbClr val="6C6C6C"/>
                </a:solidFill>
                <a:latin typeface="Trebuchet MS" panose="020B0603020202020204" pitchFamily="34" charset="0"/>
                <a:cs typeface="Arial"/>
              </a:rPr>
              <a:t>Merieux</a:t>
            </a:r>
            <a:endParaRPr lang="en-GB" sz="900">
              <a:solidFill>
                <a:srgbClr val="6C6C6C"/>
              </a:solidFill>
              <a:latin typeface="Trebuchet MS" panose="020B0603020202020204" pitchFamily="34" charset="0"/>
              <a:cs typeface="Arial"/>
            </a:endParaRPr>
          </a:p>
        </p:txBody>
      </p:sp>
      <p:sp>
        <p:nvSpPr>
          <p:cNvPr id="64" name="ZoneTexte 28">
            <a:extLst>
              <a:ext uri="{FF2B5EF4-FFF2-40B4-BE49-F238E27FC236}">
                <a16:creationId xmlns:a16="http://schemas.microsoft.com/office/drawing/2014/main" id="{F31ABA5E-6D88-42B1-BF41-F72DB0298E86}"/>
              </a:ext>
            </a:extLst>
          </p:cNvPr>
          <p:cNvSpPr txBox="1"/>
          <p:nvPr/>
        </p:nvSpPr>
        <p:spPr>
          <a:xfrm>
            <a:off x="8279678" y="3015865"/>
            <a:ext cx="1425921" cy="407804"/>
          </a:xfrm>
          <a:prstGeom prst="rect">
            <a:avLst/>
          </a:prstGeom>
          <a:noFill/>
        </p:spPr>
        <p:txBody>
          <a:bodyPr wrap="square" lIns="91440" rIns="0" rtlCol="0" anchor="t">
            <a:spAutoFit/>
          </a:bodyPr>
          <a:lstStyle/>
          <a:p>
            <a:pPr marL="171450" indent="-171450">
              <a:spcBef>
                <a:spcPts val="300"/>
              </a:spcBef>
              <a:spcAft>
                <a:spcPts val="0"/>
              </a:spcAft>
              <a:buClr>
                <a:schemeClr val="tx2"/>
              </a:buClr>
              <a:buSzPct val="150000"/>
              <a:buFont typeface="Wingdings" panose="05000000000000000000" pitchFamily="2" charset="2"/>
              <a:buChar char="ü"/>
              <a:defRPr/>
            </a:pPr>
            <a:r>
              <a:rPr lang="en-GB" sz="900" err="1">
                <a:solidFill>
                  <a:srgbClr val="6C6C6C"/>
                </a:solidFill>
                <a:latin typeface="Trebuchet MS" panose="020B0603020202020204" pitchFamily="34" charset="0"/>
                <a:cs typeface="Arial"/>
              </a:rPr>
              <a:t>Cimentery</a:t>
            </a:r>
            <a:r>
              <a:rPr lang="en-GB" sz="900">
                <a:solidFill>
                  <a:srgbClr val="6C6C6C"/>
                </a:solidFill>
                <a:latin typeface="Trebuchet MS" panose="020B0603020202020204" pitchFamily="34" charset="0"/>
                <a:cs typeface="Arial"/>
              </a:rPr>
              <a:t> CBR (BE)</a:t>
            </a:r>
          </a:p>
          <a:p>
            <a:pPr marL="171450" indent="-171450">
              <a:spcBef>
                <a:spcPts val="3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a:t>
            </a:r>
          </a:p>
        </p:txBody>
      </p:sp>
      <p:sp>
        <p:nvSpPr>
          <p:cNvPr id="65" name="ZoneTexte 28">
            <a:extLst>
              <a:ext uri="{FF2B5EF4-FFF2-40B4-BE49-F238E27FC236}">
                <a16:creationId xmlns:a16="http://schemas.microsoft.com/office/drawing/2014/main" id="{7849ED26-B4F5-448F-8BC7-3C867E4FFDA6}"/>
              </a:ext>
            </a:extLst>
          </p:cNvPr>
          <p:cNvSpPr txBox="1"/>
          <p:nvPr/>
        </p:nvSpPr>
        <p:spPr>
          <a:xfrm>
            <a:off x="9401287" y="6324130"/>
            <a:ext cx="438564" cy="230832"/>
          </a:xfrm>
          <a:prstGeom prst="rect">
            <a:avLst/>
          </a:prstGeom>
          <a:noFill/>
        </p:spPr>
        <p:txBody>
          <a:bodyPr wrap="square" lIns="91440" rIns="0" rtlCol="0" anchor="t">
            <a:spAutoFit/>
          </a:bodyPr>
          <a:lstStyle/>
          <a:p>
            <a:pPr marL="171450" indent="-171450">
              <a:spcBef>
                <a:spcPts val="600"/>
              </a:spcBef>
              <a:spcAft>
                <a:spcPts val="0"/>
              </a:spcAft>
              <a:buClr>
                <a:schemeClr val="tx2"/>
              </a:buClr>
              <a:buSzPct val="150000"/>
              <a:buFont typeface="Wingdings" panose="05000000000000000000" pitchFamily="2" charset="2"/>
              <a:buChar char="ü"/>
              <a:defRPr/>
            </a:pPr>
            <a:r>
              <a:rPr lang="en-GB" sz="900">
                <a:latin typeface="Trebuchet MS" panose="020B0603020202020204" pitchFamily="34" charset="0"/>
                <a:cs typeface="Arial"/>
              </a:rPr>
              <a:t>...</a:t>
            </a:r>
            <a:endParaRPr lang="en-GB" sz="900">
              <a:latin typeface="Trebuchet MS" panose="020B0603020202020204" pitchFamily="34" charset="0"/>
            </a:endParaRPr>
          </a:p>
        </p:txBody>
      </p:sp>
    </p:spTree>
    <p:extLst>
      <p:ext uri="{BB962C8B-B14F-4D97-AF65-F5344CB8AC3E}">
        <p14:creationId xmlns:p14="http://schemas.microsoft.com/office/powerpoint/2010/main" val="3808231367"/>
      </p:ext>
    </p:extLst>
  </p:cSld>
  <p:clrMapOvr>
    <a:masterClrMapping/>
  </p:clrMapOvr>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1" name="Connecteur droit 70"/>
          <p:cNvCxnSpPr/>
          <p:nvPr/>
        </p:nvCxnSpPr>
        <p:spPr>
          <a:xfrm>
            <a:off x="2230518" y="1589727"/>
            <a:ext cx="991781" cy="0"/>
          </a:xfrm>
          <a:prstGeom prst="line">
            <a:avLst/>
          </a:prstGeom>
          <a:ln w="63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2" name="Connecteur droit 71"/>
          <p:cNvCxnSpPr/>
          <p:nvPr/>
        </p:nvCxnSpPr>
        <p:spPr>
          <a:xfrm>
            <a:off x="6676059" y="1589727"/>
            <a:ext cx="991781" cy="0"/>
          </a:xfrm>
          <a:prstGeom prst="line">
            <a:avLst/>
          </a:prstGeom>
          <a:ln w="63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7" name="Rectangle 6">
            <a:extLst>
              <a:ext uri="{FF2B5EF4-FFF2-40B4-BE49-F238E27FC236}">
                <a16:creationId xmlns:a16="http://schemas.microsoft.com/office/drawing/2014/main" id="{C65EEC1D-F030-48BA-9A06-275374EFFB9C}"/>
              </a:ext>
            </a:extLst>
          </p:cNvPr>
          <p:cNvSpPr/>
          <p:nvPr>
            <p:custDataLst>
              <p:tags r:id="rId1"/>
            </p:custDataLst>
          </p:nvPr>
        </p:nvSpPr>
        <p:spPr>
          <a:xfrm>
            <a:off x="1421469" y="3744900"/>
            <a:ext cx="2308820" cy="1351756"/>
          </a:xfrm>
          <a:prstGeom prst="rect">
            <a:avLst/>
          </a:prstGeom>
          <a:solidFill>
            <a:srgbClr val="FFFFFF"/>
          </a:solidFill>
          <a:ln>
            <a:solidFill>
              <a:srgbClr val="FFFFFF">
                <a:lumMod val="85000"/>
              </a:srgbClr>
            </a:solidFill>
          </a:ln>
          <a:effectLst/>
        </p:spPr>
        <p:txBody>
          <a:bodyPr anchor="ctr"/>
          <a:lstStyle/>
          <a:p>
            <a:pPr marL="232172" marR="0" lvl="0" indent="-232172"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975"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232172" marR="0" lvl="0" indent="-232172"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975"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797123" marR="0" lvl="0" indent="-232172"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1138" b="0" i="0" u="none" strike="noStrike" kern="0" cap="none" spc="0" normalizeH="0" baseline="0" noProof="0" err="1">
                <a:ln>
                  <a:noFill/>
                </a:ln>
                <a:solidFill>
                  <a:srgbClr val="FFFFFF">
                    <a:lumMod val="65000"/>
                  </a:srgbClr>
                </a:solidFill>
                <a:effectLst/>
                <a:uLnTx/>
                <a:uFillTx/>
                <a:latin typeface="Trebuchet MS" panose="020B0603020202020204" pitchFamily="34" charset="0"/>
                <a:ea typeface="+mn-ea"/>
                <a:cs typeface="Arial" charset="0"/>
              </a:rPr>
              <a:t>Ambroise</a:t>
            </a:r>
            <a:r>
              <a:rPr kumimoji="0" lang="en-GB" sz="1138"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 </a:t>
            </a:r>
            <a:r>
              <a:rPr kumimoji="0" lang="en-GB" sz="1138" b="0" i="0" u="none" strike="noStrike" kern="0" cap="none" spc="0" normalizeH="0" baseline="0" noProof="0" err="1">
                <a:ln>
                  <a:noFill/>
                </a:ln>
                <a:solidFill>
                  <a:srgbClr val="FFFFFF">
                    <a:lumMod val="65000"/>
                  </a:srgbClr>
                </a:solidFill>
                <a:effectLst/>
                <a:uLnTx/>
                <a:uFillTx/>
                <a:latin typeface="Trebuchet MS" panose="020B0603020202020204" pitchFamily="34" charset="0"/>
                <a:ea typeface="+mn-ea"/>
                <a:cs typeface="Arial" charset="0"/>
              </a:rPr>
              <a:t>Huret</a:t>
            </a:r>
            <a:endParaRPr kumimoji="0" lang="en-GB" sz="1138"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endParaRPr>
          </a:p>
          <a:p>
            <a:pPr marL="797123" marR="0" lvl="0" indent="-232172"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853"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Partner</a:t>
            </a:r>
          </a:p>
          <a:p>
            <a:pPr marL="232172" marR="0" lvl="0" indent="-232172"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813"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797123" marR="0" lvl="0" indent="-232172"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650"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33 6  79 16 29 50</a:t>
            </a:r>
          </a:p>
          <a:p>
            <a:pPr marL="797123" marR="0" lvl="0" indent="-232172"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650"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ambroise.huret@eleven-strategy.com</a:t>
            </a:r>
          </a:p>
        </p:txBody>
      </p:sp>
      <p:sp>
        <p:nvSpPr>
          <p:cNvPr id="151" name="Rectangle 150">
            <a:extLst>
              <a:ext uri="{FF2B5EF4-FFF2-40B4-BE49-F238E27FC236}">
                <a16:creationId xmlns:a16="http://schemas.microsoft.com/office/drawing/2014/main" id="{5E2FA5F2-67F0-440B-B945-1EA3B5A0F23F}"/>
              </a:ext>
            </a:extLst>
          </p:cNvPr>
          <p:cNvSpPr/>
          <p:nvPr>
            <p:custDataLst>
              <p:tags r:id="rId2"/>
            </p:custDataLst>
          </p:nvPr>
        </p:nvSpPr>
        <p:spPr>
          <a:xfrm>
            <a:off x="3897184" y="3744900"/>
            <a:ext cx="2308820" cy="1351756"/>
          </a:xfrm>
          <a:prstGeom prst="rect">
            <a:avLst/>
          </a:prstGeom>
          <a:solidFill>
            <a:srgbClr val="FFFFFF"/>
          </a:solidFill>
          <a:ln>
            <a:solidFill>
              <a:srgbClr val="FFFFFF">
                <a:lumMod val="85000"/>
              </a:srgbClr>
            </a:solidFill>
          </a:ln>
          <a:effectLst/>
        </p:spPr>
        <p:txBody>
          <a:bodyPr anchor="ctr"/>
          <a:lstStyle/>
          <a:p>
            <a:pPr marL="232172" marR="0" lvl="0" indent="-232172"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975"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232172" marR="0" lvl="0" indent="-232172"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975"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797123" marR="0" lvl="0" indent="-232172"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1138"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Maxime Caro</a:t>
            </a:r>
          </a:p>
          <a:p>
            <a:pPr marL="797123" marR="0" lvl="0" indent="-232172"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853"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Partner</a:t>
            </a:r>
          </a:p>
          <a:p>
            <a:pPr marL="232172" marR="0" lvl="0" indent="-232172"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813"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797123" marR="0" lvl="0" indent="-232172"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650"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33 6  32 96 87 72</a:t>
            </a:r>
          </a:p>
          <a:p>
            <a:pPr marL="797123" marR="0" lvl="0" indent="-232172" algn="l" defTabSz="914400" rtl="0" eaLnBrk="0" fontAlgn="base" latinLnBrk="0" hangingPunct="0">
              <a:lnSpc>
                <a:spcPct val="100000"/>
              </a:lnSpc>
              <a:spcBef>
                <a:spcPct val="35000"/>
              </a:spcBef>
              <a:spcAft>
                <a:spcPct val="0"/>
              </a:spcAft>
              <a:buClr>
                <a:srgbClr val="00A3E2"/>
              </a:buClr>
              <a:buSzPct val="100000"/>
              <a:buFontTx/>
              <a:buNone/>
              <a:tabLst/>
              <a:defRPr/>
            </a:pPr>
            <a:r>
              <a:rPr lang="en-GB" sz="650" kern="0">
                <a:solidFill>
                  <a:srgbClr val="FFFFFF">
                    <a:lumMod val="65000"/>
                  </a:srgbClr>
                </a:solidFill>
                <a:latin typeface="Trebuchet MS" panose="020B0603020202020204" pitchFamily="34" charset="0"/>
                <a:cs typeface="Arial" charset="0"/>
              </a:rPr>
              <a:t>m</a:t>
            </a:r>
            <a:r>
              <a:rPr kumimoji="0" lang="en-GB" sz="650"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axime.caro@eleven-strategy.com</a:t>
            </a:r>
          </a:p>
        </p:txBody>
      </p:sp>
      <p:pic>
        <p:nvPicPr>
          <p:cNvPr id="3" name="Image 2">
            <a:extLst>
              <a:ext uri="{FF2B5EF4-FFF2-40B4-BE49-F238E27FC236}">
                <a16:creationId xmlns:a16="http://schemas.microsoft.com/office/drawing/2014/main" id="{5D528691-F1EF-432C-B271-2BB977ADD09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699996" y="1021777"/>
            <a:ext cx="2506008" cy="1135900"/>
          </a:xfrm>
          <a:prstGeom prst="rect">
            <a:avLst/>
          </a:prstGeom>
        </p:spPr>
      </p:pic>
      <p:pic>
        <p:nvPicPr>
          <p:cNvPr id="181" name="Image 180">
            <a:extLst>
              <a:ext uri="{FF2B5EF4-FFF2-40B4-BE49-F238E27FC236}">
                <a16:creationId xmlns:a16="http://schemas.microsoft.com/office/drawing/2014/main" id="{B22E354B-48BA-4C5E-A09B-108E9D63BA3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521632" y="3838433"/>
            <a:ext cx="476933" cy="216180"/>
          </a:xfrm>
          <a:prstGeom prst="rect">
            <a:avLst/>
          </a:prstGeom>
        </p:spPr>
      </p:pic>
      <p:pic>
        <p:nvPicPr>
          <p:cNvPr id="182" name="Image 181">
            <a:extLst>
              <a:ext uri="{FF2B5EF4-FFF2-40B4-BE49-F238E27FC236}">
                <a16:creationId xmlns:a16="http://schemas.microsoft.com/office/drawing/2014/main" id="{A6A3BA93-4B5E-423D-A172-339E519A803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79082" y="3838433"/>
            <a:ext cx="476933" cy="216180"/>
          </a:xfrm>
          <a:prstGeom prst="rect">
            <a:avLst/>
          </a:prstGeom>
        </p:spPr>
      </p:pic>
      <p:sp>
        <p:nvSpPr>
          <p:cNvPr id="19" name="ZoneTexte 69">
            <a:extLst>
              <a:ext uri="{FF2B5EF4-FFF2-40B4-BE49-F238E27FC236}">
                <a16:creationId xmlns:a16="http://schemas.microsoft.com/office/drawing/2014/main" id="{F70F631C-DE69-46D9-9204-FF753F430C6E}"/>
              </a:ext>
            </a:extLst>
          </p:cNvPr>
          <p:cNvSpPr txBox="1"/>
          <p:nvPr/>
        </p:nvSpPr>
        <p:spPr>
          <a:xfrm>
            <a:off x="2711276" y="2477558"/>
            <a:ext cx="2241724" cy="775597"/>
          </a:xfrm>
          <a:prstGeom prst="rect">
            <a:avLst/>
          </a:prstGeom>
          <a:noFill/>
        </p:spPr>
        <p:txBody>
          <a:bodyPr wrap="square" rtlCol="0">
            <a:spAutoFit/>
          </a:bodyPr>
          <a:lstStyle/>
          <a:p>
            <a:pPr marL="285750" indent="-285750" algn="ctr" eaLnBrk="0" hangingPunct="0">
              <a:spcBef>
                <a:spcPct val="35000"/>
              </a:spcBef>
              <a:buClr>
                <a:schemeClr val="accent1"/>
              </a:buClr>
              <a:buSzPct val="100000"/>
              <a:defRPr/>
            </a:pPr>
            <a:r>
              <a:rPr lang="en-GB" sz="1200">
                <a:latin typeface="Trebuchet MS" panose="020B0603020202020204" pitchFamily="34" charset="0"/>
              </a:rPr>
              <a:t>Paris Office</a:t>
            </a:r>
          </a:p>
          <a:p>
            <a:pPr marL="285750" indent="-285750" algn="ctr" eaLnBrk="0" hangingPunct="0">
              <a:spcBef>
                <a:spcPct val="35000"/>
              </a:spcBef>
              <a:buClr>
                <a:schemeClr val="accent1"/>
              </a:buClr>
              <a:buSzPct val="100000"/>
              <a:defRPr/>
            </a:pPr>
            <a:r>
              <a:rPr lang="en-GB" sz="1200">
                <a:latin typeface="Trebuchet MS" panose="020B0603020202020204" pitchFamily="34" charset="0"/>
              </a:rPr>
              <a:t>78 Avenue Raymond </a:t>
            </a:r>
            <a:r>
              <a:rPr lang="en-GB" sz="1200" err="1">
                <a:latin typeface="Trebuchet MS" panose="020B0603020202020204" pitchFamily="34" charset="0"/>
              </a:rPr>
              <a:t>Poincaré</a:t>
            </a:r>
            <a:endParaRPr lang="en-GB" sz="1200">
              <a:latin typeface="Trebuchet MS" panose="020B0603020202020204" pitchFamily="34" charset="0"/>
            </a:endParaRPr>
          </a:p>
          <a:p>
            <a:pPr marL="285750" indent="-285750" algn="ctr" eaLnBrk="0" hangingPunct="0">
              <a:spcBef>
                <a:spcPct val="35000"/>
              </a:spcBef>
              <a:buClr>
                <a:schemeClr val="accent1"/>
              </a:buClr>
              <a:buSzPct val="100000"/>
              <a:defRPr/>
            </a:pPr>
            <a:r>
              <a:rPr lang="en-GB" sz="1200">
                <a:latin typeface="Trebuchet MS" panose="020B0603020202020204" pitchFamily="34" charset="0"/>
              </a:rPr>
              <a:t>75116 Paris</a:t>
            </a:r>
          </a:p>
        </p:txBody>
      </p:sp>
      <p:sp>
        <p:nvSpPr>
          <p:cNvPr id="20" name="ZoneTexte 69">
            <a:extLst>
              <a:ext uri="{FF2B5EF4-FFF2-40B4-BE49-F238E27FC236}">
                <a16:creationId xmlns:a16="http://schemas.microsoft.com/office/drawing/2014/main" id="{91380749-67A5-49C7-B627-88876897897B}"/>
              </a:ext>
            </a:extLst>
          </p:cNvPr>
          <p:cNvSpPr txBox="1"/>
          <p:nvPr/>
        </p:nvSpPr>
        <p:spPr>
          <a:xfrm>
            <a:off x="4953000" y="2477558"/>
            <a:ext cx="2660809" cy="775597"/>
          </a:xfrm>
          <a:prstGeom prst="rect">
            <a:avLst/>
          </a:prstGeom>
          <a:noFill/>
        </p:spPr>
        <p:txBody>
          <a:bodyPr wrap="square" rtlCol="0">
            <a:spAutoFit/>
          </a:bodyPr>
          <a:lstStyle/>
          <a:p>
            <a:pPr marL="285750" indent="-285750" algn="ctr" eaLnBrk="0" hangingPunct="0">
              <a:spcBef>
                <a:spcPct val="35000"/>
              </a:spcBef>
              <a:buClr>
                <a:schemeClr val="accent1"/>
              </a:buClr>
              <a:buSzPct val="100000"/>
              <a:defRPr/>
            </a:pPr>
            <a:r>
              <a:rPr lang="en-GB" sz="1200">
                <a:latin typeface="Trebuchet MS" panose="020B0603020202020204" pitchFamily="34" charset="0"/>
              </a:rPr>
              <a:t>London Office</a:t>
            </a:r>
          </a:p>
          <a:p>
            <a:pPr marL="285750" indent="-285750" algn="ctr" eaLnBrk="0" hangingPunct="0">
              <a:spcBef>
                <a:spcPct val="35000"/>
              </a:spcBef>
              <a:buClr>
                <a:schemeClr val="accent1"/>
              </a:buClr>
              <a:buSzPct val="100000"/>
              <a:defRPr/>
            </a:pPr>
            <a:r>
              <a:rPr lang="en-GB" sz="1200">
                <a:latin typeface="Trebuchet MS" panose="020B0603020202020204" pitchFamily="34" charset="0"/>
              </a:rPr>
              <a:t>1 Ropemaker Street, Level 10</a:t>
            </a:r>
          </a:p>
          <a:p>
            <a:pPr marL="285750" indent="-285750" algn="ctr" eaLnBrk="0" hangingPunct="0">
              <a:spcBef>
                <a:spcPct val="35000"/>
              </a:spcBef>
              <a:buClr>
                <a:schemeClr val="accent1"/>
              </a:buClr>
              <a:buSzPct val="100000"/>
              <a:defRPr/>
            </a:pPr>
            <a:r>
              <a:rPr lang="en-GB" sz="1200">
                <a:latin typeface="Trebuchet MS" panose="020B0603020202020204" pitchFamily="34" charset="0"/>
              </a:rPr>
              <a:t>London EC2Y 9HT</a:t>
            </a:r>
          </a:p>
        </p:txBody>
      </p:sp>
      <p:sp>
        <p:nvSpPr>
          <p:cNvPr id="12" name="Rectangle 11">
            <a:extLst>
              <a:ext uri="{FF2B5EF4-FFF2-40B4-BE49-F238E27FC236}">
                <a16:creationId xmlns:a16="http://schemas.microsoft.com/office/drawing/2014/main" id="{27BC1BB1-8962-4787-9F3F-5709471BEEF0}"/>
              </a:ext>
            </a:extLst>
          </p:cNvPr>
          <p:cNvSpPr/>
          <p:nvPr>
            <p:custDataLst>
              <p:tags r:id="rId3"/>
            </p:custDataLst>
          </p:nvPr>
        </p:nvSpPr>
        <p:spPr>
          <a:xfrm>
            <a:off x="6372899" y="3744900"/>
            <a:ext cx="2308820" cy="1351756"/>
          </a:xfrm>
          <a:prstGeom prst="rect">
            <a:avLst/>
          </a:prstGeom>
          <a:solidFill>
            <a:srgbClr val="FFFFFF"/>
          </a:solidFill>
          <a:ln>
            <a:solidFill>
              <a:srgbClr val="FFFFFF">
                <a:lumMod val="85000"/>
              </a:srgbClr>
            </a:solidFill>
          </a:ln>
          <a:effectLst/>
        </p:spPr>
        <p:txBody>
          <a:bodyPr anchor="ctr"/>
          <a:lstStyle/>
          <a:p>
            <a:pPr marL="232172" marR="0" lvl="0" indent="-232172"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975"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232172" marR="0" lvl="0" indent="-232172"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975"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534988" marR="0" lvl="0" indent="-266700"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1138" b="0" i="0" u="none" strike="noStrike" kern="0" cap="none" spc="0" normalizeH="0" baseline="0" noProof="0" err="1">
                <a:ln>
                  <a:noFill/>
                </a:ln>
                <a:solidFill>
                  <a:srgbClr val="FFFFFF">
                    <a:lumMod val="65000"/>
                  </a:srgbClr>
                </a:solidFill>
                <a:effectLst/>
                <a:uLnTx/>
                <a:uFillTx/>
                <a:latin typeface="Trebuchet MS" panose="020B0603020202020204" pitchFamily="34" charset="0"/>
                <a:ea typeface="+mn-ea"/>
                <a:cs typeface="Arial" charset="0"/>
              </a:rPr>
              <a:t>Théodora</a:t>
            </a:r>
            <a:r>
              <a:rPr kumimoji="0" lang="en-GB" sz="1138"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 Dupont-</a:t>
            </a:r>
            <a:r>
              <a:rPr kumimoji="0" lang="en-GB" sz="1138" b="0" i="0" u="none" strike="noStrike" kern="0" cap="none" spc="0" normalizeH="0" baseline="0" noProof="0" err="1">
                <a:ln>
                  <a:noFill/>
                </a:ln>
                <a:solidFill>
                  <a:srgbClr val="FFFFFF">
                    <a:lumMod val="65000"/>
                  </a:srgbClr>
                </a:solidFill>
                <a:effectLst/>
                <a:uLnTx/>
                <a:uFillTx/>
                <a:latin typeface="Trebuchet MS" panose="020B0603020202020204" pitchFamily="34" charset="0"/>
                <a:ea typeface="+mn-ea"/>
                <a:cs typeface="Arial" charset="0"/>
              </a:rPr>
              <a:t>Courtade</a:t>
            </a:r>
            <a:endParaRPr kumimoji="0" lang="en-GB" sz="1138"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endParaRPr>
          </a:p>
          <a:p>
            <a:pPr marL="534988" marR="0" lvl="0" indent="-266700"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853"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Manager</a:t>
            </a:r>
          </a:p>
          <a:p>
            <a:pPr marL="534988" marR="0" lvl="0" indent="-266700"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813"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534988" marR="0" lvl="0" indent="-266700"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650"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33 6 33 37 84 60</a:t>
            </a:r>
          </a:p>
          <a:p>
            <a:pPr marL="534988" marR="0" lvl="0" indent="-266700"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650"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Theodora.dupontcourtade@eleven-strategy.com</a:t>
            </a:r>
          </a:p>
        </p:txBody>
      </p:sp>
      <p:pic>
        <p:nvPicPr>
          <p:cNvPr id="13" name="Image 12">
            <a:extLst>
              <a:ext uri="{FF2B5EF4-FFF2-40B4-BE49-F238E27FC236}">
                <a16:creationId xmlns:a16="http://schemas.microsoft.com/office/drawing/2014/main" id="{CEEE5162-E1FE-4950-AD76-9F36D0F9194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454797" y="3838433"/>
            <a:ext cx="476933" cy="216180"/>
          </a:xfrm>
          <a:prstGeom prst="rect">
            <a:avLst/>
          </a:prstGeom>
        </p:spPr>
      </p:pic>
    </p:spTree>
    <p:extLst>
      <p:ext uri="{BB962C8B-B14F-4D97-AF65-F5344CB8AC3E}">
        <p14:creationId xmlns:p14="http://schemas.microsoft.com/office/powerpoint/2010/main" val="3496310080"/>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7D38F5E-F154-4DC7-8F4C-7E25FC6151B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8" name="Objet 7" hidden="1">
                        <a:extLst>
                          <a:ext uri="{FF2B5EF4-FFF2-40B4-BE49-F238E27FC236}">
                            <a16:creationId xmlns:a16="http://schemas.microsoft.com/office/drawing/2014/main" id="{E7D38F5E-F154-4DC7-8F4C-7E25FC6151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A6022E3-4DB9-46DF-966E-81EED0537A86}"/>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grpSp>
        <p:nvGrpSpPr>
          <p:cNvPr id="45" name="Groupe 44">
            <a:extLst>
              <a:ext uri="{FF2B5EF4-FFF2-40B4-BE49-F238E27FC236}">
                <a16:creationId xmlns:a16="http://schemas.microsoft.com/office/drawing/2014/main" id="{A0DE1324-304F-4C8F-BB1A-90BEF7E15A5D}"/>
              </a:ext>
            </a:extLst>
          </p:cNvPr>
          <p:cNvGrpSpPr/>
          <p:nvPr/>
        </p:nvGrpSpPr>
        <p:grpSpPr>
          <a:xfrm>
            <a:off x="217806" y="1345552"/>
            <a:ext cx="4837426" cy="5090085"/>
            <a:chOff x="217806" y="1345552"/>
            <a:chExt cx="4837426" cy="5090085"/>
          </a:xfrm>
        </p:grpSpPr>
        <p:sp>
          <p:nvSpPr>
            <p:cNvPr id="5" name="Rectangle 4">
              <a:extLst>
                <a:ext uri="{FF2B5EF4-FFF2-40B4-BE49-F238E27FC236}">
                  <a16:creationId xmlns:a16="http://schemas.microsoft.com/office/drawing/2014/main" id="{7A02B674-B623-4FB9-A315-49D1A6E7CC9C}"/>
                </a:ext>
              </a:extLst>
            </p:cNvPr>
            <p:cNvSpPr/>
            <p:nvPr/>
          </p:nvSpPr>
          <p:spPr bwMode="auto">
            <a:xfrm>
              <a:off x="217806" y="1345552"/>
              <a:ext cx="4837426" cy="509008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mc:AlternateContent xmlns:mc="http://schemas.openxmlformats.org/markup-compatibility/2006" xmlns:cx1="http://schemas.microsoft.com/office/drawing/2015/9/8/chartex">
          <mc:Choice Requires="cx1">
            <p:graphicFrame>
              <p:nvGraphicFramePr>
                <p:cNvPr id="65" name="Graphique 64">
                  <a:extLst>
                    <a:ext uri="{FF2B5EF4-FFF2-40B4-BE49-F238E27FC236}">
                      <a16:creationId xmlns:a16="http://schemas.microsoft.com/office/drawing/2014/main" id="{D9E26B0B-AE1C-43CB-BBCC-B338EDC9EE65}"/>
                    </a:ext>
                  </a:extLst>
                </p:cNvPr>
                <p:cNvGraphicFramePr/>
                <p:nvPr>
                  <p:extLst>
                    <p:ext uri="{D42A27DB-BD31-4B8C-83A1-F6EECF244321}">
                      <p14:modId xmlns:p14="http://schemas.microsoft.com/office/powerpoint/2010/main" val="269821953"/>
                    </p:ext>
                  </p:extLst>
                </p:nvPr>
              </p:nvGraphicFramePr>
              <p:xfrm>
                <a:off x="510669" y="2111576"/>
                <a:ext cx="4412176" cy="3240000"/>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65" name="Graphique 64">
                  <a:extLst>
                    <a:ext uri="{FF2B5EF4-FFF2-40B4-BE49-F238E27FC236}">
                      <a16:creationId xmlns:a16="http://schemas.microsoft.com/office/drawing/2014/main" id="{D9E26B0B-AE1C-43CB-BBCC-B338EDC9EE65}"/>
                    </a:ext>
                  </a:extLst>
                </p:cNvPr>
                <p:cNvPicPr>
                  <a:picLocks noGrp="1" noRot="1" noChangeAspect="1" noMove="1" noResize="1" noEditPoints="1" noAdjustHandles="1" noChangeArrowheads="1" noChangeShapeType="1"/>
                </p:cNvPicPr>
                <p:nvPr/>
              </p:nvPicPr>
              <p:blipFill>
                <a:blip r:embed="rId8"/>
                <a:stretch>
                  <a:fillRect/>
                </a:stretch>
              </p:blipFill>
              <p:spPr>
                <a:xfrm>
                  <a:off x="510669" y="2111576"/>
                  <a:ext cx="4412176" cy="3240000"/>
                </a:xfrm>
                <a:prstGeom prst="rect">
                  <a:avLst/>
                </a:prstGeom>
              </p:spPr>
            </p:pic>
          </mc:Fallback>
        </mc:AlternateContent>
        <p:sp>
          <p:nvSpPr>
            <p:cNvPr id="33" name="Rectangle 32">
              <a:extLst>
                <a:ext uri="{FF2B5EF4-FFF2-40B4-BE49-F238E27FC236}">
                  <a16:creationId xmlns:a16="http://schemas.microsoft.com/office/drawing/2014/main" id="{51EFD715-3B6A-4B4F-9D82-CEE537574D60}"/>
                </a:ext>
              </a:extLst>
            </p:cNvPr>
            <p:cNvSpPr>
              <a:spLocks/>
            </p:cNvSpPr>
            <p:nvPr/>
          </p:nvSpPr>
          <p:spPr>
            <a:xfrm>
              <a:off x="233430" y="5540269"/>
              <a:ext cx="751606" cy="362093"/>
            </a:xfrm>
            <a:prstGeom prst="rect">
              <a:avLst/>
            </a:prstGeom>
            <a:solidFill>
              <a:schemeClr val="bg1"/>
            </a:solidFill>
            <a:ln>
              <a:solidFill>
                <a:schemeClr val="accent1">
                  <a:lumMod val="75000"/>
                </a:schemeClr>
              </a:solidFill>
            </a:ln>
          </p:spPr>
          <p:txBody>
            <a:bodyPr wrap="square" lIns="0" tIns="36000" rIns="0" bIns="36000" anchor="ctr">
              <a:noAutofit/>
            </a:bodyPr>
            <a:lstStyle/>
            <a:p>
              <a:pPr algn="ctr"/>
              <a:r>
                <a:rPr lang="en-GB" sz="900" b="1">
                  <a:solidFill>
                    <a:schemeClr val="accent1">
                      <a:lumMod val="50000"/>
                    </a:schemeClr>
                  </a:solidFill>
                  <a:latin typeface="Trebuchet MS" pitchFamily="34" charset="0"/>
                </a:rPr>
                <a:t>Contribution to growth</a:t>
              </a:r>
            </a:p>
          </p:txBody>
        </p:sp>
        <p:sp>
          <p:nvSpPr>
            <p:cNvPr id="35" name="Freeform 5">
              <a:extLst>
                <a:ext uri="{FF2B5EF4-FFF2-40B4-BE49-F238E27FC236}">
                  <a16:creationId xmlns:a16="http://schemas.microsoft.com/office/drawing/2014/main" id="{52D45388-8640-4A93-A619-9B8A09F95230}"/>
                </a:ext>
              </a:extLst>
            </p:cNvPr>
            <p:cNvSpPr>
              <a:spLocks/>
            </p:cNvSpPr>
            <p:nvPr/>
          </p:nvSpPr>
          <p:spPr bwMode="auto">
            <a:xfrm>
              <a:off x="4893521" y="5643807"/>
              <a:ext cx="57109" cy="57109"/>
            </a:xfrm>
            <a:custGeom>
              <a:avLst/>
              <a:gdLst>
                <a:gd name="T0" fmla="*/ 0 w 28"/>
                <a:gd name="T1" fmla="*/ 0 h 28"/>
                <a:gd name="T2" fmla="*/ 0 w 28"/>
                <a:gd name="T3" fmla="*/ 28 h 28"/>
                <a:gd name="T4" fmla="*/ 28 w 28"/>
                <a:gd name="T5" fmla="*/ 28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28"/>
                    <a:pt x="0" y="28"/>
                    <a:pt x="0" y="28"/>
                  </a:cubicBezTo>
                  <a:cubicBezTo>
                    <a:pt x="28" y="28"/>
                    <a:pt x="28" y="28"/>
                    <a:pt x="28" y="28"/>
                  </a:cubicBezTo>
                  <a:cubicBezTo>
                    <a:pt x="28" y="13"/>
                    <a:pt x="16" y="0"/>
                    <a:pt x="0" y="0"/>
                  </a:cubicBez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solidFill>
                  <a:schemeClr val="tx2"/>
                </a:solidFill>
              </a:endParaRPr>
            </a:p>
          </p:txBody>
        </p:sp>
        <p:sp>
          <p:nvSpPr>
            <p:cNvPr id="36" name="Freeform 6">
              <a:extLst>
                <a:ext uri="{FF2B5EF4-FFF2-40B4-BE49-F238E27FC236}">
                  <a16:creationId xmlns:a16="http://schemas.microsoft.com/office/drawing/2014/main" id="{8FF53106-2013-4D61-A533-545C90686DA6}"/>
                </a:ext>
              </a:extLst>
            </p:cNvPr>
            <p:cNvSpPr>
              <a:spLocks noEditPoints="1"/>
            </p:cNvSpPr>
            <p:nvPr/>
          </p:nvSpPr>
          <p:spPr bwMode="auto">
            <a:xfrm>
              <a:off x="4821295" y="5660604"/>
              <a:ext cx="112538" cy="112538"/>
            </a:xfrm>
            <a:custGeom>
              <a:avLst/>
              <a:gdLst>
                <a:gd name="T0" fmla="*/ 28 w 56"/>
                <a:gd name="T1" fmla="*/ 0 h 56"/>
                <a:gd name="T2" fmla="*/ 0 w 56"/>
                <a:gd name="T3" fmla="*/ 28 h 56"/>
                <a:gd name="T4" fmla="*/ 28 w 56"/>
                <a:gd name="T5" fmla="*/ 56 h 56"/>
                <a:gd name="T6" fmla="*/ 56 w 56"/>
                <a:gd name="T7" fmla="*/ 28 h 56"/>
                <a:gd name="T8" fmla="*/ 28 w 56"/>
                <a:gd name="T9" fmla="*/ 28 h 56"/>
                <a:gd name="T10" fmla="*/ 28 w 56"/>
                <a:gd name="T11" fmla="*/ 0 h 56"/>
                <a:gd name="T12" fmla="*/ 52 w 56"/>
                <a:gd name="T13" fmla="*/ 32 h 56"/>
                <a:gd name="T14" fmla="*/ 28 w 56"/>
                <a:gd name="T15" fmla="*/ 52 h 56"/>
                <a:gd name="T16" fmla="*/ 4 w 56"/>
                <a:gd name="T17" fmla="*/ 28 h 56"/>
                <a:gd name="T18" fmla="*/ 24 w 56"/>
                <a:gd name="T19" fmla="*/ 4 h 56"/>
                <a:gd name="T20" fmla="*/ 24 w 56"/>
                <a:gd name="T21" fmla="*/ 32 h 56"/>
                <a:gd name="T22" fmla="*/ 52 w 56"/>
                <a:gd name="T23"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56">
                  <a:moveTo>
                    <a:pt x="28" y="0"/>
                  </a:moveTo>
                  <a:cubicBezTo>
                    <a:pt x="13" y="0"/>
                    <a:pt x="0" y="13"/>
                    <a:pt x="0" y="28"/>
                  </a:cubicBezTo>
                  <a:cubicBezTo>
                    <a:pt x="0" y="44"/>
                    <a:pt x="13" y="56"/>
                    <a:pt x="28" y="56"/>
                  </a:cubicBezTo>
                  <a:cubicBezTo>
                    <a:pt x="44" y="56"/>
                    <a:pt x="56" y="44"/>
                    <a:pt x="56" y="28"/>
                  </a:cubicBezTo>
                  <a:cubicBezTo>
                    <a:pt x="28" y="28"/>
                    <a:pt x="28" y="28"/>
                    <a:pt x="28" y="28"/>
                  </a:cubicBezTo>
                  <a:lnTo>
                    <a:pt x="28" y="0"/>
                  </a:lnTo>
                  <a:close/>
                  <a:moveTo>
                    <a:pt x="52" y="32"/>
                  </a:moveTo>
                  <a:cubicBezTo>
                    <a:pt x="50" y="43"/>
                    <a:pt x="40" y="52"/>
                    <a:pt x="28" y="52"/>
                  </a:cubicBezTo>
                  <a:cubicBezTo>
                    <a:pt x="15" y="52"/>
                    <a:pt x="4" y="41"/>
                    <a:pt x="4" y="28"/>
                  </a:cubicBezTo>
                  <a:cubicBezTo>
                    <a:pt x="4" y="16"/>
                    <a:pt x="13" y="6"/>
                    <a:pt x="24" y="4"/>
                  </a:cubicBezTo>
                  <a:cubicBezTo>
                    <a:pt x="24" y="32"/>
                    <a:pt x="24" y="32"/>
                    <a:pt x="24" y="32"/>
                  </a:cubicBezTo>
                  <a:lnTo>
                    <a:pt x="52" y="32"/>
                  </a:ln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solidFill>
                  <a:schemeClr val="tx2"/>
                </a:solidFill>
              </a:endParaRPr>
            </a:p>
          </p:txBody>
        </p:sp>
        <p:sp>
          <p:nvSpPr>
            <p:cNvPr id="37" name="Rectangle 36">
              <a:extLst>
                <a:ext uri="{FF2B5EF4-FFF2-40B4-BE49-F238E27FC236}">
                  <a16:creationId xmlns:a16="http://schemas.microsoft.com/office/drawing/2014/main" id="{4C6FA349-B6C7-4CBC-9874-6984A2DD2D1F}"/>
                </a:ext>
              </a:extLst>
            </p:cNvPr>
            <p:cNvSpPr>
              <a:spLocks/>
            </p:cNvSpPr>
            <p:nvPr/>
          </p:nvSpPr>
          <p:spPr>
            <a:xfrm>
              <a:off x="233430" y="5966506"/>
              <a:ext cx="751606" cy="362093"/>
            </a:xfrm>
            <a:prstGeom prst="rect">
              <a:avLst/>
            </a:prstGeom>
            <a:solidFill>
              <a:schemeClr val="bg1"/>
            </a:solidFill>
            <a:ln>
              <a:solidFill>
                <a:schemeClr val="tx1"/>
              </a:solidFill>
            </a:ln>
          </p:spPr>
          <p:txBody>
            <a:bodyPr wrap="square" lIns="0" tIns="36000" rIns="0" bIns="36000" anchor="ctr">
              <a:noAutofit/>
            </a:bodyPr>
            <a:lstStyle/>
            <a:p>
              <a:pPr algn="ctr"/>
              <a:r>
                <a:rPr lang="en-GB" sz="900" b="1">
                  <a:latin typeface="Trebuchet MS" pitchFamily="34" charset="0"/>
                </a:rPr>
                <a:t>Expected CAGR</a:t>
              </a:r>
              <a:r>
                <a:rPr lang="en-GB" sz="900" b="1" baseline="-25000">
                  <a:latin typeface="Trebuchet MS" pitchFamily="34" charset="0"/>
                </a:rPr>
                <a:t>20-25</a:t>
              </a:r>
              <a:endParaRPr lang="en-GB" sz="900" b="1">
                <a:latin typeface="Trebuchet MS" pitchFamily="34" charset="0"/>
              </a:endParaRPr>
            </a:p>
          </p:txBody>
        </p:sp>
        <p:sp>
          <p:nvSpPr>
            <p:cNvPr id="39" name="Rectangle 5">
              <a:extLst>
                <a:ext uri="{FF2B5EF4-FFF2-40B4-BE49-F238E27FC236}">
                  <a16:creationId xmlns:a16="http://schemas.microsoft.com/office/drawing/2014/main" id="{A58D3088-321F-4622-92E2-C36182595D54}"/>
                </a:ext>
              </a:extLst>
            </p:cNvPr>
            <p:cNvSpPr>
              <a:spLocks noChangeArrowheads="1"/>
            </p:cNvSpPr>
            <p:nvPr/>
          </p:nvSpPr>
          <p:spPr bwMode="auto">
            <a:xfrm>
              <a:off x="4833567" y="6158026"/>
              <a:ext cx="23773" cy="2360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Rectangle 6">
              <a:extLst>
                <a:ext uri="{FF2B5EF4-FFF2-40B4-BE49-F238E27FC236}">
                  <a16:creationId xmlns:a16="http://schemas.microsoft.com/office/drawing/2014/main" id="{99FF023E-A6B4-40D3-AC54-699D717E7D54}"/>
                </a:ext>
              </a:extLst>
            </p:cNvPr>
            <p:cNvSpPr>
              <a:spLocks noChangeArrowheads="1"/>
            </p:cNvSpPr>
            <p:nvPr/>
          </p:nvSpPr>
          <p:spPr bwMode="auto">
            <a:xfrm>
              <a:off x="4865151" y="6142234"/>
              <a:ext cx="23603" cy="393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Rectangle 7">
              <a:extLst>
                <a:ext uri="{FF2B5EF4-FFF2-40B4-BE49-F238E27FC236}">
                  <a16:creationId xmlns:a16="http://schemas.microsoft.com/office/drawing/2014/main" id="{1DBC8DB3-476C-4484-8C67-04ECAB9CD00E}"/>
                </a:ext>
              </a:extLst>
            </p:cNvPr>
            <p:cNvSpPr>
              <a:spLocks noChangeArrowheads="1"/>
            </p:cNvSpPr>
            <p:nvPr/>
          </p:nvSpPr>
          <p:spPr bwMode="auto">
            <a:xfrm>
              <a:off x="4896565" y="6126442"/>
              <a:ext cx="23603" cy="55187"/>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Rectangle 8">
              <a:extLst>
                <a:ext uri="{FF2B5EF4-FFF2-40B4-BE49-F238E27FC236}">
                  <a16:creationId xmlns:a16="http://schemas.microsoft.com/office/drawing/2014/main" id="{234AFBB6-0A04-4FF8-85AD-F9EE8B436367}"/>
                </a:ext>
              </a:extLst>
            </p:cNvPr>
            <p:cNvSpPr>
              <a:spLocks noChangeArrowheads="1"/>
            </p:cNvSpPr>
            <p:nvPr/>
          </p:nvSpPr>
          <p:spPr bwMode="auto">
            <a:xfrm>
              <a:off x="4928149" y="6110650"/>
              <a:ext cx="23603" cy="70979"/>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9">
              <a:extLst>
                <a:ext uri="{FF2B5EF4-FFF2-40B4-BE49-F238E27FC236}">
                  <a16:creationId xmlns:a16="http://schemas.microsoft.com/office/drawing/2014/main" id="{0CCA13FC-7315-4B0F-8A4C-ED62B2CD7D9A}"/>
                </a:ext>
              </a:extLst>
            </p:cNvPr>
            <p:cNvSpPr>
              <a:spLocks/>
            </p:cNvSpPr>
            <p:nvPr/>
          </p:nvSpPr>
          <p:spPr bwMode="auto">
            <a:xfrm>
              <a:off x="4825756" y="6067349"/>
              <a:ext cx="125996" cy="74885"/>
            </a:xfrm>
            <a:custGeom>
              <a:avLst/>
              <a:gdLst>
                <a:gd name="T0" fmla="*/ 649 w 742"/>
                <a:gd name="T1" fmla="*/ 105 h 441"/>
                <a:gd name="T2" fmla="*/ 510 w 742"/>
                <a:gd name="T3" fmla="*/ 105 h 441"/>
                <a:gd name="T4" fmla="*/ 325 w 742"/>
                <a:gd name="T5" fmla="*/ 244 h 441"/>
                <a:gd name="T6" fmla="*/ 232 w 742"/>
                <a:gd name="T7" fmla="*/ 186 h 441"/>
                <a:gd name="T8" fmla="*/ 0 w 742"/>
                <a:gd name="T9" fmla="*/ 383 h 441"/>
                <a:gd name="T10" fmla="*/ 0 w 742"/>
                <a:gd name="T11" fmla="*/ 441 h 441"/>
                <a:gd name="T12" fmla="*/ 244 w 742"/>
                <a:gd name="T13" fmla="*/ 244 h 441"/>
                <a:gd name="T14" fmla="*/ 336 w 742"/>
                <a:gd name="T15" fmla="*/ 290 h 441"/>
                <a:gd name="T16" fmla="*/ 522 w 742"/>
                <a:gd name="T17" fmla="*/ 151 h 441"/>
                <a:gd name="T18" fmla="*/ 661 w 742"/>
                <a:gd name="T19" fmla="*/ 151 h 441"/>
                <a:gd name="T20" fmla="*/ 742 w 742"/>
                <a:gd name="T21" fmla="*/ 70 h 441"/>
                <a:gd name="T22" fmla="*/ 742 w 742"/>
                <a:gd name="T23" fmla="*/ 0 h 441"/>
                <a:gd name="T24" fmla="*/ 649 w 742"/>
                <a:gd name="T25" fmla="*/ 105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2" h="441">
                  <a:moveTo>
                    <a:pt x="649" y="105"/>
                  </a:moveTo>
                  <a:lnTo>
                    <a:pt x="510" y="105"/>
                  </a:lnTo>
                  <a:lnTo>
                    <a:pt x="325" y="244"/>
                  </a:lnTo>
                  <a:lnTo>
                    <a:pt x="232" y="186"/>
                  </a:lnTo>
                  <a:lnTo>
                    <a:pt x="0" y="383"/>
                  </a:lnTo>
                  <a:lnTo>
                    <a:pt x="0" y="441"/>
                  </a:lnTo>
                  <a:lnTo>
                    <a:pt x="244" y="244"/>
                  </a:lnTo>
                  <a:lnTo>
                    <a:pt x="336" y="290"/>
                  </a:lnTo>
                  <a:lnTo>
                    <a:pt x="522" y="151"/>
                  </a:lnTo>
                  <a:lnTo>
                    <a:pt x="661" y="151"/>
                  </a:lnTo>
                  <a:lnTo>
                    <a:pt x="742" y="70"/>
                  </a:lnTo>
                  <a:lnTo>
                    <a:pt x="742" y="0"/>
                  </a:lnTo>
                  <a:lnTo>
                    <a:pt x="649" y="10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Rectangle 82">
              <a:extLst>
                <a:ext uri="{FF2B5EF4-FFF2-40B4-BE49-F238E27FC236}">
                  <a16:creationId xmlns:a16="http://schemas.microsoft.com/office/drawing/2014/main" id="{EDB79795-CCDC-4772-B04D-B056BFFA989C}"/>
                </a:ext>
              </a:extLst>
            </p:cNvPr>
            <p:cNvSpPr/>
            <p:nvPr/>
          </p:nvSpPr>
          <p:spPr bwMode="auto">
            <a:xfrm>
              <a:off x="1008978"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87" name="Rectangle 86">
              <a:extLst>
                <a:ext uri="{FF2B5EF4-FFF2-40B4-BE49-F238E27FC236}">
                  <a16:creationId xmlns:a16="http://schemas.microsoft.com/office/drawing/2014/main" id="{369FBC93-33CC-419E-81E7-ED99B2B84745}"/>
                </a:ext>
              </a:extLst>
            </p:cNvPr>
            <p:cNvSpPr/>
            <p:nvPr/>
          </p:nvSpPr>
          <p:spPr bwMode="auto">
            <a:xfrm>
              <a:off x="1769157"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90" name="Rectangle 89">
              <a:extLst>
                <a:ext uri="{FF2B5EF4-FFF2-40B4-BE49-F238E27FC236}">
                  <a16:creationId xmlns:a16="http://schemas.microsoft.com/office/drawing/2014/main" id="{57844CA3-74CB-4A77-A57A-5C7500F806DC}"/>
                </a:ext>
              </a:extLst>
            </p:cNvPr>
            <p:cNvSpPr/>
            <p:nvPr/>
          </p:nvSpPr>
          <p:spPr bwMode="auto">
            <a:xfrm>
              <a:off x="1290570"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A</a:t>
              </a:r>
            </a:p>
          </p:txBody>
        </p:sp>
        <p:sp>
          <p:nvSpPr>
            <p:cNvPr id="91" name="Rectangle 90">
              <a:extLst>
                <a:ext uri="{FF2B5EF4-FFF2-40B4-BE49-F238E27FC236}">
                  <a16:creationId xmlns:a16="http://schemas.microsoft.com/office/drawing/2014/main" id="{EC2DDCD0-692A-4FCA-B2D9-C80A11DCC748}"/>
                </a:ext>
              </a:extLst>
            </p:cNvPr>
            <p:cNvSpPr/>
            <p:nvPr/>
          </p:nvSpPr>
          <p:spPr bwMode="auto">
            <a:xfrm>
              <a:off x="2019252"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B</a:t>
              </a:r>
            </a:p>
          </p:txBody>
        </p:sp>
        <p:sp>
          <p:nvSpPr>
            <p:cNvPr id="92" name="Rectangle 91">
              <a:extLst>
                <a:ext uri="{FF2B5EF4-FFF2-40B4-BE49-F238E27FC236}">
                  <a16:creationId xmlns:a16="http://schemas.microsoft.com/office/drawing/2014/main" id="{EB0120F0-E514-4F9C-B7AF-360869814C92}"/>
                </a:ext>
              </a:extLst>
            </p:cNvPr>
            <p:cNvSpPr/>
            <p:nvPr/>
          </p:nvSpPr>
          <p:spPr bwMode="auto">
            <a:xfrm>
              <a:off x="2824654"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C</a:t>
              </a:r>
            </a:p>
          </p:txBody>
        </p:sp>
        <p:sp>
          <p:nvSpPr>
            <p:cNvPr id="93" name="Rectangle 92">
              <a:extLst>
                <a:ext uri="{FF2B5EF4-FFF2-40B4-BE49-F238E27FC236}">
                  <a16:creationId xmlns:a16="http://schemas.microsoft.com/office/drawing/2014/main" id="{2DFFA865-64D9-43BD-8616-77D06B3DD803}"/>
                </a:ext>
              </a:extLst>
            </p:cNvPr>
            <p:cNvSpPr/>
            <p:nvPr/>
          </p:nvSpPr>
          <p:spPr bwMode="auto">
            <a:xfrm>
              <a:off x="3774866" y="1577884"/>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D</a:t>
              </a:r>
            </a:p>
          </p:txBody>
        </p:sp>
        <p:sp>
          <p:nvSpPr>
            <p:cNvPr id="74" name="ZoneTexte 73">
              <a:extLst>
                <a:ext uri="{FF2B5EF4-FFF2-40B4-BE49-F238E27FC236}">
                  <a16:creationId xmlns:a16="http://schemas.microsoft.com/office/drawing/2014/main" id="{B0A0D9FD-6BFD-4B90-B264-BC8DB8AC2A22}"/>
                </a:ext>
              </a:extLst>
            </p:cNvPr>
            <p:cNvSpPr txBox="1"/>
            <p:nvPr/>
          </p:nvSpPr>
          <p:spPr>
            <a:xfrm>
              <a:off x="1061021" y="1866347"/>
              <a:ext cx="659789"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Risk</a:t>
              </a:r>
            </a:p>
          </p:txBody>
        </p:sp>
        <p:sp>
          <p:nvSpPr>
            <p:cNvPr id="76" name="ZoneTexte 75">
              <a:extLst>
                <a:ext uri="{FF2B5EF4-FFF2-40B4-BE49-F238E27FC236}">
                  <a16:creationId xmlns:a16="http://schemas.microsoft.com/office/drawing/2014/main" id="{449C5D3A-1E00-44D1-ABE4-3063080264B6}"/>
                </a:ext>
              </a:extLst>
            </p:cNvPr>
            <p:cNvSpPr txBox="1"/>
            <p:nvPr/>
          </p:nvSpPr>
          <p:spPr>
            <a:xfrm>
              <a:off x="1636309" y="1863615"/>
              <a:ext cx="1012587"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ompliance</a:t>
              </a:r>
            </a:p>
          </p:txBody>
        </p:sp>
        <p:sp>
          <p:nvSpPr>
            <p:cNvPr id="77" name="Rectangle 76">
              <a:extLst>
                <a:ext uri="{FF2B5EF4-FFF2-40B4-BE49-F238E27FC236}">
                  <a16:creationId xmlns:a16="http://schemas.microsoft.com/office/drawing/2014/main" id="{8DC60C25-C9B5-4642-ABDB-BD662034E44D}"/>
                </a:ext>
              </a:extLst>
            </p:cNvPr>
            <p:cNvSpPr/>
            <p:nvPr/>
          </p:nvSpPr>
          <p:spPr bwMode="auto">
            <a:xfrm>
              <a:off x="2529336"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78" name="ZoneTexte 77">
              <a:extLst>
                <a:ext uri="{FF2B5EF4-FFF2-40B4-BE49-F238E27FC236}">
                  <a16:creationId xmlns:a16="http://schemas.microsoft.com/office/drawing/2014/main" id="{9CD81375-473A-406E-AEE4-953258755F11}"/>
                </a:ext>
              </a:extLst>
            </p:cNvPr>
            <p:cNvSpPr txBox="1"/>
            <p:nvPr/>
          </p:nvSpPr>
          <p:spPr>
            <a:xfrm>
              <a:off x="2424669" y="1872342"/>
              <a:ext cx="1012587"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B2B Marketing</a:t>
              </a:r>
            </a:p>
          </p:txBody>
        </p:sp>
        <p:sp>
          <p:nvSpPr>
            <p:cNvPr id="84" name="Rectangle 83">
              <a:extLst>
                <a:ext uri="{FF2B5EF4-FFF2-40B4-BE49-F238E27FC236}">
                  <a16:creationId xmlns:a16="http://schemas.microsoft.com/office/drawing/2014/main" id="{BEB94551-8AD6-41D2-9CC1-108130024DB7}"/>
                </a:ext>
              </a:extLst>
            </p:cNvPr>
            <p:cNvSpPr/>
            <p:nvPr/>
          </p:nvSpPr>
          <p:spPr bwMode="auto">
            <a:xfrm>
              <a:off x="3289514" y="2111575"/>
              <a:ext cx="1152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85" name="ZoneTexte 84">
              <a:extLst>
                <a:ext uri="{FF2B5EF4-FFF2-40B4-BE49-F238E27FC236}">
                  <a16:creationId xmlns:a16="http://schemas.microsoft.com/office/drawing/2014/main" id="{FE8A55E8-0B7A-4BE2-BB01-E5664B407AA7}"/>
                </a:ext>
              </a:extLst>
            </p:cNvPr>
            <p:cNvSpPr txBox="1"/>
            <p:nvPr/>
          </p:nvSpPr>
          <p:spPr>
            <a:xfrm>
              <a:off x="3315097" y="1872342"/>
              <a:ext cx="1113846"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Other activities</a:t>
              </a:r>
            </a:p>
          </p:txBody>
        </p:sp>
        <p:cxnSp>
          <p:nvCxnSpPr>
            <p:cNvPr id="21" name="Straight Connector 156">
              <a:extLst>
                <a:ext uri="{FF2B5EF4-FFF2-40B4-BE49-F238E27FC236}">
                  <a16:creationId xmlns:a16="http://schemas.microsoft.com/office/drawing/2014/main" id="{825ED494-9978-495B-8E94-803106C05382}"/>
                </a:ext>
              </a:extLst>
            </p:cNvPr>
            <p:cNvCxnSpPr>
              <a:cxnSpLocks/>
            </p:cNvCxnSpPr>
            <p:nvPr/>
          </p:nvCxnSpPr>
          <p:spPr bwMode="auto">
            <a:xfrm flipV="1">
              <a:off x="640663" y="1489932"/>
              <a:ext cx="0" cy="195116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3" name="Straight Connector 157">
              <a:extLst>
                <a:ext uri="{FF2B5EF4-FFF2-40B4-BE49-F238E27FC236}">
                  <a16:creationId xmlns:a16="http://schemas.microsoft.com/office/drawing/2014/main" id="{9B60A36A-ABD0-46AD-BB70-00F18900F6F6}"/>
                </a:ext>
              </a:extLst>
            </p:cNvPr>
            <p:cNvCxnSpPr>
              <a:cxnSpLocks/>
            </p:cNvCxnSpPr>
            <p:nvPr/>
          </p:nvCxnSpPr>
          <p:spPr bwMode="auto">
            <a:xfrm>
              <a:off x="640663" y="1489932"/>
              <a:ext cx="4028379"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4" name="Oval 158">
              <a:extLst>
                <a:ext uri="{FF2B5EF4-FFF2-40B4-BE49-F238E27FC236}">
                  <a16:creationId xmlns:a16="http://schemas.microsoft.com/office/drawing/2014/main" id="{14E5BD6B-24E8-46B4-B66B-093EFC797D55}"/>
                </a:ext>
              </a:extLst>
            </p:cNvPr>
            <p:cNvSpPr/>
            <p:nvPr/>
          </p:nvSpPr>
          <p:spPr bwMode="auto">
            <a:xfrm>
              <a:off x="1866783" y="1361923"/>
              <a:ext cx="1453776" cy="206992"/>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a:r>
                <a:rPr lang="en-GB" sz="900" b="1">
                  <a:latin typeface="Trebuchet MS" pitchFamily="34" charset="0"/>
                </a:rPr>
                <a:t>CAGR</a:t>
              </a:r>
              <a:r>
                <a:rPr lang="en-GB" sz="900" b="1" baseline="-25000">
                  <a:latin typeface="Trebuchet MS" pitchFamily="34" charset="0"/>
                </a:rPr>
                <a:t>20-25 </a:t>
              </a:r>
              <a:r>
                <a:rPr kumimoji="0" lang="en-GB" sz="900" b="1" i="0" u="none" strike="noStrike" cap="none" normalizeH="0" baseline="0">
                  <a:ln>
                    <a:noFill/>
                  </a:ln>
                  <a:solidFill>
                    <a:schemeClr val="tx1"/>
                  </a:solidFill>
                  <a:effectLst/>
                  <a:latin typeface="Trebuchet MS" pitchFamily="34" charset="0"/>
                </a:rPr>
                <a:t>: +</a:t>
              </a:r>
              <a:r>
                <a:rPr lang="en-GB" sz="900" b="1">
                  <a:latin typeface="Trebuchet MS" pitchFamily="34" charset="0"/>
                </a:rPr>
                <a:t>5,5</a:t>
              </a:r>
              <a:r>
                <a:rPr kumimoji="0" lang="en-GB" sz="900" b="1" i="0" u="none" strike="noStrike" cap="none" normalizeH="0" baseline="0">
                  <a:ln>
                    <a:noFill/>
                  </a:ln>
                  <a:solidFill>
                    <a:schemeClr val="tx1"/>
                  </a:solidFill>
                  <a:effectLst/>
                  <a:latin typeface="Trebuchet MS" pitchFamily="34" charset="0"/>
                </a:rPr>
                <a:t>%</a:t>
              </a:r>
            </a:p>
          </p:txBody>
        </p:sp>
        <p:cxnSp>
          <p:nvCxnSpPr>
            <p:cNvPr id="86" name="Straight Connector 156">
              <a:extLst>
                <a:ext uri="{FF2B5EF4-FFF2-40B4-BE49-F238E27FC236}">
                  <a16:creationId xmlns:a16="http://schemas.microsoft.com/office/drawing/2014/main" id="{DFACA196-CA36-4447-9946-551E777C4F5C}"/>
                </a:ext>
              </a:extLst>
            </p:cNvPr>
            <p:cNvCxnSpPr>
              <a:cxnSpLocks/>
            </p:cNvCxnSpPr>
            <p:nvPr/>
          </p:nvCxnSpPr>
          <p:spPr bwMode="auto">
            <a:xfrm flipV="1">
              <a:off x="4669042" y="1489933"/>
              <a:ext cx="0" cy="751741"/>
            </a:xfrm>
            <a:prstGeom prst="line">
              <a:avLst/>
            </a:prstGeom>
            <a:solidFill>
              <a:schemeClr val="accent1"/>
            </a:solidFill>
            <a:ln w="9525" cap="flat" cmpd="sng" algn="ctr">
              <a:solidFill>
                <a:schemeClr val="tx1"/>
              </a:solidFill>
              <a:prstDash val="solid"/>
              <a:round/>
              <a:headEnd type="triangle" w="med" len="med"/>
              <a:tailEnd type="none" w="med" len="med"/>
            </a:ln>
            <a:effectLst/>
          </p:spPr>
        </p:cxnSp>
        <p:cxnSp>
          <p:nvCxnSpPr>
            <p:cNvPr id="19" name="Connecteur droit 18">
              <a:extLst>
                <a:ext uri="{FF2B5EF4-FFF2-40B4-BE49-F238E27FC236}">
                  <a16:creationId xmlns:a16="http://schemas.microsoft.com/office/drawing/2014/main" id="{622E5C0F-C3B8-4E84-AE37-EB5B71E1CC78}"/>
                </a:ext>
              </a:extLst>
            </p:cNvPr>
            <p:cNvCxnSpPr/>
            <p:nvPr/>
          </p:nvCxnSpPr>
          <p:spPr bwMode="auto">
            <a:xfrm flipV="1">
              <a:off x="580240" y="3972348"/>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127" name="Connecteur droit 126">
              <a:extLst>
                <a:ext uri="{FF2B5EF4-FFF2-40B4-BE49-F238E27FC236}">
                  <a16:creationId xmlns:a16="http://schemas.microsoft.com/office/drawing/2014/main" id="{3D91757D-0BBA-4ED4-A7D0-49832F493E4D}"/>
                </a:ext>
              </a:extLst>
            </p:cNvPr>
            <p:cNvCxnSpPr/>
            <p:nvPr/>
          </p:nvCxnSpPr>
          <p:spPr bwMode="auto">
            <a:xfrm flipV="1">
              <a:off x="580240" y="3929062"/>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129" name="Connecteur droit 128">
              <a:extLst>
                <a:ext uri="{FF2B5EF4-FFF2-40B4-BE49-F238E27FC236}">
                  <a16:creationId xmlns:a16="http://schemas.microsoft.com/office/drawing/2014/main" id="{C5D7932F-F714-423B-AC4F-55B7A03F9E48}"/>
                </a:ext>
              </a:extLst>
            </p:cNvPr>
            <p:cNvCxnSpPr/>
            <p:nvPr/>
          </p:nvCxnSpPr>
          <p:spPr bwMode="auto">
            <a:xfrm flipV="1">
              <a:off x="4451954" y="3972348"/>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130" name="Connecteur droit 129">
              <a:extLst>
                <a:ext uri="{FF2B5EF4-FFF2-40B4-BE49-F238E27FC236}">
                  <a16:creationId xmlns:a16="http://schemas.microsoft.com/office/drawing/2014/main" id="{CF19377B-B11A-4C10-9147-A12FA2E668E4}"/>
                </a:ext>
              </a:extLst>
            </p:cNvPr>
            <p:cNvCxnSpPr/>
            <p:nvPr/>
          </p:nvCxnSpPr>
          <p:spPr bwMode="auto">
            <a:xfrm flipV="1">
              <a:off x="4451954" y="3929062"/>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grpSp>
      <p:sp>
        <p:nvSpPr>
          <p:cNvPr id="2" name="Titre 1">
            <a:extLst>
              <a:ext uri="{FF2B5EF4-FFF2-40B4-BE49-F238E27FC236}">
                <a16:creationId xmlns:a16="http://schemas.microsoft.com/office/drawing/2014/main" id="{41BBF145-A48D-4579-9141-BF43E68DBC5B}"/>
              </a:ext>
            </a:extLst>
          </p:cNvPr>
          <p:cNvSpPr>
            <a:spLocks noGrp="1"/>
          </p:cNvSpPr>
          <p:nvPr>
            <p:ph type="title"/>
          </p:nvPr>
        </p:nvSpPr>
        <p:spPr>
          <a:xfrm>
            <a:off x="165600" y="147600"/>
            <a:ext cx="8332871" cy="684000"/>
          </a:xfrm>
        </p:spPr>
        <p:txBody>
          <a:bodyPr/>
          <a:lstStyle/>
          <a:p>
            <a:r>
              <a:rPr lang="en-GB">
                <a:latin typeface="Trebuchet MS" panose="020B0603020202020204" pitchFamily="34" charset="0"/>
              </a:rPr>
              <a:t>Overall, </a:t>
            </a:r>
            <a:r>
              <a:rPr lang="en-GB" err="1">
                <a:solidFill>
                  <a:schemeClr val="tx2"/>
                </a:solidFill>
                <a:latin typeface="Trebuchet MS" panose="020B0603020202020204" pitchFamily="34" charset="0"/>
              </a:rPr>
              <a:t>Altares</a:t>
            </a:r>
            <a:r>
              <a:rPr lang="en-GB">
                <a:solidFill>
                  <a:schemeClr val="tx2"/>
                </a:solidFill>
                <a:latin typeface="Trebuchet MS" panose="020B0603020202020204" pitchFamily="34" charset="0"/>
              </a:rPr>
              <a:t> business plan </a:t>
            </a:r>
            <a:r>
              <a:rPr lang="en-GB">
                <a:latin typeface="Trebuchet MS" panose="020B0603020202020204" pitchFamily="34" charset="0"/>
              </a:rPr>
              <a:t>appears as </a:t>
            </a:r>
            <a:r>
              <a:rPr lang="en-GB">
                <a:solidFill>
                  <a:schemeClr val="tx2"/>
                </a:solidFill>
                <a:latin typeface="Trebuchet MS" panose="020B0603020202020204" pitchFamily="34" charset="0"/>
              </a:rPr>
              <a:t>achievable</a:t>
            </a:r>
            <a:r>
              <a:rPr lang="en-GB">
                <a:latin typeface="Trebuchet MS" panose="020B0603020202020204" pitchFamily="34" charset="0"/>
              </a:rPr>
              <a:t>, according to </a:t>
            </a:r>
            <a:r>
              <a:rPr lang="en-GB">
                <a:solidFill>
                  <a:schemeClr val="tx2"/>
                </a:solidFill>
                <a:latin typeface="Trebuchet MS" panose="020B0603020202020204" pitchFamily="34" charset="0"/>
              </a:rPr>
              <a:t>recent performance </a:t>
            </a:r>
            <a:r>
              <a:rPr lang="en-GB">
                <a:latin typeface="Trebuchet MS" panose="020B0603020202020204" pitchFamily="34" charset="0"/>
              </a:rPr>
              <a:t>and </a:t>
            </a:r>
            <a:r>
              <a:rPr lang="en-GB">
                <a:solidFill>
                  <a:schemeClr val="tx2"/>
                </a:solidFill>
                <a:latin typeface="Trebuchet MS" panose="020B0603020202020204" pitchFamily="34" charset="0"/>
              </a:rPr>
              <a:t>ongoing strategic projects </a:t>
            </a:r>
            <a:r>
              <a:rPr lang="en-GB">
                <a:latin typeface="Trebuchet MS" panose="020B0603020202020204" pitchFamily="34" charset="0"/>
              </a:rPr>
              <a:t>launched by the new management</a:t>
            </a:r>
          </a:p>
        </p:txBody>
      </p:sp>
      <p:sp>
        <p:nvSpPr>
          <p:cNvPr id="3" name="Espace réservé du texte 2">
            <a:extLst>
              <a:ext uri="{FF2B5EF4-FFF2-40B4-BE49-F238E27FC236}">
                <a16:creationId xmlns:a16="http://schemas.microsoft.com/office/drawing/2014/main" id="{73049BF9-8D13-481B-9A48-46C6C4E9E852}"/>
              </a:ext>
            </a:extLst>
          </p:cNvPr>
          <p:cNvSpPr>
            <a:spLocks noGrp="1"/>
          </p:cNvSpPr>
          <p:nvPr>
            <p:ph type="body" sz="quarter" idx="10"/>
          </p:nvPr>
        </p:nvSpPr>
        <p:spPr/>
        <p:txBody>
          <a:bodyPr/>
          <a:lstStyle/>
          <a:p>
            <a:r>
              <a:rPr lang="en-GB" sz="800" i="1" kern="0"/>
              <a:t>Sources: eleven research &amp; analysis, company data, interviews with management</a:t>
            </a:r>
          </a:p>
        </p:txBody>
      </p:sp>
      <p:cxnSp>
        <p:nvCxnSpPr>
          <p:cNvPr id="6" name="Connecteur droit 4">
            <a:extLst>
              <a:ext uri="{FF2B5EF4-FFF2-40B4-BE49-F238E27FC236}">
                <a16:creationId xmlns:a16="http://schemas.microsoft.com/office/drawing/2014/main" id="{C77CA9A7-4E8D-472A-BDF7-16095C994634}"/>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0" name="TextBox 30">
            <a:extLst>
              <a:ext uri="{FF2B5EF4-FFF2-40B4-BE49-F238E27FC236}">
                <a16:creationId xmlns:a16="http://schemas.microsoft.com/office/drawing/2014/main" id="{99E0C0D1-7BEF-45AF-9AF8-43C5BF48838D}"/>
              </a:ext>
            </a:extLst>
          </p:cNvPr>
          <p:cNvSpPr txBox="1"/>
          <p:nvPr/>
        </p:nvSpPr>
        <p:spPr>
          <a:xfrm>
            <a:off x="2641561" y="978303"/>
            <a:ext cx="4622878"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a:latin typeface="Trebuchet MS" panose="020B0603020202020204" pitchFamily="34" charset="0"/>
              </a:rPr>
              <a:t>Breakdown of </a:t>
            </a:r>
            <a:r>
              <a:rPr lang="en-GB" sz="1000" err="1">
                <a:latin typeface="Trebuchet MS" panose="020B0603020202020204" pitchFamily="34" charset="0"/>
              </a:rPr>
              <a:t>Altares</a:t>
            </a:r>
            <a:r>
              <a:rPr lang="en-GB" sz="1000">
                <a:latin typeface="Trebuchet MS" panose="020B0603020202020204" pitchFamily="34" charset="0"/>
              </a:rPr>
              <a:t>’ revenue growth forecasts by business line</a:t>
            </a:r>
          </a:p>
        </p:txBody>
      </p:sp>
      <p:cxnSp>
        <p:nvCxnSpPr>
          <p:cNvPr id="29" name="Connecteur droit 28">
            <a:extLst>
              <a:ext uri="{FF2B5EF4-FFF2-40B4-BE49-F238E27FC236}">
                <a16:creationId xmlns:a16="http://schemas.microsoft.com/office/drawing/2014/main" id="{457E11E8-660B-49F3-B83F-02E89B5405AC}"/>
              </a:ext>
            </a:extLst>
          </p:cNvPr>
          <p:cNvCxnSpPr>
            <a:cxnSpLocks/>
          </p:cNvCxnSpPr>
          <p:nvPr/>
        </p:nvCxnSpPr>
        <p:spPr bwMode="auto">
          <a:xfrm>
            <a:off x="5179680" y="1353207"/>
            <a:ext cx="0" cy="5040000"/>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67" name="Rectangle 66">
            <a:extLst>
              <a:ext uri="{FF2B5EF4-FFF2-40B4-BE49-F238E27FC236}">
                <a16:creationId xmlns:a16="http://schemas.microsoft.com/office/drawing/2014/main" id="{395D9023-BB8D-4C07-A58A-9CA420892AF9}"/>
              </a:ext>
            </a:extLst>
          </p:cNvPr>
          <p:cNvSpPr/>
          <p:nvPr/>
        </p:nvSpPr>
        <p:spPr bwMode="auto">
          <a:xfrm>
            <a:off x="5349014" y="1345553"/>
            <a:ext cx="4460121" cy="5064868"/>
          </a:xfrm>
          <a:prstGeom prst="rect">
            <a:avLst/>
          </a:prstGeom>
          <a:pattFill prst="ltUpDiag">
            <a:fgClr>
              <a:schemeClr val="bg2">
                <a:lumMod val="20000"/>
                <a:lumOff val="80000"/>
              </a:schemeClr>
            </a:fgClr>
            <a:bgClr>
              <a:schemeClr val="bg1"/>
            </a:bgClr>
          </a:patt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50" b="0" i="0" u="none" strike="noStrike" cap="none" normalizeH="0" baseline="0">
              <a:ln>
                <a:noFill/>
              </a:ln>
              <a:solidFill>
                <a:schemeClr val="tx1"/>
              </a:solidFill>
              <a:effectLst/>
              <a:latin typeface="Trebuchet MS" pitchFamily="34" charset="0"/>
            </a:endParaRPr>
          </a:p>
        </p:txBody>
      </p:sp>
      <p:sp>
        <p:nvSpPr>
          <p:cNvPr id="69" name="Rectangle 68">
            <a:extLst>
              <a:ext uri="{FF2B5EF4-FFF2-40B4-BE49-F238E27FC236}">
                <a16:creationId xmlns:a16="http://schemas.microsoft.com/office/drawing/2014/main" id="{14932ABF-B3F2-4614-9FA3-744906B2F197}"/>
              </a:ext>
            </a:extLst>
          </p:cNvPr>
          <p:cNvSpPr/>
          <p:nvPr/>
        </p:nvSpPr>
        <p:spPr bwMode="auto">
          <a:xfrm>
            <a:off x="5170683" y="1310498"/>
            <a:ext cx="1450390" cy="22809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300"/>
              </a:spcAft>
            </a:pPr>
            <a:r>
              <a:rPr lang="en-GB" sz="1050" b="1" i="1">
                <a:latin typeface="Trebuchet MS" panose="020B0603020202020204" pitchFamily="34" charset="0"/>
              </a:rPr>
              <a:t>BP value buckets</a:t>
            </a:r>
            <a:endParaRPr lang="en-GB" sz="1050" i="1">
              <a:latin typeface="Trebuchet MS" panose="020B0603020202020204" pitchFamily="34" charset="0"/>
            </a:endParaRPr>
          </a:p>
        </p:txBody>
      </p:sp>
      <p:sp>
        <p:nvSpPr>
          <p:cNvPr id="71" name="Rectangle 70">
            <a:extLst>
              <a:ext uri="{FF2B5EF4-FFF2-40B4-BE49-F238E27FC236}">
                <a16:creationId xmlns:a16="http://schemas.microsoft.com/office/drawing/2014/main" id="{AD9B7B8C-EC95-4D2A-9D6F-36CF469DC9DC}"/>
              </a:ext>
            </a:extLst>
          </p:cNvPr>
          <p:cNvSpPr/>
          <p:nvPr/>
        </p:nvSpPr>
        <p:spPr bwMode="auto">
          <a:xfrm>
            <a:off x="6449088" y="5200952"/>
            <a:ext cx="3280809" cy="540000"/>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Achievable</a:t>
            </a:r>
          </a:p>
          <a:p>
            <a:pPr marL="171450" lvl="0" indent="-171450">
              <a:lnSpc>
                <a:spcPct val="107000"/>
              </a:lnSpc>
              <a:spcBef>
                <a:spcPts val="0"/>
              </a:spcBef>
              <a:buClr>
                <a:schemeClr val="tx1"/>
              </a:buClr>
              <a:buFont typeface="Arial" panose="020B0604020202020204" pitchFamily="34" charset="0"/>
              <a:buChar char="•"/>
            </a:pPr>
            <a:r>
              <a:rPr lang="en-GB" sz="900">
                <a:solidFill>
                  <a:schemeClr val="tx2"/>
                </a:solidFill>
                <a:latin typeface="Trebuchet MS" panose="020B0603020202020204" pitchFamily="34" charset="0"/>
              </a:rPr>
              <a:t>Contract-secured </a:t>
            </a:r>
            <a:r>
              <a:rPr lang="en-GB" sz="900">
                <a:latin typeface="Trebuchet MS" panose="020B0603020202020204" pitchFamily="34" charset="0"/>
              </a:rPr>
              <a:t>growth of </a:t>
            </a:r>
            <a:r>
              <a:rPr lang="en-GB" sz="900" err="1">
                <a:latin typeface="Trebuchet MS" panose="020B0603020202020204" pitchFamily="34" charset="0"/>
              </a:rPr>
              <a:t>Xborder</a:t>
            </a:r>
            <a:r>
              <a:rPr lang="en-GB" sz="900">
                <a:latin typeface="Trebuchet MS" panose="020B0603020202020204" pitchFamily="34" charset="0"/>
              </a:rPr>
              <a:t> fees</a:t>
            </a:r>
          </a:p>
          <a:p>
            <a:pPr marL="171450" lvl="0" indent="-171450">
              <a:lnSpc>
                <a:spcPct val="107000"/>
              </a:lnSpc>
              <a:spcBef>
                <a:spcPts val="0"/>
              </a:spcBef>
              <a:buClr>
                <a:schemeClr val="tx1"/>
              </a:buClr>
              <a:buFont typeface="Arial" panose="020B0604020202020204" pitchFamily="34" charset="0"/>
              <a:buChar char="•"/>
            </a:pPr>
            <a:r>
              <a:rPr lang="en-GB" sz="900">
                <a:latin typeface="Trebuchet MS" panose="020B0603020202020204" pitchFamily="34" charset="0"/>
              </a:rPr>
              <a:t>Growth of </a:t>
            </a:r>
            <a:r>
              <a:rPr lang="en-GB" sz="900">
                <a:solidFill>
                  <a:schemeClr val="tx2"/>
                </a:solidFill>
                <a:latin typeface="Trebuchet MS" panose="020B0603020202020204" pitchFamily="34" charset="0"/>
              </a:rPr>
              <a:t>new D&amp;B</a:t>
            </a:r>
            <a:r>
              <a:rPr lang="en-GB" sz="900">
                <a:latin typeface="Trebuchet MS" panose="020B0603020202020204" pitchFamily="34" charset="0"/>
              </a:rPr>
              <a:t> products and of </a:t>
            </a:r>
            <a:r>
              <a:rPr lang="en-GB" sz="900">
                <a:solidFill>
                  <a:schemeClr val="tx2"/>
                </a:solidFill>
                <a:latin typeface="Trebuchet MS" panose="020B0603020202020204" pitchFamily="34" charset="0"/>
              </a:rPr>
              <a:t>Maghreb</a:t>
            </a:r>
            <a:r>
              <a:rPr lang="en-GB" sz="900">
                <a:latin typeface="Trebuchet MS" panose="020B0603020202020204" pitchFamily="34" charset="0"/>
              </a:rPr>
              <a:t> </a:t>
            </a:r>
            <a:r>
              <a:rPr lang="en-GB" sz="900" err="1">
                <a:latin typeface="Trebuchet MS" panose="020B0603020202020204" pitchFamily="34" charset="0"/>
              </a:rPr>
              <a:t>Xborder</a:t>
            </a:r>
            <a:r>
              <a:rPr lang="en-GB" sz="900">
                <a:latin typeface="Trebuchet MS" panose="020B0603020202020204" pitchFamily="34" charset="0"/>
              </a:rPr>
              <a:t> fees</a:t>
            </a:r>
          </a:p>
          <a:p>
            <a:pPr lvl="0" algn="just">
              <a:lnSpc>
                <a:spcPct val="107000"/>
              </a:lnSpc>
            </a:pPr>
            <a:endParaRPr lang="en-GB" sz="1000">
              <a:effectLst/>
              <a:latin typeface="Trebuchet MS" panose="020B0603020202020204" pitchFamily="34" charset="0"/>
              <a:ea typeface="Calibri" panose="020F0502020204030204" pitchFamily="34" charset="0"/>
              <a:cs typeface="Arial" panose="020B0604020202020204" pitchFamily="34" charset="0"/>
            </a:endParaRPr>
          </a:p>
        </p:txBody>
      </p:sp>
      <p:sp>
        <p:nvSpPr>
          <p:cNvPr id="79" name="Isosceles Triangle 125">
            <a:extLst>
              <a:ext uri="{FF2B5EF4-FFF2-40B4-BE49-F238E27FC236}">
                <a16:creationId xmlns:a16="http://schemas.microsoft.com/office/drawing/2014/main" id="{CD19E6A4-8567-4F4C-8660-64A9310AA4D4}"/>
              </a:ext>
            </a:extLst>
          </p:cNvPr>
          <p:cNvSpPr/>
          <p:nvPr/>
        </p:nvSpPr>
        <p:spPr bwMode="auto">
          <a:xfrm rot="5400000">
            <a:off x="4945346" y="3571330"/>
            <a:ext cx="538015" cy="184234"/>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80" name="Rectangle 79">
            <a:extLst>
              <a:ext uri="{FF2B5EF4-FFF2-40B4-BE49-F238E27FC236}">
                <a16:creationId xmlns:a16="http://schemas.microsoft.com/office/drawing/2014/main" id="{85224B74-BFCF-40D4-8F5A-4DBD358E4A6A}"/>
              </a:ext>
            </a:extLst>
          </p:cNvPr>
          <p:cNvSpPr/>
          <p:nvPr/>
        </p:nvSpPr>
        <p:spPr bwMode="auto">
          <a:xfrm>
            <a:off x="5394223" y="1519764"/>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A</a:t>
            </a:r>
          </a:p>
        </p:txBody>
      </p:sp>
      <p:sp>
        <p:nvSpPr>
          <p:cNvPr id="81" name="Rectangle 80">
            <a:extLst>
              <a:ext uri="{FF2B5EF4-FFF2-40B4-BE49-F238E27FC236}">
                <a16:creationId xmlns:a16="http://schemas.microsoft.com/office/drawing/2014/main" id="{67520AEC-ABAB-415A-ADD8-DF870797CCB0}"/>
              </a:ext>
            </a:extLst>
          </p:cNvPr>
          <p:cNvSpPr/>
          <p:nvPr/>
        </p:nvSpPr>
        <p:spPr bwMode="auto">
          <a:xfrm>
            <a:off x="5394223" y="28332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B</a:t>
            </a:r>
          </a:p>
        </p:txBody>
      </p:sp>
      <p:sp>
        <p:nvSpPr>
          <p:cNvPr id="82" name="Rectangle 81">
            <a:extLst>
              <a:ext uri="{FF2B5EF4-FFF2-40B4-BE49-F238E27FC236}">
                <a16:creationId xmlns:a16="http://schemas.microsoft.com/office/drawing/2014/main" id="{24EAE7A4-064F-4847-974C-384E1DE8F678}"/>
              </a:ext>
            </a:extLst>
          </p:cNvPr>
          <p:cNvSpPr/>
          <p:nvPr/>
        </p:nvSpPr>
        <p:spPr bwMode="auto">
          <a:xfrm>
            <a:off x="5394223" y="5200952"/>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D</a:t>
            </a:r>
          </a:p>
        </p:txBody>
      </p:sp>
      <p:sp>
        <p:nvSpPr>
          <p:cNvPr id="109" name="Rectangle 108">
            <a:extLst>
              <a:ext uri="{FF2B5EF4-FFF2-40B4-BE49-F238E27FC236}">
                <a16:creationId xmlns:a16="http://schemas.microsoft.com/office/drawing/2014/main" id="{4ECC307B-5762-484B-95C3-CE4E6DCFD810}"/>
              </a:ext>
            </a:extLst>
          </p:cNvPr>
          <p:cNvSpPr/>
          <p:nvPr/>
        </p:nvSpPr>
        <p:spPr bwMode="auto">
          <a:xfrm>
            <a:off x="6449088" y="4103077"/>
            <a:ext cx="3280809" cy="1045840"/>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a:spcBef>
                <a:spcPts val="300"/>
              </a:spcBef>
            </a:pPr>
            <a:r>
              <a:rPr lang="en-GB" sz="1050" b="1">
                <a:solidFill>
                  <a:schemeClr val="tx2"/>
                </a:solidFill>
                <a:cs typeface="Arial"/>
              </a:rPr>
              <a:t>Achievable</a:t>
            </a:r>
            <a:endParaRPr lang="en-GB" sz="900">
              <a:solidFill>
                <a:schemeClr val="tx2"/>
              </a:solidFill>
              <a:cs typeface="Arial"/>
            </a:endParaRPr>
          </a:p>
          <a:p>
            <a:pPr marL="171450" indent="-171450">
              <a:spcBef>
                <a:spcPts val="0"/>
              </a:spcBef>
              <a:buClr>
                <a:schemeClr val="tx1"/>
              </a:buClr>
              <a:buFont typeface="Arial" panose="020B0604020202020204" pitchFamily="34" charset="0"/>
              <a:buChar char="•"/>
            </a:pPr>
            <a:r>
              <a:rPr lang="en-GB" sz="900">
                <a:solidFill>
                  <a:schemeClr val="tx2"/>
                </a:solidFill>
                <a:cs typeface="Arial"/>
              </a:rPr>
              <a:t>Ongoing product harmonization </a:t>
            </a:r>
            <a:r>
              <a:rPr lang="en-GB" sz="900">
                <a:cs typeface="Arial"/>
              </a:rPr>
              <a:t>and </a:t>
            </a:r>
            <a:r>
              <a:rPr lang="en-GB" sz="900">
                <a:solidFill>
                  <a:schemeClr val="tx2"/>
                </a:solidFill>
                <a:cs typeface="Arial"/>
              </a:rPr>
              <a:t>go-to-market</a:t>
            </a:r>
          </a:p>
          <a:p>
            <a:pPr marL="171450" indent="-171450">
              <a:spcBef>
                <a:spcPts val="0"/>
              </a:spcBef>
              <a:buClr>
                <a:schemeClr val="tx1"/>
              </a:buClr>
              <a:buFont typeface="Arial" panose="020B0604020202020204" pitchFamily="34" charset="0"/>
              <a:buChar char="•"/>
            </a:pPr>
            <a:r>
              <a:rPr lang="en-GB" sz="900">
                <a:solidFill>
                  <a:schemeClr val="tx2"/>
                </a:solidFill>
                <a:cs typeface="Arial"/>
              </a:rPr>
              <a:t>Data enrichment </a:t>
            </a:r>
            <a:r>
              <a:rPr lang="en-GB" sz="900">
                <a:cs typeface="Arial"/>
              </a:rPr>
              <a:t>of the products, combined with </a:t>
            </a:r>
            <a:r>
              <a:rPr lang="en-GB" sz="900">
                <a:solidFill>
                  <a:schemeClr val="tx2"/>
                </a:solidFill>
                <a:cs typeface="Arial"/>
              </a:rPr>
              <a:t>artificial intelligence </a:t>
            </a:r>
            <a:r>
              <a:rPr lang="en-GB" sz="900">
                <a:cs typeface="Arial"/>
              </a:rPr>
              <a:t>and growing</a:t>
            </a:r>
            <a:r>
              <a:rPr lang="en-GB" sz="900">
                <a:solidFill>
                  <a:schemeClr val="tx2"/>
                </a:solidFill>
                <a:cs typeface="Arial"/>
              </a:rPr>
              <a:t> integration</a:t>
            </a:r>
            <a:endParaRPr lang="en-GB" sz="900">
              <a:cs typeface="Arial"/>
            </a:endParaRPr>
          </a:p>
          <a:p>
            <a:pPr marL="171450" indent="-171450">
              <a:spcBef>
                <a:spcPts val="0"/>
              </a:spcBef>
              <a:buClr>
                <a:schemeClr val="tx1"/>
              </a:buClr>
              <a:buFont typeface="Arial" panose="020B0604020202020204" pitchFamily="34" charset="0"/>
              <a:buChar char="•"/>
            </a:pPr>
            <a:r>
              <a:rPr lang="en-GB" sz="900">
                <a:solidFill>
                  <a:schemeClr val="tx2"/>
                </a:solidFill>
                <a:cs typeface="Arial"/>
              </a:rPr>
              <a:t>Platform strategy </a:t>
            </a:r>
            <a:r>
              <a:rPr lang="en-GB" sz="900">
                <a:cs typeface="Arial"/>
              </a:rPr>
              <a:t>consolidating targeting and activation of B2B audience</a:t>
            </a:r>
          </a:p>
          <a:p>
            <a:pPr>
              <a:spcBef>
                <a:spcPts val="0"/>
              </a:spcBef>
              <a:buClr>
                <a:schemeClr val="tx1"/>
              </a:buClr>
            </a:pPr>
            <a:r>
              <a:rPr lang="en-GB" sz="900">
                <a:cs typeface="Arial"/>
                <a:sym typeface="Wingdings" panose="05000000000000000000" pitchFamily="2" charset="2"/>
              </a:rPr>
              <a:t> </a:t>
            </a:r>
            <a:r>
              <a:rPr lang="en-GB" sz="900">
                <a:cs typeface="Arial"/>
              </a:rPr>
              <a:t>Subject to the delivery of the </a:t>
            </a:r>
            <a:r>
              <a:rPr lang="en-GB" sz="900">
                <a:solidFill>
                  <a:schemeClr val="tx2"/>
                </a:solidFill>
                <a:cs typeface="Arial"/>
              </a:rPr>
              <a:t>datahub project in BNL</a:t>
            </a:r>
          </a:p>
          <a:p>
            <a:pPr marL="171450" indent="-171450">
              <a:spcBef>
                <a:spcPts val="0"/>
              </a:spcBef>
              <a:buClr>
                <a:schemeClr val="tx1"/>
              </a:buClr>
              <a:buFont typeface="Arial" panose="020B0604020202020204" pitchFamily="34" charset="0"/>
              <a:buChar char="•"/>
            </a:pPr>
            <a:endParaRPr lang="en-GB" sz="900">
              <a:solidFill>
                <a:schemeClr val="tx2"/>
              </a:solidFill>
              <a:latin typeface="Trebuchet MS" panose="020B0603020202020204" pitchFamily="34" charset="0"/>
            </a:endParaRPr>
          </a:p>
        </p:txBody>
      </p:sp>
      <p:sp>
        <p:nvSpPr>
          <p:cNvPr id="110" name="Rectangle 109">
            <a:extLst>
              <a:ext uri="{FF2B5EF4-FFF2-40B4-BE49-F238E27FC236}">
                <a16:creationId xmlns:a16="http://schemas.microsoft.com/office/drawing/2014/main" id="{31B10026-F685-4E9C-8685-A675CDC44995}"/>
              </a:ext>
            </a:extLst>
          </p:cNvPr>
          <p:cNvSpPr/>
          <p:nvPr/>
        </p:nvSpPr>
        <p:spPr bwMode="auto">
          <a:xfrm>
            <a:off x="5394223" y="4098531"/>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C</a:t>
            </a:r>
          </a:p>
        </p:txBody>
      </p:sp>
      <p:grpSp>
        <p:nvGrpSpPr>
          <p:cNvPr id="136" name="Groupe 135">
            <a:extLst>
              <a:ext uri="{FF2B5EF4-FFF2-40B4-BE49-F238E27FC236}">
                <a16:creationId xmlns:a16="http://schemas.microsoft.com/office/drawing/2014/main" id="{0E2E0132-4928-48A3-81A2-F148EDBF5440}"/>
              </a:ext>
            </a:extLst>
          </p:cNvPr>
          <p:cNvGrpSpPr/>
          <p:nvPr/>
        </p:nvGrpSpPr>
        <p:grpSpPr>
          <a:xfrm>
            <a:off x="8448150" y="-11528"/>
            <a:ext cx="1435548" cy="588143"/>
            <a:chOff x="8448150" y="-11528"/>
            <a:chExt cx="1435548" cy="588143"/>
          </a:xfrm>
        </p:grpSpPr>
        <p:sp>
          <p:nvSpPr>
            <p:cNvPr id="137" name="Rectangle : coins arrondis 199">
              <a:extLst>
                <a:ext uri="{FF2B5EF4-FFF2-40B4-BE49-F238E27FC236}">
                  <a16:creationId xmlns:a16="http://schemas.microsoft.com/office/drawing/2014/main" id="{EBC0BF2E-2394-4848-88BE-E5C107D23CA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8" name="Rectangle : coins arrondis 200">
              <a:extLst>
                <a:ext uri="{FF2B5EF4-FFF2-40B4-BE49-F238E27FC236}">
                  <a16:creationId xmlns:a16="http://schemas.microsoft.com/office/drawing/2014/main" id="{7D65E3D7-5DDF-46AE-A0F5-D92B88ECDED2}"/>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9" name="Rectangle : coins arrondis 201">
              <a:extLst>
                <a:ext uri="{FF2B5EF4-FFF2-40B4-BE49-F238E27FC236}">
                  <a16:creationId xmlns:a16="http://schemas.microsoft.com/office/drawing/2014/main" id="{FDF7A913-D092-4B17-A259-CA3F4B6D3405}"/>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0" name="ZoneTexte 18">
              <a:extLst>
                <a:ext uri="{FF2B5EF4-FFF2-40B4-BE49-F238E27FC236}">
                  <a16:creationId xmlns:a16="http://schemas.microsoft.com/office/drawing/2014/main" id="{AB80A9D7-8C95-4C47-AEF4-EB3EA40E903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41" name="Graphique 128" descr="Jauge">
              <a:extLst>
                <a:ext uri="{FF2B5EF4-FFF2-40B4-BE49-F238E27FC236}">
                  <a16:creationId xmlns:a16="http://schemas.microsoft.com/office/drawing/2014/main" id="{0DD5F44C-E7D7-44D8-B4E4-9DA553E775C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53764" y="187516"/>
              <a:ext cx="234953" cy="218224"/>
            </a:xfrm>
            <a:prstGeom prst="rect">
              <a:avLst/>
            </a:prstGeom>
            <a:effectLst/>
          </p:spPr>
        </p:pic>
        <p:pic>
          <p:nvPicPr>
            <p:cNvPr id="142" name="Graphique 90" descr="Poignée de main">
              <a:extLst>
                <a:ext uri="{FF2B5EF4-FFF2-40B4-BE49-F238E27FC236}">
                  <a16:creationId xmlns:a16="http://schemas.microsoft.com/office/drawing/2014/main" id="{E31EE0FA-5612-4059-83C1-5956666D169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60868" y="152880"/>
              <a:ext cx="256313" cy="287496"/>
            </a:xfrm>
            <a:prstGeom prst="rect">
              <a:avLst/>
            </a:prstGeom>
            <a:effectLst/>
          </p:spPr>
        </p:pic>
        <p:pic>
          <p:nvPicPr>
            <p:cNvPr id="143" name="Graphique 74" descr="Mégaphone">
              <a:extLst>
                <a:ext uri="{FF2B5EF4-FFF2-40B4-BE49-F238E27FC236}">
                  <a16:creationId xmlns:a16="http://schemas.microsoft.com/office/drawing/2014/main" id="{786E1D59-B9F4-49AB-91A3-0527AED7622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389331" y="181519"/>
              <a:ext cx="233011" cy="216420"/>
            </a:xfrm>
            <a:prstGeom prst="rect">
              <a:avLst/>
            </a:prstGeom>
            <a:effectLst/>
          </p:spPr>
        </p:pic>
        <p:pic>
          <p:nvPicPr>
            <p:cNvPr id="144" name="Picture 2" descr="Drapeau France">
              <a:extLst>
                <a:ext uri="{FF2B5EF4-FFF2-40B4-BE49-F238E27FC236}">
                  <a16:creationId xmlns:a16="http://schemas.microsoft.com/office/drawing/2014/main" id="{A7E884AE-D876-4FDF-9A9E-7F5C91184B02}"/>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45" name="Picture 2" descr="5 ft x 3 ft 150 x 90 cm-DRAPEAU BELGE Belgique 100% Polyester ...">
              <a:extLst>
                <a:ext uri="{FF2B5EF4-FFF2-40B4-BE49-F238E27FC236}">
                  <a16:creationId xmlns:a16="http://schemas.microsoft.com/office/drawing/2014/main" id="{75065C02-6546-4CAB-AD88-515D3D28AF51}"/>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46" name="Picture 2 - 1" descr="Drapeau des Pays-Bas — Wikipédia">
              <a:extLst>
                <a:ext uri="{FF2B5EF4-FFF2-40B4-BE49-F238E27FC236}">
                  <a16:creationId xmlns:a16="http://schemas.microsoft.com/office/drawing/2014/main" id="{D8753B4F-39C7-419A-8207-B0B4FD6E5C19}"/>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47" name="Picture 2 - 2" descr="Drapeau du Luxembourg">
              <a:extLst>
                <a:ext uri="{FF2B5EF4-FFF2-40B4-BE49-F238E27FC236}">
                  <a16:creationId xmlns:a16="http://schemas.microsoft.com/office/drawing/2014/main" id="{9264BF57-BC40-42C0-BFA7-82094A957B9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48" name="ZoneTexte 147">
              <a:extLst>
                <a:ext uri="{FF2B5EF4-FFF2-40B4-BE49-F238E27FC236}">
                  <a16:creationId xmlns:a16="http://schemas.microsoft.com/office/drawing/2014/main" id="{25992A77-6B87-4B2B-8D07-B9238BF3F0A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sp>
        <p:nvSpPr>
          <p:cNvPr id="94" name="Triangle isocèle 93">
            <a:extLst>
              <a:ext uri="{FF2B5EF4-FFF2-40B4-BE49-F238E27FC236}">
                <a16:creationId xmlns:a16="http://schemas.microsoft.com/office/drawing/2014/main" id="{9C9F2D24-9073-45C0-B88A-BB6D0AD2D5D0}"/>
              </a:ext>
            </a:extLst>
          </p:cNvPr>
          <p:cNvSpPr/>
          <p:nvPr/>
        </p:nvSpPr>
        <p:spPr bwMode="auto">
          <a:xfrm flipV="1">
            <a:off x="5912676" y="5801991"/>
            <a:ext cx="3332796" cy="134852"/>
          </a:xfrm>
          <a:prstGeom prst="triangl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5" name="Rectangle 94">
            <a:extLst>
              <a:ext uri="{FF2B5EF4-FFF2-40B4-BE49-F238E27FC236}">
                <a16:creationId xmlns:a16="http://schemas.microsoft.com/office/drawing/2014/main" id="{FE9A3CCF-0E1C-4A01-B825-6EC293BD6D25}"/>
              </a:ext>
            </a:extLst>
          </p:cNvPr>
          <p:cNvSpPr/>
          <p:nvPr/>
        </p:nvSpPr>
        <p:spPr bwMode="auto">
          <a:xfrm>
            <a:off x="5394859" y="5988878"/>
            <a:ext cx="936000" cy="390726"/>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00" i="1">
                <a:latin typeface="Trebuchet MS" panose="020B0603020202020204" pitchFamily="34" charset="0"/>
              </a:rPr>
              <a:t>Overall assessment</a:t>
            </a:r>
            <a:endParaRPr lang="en-GB" sz="800" i="1">
              <a:latin typeface="Trebuchet MS" panose="020B0603020202020204" pitchFamily="34" charset="0"/>
            </a:endParaRPr>
          </a:p>
        </p:txBody>
      </p:sp>
      <p:sp>
        <p:nvSpPr>
          <p:cNvPr id="96" name="Rectangle 95">
            <a:extLst>
              <a:ext uri="{FF2B5EF4-FFF2-40B4-BE49-F238E27FC236}">
                <a16:creationId xmlns:a16="http://schemas.microsoft.com/office/drawing/2014/main" id="{7F6CF344-8867-42BA-B9C8-1B0814B86C77}"/>
              </a:ext>
            </a:extLst>
          </p:cNvPr>
          <p:cNvSpPr/>
          <p:nvPr/>
        </p:nvSpPr>
        <p:spPr bwMode="auto">
          <a:xfrm>
            <a:off x="6449089" y="5988878"/>
            <a:ext cx="3280808" cy="390726"/>
          </a:xfrm>
          <a:prstGeom prst="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square" lIns="72000" tIns="45720" rIns="3600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Achievable</a:t>
            </a:r>
          </a:p>
        </p:txBody>
      </p:sp>
      <p:sp>
        <p:nvSpPr>
          <p:cNvPr id="97" name="Rectangle 96">
            <a:extLst>
              <a:ext uri="{FF2B5EF4-FFF2-40B4-BE49-F238E27FC236}">
                <a16:creationId xmlns:a16="http://schemas.microsoft.com/office/drawing/2014/main" id="{89FD5C46-1A02-4BD4-BDD0-AE2F9F2302BC}"/>
              </a:ext>
            </a:extLst>
          </p:cNvPr>
          <p:cNvSpPr/>
          <p:nvPr/>
        </p:nvSpPr>
        <p:spPr bwMode="auto">
          <a:xfrm>
            <a:off x="6598732" y="1310499"/>
            <a:ext cx="2880970" cy="22809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300"/>
              </a:spcAft>
            </a:pPr>
            <a:r>
              <a:rPr lang="en-GB" sz="1050" b="1" i="1">
                <a:latin typeface="Trebuchet MS" panose="020B0603020202020204" pitchFamily="34" charset="0"/>
              </a:rPr>
              <a:t>eleven assessment</a:t>
            </a:r>
            <a:endParaRPr lang="en-GB" sz="1050" i="1">
              <a:latin typeface="Trebuchet MS" panose="020B0603020202020204" pitchFamily="34" charset="0"/>
            </a:endParaRPr>
          </a:p>
        </p:txBody>
      </p:sp>
      <p:sp>
        <p:nvSpPr>
          <p:cNvPr id="103" name="Rectangle 102">
            <a:extLst>
              <a:ext uri="{FF2B5EF4-FFF2-40B4-BE49-F238E27FC236}">
                <a16:creationId xmlns:a16="http://schemas.microsoft.com/office/drawing/2014/main" id="{61ABFF05-F090-4F9C-9748-EB4E2AC9ACBA}"/>
              </a:ext>
            </a:extLst>
          </p:cNvPr>
          <p:cNvSpPr/>
          <p:nvPr/>
        </p:nvSpPr>
        <p:spPr bwMode="auto">
          <a:xfrm>
            <a:off x="5394859" y="1515742"/>
            <a:ext cx="936000" cy="1271492"/>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Risk</a:t>
            </a:r>
          </a:p>
        </p:txBody>
      </p:sp>
      <p:sp>
        <p:nvSpPr>
          <p:cNvPr id="105" name="Rectangle 104">
            <a:extLst>
              <a:ext uri="{FF2B5EF4-FFF2-40B4-BE49-F238E27FC236}">
                <a16:creationId xmlns:a16="http://schemas.microsoft.com/office/drawing/2014/main" id="{202D74BB-1153-480E-86C5-37803D6DAC96}"/>
              </a:ext>
            </a:extLst>
          </p:cNvPr>
          <p:cNvSpPr/>
          <p:nvPr/>
        </p:nvSpPr>
        <p:spPr bwMode="auto">
          <a:xfrm>
            <a:off x="5394859" y="2835194"/>
            <a:ext cx="936000" cy="1214645"/>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Compliance</a:t>
            </a:r>
          </a:p>
        </p:txBody>
      </p:sp>
      <p:sp>
        <p:nvSpPr>
          <p:cNvPr id="128" name="Rectangle 127">
            <a:extLst>
              <a:ext uri="{FF2B5EF4-FFF2-40B4-BE49-F238E27FC236}">
                <a16:creationId xmlns:a16="http://schemas.microsoft.com/office/drawing/2014/main" id="{D1AA31DB-E764-4FC5-BEF5-895B2C06956F}"/>
              </a:ext>
            </a:extLst>
          </p:cNvPr>
          <p:cNvSpPr/>
          <p:nvPr/>
        </p:nvSpPr>
        <p:spPr bwMode="auto">
          <a:xfrm>
            <a:off x="5394859" y="4103077"/>
            <a:ext cx="936000" cy="104584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B2B Marketing</a:t>
            </a:r>
          </a:p>
          <a:p>
            <a:pPr algn="ctr">
              <a:spcBef>
                <a:spcPts val="300"/>
              </a:spcBef>
            </a:pPr>
            <a:endParaRPr lang="en-GB" sz="1050" b="1">
              <a:solidFill>
                <a:schemeClr val="tx2"/>
              </a:solidFill>
              <a:latin typeface="Trebuchet MS" panose="020B0603020202020204" pitchFamily="34" charset="0"/>
            </a:endParaRPr>
          </a:p>
        </p:txBody>
      </p:sp>
      <p:sp>
        <p:nvSpPr>
          <p:cNvPr id="149" name="Rectangle 148">
            <a:extLst>
              <a:ext uri="{FF2B5EF4-FFF2-40B4-BE49-F238E27FC236}">
                <a16:creationId xmlns:a16="http://schemas.microsoft.com/office/drawing/2014/main" id="{DC34049B-0477-4731-8D3A-BEA957D6CD1A}"/>
              </a:ext>
            </a:extLst>
          </p:cNvPr>
          <p:cNvSpPr/>
          <p:nvPr/>
        </p:nvSpPr>
        <p:spPr bwMode="auto">
          <a:xfrm>
            <a:off x="5394859" y="5200952"/>
            <a:ext cx="936000" cy="54000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Other </a:t>
            </a:r>
          </a:p>
          <a:p>
            <a:pPr algn="ctr">
              <a:spcBef>
                <a:spcPts val="300"/>
              </a:spcBef>
            </a:pPr>
            <a:r>
              <a:rPr lang="en-GB" sz="1050" b="1">
                <a:solidFill>
                  <a:schemeClr val="tx2"/>
                </a:solidFill>
                <a:latin typeface="Trebuchet MS" panose="020B0603020202020204" pitchFamily="34" charset="0"/>
              </a:rPr>
              <a:t>(DBI)</a:t>
            </a:r>
          </a:p>
        </p:txBody>
      </p:sp>
      <p:sp>
        <p:nvSpPr>
          <p:cNvPr id="70" name="Rectangle 69">
            <a:extLst>
              <a:ext uri="{FF2B5EF4-FFF2-40B4-BE49-F238E27FC236}">
                <a16:creationId xmlns:a16="http://schemas.microsoft.com/office/drawing/2014/main" id="{D6ECC423-047F-4FFA-A595-20B725419789}"/>
              </a:ext>
            </a:extLst>
          </p:cNvPr>
          <p:cNvSpPr/>
          <p:nvPr/>
        </p:nvSpPr>
        <p:spPr bwMode="auto">
          <a:xfrm>
            <a:off x="6449088" y="1515742"/>
            <a:ext cx="3280809" cy="127149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Achievable</a:t>
            </a:r>
            <a:endParaRPr lang="en-GB" sz="900">
              <a:latin typeface="Trebuchet MS" pitchFamily="34" charset="0"/>
            </a:endParaRPr>
          </a:p>
          <a:p>
            <a:pPr marL="0" lvl="1">
              <a:spcBef>
                <a:spcPts val="0"/>
              </a:spcBef>
              <a:spcAft>
                <a:spcPts val="600"/>
              </a:spcAft>
              <a:buClr>
                <a:schemeClr val="tx1"/>
              </a:buClr>
            </a:pPr>
            <a:r>
              <a:rPr lang="en-GB" sz="900" i="1">
                <a:latin typeface="Trebuchet MS" pitchFamily="34" charset="0"/>
              </a:rPr>
              <a:t>Main rationale:</a:t>
            </a:r>
          </a:p>
          <a:p>
            <a:pPr marL="228600" lvl="1" indent="-228600">
              <a:spcBef>
                <a:spcPts val="0"/>
              </a:spcBef>
              <a:buClr>
                <a:schemeClr val="tx1"/>
              </a:buClr>
              <a:buFont typeface="Arial" panose="020B0604020202020204" pitchFamily="34" charset="0"/>
              <a:buChar char="•"/>
            </a:pPr>
            <a:r>
              <a:rPr lang="en-GB" sz="900">
                <a:latin typeface="Trebuchet MS" pitchFamily="34" charset="0"/>
              </a:rPr>
              <a:t>Credit risk </a:t>
            </a:r>
            <a:r>
              <a:rPr lang="en-GB" sz="900">
                <a:solidFill>
                  <a:schemeClr val="tx2"/>
                </a:solidFill>
                <a:latin typeface="Trebuchet MS" pitchFamily="34" charset="0"/>
              </a:rPr>
              <a:t>products portfolio rationalization </a:t>
            </a:r>
          </a:p>
          <a:p>
            <a:pPr marL="228600" lvl="1" indent="-228600">
              <a:spcBef>
                <a:spcPts val="0"/>
              </a:spcBef>
              <a:buClr>
                <a:schemeClr val="tx1"/>
              </a:buClr>
              <a:buFont typeface="Arial" panose="020B0604020202020204" pitchFamily="34" charset="0"/>
              <a:buChar char="•"/>
            </a:pPr>
            <a:r>
              <a:rPr lang="en-GB" sz="900">
                <a:latin typeface="Trebuchet MS" panose="020B0603020202020204" pitchFamily="34" charset="0"/>
              </a:rPr>
              <a:t>Increased </a:t>
            </a:r>
            <a:r>
              <a:rPr lang="en-GB" sz="900">
                <a:solidFill>
                  <a:schemeClr val="tx2"/>
                </a:solidFill>
                <a:latin typeface="Trebuchet MS" pitchFamily="34" charset="0"/>
              </a:rPr>
              <a:t>commercial local proximity </a:t>
            </a:r>
            <a:r>
              <a:rPr lang="en-GB" sz="900">
                <a:latin typeface="Trebuchet MS" panose="020B0603020202020204" pitchFamily="34" charset="0"/>
              </a:rPr>
              <a:t>in France</a:t>
            </a:r>
            <a:endParaRPr lang="en-GB" sz="900">
              <a:solidFill>
                <a:schemeClr val="accent1"/>
              </a:solidFill>
              <a:latin typeface="Trebuchet MS" pitchFamily="34" charset="0"/>
            </a:endParaRPr>
          </a:p>
          <a:p>
            <a:pPr marL="228600" lvl="1" indent="-228600">
              <a:spcBef>
                <a:spcPts val="0"/>
              </a:spcBef>
              <a:buClr>
                <a:schemeClr val="tx1"/>
              </a:buClr>
              <a:buFont typeface="Arial" panose="020B0604020202020204" pitchFamily="34" charset="0"/>
              <a:buChar char="•"/>
            </a:pPr>
            <a:r>
              <a:rPr lang="en-GB" sz="900">
                <a:latin typeface="Trebuchet MS" panose="020B0603020202020204" pitchFamily="34" charset="0"/>
              </a:rPr>
              <a:t>Major </a:t>
            </a:r>
            <a:r>
              <a:rPr lang="en-GB" sz="900">
                <a:solidFill>
                  <a:schemeClr val="tx2"/>
                </a:solidFill>
                <a:latin typeface="Trebuchet MS" pitchFamily="34" charset="0"/>
              </a:rPr>
              <a:t>contract signed with the European Commission</a:t>
            </a:r>
            <a:endParaRPr lang="en-GB" sz="900">
              <a:latin typeface="Trebuchet MS" panose="020B0603020202020204" pitchFamily="34" charset="0"/>
            </a:endParaRPr>
          </a:p>
          <a:p>
            <a:pPr marL="228600" lvl="1" indent="-228600">
              <a:spcBef>
                <a:spcPts val="0"/>
              </a:spcBef>
              <a:buClr>
                <a:schemeClr val="tx1"/>
              </a:buClr>
              <a:buFont typeface="Arial" panose="020B0604020202020204" pitchFamily="34" charset="0"/>
              <a:buChar char="•"/>
            </a:pPr>
            <a:r>
              <a:rPr lang="en-GB" sz="900">
                <a:latin typeface="Trebuchet MS" panose="020B0603020202020204" pitchFamily="34" charset="0"/>
              </a:rPr>
              <a:t>Deployment of </a:t>
            </a:r>
            <a:r>
              <a:rPr lang="en-GB" sz="900">
                <a:solidFill>
                  <a:schemeClr val="tx2"/>
                </a:solidFill>
                <a:latin typeface="Trebuchet MS" panose="020B0603020202020204" pitchFamily="34" charset="0"/>
              </a:rPr>
              <a:t>local proprietary products in Benelux</a:t>
            </a:r>
            <a:endParaRPr lang="en-GB" sz="900">
              <a:solidFill>
                <a:schemeClr val="accent1"/>
              </a:solidFill>
              <a:latin typeface="Trebuchet MS" pitchFamily="34" charset="0"/>
            </a:endParaRPr>
          </a:p>
          <a:p>
            <a:pPr marL="228600" lvl="1" indent="-228600">
              <a:spcBef>
                <a:spcPts val="0"/>
              </a:spcBef>
              <a:buClr>
                <a:schemeClr val="tx1"/>
              </a:buClr>
              <a:buFont typeface="Arial" panose="020B0604020202020204" pitchFamily="34" charset="0"/>
              <a:buChar char="•"/>
            </a:pPr>
            <a:r>
              <a:rPr lang="en-GB" sz="900">
                <a:latin typeface="Trebuchet MS" panose="020B0603020202020204" pitchFamily="34" charset="0"/>
              </a:rPr>
              <a:t>Transversal </a:t>
            </a:r>
            <a:r>
              <a:rPr lang="en-GB" sz="900">
                <a:solidFill>
                  <a:schemeClr val="tx2"/>
                </a:solidFill>
                <a:latin typeface="Trebuchet MS" pitchFamily="34" charset="0"/>
              </a:rPr>
              <a:t>product innovation </a:t>
            </a:r>
            <a:r>
              <a:rPr lang="en-GB" sz="900">
                <a:latin typeface="Trebuchet MS" panose="020B0603020202020204" pitchFamily="34" charset="0"/>
              </a:rPr>
              <a:t>(API, data enrichment, </a:t>
            </a:r>
            <a:r>
              <a:rPr lang="en-GB" sz="900" err="1">
                <a:latin typeface="Trebuchet MS" panose="020B0603020202020204" pitchFamily="34" charset="0"/>
              </a:rPr>
              <a:t>AltaMarket</a:t>
            </a:r>
            <a:r>
              <a:rPr lang="en-GB" sz="900">
                <a:latin typeface="Trebuchet MS" panose="020B0603020202020204" pitchFamily="34" charset="0"/>
              </a:rPr>
              <a:t>…)</a:t>
            </a:r>
            <a:endParaRPr lang="en-GB" sz="900">
              <a:solidFill>
                <a:schemeClr val="accent1"/>
              </a:solidFill>
              <a:latin typeface="Trebuchet MS" pitchFamily="34" charset="0"/>
            </a:endParaRPr>
          </a:p>
          <a:p>
            <a:pPr marL="0" lvl="1">
              <a:spcBef>
                <a:spcPts val="300"/>
              </a:spcBef>
              <a:buClr>
                <a:schemeClr val="tx1"/>
              </a:buClr>
            </a:pPr>
            <a:endParaRPr lang="en-GB" sz="900">
              <a:latin typeface="Trebuchet MS" pitchFamily="34" charset="0"/>
            </a:endParaRPr>
          </a:p>
        </p:txBody>
      </p:sp>
      <p:sp>
        <p:nvSpPr>
          <p:cNvPr id="68" name="Rectangle 67">
            <a:extLst>
              <a:ext uri="{FF2B5EF4-FFF2-40B4-BE49-F238E27FC236}">
                <a16:creationId xmlns:a16="http://schemas.microsoft.com/office/drawing/2014/main" id="{EACF4C40-5F5A-4F7F-BA6B-57A106712858}"/>
              </a:ext>
            </a:extLst>
          </p:cNvPr>
          <p:cNvSpPr/>
          <p:nvPr/>
        </p:nvSpPr>
        <p:spPr bwMode="auto">
          <a:xfrm>
            <a:off x="6449088" y="2835194"/>
            <a:ext cx="3280809" cy="1214645"/>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a:spcBef>
                <a:spcPts val="300"/>
              </a:spcBef>
            </a:pPr>
            <a:r>
              <a:rPr lang="en-GB" sz="1050" b="1" dirty="0">
                <a:solidFill>
                  <a:schemeClr val="tx2"/>
                </a:solidFill>
                <a:latin typeface="Trebuchet MS" panose="020B0603020202020204" pitchFamily="34" charset="0"/>
              </a:rPr>
              <a:t>Achievable</a:t>
            </a:r>
          </a:p>
          <a:p>
            <a:pPr marL="171450" lvl="1" indent="-171450">
              <a:spcBef>
                <a:spcPts val="0"/>
              </a:spcBef>
              <a:buClr>
                <a:schemeClr val="tx1"/>
              </a:buClr>
              <a:buFont typeface="Arial" panose="020B0604020202020204" pitchFamily="34" charset="0"/>
              <a:buChar char="•"/>
            </a:pPr>
            <a:r>
              <a:rPr lang="en-GB" sz="900" dirty="0">
                <a:solidFill>
                  <a:schemeClr val="tx2"/>
                </a:solidFill>
                <a:latin typeface="Trebuchet MS" pitchFamily="34" charset="0"/>
              </a:rPr>
              <a:t>Favourable market trends </a:t>
            </a:r>
            <a:r>
              <a:rPr lang="en-GB" sz="900" dirty="0">
                <a:latin typeface="Trebuchet MS" pitchFamily="34" charset="0"/>
              </a:rPr>
              <a:t>with </a:t>
            </a:r>
            <a:r>
              <a:rPr lang="en-GB" sz="900" dirty="0">
                <a:solidFill>
                  <a:schemeClr val="tx2"/>
                </a:solidFill>
                <a:latin typeface="Trebuchet MS" pitchFamily="34" charset="0"/>
              </a:rPr>
              <a:t>increasing clients’ maturity</a:t>
            </a:r>
          </a:p>
          <a:p>
            <a:pPr marL="171450" lvl="1" indent="-171450">
              <a:spcBef>
                <a:spcPts val="0"/>
              </a:spcBef>
              <a:buClr>
                <a:schemeClr val="tx1"/>
              </a:buClr>
              <a:buFont typeface="Arial" panose="020B0604020202020204" pitchFamily="34" charset="0"/>
              <a:buChar char="•"/>
            </a:pPr>
            <a:r>
              <a:rPr lang="en-GB" sz="900" dirty="0" err="1">
                <a:latin typeface="Trebuchet MS" pitchFamily="34" charset="0"/>
              </a:rPr>
              <a:t>Altares</a:t>
            </a:r>
            <a:r>
              <a:rPr lang="en-GB" sz="900" dirty="0">
                <a:latin typeface="Trebuchet MS" pitchFamily="34" charset="0"/>
              </a:rPr>
              <a:t>’ focus on </a:t>
            </a:r>
            <a:r>
              <a:rPr lang="en-GB" sz="900" dirty="0">
                <a:solidFill>
                  <a:schemeClr val="tx2"/>
                </a:solidFill>
                <a:latin typeface="Trebuchet MS" pitchFamily="34" charset="0"/>
              </a:rPr>
              <a:t>anti-corruption corporate compliance segment </a:t>
            </a:r>
            <a:r>
              <a:rPr lang="en-GB" sz="900" dirty="0">
                <a:latin typeface="Trebuchet MS" pitchFamily="34" charset="0"/>
              </a:rPr>
              <a:t>(as opposed to AML) </a:t>
            </a:r>
          </a:p>
          <a:p>
            <a:pPr marL="171450" lvl="1" indent="-171450">
              <a:spcBef>
                <a:spcPts val="0"/>
              </a:spcBef>
              <a:buClr>
                <a:schemeClr val="tx1"/>
              </a:buClr>
              <a:buFont typeface="Arial" panose="020B0604020202020204" pitchFamily="34" charset="0"/>
              <a:buChar char="•"/>
            </a:pPr>
            <a:r>
              <a:rPr lang="en-GB" sz="900" dirty="0">
                <a:solidFill>
                  <a:schemeClr val="tx2"/>
                </a:solidFill>
                <a:latin typeface="Trebuchet MS" pitchFamily="34" charset="0"/>
              </a:rPr>
              <a:t>Limited competition </a:t>
            </a:r>
            <a:r>
              <a:rPr lang="en-GB" sz="900" dirty="0">
                <a:latin typeface="Trebuchet MS" pitchFamily="34" charset="0"/>
              </a:rPr>
              <a:t>and strong adherence with the existing customer base </a:t>
            </a:r>
          </a:p>
          <a:p>
            <a:pPr marL="171450" lvl="1" indent="-171450">
              <a:spcBef>
                <a:spcPts val="0"/>
              </a:spcBef>
              <a:buClr>
                <a:schemeClr val="tx1"/>
              </a:buClr>
              <a:buFont typeface="Arial" panose="020B0604020202020204" pitchFamily="34" charset="0"/>
              <a:buChar char="•"/>
            </a:pPr>
            <a:r>
              <a:rPr lang="en-GB" sz="900" dirty="0">
                <a:latin typeface="Trebuchet MS" pitchFamily="34" charset="0"/>
              </a:rPr>
              <a:t>Proprietary product (</a:t>
            </a:r>
            <a:r>
              <a:rPr lang="en-GB" sz="900" dirty="0" err="1">
                <a:latin typeface="Trebuchet MS" pitchFamily="34" charset="0"/>
              </a:rPr>
              <a:t>indueD</a:t>
            </a:r>
            <a:r>
              <a:rPr lang="en-GB" sz="900" dirty="0">
                <a:latin typeface="Trebuchet MS" pitchFamily="34" charset="0"/>
              </a:rPr>
              <a:t>) with a </a:t>
            </a:r>
            <a:r>
              <a:rPr lang="en-GB" sz="900" dirty="0">
                <a:solidFill>
                  <a:schemeClr val="tx2"/>
                </a:solidFill>
                <a:latin typeface="Trebuchet MS" pitchFamily="34" charset="0"/>
              </a:rPr>
              <a:t>strong momentum </a:t>
            </a:r>
            <a:r>
              <a:rPr lang="en-GB" sz="900" dirty="0">
                <a:latin typeface="Trebuchet MS" pitchFamily="34" charset="0"/>
              </a:rPr>
              <a:t>on the market and significant investment on the product</a:t>
            </a:r>
          </a:p>
          <a:p>
            <a:pPr marL="171450" indent="-171450" algn="ctr">
              <a:spcBef>
                <a:spcPts val="0"/>
              </a:spcBef>
              <a:buFont typeface="Arial" panose="020B0604020202020204" pitchFamily="34" charset="0"/>
              <a:buChar char="•"/>
            </a:pPr>
            <a:endParaRPr lang="en-GB" sz="900" b="1" dirty="0">
              <a:solidFill>
                <a:schemeClr val="tx2"/>
              </a:solidFill>
              <a:latin typeface="Trebuchet MS" panose="020B0603020202020204" pitchFamily="34" charset="0"/>
            </a:endParaRPr>
          </a:p>
          <a:p>
            <a:pPr algn="ctr">
              <a:spcBef>
                <a:spcPts val="300"/>
              </a:spcBef>
            </a:pPr>
            <a:endParaRPr lang="en-GB" sz="1050" dirty="0">
              <a:latin typeface="Trebuchet MS" panose="020B0603020202020204" pitchFamily="34" charset="0"/>
            </a:endParaRPr>
          </a:p>
        </p:txBody>
      </p:sp>
      <p:grpSp>
        <p:nvGrpSpPr>
          <p:cNvPr id="99" name="Groupe 98">
            <a:extLst>
              <a:ext uri="{FF2B5EF4-FFF2-40B4-BE49-F238E27FC236}">
                <a16:creationId xmlns:a16="http://schemas.microsoft.com/office/drawing/2014/main" id="{BE545D98-E5E5-43F0-9614-8F69D021EDCE}"/>
              </a:ext>
            </a:extLst>
          </p:cNvPr>
          <p:cNvGrpSpPr/>
          <p:nvPr/>
        </p:nvGrpSpPr>
        <p:grpSpPr>
          <a:xfrm rot="5400000">
            <a:off x="6024542" y="2497497"/>
            <a:ext cx="365753" cy="143284"/>
            <a:chOff x="6900119" y="6591876"/>
            <a:chExt cx="591606" cy="186820"/>
          </a:xfrm>
        </p:grpSpPr>
        <p:grpSp>
          <p:nvGrpSpPr>
            <p:cNvPr id="100" name="Groupe 99">
              <a:extLst>
                <a:ext uri="{FF2B5EF4-FFF2-40B4-BE49-F238E27FC236}">
                  <a16:creationId xmlns:a16="http://schemas.microsoft.com/office/drawing/2014/main" id="{E47736A3-6A92-41F6-8CCE-B3E2A9D9C1F4}"/>
                </a:ext>
              </a:extLst>
            </p:cNvPr>
            <p:cNvGrpSpPr/>
            <p:nvPr/>
          </p:nvGrpSpPr>
          <p:grpSpPr>
            <a:xfrm>
              <a:off x="6900119" y="6591876"/>
              <a:ext cx="591606" cy="186820"/>
              <a:chOff x="6900119" y="6591876"/>
              <a:chExt cx="591606" cy="186820"/>
            </a:xfrm>
          </p:grpSpPr>
          <p:sp>
            <p:nvSpPr>
              <p:cNvPr id="126" name="Rectangle 125">
                <a:extLst>
                  <a:ext uri="{FF2B5EF4-FFF2-40B4-BE49-F238E27FC236}">
                    <a16:creationId xmlns:a16="http://schemas.microsoft.com/office/drawing/2014/main" id="{99B24971-AFBE-4816-A877-E67D2C6F618B}"/>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1" name="Ellipse 130">
                <a:extLst>
                  <a:ext uri="{FF2B5EF4-FFF2-40B4-BE49-F238E27FC236}">
                    <a16:creationId xmlns:a16="http://schemas.microsoft.com/office/drawing/2014/main" id="{41992B07-9E81-48C1-8E2F-8D3002AB306A}"/>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01" name="Ellipse 100">
              <a:extLst>
                <a:ext uri="{FF2B5EF4-FFF2-40B4-BE49-F238E27FC236}">
                  <a16:creationId xmlns:a16="http://schemas.microsoft.com/office/drawing/2014/main" id="{1615A055-1FE9-4630-8EE5-D74DF04310BF}"/>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2" name="Ellipse 101">
              <a:extLst>
                <a:ext uri="{FF2B5EF4-FFF2-40B4-BE49-F238E27FC236}">
                  <a16:creationId xmlns:a16="http://schemas.microsoft.com/office/drawing/2014/main" id="{26FFA62C-B22D-4AD0-8C66-A2F9A60CEE46}"/>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32" name="Groupe 131">
            <a:extLst>
              <a:ext uri="{FF2B5EF4-FFF2-40B4-BE49-F238E27FC236}">
                <a16:creationId xmlns:a16="http://schemas.microsoft.com/office/drawing/2014/main" id="{1690D086-D53E-49B8-960E-745EBEB0F0AE}"/>
              </a:ext>
            </a:extLst>
          </p:cNvPr>
          <p:cNvGrpSpPr/>
          <p:nvPr/>
        </p:nvGrpSpPr>
        <p:grpSpPr>
          <a:xfrm rot="5400000">
            <a:off x="6024542" y="3760102"/>
            <a:ext cx="365753" cy="143284"/>
            <a:chOff x="6900119" y="6591876"/>
            <a:chExt cx="591606" cy="186820"/>
          </a:xfrm>
        </p:grpSpPr>
        <p:grpSp>
          <p:nvGrpSpPr>
            <p:cNvPr id="133" name="Groupe 132">
              <a:extLst>
                <a:ext uri="{FF2B5EF4-FFF2-40B4-BE49-F238E27FC236}">
                  <a16:creationId xmlns:a16="http://schemas.microsoft.com/office/drawing/2014/main" id="{DE995DE3-4726-4CEE-BFA9-B5746483DDAA}"/>
                </a:ext>
              </a:extLst>
            </p:cNvPr>
            <p:cNvGrpSpPr/>
            <p:nvPr/>
          </p:nvGrpSpPr>
          <p:grpSpPr>
            <a:xfrm>
              <a:off x="6900119" y="6591876"/>
              <a:ext cx="591606" cy="186820"/>
              <a:chOff x="6900119" y="6591876"/>
              <a:chExt cx="591606" cy="186820"/>
            </a:xfrm>
          </p:grpSpPr>
          <p:sp>
            <p:nvSpPr>
              <p:cNvPr id="150" name="Rectangle 149">
                <a:extLst>
                  <a:ext uri="{FF2B5EF4-FFF2-40B4-BE49-F238E27FC236}">
                    <a16:creationId xmlns:a16="http://schemas.microsoft.com/office/drawing/2014/main" id="{F0AABDD4-8B4A-4F8B-BDE2-11BA83646A69}"/>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1" name="Ellipse 150">
                <a:extLst>
                  <a:ext uri="{FF2B5EF4-FFF2-40B4-BE49-F238E27FC236}">
                    <a16:creationId xmlns:a16="http://schemas.microsoft.com/office/drawing/2014/main" id="{93EFC7AB-0EFD-4F20-BB23-79B70F43FF89}"/>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34" name="Ellipse 133">
              <a:extLst>
                <a:ext uri="{FF2B5EF4-FFF2-40B4-BE49-F238E27FC236}">
                  <a16:creationId xmlns:a16="http://schemas.microsoft.com/office/drawing/2014/main" id="{F71FB997-9948-4A2D-ADBC-BE8D6BD12F7D}"/>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5" name="Ellipse 134">
              <a:extLst>
                <a:ext uri="{FF2B5EF4-FFF2-40B4-BE49-F238E27FC236}">
                  <a16:creationId xmlns:a16="http://schemas.microsoft.com/office/drawing/2014/main" id="{31B11279-E75B-405E-BA87-B099864062A0}"/>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52" name="Groupe 151">
            <a:extLst>
              <a:ext uri="{FF2B5EF4-FFF2-40B4-BE49-F238E27FC236}">
                <a16:creationId xmlns:a16="http://schemas.microsoft.com/office/drawing/2014/main" id="{BF36767E-8DF8-4EFB-8DE7-E59D3D7A7237}"/>
              </a:ext>
            </a:extLst>
          </p:cNvPr>
          <p:cNvGrpSpPr/>
          <p:nvPr/>
        </p:nvGrpSpPr>
        <p:grpSpPr>
          <a:xfrm rot="5400000">
            <a:off x="6024542" y="4863995"/>
            <a:ext cx="365753" cy="143284"/>
            <a:chOff x="6900119" y="6591876"/>
            <a:chExt cx="591606" cy="186820"/>
          </a:xfrm>
        </p:grpSpPr>
        <p:grpSp>
          <p:nvGrpSpPr>
            <p:cNvPr id="153" name="Groupe 152">
              <a:extLst>
                <a:ext uri="{FF2B5EF4-FFF2-40B4-BE49-F238E27FC236}">
                  <a16:creationId xmlns:a16="http://schemas.microsoft.com/office/drawing/2014/main" id="{CB296E49-0AA8-4654-A548-A6C7C24C32E0}"/>
                </a:ext>
              </a:extLst>
            </p:cNvPr>
            <p:cNvGrpSpPr/>
            <p:nvPr/>
          </p:nvGrpSpPr>
          <p:grpSpPr>
            <a:xfrm>
              <a:off x="6900119" y="6591876"/>
              <a:ext cx="591606" cy="186820"/>
              <a:chOff x="6900119" y="6591876"/>
              <a:chExt cx="591606" cy="186820"/>
            </a:xfrm>
          </p:grpSpPr>
          <p:sp>
            <p:nvSpPr>
              <p:cNvPr id="156" name="Rectangle 155">
                <a:extLst>
                  <a:ext uri="{FF2B5EF4-FFF2-40B4-BE49-F238E27FC236}">
                    <a16:creationId xmlns:a16="http://schemas.microsoft.com/office/drawing/2014/main" id="{F082D3D3-3654-4484-A3AB-8B157DCA8F95}"/>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7" name="Ellipse 156">
                <a:extLst>
                  <a:ext uri="{FF2B5EF4-FFF2-40B4-BE49-F238E27FC236}">
                    <a16:creationId xmlns:a16="http://schemas.microsoft.com/office/drawing/2014/main" id="{25BCA09D-EE9A-4FC7-A4F8-39BA83C4145E}"/>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54" name="Ellipse 153">
              <a:extLst>
                <a:ext uri="{FF2B5EF4-FFF2-40B4-BE49-F238E27FC236}">
                  <a16:creationId xmlns:a16="http://schemas.microsoft.com/office/drawing/2014/main" id="{F036D833-673D-422D-A22A-3930DE736D22}"/>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5" name="Ellipse 154">
              <a:extLst>
                <a:ext uri="{FF2B5EF4-FFF2-40B4-BE49-F238E27FC236}">
                  <a16:creationId xmlns:a16="http://schemas.microsoft.com/office/drawing/2014/main" id="{97EE1C23-2D9B-42F0-A8A5-E4DB3414BC72}"/>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58" name="Groupe 157">
            <a:extLst>
              <a:ext uri="{FF2B5EF4-FFF2-40B4-BE49-F238E27FC236}">
                <a16:creationId xmlns:a16="http://schemas.microsoft.com/office/drawing/2014/main" id="{EA3C8649-D715-46B5-B20E-76F08F8CC150}"/>
              </a:ext>
            </a:extLst>
          </p:cNvPr>
          <p:cNvGrpSpPr/>
          <p:nvPr/>
        </p:nvGrpSpPr>
        <p:grpSpPr>
          <a:xfrm rot="5400000">
            <a:off x="6024542" y="5451686"/>
            <a:ext cx="365753" cy="143284"/>
            <a:chOff x="6900119" y="6591876"/>
            <a:chExt cx="591606" cy="186820"/>
          </a:xfrm>
        </p:grpSpPr>
        <p:grpSp>
          <p:nvGrpSpPr>
            <p:cNvPr id="159" name="Groupe 158">
              <a:extLst>
                <a:ext uri="{FF2B5EF4-FFF2-40B4-BE49-F238E27FC236}">
                  <a16:creationId xmlns:a16="http://schemas.microsoft.com/office/drawing/2014/main" id="{DD40F6EF-C59C-456C-B47F-A3ED538BF9AB}"/>
                </a:ext>
              </a:extLst>
            </p:cNvPr>
            <p:cNvGrpSpPr/>
            <p:nvPr/>
          </p:nvGrpSpPr>
          <p:grpSpPr>
            <a:xfrm>
              <a:off x="6900119" y="6591876"/>
              <a:ext cx="591606" cy="186820"/>
              <a:chOff x="6900119" y="6591876"/>
              <a:chExt cx="591606" cy="186820"/>
            </a:xfrm>
          </p:grpSpPr>
          <p:sp>
            <p:nvSpPr>
              <p:cNvPr id="162" name="Rectangle 161">
                <a:extLst>
                  <a:ext uri="{FF2B5EF4-FFF2-40B4-BE49-F238E27FC236}">
                    <a16:creationId xmlns:a16="http://schemas.microsoft.com/office/drawing/2014/main" id="{CC88B5F5-A843-4FF3-8DA9-D6C303243B9C}"/>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3" name="Ellipse 162">
                <a:extLst>
                  <a:ext uri="{FF2B5EF4-FFF2-40B4-BE49-F238E27FC236}">
                    <a16:creationId xmlns:a16="http://schemas.microsoft.com/office/drawing/2014/main" id="{00EEFD2C-5F1C-4671-A395-288DA3BF7062}"/>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60" name="Ellipse 159">
              <a:extLst>
                <a:ext uri="{FF2B5EF4-FFF2-40B4-BE49-F238E27FC236}">
                  <a16:creationId xmlns:a16="http://schemas.microsoft.com/office/drawing/2014/main" id="{0C33FFD5-10CE-4A2F-B91D-466ECAD715B0}"/>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1" name="Ellipse 160">
              <a:extLst>
                <a:ext uri="{FF2B5EF4-FFF2-40B4-BE49-F238E27FC236}">
                  <a16:creationId xmlns:a16="http://schemas.microsoft.com/office/drawing/2014/main" id="{06C09F0F-BB6A-4D15-B423-C84213D1E808}"/>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64" name="Groupe 163">
            <a:extLst>
              <a:ext uri="{FF2B5EF4-FFF2-40B4-BE49-F238E27FC236}">
                <a16:creationId xmlns:a16="http://schemas.microsoft.com/office/drawing/2014/main" id="{1F792940-E9CE-49D5-87F3-B2457DD679B2}"/>
              </a:ext>
            </a:extLst>
          </p:cNvPr>
          <p:cNvGrpSpPr/>
          <p:nvPr/>
        </p:nvGrpSpPr>
        <p:grpSpPr>
          <a:xfrm rot="5400000">
            <a:off x="6388957" y="6112599"/>
            <a:ext cx="365753" cy="143284"/>
            <a:chOff x="6900119" y="6591876"/>
            <a:chExt cx="591606" cy="186820"/>
          </a:xfrm>
        </p:grpSpPr>
        <p:grpSp>
          <p:nvGrpSpPr>
            <p:cNvPr id="165" name="Groupe 164">
              <a:extLst>
                <a:ext uri="{FF2B5EF4-FFF2-40B4-BE49-F238E27FC236}">
                  <a16:creationId xmlns:a16="http://schemas.microsoft.com/office/drawing/2014/main" id="{1615C638-CD5C-4277-93C6-F3C2F185B82A}"/>
                </a:ext>
              </a:extLst>
            </p:cNvPr>
            <p:cNvGrpSpPr/>
            <p:nvPr/>
          </p:nvGrpSpPr>
          <p:grpSpPr>
            <a:xfrm>
              <a:off x="6900119" y="6591876"/>
              <a:ext cx="591606" cy="186820"/>
              <a:chOff x="6900119" y="6591876"/>
              <a:chExt cx="591606" cy="186820"/>
            </a:xfrm>
          </p:grpSpPr>
          <p:sp>
            <p:nvSpPr>
              <p:cNvPr id="168" name="Rectangle 167">
                <a:extLst>
                  <a:ext uri="{FF2B5EF4-FFF2-40B4-BE49-F238E27FC236}">
                    <a16:creationId xmlns:a16="http://schemas.microsoft.com/office/drawing/2014/main" id="{EE7E3340-1F4E-4463-BD51-7A19151D1C27}"/>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9" name="Ellipse 168">
                <a:extLst>
                  <a:ext uri="{FF2B5EF4-FFF2-40B4-BE49-F238E27FC236}">
                    <a16:creationId xmlns:a16="http://schemas.microsoft.com/office/drawing/2014/main" id="{228F4CF2-B9DF-422D-A0A0-50C90C47021B}"/>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66" name="Ellipse 165">
              <a:extLst>
                <a:ext uri="{FF2B5EF4-FFF2-40B4-BE49-F238E27FC236}">
                  <a16:creationId xmlns:a16="http://schemas.microsoft.com/office/drawing/2014/main" id="{378B8DB9-09FB-4848-B24D-EC49307EC398}"/>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7" name="Ellipse 166">
              <a:extLst>
                <a:ext uri="{FF2B5EF4-FFF2-40B4-BE49-F238E27FC236}">
                  <a16:creationId xmlns:a16="http://schemas.microsoft.com/office/drawing/2014/main" id="{C3A5AA05-B000-4576-BF03-3C3D1CC7D664}"/>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07" name="Rectangle 106">
            <a:extLst>
              <a:ext uri="{FF2B5EF4-FFF2-40B4-BE49-F238E27FC236}">
                <a16:creationId xmlns:a16="http://schemas.microsoft.com/office/drawing/2014/main" id="{F42A5BD0-E80E-4EEC-9F82-E2A7919A8C2F}"/>
              </a:ext>
            </a:extLst>
          </p:cNvPr>
          <p:cNvSpPr/>
          <p:nvPr/>
        </p:nvSpPr>
        <p:spPr bwMode="auto">
          <a:xfrm>
            <a:off x="934510" y="5579515"/>
            <a:ext cx="457642"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9.1%</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08" name="Rectangle 107">
            <a:extLst>
              <a:ext uri="{FF2B5EF4-FFF2-40B4-BE49-F238E27FC236}">
                <a16:creationId xmlns:a16="http://schemas.microsoft.com/office/drawing/2014/main" id="{71297F2A-22AF-4273-AB75-E9257870BCD0}"/>
              </a:ext>
            </a:extLst>
          </p:cNvPr>
          <p:cNvSpPr/>
          <p:nvPr/>
        </p:nvSpPr>
        <p:spPr bwMode="auto">
          <a:xfrm>
            <a:off x="4412431"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00%</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11" name="Rectangle 110">
            <a:extLst>
              <a:ext uri="{FF2B5EF4-FFF2-40B4-BE49-F238E27FC236}">
                <a16:creationId xmlns:a16="http://schemas.microsoft.com/office/drawing/2014/main" id="{BA4013AB-A1BB-4C7F-96C7-0043FB082A14}"/>
              </a:ext>
            </a:extLst>
          </p:cNvPr>
          <p:cNvSpPr/>
          <p:nvPr/>
        </p:nvSpPr>
        <p:spPr bwMode="auto">
          <a:xfrm>
            <a:off x="1284182"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6.7%</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12" name="Rectangle 111">
            <a:extLst>
              <a:ext uri="{FF2B5EF4-FFF2-40B4-BE49-F238E27FC236}">
                <a16:creationId xmlns:a16="http://schemas.microsoft.com/office/drawing/2014/main" id="{996054D1-362E-4A44-9F70-1EB73929E241}"/>
              </a:ext>
            </a:extLst>
          </p:cNvPr>
          <p:cNvSpPr/>
          <p:nvPr/>
        </p:nvSpPr>
        <p:spPr bwMode="auto">
          <a:xfrm>
            <a:off x="1695548"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4,6%</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13" name="Rectangle 112">
            <a:extLst>
              <a:ext uri="{FF2B5EF4-FFF2-40B4-BE49-F238E27FC236}">
                <a16:creationId xmlns:a16="http://schemas.microsoft.com/office/drawing/2014/main" id="{A5D2FBC2-480D-40B2-B6AB-71BA0AF90709}"/>
              </a:ext>
            </a:extLst>
          </p:cNvPr>
          <p:cNvSpPr/>
          <p:nvPr/>
        </p:nvSpPr>
        <p:spPr bwMode="auto">
          <a:xfrm>
            <a:off x="2090984"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8.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14" name="Rectangle 113">
            <a:extLst>
              <a:ext uri="{FF2B5EF4-FFF2-40B4-BE49-F238E27FC236}">
                <a16:creationId xmlns:a16="http://schemas.microsoft.com/office/drawing/2014/main" id="{A95A70E3-C536-4333-B49C-26943B6E4B30}"/>
              </a:ext>
            </a:extLst>
          </p:cNvPr>
          <p:cNvSpPr/>
          <p:nvPr/>
        </p:nvSpPr>
        <p:spPr bwMode="auto">
          <a:xfrm>
            <a:off x="2469917"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9.5%</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15" name="Rectangle 114">
            <a:extLst>
              <a:ext uri="{FF2B5EF4-FFF2-40B4-BE49-F238E27FC236}">
                <a16:creationId xmlns:a16="http://schemas.microsoft.com/office/drawing/2014/main" id="{24CFE668-5AC9-4A43-B174-5BBF906202FA}"/>
              </a:ext>
            </a:extLst>
          </p:cNvPr>
          <p:cNvSpPr/>
          <p:nvPr/>
        </p:nvSpPr>
        <p:spPr bwMode="auto">
          <a:xfrm>
            <a:off x="2828760"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8.8%</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16" name="Rectangle 115">
            <a:extLst>
              <a:ext uri="{FF2B5EF4-FFF2-40B4-BE49-F238E27FC236}">
                <a16:creationId xmlns:a16="http://schemas.microsoft.com/office/drawing/2014/main" id="{40105ED7-D619-46F0-89FD-F790CECB3749}"/>
              </a:ext>
            </a:extLst>
          </p:cNvPr>
          <p:cNvSpPr/>
          <p:nvPr/>
        </p:nvSpPr>
        <p:spPr bwMode="auto">
          <a:xfrm>
            <a:off x="3229206"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17" name="Rectangle 116">
            <a:extLst>
              <a:ext uri="{FF2B5EF4-FFF2-40B4-BE49-F238E27FC236}">
                <a16:creationId xmlns:a16="http://schemas.microsoft.com/office/drawing/2014/main" id="{4A6CB72F-28D5-499A-850E-080518157925}"/>
              </a:ext>
            </a:extLst>
          </p:cNvPr>
          <p:cNvSpPr/>
          <p:nvPr/>
        </p:nvSpPr>
        <p:spPr bwMode="auto">
          <a:xfrm>
            <a:off x="3608085"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8%</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18" name="Rectangle 117">
            <a:extLst>
              <a:ext uri="{FF2B5EF4-FFF2-40B4-BE49-F238E27FC236}">
                <a16:creationId xmlns:a16="http://schemas.microsoft.com/office/drawing/2014/main" id="{D3DCC2E6-3AF2-49A4-8319-9E474B7210F8}"/>
              </a:ext>
            </a:extLst>
          </p:cNvPr>
          <p:cNvSpPr/>
          <p:nvPr/>
        </p:nvSpPr>
        <p:spPr bwMode="auto">
          <a:xfrm>
            <a:off x="4008689"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9%</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19" name="Rectangle 118">
            <a:extLst>
              <a:ext uri="{FF2B5EF4-FFF2-40B4-BE49-F238E27FC236}">
                <a16:creationId xmlns:a16="http://schemas.microsoft.com/office/drawing/2014/main" id="{DE6DC09B-DEE5-47F0-B615-D67FA0019436}"/>
              </a:ext>
            </a:extLst>
          </p:cNvPr>
          <p:cNvSpPr/>
          <p:nvPr/>
        </p:nvSpPr>
        <p:spPr bwMode="auto">
          <a:xfrm>
            <a:off x="934512" y="6013089"/>
            <a:ext cx="457642"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2.1%</a:t>
            </a:r>
            <a:endParaRPr kumimoji="0" lang="en-GB" sz="800" i="0" u="none" strike="noStrike" cap="none" normalizeH="0" baseline="0">
              <a:ln>
                <a:noFill/>
              </a:ln>
              <a:effectLst/>
              <a:latin typeface="Trebuchet MS" pitchFamily="34" charset="0"/>
            </a:endParaRPr>
          </a:p>
        </p:txBody>
      </p:sp>
      <p:sp>
        <p:nvSpPr>
          <p:cNvPr id="120" name="Rectangle 119">
            <a:extLst>
              <a:ext uri="{FF2B5EF4-FFF2-40B4-BE49-F238E27FC236}">
                <a16:creationId xmlns:a16="http://schemas.microsoft.com/office/drawing/2014/main" id="{7D7D4D8D-C456-4C9B-B253-16133C482ABB}"/>
              </a:ext>
            </a:extLst>
          </p:cNvPr>
          <p:cNvSpPr/>
          <p:nvPr/>
        </p:nvSpPr>
        <p:spPr bwMode="auto">
          <a:xfrm>
            <a:off x="4412433"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5,5%</a:t>
            </a:r>
            <a:endParaRPr kumimoji="0" lang="en-GB" sz="800" i="0" u="none" strike="noStrike" cap="none" normalizeH="0" baseline="0">
              <a:ln>
                <a:noFill/>
              </a:ln>
              <a:effectLst/>
              <a:latin typeface="Trebuchet MS" pitchFamily="34" charset="0"/>
            </a:endParaRPr>
          </a:p>
        </p:txBody>
      </p:sp>
      <p:sp>
        <p:nvSpPr>
          <p:cNvPr id="121" name="Rectangle 120">
            <a:extLst>
              <a:ext uri="{FF2B5EF4-FFF2-40B4-BE49-F238E27FC236}">
                <a16:creationId xmlns:a16="http://schemas.microsoft.com/office/drawing/2014/main" id="{A0C9A264-CD6D-47D6-B48C-141753842E2E}"/>
              </a:ext>
            </a:extLst>
          </p:cNvPr>
          <p:cNvSpPr/>
          <p:nvPr/>
        </p:nvSpPr>
        <p:spPr bwMode="auto">
          <a:xfrm>
            <a:off x="1284184"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3.6%</a:t>
            </a:r>
            <a:endParaRPr kumimoji="0" lang="en-GB" sz="800" i="0" u="none" strike="noStrike" cap="none" normalizeH="0" baseline="0">
              <a:ln>
                <a:noFill/>
              </a:ln>
              <a:effectLst/>
              <a:latin typeface="Trebuchet MS" pitchFamily="34" charset="0"/>
            </a:endParaRPr>
          </a:p>
        </p:txBody>
      </p:sp>
      <p:sp>
        <p:nvSpPr>
          <p:cNvPr id="122" name="Rectangle 121">
            <a:extLst>
              <a:ext uri="{FF2B5EF4-FFF2-40B4-BE49-F238E27FC236}">
                <a16:creationId xmlns:a16="http://schemas.microsoft.com/office/drawing/2014/main" id="{070E1D8A-F6C2-4466-9565-F3DC4F29AA37}"/>
              </a:ext>
            </a:extLst>
          </p:cNvPr>
          <p:cNvSpPr/>
          <p:nvPr/>
        </p:nvSpPr>
        <p:spPr bwMode="auto">
          <a:xfrm>
            <a:off x="1695550"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14.7%</a:t>
            </a:r>
            <a:endParaRPr kumimoji="0" lang="en-GB" sz="800" i="0" u="none" strike="noStrike" cap="none" normalizeH="0" baseline="0">
              <a:ln>
                <a:noFill/>
              </a:ln>
              <a:effectLst/>
              <a:latin typeface="Trebuchet MS" pitchFamily="34" charset="0"/>
            </a:endParaRPr>
          </a:p>
        </p:txBody>
      </p:sp>
      <p:sp>
        <p:nvSpPr>
          <p:cNvPr id="123" name="Rectangle 122">
            <a:extLst>
              <a:ext uri="{FF2B5EF4-FFF2-40B4-BE49-F238E27FC236}">
                <a16:creationId xmlns:a16="http://schemas.microsoft.com/office/drawing/2014/main" id="{8C0D003C-0CA8-49D8-A3B0-8AE3B7DBA5A8}"/>
              </a:ext>
            </a:extLst>
          </p:cNvPr>
          <p:cNvSpPr/>
          <p:nvPr/>
        </p:nvSpPr>
        <p:spPr bwMode="auto">
          <a:xfrm>
            <a:off x="2090986"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15.2%</a:t>
            </a:r>
            <a:endParaRPr kumimoji="0" lang="en-GB" sz="800" i="0" u="none" strike="noStrike" cap="none" normalizeH="0" baseline="0">
              <a:ln>
                <a:noFill/>
              </a:ln>
              <a:effectLst/>
              <a:latin typeface="Trebuchet MS" pitchFamily="34" charset="0"/>
            </a:endParaRPr>
          </a:p>
        </p:txBody>
      </p:sp>
      <p:sp>
        <p:nvSpPr>
          <p:cNvPr id="124" name="Rectangle 123">
            <a:extLst>
              <a:ext uri="{FF2B5EF4-FFF2-40B4-BE49-F238E27FC236}">
                <a16:creationId xmlns:a16="http://schemas.microsoft.com/office/drawing/2014/main" id="{4C8102E8-4819-48C7-B2F2-344B8E8304E6}"/>
              </a:ext>
            </a:extLst>
          </p:cNvPr>
          <p:cNvSpPr/>
          <p:nvPr/>
        </p:nvSpPr>
        <p:spPr bwMode="auto">
          <a:xfrm>
            <a:off x="2469919"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9.2%</a:t>
            </a:r>
            <a:endParaRPr kumimoji="0" lang="en-GB" sz="800" i="0" u="none" strike="noStrike" cap="none" normalizeH="0" baseline="0">
              <a:ln>
                <a:noFill/>
              </a:ln>
              <a:effectLst/>
              <a:latin typeface="Trebuchet MS" pitchFamily="34" charset="0"/>
            </a:endParaRPr>
          </a:p>
        </p:txBody>
      </p:sp>
      <p:sp>
        <p:nvSpPr>
          <p:cNvPr id="125" name="Rectangle 124">
            <a:extLst>
              <a:ext uri="{FF2B5EF4-FFF2-40B4-BE49-F238E27FC236}">
                <a16:creationId xmlns:a16="http://schemas.microsoft.com/office/drawing/2014/main" id="{F9FEFD59-D97E-4EE1-A552-45C6D22E6F53}"/>
              </a:ext>
            </a:extLst>
          </p:cNvPr>
          <p:cNvSpPr/>
          <p:nvPr/>
        </p:nvSpPr>
        <p:spPr bwMode="auto">
          <a:xfrm>
            <a:off x="2828762"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9.2%</a:t>
            </a:r>
            <a:endParaRPr kumimoji="0" lang="en-GB" sz="800" i="0" u="none" strike="noStrike" cap="none" normalizeH="0" baseline="0">
              <a:ln>
                <a:noFill/>
              </a:ln>
              <a:effectLst/>
              <a:latin typeface="Trebuchet MS" pitchFamily="34" charset="0"/>
            </a:endParaRPr>
          </a:p>
        </p:txBody>
      </p:sp>
      <p:sp>
        <p:nvSpPr>
          <p:cNvPr id="171" name="Rectangle 170">
            <a:extLst>
              <a:ext uri="{FF2B5EF4-FFF2-40B4-BE49-F238E27FC236}">
                <a16:creationId xmlns:a16="http://schemas.microsoft.com/office/drawing/2014/main" id="{46FECBFB-84D5-4862-A130-CC0FEC9A4953}"/>
              </a:ext>
            </a:extLst>
          </p:cNvPr>
          <p:cNvSpPr/>
          <p:nvPr/>
        </p:nvSpPr>
        <p:spPr bwMode="auto">
          <a:xfrm>
            <a:off x="3229208"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5.7%</a:t>
            </a:r>
            <a:endParaRPr kumimoji="0" lang="en-GB" sz="800" i="0" u="none" strike="noStrike" cap="none" normalizeH="0" baseline="0">
              <a:ln>
                <a:noFill/>
              </a:ln>
              <a:effectLst/>
              <a:latin typeface="Trebuchet MS" pitchFamily="34" charset="0"/>
            </a:endParaRPr>
          </a:p>
        </p:txBody>
      </p:sp>
      <p:sp>
        <p:nvSpPr>
          <p:cNvPr id="172" name="Rectangle 171">
            <a:extLst>
              <a:ext uri="{FF2B5EF4-FFF2-40B4-BE49-F238E27FC236}">
                <a16:creationId xmlns:a16="http://schemas.microsoft.com/office/drawing/2014/main" id="{5931969C-533C-4BE7-B262-1966F7EB6C46}"/>
              </a:ext>
            </a:extLst>
          </p:cNvPr>
          <p:cNvSpPr/>
          <p:nvPr/>
        </p:nvSpPr>
        <p:spPr bwMode="auto">
          <a:xfrm>
            <a:off x="3608087"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4.1%</a:t>
            </a:r>
            <a:endParaRPr kumimoji="0" lang="en-GB" sz="800" i="0" u="none" strike="noStrike" cap="none" normalizeH="0" baseline="0">
              <a:ln>
                <a:noFill/>
              </a:ln>
              <a:effectLst/>
              <a:latin typeface="Trebuchet MS" pitchFamily="34" charset="0"/>
            </a:endParaRPr>
          </a:p>
        </p:txBody>
      </p:sp>
      <p:sp>
        <p:nvSpPr>
          <p:cNvPr id="173" name="Rectangle 172">
            <a:extLst>
              <a:ext uri="{FF2B5EF4-FFF2-40B4-BE49-F238E27FC236}">
                <a16:creationId xmlns:a16="http://schemas.microsoft.com/office/drawing/2014/main" id="{404C3D98-D2D9-4D5C-AD8C-1154CFBE2329}"/>
              </a:ext>
            </a:extLst>
          </p:cNvPr>
          <p:cNvSpPr/>
          <p:nvPr/>
        </p:nvSpPr>
        <p:spPr bwMode="auto">
          <a:xfrm>
            <a:off x="4008691"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5.9%</a:t>
            </a:r>
            <a:endParaRPr kumimoji="0" lang="en-GB" sz="800" i="0" u="none" strike="noStrike" cap="none" normalizeH="0" baseline="0">
              <a:ln>
                <a:noFill/>
              </a:ln>
              <a:effectLst/>
              <a:latin typeface="Trebuchet MS" pitchFamily="34" charset="0"/>
            </a:endParaRPr>
          </a:p>
        </p:txBody>
      </p:sp>
    </p:spTree>
    <p:extLst>
      <p:ext uri="{BB962C8B-B14F-4D97-AF65-F5344CB8AC3E}">
        <p14:creationId xmlns:p14="http://schemas.microsoft.com/office/powerpoint/2010/main" val="2991055858"/>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15C80389-6548-4E62-B1DE-3FED01EC77DC}"/>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75FE8F21-E3E3-4251-AE38-E7F5ADF23A80}"/>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marR="0" indent="-228600" defTabSz="914400" rtl="0" eaLnBrk="1" fontAlgn="base" latinLnBrk="0" hangingPunct="1">
              <a:lnSpc>
                <a:spcPct val="100000"/>
              </a:lnSpc>
              <a:spcBef>
                <a:spcPct val="0"/>
              </a:spcBef>
              <a:spcAft>
                <a:spcPct val="0"/>
              </a:spcAft>
              <a:buClrTx/>
              <a:buSzTx/>
              <a:buFont typeface="+mj-lt"/>
              <a:buAutoNum type="arabicPeriod"/>
              <a:tabLst/>
            </a:pPr>
            <a:r>
              <a:rPr kumimoji="0" lang="en-GB" sz="1200" b="0" u="none" strike="noStrike" cap="none" normalizeH="0" baseline="0">
                <a:ln>
                  <a:noFill/>
                </a:ln>
                <a:solidFill>
                  <a:schemeClr val="tx2"/>
                </a:solidFill>
                <a:effectLst/>
                <a:latin typeface="Trebuchet MS" pitchFamily="34" charset="0"/>
              </a:rPr>
              <a:t>Overview of the BD&amp;A market addressed by </a:t>
            </a:r>
            <a:r>
              <a:rPr kumimoji="0" lang="en-GB" sz="1200" b="0" u="none" strike="noStrike" cap="none" normalizeH="0" baseline="0" err="1">
                <a:ln>
                  <a:noFill/>
                </a:ln>
                <a:solidFill>
                  <a:schemeClr val="tx2"/>
                </a:solidFill>
                <a:effectLst/>
                <a:latin typeface="Trebuchet MS" pitchFamily="34" charset="0"/>
              </a:rPr>
              <a:t>Altares</a:t>
            </a:r>
            <a:endParaRPr kumimoji="0" lang="en-GB" sz="1200" b="0" u="none" strike="noStrike" cap="none" normalizeH="0" baseline="0">
              <a:ln>
                <a:noFill/>
              </a:ln>
              <a:solidFill>
                <a:schemeClr val="tx2"/>
              </a:solidFill>
              <a:effectLst/>
              <a:latin typeface="Trebuchet MS" pitchFamily="34" charset="0"/>
            </a:endParaRPr>
          </a:p>
          <a:p>
            <a:pPr marL="742950" lvl="1" indent="-285750">
              <a:buFont typeface="+mj-lt"/>
              <a:buAutoNum type="romanLcPeriod"/>
            </a:pPr>
            <a:r>
              <a:rPr kumimoji="0" lang="en-GB" sz="1200" b="0" u="none" strike="noStrike" cap="none" normalizeH="0" baseline="0">
                <a:ln>
                  <a:noFill/>
                </a:ln>
                <a:solidFill>
                  <a:schemeClr val="tx2"/>
                </a:solidFill>
                <a:effectLst/>
                <a:latin typeface="Trebuchet MS" pitchFamily="34" charset="0"/>
              </a:rPr>
              <a:t>Key customers’ use cases related to BD&amp;A</a:t>
            </a:r>
          </a:p>
          <a:p>
            <a:pPr marL="742950" lvl="1" indent="-285750">
              <a:buFont typeface="+mj-lt"/>
              <a:buAutoNum type="romanLcPeriod"/>
            </a:pPr>
            <a:r>
              <a:rPr kumimoji="0" lang="en-GB" sz="1200" b="0" u="none" strike="noStrike" cap="none" normalizeH="0" baseline="0">
                <a:ln>
                  <a:noFill/>
                </a:ln>
                <a:effectLst/>
                <a:latin typeface="Trebuchet MS" panose="020B0603020202020204" pitchFamily="34" charset="0"/>
              </a:rPr>
              <a:t>Global market structure and </a:t>
            </a:r>
            <a:r>
              <a:rPr kumimoji="0" lang="en-GB" sz="1200" b="0" u="none" strike="noStrike" cap="none" normalizeH="0" baseline="0" err="1">
                <a:ln>
                  <a:noFill/>
                </a:ln>
                <a:effectLst/>
                <a:latin typeface="Trebuchet MS" panose="020B0603020202020204" pitchFamily="34" charset="0"/>
              </a:rPr>
              <a:t>Altares</a:t>
            </a:r>
            <a:r>
              <a:rPr kumimoji="0" lang="en-GB" sz="1200" b="0" u="none" strike="noStrike" cap="none" normalizeH="0" baseline="0">
                <a:ln>
                  <a:noFill/>
                </a:ln>
                <a:effectLst/>
                <a:latin typeface="Trebuchet MS" panose="020B0603020202020204" pitchFamily="34" charset="0"/>
              </a:rPr>
              <a:t> positioning</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Credit &amp; financial risk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Compliance market</a:t>
            </a:r>
          </a:p>
          <a:p>
            <a:pPr marL="742950" lvl="1" indent="-285750">
              <a:buFont typeface="+mj-lt"/>
              <a:buAutoNum type="romanLcPeriod"/>
            </a:pPr>
            <a:r>
              <a:rPr lang="en-GB" sz="1200">
                <a:latin typeface="Trebuchet MS" pitchFamily="34" charset="0"/>
              </a:rPr>
              <a:t>Market scope &amp; overview</a:t>
            </a:r>
          </a:p>
          <a:p>
            <a:pPr marL="742950" lvl="1" indent="-285750">
              <a:buFont typeface="+mj-lt"/>
              <a:buAutoNum type="romanLcPeriod"/>
            </a:pPr>
            <a:r>
              <a:rPr lang="en-GB" sz="1200">
                <a:latin typeface="Trebuchet MS" pitchFamily="34" charset="0"/>
              </a:rPr>
              <a:t>Regulatory context &amp; key drivers</a:t>
            </a:r>
          </a:p>
          <a:p>
            <a:pPr marL="742950" marR="0" lvl="1" indent="-285750" defTabSz="914400" eaLnBrk="1" latinLnBrk="0" hangingPunct="1">
              <a:lnSpc>
                <a:spcPct val="100000"/>
              </a:lnSpc>
              <a:buClrTx/>
              <a:buSzTx/>
              <a:buFont typeface="+mj-lt"/>
              <a:buAutoNum type="romanLcPeriod"/>
              <a:tabLst/>
            </a:pPr>
            <a:r>
              <a:rPr lang="en-GB" sz="1200">
                <a:latin typeface="Trebuchet MS" pitchFamily="34" charset="0"/>
              </a:rPr>
              <a:t>Altares’ compliance ecosystem</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B2B Marketing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BD&amp;A market overview in Maghreb</a:t>
            </a:r>
          </a:p>
        </p:txBody>
      </p:sp>
      <p:sp>
        <p:nvSpPr>
          <p:cNvPr id="5" name="Chevron">
            <a:extLst>
              <a:ext uri="{FF2B5EF4-FFF2-40B4-BE49-F238E27FC236}">
                <a16:creationId xmlns:a16="http://schemas.microsoft.com/office/drawing/2014/main" id="{E411076D-BD7D-4F3C-BA4F-785FA7DEB8E0}"/>
              </a:ext>
            </a:extLst>
          </p:cNvPr>
          <p:cNvSpPr/>
          <p:nvPr/>
        </p:nvSpPr>
        <p:spPr bwMode="auto">
          <a:xfrm>
            <a:off x="1418399" y="2181600"/>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 name="Isosceles Triangle">
            <a:extLst>
              <a:ext uri="{FF2B5EF4-FFF2-40B4-BE49-F238E27FC236}">
                <a16:creationId xmlns:a16="http://schemas.microsoft.com/office/drawing/2014/main" id="{DEA2AB10-418D-47ED-9AE0-857DCB3C2769}"/>
              </a:ext>
            </a:extLst>
          </p:cNvPr>
          <p:cNvSpPr/>
          <p:nvPr/>
        </p:nvSpPr>
        <p:spPr bwMode="auto">
          <a:xfrm rot="5400000">
            <a:off x="5731200" y="2282400"/>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 name="Section">
            <a:extLst>
              <a:ext uri="{FF2B5EF4-FFF2-40B4-BE49-F238E27FC236}">
                <a16:creationId xmlns:a16="http://schemas.microsoft.com/office/drawing/2014/main" id="{326B4D12-3A06-4913-AA9A-9843CDCAF5C5}"/>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2</a:t>
            </a:r>
          </a:p>
        </p:txBody>
      </p:sp>
      <p:sp>
        <p:nvSpPr>
          <p:cNvPr id="18" name="Arrow: Pentagon">
            <a:extLst>
              <a:ext uri="{FF2B5EF4-FFF2-40B4-BE49-F238E27FC236}">
                <a16:creationId xmlns:a16="http://schemas.microsoft.com/office/drawing/2014/main" id="{A82C8412-7B5A-46AC-966E-455B8CCD2C68}"/>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19" name="Oval">
            <a:extLst>
              <a:ext uri="{FF2B5EF4-FFF2-40B4-BE49-F238E27FC236}">
                <a16:creationId xmlns:a16="http://schemas.microsoft.com/office/drawing/2014/main" id="{54EB80E8-2DF8-4FEE-B30A-C2E858023E64}"/>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20" name="Arrow: Pentagon">
            <a:extLst>
              <a:ext uri="{FF2B5EF4-FFF2-40B4-BE49-F238E27FC236}">
                <a16:creationId xmlns:a16="http://schemas.microsoft.com/office/drawing/2014/main" id="{F33E4644-5AA3-42C9-AACA-524C5A62AF3B}"/>
              </a:ext>
            </a:extLst>
          </p:cNvPr>
          <p:cNvSpPr/>
          <p:nvPr/>
        </p:nvSpPr>
        <p:spPr bwMode="auto">
          <a:xfrm>
            <a:off x="1641599" y="2181600"/>
            <a:ext cx="4319994"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FFFFFF"/>
                </a:solidFill>
                <a:effectLst/>
                <a:latin typeface="Trebuchet MS" panose="020B0603020202020204" pitchFamily="34" charset="0"/>
              </a:rPr>
              <a:t>BD&amp;A Market &amp; Competition</a:t>
            </a:r>
          </a:p>
        </p:txBody>
      </p:sp>
      <p:sp>
        <p:nvSpPr>
          <p:cNvPr id="21" name="Oval">
            <a:extLst>
              <a:ext uri="{FF2B5EF4-FFF2-40B4-BE49-F238E27FC236}">
                <a16:creationId xmlns:a16="http://schemas.microsoft.com/office/drawing/2014/main" id="{B0D036CC-5242-4902-AB9B-591C7ACB27DB}"/>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8" name="Arrow: Pentagon">
            <a:extLst>
              <a:ext uri="{FF2B5EF4-FFF2-40B4-BE49-F238E27FC236}">
                <a16:creationId xmlns:a16="http://schemas.microsoft.com/office/drawing/2014/main" id="{C3474BDE-D53A-4B43-9BEB-09C9FDE82CC6}"/>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9" name="Arrow: Pentagon">
            <a:extLst>
              <a:ext uri="{FF2B5EF4-FFF2-40B4-BE49-F238E27FC236}">
                <a16:creationId xmlns:a16="http://schemas.microsoft.com/office/drawing/2014/main" id="{8AFF774A-5975-4FAA-AFF0-35D6A4185DDF}"/>
              </a:ext>
            </a:extLst>
          </p:cNvPr>
          <p:cNvSpPr/>
          <p:nvPr/>
        </p:nvSpPr>
        <p:spPr bwMode="auto">
          <a:xfrm>
            <a:off x="1641599" y="2685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11" name="Oval">
            <a:extLst>
              <a:ext uri="{FF2B5EF4-FFF2-40B4-BE49-F238E27FC236}">
                <a16:creationId xmlns:a16="http://schemas.microsoft.com/office/drawing/2014/main" id="{2E2DEF8C-69C5-40A4-8BE1-8929001E0512}"/>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12" name="Arrow: Pentagon">
            <a:extLst>
              <a:ext uri="{FF2B5EF4-FFF2-40B4-BE49-F238E27FC236}">
                <a16:creationId xmlns:a16="http://schemas.microsoft.com/office/drawing/2014/main" id="{733A4A20-9732-471E-9585-9B039C57E4BA}"/>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13" name="Oval">
            <a:extLst>
              <a:ext uri="{FF2B5EF4-FFF2-40B4-BE49-F238E27FC236}">
                <a16:creationId xmlns:a16="http://schemas.microsoft.com/office/drawing/2014/main" id="{F85EAFB6-6EC8-4F57-87DB-2ACBC85E6047}"/>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14" name="Oval">
            <a:extLst>
              <a:ext uri="{FF2B5EF4-FFF2-40B4-BE49-F238E27FC236}">
                <a16:creationId xmlns:a16="http://schemas.microsoft.com/office/drawing/2014/main" id="{293FF781-B5B8-433F-88CC-1E63D59BC354}"/>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2296975917"/>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40A1AD67-E9B9-45E9-8E49-AC4701C050F9}"/>
              </a:ext>
            </a:extLst>
          </p:cNvPr>
          <p:cNvGraphicFramePr>
            <a:graphicFrameLocks noChangeAspect="1"/>
          </p:cNvGraphicFramePr>
          <p:nvPr>
            <p:custDataLst>
              <p:tags r:id="rId1"/>
            </p:custDataLst>
            <p:extLst>
              <p:ext uri="{D42A27DB-BD31-4B8C-83A1-F6EECF244321}">
                <p14:modId xmlns:p14="http://schemas.microsoft.com/office/powerpoint/2010/main" val="464056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10" name="Objet 9" hidden="1">
                        <a:extLst>
                          <a:ext uri="{FF2B5EF4-FFF2-40B4-BE49-F238E27FC236}">
                            <a16:creationId xmlns:a16="http://schemas.microsoft.com/office/drawing/2014/main" id="{40A1AD67-E9B9-45E9-8E49-AC4701C050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1A32528-318F-4533-B3BC-C5E24262EB0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7D7E6DAC-9585-4765-BAA6-94FE40B43AD2}"/>
              </a:ext>
            </a:extLst>
          </p:cNvPr>
          <p:cNvSpPr>
            <a:spLocks noGrp="1"/>
          </p:cNvSpPr>
          <p:nvPr>
            <p:ph type="title"/>
          </p:nvPr>
        </p:nvSpPr>
        <p:spPr>
          <a:xfrm>
            <a:off x="165600" y="147600"/>
            <a:ext cx="8360227" cy="684000"/>
          </a:xfrm>
        </p:spPr>
        <p:txBody>
          <a:bodyPr/>
          <a:lstStyle/>
          <a:p>
            <a:r>
              <a:rPr lang="en-GB">
                <a:latin typeface="Trebuchet MS" panose="020B0603020202020204" pitchFamily="34" charset="0"/>
              </a:rPr>
              <a:t>The French &amp; Benelux </a:t>
            </a:r>
            <a:r>
              <a:rPr lang="en-GB">
                <a:solidFill>
                  <a:schemeClr val="tx2"/>
                </a:solidFill>
                <a:latin typeface="Trebuchet MS" panose="020B0603020202020204" pitchFamily="34" charset="0"/>
              </a:rPr>
              <a:t>Business Data &amp; Analytics market </a:t>
            </a:r>
            <a:r>
              <a:rPr lang="en-GB">
                <a:latin typeface="Trebuchet MS" panose="020B0603020202020204" pitchFamily="34" charset="0"/>
              </a:rPr>
              <a:t>is divided in </a:t>
            </a:r>
            <a:r>
              <a:rPr lang="en-GB">
                <a:solidFill>
                  <a:schemeClr val="tx2"/>
                </a:solidFill>
                <a:latin typeface="Trebuchet MS" panose="020B0603020202020204" pitchFamily="34" charset="0"/>
              </a:rPr>
              <a:t>three</a:t>
            </a:r>
            <a:r>
              <a:rPr lang="en-GB">
                <a:latin typeface="Trebuchet MS" panose="020B0603020202020204" pitchFamily="34" charset="0"/>
              </a:rPr>
              <a:t> main core </a:t>
            </a:r>
            <a:r>
              <a:rPr lang="en-GB">
                <a:solidFill>
                  <a:schemeClr val="tx2"/>
                </a:solidFill>
                <a:latin typeface="Trebuchet MS" panose="020B0603020202020204" pitchFamily="34" charset="0"/>
              </a:rPr>
              <a:t>verticals</a:t>
            </a:r>
            <a:r>
              <a:rPr lang="en-GB">
                <a:latin typeface="Trebuchet MS" panose="020B0603020202020204" pitchFamily="34" charset="0"/>
              </a:rPr>
              <a:t>: Credit &amp; financial risk, compliance services and B2B marketing</a:t>
            </a:r>
          </a:p>
        </p:txBody>
      </p:sp>
      <p:sp>
        <p:nvSpPr>
          <p:cNvPr id="3" name="Text Placeholder 2">
            <a:extLst>
              <a:ext uri="{FF2B5EF4-FFF2-40B4-BE49-F238E27FC236}">
                <a16:creationId xmlns:a16="http://schemas.microsoft.com/office/drawing/2014/main" id="{415BA172-C3CA-4025-B3E1-665B245AB959}"/>
              </a:ext>
            </a:extLst>
          </p:cNvPr>
          <p:cNvSpPr>
            <a:spLocks noGrp="1"/>
          </p:cNvSpPr>
          <p:nvPr>
            <p:ph type="body" sz="quarter" idx="10"/>
          </p:nvPr>
        </p:nvSpPr>
        <p:spPr/>
        <p:txBody>
          <a:bodyPr/>
          <a:lstStyle/>
          <a:p>
            <a:r>
              <a:rPr lang="en-GB"/>
              <a:t>Sources: eleven research &amp; analysis, expert calls</a:t>
            </a:r>
          </a:p>
          <a:p>
            <a:endParaRPr lang="en-GB"/>
          </a:p>
        </p:txBody>
      </p:sp>
      <p:pic>
        <p:nvPicPr>
          <p:cNvPr id="65" name="Graphic 64" descr="Statistics">
            <a:extLst>
              <a:ext uri="{FF2B5EF4-FFF2-40B4-BE49-F238E27FC236}">
                <a16:creationId xmlns:a16="http://schemas.microsoft.com/office/drawing/2014/main" id="{17446116-0B84-49A6-9F3C-23C1A05AE65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86397" y="1076798"/>
            <a:ext cx="264869" cy="264869"/>
          </a:xfrm>
          <a:prstGeom prst="rect">
            <a:avLst/>
          </a:prstGeom>
        </p:spPr>
      </p:pic>
      <p:sp>
        <p:nvSpPr>
          <p:cNvPr id="74" name="Rectangle: Rounded Corners 66">
            <a:extLst>
              <a:ext uri="{FF2B5EF4-FFF2-40B4-BE49-F238E27FC236}">
                <a16:creationId xmlns:a16="http://schemas.microsoft.com/office/drawing/2014/main" id="{1DD44A8F-02F8-4C60-9C87-FFAA9A8002CE}"/>
              </a:ext>
            </a:extLst>
          </p:cNvPr>
          <p:cNvSpPr/>
          <p:nvPr/>
        </p:nvSpPr>
        <p:spPr bwMode="auto">
          <a:xfrm>
            <a:off x="633000" y="5354708"/>
            <a:ext cx="8640000" cy="1063499"/>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144000" tIns="45720" rIns="36000" bIns="45720" numCol="1" rtlCol="0" anchor="ctr"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171450" indent="-171450">
              <a:buClr>
                <a:schemeClr val="tx1"/>
              </a:buClr>
              <a:buFont typeface="Arial" panose="020B0604020202020204" pitchFamily="34" charset="0"/>
              <a:buChar char="•"/>
            </a:pPr>
            <a:r>
              <a:rPr lang="en-GB" sz="1000">
                <a:latin typeface="Trebuchet MS" panose="020B0603020202020204" pitchFamily="34" charset="0"/>
              </a:rPr>
              <a:t>All </a:t>
            </a:r>
            <a:r>
              <a:rPr lang="en-GB" sz="1000" b="1">
                <a:solidFill>
                  <a:schemeClr val="tx2"/>
                </a:solidFill>
                <a:latin typeface="Trebuchet MS" panose="020B0603020202020204" pitchFamily="34" charset="0"/>
              </a:rPr>
              <a:t>businesses</a:t>
            </a:r>
            <a:r>
              <a:rPr lang="en-GB" sz="1000">
                <a:latin typeface="Trebuchet MS" panose="020B0603020202020204" pitchFamily="34" charset="0"/>
              </a:rPr>
              <a:t> </a:t>
            </a:r>
            <a:r>
              <a:rPr lang="en-GB" sz="1000" b="1">
                <a:solidFill>
                  <a:schemeClr val="tx2"/>
                </a:solidFill>
                <a:latin typeface="Trebuchet MS" panose="020B0603020202020204" pitchFamily="34" charset="0"/>
              </a:rPr>
              <a:t>increasingly</a:t>
            </a:r>
            <a:r>
              <a:rPr lang="en-GB" sz="1000">
                <a:latin typeface="Trebuchet MS" panose="020B0603020202020204" pitchFamily="34" charset="0"/>
              </a:rPr>
              <a:t> need </a:t>
            </a:r>
            <a:r>
              <a:rPr lang="en-GB" sz="1000" b="1">
                <a:solidFill>
                  <a:schemeClr val="tx2"/>
                </a:solidFill>
                <a:latin typeface="Trebuchet MS" panose="020B0603020202020204" pitchFamily="34" charset="0"/>
              </a:rPr>
              <a:t>detailed</a:t>
            </a:r>
            <a:r>
              <a:rPr lang="en-GB" sz="1000">
                <a:latin typeface="Trebuchet MS" panose="020B0603020202020204" pitchFamily="34" charset="0"/>
              </a:rPr>
              <a:t> </a:t>
            </a:r>
            <a:r>
              <a:rPr lang="en-GB" sz="1000" b="1">
                <a:solidFill>
                  <a:schemeClr val="tx2"/>
                </a:solidFill>
                <a:latin typeface="Trebuchet MS" panose="020B0603020202020204" pitchFamily="34" charset="0"/>
              </a:rPr>
              <a:t>financial</a:t>
            </a:r>
            <a:r>
              <a:rPr lang="en-GB" sz="1000">
                <a:latin typeface="Trebuchet MS" panose="020B0603020202020204" pitchFamily="34" charset="0"/>
              </a:rPr>
              <a:t>, </a:t>
            </a:r>
            <a:r>
              <a:rPr lang="en-GB" sz="1000" b="1">
                <a:solidFill>
                  <a:schemeClr val="tx2"/>
                </a:solidFill>
                <a:latin typeface="Trebuchet MS" panose="020B0603020202020204" pitchFamily="34" charset="0"/>
              </a:rPr>
              <a:t>beneficial</a:t>
            </a:r>
            <a:r>
              <a:rPr lang="en-GB" sz="1000">
                <a:latin typeface="Trebuchet MS" panose="020B0603020202020204" pitchFamily="34" charset="0"/>
              </a:rPr>
              <a:t> </a:t>
            </a:r>
            <a:r>
              <a:rPr lang="en-GB" sz="1000" b="1">
                <a:solidFill>
                  <a:schemeClr val="tx2"/>
                </a:solidFill>
                <a:latin typeface="Trebuchet MS" panose="020B0603020202020204" pitchFamily="34" charset="0"/>
              </a:rPr>
              <a:t>ownership</a:t>
            </a:r>
            <a:r>
              <a:rPr lang="en-GB" sz="1000">
                <a:latin typeface="Trebuchet MS" panose="020B0603020202020204" pitchFamily="34" charset="0"/>
              </a:rPr>
              <a:t> and other </a:t>
            </a:r>
            <a:r>
              <a:rPr lang="en-GB" sz="1000" b="1">
                <a:solidFill>
                  <a:schemeClr val="tx2"/>
                </a:solidFill>
                <a:latin typeface="Trebuchet MS" panose="020B0603020202020204" pitchFamily="34" charset="0"/>
              </a:rPr>
              <a:t>information</a:t>
            </a:r>
            <a:r>
              <a:rPr lang="en-GB" sz="1000">
                <a:latin typeface="Trebuchet MS" panose="020B0603020202020204" pitchFamily="34" charset="0"/>
              </a:rPr>
              <a:t> on their customers and suppliers across the lifetime of their relationship</a:t>
            </a:r>
          </a:p>
          <a:p>
            <a:pPr marL="171450" indent="-171450">
              <a:buClr>
                <a:schemeClr val="tx1"/>
              </a:buClr>
              <a:buFont typeface="Arial" panose="020B0604020202020204" pitchFamily="34" charset="0"/>
              <a:buChar char="•"/>
            </a:pPr>
            <a:r>
              <a:rPr lang="en-GB" sz="1000" b="1">
                <a:solidFill>
                  <a:schemeClr val="tx2"/>
                </a:solidFill>
                <a:latin typeface="Trebuchet MS" panose="020B0603020202020204" pitchFamily="34" charset="0"/>
              </a:rPr>
              <a:t>Innovation</a:t>
            </a:r>
            <a:r>
              <a:rPr lang="en-GB" sz="1000">
                <a:latin typeface="Trebuchet MS" panose="020B0603020202020204" pitchFamily="34" charset="0"/>
              </a:rPr>
              <a:t> in </a:t>
            </a:r>
            <a:r>
              <a:rPr lang="en-GB" sz="1000" b="1">
                <a:solidFill>
                  <a:schemeClr val="tx2"/>
                </a:solidFill>
                <a:latin typeface="Trebuchet MS" panose="020B0603020202020204" pitchFamily="34" charset="0"/>
              </a:rPr>
              <a:t>data</a:t>
            </a:r>
            <a:r>
              <a:rPr lang="en-GB" sz="1000">
                <a:latin typeface="Trebuchet MS" panose="020B0603020202020204" pitchFamily="34" charset="0"/>
              </a:rPr>
              <a:t> </a:t>
            </a:r>
            <a:r>
              <a:rPr lang="en-GB" sz="1000" b="1">
                <a:solidFill>
                  <a:schemeClr val="tx2"/>
                </a:solidFill>
                <a:latin typeface="Trebuchet MS" panose="020B0603020202020204" pitchFamily="34" charset="0"/>
              </a:rPr>
              <a:t>science</a:t>
            </a:r>
            <a:r>
              <a:rPr lang="en-GB" sz="1000">
                <a:latin typeface="Trebuchet MS" panose="020B0603020202020204" pitchFamily="34" charset="0"/>
              </a:rPr>
              <a:t> and the growth in </a:t>
            </a:r>
            <a:r>
              <a:rPr lang="en-GB" sz="1000" b="1">
                <a:solidFill>
                  <a:schemeClr val="tx2"/>
                </a:solidFill>
                <a:latin typeface="Trebuchet MS" panose="020B0603020202020204" pitchFamily="34" charset="0"/>
              </a:rPr>
              <a:t>data</a:t>
            </a:r>
            <a:r>
              <a:rPr lang="en-GB" sz="1000">
                <a:latin typeface="Trebuchet MS" panose="020B0603020202020204" pitchFamily="34" charset="0"/>
              </a:rPr>
              <a:t> </a:t>
            </a:r>
            <a:r>
              <a:rPr lang="en-GB" sz="1000" b="1">
                <a:solidFill>
                  <a:schemeClr val="tx2"/>
                </a:solidFill>
                <a:latin typeface="Trebuchet MS" panose="020B0603020202020204" pitchFamily="34" charset="0"/>
              </a:rPr>
              <a:t>production</a:t>
            </a:r>
            <a:r>
              <a:rPr lang="en-GB" sz="1000">
                <a:latin typeface="Trebuchet MS" panose="020B0603020202020204" pitchFamily="34" charset="0"/>
              </a:rPr>
              <a:t> and </a:t>
            </a:r>
            <a:r>
              <a:rPr lang="en-GB" sz="1000" b="1">
                <a:solidFill>
                  <a:schemeClr val="tx2"/>
                </a:solidFill>
                <a:latin typeface="Trebuchet MS" panose="020B0603020202020204" pitchFamily="34" charset="0"/>
              </a:rPr>
              <a:t>consumption</a:t>
            </a:r>
            <a:r>
              <a:rPr lang="en-GB" sz="1000">
                <a:latin typeface="Trebuchet MS" panose="020B0603020202020204" pitchFamily="34" charset="0"/>
              </a:rPr>
              <a:t> drives BD&amp;A growth</a:t>
            </a:r>
          </a:p>
        </p:txBody>
      </p:sp>
      <p:grpSp>
        <p:nvGrpSpPr>
          <p:cNvPr id="75" name="Groupe 21">
            <a:extLst>
              <a:ext uri="{FF2B5EF4-FFF2-40B4-BE49-F238E27FC236}">
                <a16:creationId xmlns:a16="http://schemas.microsoft.com/office/drawing/2014/main" id="{C1E1D858-18C0-448B-80C2-7A22B8E82590}"/>
              </a:ext>
            </a:extLst>
          </p:cNvPr>
          <p:cNvGrpSpPr/>
          <p:nvPr/>
        </p:nvGrpSpPr>
        <p:grpSpPr>
          <a:xfrm>
            <a:off x="271048" y="5650252"/>
            <a:ext cx="451426" cy="455941"/>
            <a:chOff x="195390" y="5861727"/>
            <a:chExt cx="335805" cy="335805"/>
          </a:xfrm>
        </p:grpSpPr>
        <p:sp>
          <p:nvSpPr>
            <p:cNvPr id="76" name="Ellipse 22">
              <a:extLst>
                <a:ext uri="{FF2B5EF4-FFF2-40B4-BE49-F238E27FC236}">
                  <a16:creationId xmlns:a16="http://schemas.microsoft.com/office/drawing/2014/main" id="{36478E92-EDE6-44B0-BB75-7BE37089EC27}"/>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77" name="Group 5">
              <a:extLst>
                <a:ext uri="{FF2B5EF4-FFF2-40B4-BE49-F238E27FC236}">
                  <a16:creationId xmlns:a16="http://schemas.microsoft.com/office/drawing/2014/main" id="{41A3294F-7B35-467C-A332-39AA6424ED36}"/>
                </a:ext>
              </a:extLst>
            </p:cNvPr>
            <p:cNvGrpSpPr>
              <a:grpSpLocks noChangeAspect="1"/>
            </p:cNvGrpSpPr>
            <p:nvPr/>
          </p:nvGrpSpPr>
          <p:grpSpPr bwMode="auto">
            <a:xfrm>
              <a:off x="249663" y="5915997"/>
              <a:ext cx="227258" cy="227255"/>
              <a:chOff x="788" y="800"/>
              <a:chExt cx="742" cy="742"/>
            </a:xfrm>
            <a:solidFill>
              <a:schemeClr val="tx2"/>
            </a:solidFill>
          </p:grpSpPr>
          <p:sp>
            <p:nvSpPr>
              <p:cNvPr id="78" name="Freeform 6">
                <a:extLst>
                  <a:ext uri="{FF2B5EF4-FFF2-40B4-BE49-F238E27FC236}">
                    <a16:creationId xmlns:a16="http://schemas.microsoft.com/office/drawing/2014/main" id="{D04946E1-246F-47D0-98BC-F7DF84E6EAE3}"/>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79" name="Freeform 7">
                <a:extLst>
                  <a:ext uri="{FF2B5EF4-FFF2-40B4-BE49-F238E27FC236}">
                    <a16:creationId xmlns:a16="http://schemas.microsoft.com/office/drawing/2014/main" id="{904DBFB6-1716-4F7E-8AAE-7967CD399C2B}"/>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0" name="Freeform 8">
                <a:extLst>
                  <a:ext uri="{FF2B5EF4-FFF2-40B4-BE49-F238E27FC236}">
                    <a16:creationId xmlns:a16="http://schemas.microsoft.com/office/drawing/2014/main" id="{C9B9EFA2-AD64-41E8-836C-C228340EED4C}"/>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1" name="Freeform 9">
                <a:extLst>
                  <a:ext uri="{FF2B5EF4-FFF2-40B4-BE49-F238E27FC236}">
                    <a16:creationId xmlns:a16="http://schemas.microsoft.com/office/drawing/2014/main" id="{645647F8-3F50-419B-8EBB-6C294836C69A}"/>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2" name="Freeform 10">
                <a:extLst>
                  <a:ext uri="{FF2B5EF4-FFF2-40B4-BE49-F238E27FC236}">
                    <a16:creationId xmlns:a16="http://schemas.microsoft.com/office/drawing/2014/main" id="{ED14759F-FD4E-4643-9000-723CF1552064}"/>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3" name="Freeform 11">
                <a:extLst>
                  <a:ext uri="{FF2B5EF4-FFF2-40B4-BE49-F238E27FC236}">
                    <a16:creationId xmlns:a16="http://schemas.microsoft.com/office/drawing/2014/main" id="{1FF3237C-8A71-495A-9D80-2A0AB57D86FE}"/>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4" name="Freeform 12">
                <a:extLst>
                  <a:ext uri="{FF2B5EF4-FFF2-40B4-BE49-F238E27FC236}">
                    <a16:creationId xmlns:a16="http://schemas.microsoft.com/office/drawing/2014/main" id="{51BF4DA8-982B-4774-B279-94FE97B460CA}"/>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sp>
        <p:nvSpPr>
          <p:cNvPr id="86" name="Rectangle 85">
            <a:extLst>
              <a:ext uri="{FF2B5EF4-FFF2-40B4-BE49-F238E27FC236}">
                <a16:creationId xmlns:a16="http://schemas.microsoft.com/office/drawing/2014/main" id="{67CB0E55-3C2A-4261-8FE5-C95C12E5E748}"/>
              </a:ext>
            </a:extLst>
          </p:cNvPr>
          <p:cNvSpPr/>
          <p:nvPr/>
        </p:nvSpPr>
        <p:spPr bwMode="auto">
          <a:xfrm>
            <a:off x="359980" y="1403460"/>
            <a:ext cx="9184060" cy="55895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dirty="0">
                <a:latin typeface="Trebuchet MS" panose="020B0603020202020204" pitchFamily="34" charset="0"/>
              </a:rPr>
              <a:t>Business Data &amp; Analytics help companies make </a:t>
            </a:r>
            <a:r>
              <a:rPr lang="en-GB" sz="1000" b="1" dirty="0">
                <a:solidFill>
                  <a:schemeClr val="tx2"/>
                </a:solidFill>
                <a:latin typeface="Trebuchet MS" panose="020B0603020202020204" pitchFamily="34" charset="0"/>
              </a:rPr>
              <a:t>strategic</a:t>
            </a:r>
            <a:r>
              <a:rPr lang="en-GB" sz="1000" dirty="0">
                <a:latin typeface="Trebuchet MS" panose="020B0603020202020204" pitchFamily="34" charset="0"/>
              </a:rPr>
              <a:t> </a:t>
            </a:r>
            <a:r>
              <a:rPr lang="en-GB" sz="1000" b="1" dirty="0">
                <a:solidFill>
                  <a:schemeClr val="tx2"/>
                </a:solidFill>
                <a:latin typeface="Trebuchet MS" panose="020B0603020202020204" pitchFamily="34" charset="0"/>
              </a:rPr>
              <a:t>decisions</a:t>
            </a:r>
            <a:r>
              <a:rPr lang="en-GB" sz="1000" dirty="0">
                <a:latin typeface="Trebuchet MS" panose="020B0603020202020204" pitchFamily="34" charset="0"/>
              </a:rPr>
              <a:t> and manage their operations by </a:t>
            </a:r>
            <a:r>
              <a:rPr lang="en-GB" sz="1000" b="1" dirty="0">
                <a:solidFill>
                  <a:schemeClr val="tx2"/>
                </a:solidFill>
                <a:latin typeface="Trebuchet MS" panose="020B0603020202020204" pitchFamily="34" charset="0"/>
              </a:rPr>
              <a:t>sourcing</a:t>
            </a:r>
            <a:r>
              <a:rPr lang="en-GB" sz="1000" dirty="0">
                <a:latin typeface="Trebuchet MS" panose="020B0603020202020204" pitchFamily="34" charset="0"/>
              </a:rPr>
              <a:t>, </a:t>
            </a:r>
            <a:r>
              <a:rPr lang="en-GB" sz="1000" b="1" dirty="0">
                <a:solidFill>
                  <a:schemeClr val="tx2"/>
                </a:solidFill>
                <a:latin typeface="Trebuchet MS" panose="020B0603020202020204" pitchFamily="34" charset="0"/>
              </a:rPr>
              <a:t>analysing</a:t>
            </a:r>
            <a:r>
              <a:rPr lang="en-GB" sz="1000" dirty="0">
                <a:latin typeface="Trebuchet MS" panose="020B0603020202020204" pitchFamily="34" charset="0"/>
              </a:rPr>
              <a:t> and </a:t>
            </a:r>
            <a:r>
              <a:rPr lang="en-GB" sz="1000" b="1" dirty="0">
                <a:solidFill>
                  <a:schemeClr val="tx2"/>
                </a:solidFill>
                <a:latin typeface="Trebuchet MS" panose="020B0603020202020204" pitchFamily="34" charset="0"/>
              </a:rPr>
              <a:t>leveraging</a:t>
            </a:r>
            <a:r>
              <a:rPr lang="en-GB" sz="1000" dirty="0">
                <a:latin typeface="Trebuchet MS" panose="020B0603020202020204" pitchFamily="34" charset="0"/>
              </a:rPr>
              <a:t> both structured and unstructured </a:t>
            </a:r>
            <a:r>
              <a:rPr lang="en-GB" sz="1000" b="1" dirty="0">
                <a:solidFill>
                  <a:schemeClr val="tx2"/>
                </a:solidFill>
                <a:latin typeface="Trebuchet MS" panose="020B0603020202020204" pitchFamily="34" charset="0"/>
              </a:rPr>
              <a:t>data </a:t>
            </a:r>
            <a:r>
              <a:rPr lang="en-GB" sz="1000" dirty="0">
                <a:latin typeface="Trebuchet MS" panose="020B0603020202020204" pitchFamily="34" charset="0"/>
              </a:rPr>
              <a:t>regarding the </a:t>
            </a:r>
            <a:r>
              <a:rPr lang="en-GB" sz="1000" b="1" dirty="0">
                <a:solidFill>
                  <a:schemeClr val="tx2"/>
                </a:solidFill>
                <a:latin typeface="Trebuchet MS" panose="020B0603020202020204" pitchFamily="34" charset="0"/>
              </a:rPr>
              <a:t>risks and opportunities vis-à-vis third parties </a:t>
            </a:r>
          </a:p>
        </p:txBody>
      </p:sp>
      <p:sp>
        <p:nvSpPr>
          <p:cNvPr id="11" name="Rectangle 10">
            <a:extLst>
              <a:ext uri="{FF2B5EF4-FFF2-40B4-BE49-F238E27FC236}">
                <a16:creationId xmlns:a16="http://schemas.microsoft.com/office/drawing/2014/main" id="{E85B7186-B917-4878-A411-7919193DA51A}"/>
              </a:ext>
            </a:extLst>
          </p:cNvPr>
          <p:cNvSpPr/>
          <p:nvPr/>
        </p:nvSpPr>
        <p:spPr bwMode="auto">
          <a:xfrm>
            <a:off x="780964" y="3434243"/>
            <a:ext cx="2441196" cy="55895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a:r>
              <a:rPr lang="en-GB" sz="1000" dirty="0">
                <a:latin typeface="Trebuchet MS" panose="020B0603020202020204" pitchFamily="34" charset="0"/>
              </a:rPr>
              <a:t>Information to </a:t>
            </a:r>
            <a:r>
              <a:rPr lang="en-GB" sz="1000" b="1" dirty="0">
                <a:solidFill>
                  <a:schemeClr val="tx2"/>
                </a:solidFill>
                <a:latin typeface="Trebuchet MS" panose="020B0603020202020204" pitchFamily="34" charset="0"/>
              </a:rPr>
              <a:t>support</a:t>
            </a:r>
            <a:r>
              <a:rPr lang="en-GB" sz="1000" dirty="0">
                <a:latin typeface="Trebuchet MS" panose="020B0603020202020204" pitchFamily="34" charset="0"/>
              </a:rPr>
              <a:t> </a:t>
            </a:r>
            <a:r>
              <a:rPr lang="en-GB" sz="1000" b="1" dirty="0">
                <a:solidFill>
                  <a:schemeClr val="tx2"/>
                </a:solidFill>
                <a:latin typeface="Trebuchet MS" panose="020B0603020202020204" pitchFamily="34" charset="0"/>
              </a:rPr>
              <a:t>credit</a:t>
            </a:r>
            <a:r>
              <a:rPr lang="en-GB" sz="1000" dirty="0">
                <a:latin typeface="Trebuchet MS" panose="020B0603020202020204" pitchFamily="34" charset="0"/>
              </a:rPr>
              <a:t> </a:t>
            </a:r>
            <a:r>
              <a:rPr lang="en-GB" sz="1000" b="1" dirty="0">
                <a:solidFill>
                  <a:schemeClr val="tx2"/>
                </a:solidFill>
                <a:latin typeface="Trebuchet MS" panose="020B0603020202020204" pitchFamily="34" charset="0"/>
              </a:rPr>
              <a:t>referencing</a:t>
            </a:r>
            <a:r>
              <a:rPr lang="en-GB" sz="1000" dirty="0">
                <a:latin typeface="Trebuchet MS" panose="020B0603020202020204" pitchFamily="34" charset="0"/>
              </a:rPr>
              <a:t> </a:t>
            </a:r>
            <a:r>
              <a:rPr lang="en-GB" sz="1000" b="1" dirty="0">
                <a:solidFill>
                  <a:schemeClr val="tx2"/>
                </a:solidFill>
                <a:latin typeface="Trebuchet MS" panose="020B0603020202020204" pitchFamily="34" charset="0"/>
              </a:rPr>
              <a:t>process</a:t>
            </a:r>
            <a:r>
              <a:rPr lang="en-GB" sz="1000" dirty="0">
                <a:latin typeface="Trebuchet MS" panose="020B0603020202020204" pitchFamily="34" charset="0"/>
              </a:rPr>
              <a:t> and assess creditworthiness of clients and suppliers</a:t>
            </a:r>
          </a:p>
        </p:txBody>
      </p:sp>
      <p:sp>
        <p:nvSpPr>
          <p:cNvPr id="37" name="Rectangle 36">
            <a:extLst>
              <a:ext uri="{FF2B5EF4-FFF2-40B4-BE49-F238E27FC236}">
                <a16:creationId xmlns:a16="http://schemas.microsoft.com/office/drawing/2014/main" id="{1AB7DAC8-51D2-4D97-8E4D-896EE694BBF3}"/>
              </a:ext>
            </a:extLst>
          </p:cNvPr>
          <p:cNvSpPr/>
          <p:nvPr/>
        </p:nvSpPr>
        <p:spPr bwMode="auto">
          <a:xfrm>
            <a:off x="780964" y="4411397"/>
            <a:ext cx="2441196" cy="39353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B2B default risk scoring and assessment</a:t>
            </a:r>
          </a:p>
        </p:txBody>
      </p:sp>
      <p:sp>
        <p:nvSpPr>
          <p:cNvPr id="12" name="Rectangle 11">
            <a:extLst>
              <a:ext uri="{FF2B5EF4-FFF2-40B4-BE49-F238E27FC236}">
                <a16:creationId xmlns:a16="http://schemas.microsoft.com/office/drawing/2014/main" id="{856EF48B-5062-40B8-ADF9-B59A1BD580CB}"/>
              </a:ext>
            </a:extLst>
          </p:cNvPr>
          <p:cNvSpPr/>
          <p:nvPr/>
        </p:nvSpPr>
        <p:spPr bwMode="auto">
          <a:xfrm>
            <a:off x="3815548" y="3434243"/>
            <a:ext cx="2441196" cy="55895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dirty="0">
                <a:latin typeface="Trebuchet MS" panose="020B0603020202020204" pitchFamily="34" charset="0"/>
              </a:rPr>
              <a:t>Information to </a:t>
            </a:r>
            <a:r>
              <a:rPr lang="en-GB" sz="1000" b="1" dirty="0">
                <a:solidFill>
                  <a:schemeClr val="tx2"/>
                </a:solidFill>
                <a:latin typeface="Trebuchet MS" panose="020B0603020202020204" pitchFamily="34" charset="0"/>
              </a:rPr>
              <a:t>support</a:t>
            </a:r>
            <a:r>
              <a:rPr lang="en-GB" sz="1000" dirty="0">
                <a:latin typeface="Trebuchet MS" panose="020B0603020202020204" pitchFamily="34" charset="0"/>
              </a:rPr>
              <a:t> </a:t>
            </a:r>
            <a:r>
              <a:rPr lang="en-GB" sz="1000" b="1" dirty="0">
                <a:solidFill>
                  <a:schemeClr val="tx2"/>
                </a:solidFill>
                <a:latin typeface="Trebuchet MS" panose="020B0603020202020204" pitchFamily="34" charset="0"/>
              </a:rPr>
              <a:t>compliance</a:t>
            </a:r>
            <a:r>
              <a:rPr lang="en-GB" sz="1000" dirty="0">
                <a:latin typeface="Trebuchet MS" panose="020B0603020202020204" pitchFamily="34" charset="0"/>
              </a:rPr>
              <a:t> with regulatory and legal requirements</a:t>
            </a:r>
          </a:p>
        </p:txBody>
      </p:sp>
      <p:sp>
        <p:nvSpPr>
          <p:cNvPr id="38" name="Rectangle 37">
            <a:extLst>
              <a:ext uri="{FF2B5EF4-FFF2-40B4-BE49-F238E27FC236}">
                <a16:creationId xmlns:a16="http://schemas.microsoft.com/office/drawing/2014/main" id="{70017144-DCBD-4D2D-BCDD-4D8EE8A89969}"/>
              </a:ext>
            </a:extLst>
          </p:cNvPr>
          <p:cNvSpPr/>
          <p:nvPr/>
        </p:nvSpPr>
        <p:spPr bwMode="auto">
          <a:xfrm>
            <a:off x="3815548" y="4411397"/>
            <a:ext cx="2441196" cy="39353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Customer and supplier due diligence</a:t>
            </a:r>
          </a:p>
        </p:txBody>
      </p:sp>
      <p:sp>
        <p:nvSpPr>
          <p:cNvPr id="13" name="Rectangle 12">
            <a:extLst>
              <a:ext uri="{FF2B5EF4-FFF2-40B4-BE49-F238E27FC236}">
                <a16:creationId xmlns:a16="http://schemas.microsoft.com/office/drawing/2014/main" id="{5441E133-85D8-4F53-81A8-C98B1DDA206B}"/>
              </a:ext>
            </a:extLst>
          </p:cNvPr>
          <p:cNvSpPr/>
          <p:nvPr/>
        </p:nvSpPr>
        <p:spPr bwMode="auto">
          <a:xfrm>
            <a:off x="6850131" y="3434243"/>
            <a:ext cx="2441196" cy="55895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dirty="0">
                <a:latin typeface="Trebuchet MS" panose="020B0603020202020204" pitchFamily="34" charset="0"/>
              </a:rPr>
              <a:t>Information to </a:t>
            </a:r>
            <a:r>
              <a:rPr lang="en-GB" sz="1000" b="1" dirty="0">
                <a:solidFill>
                  <a:schemeClr val="tx2"/>
                </a:solidFill>
                <a:latin typeface="Trebuchet MS" panose="020B0603020202020204" pitchFamily="34" charset="0"/>
              </a:rPr>
              <a:t>support</a:t>
            </a:r>
            <a:r>
              <a:rPr lang="en-GB" sz="1000" dirty="0">
                <a:latin typeface="Trebuchet MS" panose="020B0603020202020204" pitchFamily="34" charset="0"/>
              </a:rPr>
              <a:t> </a:t>
            </a:r>
            <a:r>
              <a:rPr lang="en-GB" sz="1000" b="1" dirty="0">
                <a:solidFill>
                  <a:schemeClr val="tx2"/>
                </a:solidFill>
                <a:latin typeface="Trebuchet MS" panose="020B0603020202020204" pitchFamily="34" charset="0"/>
              </a:rPr>
              <a:t>B2B</a:t>
            </a:r>
            <a:r>
              <a:rPr lang="en-GB" sz="1000" dirty="0">
                <a:latin typeface="Trebuchet MS" panose="020B0603020202020204" pitchFamily="34" charset="0"/>
              </a:rPr>
              <a:t> </a:t>
            </a:r>
            <a:r>
              <a:rPr lang="en-GB" sz="1000" b="1" dirty="0">
                <a:solidFill>
                  <a:schemeClr val="tx2"/>
                </a:solidFill>
                <a:latin typeface="Trebuchet MS" panose="020B0603020202020204" pitchFamily="34" charset="0"/>
              </a:rPr>
              <a:t>sales</a:t>
            </a:r>
            <a:r>
              <a:rPr lang="en-GB" sz="1000" dirty="0">
                <a:latin typeface="Trebuchet MS" panose="020B0603020202020204" pitchFamily="34" charset="0"/>
              </a:rPr>
              <a:t> and </a:t>
            </a:r>
            <a:r>
              <a:rPr lang="en-GB" sz="1000" b="1" dirty="0">
                <a:solidFill>
                  <a:schemeClr val="tx2"/>
                </a:solidFill>
                <a:latin typeface="Trebuchet MS" panose="020B0603020202020204" pitchFamily="34" charset="0"/>
              </a:rPr>
              <a:t>marketing</a:t>
            </a:r>
            <a:r>
              <a:rPr lang="en-GB" sz="1000" dirty="0">
                <a:latin typeface="Trebuchet MS" panose="020B0603020202020204" pitchFamily="34" charset="0"/>
              </a:rPr>
              <a:t> activities </a:t>
            </a:r>
          </a:p>
        </p:txBody>
      </p:sp>
      <p:sp>
        <p:nvSpPr>
          <p:cNvPr id="39" name="Rectangle 38">
            <a:extLst>
              <a:ext uri="{FF2B5EF4-FFF2-40B4-BE49-F238E27FC236}">
                <a16:creationId xmlns:a16="http://schemas.microsoft.com/office/drawing/2014/main" id="{919414F7-BA93-47C8-8395-2C619903C914}"/>
              </a:ext>
            </a:extLst>
          </p:cNvPr>
          <p:cNvSpPr/>
          <p:nvPr/>
        </p:nvSpPr>
        <p:spPr bwMode="auto">
          <a:xfrm>
            <a:off x="6850131" y="4411397"/>
            <a:ext cx="2441196" cy="39353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Enrichment of B2B customers/leads and client targeting services</a:t>
            </a:r>
          </a:p>
        </p:txBody>
      </p:sp>
      <p:sp>
        <p:nvSpPr>
          <p:cNvPr id="4" name="Rectangle 3">
            <a:extLst>
              <a:ext uri="{FF2B5EF4-FFF2-40B4-BE49-F238E27FC236}">
                <a16:creationId xmlns:a16="http://schemas.microsoft.com/office/drawing/2014/main" id="{4749A4D0-7849-4BAC-96B9-C542EBD00FE9}"/>
              </a:ext>
            </a:extLst>
          </p:cNvPr>
          <p:cNvSpPr/>
          <p:nvPr/>
        </p:nvSpPr>
        <p:spPr bwMode="auto">
          <a:xfrm>
            <a:off x="780964" y="2321197"/>
            <a:ext cx="2441196" cy="81373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solidFill>
                  <a:schemeClr val="tx2"/>
                </a:solidFill>
                <a:latin typeface="Trebuchet MS" panose="020B0603020202020204" pitchFamily="34" charset="0"/>
              </a:rPr>
              <a:t>Credit &amp; financial risk</a:t>
            </a:r>
          </a:p>
          <a:p>
            <a:pPr algn="ctr"/>
            <a:endParaRPr lang="en-GB" sz="1200" b="1">
              <a:solidFill>
                <a:schemeClr val="tx2"/>
              </a:solidFill>
              <a:latin typeface="Trebuchet MS" panose="020B0603020202020204" pitchFamily="34" charset="0"/>
            </a:endParaRPr>
          </a:p>
          <a:p>
            <a:pPr algn="ctr"/>
            <a:endParaRPr lang="en-GB" sz="1200" b="1">
              <a:solidFill>
                <a:schemeClr val="tx2"/>
              </a:solidFill>
              <a:latin typeface="Trebuchet MS" panose="020B0603020202020204" pitchFamily="34" charset="0"/>
            </a:endParaRPr>
          </a:p>
        </p:txBody>
      </p:sp>
      <p:pic>
        <p:nvPicPr>
          <p:cNvPr id="16" name="Picture 2" descr="Drapeau France">
            <a:extLst>
              <a:ext uri="{FF2B5EF4-FFF2-40B4-BE49-F238E27FC236}">
                <a16:creationId xmlns:a16="http://schemas.microsoft.com/office/drawing/2014/main" id="{CECCB7EE-8267-4AA0-A60F-7BE3B846B2BF}"/>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006" b="16757"/>
          <a:stretch/>
        </p:blipFill>
        <p:spPr bwMode="auto">
          <a:xfrm>
            <a:off x="835765" y="2787395"/>
            <a:ext cx="166602" cy="110353"/>
          </a:xfrm>
          <a:prstGeom prst="rect">
            <a:avLst/>
          </a:prstGeom>
          <a:solidFill>
            <a:schemeClr val="bg1"/>
          </a:solidFill>
          <a:ln w="9525" cap="flat" cmpd="sng" algn="ctr">
            <a:noFill/>
            <a:prstDash val="solid"/>
            <a:round/>
            <a:headEnd type="none" w="med" len="med"/>
            <a:tailEnd type="none" w="med" len="med"/>
          </a:ln>
          <a:effectLst/>
        </p:spPr>
      </p:pic>
      <p:pic>
        <p:nvPicPr>
          <p:cNvPr id="17" name="Picture 2" descr="5 ft x 3 ft 150 x 90 cm-DRAPEAU BELGE Belgique 100% Polyester ...">
            <a:extLst>
              <a:ext uri="{FF2B5EF4-FFF2-40B4-BE49-F238E27FC236}">
                <a16:creationId xmlns:a16="http://schemas.microsoft.com/office/drawing/2014/main" id="{B5D390F8-4BD0-4FA3-A379-98420B088EF2}"/>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73"/>
          <a:stretch/>
        </p:blipFill>
        <p:spPr bwMode="auto">
          <a:xfrm>
            <a:off x="1034243" y="2790058"/>
            <a:ext cx="174240" cy="105027"/>
          </a:xfrm>
          <a:prstGeom prst="rect">
            <a:avLst/>
          </a:prstGeom>
          <a:solidFill>
            <a:schemeClr val="bg1"/>
          </a:solidFill>
          <a:ln w="9525" cap="flat" cmpd="sng" algn="ctr">
            <a:noFill/>
            <a:prstDash val="solid"/>
            <a:round/>
            <a:headEnd type="none" w="med" len="med"/>
            <a:tailEnd type="none" w="med" len="med"/>
          </a:ln>
          <a:effectLst/>
        </p:spPr>
      </p:pic>
      <p:pic>
        <p:nvPicPr>
          <p:cNvPr id="49" name="Picture 2 - 1" descr="Drapeau des Pays-Bas — Wikipédia">
            <a:extLst>
              <a:ext uri="{FF2B5EF4-FFF2-40B4-BE49-F238E27FC236}">
                <a16:creationId xmlns:a16="http://schemas.microsoft.com/office/drawing/2014/main" id="{37E32110-A81A-41F0-85CC-FB002704AA8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40359" y="2790057"/>
            <a:ext cx="174240" cy="105028"/>
          </a:xfrm>
          <a:prstGeom prst="rect">
            <a:avLst/>
          </a:prstGeom>
          <a:solidFill>
            <a:schemeClr val="bg1"/>
          </a:solidFill>
          <a:ln w="9525" cap="flat" cmpd="sng" algn="ctr">
            <a:noFill/>
            <a:prstDash val="solid"/>
            <a:round/>
            <a:headEnd type="none" w="med" len="med"/>
            <a:tailEnd type="none" w="med" len="med"/>
          </a:ln>
          <a:effectLst/>
        </p:spPr>
      </p:pic>
      <p:pic>
        <p:nvPicPr>
          <p:cNvPr id="51" name="Picture 2 - 2" descr="Drapeau du Luxembourg">
            <a:extLst>
              <a:ext uri="{FF2B5EF4-FFF2-40B4-BE49-F238E27FC236}">
                <a16:creationId xmlns:a16="http://schemas.microsoft.com/office/drawing/2014/main" id="{AEB8E4E7-039F-46E2-AA1E-4975161E06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446476" y="2790300"/>
            <a:ext cx="174240" cy="104543"/>
          </a:xfrm>
          <a:prstGeom prst="rect">
            <a:avLst/>
          </a:prstGeom>
          <a:solidFill>
            <a:schemeClr val="bg1"/>
          </a:solidFill>
          <a:ln w="9525" cap="flat" cmpd="sng" algn="ctr">
            <a:noFill/>
            <a:prstDash val="solid"/>
            <a:round/>
            <a:headEnd type="none" w="med" len="med"/>
            <a:tailEnd type="none" w="med" len="med"/>
          </a:ln>
          <a:effectLst/>
        </p:spPr>
      </p:pic>
      <p:pic>
        <p:nvPicPr>
          <p:cNvPr id="59" name="Graphique 128" descr="Jauge">
            <a:extLst>
              <a:ext uri="{FF2B5EF4-FFF2-40B4-BE49-F238E27FC236}">
                <a16:creationId xmlns:a16="http://schemas.microsoft.com/office/drawing/2014/main" id="{D705D836-2FFD-4125-9FFB-5DA50124AC9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84888" y="2428296"/>
            <a:ext cx="234953" cy="218224"/>
          </a:xfrm>
          <a:prstGeom prst="rect">
            <a:avLst/>
          </a:prstGeom>
          <a:effectLst/>
        </p:spPr>
      </p:pic>
      <p:sp>
        <p:nvSpPr>
          <p:cNvPr id="7" name="Rectangle 6">
            <a:extLst>
              <a:ext uri="{FF2B5EF4-FFF2-40B4-BE49-F238E27FC236}">
                <a16:creationId xmlns:a16="http://schemas.microsoft.com/office/drawing/2014/main" id="{63017A58-6F0C-42EA-BB68-F3692820FB23}"/>
              </a:ext>
            </a:extLst>
          </p:cNvPr>
          <p:cNvSpPr/>
          <p:nvPr/>
        </p:nvSpPr>
        <p:spPr bwMode="auto">
          <a:xfrm>
            <a:off x="3815548" y="2321197"/>
            <a:ext cx="2441196" cy="81373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solidFill>
                  <a:schemeClr val="tx2"/>
                </a:solidFill>
                <a:latin typeface="Trebuchet MS" pitchFamily="34" charset="0"/>
              </a:rPr>
              <a:t>Compliance services</a:t>
            </a:r>
          </a:p>
          <a:p>
            <a:pPr algn="ctr"/>
            <a:endParaRPr lang="en-GB" sz="1200" b="1">
              <a:solidFill>
                <a:schemeClr val="tx2"/>
              </a:solidFill>
              <a:latin typeface="Trebuchet MS" pitchFamily="34" charset="0"/>
            </a:endParaRPr>
          </a:p>
          <a:p>
            <a:pPr algn="ctr"/>
            <a:endParaRPr lang="en-GB" sz="1200" b="1">
              <a:solidFill>
                <a:schemeClr val="tx2"/>
              </a:solidFill>
              <a:latin typeface="Trebuchet MS" pitchFamily="34" charset="0"/>
            </a:endParaRPr>
          </a:p>
        </p:txBody>
      </p:sp>
      <p:pic>
        <p:nvPicPr>
          <p:cNvPr id="61" name="Graphique 90" descr="Poignée de main">
            <a:extLst>
              <a:ext uri="{FF2B5EF4-FFF2-40B4-BE49-F238E27FC236}">
                <a16:creationId xmlns:a16="http://schemas.microsoft.com/office/drawing/2014/main" id="{03D9D42D-4742-42A2-8296-9D5203912EC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963701" y="2393660"/>
            <a:ext cx="256313" cy="287496"/>
          </a:xfrm>
          <a:prstGeom prst="rect">
            <a:avLst/>
          </a:prstGeom>
          <a:effectLst/>
        </p:spPr>
      </p:pic>
      <p:sp>
        <p:nvSpPr>
          <p:cNvPr id="6" name="Rectangle 5">
            <a:extLst>
              <a:ext uri="{FF2B5EF4-FFF2-40B4-BE49-F238E27FC236}">
                <a16:creationId xmlns:a16="http://schemas.microsoft.com/office/drawing/2014/main" id="{CFADDF6A-CBEB-4809-9D00-2E1BE32FCE75}"/>
              </a:ext>
            </a:extLst>
          </p:cNvPr>
          <p:cNvSpPr/>
          <p:nvPr/>
        </p:nvSpPr>
        <p:spPr bwMode="auto">
          <a:xfrm>
            <a:off x="6850131" y="2321197"/>
            <a:ext cx="2441196" cy="81373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solidFill>
                  <a:schemeClr val="tx2"/>
                </a:solidFill>
                <a:latin typeface="Trebuchet MS" pitchFamily="34" charset="0"/>
              </a:rPr>
              <a:t>B2B marketing</a:t>
            </a:r>
          </a:p>
          <a:p>
            <a:pPr algn="ctr"/>
            <a:endParaRPr lang="en-GB" sz="1200" b="1">
              <a:solidFill>
                <a:schemeClr val="tx2"/>
              </a:solidFill>
              <a:latin typeface="Trebuchet MS" pitchFamily="34" charset="0"/>
            </a:endParaRPr>
          </a:p>
          <a:p>
            <a:pPr algn="ctr"/>
            <a:endParaRPr lang="en-GB" sz="1200" b="1">
              <a:solidFill>
                <a:schemeClr val="tx2"/>
              </a:solidFill>
              <a:latin typeface="Trebuchet MS" pitchFamily="34" charset="0"/>
            </a:endParaRPr>
          </a:p>
        </p:txBody>
      </p:sp>
      <p:pic>
        <p:nvPicPr>
          <p:cNvPr id="63" name="Graphique 74" descr="Mégaphone">
            <a:extLst>
              <a:ext uri="{FF2B5EF4-FFF2-40B4-BE49-F238E27FC236}">
                <a16:creationId xmlns:a16="http://schemas.microsoft.com/office/drawing/2014/main" id="{9C52BDE7-811D-4276-B038-819D18E8E57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210796" y="2429198"/>
            <a:ext cx="233011" cy="216420"/>
          </a:xfrm>
          <a:prstGeom prst="rect">
            <a:avLst/>
          </a:prstGeom>
          <a:effectLst/>
        </p:spPr>
      </p:pic>
      <p:sp>
        <p:nvSpPr>
          <p:cNvPr id="58" name="Isosceles Triangle 57">
            <a:extLst>
              <a:ext uri="{FF2B5EF4-FFF2-40B4-BE49-F238E27FC236}">
                <a16:creationId xmlns:a16="http://schemas.microsoft.com/office/drawing/2014/main" id="{424BCF52-3B5F-4664-97A8-C81C1A3A71AC}"/>
              </a:ext>
            </a:extLst>
          </p:cNvPr>
          <p:cNvSpPr/>
          <p:nvPr/>
        </p:nvSpPr>
        <p:spPr bwMode="auto">
          <a:xfrm rot="10800000">
            <a:off x="1015797" y="2109472"/>
            <a:ext cx="1971532" cy="13874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0" name="Isosceles Triangle 59">
            <a:extLst>
              <a:ext uri="{FF2B5EF4-FFF2-40B4-BE49-F238E27FC236}">
                <a16:creationId xmlns:a16="http://schemas.microsoft.com/office/drawing/2014/main" id="{BDC643C6-96B8-4EEA-BF2B-3CE6A0D8993B}"/>
              </a:ext>
            </a:extLst>
          </p:cNvPr>
          <p:cNvSpPr/>
          <p:nvPr/>
        </p:nvSpPr>
        <p:spPr bwMode="auto">
          <a:xfrm rot="10800000">
            <a:off x="4050380" y="2109472"/>
            <a:ext cx="1971532" cy="13874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2" name="Isosceles Triangle 61">
            <a:extLst>
              <a:ext uri="{FF2B5EF4-FFF2-40B4-BE49-F238E27FC236}">
                <a16:creationId xmlns:a16="http://schemas.microsoft.com/office/drawing/2014/main" id="{F5BD93ED-31EF-41DF-9FFF-EA07076DD59D}"/>
              </a:ext>
            </a:extLst>
          </p:cNvPr>
          <p:cNvSpPr/>
          <p:nvPr/>
        </p:nvSpPr>
        <p:spPr bwMode="auto">
          <a:xfrm rot="10800000">
            <a:off x="7084963" y="2109472"/>
            <a:ext cx="1971532" cy="13874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70" name="Picture 2" descr="Drapeau France">
            <a:extLst>
              <a:ext uri="{FF2B5EF4-FFF2-40B4-BE49-F238E27FC236}">
                <a16:creationId xmlns:a16="http://schemas.microsoft.com/office/drawing/2014/main" id="{D0BBDFEC-1086-4C77-B1EE-BBDD8F1728A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006" b="16757"/>
          <a:stretch/>
        </p:blipFill>
        <p:spPr bwMode="auto">
          <a:xfrm>
            <a:off x="3896806" y="2787395"/>
            <a:ext cx="166602" cy="110353"/>
          </a:xfrm>
          <a:prstGeom prst="rect">
            <a:avLst/>
          </a:prstGeom>
          <a:solidFill>
            <a:schemeClr val="bg1"/>
          </a:solidFill>
          <a:ln w="9525" cap="flat" cmpd="sng" algn="ctr">
            <a:noFill/>
            <a:prstDash val="solid"/>
            <a:round/>
            <a:headEnd type="none" w="med" len="med"/>
            <a:tailEnd type="none" w="med" len="med"/>
          </a:ln>
          <a:effectLst/>
        </p:spPr>
      </p:pic>
      <p:pic>
        <p:nvPicPr>
          <p:cNvPr id="87" name="Picture 2" descr="5 ft x 3 ft 150 x 90 cm-DRAPEAU BELGE Belgique 100% Polyester ...">
            <a:extLst>
              <a:ext uri="{FF2B5EF4-FFF2-40B4-BE49-F238E27FC236}">
                <a16:creationId xmlns:a16="http://schemas.microsoft.com/office/drawing/2014/main" id="{94765A54-3886-49A8-9CF5-4DD75D90C66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73"/>
          <a:stretch/>
        </p:blipFill>
        <p:spPr bwMode="auto">
          <a:xfrm>
            <a:off x="4095284" y="2790058"/>
            <a:ext cx="174240" cy="105027"/>
          </a:xfrm>
          <a:prstGeom prst="rect">
            <a:avLst/>
          </a:prstGeom>
          <a:solidFill>
            <a:schemeClr val="bg1"/>
          </a:solidFill>
          <a:ln w="9525" cap="flat" cmpd="sng" algn="ctr">
            <a:noFill/>
            <a:prstDash val="solid"/>
            <a:round/>
            <a:headEnd type="none" w="med" len="med"/>
            <a:tailEnd type="none" w="med" len="med"/>
          </a:ln>
          <a:effectLst/>
        </p:spPr>
      </p:pic>
      <p:pic>
        <p:nvPicPr>
          <p:cNvPr id="88" name="Picture 2 - 1" descr="Drapeau des Pays-Bas — Wikipédia">
            <a:extLst>
              <a:ext uri="{FF2B5EF4-FFF2-40B4-BE49-F238E27FC236}">
                <a16:creationId xmlns:a16="http://schemas.microsoft.com/office/drawing/2014/main" id="{6949DD82-D847-4EFF-8327-58C411EAC0D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301400" y="2790057"/>
            <a:ext cx="174240" cy="105028"/>
          </a:xfrm>
          <a:prstGeom prst="rect">
            <a:avLst/>
          </a:prstGeom>
          <a:solidFill>
            <a:schemeClr val="bg1"/>
          </a:solidFill>
          <a:ln w="9525" cap="flat" cmpd="sng" algn="ctr">
            <a:noFill/>
            <a:prstDash val="solid"/>
            <a:round/>
            <a:headEnd type="none" w="med" len="med"/>
            <a:tailEnd type="none" w="med" len="med"/>
          </a:ln>
          <a:effectLst/>
        </p:spPr>
      </p:pic>
      <p:pic>
        <p:nvPicPr>
          <p:cNvPr id="89" name="Picture 2 - 2" descr="Drapeau du Luxembourg">
            <a:extLst>
              <a:ext uri="{FF2B5EF4-FFF2-40B4-BE49-F238E27FC236}">
                <a16:creationId xmlns:a16="http://schemas.microsoft.com/office/drawing/2014/main" id="{05B62BF6-BE6A-4338-9FB2-048234A1F22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507517" y="2790300"/>
            <a:ext cx="174240" cy="104543"/>
          </a:xfrm>
          <a:prstGeom prst="rect">
            <a:avLst/>
          </a:prstGeom>
          <a:solidFill>
            <a:schemeClr val="bg1"/>
          </a:solidFill>
          <a:ln w="9525" cap="flat" cmpd="sng" algn="ctr">
            <a:noFill/>
            <a:prstDash val="solid"/>
            <a:round/>
            <a:headEnd type="none" w="med" len="med"/>
            <a:tailEnd type="none" w="med" len="med"/>
          </a:ln>
          <a:effectLst/>
        </p:spPr>
      </p:pic>
      <p:pic>
        <p:nvPicPr>
          <p:cNvPr id="90" name="Picture 2" descr="Drapeau France">
            <a:extLst>
              <a:ext uri="{FF2B5EF4-FFF2-40B4-BE49-F238E27FC236}">
                <a16:creationId xmlns:a16="http://schemas.microsoft.com/office/drawing/2014/main" id="{3FF906E1-1385-4C6F-9652-8CB0294B29BB}"/>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006" b="16757"/>
          <a:stretch/>
        </p:blipFill>
        <p:spPr bwMode="auto">
          <a:xfrm>
            <a:off x="6944634" y="2787395"/>
            <a:ext cx="166602" cy="110353"/>
          </a:xfrm>
          <a:prstGeom prst="rect">
            <a:avLst/>
          </a:prstGeom>
          <a:solidFill>
            <a:schemeClr val="bg1"/>
          </a:solidFill>
          <a:ln w="9525" cap="flat" cmpd="sng" algn="ctr">
            <a:noFill/>
            <a:prstDash val="solid"/>
            <a:round/>
            <a:headEnd type="none" w="med" len="med"/>
            <a:tailEnd type="none" w="med" len="med"/>
          </a:ln>
          <a:effectLst/>
        </p:spPr>
      </p:pic>
      <p:pic>
        <p:nvPicPr>
          <p:cNvPr id="91" name="Picture 2" descr="5 ft x 3 ft 150 x 90 cm-DRAPEAU BELGE Belgique 100% Polyester ...">
            <a:extLst>
              <a:ext uri="{FF2B5EF4-FFF2-40B4-BE49-F238E27FC236}">
                <a16:creationId xmlns:a16="http://schemas.microsoft.com/office/drawing/2014/main" id="{5FFD6F17-524D-4D5D-99EB-44AE938F3EB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73"/>
          <a:stretch/>
        </p:blipFill>
        <p:spPr bwMode="auto">
          <a:xfrm>
            <a:off x="7143112" y="2790058"/>
            <a:ext cx="174240" cy="105027"/>
          </a:xfrm>
          <a:prstGeom prst="rect">
            <a:avLst/>
          </a:prstGeom>
          <a:solidFill>
            <a:schemeClr val="bg1"/>
          </a:solidFill>
          <a:ln w="9525" cap="flat" cmpd="sng" algn="ctr">
            <a:noFill/>
            <a:prstDash val="solid"/>
            <a:round/>
            <a:headEnd type="none" w="med" len="med"/>
            <a:tailEnd type="none" w="med" len="med"/>
          </a:ln>
          <a:effectLst/>
        </p:spPr>
      </p:pic>
      <p:pic>
        <p:nvPicPr>
          <p:cNvPr id="92" name="Picture 2 - 1" descr="Drapeau des Pays-Bas — Wikipédia">
            <a:extLst>
              <a:ext uri="{FF2B5EF4-FFF2-40B4-BE49-F238E27FC236}">
                <a16:creationId xmlns:a16="http://schemas.microsoft.com/office/drawing/2014/main" id="{A1A140ED-970B-4112-8C5C-E01F149816A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349228" y="2790057"/>
            <a:ext cx="174240" cy="105028"/>
          </a:xfrm>
          <a:prstGeom prst="rect">
            <a:avLst/>
          </a:prstGeom>
          <a:solidFill>
            <a:schemeClr val="bg1"/>
          </a:solidFill>
          <a:ln w="9525" cap="flat" cmpd="sng" algn="ctr">
            <a:noFill/>
            <a:prstDash val="solid"/>
            <a:round/>
            <a:headEnd type="none" w="med" len="med"/>
            <a:tailEnd type="none" w="med" len="med"/>
          </a:ln>
          <a:effectLst/>
        </p:spPr>
      </p:pic>
      <p:pic>
        <p:nvPicPr>
          <p:cNvPr id="93" name="Picture 2 - 2" descr="Drapeau du Luxembourg">
            <a:extLst>
              <a:ext uri="{FF2B5EF4-FFF2-40B4-BE49-F238E27FC236}">
                <a16:creationId xmlns:a16="http://schemas.microsoft.com/office/drawing/2014/main" id="{44D03E28-99F8-4680-B1BB-B1EB4CCA136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555345" y="2790300"/>
            <a:ext cx="174240" cy="104543"/>
          </a:xfrm>
          <a:prstGeom prst="rect">
            <a:avLst/>
          </a:prstGeom>
          <a:solidFill>
            <a:schemeClr val="bg1"/>
          </a:solidFill>
          <a:ln w="9525" cap="flat" cmpd="sng" algn="ctr">
            <a:noFill/>
            <a:prstDash val="solid"/>
            <a:round/>
            <a:headEnd type="none" w="med" len="med"/>
            <a:tailEnd type="none" w="med" len="med"/>
          </a:ln>
          <a:effectLst/>
        </p:spPr>
      </p:pic>
      <p:sp>
        <p:nvSpPr>
          <p:cNvPr id="18" name="ZoneTexte 17">
            <a:extLst>
              <a:ext uri="{FF2B5EF4-FFF2-40B4-BE49-F238E27FC236}">
                <a16:creationId xmlns:a16="http://schemas.microsoft.com/office/drawing/2014/main" id="{62AAAEA7-F38E-4131-9B1B-7CF960B17016}"/>
              </a:ext>
            </a:extLst>
          </p:cNvPr>
          <p:cNvSpPr txBox="1"/>
          <p:nvPr/>
        </p:nvSpPr>
        <p:spPr>
          <a:xfrm>
            <a:off x="271758" y="3618557"/>
            <a:ext cx="533843" cy="215444"/>
          </a:xfrm>
          <a:prstGeom prst="rect">
            <a:avLst/>
          </a:prstGeom>
          <a:noFill/>
        </p:spPr>
        <p:txBody>
          <a:bodyPr wrap="square" rtlCol="0">
            <a:spAutoFit/>
          </a:bodyPr>
          <a:lstStyle/>
          <a:p>
            <a:pPr algn="ctr"/>
            <a:r>
              <a:rPr lang="en-GB" sz="800" b="1" i="1" dirty="0">
                <a:latin typeface="Trebuchet MS" panose="020B0603020202020204" pitchFamily="34" charset="0"/>
              </a:rPr>
              <a:t>What? </a:t>
            </a:r>
          </a:p>
        </p:txBody>
      </p:sp>
      <p:sp>
        <p:nvSpPr>
          <p:cNvPr id="94" name="ZoneTexte 93">
            <a:extLst>
              <a:ext uri="{FF2B5EF4-FFF2-40B4-BE49-F238E27FC236}">
                <a16:creationId xmlns:a16="http://schemas.microsoft.com/office/drawing/2014/main" id="{10A2FF67-81A8-4E8D-BC5E-C5DB6809306B}"/>
              </a:ext>
            </a:extLst>
          </p:cNvPr>
          <p:cNvSpPr txBox="1"/>
          <p:nvPr/>
        </p:nvSpPr>
        <p:spPr>
          <a:xfrm>
            <a:off x="271758" y="4496346"/>
            <a:ext cx="533843" cy="215444"/>
          </a:xfrm>
          <a:prstGeom prst="rect">
            <a:avLst/>
          </a:prstGeom>
          <a:noFill/>
        </p:spPr>
        <p:txBody>
          <a:bodyPr wrap="square" rtlCol="0">
            <a:spAutoFit/>
          </a:bodyPr>
          <a:lstStyle/>
          <a:p>
            <a:pPr algn="ctr"/>
            <a:r>
              <a:rPr lang="en-GB" sz="800" b="1" i="1">
                <a:latin typeface="Trebuchet MS" panose="020B0603020202020204" pitchFamily="34" charset="0"/>
              </a:rPr>
              <a:t>How? </a:t>
            </a:r>
          </a:p>
        </p:txBody>
      </p:sp>
      <p:sp>
        <p:nvSpPr>
          <p:cNvPr id="96" name="Isosceles Triangle 57">
            <a:extLst>
              <a:ext uri="{FF2B5EF4-FFF2-40B4-BE49-F238E27FC236}">
                <a16:creationId xmlns:a16="http://schemas.microsoft.com/office/drawing/2014/main" id="{84804481-269D-446B-872B-EF15BCE7E2D6}"/>
              </a:ext>
            </a:extLst>
          </p:cNvPr>
          <p:cNvSpPr/>
          <p:nvPr/>
        </p:nvSpPr>
        <p:spPr bwMode="auto">
          <a:xfrm rot="10800000">
            <a:off x="1787032" y="4165044"/>
            <a:ext cx="429063" cy="104239"/>
          </a:xfrm>
          <a:prstGeom prst="triangle">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7" name="Isosceles Triangle 57">
            <a:extLst>
              <a:ext uri="{FF2B5EF4-FFF2-40B4-BE49-F238E27FC236}">
                <a16:creationId xmlns:a16="http://schemas.microsoft.com/office/drawing/2014/main" id="{BC16FC12-CEAA-4E6B-A393-0A9C0970CD95}"/>
              </a:ext>
            </a:extLst>
          </p:cNvPr>
          <p:cNvSpPr/>
          <p:nvPr/>
        </p:nvSpPr>
        <p:spPr bwMode="auto">
          <a:xfrm rot="10800000">
            <a:off x="4801844" y="4165044"/>
            <a:ext cx="429063" cy="104239"/>
          </a:xfrm>
          <a:prstGeom prst="triangle">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8" name="Isosceles Triangle 57">
            <a:extLst>
              <a:ext uri="{FF2B5EF4-FFF2-40B4-BE49-F238E27FC236}">
                <a16:creationId xmlns:a16="http://schemas.microsoft.com/office/drawing/2014/main" id="{089053F9-F63E-49A8-BB67-7FAB579ECF69}"/>
              </a:ext>
            </a:extLst>
          </p:cNvPr>
          <p:cNvSpPr/>
          <p:nvPr/>
        </p:nvSpPr>
        <p:spPr bwMode="auto">
          <a:xfrm rot="10800000">
            <a:off x="7893920" y="4165044"/>
            <a:ext cx="429063" cy="104239"/>
          </a:xfrm>
          <a:prstGeom prst="triangle">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3" name="ZoneTexte 72">
            <a:extLst>
              <a:ext uri="{FF2B5EF4-FFF2-40B4-BE49-F238E27FC236}">
                <a16:creationId xmlns:a16="http://schemas.microsoft.com/office/drawing/2014/main" id="{ADD2CBF3-41B4-418D-85DC-081CEC3AC761}"/>
              </a:ext>
            </a:extLst>
          </p:cNvPr>
          <p:cNvSpPr txBox="1"/>
          <p:nvPr/>
        </p:nvSpPr>
        <p:spPr>
          <a:xfrm>
            <a:off x="196922" y="1052762"/>
            <a:ext cx="1679583" cy="276999"/>
          </a:xfrm>
          <a:prstGeom prst="rect">
            <a:avLst/>
          </a:prstGeom>
          <a:noFill/>
        </p:spPr>
        <p:txBody>
          <a:bodyPr wrap="square" rtlCol="0">
            <a:spAutoFit/>
          </a:bodyPr>
          <a:lstStyle/>
          <a:p>
            <a:r>
              <a:rPr lang="en-GB" sz="1200" i="1">
                <a:latin typeface="Trebuchet MS" panose="020B0603020202020204" pitchFamily="34" charset="0"/>
              </a:rPr>
              <a:t>Core market: </a:t>
            </a:r>
          </a:p>
        </p:txBody>
      </p:sp>
      <p:sp>
        <p:nvSpPr>
          <p:cNvPr id="23" name="Rectangle 22">
            <a:extLst>
              <a:ext uri="{FF2B5EF4-FFF2-40B4-BE49-F238E27FC236}">
                <a16:creationId xmlns:a16="http://schemas.microsoft.com/office/drawing/2014/main" id="{027666EB-7312-4B26-BFB7-121BB8D73C5C}"/>
              </a:ext>
            </a:extLst>
          </p:cNvPr>
          <p:cNvSpPr/>
          <p:nvPr/>
        </p:nvSpPr>
        <p:spPr bwMode="auto">
          <a:xfrm>
            <a:off x="191205" y="1047838"/>
            <a:ext cx="9523590" cy="3962312"/>
          </a:xfrm>
          <a:prstGeom prst="rect">
            <a:avLst/>
          </a:prstGeom>
          <a:no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200" b="1">
                <a:solidFill>
                  <a:schemeClr val="tx2"/>
                </a:solidFill>
                <a:latin typeface="Trebuchet MS" panose="020B0603020202020204" pitchFamily="34" charset="0"/>
              </a:rPr>
              <a:t>BD&amp;A market</a:t>
            </a:r>
          </a:p>
        </p:txBody>
      </p:sp>
      <p:grpSp>
        <p:nvGrpSpPr>
          <p:cNvPr id="64" name="Groupe 63">
            <a:extLst>
              <a:ext uri="{FF2B5EF4-FFF2-40B4-BE49-F238E27FC236}">
                <a16:creationId xmlns:a16="http://schemas.microsoft.com/office/drawing/2014/main" id="{66A13546-226A-43E0-ADD9-2E70E1D1204B}"/>
              </a:ext>
            </a:extLst>
          </p:cNvPr>
          <p:cNvGrpSpPr/>
          <p:nvPr/>
        </p:nvGrpSpPr>
        <p:grpSpPr>
          <a:xfrm>
            <a:off x="8448150" y="-11528"/>
            <a:ext cx="1435548" cy="588143"/>
            <a:chOff x="8448150" y="-11528"/>
            <a:chExt cx="1435548" cy="588143"/>
          </a:xfrm>
        </p:grpSpPr>
        <p:grpSp>
          <p:nvGrpSpPr>
            <p:cNvPr id="66" name="Groupe 65">
              <a:extLst>
                <a:ext uri="{FF2B5EF4-FFF2-40B4-BE49-F238E27FC236}">
                  <a16:creationId xmlns:a16="http://schemas.microsoft.com/office/drawing/2014/main" id="{CB04E5EC-39A0-4629-93A7-2588644A30F6}"/>
                </a:ext>
              </a:extLst>
            </p:cNvPr>
            <p:cNvGrpSpPr/>
            <p:nvPr/>
          </p:nvGrpSpPr>
          <p:grpSpPr>
            <a:xfrm>
              <a:off x="8448150" y="-11528"/>
              <a:ext cx="1435548" cy="555653"/>
              <a:chOff x="8448150" y="-11528"/>
              <a:chExt cx="1435548" cy="555653"/>
            </a:xfrm>
          </p:grpSpPr>
          <p:sp>
            <p:nvSpPr>
              <p:cNvPr id="71" name="Rectangle : coins arrondis 199">
                <a:extLst>
                  <a:ext uri="{FF2B5EF4-FFF2-40B4-BE49-F238E27FC236}">
                    <a16:creationId xmlns:a16="http://schemas.microsoft.com/office/drawing/2014/main" id="{129FC4E8-AF0B-494C-B5B0-A48A9C08598A}"/>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2" name="Rectangle : coins arrondis 200">
                <a:extLst>
                  <a:ext uri="{FF2B5EF4-FFF2-40B4-BE49-F238E27FC236}">
                    <a16:creationId xmlns:a16="http://schemas.microsoft.com/office/drawing/2014/main" id="{C412968B-C71E-4105-A58A-4B6333B3076F}"/>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5" name="Rectangle : coins arrondis 201">
                <a:extLst>
                  <a:ext uri="{FF2B5EF4-FFF2-40B4-BE49-F238E27FC236}">
                    <a16:creationId xmlns:a16="http://schemas.microsoft.com/office/drawing/2014/main" id="{806923F2-1341-499B-A6D2-1D992A9937B7}"/>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9" name="ZoneTexte 18">
                <a:extLst>
                  <a:ext uri="{FF2B5EF4-FFF2-40B4-BE49-F238E27FC236}">
                    <a16:creationId xmlns:a16="http://schemas.microsoft.com/office/drawing/2014/main" id="{AED4975E-FF84-49C8-96B2-A5DFD5F1EBD5}"/>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00" name="Graphique 128" descr="Jauge">
                <a:extLst>
                  <a:ext uri="{FF2B5EF4-FFF2-40B4-BE49-F238E27FC236}">
                    <a16:creationId xmlns:a16="http://schemas.microsoft.com/office/drawing/2014/main" id="{263181A3-7201-43C7-BFA9-3138FD688B2E}"/>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553764" y="187516"/>
                <a:ext cx="234953" cy="218224"/>
              </a:xfrm>
              <a:prstGeom prst="rect">
                <a:avLst/>
              </a:prstGeom>
              <a:effectLst/>
            </p:spPr>
          </p:pic>
          <p:pic>
            <p:nvPicPr>
              <p:cNvPr id="101" name="Graphique 90" descr="Poignée de main">
                <a:extLst>
                  <a:ext uri="{FF2B5EF4-FFF2-40B4-BE49-F238E27FC236}">
                    <a16:creationId xmlns:a16="http://schemas.microsoft.com/office/drawing/2014/main" id="{6FBD72A0-6B92-460B-8E29-4157DA79989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960868" y="152880"/>
                <a:ext cx="256313" cy="287496"/>
              </a:xfrm>
              <a:prstGeom prst="rect">
                <a:avLst/>
              </a:prstGeom>
              <a:effectLst/>
            </p:spPr>
          </p:pic>
          <p:pic>
            <p:nvPicPr>
              <p:cNvPr id="102" name="Graphique 74" descr="Mégaphone">
                <a:extLst>
                  <a:ext uri="{FF2B5EF4-FFF2-40B4-BE49-F238E27FC236}">
                    <a16:creationId xmlns:a16="http://schemas.microsoft.com/office/drawing/2014/main" id="{E1C9BBBC-8E72-4E39-A773-A0424C61026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389331" y="181519"/>
                <a:ext cx="233011" cy="216420"/>
              </a:xfrm>
              <a:prstGeom prst="rect">
                <a:avLst/>
              </a:prstGeom>
              <a:effectLst/>
            </p:spPr>
          </p:pic>
          <p:pic>
            <p:nvPicPr>
              <p:cNvPr id="103" name="Picture 2" descr="Drapeau France">
                <a:extLst>
                  <a:ext uri="{FF2B5EF4-FFF2-40B4-BE49-F238E27FC236}">
                    <a16:creationId xmlns:a16="http://schemas.microsoft.com/office/drawing/2014/main" id="{81DBC067-E950-421B-95F9-5F78BC40833F}"/>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04" name="Picture 2" descr="5 ft x 3 ft 150 x 90 cm-DRAPEAU BELGE Belgique 100% Polyester ...">
                <a:extLst>
                  <a:ext uri="{FF2B5EF4-FFF2-40B4-BE49-F238E27FC236}">
                    <a16:creationId xmlns:a16="http://schemas.microsoft.com/office/drawing/2014/main" id="{4ED1FFF0-F7AB-49AD-85C0-A9074CFE1B80}"/>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05" name="Picture 2 - 1" descr="Drapeau des Pays-Bas — Wikipédia">
                <a:extLst>
                  <a:ext uri="{FF2B5EF4-FFF2-40B4-BE49-F238E27FC236}">
                    <a16:creationId xmlns:a16="http://schemas.microsoft.com/office/drawing/2014/main" id="{B27EEC1A-02A3-4B54-BC07-4D93CC95C41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06" name="Picture 2 - 2" descr="Drapeau du Luxembourg">
                <a:extLst>
                  <a:ext uri="{FF2B5EF4-FFF2-40B4-BE49-F238E27FC236}">
                    <a16:creationId xmlns:a16="http://schemas.microsoft.com/office/drawing/2014/main" id="{C8DCC223-0FFF-4DBA-BC55-B8CCE391D56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67" name="ZoneTexte 18">
              <a:extLst>
                <a:ext uri="{FF2B5EF4-FFF2-40B4-BE49-F238E27FC236}">
                  <a16:creationId xmlns:a16="http://schemas.microsoft.com/office/drawing/2014/main" id="{F82D1AF1-6143-44B7-B74A-593DC84330AD}"/>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ustomers’ use cases</a:t>
              </a:r>
            </a:p>
          </p:txBody>
        </p:sp>
      </p:grpSp>
      <p:sp>
        <p:nvSpPr>
          <p:cNvPr id="111" name="ZoneTexte 110">
            <a:extLst>
              <a:ext uri="{FF2B5EF4-FFF2-40B4-BE49-F238E27FC236}">
                <a16:creationId xmlns:a16="http://schemas.microsoft.com/office/drawing/2014/main" id="{3905B84F-CC72-4B77-861A-6119368937EF}"/>
              </a:ext>
            </a:extLst>
          </p:cNvPr>
          <p:cNvSpPr txBox="1"/>
          <p:nvPr/>
        </p:nvSpPr>
        <p:spPr>
          <a:xfrm>
            <a:off x="173909" y="2686341"/>
            <a:ext cx="717651" cy="338554"/>
          </a:xfrm>
          <a:prstGeom prst="rect">
            <a:avLst/>
          </a:prstGeom>
          <a:noFill/>
        </p:spPr>
        <p:txBody>
          <a:bodyPr wrap="square" rtlCol="0">
            <a:spAutoFit/>
          </a:bodyPr>
          <a:lstStyle/>
          <a:p>
            <a:pPr algn="ctr"/>
            <a:r>
              <a:rPr lang="en-GB" sz="800" i="1" dirty="0">
                <a:latin typeface="Trebuchet MS" panose="020B0603020202020204" pitchFamily="34" charset="0"/>
              </a:rPr>
              <a:t>Market (CAGR</a:t>
            </a:r>
            <a:r>
              <a:rPr lang="en-GB" sz="800" i="1" baseline="-25000" dirty="0">
                <a:latin typeface="Trebuchet MS" panose="020B0603020202020204" pitchFamily="34" charset="0"/>
              </a:rPr>
              <a:t>21-25</a:t>
            </a:r>
            <a:r>
              <a:rPr lang="en-GB" sz="800" i="1" dirty="0">
                <a:latin typeface="Trebuchet MS" panose="020B0603020202020204" pitchFamily="34" charset="0"/>
              </a:rPr>
              <a:t>)</a:t>
            </a:r>
          </a:p>
        </p:txBody>
      </p:sp>
      <p:sp>
        <p:nvSpPr>
          <p:cNvPr id="112" name="Rectangle: Rounded Corners 4">
            <a:extLst>
              <a:ext uri="{FF2B5EF4-FFF2-40B4-BE49-F238E27FC236}">
                <a16:creationId xmlns:a16="http://schemas.microsoft.com/office/drawing/2014/main" id="{F238010B-B7E1-491D-951C-0C83F14482EF}"/>
              </a:ext>
            </a:extLst>
          </p:cNvPr>
          <p:cNvSpPr/>
          <p:nvPr/>
        </p:nvSpPr>
        <p:spPr bwMode="auto">
          <a:xfrm>
            <a:off x="1597796" y="2691421"/>
            <a:ext cx="1668556" cy="324413"/>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i="1">
                <a:latin typeface="Trebuchet MS" panose="020B0603020202020204" pitchFamily="34" charset="0"/>
              </a:rPr>
              <a:t>~ €341m </a:t>
            </a:r>
            <a:r>
              <a:rPr lang="en-GB" sz="1100" i="1">
                <a:latin typeface="Trebuchet MS" panose="020B0603020202020204" pitchFamily="34" charset="0"/>
              </a:rPr>
              <a:t>(~ +0.01%)</a:t>
            </a:r>
            <a:endParaRPr kumimoji="0" lang="en-GB" sz="120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p:txBody>
      </p:sp>
      <p:sp>
        <p:nvSpPr>
          <p:cNvPr id="113" name="Rectangle: Rounded Corners 4">
            <a:extLst>
              <a:ext uri="{FF2B5EF4-FFF2-40B4-BE49-F238E27FC236}">
                <a16:creationId xmlns:a16="http://schemas.microsoft.com/office/drawing/2014/main" id="{B8DE80A4-7079-4C41-A80B-FCB4E6BCBA84}"/>
              </a:ext>
            </a:extLst>
          </p:cNvPr>
          <p:cNvSpPr/>
          <p:nvPr/>
        </p:nvSpPr>
        <p:spPr bwMode="auto">
          <a:xfrm>
            <a:off x="4624813" y="2681156"/>
            <a:ext cx="1668556" cy="324413"/>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i="1">
                <a:latin typeface="Trebuchet MS" panose="020B0603020202020204" pitchFamily="34" charset="0"/>
              </a:rPr>
              <a:t>~ €35m </a:t>
            </a:r>
            <a:r>
              <a:rPr lang="en-GB" sz="1100" i="1">
                <a:latin typeface="Trebuchet MS" panose="020B0603020202020204" pitchFamily="34" charset="0"/>
              </a:rPr>
              <a:t>(</a:t>
            </a:r>
            <a:r>
              <a:rPr lang="en-GB" sz="1100" i="1">
                <a:solidFill>
                  <a:srgbClr val="6C6C6C"/>
                </a:solidFill>
                <a:latin typeface="Trebuchet MS" panose="020B0603020202020204" pitchFamily="34" charset="0"/>
              </a:rPr>
              <a:t>~ +10</a:t>
            </a:r>
            <a:r>
              <a:rPr kumimoji="0" lang="en-GB" sz="110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endParaRPr kumimoji="0" lang="en-GB" sz="120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p:txBody>
      </p:sp>
      <p:sp>
        <p:nvSpPr>
          <p:cNvPr id="114" name="Rectangle: Rounded Corners 4">
            <a:extLst>
              <a:ext uri="{FF2B5EF4-FFF2-40B4-BE49-F238E27FC236}">
                <a16:creationId xmlns:a16="http://schemas.microsoft.com/office/drawing/2014/main" id="{4CCFC37D-EE4D-49B1-9CEB-C7E5E59F6A62}"/>
              </a:ext>
            </a:extLst>
          </p:cNvPr>
          <p:cNvSpPr/>
          <p:nvPr/>
        </p:nvSpPr>
        <p:spPr bwMode="auto">
          <a:xfrm>
            <a:off x="7586773" y="2681156"/>
            <a:ext cx="1835412" cy="324413"/>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i="1">
                <a:latin typeface="Trebuchet MS" panose="020B0603020202020204" pitchFamily="34" charset="0"/>
              </a:rPr>
              <a:t>~ €146m </a:t>
            </a:r>
            <a:r>
              <a:rPr lang="en-GB" sz="1100" i="1">
                <a:latin typeface="Trebuchet MS" panose="020B0603020202020204" pitchFamily="34" charset="0"/>
              </a:rPr>
              <a:t>(</a:t>
            </a:r>
            <a:r>
              <a:rPr lang="en-GB" sz="1100" i="1">
                <a:solidFill>
                  <a:srgbClr val="6C6C6C"/>
                </a:solidFill>
                <a:latin typeface="Trebuchet MS" panose="020B0603020202020204" pitchFamily="34" charset="0"/>
              </a:rPr>
              <a:t>~ +6</a:t>
            </a:r>
            <a:r>
              <a:rPr kumimoji="0" lang="en-GB" sz="110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r>
              <a:rPr lang="en-GB" sz="1100" i="1">
                <a:latin typeface="Trebuchet MS" panose="020B0603020202020204" pitchFamily="34" charset="0"/>
              </a:rPr>
              <a:t>)</a:t>
            </a:r>
          </a:p>
        </p:txBody>
      </p:sp>
    </p:spTree>
    <p:extLst>
      <p:ext uri="{BB962C8B-B14F-4D97-AF65-F5344CB8AC3E}">
        <p14:creationId xmlns:p14="http://schemas.microsoft.com/office/powerpoint/2010/main" val="3853263897"/>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4B48616-FB75-4B8F-82DA-546D7062A63A}"/>
              </a:ext>
            </a:extLst>
          </p:cNvPr>
          <p:cNvGraphicFramePr>
            <a:graphicFrameLocks noChangeAspect="1"/>
          </p:cNvGraphicFramePr>
          <p:nvPr>
            <p:custDataLst>
              <p:tags r:id="rId1"/>
            </p:custDataLst>
            <p:extLst>
              <p:ext uri="{D42A27DB-BD31-4B8C-83A1-F6EECF244321}">
                <p14:modId xmlns:p14="http://schemas.microsoft.com/office/powerpoint/2010/main" val="342954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B4B48616-FB75-4B8F-82DA-546D7062A6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6D1EA2-CFB7-43FE-889C-A888A5350F8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5EDF3996-8260-4482-9473-866EA00B2E9E}"/>
              </a:ext>
            </a:extLst>
          </p:cNvPr>
          <p:cNvSpPr>
            <a:spLocks noGrp="1"/>
          </p:cNvSpPr>
          <p:nvPr>
            <p:ph type="title"/>
          </p:nvPr>
        </p:nvSpPr>
        <p:spPr>
          <a:xfrm>
            <a:off x="165600" y="147600"/>
            <a:ext cx="8112090" cy="684000"/>
          </a:xfrm>
        </p:spPr>
        <p:txBody>
          <a:bodyPr/>
          <a:lstStyle/>
          <a:p>
            <a:r>
              <a:rPr lang="en-GB" sz="1600">
                <a:latin typeface="Trebuchet MS" panose="020B0603020202020204" pitchFamily="34" charset="0"/>
              </a:rPr>
              <a:t>The BD&amp;A market addresses </a:t>
            </a:r>
            <a:r>
              <a:rPr lang="en-GB" sz="1600">
                <a:solidFill>
                  <a:schemeClr val="tx2"/>
                </a:solidFill>
                <a:latin typeface="Trebuchet MS" panose="020B0603020202020204" pitchFamily="34" charset="0"/>
              </a:rPr>
              <a:t>clients </a:t>
            </a:r>
            <a:r>
              <a:rPr lang="en-GB" sz="1600">
                <a:latin typeface="Trebuchet MS" panose="020B0603020202020204" pitchFamily="34" charset="0"/>
              </a:rPr>
              <a:t>which can be </a:t>
            </a:r>
            <a:r>
              <a:rPr lang="en-GB" sz="1600">
                <a:solidFill>
                  <a:schemeClr val="tx2"/>
                </a:solidFill>
                <a:latin typeface="Trebuchet MS" panose="020B0603020202020204" pitchFamily="34" charset="0"/>
              </a:rPr>
              <a:t>segmented into four groups </a:t>
            </a:r>
            <a:r>
              <a:rPr lang="en-GB" sz="1600">
                <a:latin typeface="Trebuchet MS" panose="020B0603020202020204" pitchFamily="34" charset="0"/>
              </a:rPr>
              <a:t>(key accounts, public institutions, mid-market and mass-market) each one with </a:t>
            </a:r>
            <a:r>
              <a:rPr lang="en-GB" sz="1600">
                <a:solidFill>
                  <a:schemeClr val="tx2"/>
                </a:solidFill>
                <a:latin typeface="Trebuchet MS" panose="020B0603020202020204" pitchFamily="34" charset="0"/>
              </a:rPr>
              <a:t>specific</a:t>
            </a:r>
            <a:r>
              <a:rPr lang="en-GB" sz="1600">
                <a:latin typeface="Trebuchet MS" panose="020B0603020202020204" pitchFamily="34" charset="0"/>
              </a:rPr>
              <a:t> </a:t>
            </a:r>
            <a:r>
              <a:rPr lang="en-GB" sz="1600">
                <a:solidFill>
                  <a:schemeClr val="tx2"/>
                </a:solidFill>
                <a:latin typeface="Trebuchet MS" panose="020B0603020202020204" pitchFamily="34" charset="0"/>
              </a:rPr>
              <a:t>needs</a:t>
            </a:r>
            <a:r>
              <a:rPr lang="en-GB" sz="1600">
                <a:latin typeface="Trebuchet MS" panose="020B0603020202020204" pitchFamily="34" charset="0"/>
              </a:rPr>
              <a:t> on each vertical</a:t>
            </a:r>
            <a:br>
              <a:rPr lang="en-GB" sz="1600">
                <a:latin typeface="Trebuchet MS" panose="020B0603020202020204" pitchFamily="34" charset="0"/>
              </a:rPr>
            </a:br>
            <a:endParaRPr lang="en-GB">
              <a:latin typeface="Trebuchet MS" panose="020B0603020202020204" pitchFamily="34" charset="0"/>
            </a:endParaRPr>
          </a:p>
        </p:txBody>
      </p:sp>
      <p:sp>
        <p:nvSpPr>
          <p:cNvPr id="32" name="Text Placeholder 2">
            <a:extLst>
              <a:ext uri="{FF2B5EF4-FFF2-40B4-BE49-F238E27FC236}">
                <a16:creationId xmlns:a16="http://schemas.microsoft.com/office/drawing/2014/main" id="{D0170B06-D36D-4725-9397-6A6018F0F19B}"/>
              </a:ext>
            </a:extLst>
          </p:cNvPr>
          <p:cNvSpPr>
            <a:spLocks noGrp="1"/>
          </p:cNvSpPr>
          <p:nvPr>
            <p:ph type="body" sz="quarter" idx="10"/>
          </p:nvPr>
        </p:nvSpPr>
        <p:spPr/>
        <p:txBody>
          <a:bodyPr/>
          <a:lstStyle/>
          <a:p>
            <a:r>
              <a:rPr lang="en-GB"/>
              <a:t>Sources: eleven research &amp; analysis, expert calls</a:t>
            </a:r>
          </a:p>
          <a:p>
            <a:endParaRPr lang="en-GB"/>
          </a:p>
        </p:txBody>
      </p:sp>
      <p:sp>
        <p:nvSpPr>
          <p:cNvPr id="8" name="Rectangle 7">
            <a:extLst>
              <a:ext uri="{FF2B5EF4-FFF2-40B4-BE49-F238E27FC236}">
                <a16:creationId xmlns:a16="http://schemas.microsoft.com/office/drawing/2014/main" id="{DFEFA0AD-2FEB-473B-AC3D-84627D9F51E0}"/>
              </a:ext>
            </a:extLst>
          </p:cNvPr>
          <p:cNvSpPr/>
          <p:nvPr/>
        </p:nvSpPr>
        <p:spPr bwMode="auto">
          <a:xfrm>
            <a:off x="163216" y="1838930"/>
            <a:ext cx="807919" cy="1044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endParaRPr lang="en-GB" sz="1050" b="1">
              <a:solidFill>
                <a:schemeClr val="accent1">
                  <a:lumMod val="75000"/>
                </a:schemeClr>
              </a:solidFill>
              <a:latin typeface="Trebuchet MS" pitchFamily="34" charset="0"/>
            </a:endParaRPr>
          </a:p>
          <a:p>
            <a:pPr marR="0" algn="ctr" defTabSz="914400" rtl="0" eaLnBrk="1" fontAlgn="base" latinLnBrk="0" hangingPunct="1">
              <a:lnSpc>
                <a:spcPct val="100000"/>
              </a:lnSpc>
              <a:spcBef>
                <a:spcPct val="0"/>
              </a:spcBef>
              <a:spcAft>
                <a:spcPct val="0"/>
              </a:spcAft>
              <a:buClrTx/>
              <a:buSzTx/>
              <a:tabLst/>
            </a:pPr>
            <a:r>
              <a:rPr lang="en-GB" sz="1050" b="1">
                <a:solidFill>
                  <a:schemeClr val="accent1">
                    <a:lumMod val="75000"/>
                  </a:schemeClr>
                </a:solidFill>
                <a:latin typeface="Trebuchet MS" pitchFamily="34" charset="0"/>
              </a:rPr>
              <a:t>Key accounts</a:t>
            </a:r>
            <a:endParaRPr kumimoji="0" lang="en-GB" sz="1050" i="0" u="none" strike="noStrike" cap="none" normalizeH="0" baseline="0">
              <a:ln>
                <a:noFill/>
              </a:ln>
              <a:solidFill>
                <a:schemeClr val="accent1">
                  <a:lumMod val="75000"/>
                </a:schemeClr>
              </a:solidFill>
              <a:effectLst/>
              <a:latin typeface="Trebuchet MS" panose="020B0603020202020204" pitchFamily="34" charset="0"/>
            </a:endParaRPr>
          </a:p>
        </p:txBody>
      </p:sp>
      <p:pic>
        <p:nvPicPr>
          <p:cNvPr id="10" name="Graphique 62">
            <a:extLst>
              <a:ext uri="{FF2B5EF4-FFF2-40B4-BE49-F238E27FC236}">
                <a16:creationId xmlns:a16="http://schemas.microsoft.com/office/drawing/2014/main" id="{951EA5F6-528B-410A-9ACF-03DFA828B636}"/>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19795"/>
          <a:stretch/>
        </p:blipFill>
        <p:spPr>
          <a:xfrm>
            <a:off x="433913" y="1885225"/>
            <a:ext cx="266524" cy="267203"/>
          </a:xfrm>
          <a:prstGeom prst="rect">
            <a:avLst/>
          </a:prstGeom>
          <a:effectLst/>
        </p:spPr>
      </p:pic>
      <p:sp>
        <p:nvSpPr>
          <p:cNvPr id="12" name="Rectangle 11">
            <a:extLst>
              <a:ext uri="{FF2B5EF4-FFF2-40B4-BE49-F238E27FC236}">
                <a16:creationId xmlns:a16="http://schemas.microsoft.com/office/drawing/2014/main" id="{06CB4BD9-EF73-40DB-91F4-8ABB9FF1845C}"/>
              </a:ext>
            </a:extLst>
          </p:cNvPr>
          <p:cNvSpPr/>
          <p:nvPr/>
        </p:nvSpPr>
        <p:spPr bwMode="auto">
          <a:xfrm>
            <a:off x="163216" y="4179706"/>
            <a:ext cx="807919" cy="1044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50" b="1">
              <a:solidFill>
                <a:schemeClr val="accent1">
                  <a:lumMod val="75000"/>
                </a:schemeClr>
              </a:solidFill>
              <a:latin typeface="Trebuchet MS" pitchFamily="34" charset="0"/>
            </a:endParaRPr>
          </a:p>
          <a:p>
            <a:pPr algn="ctr"/>
            <a:r>
              <a:rPr lang="en-GB" sz="1050" b="1">
                <a:solidFill>
                  <a:schemeClr val="accent1">
                    <a:lumMod val="75000"/>
                  </a:schemeClr>
                </a:solidFill>
                <a:latin typeface="Trebuchet MS" pitchFamily="34" charset="0"/>
              </a:rPr>
              <a:t>Mid market</a:t>
            </a:r>
          </a:p>
        </p:txBody>
      </p:sp>
      <p:pic>
        <p:nvPicPr>
          <p:cNvPr id="14" name="Graphique 63">
            <a:extLst>
              <a:ext uri="{FF2B5EF4-FFF2-40B4-BE49-F238E27FC236}">
                <a16:creationId xmlns:a16="http://schemas.microsoft.com/office/drawing/2014/main" id="{A633EB50-FD09-4265-9C7E-435624B14830}"/>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28139"/>
          <a:stretch/>
        </p:blipFill>
        <p:spPr>
          <a:xfrm>
            <a:off x="409353" y="4233206"/>
            <a:ext cx="315644" cy="283523"/>
          </a:xfrm>
          <a:prstGeom prst="rect">
            <a:avLst/>
          </a:prstGeom>
          <a:effectLst/>
        </p:spPr>
      </p:pic>
      <p:sp>
        <p:nvSpPr>
          <p:cNvPr id="16" name="Rectangle 15">
            <a:extLst>
              <a:ext uri="{FF2B5EF4-FFF2-40B4-BE49-F238E27FC236}">
                <a16:creationId xmlns:a16="http://schemas.microsoft.com/office/drawing/2014/main" id="{5807AE6E-29C7-4747-A0B3-D2396D16F586}"/>
              </a:ext>
            </a:extLst>
          </p:cNvPr>
          <p:cNvSpPr/>
          <p:nvPr/>
        </p:nvSpPr>
        <p:spPr bwMode="auto">
          <a:xfrm>
            <a:off x="163216" y="5341574"/>
            <a:ext cx="807919" cy="1044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050" b="1">
                <a:solidFill>
                  <a:schemeClr val="accent1">
                    <a:lumMod val="75000"/>
                  </a:schemeClr>
                </a:solidFill>
                <a:latin typeface="Trebuchet MS" panose="020B0603020202020204" pitchFamily="34" charset="0"/>
              </a:rPr>
              <a:t>Mass market</a:t>
            </a:r>
          </a:p>
        </p:txBody>
      </p:sp>
      <p:pic>
        <p:nvPicPr>
          <p:cNvPr id="18" name="Graphique 64">
            <a:extLst>
              <a:ext uri="{FF2B5EF4-FFF2-40B4-BE49-F238E27FC236}">
                <a16:creationId xmlns:a16="http://schemas.microsoft.com/office/drawing/2014/main" id="{5060F139-DDCD-4306-BFD5-41810197B033}"/>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r="-3601" b="22797"/>
          <a:stretch/>
        </p:blipFill>
        <p:spPr>
          <a:xfrm>
            <a:off x="419789" y="5388803"/>
            <a:ext cx="294773" cy="274579"/>
          </a:xfrm>
          <a:prstGeom prst="rect">
            <a:avLst/>
          </a:prstGeom>
          <a:effectLst/>
        </p:spPr>
      </p:pic>
      <p:sp>
        <p:nvSpPr>
          <p:cNvPr id="20" name="Rectangle 19">
            <a:extLst>
              <a:ext uri="{FF2B5EF4-FFF2-40B4-BE49-F238E27FC236}">
                <a16:creationId xmlns:a16="http://schemas.microsoft.com/office/drawing/2014/main" id="{E860743C-B3FA-4852-8FD9-0B3F073EDB70}"/>
              </a:ext>
            </a:extLst>
          </p:cNvPr>
          <p:cNvSpPr/>
          <p:nvPr/>
        </p:nvSpPr>
        <p:spPr bwMode="auto">
          <a:xfrm>
            <a:off x="163216" y="2997271"/>
            <a:ext cx="807919" cy="1044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050" b="1">
                <a:solidFill>
                  <a:schemeClr val="accent1">
                    <a:lumMod val="75000"/>
                  </a:schemeClr>
                </a:solidFill>
                <a:latin typeface="Trebuchet MS" panose="020B0603020202020204" pitchFamily="34" charset="0"/>
              </a:rPr>
              <a:t>Public institutions</a:t>
            </a:r>
          </a:p>
        </p:txBody>
      </p:sp>
      <p:sp>
        <p:nvSpPr>
          <p:cNvPr id="28" name="Rectangle 27">
            <a:extLst>
              <a:ext uri="{FF2B5EF4-FFF2-40B4-BE49-F238E27FC236}">
                <a16:creationId xmlns:a16="http://schemas.microsoft.com/office/drawing/2014/main" id="{01B97F48-6891-4150-8B29-0C4D633B975F}"/>
              </a:ext>
            </a:extLst>
          </p:cNvPr>
          <p:cNvSpPr/>
          <p:nvPr/>
        </p:nvSpPr>
        <p:spPr bwMode="auto">
          <a:xfrm>
            <a:off x="7561832" y="1148743"/>
            <a:ext cx="2164672" cy="586639"/>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200" b="1">
              <a:solidFill>
                <a:schemeClr val="tx2"/>
              </a:solidFill>
              <a:latin typeface="Trebuchet MS" pitchFamily="34" charset="0"/>
            </a:endParaRPr>
          </a:p>
          <a:p>
            <a:pPr algn="ctr"/>
            <a:r>
              <a:rPr lang="en-GB" sz="1200" b="1">
                <a:solidFill>
                  <a:schemeClr val="tx2"/>
                </a:solidFill>
                <a:latin typeface="Trebuchet MS" pitchFamily="34" charset="0"/>
              </a:rPr>
              <a:t>B2B Marketing</a:t>
            </a:r>
          </a:p>
        </p:txBody>
      </p:sp>
      <p:sp>
        <p:nvSpPr>
          <p:cNvPr id="40" name="Rectangle 39">
            <a:extLst>
              <a:ext uri="{FF2B5EF4-FFF2-40B4-BE49-F238E27FC236}">
                <a16:creationId xmlns:a16="http://schemas.microsoft.com/office/drawing/2014/main" id="{214095A5-49BE-497B-A6E9-295215D70C60}"/>
              </a:ext>
            </a:extLst>
          </p:cNvPr>
          <p:cNvSpPr/>
          <p:nvPr/>
        </p:nvSpPr>
        <p:spPr bwMode="auto">
          <a:xfrm>
            <a:off x="1049066" y="1506473"/>
            <a:ext cx="1782000" cy="246221"/>
          </a:xfrm>
          <a:prstGeom prst="rect">
            <a:avLst/>
          </a:prstGeom>
          <a:noFill/>
          <a:effectLst/>
        </p:spPr>
        <p:txBody>
          <a:bodyPr wrap="square" rtlCol="0">
            <a:spAutoFit/>
          </a:bodyPr>
          <a:lstStyle/>
          <a:p>
            <a:pPr algn="ctr"/>
            <a:r>
              <a:rPr lang="en-GB" sz="1000" i="1">
                <a:latin typeface="Trebuchet MS" panose="020B0603020202020204" pitchFamily="34" charset="0"/>
              </a:rPr>
              <a:t>Client’s size</a:t>
            </a:r>
          </a:p>
        </p:txBody>
      </p:sp>
      <p:sp>
        <p:nvSpPr>
          <p:cNvPr id="41" name="Rectangle 40">
            <a:extLst>
              <a:ext uri="{FF2B5EF4-FFF2-40B4-BE49-F238E27FC236}">
                <a16:creationId xmlns:a16="http://schemas.microsoft.com/office/drawing/2014/main" id="{582D6BC7-3B49-4C29-8E4A-276D3EEA72DA}"/>
              </a:ext>
            </a:extLst>
          </p:cNvPr>
          <p:cNvSpPr/>
          <p:nvPr/>
        </p:nvSpPr>
        <p:spPr bwMode="auto">
          <a:xfrm>
            <a:off x="1130066" y="2992328"/>
            <a:ext cx="1620000" cy="1050258"/>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itchFamily="34" charset="0"/>
              </a:rPr>
              <a:t>Institutions funded by state or government bodies</a:t>
            </a:r>
          </a:p>
          <a:p>
            <a:pPr algn="ctr"/>
            <a:r>
              <a:rPr lang="en-GB" sz="1000">
                <a:latin typeface="Trebuchet MS" pitchFamily="34" charset="0"/>
              </a:rPr>
              <a:t>(e.g. university, hospital, ministry…)</a:t>
            </a:r>
          </a:p>
        </p:txBody>
      </p:sp>
      <p:sp>
        <p:nvSpPr>
          <p:cNvPr id="42" name="Rectangle 41">
            <a:extLst>
              <a:ext uri="{FF2B5EF4-FFF2-40B4-BE49-F238E27FC236}">
                <a16:creationId xmlns:a16="http://schemas.microsoft.com/office/drawing/2014/main" id="{55A4DD3F-2426-4B18-9DC4-FFBCD6B51E32}"/>
              </a:ext>
            </a:extLst>
          </p:cNvPr>
          <p:cNvSpPr/>
          <p:nvPr/>
        </p:nvSpPr>
        <p:spPr bwMode="auto">
          <a:xfrm>
            <a:off x="1130066" y="4179706"/>
            <a:ext cx="1620000" cy="1044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lt;€1.5bn revenue</a:t>
            </a:r>
          </a:p>
          <a:p>
            <a:pPr algn="ctr"/>
            <a:r>
              <a:rPr lang="en-GB" sz="1000">
                <a:latin typeface="Trebuchet MS" panose="020B0603020202020204" pitchFamily="34" charset="0"/>
              </a:rPr>
              <a:t>&lt;4999 employees</a:t>
            </a:r>
          </a:p>
          <a:p>
            <a:pPr algn="ctr"/>
            <a:r>
              <a:rPr lang="en-GB" sz="1000">
                <a:latin typeface="Trebuchet MS" panose="020B0603020202020204" pitchFamily="34" charset="0"/>
              </a:rPr>
              <a:t>(e.g. SBF120…)</a:t>
            </a:r>
          </a:p>
        </p:txBody>
      </p:sp>
      <p:sp>
        <p:nvSpPr>
          <p:cNvPr id="43" name="Rectangle 42">
            <a:extLst>
              <a:ext uri="{FF2B5EF4-FFF2-40B4-BE49-F238E27FC236}">
                <a16:creationId xmlns:a16="http://schemas.microsoft.com/office/drawing/2014/main" id="{6DD0BEFF-B8F5-43DE-92AC-FF9E554967F1}"/>
              </a:ext>
            </a:extLst>
          </p:cNvPr>
          <p:cNvSpPr/>
          <p:nvPr/>
        </p:nvSpPr>
        <p:spPr bwMode="auto">
          <a:xfrm>
            <a:off x="1130066" y="5341574"/>
            <a:ext cx="1620000" cy="106578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itchFamily="34" charset="0"/>
              </a:rPr>
              <a:t>&lt;€50m revenue</a:t>
            </a:r>
          </a:p>
          <a:p>
            <a:pPr algn="ctr"/>
            <a:r>
              <a:rPr lang="en-GB" sz="1000">
                <a:latin typeface="Trebuchet MS" pitchFamily="34" charset="0"/>
              </a:rPr>
              <a:t>&lt;250 employees</a:t>
            </a:r>
          </a:p>
        </p:txBody>
      </p:sp>
      <p:sp>
        <p:nvSpPr>
          <p:cNvPr id="45" name="Rectangle 44">
            <a:extLst>
              <a:ext uri="{FF2B5EF4-FFF2-40B4-BE49-F238E27FC236}">
                <a16:creationId xmlns:a16="http://schemas.microsoft.com/office/drawing/2014/main" id="{B0D2E11F-1C59-4B11-A542-856BAF917D3C}"/>
              </a:ext>
            </a:extLst>
          </p:cNvPr>
          <p:cNvSpPr/>
          <p:nvPr/>
        </p:nvSpPr>
        <p:spPr bwMode="auto">
          <a:xfrm>
            <a:off x="1130066" y="1835801"/>
            <a:ext cx="1620000" cy="1050258"/>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itchFamily="34" charset="0"/>
              </a:rPr>
              <a:t>&gt;€1.5bn revenue</a:t>
            </a:r>
          </a:p>
          <a:p>
            <a:pPr algn="ctr"/>
            <a:r>
              <a:rPr lang="en-GB" sz="1000">
                <a:latin typeface="Trebuchet MS" pitchFamily="34" charset="0"/>
              </a:rPr>
              <a:t>&gt;5000 employees</a:t>
            </a:r>
          </a:p>
        </p:txBody>
      </p:sp>
      <p:sp>
        <p:nvSpPr>
          <p:cNvPr id="46" name="Rectangle 45">
            <a:extLst>
              <a:ext uri="{FF2B5EF4-FFF2-40B4-BE49-F238E27FC236}">
                <a16:creationId xmlns:a16="http://schemas.microsoft.com/office/drawing/2014/main" id="{FF3A9800-F877-44B1-9B03-BFA1373D2991}"/>
              </a:ext>
            </a:extLst>
          </p:cNvPr>
          <p:cNvSpPr/>
          <p:nvPr/>
        </p:nvSpPr>
        <p:spPr bwMode="auto">
          <a:xfrm>
            <a:off x="2921131" y="1835801"/>
            <a:ext cx="2164672" cy="105025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marR="0" indent="-171450" defTabSz="914400" rtl="0" eaLnBrk="1" fontAlgn="base" latinLnBrk="0" hangingPunct="1">
              <a:lnSpc>
                <a:spcPts val="1100"/>
              </a:lnSpc>
              <a:spcBef>
                <a:spcPct val="0"/>
              </a:spcBef>
              <a:spcAft>
                <a:spcPct val="0"/>
              </a:spcAft>
              <a:buClrTx/>
              <a:buSzTx/>
              <a:buFont typeface="Arial" panose="020B0604020202020204" pitchFamily="34" charset="0"/>
              <a:buChar char="•"/>
              <a:tabLst/>
            </a:pPr>
            <a:r>
              <a:rPr lang="en-GB" sz="1000">
                <a:latin typeface="Trebuchet MS" panose="020B0603020202020204" pitchFamily="34" charset="0"/>
              </a:rPr>
              <a:t>Large companies need to assess the </a:t>
            </a:r>
            <a:r>
              <a:rPr lang="en-GB" sz="1000">
                <a:solidFill>
                  <a:schemeClr val="tx2"/>
                </a:solidFill>
                <a:latin typeface="Trebuchet MS" panose="020B0603020202020204" pitchFamily="34" charset="0"/>
              </a:rPr>
              <a:t>risk of their customers and suppliers</a:t>
            </a:r>
          </a:p>
          <a:p>
            <a:pPr marL="171450" marR="0" indent="-171450" defTabSz="914400" rtl="0" eaLnBrk="1" fontAlgn="base" latinLnBrk="0" hangingPunct="1">
              <a:lnSpc>
                <a:spcPts val="1100"/>
              </a:lnSpc>
              <a:spcBef>
                <a:spcPct val="0"/>
              </a:spcBef>
              <a:spcAft>
                <a:spcPct val="0"/>
              </a:spcAft>
              <a:buClrTx/>
              <a:buSzTx/>
              <a:buFont typeface="Arial" panose="020B0604020202020204" pitchFamily="34" charset="0"/>
              <a:buChar char="•"/>
              <a:tabLst/>
            </a:pPr>
            <a:endParaRPr kumimoji="0" lang="en-GB" sz="1000" b="0" i="0" u="none" strike="noStrike" cap="none" normalizeH="0" baseline="0">
              <a:ln>
                <a:noFill/>
              </a:ln>
              <a:effectLst/>
              <a:latin typeface="Trebuchet MS" panose="020B0603020202020204" pitchFamily="34" charset="0"/>
            </a:endParaRPr>
          </a:p>
          <a:p>
            <a:pPr marL="171450" marR="0" indent="-171450" defTabSz="914400" rtl="0" eaLnBrk="1" fontAlgn="base" latinLnBrk="0" hangingPunct="1">
              <a:lnSpc>
                <a:spcPts val="1100"/>
              </a:lnSpc>
              <a:spcBef>
                <a:spcPct val="0"/>
              </a:spcBef>
              <a:spcAft>
                <a:spcPct val="0"/>
              </a:spcAft>
              <a:buClrTx/>
              <a:buSzTx/>
              <a:buFont typeface="Arial" panose="020B0604020202020204" pitchFamily="34" charset="0"/>
              <a:buChar char="•"/>
              <a:tabLst/>
            </a:pPr>
            <a:r>
              <a:rPr lang="en-GB" sz="1000">
                <a:latin typeface="Trebuchet MS" panose="020B0603020202020204" pitchFamily="34" charset="0"/>
              </a:rPr>
              <a:t>In their case, the risk mostly weighs above financial </a:t>
            </a:r>
            <a:r>
              <a:rPr lang="en-GB" sz="1000">
                <a:solidFill>
                  <a:schemeClr val="tx2"/>
                </a:solidFill>
                <a:latin typeface="Trebuchet MS" panose="020B0603020202020204" pitchFamily="34" charset="0"/>
              </a:rPr>
              <a:t>performances and brand image</a:t>
            </a: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47" name="Rectangle 46">
            <a:extLst>
              <a:ext uri="{FF2B5EF4-FFF2-40B4-BE49-F238E27FC236}">
                <a16:creationId xmlns:a16="http://schemas.microsoft.com/office/drawing/2014/main" id="{E320C69C-FE52-4E38-BEAB-2C1B4CE87271}"/>
              </a:ext>
            </a:extLst>
          </p:cNvPr>
          <p:cNvSpPr/>
          <p:nvPr/>
        </p:nvSpPr>
        <p:spPr bwMode="auto">
          <a:xfrm>
            <a:off x="2921131" y="2992328"/>
            <a:ext cx="2164672" cy="105025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indent="-171450">
              <a:lnSpc>
                <a:spcPts val="1100"/>
              </a:lnSpc>
              <a:buFont typeface="Arial" panose="020B0604020202020204" pitchFamily="34" charset="0"/>
              <a:buChar char="•"/>
            </a:pPr>
            <a:r>
              <a:rPr lang="en-GB" sz="1000">
                <a:latin typeface="Trebuchet MS" panose="020B0603020202020204" pitchFamily="34" charset="0"/>
              </a:rPr>
              <a:t>Public institutions need to access identity data and assess the risk of their </a:t>
            </a:r>
            <a:r>
              <a:rPr lang="en-GB" sz="1000">
                <a:solidFill>
                  <a:schemeClr val="tx2"/>
                </a:solidFill>
                <a:latin typeface="Trebuchet MS" panose="020B0603020202020204" pitchFamily="34" charset="0"/>
              </a:rPr>
              <a:t>stakeholders</a:t>
            </a:r>
          </a:p>
        </p:txBody>
      </p:sp>
      <p:sp>
        <p:nvSpPr>
          <p:cNvPr id="48" name="Rectangle 47">
            <a:extLst>
              <a:ext uri="{FF2B5EF4-FFF2-40B4-BE49-F238E27FC236}">
                <a16:creationId xmlns:a16="http://schemas.microsoft.com/office/drawing/2014/main" id="{D2C841A4-22F9-4570-B6E8-C088BD7D8676}"/>
              </a:ext>
            </a:extLst>
          </p:cNvPr>
          <p:cNvSpPr/>
          <p:nvPr/>
        </p:nvSpPr>
        <p:spPr bwMode="auto">
          <a:xfrm>
            <a:off x="2921131" y="4176577"/>
            <a:ext cx="2164672" cy="105025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indent="-171450">
              <a:lnSpc>
                <a:spcPts val="1100"/>
              </a:lnSpc>
              <a:buClr>
                <a:schemeClr val="tx1"/>
              </a:buClr>
              <a:buFont typeface="Arial" panose="020B0604020202020204" pitchFamily="34" charset="0"/>
              <a:buChar char="•"/>
            </a:pPr>
            <a:r>
              <a:rPr lang="en-GB" sz="1000">
                <a:solidFill>
                  <a:schemeClr val="tx2"/>
                </a:solidFill>
                <a:latin typeface="Trebuchet MS" panose="020B0603020202020204" pitchFamily="34" charset="0"/>
              </a:rPr>
              <a:t>Varity of situations </a:t>
            </a:r>
            <a:r>
              <a:rPr lang="en-GB" sz="1000">
                <a:latin typeface="Trebuchet MS" panose="020B0603020202020204" pitchFamily="34" charset="0"/>
              </a:rPr>
              <a:t>that depend on the criticality of credit and financial risk in the industry</a:t>
            </a:r>
          </a:p>
        </p:txBody>
      </p:sp>
      <p:sp>
        <p:nvSpPr>
          <p:cNvPr id="49" name="Rectangle 48">
            <a:extLst>
              <a:ext uri="{FF2B5EF4-FFF2-40B4-BE49-F238E27FC236}">
                <a16:creationId xmlns:a16="http://schemas.microsoft.com/office/drawing/2014/main" id="{15D5BF73-D6FE-4617-9755-4FD0979C2C80}"/>
              </a:ext>
            </a:extLst>
          </p:cNvPr>
          <p:cNvSpPr/>
          <p:nvPr/>
        </p:nvSpPr>
        <p:spPr bwMode="auto">
          <a:xfrm>
            <a:off x="2921131" y="5335316"/>
            <a:ext cx="2164672" cy="105025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indent="-171450">
              <a:lnSpc>
                <a:spcPts val="1100"/>
              </a:lnSpc>
              <a:buFont typeface="Arial" panose="020B0604020202020204" pitchFamily="34" charset="0"/>
              <a:buChar char="•"/>
            </a:pPr>
            <a:r>
              <a:rPr lang="en-GB" sz="1000">
                <a:latin typeface="Trebuchet MS" panose="020B0603020202020204" pitchFamily="34" charset="0"/>
              </a:rPr>
              <a:t>Small companies are more likely to be exposed to a </a:t>
            </a:r>
            <a:r>
              <a:rPr lang="en-GB" sz="1000">
                <a:solidFill>
                  <a:schemeClr val="tx2"/>
                </a:solidFill>
                <a:latin typeface="Trebuchet MS" panose="020B0603020202020204" pitchFamily="34" charset="0"/>
              </a:rPr>
              <a:t>vital risk for business</a:t>
            </a:r>
            <a:r>
              <a:rPr lang="en-GB" sz="1000">
                <a:latin typeface="Trebuchet MS" panose="020B0603020202020204" pitchFamily="34" charset="0"/>
              </a:rPr>
              <a:t> (i.e. bankruptcy) in case of </a:t>
            </a:r>
            <a:r>
              <a:rPr lang="en-GB" sz="1000">
                <a:solidFill>
                  <a:schemeClr val="tx2"/>
                </a:solidFill>
                <a:latin typeface="Trebuchet MS" panose="020B0603020202020204" pitchFamily="34" charset="0"/>
              </a:rPr>
              <a:t>delayed payments</a:t>
            </a:r>
            <a:r>
              <a:rPr lang="en-GB" sz="1000">
                <a:latin typeface="Trebuchet MS" panose="020B0603020202020204" pitchFamily="34" charset="0"/>
              </a:rPr>
              <a:t> and/or deliveries</a:t>
            </a:r>
          </a:p>
        </p:txBody>
      </p:sp>
      <p:sp>
        <p:nvSpPr>
          <p:cNvPr id="50" name="Rectangle 49">
            <a:extLst>
              <a:ext uri="{FF2B5EF4-FFF2-40B4-BE49-F238E27FC236}">
                <a16:creationId xmlns:a16="http://schemas.microsoft.com/office/drawing/2014/main" id="{E76EE27B-A95F-4BEF-8CCB-699A4B7CA56C}"/>
              </a:ext>
            </a:extLst>
          </p:cNvPr>
          <p:cNvSpPr/>
          <p:nvPr/>
        </p:nvSpPr>
        <p:spPr bwMode="auto">
          <a:xfrm>
            <a:off x="5241481" y="1835801"/>
            <a:ext cx="2164672" cy="105025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marR="0" indent="-171450" defTabSz="914400" rtl="0" eaLnBrk="1" fontAlgn="base" latinLnBrk="0" hangingPunct="1">
              <a:lnSpc>
                <a:spcPts val="1100"/>
              </a:lnSpc>
              <a:spcBef>
                <a:spcPts val="600"/>
              </a:spcBef>
              <a:spcAft>
                <a:spcPct val="0"/>
              </a:spcAft>
              <a:buClrTx/>
              <a:buSzTx/>
              <a:buFont typeface="Arial" panose="020B0604020202020204" pitchFamily="34" charset="0"/>
              <a:buChar char="•"/>
              <a:tabLst/>
            </a:pPr>
            <a:r>
              <a:rPr lang="en-GB" sz="1000">
                <a:latin typeface="Trebuchet MS" panose="020B0603020202020204" pitchFamily="34" charset="0"/>
              </a:rPr>
              <a:t>Large companies, banks and insurance are directly subject to </a:t>
            </a:r>
            <a:r>
              <a:rPr lang="en-GB" sz="1000">
                <a:solidFill>
                  <a:schemeClr val="tx2"/>
                </a:solidFill>
                <a:latin typeface="Trebuchet MS" panose="020B0603020202020204" pitchFamily="34" charset="0"/>
              </a:rPr>
              <a:t>increasing regulations </a:t>
            </a:r>
            <a:r>
              <a:rPr lang="en-GB" sz="1000">
                <a:latin typeface="Trebuchet MS" panose="020B0603020202020204" pitchFamily="34" charset="0"/>
              </a:rPr>
              <a:t>(e.g. AML, fight against corruption…) </a:t>
            </a: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51" name="Rectangle 50">
            <a:extLst>
              <a:ext uri="{FF2B5EF4-FFF2-40B4-BE49-F238E27FC236}">
                <a16:creationId xmlns:a16="http://schemas.microsoft.com/office/drawing/2014/main" id="{5E06FA03-1345-4644-AAE5-A192CA0D4ADA}"/>
              </a:ext>
            </a:extLst>
          </p:cNvPr>
          <p:cNvSpPr/>
          <p:nvPr/>
        </p:nvSpPr>
        <p:spPr bwMode="auto">
          <a:xfrm>
            <a:off x="5241481" y="2992328"/>
            <a:ext cx="2164672" cy="105025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indent="-171450">
              <a:lnSpc>
                <a:spcPts val="1100"/>
              </a:lnSpc>
              <a:buFont typeface="Arial" panose="020B0604020202020204" pitchFamily="34" charset="0"/>
              <a:buChar char="•"/>
            </a:pPr>
            <a:r>
              <a:rPr lang="en-GB" sz="1000">
                <a:latin typeface="Trebuchet MS" panose="020B0603020202020204" pitchFamily="34" charset="0"/>
              </a:rPr>
              <a:t>Public institutions need to assess their </a:t>
            </a:r>
            <a:r>
              <a:rPr lang="en-GB" sz="1000">
                <a:solidFill>
                  <a:schemeClr val="tx2"/>
                </a:solidFill>
                <a:latin typeface="Trebuchet MS" panose="020B0603020202020204" pitchFamily="34" charset="0"/>
              </a:rPr>
              <a:t>suppliers</a:t>
            </a:r>
            <a:r>
              <a:rPr lang="en-GB" sz="1000">
                <a:latin typeface="Trebuchet MS" panose="020B0603020202020204" pitchFamily="34" charset="0"/>
              </a:rPr>
              <a:t> through </a:t>
            </a:r>
            <a:r>
              <a:rPr lang="en-GB" sz="1000">
                <a:solidFill>
                  <a:schemeClr val="tx2"/>
                </a:solidFill>
                <a:latin typeface="Trebuchet MS" panose="020B0603020202020204" pitchFamily="34" charset="0"/>
              </a:rPr>
              <a:t>due</a:t>
            </a:r>
            <a:r>
              <a:rPr lang="en-GB" sz="1000">
                <a:latin typeface="Trebuchet MS" panose="020B0603020202020204" pitchFamily="34" charset="0"/>
              </a:rPr>
              <a:t> </a:t>
            </a:r>
            <a:r>
              <a:rPr lang="en-GB" sz="1000">
                <a:solidFill>
                  <a:schemeClr val="tx2"/>
                </a:solidFill>
                <a:latin typeface="Trebuchet MS" panose="020B0603020202020204" pitchFamily="34" charset="0"/>
              </a:rPr>
              <a:t>diligences</a:t>
            </a:r>
            <a:r>
              <a:rPr lang="en-GB" sz="1000">
                <a:latin typeface="Trebuchet MS" panose="020B0603020202020204" pitchFamily="34" charset="0"/>
              </a:rPr>
              <a:t> </a:t>
            </a:r>
          </a:p>
        </p:txBody>
      </p:sp>
      <p:sp>
        <p:nvSpPr>
          <p:cNvPr id="54" name="Rectangle 53">
            <a:extLst>
              <a:ext uri="{FF2B5EF4-FFF2-40B4-BE49-F238E27FC236}">
                <a16:creationId xmlns:a16="http://schemas.microsoft.com/office/drawing/2014/main" id="{CAEA9FB2-2EF4-4D1B-B3F4-484DE219648D}"/>
              </a:ext>
            </a:extLst>
          </p:cNvPr>
          <p:cNvSpPr/>
          <p:nvPr/>
        </p:nvSpPr>
        <p:spPr bwMode="auto">
          <a:xfrm>
            <a:off x="7561832" y="1835801"/>
            <a:ext cx="2164672" cy="454977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marR="0" indent="-171450" defTabSz="914400" rtl="0" eaLnBrk="1" fontAlgn="base" latinLnBrk="0" hangingPunct="1">
              <a:lnSpc>
                <a:spcPts val="1100"/>
              </a:lnSpc>
              <a:spcBef>
                <a:spcPct val="0"/>
              </a:spcBef>
              <a:spcAft>
                <a:spcPct val="0"/>
              </a:spcAft>
              <a:buClr>
                <a:schemeClr val="tx1"/>
              </a:buClr>
              <a:buSzTx/>
              <a:buFont typeface="Arial" panose="020B0604020202020204" pitchFamily="34" charset="0"/>
              <a:buChar char="•"/>
              <a:tabLst/>
            </a:pPr>
            <a:r>
              <a:rPr lang="en-GB" sz="1000" dirty="0">
                <a:solidFill>
                  <a:schemeClr val="tx2"/>
                </a:solidFill>
                <a:latin typeface="Trebuchet MS" panose="020B0603020202020204" pitchFamily="34" charset="0"/>
              </a:rPr>
              <a:t>Sales and marketing challenges </a:t>
            </a:r>
            <a:r>
              <a:rPr lang="en-GB" sz="1000" dirty="0">
                <a:latin typeface="Trebuchet MS" panose="020B0603020202020204" pitchFamily="34" charset="0"/>
              </a:rPr>
              <a:t>affect all companies, whose needs vary according to their size </a:t>
            </a:r>
          </a:p>
          <a:p>
            <a:pPr marL="171450" marR="0" indent="-171450" defTabSz="914400" rtl="0" eaLnBrk="1" fontAlgn="base" latinLnBrk="0" hangingPunct="1">
              <a:lnSpc>
                <a:spcPts val="1100"/>
              </a:lnSpc>
              <a:spcBef>
                <a:spcPct val="0"/>
              </a:spcBef>
              <a:spcAft>
                <a:spcPct val="0"/>
              </a:spcAft>
              <a:buClrTx/>
              <a:buSzTx/>
              <a:buFont typeface="Arial" panose="020B0604020202020204" pitchFamily="34" charset="0"/>
              <a:buChar char="•"/>
              <a:tabLst/>
            </a:pPr>
            <a:endParaRPr lang="en-GB" sz="1000" dirty="0">
              <a:solidFill>
                <a:schemeClr val="tx2"/>
              </a:solidFill>
              <a:latin typeface="Trebuchet MS" panose="020B0603020202020204" pitchFamily="34" charset="0"/>
            </a:endParaRPr>
          </a:p>
          <a:p>
            <a:pPr marL="171450" marR="0" indent="-171450" defTabSz="914400" rtl="0" eaLnBrk="1" fontAlgn="base" latinLnBrk="0" hangingPunct="1">
              <a:lnSpc>
                <a:spcPts val="1100"/>
              </a:lnSpc>
              <a:spcBef>
                <a:spcPct val="0"/>
              </a:spcBef>
              <a:spcAft>
                <a:spcPct val="0"/>
              </a:spcAft>
              <a:buClrTx/>
              <a:buSzTx/>
              <a:buFont typeface="Arial" panose="020B0604020202020204" pitchFamily="34" charset="0"/>
              <a:buChar char="•"/>
              <a:tabLst/>
            </a:pPr>
            <a:r>
              <a:rPr lang="en-GB" sz="1000" dirty="0">
                <a:latin typeface="Trebuchet MS" panose="020B0603020202020204" pitchFamily="34" charset="0"/>
              </a:rPr>
              <a:t>Large companies tend to call on external service providers who are better adapted in their offerings and services to their stakes, size and high number of prospects to structure</a:t>
            </a:r>
          </a:p>
          <a:p>
            <a:pPr marL="171450" marR="0" indent="-171450" defTabSz="914400" rtl="0" eaLnBrk="1" fontAlgn="base" latinLnBrk="0" hangingPunct="1">
              <a:lnSpc>
                <a:spcPts val="1100"/>
              </a:lnSpc>
              <a:spcBef>
                <a:spcPct val="0"/>
              </a:spcBef>
              <a:spcAft>
                <a:spcPct val="0"/>
              </a:spcAft>
              <a:buClrTx/>
              <a:buSzTx/>
              <a:buFont typeface="Arial" panose="020B0604020202020204" pitchFamily="34" charset="0"/>
              <a:buChar char="•"/>
              <a:tabLst/>
            </a:pPr>
            <a:endParaRPr lang="en-GB" sz="1000" dirty="0">
              <a:latin typeface="Trebuchet MS" panose="020B0603020202020204" pitchFamily="34" charset="0"/>
            </a:endParaRPr>
          </a:p>
          <a:p>
            <a:pPr marL="171450" marR="0" indent="-171450" defTabSz="914400" rtl="0" eaLnBrk="1" fontAlgn="base" latinLnBrk="0" hangingPunct="1">
              <a:lnSpc>
                <a:spcPts val="1100"/>
              </a:lnSpc>
              <a:spcBef>
                <a:spcPct val="0"/>
              </a:spcBef>
              <a:spcAft>
                <a:spcPct val="0"/>
              </a:spcAft>
              <a:buClrTx/>
              <a:buSzTx/>
              <a:buFont typeface="Arial" panose="020B0604020202020204" pitchFamily="34" charset="0"/>
              <a:buChar char="•"/>
              <a:tabLst/>
            </a:pPr>
            <a:r>
              <a:rPr lang="en-GB" sz="1000" dirty="0">
                <a:latin typeface="Trebuchet MS" panose="020B0603020202020204" pitchFamily="34" charset="0"/>
              </a:rPr>
              <a:t>The </a:t>
            </a:r>
            <a:r>
              <a:rPr lang="en-GB" sz="1000" dirty="0">
                <a:solidFill>
                  <a:schemeClr val="tx2"/>
                </a:solidFill>
                <a:latin typeface="Trebuchet MS" panose="020B0603020202020204" pitchFamily="34" charset="0"/>
              </a:rPr>
              <a:t>customer</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journey</a:t>
            </a:r>
            <a:r>
              <a:rPr lang="en-GB" sz="1000" dirty="0">
                <a:latin typeface="Trebuchet MS" panose="020B0603020202020204" pitchFamily="34" charset="0"/>
              </a:rPr>
              <a:t> is now more </a:t>
            </a:r>
            <a:r>
              <a:rPr lang="en-GB" sz="1000" dirty="0">
                <a:solidFill>
                  <a:schemeClr val="tx2"/>
                </a:solidFill>
                <a:latin typeface="Trebuchet MS" panose="020B0603020202020204" pitchFamily="34" charset="0"/>
              </a:rPr>
              <a:t>digitalized</a:t>
            </a:r>
            <a:r>
              <a:rPr lang="en-GB" sz="1000" dirty="0">
                <a:latin typeface="Trebuchet MS" panose="020B0603020202020204" pitchFamily="34" charset="0"/>
              </a:rPr>
              <a:t> and </a:t>
            </a:r>
            <a:r>
              <a:rPr lang="en-GB" sz="1000" dirty="0">
                <a:solidFill>
                  <a:schemeClr val="tx2"/>
                </a:solidFill>
                <a:latin typeface="Trebuchet MS" panose="020B0603020202020204" pitchFamily="34" charset="0"/>
              </a:rPr>
              <a:t>multi-channel</a:t>
            </a:r>
            <a:r>
              <a:rPr lang="en-GB" sz="1000" dirty="0">
                <a:latin typeface="Trebuchet MS" panose="020B0603020202020204" pitchFamily="34" charset="0"/>
              </a:rPr>
              <a:t>, which leads to an evolutions of the needs of the companies and the tools they use to be able to address prospects and customer on all touch points</a:t>
            </a:r>
          </a:p>
          <a:p>
            <a:pPr marL="171450" marR="0" indent="-171450" defTabSz="914400" rtl="0" eaLnBrk="1" fontAlgn="base" latinLnBrk="0" hangingPunct="1">
              <a:lnSpc>
                <a:spcPts val="1100"/>
              </a:lnSpc>
              <a:spcBef>
                <a:spcPct val="0"/>
              </a:spcBef>
              <a:spcAft>
                <a:spcPct val="0"/>
              </a:spcAft>
              <a:buClrTx/>
              <a:buSzTx/>
              <a:buFont typeface="Arial" panose="020B0604020202020204" pitchFamily="34" charset="0"/>
              <a:buChar char="•"/>
              <a:tabLst/>
            </a:pPr>
            <a:endParaRPr lang="en-GB" sz="1000" dirty="0">
              <a:latin typeface="Trebuchet MS" panose="020B0603020202020204" pitchFamily="34" charset="0"/>
            </a:endParaRPr>
          </a:p>
          <a:p>
            <a:pPr marL="171450" marR="0" indent="-171450" defTabSz="914400" rtl="0" eaLnBrk="1" fontAlgn="base" latinLnBrk="0" hangingPunct="1">
              <a:lnSpc>
                <a:spcPts val="1100"/>
              </a:lnSpc>
              <a:spcBef>
                <a:spcPct val="0"/>
              </a:spcBef>
              <a:spcAft>
                <a:spcPct val="0"/>
              </a:spcAft>
              <a:buClrTx/>
              <a:buSzTx/>
              <a:buFont typeface="Arial" panose="020B0604020202020204" pitchFamily="34" charset="0"/>
              <a:buChar char="•"/>
              <a:tabLst/>
            </a:pPr>
            <a:r>
              <a:rPr lang="en-GB" sz="1000" dirty="0">
                <a:latin typeface="Trebuchet MS" panose="020B0603020202020204" pitchFamily="34" charset="0"/>
              </a:rPr>
              <a:t>By nature, public institutions are less likely to use B2B marketing solutions</a:t>
            </a:r>
          </a:p>
        </p:txBody>
      </p:sp>
      <p:pic>
        <p:nvPicPr>
          <p:cNvPr id="15" name="Graphique 74" descr="Mégaphone">
            <a:extLst>
              <a:ext uri="{FF2B5EF4-FFF2-40B4-BE49-F238E27FC236}">
                <a16:creationId xmlns:a16="http://schemas.microsoft.com/office/drawing/2014/main" id="{437B6DB8-C97C-4245-8B1E-F3954AD62E7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00281" y="1145069"/>
            <a:ext cx="281943" cy="261868"/>
          </a:xfrm>
          <a:prstGeom prst="rect">
            <a:avLst/>
          </a:prstGeom>
          <a:effectLst/>
        </p:spPr>
      </p:pic>
      <p:cxnSp>
        <p:nvCxnSpPr>
          <p:cNvPr id="4" name="Connecteur droit 3">
            <a:extLst>
              <a:ext uri="{FF2B5EF4-FFF2-40B4-BE49-F238E27FC236}">
                <a16:creationId xmlns:a16="http://schemas.microsoft.com/office/drawing/2014/main" id="{4CED0947-08B4-4837-B3A1-189ED194C9C6}"/>
              </a:ext>
            </a:extLst>
          </p:cNvPr>
          <p:cNvCxnSpPr>
            <a:cxnSpLocks/>
          </p:cNvCxnSpPr>
          <p:nvPr/>
        </p:nvCxnSpPr>
        <p:spPr bwMode="auto">
          <a:xfrm>
            <a:off x="183000" y="1019319"/>
            <a:ext cx="954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 name="Rectangle 84">
            <a:extLst>
              <a:ext uri="{FF2B5EF4-FFF2-40B4-BE49-F238E27FC236}">
                <a16:creationId xmlns:a16="http://schemas.microsoft.com/office/drawing/2014/main" id="{8CCC2692-D064-4DA4-9938-6E68C1350D82}"/>
              </a:ext>
            </a:extLst>
          </p:cNvPr>
          <p:cNvSpPr/>
          <p:nvPr/>
        </p:nvSpPr>
        <p:spPr bwMode="auto">
          <a:xfrm>
            <a:off x="2577505" y="868653"/>
            <a:ext cx="4750991"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7800" indent="88900" algn="ctr">
              <a:defRPr/>
            </a:pPr>
            <a:r>
              <a:rPr lang="en-GB" sz="1100">
                <a:latin typeface="Trebuchet MS" panose="020B0603020202020204" pitchFamily="34" charset="0"/>
              </a:rPr>
              <a:t>Client segmentation of the BD&amp;A market across the three verticals</a:t>
            </a:r>
          </a:p>
        </p:txBody>
      </p:sp>
      <p:sp>
        <p:nvSpPr>
          <p:cNvPr id="7" name="Forme libre : forme 6">
            <a:extLst>
              <a:ext uri="{FF2B5EF4-FFF2-40B4-BE49-F238E27FC236}">
                <a16:creationId xmlns:a16="http://schemas.microsoft.com/office/drawing/2014/main" id="{25839D09-3D81-42DE-91B0-712104B7B011}"/>
              </a:ext>
            </a:extLst>
          </p:cNvPr>
          <p:cNvSpPr/>
          <p:nvPr/>
        </p:nvSpPr>
        <p:spPr>
          <a:xfrm>
            <a:off x="419789" y="3061659"/>
            <a:ext cx="267627" cy="267629"/>
          </a:xfrm>
          <a:custGeom>
            <a:avLst/>
            <a:gdLst>
              <a:gd name="connsiteX0" fmla="*/ 262662 w 267627"/>
              <a:gd name="connsiteY0" fmla="*/ 146506 h 267629"/>
              <a:gd name="connsiteX1" fmla="*/ 204446 w 267627"/>
              <a:gd name="connsiteY1" fmla="*/ 146506 h 267629"/>
              <a:gd name="connsiteX2" fmla="*/ 204446 w 267627"/>
              <a:gd name="connsiteY2" fmla="*/ 140161 h 267629"/>
              <a:gd name="connsiteX3" fmla="*/ 208860 w 267627"/>
              <a:gd name="connsiteY3" fmla="*/ 140161 h 267629"/>
              <a:gd name="connsiteX4" fmla="*/ 213275 w 267627"/>
              <a:gd name="connsiteY4" fmla="*/ 135746 h 267629"/>
              <a:gd name="connsiteX5" fmla="*/ 213275 w 267627"/>
              <a:gd name="connsiteY5" fmla="*/ 127193 h 267629"/>
              <a:gd name="connsiteX6" fmla="*/ 215482 w 267627"/>
              <a:gd name="connsiteY6" fmla="*/ 127193 h 267629"/>
              <a:gd name="connsiteX7" fmla="*/ 219896 w 267627"/>
              <a:gd name="connsiteY7" fmla="*/ 122779 h 267629"/>
              <a:gd name="connsiteX8" fmla="*/ 219896 w 267627"/>
              <a:gd name="connsiteY8" fmla="*/ 107604 h 267629"/>
              <a:gd name="connsiteX9" fmla="*/ 215482 w 267627"/>
              <a:gd name="connsiteY9" fmla="*/ 103189 h 267629"/>
              <a:gd name="connsiteX10" fmla="*/ 198652 w 267627"/>
              <a:gd name="connsiteY10" fmla="*/ 103189 h 267629"/>
              <a:gd name="connsiteX11" fmla="*/ 150920 w 267627"/>
              <a:gd name="connsiteY11" fmla="*/ 41110 h 267629"/>
              <a:gd name="connsiteX12" fmla="*/ 150920 w 267627"/>
              <a:gd name="connsiteY12" fmla="*/ 32281 h 267629"/>
              <a:gd name="connsiteX13" fmla="*/ 146506 w 267627"/>
              <a:gd name="connsiteY13" fmla="*/ 27867 h 267629"/>
              <a:gd name="connsiteX14" fmla="*/ 137953 w 267627"/>
              <a:gd name="connsiteY14" fmla="*/ 27867 h 267629"/>
              <a:gd name="connsiteX15" fmla="*/ 137953 w 267627"/>
              <a:gd name="connsiteY15" fmla="*/ 23452 h 267629"/>
              <a:gd name="connsiteX16" fmla="*/ 159473 w 267627"/>
              <a:gd name="connsiteY16" fmla="*/ 23452 h 267629"/>
              <a:gd name="connsiteX17" fmla="*/ 163888 w 267627"/>
              <a:gd name="connsiteY17" fmla="*/ 19038 h 267629"/>
              <a:gd name="connsiteX18" fmla="*/ 163888 w 267627"/>
              <a:gd name="connsiteY18" fmla="*/ 4415 h 267629"/>
              <a:gd name="connsiteX19" fmla="*/ 159473 w 267627"/>
              <a:gd name="connsiteY19" fmla="*/ 0 h 267629"/>
              <a:gd name="connsiteX20" fmla="*/ 133538 w 267627"/>
              <a:gd name="connsiteY20" fmla="*/ 0 h 267629"/>
              <a:gd name="connsiteX21" fmla="*/ 129124 w 267627"/>
              <a:gd name="connsiteY21" fmla="*/ 4415 h 267629"/>
              <a:gd name="connsiteX22" fmla="*/ 129124 w 267627"/>
              <a:gd name="connsiteY22" fmla="*/ 28142 h 267629"/>
              <a:gd name="connsiteX23" fmla="*/ 120570 w 267627"/>
              <a:gd name="connsiteY23" fmla="*/ 28142 h 267629"/>
              <a:gd name="connsiteX24" fmla="*/ 116156 w 267627"/>
              <a:gd name="connsiteY24" fmla="*/ 32557 h 267629"/>
              <a:gd name="connsiteX25" fmla="*/ 116156 w 267627"/>
              <a:gd name="connsiteY25" fmla="*/ 41386 h 267629"/>
              <a:gd name="connsiteX26" fmla="*/ 67045 w 267627"/>
              <a:gd name="connsiteY26" fmla="*/ 103465 h 267629"/>
              <a:gd name="connsiteX27" fmla="*/ 51594 w 267627"/>
              <a:gd name="connsiteY27" fmla="*/ 103465 h 267629"/>
              <a:gd name="connsiteX28" fmla="*/ 47180 w 267627"/>
              <a:gd name="connsiteY28" fmla="*/ 107880 h 267629"/>
              <a:gd name="connsiteX29" fmla="*/ 47180 w 267627"/>
              <a:gd name="connsiteY29" fmla="*/ 123054 h 267629"/>
              <a:gd name="connsiteX30" fmla="*/ 51594 w 267627"/>
              <a:gd name="connsiteY30" fmla="*/ 127469 h 267629"/>
              <a:gd name="connsiteX31" fmla="*/ 53801 w 267627"/>
              <a:gd name="connsiteY31" fmla="*/ 127469 h 267629"/>
              <a:gd name="connsiteX32" fmla="*/ 53801 w 267627"/>
              <a:gd name="connsiteY32" fmla="*/ 136022 h 267629"/>
              <a:gd name="connsiteX33" fmla="*/ 58216 w 267627"/>
              <a:gd name="connsiteY33" fmla="*/ 140437 h 267629"/>
              <a:gd name="connsiteX34" fmla="*/ 62630 w 267627"/>
              <a:gd name="connsiteY34" fmla="*/ 140437 h 267629"/>
              <a:gd name="connsiteX35" fmla="*/ 62630 w 267627"/>
              <a:gd name="connsiteY35" fmla="*/ 146782 h 267629"/>
              <a:gd name="connsiteX36" fmla="*/ 4414 w 267627"/>
              <a:gd name="connsiteY36" fmla="*/ 146782 h 267629"/>
              <a:gd name="connsiteX37" fmla="*/ 0 w 267627"/>
              <a:gd name="connsiteY37" fmla="*/ 151197 h 267629"/>
              <a:gd name="connsiteX38" fmla="*/ 0 w 267627"/>
              <a:gd name="connsiteY38" fmla="*/ 166372 h 267629"/>
              <a:gd name="connsiteX39" fmla="*/ 4414 w 267627"/>
              <a:gd name="connsiteY39" fmla="*/ 170786 h 267629"/>
              <a:gd name="connsiteX40" fmla="*/ 8829 w 267627"/>
              <a:gd name="connsiteY40" fmla="*/ 170786 h 267629"/>
              <a:gd name="connsiteX41" fmla="*/ 8829 w 267627"/>
              <a:gd name="connsiteY41" fmla="*/ 263215 h 267629"/>
              <a:gd name="connsiteX42" fmla="*/ 13243 w 267627"/>
              <a:gd name="connsiteY42" fmla="*/ 267630 h 267629"/>
              <a:gd name="connsiteX43" fmla="*/ 254384 w 267627"/>
              <a:gd name="connsiteY43" fmla="*/ 267630 h 267629"/>
              <a:gd name="connsiteX44" fmla="*/ 258799 w 267627"/>
              <a:gd name="connsiteY44" fmla="*/ 263215 h 267629"/>
              <a:gd name="connsiteX45" fmla="*/ 258799 w 267627"/>
              <a:gd name="connsiteY45" fmla="*/ 250247 h 267629"/>
              <a:gd name="connsiteX46" fmla="*/ 258799 w 267627"/>
              <a:gd name="connsiteY46" fmla="*/ 170234 h 267629"/>
              <a:gd name="connsiteX47" fmla="*/ 263213 w 267627"/>
              <a:gd name="connsiteY47" fmla="*/ 170234 h 267629"/>
              <a:gd name="connsiteX48" fmla="*/ 267628 w 267627"/>
              <a:gd name="connsiteY48" fmla="*/ 165820 h 267629"/>
              <a:gd name="connsiteX49" fmla="*/ 267628 w 267627"/>
              <a:gd name="connsiteY49" fmla="*/ 150645 h 267629"/>
              <a:gd name="connsiteX50" fmla="*/ 262662 w 267627"/>
              <a:gd name="connsiteY50" fmla="*/ 146506 h 267629"/>
              <a:gd name="connsiteX51" fmla="*/ 155059 w 267627"/>
              <a:gd name="connsiteY51" fmla="*/ 15175 h 267629"/>
              <a:gd name="connsiteX52" fmla="*/ 137953 w 267627"/>
              <a:gd name="connsiteY52" fmla="*/ 15175 h 267629"/>
              <a:gd name="connsiteX53" fmla="*/ 137953 w 267627"/>
              <a:gd name="connsiteY53" fmla="*/ 8829 h 267629"/>
              <a:gd name="connsiteX54" fmla="*/ 155059 w 267627"/>
              <a:gd name="connsiteY54" fmla="*/ 8829 h 267629"/>
              <a:gd name="connsiteX55" fmla="*/ 155059 w 267627"/>
              <a:gd name="connsiteY55" fmla="*/ 15175 h 267629"/>
              <a:gd name="connsiteX56" fmla="*/ 232588 w 267627"/>
              <a:gd name="connsiteY56" fmla="*/ 245557 h 267629"/>
              <a:gd name="connsiteX57" fmla="*/ 34488 w 267627"/>
              <a:gd name="connsiteY57" fmla="*/ 245557 h 267629"/>
              <a:gd name="connsiteX58" fmla="*/ 34488 w 267627"/>
              <a:gd name="connsiteY58" fmla="*/ 241143 h 267629"/>
              <a:gd name="connsiteX59" fmla="*/ 232588 w 267627"/>
              <a:gd name="connsiteY59" fmla="*/ 241143 h 267629"/>
              <a:gd name="connsiteX60" fmla="*/ 232588 w 267627"/>
              <a:gd name="connsiteY60" fmla="*/ 245557 h 267629"/>
              <a:gd name="connsiteX61" fmla="*/ 101257 w 267627"/>
              <a:gd name="connsiteY61" fmla="*/ 139885 h 267629"/>
              <a:gd name="connsiteX62" fmla="*/ 105672 w 267627"/>
              <a:gd name="connsiteY62" fmla="*/ 135470 h 267629"/>
              <a:gd name="connsiteX63" fmla="*/ 105672 w 267627"/>
              <a:gd name="connsiteY63" fmla="*/ 126917 h 267629"/>
              <a:gd name="connsiteX64" fmla="*/ 161680 w 267627"/>
              <a:gd name="connsiteY64" fmla="*/ 126917 h 267629"/>
              <a:gd name="connsiteX65" fmla="*/ 161680 w 267627"/>
              <a:gd name="connsiteY65" fmla="*/ 135470 h 267629"/>
              <a:gd name="connsiteX66" fmla="*/ 166095 w 267627"/>
              <a:gd name="connsiteY66" fmla="*/ 139885 h 267629"/>
              <a:gd name="connsiteX67" fmla="*/ 170509 w 267627"/>
              <a:gd name="connsiteY67" fmla="*/ 139885 h 267629"/>
              <a:gd name="connsiteX68" fmla="*/ 170509 w 267627"/>
              <a:gd name="connsiteY68" fmla="*/ 232313 h 267629"/>
              <a:gd name="connsiteX69" fmla="*/ 159749 w 267627"/>
              <a:gd name="connsiteY69" fmla="*/ 232313 h 267629"/>
              <a:gd name="connsiteX70" fmla="*/ 159749 w 267627"/>
              <a:gd name="connsiteY70" fmla="*/ 182374 h 267629"/>
              <a:gd name="connsiteX71" fmla="*/ 133814 w 267627"/>
              <a:gd name="connsiteY71" fmla="*/ 156991 h 267629"/>
              <a:gd name="connsiteX72" fmla="*/ 107879 w 267627"/>
              <a:gd name="connsiteY72" fmla="*/ 182374 h 267629"/>
              <a:gd name="connsiteX73" fmla="*/ 107879 w 267627"/>
              <a:gd name="connsiteY73" fmla="*/ 232313 h 267629"/>
              <a:gd name="connsiteX74" fmla="*/ 97119 w 267627"/>
              <a:gd name="connsiteY74" fmla="*/ 232313 h 267629"/>
              <a:gd name="connsiteX75" fmla="*/ 97119 w 267627"/>
              <a:gd name="connsiteY75" fmla="*/ 139885 h 267629"/>
              <a:gd name="connsiteX76" fmla="*/ 101257 w 267627"/>
              <a:gd name="connsiteY76" fmla="*/ 139885 h 267629"/>
              <a:gd name="connsiteX77" fmla="*/ 150644 w 267627"/>
              <a:gd name="connsiteY77" fmla="*/ 232589 h 267629"/>
              <a:gd name="connsiteX78" fmla="*/ 116432 w 267627"/>
              <a:gd name="connsiteY78" fmla="*/ 232589 h 267629"/>
              <a:gd name="connsiteX79" fmla="*/ 116432 w 267627"/>
              <a:gd name="connsiteY79" fmla="*/ 182374 h 267629"/>
              <a:gd name="connsiteX80" fmla="*/ 133538 w 267627"/>
              <a:gd name="connsiteY80" fmla="*/ 165820 h 267629"/>
              <a:gd name="connsiteX81" fmla="*/ 150644 w 267627"/>
              <a:gd name="connsiteY81" fmla="*/ 182374 h 267629"/>
              <a:gd name="connsiteX82" fmla="*/ 150644 w 267627"/>
              <a:gd name="connsiteY82" fmla="*/ 232589 h 267629"/>
              <a:gd name="connsiteX83" fmla="*/ 195893 w 267627"/>
              <a:gd name="connsiteY83" fmla="*/ 232589 h 267629"/>
              <a:gd name="connsiteX84" fmla="*/ 178786 w 267627"/>
              <a:gd name="connsiteY84" fmla="*/ 232589 h 267629"/>
              <a:gd name="connsiteX85" fmla="*/ 178786 w 267627"/>
              <a:gd name="connsiteY85" fmla="*/ 139885 h 267629"/>
              <a:gd name="connsiteX86" fmla="*/ 195893 w 267627"/>
              <a:gd name="connsiteY86" fmla="*/ 139885 h 267629"/>
              <a:gd name="connsiteX87" fmla="*/ 195893 w 267627"/>
              <a:gd name="connsiteY87" fmla="*/ 232589 h 267629"/>
              <a:gd name="connsiteX88" fmla="*/ 204446 w 267627"/>
              <a:gd name="connsiteY88" fmla="*/ 131332 h 267629"/>
              <a:gd name="connsiteX89" fmla="*/ 169957 w 267627"/>
              <a:gd name="connsiteY89" fmla="*/ 131332 h 267629"/>
              <a:gd name="connsiteX90" fmla="*/ 169957 w 267627"/>
              <a:gd name="connsiteY90" fmla="*/ 126917 h 267629"/>
              <a:gd name="connsiteX91" fmla="*/ 204446 w 267627"/>
              <a:gd name="connsiteY91" fmla="*/ 126917 h 267629"/>
              <a:gd name="connsiteX92" fmla="*/ 204446 w 267627"/>
              <a:gd name="connsiteY92" fmla="*/ 131332 h 267629"/>
              <a:gd name="connsiteX93" fmla="*/ 124985 w 267627"/>
              <a:gd name="connsiteY93" fmla="*/ 36696 h 267629"/>
              <a:gd name="connsiteX94" fmla="*/ 142091 w 267627"/>
              <a:gd name="connsiteY94" fmla="*/ 36696 h 267629"/>
              <a:gd name="connsiteX95" fmla="*/ 142091 w 267627"/>
              <a:gd name="connsiteY95" fmla="*/ 39455 h 267629"/>
              <a:gd name="connsiteX96" fmla="*/ 124985 w 267627"/>
              <a:gd name="connsiteY96" fmla="*/ 39455 h 267629"/>
              <a:gd name="connsiteX97" fmla="*/ 124985 w 267627"/>
              <a:gd name="connsiteY97" fmla="*/ 36696 h 267629"/>
              <a:gd name="connsiteX98" fmla="*/ 133538 w 267627"/>
              <a:gd name="connsiteY98" fmla="*/ 47456 h 267629"/>
              <a:gd name="connsiteX99" fmla="*/ 189823 w 267627"/>
              <a:gd name="connsiteY99" fmla="*/ 103465 h 267629"/>
              <a:gd name="connsiteX100" fmla="*/ 75874 w 267627"/>
              <a:gd name="connsiteY100" fmla="*/ 103465 h 267629"/>
              <a:gd name="connsiteX101" fmla="*/ 133538 w 267627"/>
              <a:gd name="connsiteY101" fmla="*/ 47456 h 267629"/>
              <a:gd name="connsiteX102" fmla="*/ 56009 w 267627"/>
              <a:gd name="connsiteY102" fmla="*/ 112018 h 267629"/>
              <a:gd name="connsiteX103" fmla="*/ 211067 w 267627"/>
              <a:gd name="connsiteY103" fmla="*/ 112018 h 267629"/>
              <a:gd name="connsiteX104" fmla="*/ 211067 w 267627"/>
              <a:gd name="connsiteY104" fmla="*/ 118364 h 267629"/>
              <a:gd name="connsiteX105" fmla="*/ 58216 w 267627"/>
              <a:gd name="connsiteY105" fmla="*/ 118364 h 267629"/>
              <a:gd name="connsiteX106" fmla="*/ 56009 w 267627"/>
              <a:gd name="connsiteY106" fmla="*/ 118364 h 267629"/>
              <a:gd name="connsiteX107" fmla="*/ 56009 w 267627"/>
              <a:gd name="connsiteY107" fmla="*/ 112018 h 267629"/>
              <a:gd name="connsiteX108" fmla="*/ 96843 w 267627"/>
              <a:gd name="connsiteY108" fmla="*/ 127193 h 267629"/>
              <a:gd name="connsiteX109" fmla="*/ 96843 w 267627"/>
              <a:gd name="connsiteY109" fmla="*/ 131608 h 267629"/>
              <a:gd name="connsiteX110" fmla="*/ 62355 w 267627"/>
              <a:gd name="connsiteY110" fmla="*/ 131608 h 267629"/>
              <a:gd name="connsiteX111" fmla="*/ 62355 w 267627"/>
              <a:gd name="connsiteY111" fmla="*/ 127193 h 267629"/>
              <a:gd name="connsiteX112" fmla="*/ 96843 w 267627"/>
              <a:gd name="connsiteY112" fmla="*/ 127193 h 267629"/>
              <a:gd name="connsiteX113" fmla="*/ 88290 w 267627"/>
              <a:gd name="connsiteY113" fmla="*/ 139885 h 267629"/>
              <a:gd name="connsiteX114" fmla="*/ 88290 w 267627"/>
              <a:gd name="connsiteY114" fmla="*/ 232313 h 267629"/>
              <a:gd name="connsiteX115" fmla="*/ 71183 w 267627"/>
              <a:gd name="connsiteY115" fmla="*/ 232313 h 267629"/>
              <a:gd name="connsiteX116" fmla="*/ 71183 w 267627"/>
              <a:gd name="connsiteY116" fmla="*/ 139885 h 267629"/>
              <a:gd name="connsiteX117" fmla="*/ 88290 w 267627"/>
              <a:gd name="connsiteY117" fmla="*/ 139885 h 267629"/>
              <a:gd name="connsiteX118" fmla="*/ 8829 w 267627"/>
              <a:gd name="connsiteY118" fmla="*/ 155060 h 267629"/>
              <a:gd name="connsiteX119" fmla="*/ 62630 w 267627"/>
              <a:gd name="connsiteY119" fmla="*/ 155060 h 267629"/>
              <a:gd name="connsiteX120" fmla="*/ 62630 w 267627"/>
              <a:gd name="connsiteY120" fmla="*/ 161405 h 267629"/>
              <a:gd name="connsiteX121" fmla="*/ 8829 w 267627"/>
              <a:gd name="connsiteY121" fmla="*/ 161405 h 267629"/>
              <a:gd name="connsiteX122" fmla="*/ 8829 w 267627"/>
              <a:gd name="connsiteY122" fmla="*/ 155060 h 267629"/>
              <a:gd name="connsiteX123" fmla="*/ 62630 w 267627"/>
              <a:gd name="connsiteY123" fmla="*/ 170234 h 267629"/>
              <a:gd name="connsiteX124" fmla="*/ 62630 w 267627"/>
              <a:gd name="connsiteY124" fmla="*/ 232589 h 267629"/>
              <a:gd name="connsiteX125" fmla="*/ 30350 w 267627"/>
              <a:gd name="connsiteY125" fmla="*/ 232589 h 267629"/>
              <a:gd name="connsiteX126" fmla="*/ 25935 w 267627"/>
              <a:gd name="connsiteY126" fmla="*/ 237004 h 267629"/>
              <a:gd name="connsiteX127" fmla="*/ 25935 w 267627"/>
              <a:gd name="connsiteY127" fmla="*/ 245557 h 267629"/>
              <a:gd name="connsiteX128" fmla="*/ 17382 w 267627"/>
              <a:gd name="connsiteY128" fmla="*/ 245557 h 267629"/>
              <a:gd name="connsiteX129" fmla="*/ 17382 w 267627"/>
              <a:gd name="connsiteY129" fmla="*/ 170234 h 267629"/>
              <a:gd name="connsiteX130" fmla="*/ 62630 w 267627"/>
              <a:gd name="connsiteY130" fmla="*/ 170234 h 267629"/>
              <a:gd name="connsiteX131" fmla="*/ 249694 w 267627"/>
              <a:gd name="connsiteY131" fmla="*/ 258249 h 267629"/>
              <a:gd name="connsiteX132" fmla="*/ 17382 w 267627"/>
              <a:gd name="connsiteY132" fmla="*/ 258249 h 267629"/>
              <a:gd name="connsiteX133" fmla="*/ 17382 w 267627"/>
              <a:gd name="connsiteY133" fmla="*/ 253834 h 267629"/>
              <a:gd name="connsiteX134" fmla="*/ 249694 w 267627"/>
              <a:gd name="connsiteY134" fmla="*/ 253834 h 267629"/>
              <a:gd name="connsiteX135" fmla="*/ 249694 w 267627"/>
              <a:gd name="connsiteY135" fmla="*/ 258249 h 267629"/>
              <a:gd name="connsiteX136" fmla="*/ 249694 w 267627"/>
              <a:gd name="connsiteY136" fmla="*/ 245557 h 267629"/>
              <a:gd name="connsiteX137" fmla="*/ 241141 w 267627"/>
              <a:gd name="connsiteY137" fmla="*/ 245557 h 267629"/>
              <a:gd name="connsiteX138" fmla="*/ 241141 w 267627"/>
              <a:gd name="connsiteY138" fmla="*/ 237004 h 267629"/>
              <a:gd name="connsiteX139" fmla="*/ 236727 w 267627"/>
              <a:gd name="connsiteY139" fmla="*/ 232589 h 267629"/>
              <a:gd name="connsiteX140" fmla="*/ 204446 w 267627"/>
              <a:gd name="connsiteY140" fmla="*/ 232589 h 267629"/>
              <a:gd name="connsiteX141" fmla="*/ 204446 w 267627"/>
              <a:gd name="connsiteY141" fmla="*/ 170234 h 267629"/>
              <a:gd name="connsiteX142" fmla="*/ 249694 w 267627"/>
              <a:gd name="connsiteY142" fmla="*/ 170234 h 267629"/>
              <a:gd name="connsiteX143" fmla="*/ 249694 w 267627"/>
              <a:gd name="connsiteY143" fmla="*/ 245557 h 267629"/>
              <a:gd name="connsiteX144" fmla="*/ 258247 w 267627"/>
              <a:gd name="connsiteY144" fmla="*/ 161405 h 267629"/>
              <a:gd name="connsiteX145" fmla="*/ 204446 w 267627"/>
              <a:gd name="connsiteY145" fmla="*/ 161405 h 267629"/>
              <a:gd name="connsiteX146" fmla="*/ 204446 w 267627"/>
              <a:gd name="connsiteY146" fmla="*/ 155060 h 267629"/>
              <a:gd name="connsiteX147" fmla="*/ 258247 w 267627"/>
              <a:gd name="connsiteY147" fmla="*/ 155060 h 267629"/>
              <a:gd name="connsiteX148" fmla="*/ 258247 w 267627"/>
              <a:gd name="connsiteY148" fmla="*/ 161405 h 267629"/>
              <a:gd name="connsiteX149" fmla="*/ 28142 w 267627"/>
              <a:gd name="connsiteY149" fmla="*/ 224036 h 267629"/>
              <a:gd name="connsiteX150" fmla="*/ 51870 w 267627"/>
              <a:gd name="connsiteY150" fmla="*/ 224036 h 267629"/>
              <a:gd name="connsiteX151" fmla="*/ 56285 w 267627"/>
              <a:gd name="connsiteY151" fmla="*/ 219622 h 267629"/>
              <a:gd name="connsiteX152" fmla="*/ 56285 w 267627"/>
              <a:gd name="connsiteY152" fmla="*/ 182926 h 267629"/>
              <a:gd name="connsiteX153" fmla="*/ 51870 w 267627"/>
              <a:gd name="connsiteY153" fmla="*/ 178512 h 267629"/>
              <a:gd name="connsiteX154" fmla="*/ 28142 w 267627"/>
              <a:gd name="connsiteY154" fmla="*/ 178512 h 267629"/>
              <a:gd name="connsiteX155" fmla="*/ 23728 w 267627"/>
              <a:gd name="connsiteY155" fmla="*/ 182926 h 267629"/>
              <a:gd name="connsiteX156" fmla="*/ 23728 w 267627"/>
              <a:gd name="connsiteY156" fmla="*/ 219622 h 267629"/>
              <a:gd name="connsiteX157" fmla="*/ 28142 w 267627"/>
              <a:gd name="connsiteY157" fmla="*/ 224036 h 267629"/>
              <a:gd name="connsiteX158" fmla="*/ 32281 w 267627"/>
              <a:gd name="connsiteY158" fmla="*/ 187341 h 267629"/>
              <a:gd name="connsiteX159" fmla="*/ 47456 w 267627"/>
              <a:gd name="connsiteY159" fmla="*/ 187341 h 267629"/>
              <a:gd name="connsiteX160" fmla="*/ 47456 w 267627"/>
              <a:gd name="connsiteY160" fmla="*/ 215207 h 267629"/>
              <a:gd name="connsiteX161" fmla="*/ 32281 w 267627"/>
              <a:gd name="connsiteY161" fmla="*/ 215207 h 267629"/>
              <a:gd name="connsiteX162" fmla="*/ 32281 w 267627"/>
              <a:gd name="connsiteY162" fmla="*/ 187341 h 267629"/>
              <a:gd name="connsiteX163" fmla="*/ 215206 w 267627"/>
              <a:gd name="connsiteY163" fmla="*/ 224036 h 267629"/>
              <a:gd name="connsiteX164" fmla="*/ 238934 w 267627"/>
              <a:gd name="connsiteY164" fmla="*/ 224036 h 267629"/>
              <a:gd name="connsiteX165" fmla="*/ 243348 w 267627"/>
              <a:gd name="connsiteY165" fmla="*/ 219622 h 267629"/>
              <a:gd name="connsiteX166" fmla="*/ 243348 w 267627"/>
              <a:gd name="connsiteY166" fmla="*/ 182926 h 267629"/>
              <a:gd name="connsiteX167" fmla="*/ 238934 w 267627"/>
              <a:gd name="connsiteY167" fmla="*/ 178512 h 267629"/>
              <a:gd name="connsiteX168" fmla="*/ 215206 w 267627"/>
              <a:gd name="connsiteY168" fmla="*/ 178512 h 267629"/>
              <a:gd name="connsiteX169" fmla="*/ 210791 w 267627"/>
              <a:gd name="connsiteY169" fmla="*/ 182926 h 267629"/>
              <a:gd name="connsiteX170" fmla="*/ 210791 w 267627"/>
              <a:gd name="connsiteY170" fmla="*/ 219622 h 267629"/>
              <a:gd name="connsiteX171" fmla="*/ 215206 w 267627"/>
              <a:gd name="connsiteY171" fmla="*/ 224036 h 267629"/>
              <a:gd name="connsiteX172" fmla="*/ 219620 w 267627"/>
              <a:gd name="connsiteY172" fmla="*/ 187341 h 267629"/>
              <a:gd name="connsiteX173" fmla="*/ 234795 w 267627"/>
              <a:gd name="connsiteY173" fmla="*/ 187341 h 267629"/>
              <a:gd name="connsiteX174" fmla="*/ 234795 w 267627"/>
              <a:gd name="connsiteY174" fmla="*/ 215207 h 267629"/>
              <a:gd name="connsiteX175" fmla="*/ 219620 w 267627"/>
              <a:gd name="connsiteY175" fmla="*/ 215207 h 267629"/>
              <a:gd name="connsiteX176" fmla="*/ 219620 w 267627"/>
              <a:gd name="connsiteY176" fmla="*/ 187341 h 26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67627" h="267629">
                <a:moveTo>
                  <a:pt x="262662" y="146506"/>
                </a:moveTo>
                <a:lnTo>
                  <a:pt x="204446" y="146506"/>
                </a:lnTo>
                <a:lnTo>
                  <a:pt x="204446" y="140161"/>
                </a:lnTo>
                <a:lnTo>
                  <a:pt x="208860" y="140161"/>
                </a:lnTo>
                <a:cubicBezTo>
                  <a:pt x="211343" y="140161"/>
                  <a:pt x="213275" y="138229"/>
                  <a:pt x="213275" y="135746"/>
                </a:cubicBezTo>
                <a:lnTo>
                  <a:pt x="213275" y="127193"/>
                </a:lnTo>
                <a:lnTo>
                  <a:pt x="215482" y="127193"/>
                </a:lnTo>
                <a:cubicBezTo>
                  <a:pt x="217965" y="127193"/>
                  <a:pt x="219896" y="125262"/>
                  <a:pt x="219896" y="122779"/>
                </a:cubicBezTo>
                <a:lnTo>
                  <a:pt x="219896" y="107604"/>
                </a:lnTo>
                <a:cubicBezTo>
                  <a:pt x="219896" y="105120"/>
                  <a:pt x="217965" y="103189"/>
                  <a:pt x="215482" y="103189"/>
                </a:cubicBezTo>
                <a:lnTo>
                  <a:pt x="198652" y="103189"/>
                </a:lnTo>
                <a:cubicBezTo>
                  <a:pt x="197548" y="73391"/>
                  <a:pt x="177683" y="48560"/>
                  <a:pt x="150920" y="41110"/>
                </a:cubicBezTo>
                <a:lnTo>
                  <a:pt x="150920" y="32281"/>
                </a:lnTo>
                <a:cubicBezTo>
                  <a:pt x="150920" y="29798"/>
                  <a:pt x="148989" y="27867"/>
                  <a:pt x="146506" y="27867"/>
                </a:cubicBezTo>
                <a:lnTo>
                  <a:pt x="137953" y="27867"/>
                </a:lnTo>
                <a:lnTo>
                  <a:pt x="137953" y="23452"/>
                </a:lnTo>
                <a:lnTo>
                  <a:pt x="159473" y="23452"/>
                </a:lnTo>
                <a:cubicBezTo>
                  <a:pt x="161956" y="23452"/>
                  <a:pt x="163888" y="21521"/>
                  <a:pt x="163888" y="19038"/>
                </a:cubicBezTo>
                <a:lnTo>
                  <a:pt x="163888" y="4415"/>
                </a:lnTo>
                <a:cubicBezTo>
                  <a:pt x="163888" y="1931"/>
                  <a:pt x="161956" y="0"/>
                  <a:pt x="159473" y="0"/>
                </a:cubicBezTo>
                <a:lnTo>
                  <a:pt x="133538" y="0"/>
                </a:lnTo>
                <a:cubicBezTo>
                  <a:pt x="131055" y="0"/>
                  <a:pt x="129124" y="1931"/>
                  <a:pt x="129124" y="4415"/>
                </a:cubicBezTo>
                <a:cubicBezTo>
                  <a:pt x="129124" y="12968"/>
                  <a:pt x="129124" y="19589"/>
                  <a:pt x="129124" y="28142"/>
                </a:cubicBezTo>
                <a:lnTo>
                  <a:pt x="120570" y="28142"/>
                </a:lnTo>
                <a:cubicBezTo>
                  <a:pt x="118087" y="28142"/>
                  <a:pt x="116156" y="30074"/>
                  <a:pt x="116156" y="32557"/>
                </a:cubicBezTo>
                <a:lnTo>
                  <a:pt x="116156" y="41386"/>
                </a:lnTo>
                <a:cubicBezTo>
                  <a:pt x="89117" y="49111"/>
                  <a:pt x="68149" y="74219"/>
                  <a:pt x="67045" y="103465"/>
                </a:cubicBezTo>
                <a:lnTo>
                  <a:pt x="51594" y="103465"/>
                </a:lnTo>
                <a:cubicBezTo>
                  <a:pt x="49111" y="103465"/>
                  <a:pt x="47180" y="105396"/>
                  <a:pt x="47180" y="107880"/>
                </a:cubicBezTo>
                <a:lnTo>
                  <a:pt x="47180" y="123054"/>
                </a:lnTo>
                <a:cubicBezTo>
                  <a:pt x="47180" y="125538"/>
                  <a:pt x="49111" y="127469"/>
                  <a:pt x="51594" y="127469"/>
                </a:cubicBezTo>
                <a:lnTo>
                  <a:pt x="53801" y="127469"/>
                </a:lnTo>
                <a:lnTo>
                  <a:pt x="53801" y="136022"/>
                </a:lnTo>
                <a:cubicBezTo>
                  <a:pt x="53801" y="138505"/>
                  <a:pt x="55733" y="140437"/>
                  <a:pt x="58216" y="140437"/>
                </a:cubicBezTo>
                <a:lnTo>
                  <a:pt x="62630" y="140437"/>
                </a:lnTo>
                <a:lnTo>
                  <a:pt x="62630" y="146782"/>
                </a:lnTo>
                <a:lnTo>
                  <a:pt x="4414" y="146782"/>
                </a:lnTo>
                <a:cubicBezTo>
                  <a:pt x="1931" y="146782"/>
                  <a:pt x="0" y="148714"/>
                  <a:pt x="0" y="151197"/>
                </a:cubicBezTo>
                <a:lnTo>
                  <a:pt x="0" y="166372"/>
                </a:lnTo>
                <a:cubicBezTo>
                  <a:pt x="0" y="168855"/>
                  <a:pt x="1931" y="170786"/>
                  <a:pt x="4414" y="170786"/>
                </a:cubicBezTo>
                <a:lnTo>
                  <a:pt x="8829" y="170786"/>
                </a:lnTo>
                <a:cubicBezTo>
                  <a:pt x="8829" y="206378"/>
                  <a:pt x="8829" y="229003"/>
                  <a:pt x="8829" y="263215"/>
                </a:cubicBezTo>
                <a:cubicBezTo>
                  <a:pt x="8829" y="265698"/>
                  <a:pt x="10760" y="267630"/>
                  <a:pt x="13243" y="267630"/>
                </a:cubicBezTo>
                <a:lnTo>
                  <a:pt x="254384" y="267630"/>
                </a:lnTo>
                <a:cubicBezTo>
                  <a:pt x="256868" y="267630"/>
                  <a:pt x="258799" y="265698"/>
                  <a:pt x="258799" y="263215"/>
                </a:cubicBezTo>
                <a:lnTo>
                  <a:pt x="258799" y="250247"/>
                </a:lnTo>
                <a:lnTo>
                  <a:pt x="258799" y="170234"/>
                </a:lnTo>
                <a:lnTo>
                  <a:pt x="263213" y="170234"/>
                </a:lnTo>
                <a:cubicBezTo>
                  <a:pt x="265697" y="170234"/>
                  <a:pt x="267628" y="168303"/>
                  <a:pt x="267628" y="165820"/>
                </a:cubicBezTo>
                <a:lnTo>
                  <a:pt x="267628" y="150645"/>
                </a:lnTo>
                <a:cubicBezTo>
                  <a:pt x="267076" y="148438"/>
                  <a:pt x="265145" y="146506"/>
                  <a:pt x="262662" y="146506"/>
                </a:cubicBezTo>
                <a:close/>
                <a:moveTo>
                  <a:pt x="155059" y="15175"/>
                </a:moveTo>
                <a:lnTo>
                  <a:pt x="137953" y="15175"/>
                </a:lnTo>
                <a:lnTo>
                  <a:pt x="137953" y="8829"/>
                </a:lnTo>
                <a:lnTo>
                  <a:pt x="155059" y="8829"/>
                </a:lnTo>
                <a:lnTo>
                  <a:pt x="155059" y="15175"/>
                </a:lnTo>
                <a:close/>
                <a:moveTo>
                  <a:pt x="232588" y="245557"/>
                </a:moveTo>
                <a:lnTo>
                  <a:pt x="34488" y="245557"/>
                </a:lnTo>
                <a:lnTo>
                  <a:pt x="34488" y="241143"/>
                </a:lnTo>
                <a:cubicBezTo>
                  <a:pt x="74770" y="241143"/>
                  <a:pt x="190374" y="241143"/>
                  <a:pt x="232588" y="241143"/>
                </a:cubicBezTo>
                <a:lnTo>
                  <a:pt x="232588" y="245557"/>
                </a:lnTo>
                <a:close/>
                <a:moveTo>
                  <a:pt x="101257" y="139885"/>
                </a:moveTo>
                <a:cubicBezTo>
                  <a:pt x="103740" y="139885"/>
                  <a:pt x="105672" y="137953"/>
                  <a:pt x="105672" y="135470"/>
                </a:cubicBezTo>
                <a:lnTo>
                  <a:pt x="105672" y="126917"/>
                </a:lnTo>
                <a:lnTo>
                  <a:pt x="161680" y="126917"/>
                </a:lnTo>
                <a:lnTo>
                  <a:pt x="161680" y="135470"/>
                </a:lnTo>
                <a:cubicBezTo>
                  <a:pt x="161680" y="137953"/>
                  <a:pt x="163612" y="139885"/>
                  <a:pt x="166095" y="139885"/>
                </a:cubicBezTo>
                <a:lnTo>
                  <a:pt x="170509" y="139885"/>
                </a:lnTo>
                <a:lnTo>
                  <a:pt x="170509" y="232313"/>
                </a:lnTo>
                <a:lnTo>
                  <a:pt x="159749" y="232313"/>
                </a:lnTo>
                <a:lnTo>
                  <a:pt x="159749" y="182374"/>
                </a:lnTo>
                <a:cubicBezTo>
                  <a:pt x="159749" y="169131"/>
                  <a:pt x="149265" y="156991"/>
                  <a:pt x="133814" y="156991"/>
                </a:cubicBezTo>
                <a:cubicBezTo>
                  <a:pt x="118639" y="156991"/>
                  <a:pt x="107879" y="168855"/>
                  <a:pt x="107879" y="182374"/>
                </a:cubicBezTo>
                <a:lnTo>
                  <a:pt x="107879" y="232313"/>
                </a:lnTo>
                <a:lnTo>
                  <a:pt x="97119" y="232313"/>
                </a:lnTo>
                <a:lnTo>
                  <a:pt x="97119" y="139885"/>
                </a:lnTo>
                <a:lnTo>
                  <a:pt x="101257" y="139885"/>
                </a:lnTo>
                <a:close/>
                <a:moveTo>
                  <a:pt x="150644" y="232589"/>
                </a:moveTo>
                <a:lnTo>
                  <a:pt x="116432" y="232589"/>
                </a:lnTo>
                <a:lnTo>
                  <a:pt x="116432" y="182374"/>
                </a:lnTo>
                <a:cubicBezTo>
                  <a:pt x="116432" y="173545"/>
                  <a:pt x="123330" y="165820"/>
                  <a:pt x="133538" y="165820"/>
                </a:cubicBezTo>
                <a:cubicBezTo>
                  <a:pt x="144022" y="165820"/>
                  <a:pt x="150644" y="173821"/>
                  <a:pt x="150644" y="182374"/>
                </a:cubicBezTo>
                <a:lnTo>
                  <a:pt x="150644" y="232589"/>
                </a:lnTo>
                <a:close/>
                <a:moveTo>
                  <a:pt x="195893" y="232589"/>
                </a:moveTo>
                <a:lnTo>
                  <a:pt x="178786" y="232589"/>
                </a:lnTo>
                <a:lnTo>
                  <a:pt x="178786" y="139885"/>
                </a:lnTo>
                <a:lnTo>
                  <a:pt x="195893" y="139885"/>
                </a:lnTo>
                <a:cubicBezTo>
                  <a:pt x="195893" y="178788"/>
                  <a:pt x="195893" y="169683"/>
                  <a:pt x="195893" y="232589"/>
                </a:cubicBezTo>
                <a:close/>
                <a:moveTo>
                  <a:pt x="204446" y="131332"/>
                </a:moveTo>
                <a:cubicBezTo>
                  <a:pt x="196996" y="131332"/>
                  <a:pt x="176855" y="131332"/>
                  <a:pt x="169957" y="131332"/>
                </a:cubicBezTo>
                <a:lnTo>
                  <a:pt x="169957" y="126917"/>
                </a:lnTo>
                <a:lnTo>
                  <a:pt x="204446" y="126917"/>
                </a:lnTo>
                <a:lnTo>
                  <a:pt x="204446" y="131332"/>
                </a:lnTo>
                <a:close/>
                <a:moveTo>
                  <a:pt x="124985" y="36696"/>
                </a:moveTo>
                <a:lnTo>
                  <a:pt x="142091" y="36696"/>
                </a:lnTo>
                <a:lnTo>
                  <a:pt x="142091" y="39455"/>
                </a:lnTo>
                <a:cubicBezTo>
                  <a:pt x="136021" y="38627"/>
                  <a:pt x="130779" y="38627"/>
                  <a:pt x="124985" y="39455"/>
                </a:cubicBezTo>
                <a:lnTo>
                  <a:pt x="124985" y="36696"/>
                </a:lnTo>
                <a:close/>
                <a:moveTo>
                  <a:pt x="133538" y="47456"/>
                </a:moveTo>
                <a:cubicBezTo>
                  <a:pt x="163888" y="47456"/>
                  <a:pt x="188443" y="72288"/>
                  <a:pt x="189823" y="103465"/>
                </a:cubicBezTo>
                <a:lnTo>
                  <a:pt x="75874" y="103465"/>
                </a:lnTo>
                <a:cubicBezTo>
                  <a:pt x="77253" y="72839"/>
                  <a:pt x="103188" y="47456"/>
                  <a:pt x="133538" y="47456"/>
                </a:cubicBezTo>
                <a:close/>
                <a:moveTo>
                  <a:pt x="56009" y="112018"/>
                </a:moveTo>
                <a:lnTo>
                  <a:pt x="211067" y="112018"/>
                </a:lnTo>
                <a:lnTo>
                  <a:pt x="211067" y="118364"/>
                </a:lnTo>
                <a:cubicBezTo>
                  <a:pt x="34764" y="118364"/>
                  <a:pt x="216585" y="118364"/>
                  <a:pt x="58216" y="118364"/>
                </a:cubicBezTo>
                <a:lnTo>
                  <a:pt x="56009" y="118364"/>
                </a:lnTo>
                <a:lnTo>
                  <a:pt x="56009" y="112018"/>
                </a:lnTo>
                <a:close/>
                <a:moveTo>
                  <a:pt x="96843" y="127193"/>
                </a:moveTo>
                <a:lnTo>
                  <a:pt x="96843" y="131608"/>
                </a:lnTo>
                <a:cubicBezTo>
                  <a:pt x="89393" y="131608"/>
                  <a:pt x="69252" y="131608"/>
                  <a:pt x="62355" y="131608"/>
                </a:cubicBezTo>
                <a:lnTo>
                  <a:pt x="62355" y="127193"/>
                </a:lnTo>
                <a:lnTo>
                  <a:pt x="96843" y="127193"/>
                </a:lnTo>
                <a:close/>
                <a:moveTo>
                  <a:pt x="88290" y="139885"/>
                </a:moveTo>
                <a:lnTo>
                  <a:pt x="88290" y="232313"/>
                </a:lnTo>
                <a:lnTo>
                  <a:pt x="71183" y="232313"/>
                </a:lnTo>
                <a:cubicBezTo>
                  <a:pt x="71183" y="145403"/>
                  <a:pt x="71183" y="241418"/>
                  <a:pt x="71183" y="139885"/>
                </a:cubicBezTo>
                <a:lnTo>
                  <a:pt x="88290" y="139885"/>
                </a:lnTo>
                <a:close/>
                <a:moveTo>
                  <a:pt x="8829" y="155060"/>
                </a:moveTo>
                <a:lnTo>
                  <a:pt x="62630" y="155060"/>
                </a:lnTo>
                <a:lnTo>
                  <a:pt x="62630" y="161405"/>
                </a:lnTo>
                <a:cubicBezTo>
                  <a:pt x="41386" y="161405"/>
                  <a:pt x="29798" y="161405"/>
                  <a:pt x="8829" y="161405"/>
                </a:cubicBezTo>
                <a:lnTo>
                  <a:pt x="8829" y="155060"/>
                </a:lnTo>
                <a:close/>
                <a:moveTo>
                  <a:pt x="62630" y="170234"/>
                </a:moveTo>
                <a:lnTo>
                  <a:pt x="62630" y="232589"/>
                </a:lnTo>
                <a:lnTo>
                  <a:pt x="30350" y="232589"/>
                </a:lnTo>
                <a:cubicBezTo>
                  <a:pt x="27866" y="232589"/>
                  <a:pt x="25935" y="234521"/>
                  <a:pt x="25935" y="237004"/>
                </a:cubicBezTo>
                <a:lnTo>
                  <a:pt x="25935" y="245557"/>
                </a:lnTo>
                <a:lnTo>
                  <a:pt x="17382" y="245557"/>
                </a:lnTo>
                <a:lnTo>
                  <a:pt x="17382" y="170234"/>
                </a:lnTo>
                <a:lnTo>
                  <a:pt x="62630" y="170234"/>
                </a:lnTo>
                <a:close/>
                <a:moveTo>
                  <a:pt x="249694" y="258249"/>
                </a:moveTo>
                <a:lnTo>
                  <a:pt x="17382" y="258249"/>
                </a:lnTo>
                <a:lnTo>
                  <a:pt x="17382" y="253834"/>
                </a:lnTo>
                <a:cubicBezTo>
                  <a:pt x="41110" y="253834"/>
                  <a:pt x="224863" y="253834"/>
                  <a:pt x="249694" y="253834"/>
                </a:cubicBezTo>
                <a:lnTo>
                  <a:pt x="249694" y="258249"/>
                </a:lnTo>
                <a:close/>
                <a:moveTo>
                  <a:pt x="249694" y="245557"/>
                </a:moveTo>
                <a:lnTo>
                  <a:pt x="241141" y="245557"/>
                </a:lnTo>
                <a:lnTo>
                  <a:pt x="241141" y="237004"/>
                </a:lnTo>
                <a:cubicBezTo>
                  <a:pt x="241141" y="234521"/>
                  <a:pt x="239210" y="232589"/>
                  <a:pt x="236727" y="232589"/>
                </a:cubicBezTo>
                <a:lnTo>
                  <a:pt x="204446" y="232589"/>
                </a:lnTo>
                <a:lnTo>
                  <a:pt x="204446" y="170234"/>
                </a:lnTo>
                <a:lnTo>
                  <a:pt x="249694" y="170234"/>
                </a:lnTo>
                <a:lnTo>
                  <a:pt x="249694" y="245557"/>
                </a:lnTo>
                <a:close/>
                <a:moveTo>
                  <a:pt x="258247" y="161405"/>
                </a:moveTo>
                <a:cubicBezTo>
                  <a:pt x="237278" y="161405"/>
                  <a:pt x="225690" y="161405"/>
                  <a:pt x="204446" y="161405"/>
                </a:cubicBezTo>
                <a:lnTo>
                  <a:pt x="204446" y="155060"/>
                </a:lnTo>
                <a:lnTo>
                  <a:pt x="258247" y="155060"/>
                </a:lnTo>
                <a:lnTo>
                  <a:pt x="258247" y="161405"/>
                </a:lnTo>
                <a:close/>
                <a:moveTo>
                  <a:pt x="28142" y="224036"/>
                </a:moveTo>
                <a:lnTo>
                  <a:pt x="51870" y="224036"/>
                </a:lnTo>
                <a:cubicBezTo>
                  <a:pt x="54353" y="224036"/>
                  <a:pt x="56285" y="222105"/>
                  <a:pt x="56285" y="219622"/>
                </a:cubicBezTo>
                <a:lnTo>
                  <a:pt x="56285" y="182926"/>
                </a:lnTo>
                <a:cubicBezTo>
                  <a:pt x="56285" y="180443"/>
                  <a:pt x="54353" y="178512"/>
                  <a:pt x="51870" y="178512"/>
                </a:cubicBezTo>
                <a:lnTo>
                  <a:pt x="28142" y="178512"/>
                </a:lnTo>
                <a:cubicBezTo>
                  <a:pt x="25659" y="178512"/>
                  <a:pt x="23728" y="180443"/>
                  <a:pt x="23728" y="182926"/>
                </a:cubicBezTo>
                <a:lnTo>
                  <a:pt x="23728" y="219622"/>
                </a:lnTo>
                <a:cubicBezTo>
                  <a:pt x="23728" y="222105"/>
                  <a:pt x="25659" y="224036"/>
                  <a:pt x="28142" y="224036"/>
                </a:cubicBezTo>
                <a:close/>
                <a:moveTo>
                  <a:pt x="32281" y="187341"/>
                </a:moveTo>
                <a:lnTo>
                  <a:pt x="47456" y="187341"/>
                </a:lnTo>
                <a:lnTo>
                  <a:pt x="47456" y="215207"/>
                </a:lnTo>
                <a:lnTo>
                  <a:pt x="32281" y="215207"/>
                </a:lnTo>
                <a:lnTo>
                  <a:pt x="32281" y="187341"/>
                </a:lnTo>
                <a:close/>
                <a:moveTo>
                  <a:pt x="215206" y="224036"/>
                </a:moveTo>
                <a:lnTo>
                  <a:pt x="238934" y="224036"/>
                </a:lnTo>
                <a:cubicBezTo>
                  <a:pt x="241417" y="224036"/>
                  <a:pt x="243348" y="222105"/>
                  <a:pt x="243348" y="219622"/>
                </a:cubicBezTo>
                <a:lnTo>
                  <a:pt x="243348" y="182926"/>
                </a:lnTo>
                <a:cubicBezTo>
                  <a:pt x="243348" y="180443"/>
                  <a:pt x="241417" y="178512"/>
                  <a:pt x="238934" y="178512"/>
                </a:cubicBezTo>
                <a:lnTo>
                  <a:pt x="215206" y="178512"/>
                </a:lnTo>
                <a:cubicBezTo>
                  <a:pt x="212723" y="178512"/>
                  <a:pt x="210791" y="180443"/>
                  <a:pt x="210791" y="182926"/>
                </a:cubicBezTo>
                <a:lnTo>
                  <a:pt x="210791" y="219622"/>
                </a:lnTo>
                <a:cubicBezTo>
                  <a:pt x="211067" y="222105"/>
                  <a:pt x="212999" y="224036"/>
                  <a:pt x="215206" y="224036"/>
                </a:cubicBezTo>
                <a:close/>
                <a:moveTo>
                  <a:pt x="219620" y="187341"/>
                </a:moveTo>
                <a:lnTo>
                  <a:pt x="234795" y="187341"/>
                </a:lnTo>
                <a:lnTo>
                  <a:pt x="234795" y="215207"/>
                </a:lnTo>
                <a:lnTo>
                  <a:pt x="219620" y="215207"/>
                </a:lnTo>
                <a:lnTo>
                  <a:pt x="219620" y="187341"/>
                </a:lnTo>
                <a:close/>
              </a:path>
            </a:pathLst>
          </a:custGeom>
          <a:solidFill>
            <a:schemeClr val="accent1">
              <a:lumMod val="75000"/>
            </a:schemeClr>
          </a:solidFill>
          <a:ln w="2667" cap="flat">
            <a:noFill/>
            <a:prstDash val="solid"/>
            <a:miter/>
          </a:ln>
        </p:spPr>
        <p:txBody>
          <a:bodyPr rtlCol="0" anchor="ctr"/>
          <a:lstStyle/>
          <a:p>
            <a:endParaRPr lang="en-GB"/>
          </a:p>
        </p:txBody>
      </p:sp>
      <p:sp>
        <p:nvSpPr>
          <p:cNvPr id="23" name="ZoneTexte 22">
            <a:extLst>
              <a:ext uri="{FF2B5EF4-FFF2-40B4-BE49-F238E27FC236}">
                <a16:creationId xmlns:a16="http://schemas.microsoft.com/office/drawing/2014/main" id="{D3E8F9F1-0E37-4620-9F03-9C3B7E05C421}"/>
              </a:ext>
            </a:extLst>
          </p:cNvPr>
          <p:cNvSpPr txBox="1"/>
          <p:nvPr/>
        </p:nvSpPr>
        <p:spPr>
          <a:xfrm>
            <a:off x="42279" y="1363401"/>
            <a:ext cx="1071038" cy="400110"/>
          </a:xfrm>
          <a:prstGeom prst="rect">
            <a:avLst/>
          </a:prstGeom>
          <a:noFill/>
          <a:effectLst/>
        </p:spPr>
        <p:txBody>
          <a:bodyPr wrap="square" rtlCol="0">
            <a:spAutoFit/>
          </a:bodyPr>
          <a:lstStyle/>
          <a:p>
            <a:pPr algn="ctr"/>
            <a:r>
              <a:rPr lang="en-GB" sz="1000" i="1">
                <a:latin typeface="Trebuchet MS" panose="020B0603020202020204" pitchFamily="34" charset="0"/>
              </a:rPr>
              <a:t>Client segmentation</a:t>
            </a:r>
          </a:p>
        </p:txBody>
      </p:sp>
      <p:sp>
        <p:nvSpPr>
          <p:cNvPr id="58" name="Rectangle 57">
            <a:extLst>
              <a:ext uri="{FF2B5EF4-FFF2-40B4-BE49-F238E27FC236}">
                <a16:creationId xmlns:a16="http://schemas.microsoft.com/office/drawing/2014/main" id="{E1D43088-65B8-4575-80F3-A6485C9FD2A5}"/>
              </a:ext>
            </a:extLst>
          </p:cNvPr>
          <p:cNvSpPr/>
          <p:nvPr/>
        </p:nvSpPr>
        <p:spPr bwMode="auto">
          <a:xfrm>
            <a:off x="5241481" y="4173448"/>
            <a:ext cx="2164672" cy="105338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indent="-171450">
              <a:lnSpc>
                <a:spcPts val="1100"/>
              </a:lnSpc>
              <a:buFont typeface="Arial" panose="020B0604020202020204" pitchFamily="34" charset="0"/>
              <a:buChar char="•"/>
            </a:pPr>
            <a:r>
              <a:rPr lang="en-GB" sz="1000">
                <a:latin typeface="Trebuchet MS" panose="020B0603020202020204" pitchFamily="34" charset="0"/>
              </a:rPr>
              <a:t>Only the </a:t>
            </a:r>
            <a:r>
              <a:rPr lang="en-GB" sz="1000">
                <a:solidFill>
                  <a:schemeClr val="tx2"/>
                </a:solidFill>
                <a:latin typeface="Trebuchet MS" panose="020B0603020202020204" pitchFamily="34" charset="0"/>
              </a:rPr>
              <a:t>top of the mid market </a:t>
            </a:r>
            <a:r>
              <a:rPr lang="en-GB" sz="1000">
                <a:latin typeface="Trebuchet MS" panose="020B0603020202020204" pitchFamily="34" charset="0"/>
              </a:rPr>
              <a:t>need compliance solutions issues since the regulatory constraints apply mainly to regulated markets and companies of a certain size and turnover (e.g. </a:t>
            </a:r>
            <a:r>
              <a:rPr lang="en-GB" sz="1000" err="1">
                <a:latin typeface="Trebuchet MS" panose="020B0603020202020204" pitchFamily="34" charset="0"/>
              </a:rPr>
              <a:t>Sapin</a:t>
            </a:r>
            <a:r>
              <a:rPr lang="en-GB" sz="1000">
                <a:latin typeface="Trebuchet MS" panose="020B0603020202020204" pitchFamily="34" charset="0"/>
              </a:rPr>
              <a:t> II Law)</a:t>
            </a:r>
          </a:p>
        </p:txBody>
      </p:sp>
      <p:sp>
        <p:nvSpPr>
          <p:cNvPr id="60" name="Rectangle 59">
            <a:extLst>
              <a:ext uri="{FF2B5EF4-FFF2-40B4-BE49-F238E27FC236}">
                <a16:creationId xmlns:a16="http://schemas.microsoft.com/office/drawing/2014/main" id="{68C9E84E-32B7-48D3-95A7-7DB52ACE1B7A}"/>
              </a:ext>
            </a:extLst>
          </p:cNvPr>
          <p:cNvSpPr/>
          <p:nvPr/>
        </p:nvSpPr>
        <p:spPr bwMode="auto">
          <a:xfrm>
            <a:off x="5241481" y="5329933"/>
            <a:ext cx="2164672" cy="105338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indent="-171450">
              <a:lnSpc>
                <a:spcPts val="1100"/>
              </a:lnSpc>
              <a:buFont typeface="Arial" panose="020B0604020202020204" pitchFamily="34" charset="0"/>
              <a:buChar char="•"/>
            </a:pPr>
            <a:r>
              <a:rPr lang="en-GB" sz="1000">
                <a:latin typeface="Trebuchet MS" panose="020B0603020202020204" pitchFamily="34" charset="0"/>
              </a:rPr>
              <a:t>Small companies are </a:t>
            </a:r>
            <a:r>
              <a:rPr lang="en-GB" sz="1000">
                <a:solidFill>
                  <a:schemeClr val="tx2"/>
                </a:solidFill>
                <a:latin typeface="Trebuchet MS" panose="020B0603020202020204" pitchFamily="34" charset="0"/>
              </a:rPr>
              <a:t>not subject to compliance </a:t>
            </a:r>
            <a:r>
              <a:rPr lang="en-GB" sz="1000">
                <a:latin typeface="Trebuchet MS" panose="020B0603020202020204" pitchFamily="34" charset="0"/>
              </a:rPr>
              <a:t>issues enforced by regulatory constraints</a:t>
            </a:r>
          </a:p>
        </p:txBody>
      </p:sp>
      <p:sp>
        <p:nvSpPr>
          <p:cNvPr id="24" name="Rectangle 23">
            <a:extLst>
              <a:ext uri="{FF2B5EF4-FFF2-40B4-BE49-F238E27FC236}">
                <a16:creationId xmlns:a16="http://schemas.microsoft.com/office/drawing/2014/main" id="{CE80B904-2442-49FE-8E06-16A75CC37559}"/>
              </a:ext>
            </a:extLst>
          </p:cNvPr>
          <p:cNvSpPr/>
          <p:nvPr/>
        </p:nvSpPr>
        <p:spPr bwMode="auto">
          <a:xfrm>
            <a:off x="2921131" y="1149650"/>
            <a:ext cx="2164672" cy="584825"/>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200" b="1">
              <a:solidFill>
                <a:schemeClr val="tx2"/>
              </a:solidFill>
              <a:latin typeface="Trebuchet MS" panose="020B0603020202020204" pitchFamily="34" charset="0"/>
            </a:endParaRPr>
          </a:p>
          <a:p>
            <a:pPr algn="ctr"/>
            <a:r>
              <a:rPr lang="en-GB" sz="1200" b="1">
                <a:solidFill>
                  <a:schemeClr val="tx2"/>
                </a:solidFill>
                <a:latin typeface="Trebuchet MS" panose="020B0603020202020204" pitchFamily="34" charset="0"/>
              </a:rPr>
              <a:t>Credit &amp; financial risk</a:t>
            </a:r>
          </a:p>
        </p:txBody>
      </p:sp>
      <p:sp>
        <p:nvSpPr>
          <p:cNvPr id="26" name="Rectangle 25">
            <a:extLst>
              <a:ext uri="{FF2B5EF4-FFF2-40B4-BE49-F238E27FC236}">
                <a16:creationId xmlns:a16="http://schemas.microsoft.com/office/drawing/2014/main" id="{2560CE49-3B43-4AF2-B029-E2D5072657FB}"/>
              </a:ext>
            </a:extLst>
          </p:cNvPr>
          <p:cNvSpPr/>
          <p:nvPr/>
        </p:nvSpPr>
        <p:spPr bwMode="auto">
          <a:xfrm>
            <a:off x="5241481" y="1149650"/>
            <a:ext cx="2164672" cy="584825"/>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200" b="1">
              <a:solidFill>
                <a:schemeClr val="tx2"/>
              </a:solidFill>
              <a:latin typeface="Trebuchet MS" pitchFamily="34" charset="0"/>
            </a:endParaRPr>
          </a:p>
          <a:p>
            <a:pPr algn="ctr"/>
            <a:r>
              <a:rPr lang="en-GB" sz="1200" b="1">
                <a:solidFill>
                  <a:schemeClr val="tx2"/>
                </a:solidFill>
                <a:latin typeface="Trebuchet MS" pitchFamily="34" charset="0"/>
              </a:rPr>
              <a:t>Compliance services</a:t>
            </a:r>
          </a:p>
        </p:txBody>
      </p:sp>
      <p:pic>
        <p:nvPicPr>
          <p:cNvPr id="11" name="Graphique 128" descr="Jauge">
            <a:extLst>
              <a:ext uri="{FF2B5EF4-FFF2-40B4-BE49-F238E27FC236}">
                <a16:creationId xmlns:a16="http://schemas.microsoft.com/office/drawing/2014/main" id="{3D895A1D-4FF4-43BC-A2A8-1FC67B25792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861321" y="1144880"/>
            <a:ext cx="284293" cy="264051"/>
          </a:xfrm>
          <a:prstGeom prst="rect">
            <a:avLst/>
          </a:prstGeom>
          <a:effectLst/>
        </p:spPr>
      </p:pic>
      <p:pic>
        <p:nvPicPr>
          <p:cNvPr id="13" name="Graphique 90" descr="Poignée de main">
            <a:extLst>
              <a:ext uri="{FF2B5EF4-FFF2-40B4-BE49-F238E27FC236}">
                <a16:creationId xmlns:a16="http://schemas.microsoft.com/office/drawing/2014/main" id="{FADD4B46-45EB-4D0D-B466-275BC737C8D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168748" y="1137606"/>
            <a:ext cx="310138" cy="347871"/>
          </a:xfrm>
          <a:prstGeom prst="rect">
            <a:avLst/>
          </a:prstGeom>
          <a:effectLst/>
        </p:spPr>
      </p:pic>
      <p:grpSp>
        <p:nvGrpSpPr>
          <p:cNvPr id="68" name="Groupe 67">
            <a:extLst>
              <a:ext uri="{FF2B5EF4-FFF2-40B4-BE49-F238E27FC236}">
                <a16:creationId xmlns:a16="http://schemas.microsoft.com/office/drawing/2014/main" id="{D18438CB-9235-46ED-A9A6-E66D1D1CC236}"/>
              </a:ext>
            </a:extLst>
          </p:cNvPr>
          <p:cNvGrpSpPr/>
          <p:nvPr/>
        </p:nvGrpSpPr>
        <p:grpSpPr>
          <a:xfrm>
            <a:off x="8448150" y="-11528"/>
            <a:ext cx="1435548" cy="588143"/>
            <a:chOff x="8448150" y="-11528"/>
            <a:chExt cx="1435548" cy="588143"/>
          </a:xfrm>
        </p:grpSpPr>
        <p:grpSp>
          <p:nvGrpSpPr>
            <p:cNvPr id="69" name="Groupe 68">
              <a:extLst>
                <a:ext uri="{FF2B5EF4-FFF2-40B4-BE49-F238E27FC236}">
                  <a16:creationId xmlns:a16="http://schemas.microsoft.com/office/drawing/2014/main" id="{48AD855E-AB84-4994-A919-E34E214433EA}"/>
                </a:ext>
              </a:extLst>
            </p:cNvPr>
            <p:cNvGrpSpPr/>
            <p:nvPr/>
          </p:nvGrpSpPr>
          <p:grpSpPr>
            <a:xfrm>
              <a:off x="8448150" y="-11528"/>
              <a:ext cx="1435548" cy="555653"/>
              <a:chOff x="8448150" y="-11528"/>
              <a:chExt cx="1435548" cy="555653"/>
            </a:xfrm>
          </p:grpSpPr>
          <p:sp>
            <p:nvSpPr>
              <p:cNvPr id="71" name="Rectangle : coins arrondis 199">
                <a:extLst>
                  <a:ext uri="{FF2B5EF4-FFF2-40B4-BE49-F238E27FC236}">
                    <a16:creationId xmlns:a16="http://schemas.microsoft.com/office/drawing/2014/main" id="{29081F67-E4A9-4812-9DA7-70D5084735CB}"/>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3" name="Rectangle : coins arrondis 200">
                <a:extLst>
                  <a:ext uri="{FF2B5EF4-FFF2-40B4-BE49-F238E27FC236}">
                    <a16:creationId xmlns:a16="http://schemas.microsoft.com/office/drawing/2014/main" id="{E7139C94-C4BE-4D39-82A3-9F2729837537}"/>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5" name="Rectangle : coins arrondis 201">
                <a:extLst>
                  <a:ext uri="{FF2B5EF4-FFF2-40B4-BE49-F238E27FC236}">
                    <a16:creationId xmlns:a16="http://schemas.microsoft.com/office/drawing/2014/main" id="{426B66D6-65C8-40FD-830C-C427118D6E56}"/>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7" name="ZoneTexte 18">
                <a:extLst>
                  <a:ext uri="{FF2B5EF4-FFF2-40B4-BE49-F238E27FC236}">
                    <a16:creationId xmlns:a16="http://schemas.microsoft.com/office/drawing/2014/main" id="{90A6287B-FA48-4AAF-BDD3-E49CC83CB4F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79" name="Graphique 128" descr="Jauge">
                <a:extLst>
                  <a:ext uri="{FF2B5EF4-FFF2-40B4-BE49-F238E27FC236}">
                    <a16:creationId xmlns:a16="http://schemas.microsoft.com/office/drawing/2014/main" id="{E2E26247-7084-407C-BADB-E2FF31BF1C38}"/>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553764" y="187516"/>
                <a:ext cx="234953" cy="218224"/>
              </a:xfrm>
              <a:prstGeom prst="rect">
                <a:avLst/>
              </a:prstGeom>
              <a:effectLst/>
            </p:spPr>
          </p:pic>
          <p:pic>
            <p:nvPicPr>
              <p:cNvPr id="80" name="Graphique 90" descr="Poignée de main">
                <a:extLst>
                  <a:ext uri="{FF2B5EF4-FFF2-40B4-BE49-F238E27FC236}">
                    <a16:creationId xmlns:a16="http://schemas.microsoft.com/office/drawing/2014/main" id="{58937B35-8ADD-4D6B-A157-9B7445963C6C}"/>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960868" y="152880"/>
                <a:ext cx="256313" cy="287496"/>
              </a:xfrm>
              <a:prstGeom prst="rect">
                <a:avLst/>
              </a:prstGeom>
              <a:effectLst/>
            </p:spPr>
          </p:pic>
          <p:pic>
            <p:nvPicPr>
              <p:cNvPr id="81" name="Graphique 74" descr="Mégaphone">
                <a:extLst>
                  <a:ext uri="{FF2B5EF4-FFF2-40B4-BE49-F238E27FC236}">
                    <a16:creationId xmlns:a16="http://schemas.microsoft.com/office/drawing/2014/main" id="{F196FFBD-6F13-44CC-A4B7-D5579DE27535}"/>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389331" y="181519"/>
                <a:ext cx="233011" cy="216420"/>
              </a:xfrm>
              <a:prstGeom prst="rect">
                <a:avLst/>
              </a:prstGeom>
              <a:effectLst/>
            </p:spPr>
          </p:pic>
          <p:pic>
            <p:nvPicPr>
              <p:cNvPr id="82" name="Picture 2" descr="Drapeau France">
                <a:extLst>
                  <a:ext uri="{FF2B5EF4-FFF2-40B4-BE49-F238E27FC236}">
                    <a16:creationId xmlns:a16="http://schemas.microsoft.com/office/drawing/2014/main" id="{04CCA536-79E8-4143-BAF7-9994A7804FC1}"/>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83" name="Picture 2" descr="5 ft x 3 ft 150 x 90 cm-DRAPEAU BELGE Belgique 100% Polyester ...">
                <a:extLst>
                  <a:ext uri="{FF2B5EF4-FFF2-40B4-BE49-F238E27FC236}">
                    <a16:creationId xmlns:a16="http://schemas.microsoft.com/office/drawing/2014/main" id="{A1E810F2-54E4-4CCE-9C7F-6F4339911AA5}"/>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84" name="Picture 2 - 1" descr="Drapeau des Pays-Bas — Wikipédia">
                <a:extLst>
                  <a:ext uri="{FF2B5EF4-FFF2-40B4-BE49-F238E27FC236}">
                    <a16:creationId xmlns:a16="http://schemas.microsoft.com/office/drawing/2014/main" id="{CAB4111F-26A8-432E-9F71-C023C6353B79}"/>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5" name="Picture 2 - 2" descr="Drapeau du Luxembourg">
                <a:extLst>
                  <a:ext uri="{FF2B5EF4-FFF2-40B4-BE49-F238E27FC236}">
                    <a16:creationId xmlns:a16="http://schemas.microsoft.com/office/drawing/2014/main" id="{BD131547-F50F-41B8-8025-01F57E1A8052}"/>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70" name="ZoneTexte 18">
              <a:extLst>
                <a:ext uri="{FF2B5EF4-FFF2-40B4-BE49-F238E27FC236}">
                  <a16:creationId xmlns:a16="http://schemas.microsoft.com/office/drawing/2014/main" id="{3FC2ADA9-87E4-4B0A-9CCE-CA80C1F5E0FA}"/>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ustomers’ use cases</a:t>
              </a:r>
            </a:p>
          </p:txBody>
        </p:sp>
      </p:grpSp>
    </p:spTree>
    <p:extLst>
      <p:ext uri="{BB962C8B-B14F-4D97-AF65-F5344CB8AC3E}">
        <p14:creationId xmlns:p14="http://schemas.microsoft.com/office/powerpoint/2010/main" val="729228182"/>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8D01A7F-CF9D-41E2-A69B-C4B89B777060}"/>
              </a:ext>
            </a:extLst>
          </p:cNvPr>
          <p:cNvSpPr>
            <a:spLocks noGrp="1"/>
          </p:cNvSpPr>
          <p:nvPr>
            <p:ph type="title"/>
          </p:nvPr>
        </p:nvSpPr>
        <p:spPr/>
        <p:txBody>
          <a:bodyPr/>
          <a:lstStyle/>
          <a:p>
            <a:r>
              <a:rPr lang="en-GB">
                <a:latin typeface="Trebuchet MS" panose="020B0603020202020204" pitchFamily="34" charset="0"/>
              </a:rPr>
              <a:t>DISCLAIMER</a:t>
            </a:r>
          </a:p>
        </p:txBody>
      </p:sp>
      <p:sp>
        <p:nvSpPr>
          <p:cNvPr id="10" name="Content Placeholder 9">
            <a:extLst>
              <a:ext uri="{FF2B5EF4-FFF2-40B4-BE49-F238E27FC236}">
                <a16:creationId xmlns:a16="http://schemas.microsoft.com/office/drawing/2014/main" id="{6E5DA166-B3B1-4EFB-8A60-B5F05F64A940}"/>
              </a:ext>
            </a:extLst>
          </p:cNvPr>
          <p:cNvSpPr>
            <a:spLocks noGrp="1"/>
          </p:cNvSpPr>
          <p:nvPr>
            <p:ph idx="1"/>
          </p:nvPr>
        </p:nvSpPr>
        <p:spPr>
          <a:xfrm>
            <a:off x="267973" y="1004128"/>
            <a:ext cx="9298721" cy="5436000"/>
          </a:xfrm>
        </p:spPr>
        <p:txBody>
          <a:bodyPr/>
          <a:lstStyle/>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In accordance with our agreement on our proposal dates as of July 20</a:t>
            </a:r>
            <a:r>
              <a:rPr lang="en-GB" sz="1300" baseline="30000">
                <a:latin typeface="Trebuchet MS" panose="020B0603020202020204" pitchFamily="34" charset="0"/>
              </a:rPr>
              <a:t>th</a:t>
            </a:r>
            <a:r>
              <a:rPr lang="en-GB" sz="1300">
                <a:latin typeface="Trebuchet MS" panose="020B0603020202020204" pitchFamily="34" charset="0"/>
              </a:rPr>
              <a:t>, 2020 (the “Agreement”) between </a:t>
            </a:r>
            <a:r>
              <a:rPr lang="en-GB" sz="1300" err="1">
                <a:latin typeface="Trebuchet MS" panose="020B0603020202020204" pitchFamily="34" charset="0"/>
              </a:rPr>
              <a:t>NewCo</a:t>
            </a:r>
            <a:r>
              <a:rPr lang="en-GB" sz="1300">
                <a:latin typeface="Trebuchet MS" panose="020B0603020202020204" pitchFamily="34" charset="0"/>
              </a:rPr>
              <a:t> </a:t>
            </a:r>
            <a:r>
              <a:rPr lang="en-GB" sz="1300" err="1">
                <a:latin typeface="Trebuchet MS" panose="020B0603020202020204" pitchFamily="34" charset="0"/>
              </a:rPr>
              <a:t>Altares</a:t>
            </a:r>
            <a:r>
              <a:rPr lang="en-GB" sz="1300">
                <a:latin typeface="Trebuchet MS" panose="020B0603020202020204" pitchFamily="34" charset="0"/>
              </a:rPr>
              <a:t> (the “customer”) and eleven Strategy Consultants (“eleven”), we attach our report related to the strategic vendor due diligence of </a:t>
            </a:r>
            <a:r>
              <a:rPr lang="en-GB" sz="1300" err="1">
                <a:latin typeface="Trebuchet MS" panose="020B0603020202020204" pitchFamily="34" charset="0"/>
              </a:rPr>
              <a:t>Altares</a:t>
            </a:r>
            <a:r>
              <a:rPr lang="en-GB" sz="1300">
                <a:latin typeface="Trebuchet MS" panose="020B0603020202020204" pitchFamily="34" charset="0"/>
              </a:rPr>
              <a:t>. </a:t>
            </a:r>
          </a:p>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This document is confidential. It has been prepared by eleven for the sole use of the parties to whom it is addressed. Eleven will accept no liability or responsibility to any person other than the customer and then only as referred to in the Agreement. Eleven does not provide legal, accounting or tax advice. customer is responsible for obtaining independent advice concerning these matters, which advice may affect the guidance given by eleven.</a:t>
            </a:r>
          </a:p>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The analyses and conclusions contained in this report were concluded within six-week period, concluded on October 1</a:t>
            </a:r>
            <a:r>
              <a:rPr lang="en-GB" sz="1300" baseline="30000">
                <a:latin typeface="Trebuchet MS" panose="020B0603020202020204" pitchFamily="34" charset="0"/>
              </a:rPr>
              <a:t>st</a:t>
            </a:r>
            <a:r>
              <a:rPr lang="en-GB" sz="1300">
                <a:latin typeface="Trebuchet MS" panose="020B0603020202020204" pitchFamily="34" charset="0"/>
              </a:rPr>
              <a:t>, 2020.</a:t>
            </a:r>
          </a:p>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The report is based upon information obtained from the customer and from other sources deemed to be reliable. Market analyses and projections represent eleven’s judgment, based upon data sources cited, and are subject to the validity of the assumptions noted herein. </a:t>
            </a:r>
          </a:p>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For purposes of the analyses presented in this report, eleven has relied upon, and considered accurate and complete data obtained from the customer and its advisers, publicly available information, interviews with customers, competitors of the Group as well as market experts. Eleven has not independently verified the completeness or accuracy of that data and assumes no responsibility for it. No representation or claim is made that the results projected will actually be achieved.</a:t>
            </a:r>
          </a:p>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It is expected that the recipient will conduct its own independent analysis. All estimates and projections contained in this report are based on data obtained from the sources cited and involve significant elements of subjective judgment and analysis, which may or may not be correct. </a:t>
            </a:r>
          </a:p>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Eleven has made no undertaking to update these materials after the dates cited in the Agreement. </a:t>
            </a:r>
          </a:p>
        </p:txBody>
      </p:sp>
    </p:spTree>
    <p:extLst>
      <p:ext uri="{BB962C8B-B14F-4D97-AF65-F5344CB8AC3E}">
        <p14:creationId xmlns:p14="http://schemas.microsoft.com/office/powerpoint/2010/main" val="942747949"/>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5" name="Connecteur droit 34">
            <a:extLst>
              <a:ext uri="{FF2B5EF4-FFF2-40B4-BE49-F238E27FC236}">
                <a16:creationId xmlns:a16="http://schemas.microsoft.com/office/drawing/2014/main" id="{E692E3EB-ABF5-4935-B88C-EE296BC6E969}"/>
              </a:ext>
            </a:extLst>
          </p:cNvPr>
          <p:cNvCxnSpPr>
            <a:cxnSpLocks/>
          </p:cNvCxnSpPr>
          <p:nvPr/>
        </p:nvCxnSpPr>
        <p:spPr bwMode="auto">
          <a:xfrm>
            <a:off x="183000" y="1106489"/>
            <a:ext cx="954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graphicFrame>
        <p:nvGraphicFramePr>
          <p:cNvPr id="8" name="Object 7" hidden="1">
            <a:extLst>
              <a:ext uri="{FF2B5EF4-FFF2-40B4-BE49-F238E27FC236}">
                <a16:creationId xmlns:a16="http://schemas.microsoft.com/office/drawing/2014/main" id="{A11799DB-A042-4E1E-8F9C-7A47B9CFE12A}"/>
              </a:ext>
            </a:extLst>
          </p:cNvPr>
          <p:cNvGraphicFramePr>
            <a:graphicFrameLocks noChangeAspect="1"/>
          </p:cNvGraphicFramePr>
          <p:nvPr>
            <p:custDataLst>
              <p:tags r:id="rId1"/>
            </p:custDataLst>
            <p:extLst>
              <p:ext uri="{D42A27DB-BD31-4B8C-83A1-F6EECF244321}">
                <p14:modId xmlns:p14="http://schemas.microsoft.com/office/powerpoint/2010/main" val="3805515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11799DB-A042-4E1E-8F9C-7A47B9CFE1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14CE8628-3F24-496F-AE92-A6ACC37B1610}"/>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 name="Titre 2">
            <a:extLst>
              <a:ext uri="{FF2B5EF4-FFF2-40B4-BE49-F238E27FC236}">
                <a16:creationId xmlns:a16="http://schemas.microsoft.com/office/drawing/2014/main" id="{8F058B6E-C761-47C9-BA8C-843DB87057BC}"/>
              </a:ext>
            </a:extLst>
          </p:cNvPr>
          <p:cNvSpPr>
            <a:spLocks noGrp="1"/>
          </p:cNvSpPr>
          <p:nvPr>
            <p:ph type="title"/>
          </p:nvPr>
        </p:nvSpPr>
        <p:spPr>
          <a:xfrm>
            <a:off x="165600" y="147600"/>
            <a:ext cx="8320584" cy="684000"/>
          </a:xfrm>
        </p:spPr>
        <p:txBody>
          <a:bodyPr/>
          <a:lstStyle/>
          <a:p>
            <a:r>
              <a:rPr lang="en-GB" spc="-10">
                <a:latin typeface="Trebuchet MS" panose="020B0603020202020204" pitchFamily="34" charset="0"/>
              </a:rPr>
              <a:t>The </a:t>
            </a:r>
            <a:r>
              <a:rPr lang="en-GB" spc="-10">
                <a:solidFill>
                  <a:schemeClr val="tx2"/>
                </a:solidFill>
                <a:latin typeface="Trebuchet MS" panose="020B0603020202020204" pitchFamily="34" charset="0"/>
              </a:rPr>
              <a:t>use cases on Credit &amp; financial fisk </a:t>
            </a:r>
            <a:r>
              <a:rPr lang="en-GB" spc="-10">
                <a:latin typeface="Trebuchet MS" panose="020B0603020202020204" pitchFamily="34" charset="0"/>
              </a:rPr>
              <a:t>depend on client type: </a:t>
            </a:r>
            <a:r>
              <a:rPr lang="en-GB" spc="-10">
                <a:solidFill>
                  <a:schemeClr val="tx2"/>
                </a:solidFill>
                <a:latin typeface="Trebuchet MS" panose="020B0603020202020204" pitchFamily="34" charset="0"/>
              </a:rPr>
              <a:t>largest</a:t>
            </a:r>
            <a:r>
              <a:rPr lang="en-GB" spc="-10">
                <a:latin typeface="Trebuchet MS" panose="020B0603020202020204" pitchFamily="34" charset="0"/>
              </a:rPr>
              <a:t> </a:t>
            </a:r>
            <a:r>
              <a:rPr lang="en-GB" spc="-10">
                <a:solidFill>
                  <a:schemeClr val="tx2"/>
                </a:solidFill>
                <a:latin typeface="Trebuchet MS" panose="020B0603020202020204" pitchFamily="34" charset="0"/>
              </a:rPr>
              <a:t>players</a:t>
            </a:r>
            <a:r>
              <a:rPr lang="en-GB" spc="-10">
                <a:latin typeface="Trebuchet MS" panose="020B0603020202020204" pitchFamily="34" charset="0"/>
              </a:rPr>
              <a:t> often use the data directly </a:t>
            </a:r>
            <a:r>
              <a:rPr lang="en-GB" spc="-10">
                <a:solidFill>
                  <a:schemeClr val="tx2"/>
                </a:solidFill>
                <a:latin typeface="Trebuchet MS" panose="020B0603020202020204" pitchFamily="34" charset="0"/>
              </a:rPr>
              <a:t>integrated</a:t>
            </a:r>
            <a:r>
              <a:rPr lang="en-GB" spc="-10">
                <a:latin typeface="Trebuchet MS" panose="020B0603020202020204" pitchFamily="34" charset="0"/>
              </a:rPr>
              <a:t> into their system, while service </a:t>
            </a:r>
            <a:r>
              <a:rPr lang="en-GB" spc="-10">
                <a:solidFill>
                  <a:schemeClr val="tx2"/>
                </a:solidFill>
                <a:latin typeface="Trebuchet MS" panose="020B0603020202020204" pitchFamily="34" charset="0"/>
              </a:rPr>
              <a:t>platform</a:t>
            </a:r>
            <a:r>
              <a:rPr lang="en-GB" spc="-10">
                <a:latin typeface="Trebuchet MS" panose="020B0603020202020204" pitchFamily="34" charset="0"/>
              </a:rPr>
              <a:t> better fit </a:t>
            </a:r>
            <a:r>
              <a:rPr lang="en-GB" spc="-10">
                <a:solidFill>
                  <a:schemeClr val="tx2"/>
                </a:solidFill>
                <a:latin typeface="Trebuchet MS" panose="020B0603020202020204" pitchFamily="34" charset="0"/>
              </a:rPr>
              <a:t>mid-</a:t>
            </a:r>
            <a:r>
              <a:rPr lang="en-GB" spc="-10">
                <a:latin typeface="Trebuchet MS" panose="020B0603020202020204" pitchFamily="34" charset="0"/>
              </a:rPr>
              <a:t> </a:t>
            </a:r>
            <a:r>
              <a:rPr lang="en-GB" spc="-10">
                <a:solidFill>
                  <a:schemeClr val="tx2"/>
                </a:solidFill>
                <a:latin typeface="Trebuchet MS" panose="020B0603020202020204" pitchFamily="34" charset="0"/>
              </a:rPr>
              <a:t>sized</a:t>
            </a:r>
            <a:r>
              <a:rPr lang="en-GB" spc="-10">
                <a:latin typeface="Trebuchet MS" panose="020B0603020202020204" pitchFamily="34" charset="0"/>
              </a:rPr>
              <a:t> and small companies</a:t>
            </a:r>
          </a:p>
        </p:txBody>
      </p:sp>
      <p:sp>
        <p:nvSpPr>
          <p:cNvPr id="4" name="Espace réservé du texte 3">
            <a:extLst>
              <a:ext uri="{FF2B5EF4-FFF2-40B4-BE49-F238E27FC236}">
                <a16:creationId xmlns:a16="http://schemas.microsoft.com/office/drawing/2014/main" id="{47079302-09A3-4309-A89A-C211108E4152}"/>
              </a:ext>
            </a:extLst>
          </p:cNvPr>
          <p:cNvSpPr>
            <a:spLocks noGrp="1"/>
          </p:cNvSpPr>
          <p:nvPr>
            <p:ph type="body" sz="quarter" idx="10"/>
          </p:nvPr>
        </p:nvSpPr>
        <p:spPr/>
        <p:txBody>
          <a:bodyPr/>
          <a:lstStyle/>
          <a:p>
            <a:r>
              <a:rPr lang="en-GB"/>
              <a:t>Sources: eleven research &amp; analysis, expert calls</a:t>
            </a:r>
          </a:p>
        </p:txBody>
      </p:sp>
      <p:sp>
        <p:nvSpPr>
          <p:cNvPr id="2" name="Flèche : pentagone 1">
            <a:extLst>
              <a:ext uri="{FF2B5EF4-FFF2-40B4-BE49-F238E27FC236}">
                <a16:creationId xmlns:a16="http://schemas.microsoft.com/office/drawing/2014/main" id="{0FA387D0-9623-4011-8547-7C5D98F981C8}"/>
              </a:ext>
            </a:extLst>
          </p:cNvPr>
          <p:cNvSpPr/>
          <p:nvPr/>
        </p:nvSpPr>
        <p:spPr bwMode="auto">
          <a:xfrm>
            <a:off x="911996" y="1316958"/>
            <a:ext cx="3027088" cy="422031"/>
          </a:xfrm>
          <a:prstGeom prst="homePlate">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57600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GB" sz="1000" b="1" cap="all">
                <a:solidFill>
                  <a:schemeClr val="accent1">
                    <a:lumMod val="75000"/>
                  </a:schemeClr>
                </a:solidFill>
                <a:latin typeface="Trebuchet MS" panose="020B0603020202020204" pitchFamily="34" charset="0"/>
              </a:rPr>
              <a:t>Initial situation</a:t>
            </a:r>
            <a:endParaRPr kumimoji="0" lang="en-GB" sz="1000" b="1" i="0" u="none" strike="noStrike" cap="all" normalizeH="0">
              <a:ln>
                <a:noFill/>
              </a:ln>
              <a:solidFill>
                <a:schemeClr val="accent1">
                  <a:lumMod val="75000"/>
                </a:schemeClr>
              </a:solidFill>
              <a:effectLst/>
              <a:latin typeface="Trebuchet MS" panose="020B0603020202020204" pitchFamily="34" charset="0"/>
            </a:endParaRPr>
          </a:p>
        </p:txBody>
      </p:sp>
      <p:sp>
        <p:nvSpPr>
          <p:cNvPr id="9" name="Flèche : chevron 8">
            <a:extLst>
              <a:ext uri="{FF2B5EF4-FFF2-40B4-BE49-F238E27FC236}">
                <a16:creationId xmlns:a16="http://schemas.microsoft.com/office/drawing/2014/main" id="{72DB412A-0FB9-4626-8FB6-68A3A75D4E61}"/>
              </a:ext>
            </a:extLst>
          </p:cNvPr>
          <p:cNvSpPr/>
          <p:nvPr/>
        </p:nvSpPr>
        <p:spPr bwMode="auto">
          <a:xfrm>
            <a:off x="6819343" y="1316958"/>
            <a:ext cx="2919564" cy="422031"/>
          </a:xfrm>
          <a:prstGeom prst="chevron">
            <a:avLst/>
          </a:prstGeom>
          <a:solidFill>
            <a:schemeClr val="accent1">
              <a:lumMod val="75000"/>
            </a:schemeClr>
          </a:solidFill>
          <a:ln w="9525" cap="flat" cmpd="sng" algn="ctr">
            <a:noFill/>
            <a:prstDash val="solid"/>
            <a:round/>
            <a:headEnd type="none" w="med" len="med"/>
            <a:tailEnd type="none" w="med" len="med"/>
          </a:ln>
          <a:effectLst/>
        </p:spPr>
        <p:txBody>
          <a:bodyPr vert="horz" wrap="square" lIns="57600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GB" sz="1000" b="1" cap="all">
                <a:solidFill>
                  <a:schemeClr val="bg1"/>
                </a:solidFill>
                <a:latin typeface="Trebuchet MS" panose="020B0603020202020204" pitchFamily="34" charset="0"/>
              </a:rPr>
              <a:t>Use of selected information solution</a:t>
            </a:r>
            <a:endParaRPr kumimoji="0" lang="en-GB" sz="1000" b="1" i="0" u="none" strike="noStrike" cap="all" normalizeH="0">
              <a:ln>
                <a:noFill/>
              </a:ln>
              <a:solidFill>
                <a:schemeClr val="bg1"/>
              </a:solidFill>
              <a:effectLst/>
              <a:latin typeface="Trebuchet MS" panose="020B0603020202020204" pitchFamily="34" charset="0"/>
            </a:endParaRPr>
          </a:p>
        </p:txBody>
      </p:sp>
      <p:sp>
        <p:nvSpPr>
          <p:cNvPr id="28" name="Flèche : chevron 27">
            <a:extLst>
              <a:ext uri="{FF2B5EF4-FFF2-40B4-BE49-F238E27FC236}">
                <a16:creationId xmlns:a16="http://schemas.microsoft.com/office/drawing/2014/main" id="{61BD83C4-B59F-4998-A193-6C713F365374}"/>
              </a:ext>
            </a:extLst>
          </p:cNvPr>
          <p:cNvSpPr/>
          <p:nvPr/>
        </p:nvSpPr>
        <p:spPr bwMode="auto">
          <a:xfrm>
            <a:off x="3863470" y="1316958"/>
            <a:ext cx="3027088" cy="422031"/>
          </a:xfrm>
          <a:prstGeom prst="chevron">
            <a:avLst/>
          </a:prstGeom>
          <a:solidFill>
            <a:srgbClr val="8ECEE6"/>
          </a:solidFill>
          <a:ln w="9525" cap="flat" cmpd="sng" algn="ctr">
            <a:noFill/>
            <a:prstDash val="solid"/>
            <a:round/>
            <a:headEnd type="none" w="med" len="med"/>
            <a:tailEnd type="none" w="med" len="med"/>
          </a:ln>
          <a:effectLst/>
        </p:spPr>
        <p:txBody>
          <a:bodyPr vert="horz" wrap="square" lIns="57600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GB" sz="1000" b="1" cap="all">
                <a:solidFill>
                  <a:schemeClr val="bg1"/>
                </a:solidFill>
                <a:latin typeface="Trebuchet MS" panose="020B0603020202020204" pitchFamily="34" charset="0"/>
              </a:rPr>
              <a:t>Involvement of a BD&amp;A player</a:t>
            </a:r>
            <a:endParaRPr kumimoji="0" lang="en-GB" sz="1000" b="1" i="0" u="none" strike="noStrike" cap="all" normalizeH="0">
              <a:ln>
                <a:noFill/>
              </a:ln>
              <a:solidFill>
                <a:schemeClr val="bg1"/>
              </a:solidFill>
              <a:effectLst/>
              <a:latin typeface="Trebuchet MS" panose="020B0603020202020204" pitchFamily="34" charset="0"/>
            </a:endParaRPr>
          </a:p>
        </p:txBody>
      </p:sp>
      <p:pic>
        <p:nvPicPr>
          <p:cNvPr id="44" name="Graphique 43">
            <a:extLst>
              <a:ext uri="{FF2B5EF4-FFF2-40B4-BE49-F238E27FC236}">
                <a16:creationId xmlns:a16="http://schemas.microsoft.com/office/drawing/2014/main" id="{9B20EEDA-B211-4914-9D18-CA20408859C9}"/>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23085" t="17595" r="21728" b="38390"/>
          <a:stretch/>
        </p:blipFill>
        <p:spPr>
          <a:xfrm>
            <a:off x="1046550" y="1393277"/>
            <a:ext cx="279388" cy="278599"/>
          </a:xfrm>
          <a:prstGeom prst="rect">
            <a:avLst/>
          </a:prstGeom>
          <a:effectLst/>
        </p:spPr>
      </p:pic>
      <p:pic>
        <p:nvPicPr>
          <p:cNvPr id="58" name="Graphique 57">
            <a:extLst>
              <a:ext uri="{FF2B5EF4-FFF2-40B4-BE49-F238E27FC236}">
                <a16:creationId xmlns:a16="http://schemas.microsoft.com/office/drawing/2014/main" id="{83990233-5C7D-4C8A-959A-D2A976B0928F}"/>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5204"/>
          <a:stretch/>
        </p:blipFill>
        <p:spPr>
          <a:xfrm>
            <a:off x="4214223" y="1391955"/>
            <a:ext cx="265334" cy="281241"/>
          </a:xfrm>
          <a:prstGeom prst="rect">
            <a:avLst/>
          </a:prstGeom>
          <a:effectLst/>
        </p:spPr>
      </p:pic>
      <p:pic>
        <p:nvPicPr>
          <p:cNvPr id="60" name="Graphique 59">
            <a:extLst>
              <a:ext uri="{FF2B5EF4-FFF2-40B4-BE49-F238E27FC236}">
                <a16:creationId xmlns:a16="http://schemas.microsoft.com/office/drawing/2014/main" id="{A5B3909D-AFB6-456A-B319-E85BB659259F}"/>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b="20329"/>
          <a:stretch/>
        </p:blipFill>
        <p:spPr>
          <a:xfrm>
            <a:off x="7165697" y="1402529"/>
            <a:ext cx="255295" cy="254245"/>
          </a:xfrm>
          <a:prstGeom prst="rect">
            <a:avLst/>
          </a:prstGeom>
          <a:effectLst/>
        </p:spPr>
      </p:pic>
      <p:sp>
        <p:nvSpPr>
          <p:cNvPr id="62" name="ZoneTexte 61">
            <a:extLst>
              <a:ext uri="{FF2B5EF4-FFF2-40B4-BE49-F238E27FC236}">
                <a16:creationId xmlns:a16="http://schemas.microsoft.com/office/drawing/2014/main" id="{DE18D103-BF3E-4187-AF51-6B676ECC01A3}"/>
              </a:ext>
            </a:extLst>
          </p:cNvPr>
          <p:cNvSpPr txBox="1"/>
          <p:nvPr/>
        </p:nvSpPr>
        <p:spPr>
          <a:xfrm>
            <a:off x="-78144" y="1485886"/>
            <a:ext cx="1071038" cy="400110"/>
          </a:xfrm>
          <a:prstGeom prst="rect">
            <a:avLst/>
          </a:prstGeom>
          <a:noFill/>
          <a:effectLst/>
        </p:spPr>
        <p:txBody>
          <a:bodyPr wrap="square" rtlCol="0">
            <a:spAutoFit/>
          </a:bodyPr>
          <a:lstStyle/>
          <a:p>
            <a:pPr algn="ctr"/>
            <a:r>
              <a:rPr lang="en-GB" sz="1000" i="1">
                <a:latin typeface="Trebuchet MS" panose="020B0603020202020204" pitchFamily="34" charset="0"/>
              </a:rPr>
              <a:t>Client segmentation</a:t>
            </a:r>
          </a:p>
        </p:txBody>
      </p:sp>
      <p:sp>
        <p:nvSpPr>
          <p:cNvPr id="14" name="Rectangle 13">
            <a:extLst>
              <a:ext uri="{FF2B5EF4-FFF2-40B4-BE49-F238E27FC236}">
                <a16:creationId xmlns:a16="http://schemas.microsoft.com/office/drawing/2014/main" id="{BCFEC850-E48E-48C2-BFA5-D0FB6DB45241}"/>
              </a:ext>
            </a:extLst>
          </p:cNvPr>
          <p:cNvSpPr/>
          <p:nvPr/>
        </p:nvSpPr>
        <p:spPr bwMode="auto">
          <a:xfrm>
            <a:off x="911996" y="1870961"/>
            <a:ext cx="2788603" cy="104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R="0" defTabSz="914400" rtl="0" eaLnBrk="1" fontAlgn="base" latinLnBrk="0" hangingPunct="1">
              <a:lnSpc>
                <a:spcPts val="1100"/>
              </a:lnSpc>
              <a:spcBef>
                <a:spcPct val="0"/>
              </a:spcBef>
              <a:spcAft>
                <a:spcPct val="0"/>
              </a:spcAft>
              <a:buClrTx/>
              <a:buSzTx/>
              <a:tabLst/>
            </a:pPr>
            <a:r>
              <a:rPr lang="en-GB" sz="1000">
                <a:latin typeface="Trebuchet MS" panose="020B0603020202020204" pitchFamily="34" charset="0"/>
              </a:rPr>
              <a:t>The</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financial director </a:t>
            </a:r>
            <a:r>
              <a:rPr kumimoji="0" lang="en-GB" sz="1000" b="0" i="0" u="none" strike="noStrike" cap="none" normalizeH="0" baseline="0">
                <a:ln>
                  <a:noFill/>
                </a:ln>
                <a:solidFill>
                  <a:schemeClr val="tx1"/>
                </a:solidFill>
                <a:effectLst/>
                <a:latin typeface="Trebuchet MS" panose="020B0603020202020204" pitchFamily="34" charset="0"/>
              </a:rPr>
              <a:t>of a top French </a:t>
            </a:r>
            <a:r>
              <a:rPr kumimoji="0" lang="en-GB" sz="1000" b="0" i="0" u="none" strike="noStrike" cap="none" normalizeH="0" baseline="0">
                <a:ln>
                  <a:noFill/>
                </a:ln>
                <a:solidFill>
                  <a:schemeClr val="tx2"/>
                </a:solidFill>
                <a:effectLst/>
                <a:latin typeface="Trebuchet MS" panose="020B0603020202020204" pitchFamily="34" charset="0"/>
              </a:rPr>
              <a:t>bank </a:t>
            </a:r>
            <a:r>
              <a:rPr kumimoji="0" lang="en-GB" sz="1000" b="0" i="0" u="none" strike="noStrike" cap="none" normalizeH="0" baseline="0">
                <a:ln>
                  <a:noFill/>
                </a:ln>
                <a:solidFill>
                  <a:schemeClr val="tx1"/>
                </a:solidFill>
                <a:effectLst/>
                <a:latin typeface="Trebuchet MS" panose="020B0603020202020204" pitchFamily="34" charset="0"/>
              </a:rPr>
              <a:t>needs to </a:t>
            </a:r>
            <a:r>
              <a:rPr kumimoji="0" lang="en-GB" sz="1000" b="0" i="0" u="none" strike="noStrike" cap="none" normalizeH="0" baseline="0">
                <a:ln>
                  <a:noFill/>
                </a:ln>
                <a:solidFill>
                  <a:schemeClr val="tx2"/>
                </a:solidFill>
                <a:effectLst/>
                <a:latin typeface="Trebuchet MS" panose="020B0603020202020204" pitchFamily="34" charset="0"/>
              </a:rPr>
              <a:t>improve</a:t>
            </a:r>
            <a:r>
              <a:rPr kumimoji="0" lang="en-GB" sz="1000" b="0" i="0" u="none" strike="noStrike" cap="none" normalizeH="0" baseline="0">
                <a:ln>
                  <a:noFill/>
                </a:ln>
                <a:solidFill>
                  <a:schemeClr val="tx1"/>
                </a:solidFill>
                <a:effectLst/>
                <a:latin typeface="Trebuchet MS" panose="020B0603020202020204" pitchFamily="34" charset="0"/>
              </a:rPr>
              <a:t> </a:t>
            </a:r>
            <a:r>
              <a:rPr lang="en-GB" sz="1000">
                <a:latin typeface="Trebuchet MS" panose="020B0603020202020204" pitchFamily="34" charset="0"/>
              </a:rPr>
              <a:t>its </a:t>
            </a:r>
            <a:r>
              <a:rPr lang="en-GB" sz="1000">
                <a:solidFill>
                  <a:schemeClr val="tx2"/>
                </a:solidFill>
                <a:latin typeface="Trebuchet MS" panose="020B0603020202020204" pitchFamily="34" charset="0"/>
              </a:rPr>
              <a:t>cash</a:t>
            </a:r>
            <a:r>
              <a:rPr lang="en-GB" sz="1000">
                <a:latin typeface="Trebuchet MS" panose="020B0603020202020204" pitchFamily="34" charset="0"/>
              </a:rPr>
              <a:t> </a:t>
            </a:r>
            <a:r>
              <a:rPr lang="en-GB" sz="1000">
                <a:solidFill>
                  <a:schemeClr val="tx2"/>
                </a:solidFill>
                <a:latin typeface="Trebuchet MS" panose="020B0603020202020204" pitchFamily="34" charset="0"/>
              </a:rPr>
              <a:t>management</a:t>
            </a:r>
            <a:r>
              <a:rPr lang="en-GB" sz="1000">
                <a:latin typeface="Trebuchet MS" panose="020B0603020202020204" pitchFamily="34" charset="0"/>
              </a:rPr>
              <a:t> and reduce</a:t>
            </a:r>
            <a:r>
              <a:rPr kumimoji="0" lang="en-GB" sz="1000" b="0" i="0" u="none" strike="noStrike" cap="none" normalizeH="0" baseline="0">
                <a:ln>
                  <a:noFill/>
                </a:ln>
                <a:solidFill>
                  <a:schemeClr val="tx1"/>
                </a:solidFill>
                <a:effectLst/>
                <a:latin typeface="Trebuchet MS" panose="020B0603020202020204" pitchFamily="34" charset="0"/>
              </a:rPr>
              <a:t> its </a:t>
            </a:r>
            <a:r>
              <a:rPr kumimoji="0" lang="en-GB" sz="1000" b="0" i="0" u="none" strike="noStrike" cap="none" normalizeH="0" baseline="0">
                <a:ln>
                  <a:noFill/>
                </a:ln>
                <a:solidFill>
                  <a:schemeClr val="tx2"/>
                </a:solidFill>
                <a:effectLst/>
                <a:latin typeface="Trebuchet MS" panose="020B0603020202020204" pitchFamily="34" charset="0"/>
              </a:rPr>
              <a:t>WRC needs</a:t>
            </a:r>
          </a:p>
        </p:txBody>
      </p:sp>
      <p:sp>
        <p:nvSpPr>
          <p:cNvPr id="24" name="Rectangle 23">
            <a:extLst>
              <a:ext uri="{FF2B5EF4-FFF2-40B4-BE49-F238E27FC236}">
                <a16:creationId xmlns:a16="http://schemas.microsoft.com/office/drawing/2014/main" id="{EC237594-AD3D-454F-81E3-8E85A2348146}"/>
              </a:ext>
            </a:extLst>
          </p:cNvPr>
          <p:cNvSpPr/>
          <p:nvPr/>
        </p:nvSpPr>
        <p:spPr bwMode="auto">
          <a:xfrm>
            <a:off x="3863470" y="1870961"/>
            <a:ext cx="2788603" cy="104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71450" marR="0" indent="-171450" defTabSz="914400" rtl="0" eaLnBrk="1" fontAlgn="base" latinLnBrk="0" hangingPunct="1">
              <a:lnSpc>
                <a:spcPts val="1100"/>
              </a:lnSpc>
              <a:spcBef>
                <a:spcPts val="600"/>
              </a:spcBef>
              <a:spcAft>
                <a:spcPct val="0"/>
              </a:spcAft>
              <a:buClrTx/>
              <a:buSzTx/>
              <a:buFont typeface="Arial" panose="020B0604020202020204" pitchFamily="34" charset="0"/>
              <a:buChar char="•"/>
              <a:tabLst/>
            </a:pPr>
            <a:r>
              <a:rPr lang="en-GB" sz="1000">
                <a:latin typeface="Trebuchet MS" panose="020B0603020202020204" pitchFamily="34" charset="0"/>
              </a:rPr>
              <a:t>The</a:t>
            </a:r>
            <a:r>
              <a:rPr kumimoji="0" lang="en-GB" sz="1000" b="0" i="0" u="none" strike="noStrike" cap="none" normalizeH="0" baseline="0">
                <a:ln>
                  <a:noFill/>
                </a:ln>
                <a:solidFill>
                  <a:schemeClr val="tx1"/>
                </a:solidFill>
                <a:effectLst/>
                <a:latin typeface="Trebuchet MS" panose="020B0603020202020204" pitchFamily="34" charset="0"/>
              </a:rPr>
              <a:t> financial director launches a </a:t>
            </a:r>
            <a:r>
              <a:rPr kumimoji="0" lang="en-GB" sz="1000" b="0" i="0" u="none" strike="noStrike" cap="none" normalizeH="0" baseline="0">
                <a:ln>
                  <a:noFill/>
                </a:ln>
                <a:solidFill>
                  <a:schemeClr val="tx2"/>
                </a:solidFill>
                <a:effectLst/>
                <a:latin typeface="Trebuchet MS" panose="020B0603020202020204" pitchFamily="34" charset="0"/>
              </a:rPr>
              <a:t>restricted tender</a:t>
            </a:r>
            <a:r>
              <a:rPr kumimoji="0" lang="en-GB" sz="1000" b="0" i="0" u="none" strike="noStrike" cap="none" normalizeH="0" baseline="0">
                <a:ln>
                  <a:noFill/>
                </a:ln>
                <a:solidFill>
                  <a:schemeClr val="tx1"/>
                </a:solidFill>
                <a:effectLst/>
                <a:latin typeface="Trebuchet MS" panose="020B0603020202020204" pitchFamily="34" charset="0"/>
              </a:rPr>
              <a:t> towards recognized Credit risk information players (e.g. </a:t>
            </a:r>
            <a:r>
              <a:rPr kumimoji="0" lang="en-GB" sz="1000" b="0" i="0" u="none" strike="noStrike" cap="none" normalizeH="0" baseline="0" err="1">
                <a:ln>
                  <a:noFill/>
                </a:ln>
                <a:solidFill>
                  <a:schemeClr val="tx1"/>
                </a:solidFill>
                <a:effectLst/>
                <a:latin typeface="Trebuchet MS" panose="020B0603020202020204" pitchFamily="34" charset="0"/>
              </a:rPr>
              <a:t>Altares</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err="1">
                <a:ln>
                  <a:noFill/>
                </a:ln>
                <a:solidFill>
                  <a:schemeClr val="tx1"/>
                </a:solidFill>
                <a:effectLst/>
                <a:latin typeface="Trebuchet MS" panose="020B0603020202020204" pitchFamily="34" charset="0"/>
              </a:rPr>
              <a:t>BvD</a:t>
            </a:r>
            <a:r>
              <a:rPr kumimoji="0" lang="en-GB" sz="1000" b="0" i="0" u="none" strike="noStrike" cap="none" normalizeH="0" baseline="0">
                <a:ln>
                  <a:noFill/>
                </a:ln>
                <a:solidFill>
                  <a:schemeClr val="tx1"/>
                </a:solidFill>
                <a:effectLst/>
                <a:latin typeface="Trebuchet MS" panose="020B0603020202020204" pitchFamily="34" charset="0"/>
              </a:rPr>
              <a:t> and </a:t>
            </a:r>
            <a:r>
              <a:rPr kumimoji="0" lang="en-GB" sz="1000" b="0" i="0" u="none" strike="noStrike" cap="none" normalizeH="0" baseline="0" err="1">
                <a:ln>
                  <a:noFill/>
                </a:ln>
                <a:solidFill>
                  <a:schemeClr val="tx1"/>
                </a:solidFill>
                <a:effectLst/>
                <a:latin typeface="Trebuchet MS" panose="020B0603020202020204" pitchFamily="34" charset="0"/>
              </a:rPr>
              <a:t>Creditsafe</a:t>
            </a:r>
            <a:r>
              <a:rPr kumimoji="0" lang="en-GB" sz="1000" b="0" i="0" u="none" strike="noStrike" cap="none" normalizeH="0" baseline="0">
                <a:ln>
                  <a:noFill/>
                </a:ln>
                <a:solidFill>
                  <a:schemeClr val="tx1"/>
                </a:solidFill>
                <a:effectLst/>
                <a:latin typeface="Trebuchet MS" panose="020B0603020202020204" pitchFamily="34" charset="0"/>
              </a:rPr>
              <a:t>)</a:t>
            </a:r>
          </a:p>
          <a:p>
            <a:pPr marL="171450" marR="0" indent="-171450" defTabSz="914400" rtl="0" eaLnBrk="1" fontAlgn="base" latinLnBrk="0" hangingPunct="1">
              <a:lnSpc>
                <a:spcPts val="1100"/>
              </a:lnSpc>
              <a:spcBef>
                <a:spcPts val="600"/>
              </a:spcBef>
              <a:spcAft>
                <a:spcPct val="0"/>
              </a:spcAft>
              <a:buClrTx/>
              <a:buSzTx/>
              <a:buFont typeface="Arial" panose="020B0604020202020204" pitchFamily="34" charset="0"/>
              <a:buChar char="•"/>
              <a:tabLst/>
            </a:pPr>
            <a:r>
              <a:rPr kumimoji="0" lang="en-GB" sz="1000" b="0" i="0" u="none" strike="noStrike" cap="none" normalizeH="0" baseline="0">
                <a:ln>
                  <a:noFill/>
                </a:ln>
                <a:solidFill>
                  <a:schemeClr val="tx1"/>
                </a:solidFill>
                <a:effectLst/>
                <a:latin typeface="Trebuchet MS" panose="020B0603020202020204" pitchFamily="34" charset="0"/>
              </a:rPr>
              <a:t>They select the offer of the player that can provide </a:t>
            </a:r>
            <a:r>
              <a:rPr lang="en-GB" sz="1000">
                <a:latin typeface="Trebuchet MS" panose="020B0603020202020204" pitchFamily="34" charset="0"/>
              </a:rPr>
              <a:t>them</a:t>
            </a:r>
            <a:r>
              <a:rPr kumimoji="0" lang="en-GB" sz="1000" b="0" i="0" u="none" strike="noStrike" cap="none" normalizeH="0" baseline="0">
                <a:ln>
                  <a:noFill/>
                </a:ln>
                <a:solidFill>
                  <a:schemeClr val="tx1"/>
                </a:solidFill>
                <a:effectLst/>
                <a:latin typeface="Trebuchet MS" panose="020B0603020202020204" pitchFamily="34" charset="0"/>
              </a:rPr>
              <a:t> with the best data, in terms of </a:t>
            </a:r>
            <a:r>
              <a:rPr kumimoji="0" lang="en-GB" sz="1000" b="0" i="0" u="none" strike="noStrike" cap="none" normalizeH="0" baseline="0">
                <a:ln>
                  <a:noFill/>
                </a:ln>
                <a:solidFill>
                  <a:schemeClr val="tx2"/>
                </a:solidFill>
                <a:effectLst/>
                <a:latin typeface="Trebuchet MS" panose="020B0603020202020204" pitchFamily="34" charset="0"/>
              </a:rPr>
              <a:t>reliability, volume and uniqueness</a:t>
            </a:r>
          </a:p>
        </p:txBody>
      </p:sp>
      <p:sp>
        <p:nvSpPr>
          <p:cNvPr id="29" name="Rectangle 28">
            <a:extLst>
              <a:ext uri="{FF2B5EF4-FFF2-40B4-BE49-F238E27FC236}">
                <a16:creationId xmlns:a16="http://schemas.microsoft.com/office/drawing/2014/main" id="{060247D5-41EE-4E1C-8AF2-2F76988F75C8}"/>
              </a:ext>
            </a:extLst>
          </p:cNvPr>
          <p:cNvSpPr/>
          <p:nvPr/>
        </p:nvSpPr>
        <p:spPr bwMode="auto">
          <a:xfrm>
            <a:off x="6814943" y="1870961"/>
            <a:ext cx="2788603" cy="104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71450" marR="0" indent="-171450" defTabSz="914400" rtl="0" eaLnBrk="1" fontAlgn="base" latinLnBrk="0" hangingPunct="1">
              <a:lnSpc>
                <a:spcPts val="1100"/>
              </a:lnSpc>
              <a:spcBef>
                <a:spcPct val="0"/>
              </a:spcBef>
              <a:spcAft>
                <a:spcPct val="0"/>
              </a:spcAft>
              <a:buClrTx/>
              <a:buSzTx/>
              <a:buFont typeface="Arial" panose="020B0604020202020204" pitchFamily="34" charset="0"/>
              <a:buChar char="•"/>
              <a:tabLst/>
            </a:pPr>
            <a:r>
              <a:rPr lang="en-GB" sz="1000">
                <a:latin typeface="Trebuchet MS" panose="020B0603020202020204" pitchFamily="34" charset="0"/>
              </a:rPr>
              <a:t>The financial director uses the credit information service as </a:t>
            </a:r>
            <a:r>
              <a:rPr lang="en-GB" sz="1000">
                <a:solidFill>
                  <a:schemeClr val="tx2"/>
                </a:solidFill>
                <a:latin typeface="Trebuchet MS" panose="020B0603020202020204" pitchFamily="34" charset="0"/>
              </a:rPr>
              <a:t>a database to arbitrate their resource allocation</a:t>
            </a:r>
            <a:r>
              <a:rPr lang="en-GB" sz="1000">
                <a:solidFill>
                  <a:schemeClr val="tx1">
                    <a:lumMod val="50000"/>
                  </a:schemeClr>
                </a:solidFill>
                <a:latin typeface="Trebuchet MS" panose="020B0603020202020204" pitchFamily="34" charset="0"/>
              </a:rPr>
              <a:t>, </a:t>
            </a:r>
            <a:r>
              <a:rPr lang="en-GB" sz="1000">
                <a:latin typeface="Trebuchet MS" panose="020B0603020202020204" pitchFamily="34" charset="0"/>
              </a:rPr>
              <a:t>regarding the clients’ risk profiles</a:t>
            </a:r>
          </a:p>
          <a:p>
            <a:pPr marL="171450" marR="0" indent="-171450" defTabSz="914400" rtl="0" eaLnBrk="1" fontAlgn="base" latinLnBrk="0" hangingPunct="1">
              <a:lnSpc>
                <a:spcPts val="1100"/>
              </a:lnSpc>
              <a:spcBef>
                <a:spcPct val="0"/>
              </a:spcBef>
              <a:spcAft>
                <a:spcPct val="0"/>
              </a:spcAft>
              <a:buClrTx/>
              <a:buSzTx/>
              <a:buFont typeface="Arial" panose="020B0604020202020204" pitchFamily="34" charset="0"/>
              <a:buChar char="•"/>
              <a:tabLst/>
            </a:pPr>
            <a:r>
              <a:rPr lang="en-GB" sz="1000">
                <a:latin typeface="Trebuchet MS" panose="020B0603020202020204" pitchFamily="34" charset="0"/>
              </a:rPr>
              <a:t>The database is directly integrated into the bank’s booking tools and </a:t>
            </a:r>
            <a:r>
              <a:rPr lang="en-GB" sz="1000">
                <a:solidFill>
                  <a:schemeClr val="tx2"/>
                </a:solidFill>
                <a:latin typeface="Trebuchet MS" panose="020B0603020202020204" pitchFamily="34" charset="0"/>
              </a:rPr>
              <a:t>ERP</a:t>
            </a:r>
            <a:r>
              <a:rPr lang="en-GB" sz="1000">
                <a:latin typeface="Trebuchet MS" panose="020B0603020202020204" pitchFamily="34" charset="0"/>
              </a:rPr>
              <a:t> (using its own risk scoring algorithms)</a:t>
            </a:r>
            <a:endParaRPr lang="en-GB" sz="1000">
              <a:solidFill>
                <a:schemeClr val="tx2"/>
              </a:solidFill>
              <a:latin typeface="Trebuchet MS" panose="020B0603020202020204" pitchFamily="34" charset="0"/>
            </a:endParaRPr>
          </a:p>
        </p:txBody>
      </p:sp>
      <p:sp>
        <p:nvSpPr>
          <p:cNvPr id="22" name="Rectangle 21">
            <a:extLst>
              <a:ext uri="{FF2B5EF4-FFF2-40B4-BE49-F238E27FC236}">
                <a16:creationId xmlns:a16="http://schemas.microsoft.com/office/drawing/2014/main" id="{A01C38A5-26A3-4F28-9B86-C55EAC05D182}"/>
              </a:ext>
            </a:extLst>
          </p:cNvPr>
          <p:cNvSpPr/>
          <p:nvPr/>
        </p:nvSpPr>
        <p:spPr bwMode="auto">
          <a:xfrm>
            <a:off x="911996" y="4215263"/>
            <a:ext cx="2788603" cy="104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R="0" defTabSz="914400" rtl="0" eaLnBrk="1" fontAlgn="base" latinLnBrk="0" hangingPunct="1">
              <a:lnSpc>
                <a:spcPts val="1100"/>
              </a:lnSpc>
              <a:spcBef>
                <a:spcPct val="0"/>
              </a:spcBef>
              <a:spcAft>
                <a:spcPct val="0"/>
              </a:spcAft>
              <a:buClrTx/>
              <a:buSzTx/>
              <a:tabLst/>
            </a:pPr>
            <a:r>
              <a:rPr lang="en-GB" sz="1000">
                <a:latin typeface="Trebuchet MS" panose="020B0603020202020204" pitchFamily="34" charset="0"/>
              </a:rPr>
              <a:t>The commercial director of a €100m-revenue company in the construction sector needs to </a:t>
            </a:r>
            <a:r>
              <a:rPr lang="en-GB" sz="1000">
                <a:solidFill>
                  <a:schemeClr val="tx2"/>
                </a:solidFill>
                <a:latin typeface="Trebuchet MS" panose="020B0603020202020204" pitchFamily="34" charset="0"/>
              </a:rPr>
              <a:t>assess the reliability of new suppliers</a:t>
            </a: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25" name="Rectangle 24">
            <a:extLst>
              <a:ext uri="{FF2B5EF4-FFF2-40B4-BE49-F238E27FC236}">
                <a16:creationId xmlns:a16="http://schemas.microsoft.com/office/drawing/2014/main" id="{F6363530-702C-4B11-956C-D997289455DE}"/>
              </a:ext>
            </a:extLst>
          </p:cNvPr>
          <p:cNvSpPr/>
          <p:nvPr/>
        </p:nvSpPr>
        <p:spPr bwMode="auto">
          <a:xfrm>
            <a:off x="3863470" y="4215263"/>
            <a:ext cx="2788603" cy="104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71450" marR="0" indent="-171450" defTabSz="914400" rtl="0" eaLnBrk="1" fontAlgn="base" latinLnBrk="0" hangingPunct="1">
              <a:lnSpc>
                <a:spcPts val="1100"/>
              </a:lnSpc>
              <a:spcBef>
                <a:spcPts val="600"/>
              </a:spcBef>
              <a:spcAft>
                <a:spcPct val="0"/>
              </a:spcAft>
              <a:buClrTx/>
              <a:buSzTx/>
              <a:buFont typeface="Arial" panose="020B0604020202020204" pitchFamily="34" charset="0"/>
              <a:buChar char="•"/>
              <a:tabLst/>
            </a:pPr>
            <a:r>
              <a:rPr kumimoji="0" lang="en-GB" sz="1000" b="0" i="0" u="none" strike="noStrike" cap="none" normalizeH="0" baseline="0">
                <a:ln>
                  <a:noFill/>
                </a:ln>
                <a:solidFill>
                  <a:schemeClr val="tx1"/>
                </a:solidFill>
                <a:effectLst/>
                <a:latin typeface="Trebuchet MS" panose="020B0603020202020204" pitchFamily="34" charset="0"/>
              </a:rPr>
              <a:t>The commercial director launches a </a:t>
            </a:r>
            <a:r>
              <a:rPr kumimoji="0" lang="en-GB" sz="1000" b="0" i="0" u="none" strike="noStrike" cap="none" normalizeH="0" baseline="0">
                <a:ln>
                  <a:noFill/>
                </a:ln>
                <a:solidFill>
                  <a:schemeClr val="tx2"/>
                </a:solidFill>
                <a:effectLst/>
                <a:latin typeface="Trebuchet MS" panose="020B0603020202020204" pitchFamily="34" charset="0"/>
              </a:rPr>
              <a:t>tender </a:t>
            </a:r>
            <a:r>
              <a:rPr kumimoji="0" lang="en-GB" sz="1000" b="0" i="0" u="none" strike="noStrike" cap="none" normalizeH="0" baseline="0">
                <a:ln>
                  <a:noFill/>
                </a:ln>
                <a:solidFill>
                  <a:schemeClr val="tx1"/>
                </a:solidFill>
                <a:effectLst/>
                <a:latin typeface="Trebuchet MS" panose="020B0603020202020204" pitchFamily="34" charset="0"/>
              </a:rPr>
              <a:t>towards major Credit risk information players (e.g. </a:t>
            </a:r>
            <a:r>
              <a:rPr kumimoji="0" lang="en-GB" sz="1000" b="0" i="0" u="none" strike="noStrike" cap="none" normalizeH="0" baseline="0" err="1">
                <a:ln>
                  <a:noFill/>
                </a:ln>
                <a:solidFill>
                  <a:schemeClr val="tx1"/>
                </a:solidFill>
                <a:effectLst/>
                <a:latin typeface="Trebuchet MS" panose="020B0603020202020204" pitchFamily="34" charset="0"/>
              </a:rPr>
              <a:t>Altares</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err="1">
                <a:ln>
                  <a:noFill/>
                </a:ln>
                <a:solidFill>
                  <a:schemeClr val="tx1"/>
                </a:solidFill>
                <a:effectLst/>
                <a:latin typeface="Trebuchet MS" panose="020B0603020202020204" pitchFamily="34" charset="0"/>
              </a:rPr>
              <a:t>Ellisphere</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err="1">
                <a:ln>
                  <a:noFill/>
                </a:ln>
                <a:solidFill>
                  <a:schemeClr val="tx1"/>
                </a:solidFill>
                <a:effectLst/>
                <a:latin typeface="Trebuchet MS" panose="020B0603020202020204" pitchFamily="34" charset="0"/>
              </a:rPr>
              <a:t>Creditsafe</a:t>
            </a:r>
            <a:r>
              <a:rPr kumimoji="0" lang="en-GB" sz="1000" b="0" i="0" u="none" strike="noStrike" cap="none" normalizeH="0" baseline="0">
                <a:ln>
                  <a:noFill/>
                </a:ln>
                <a:solidFill>
                  <a:schemeClr val="tx1"/>
                </a:solidFill>
                <a:effectLst/>
                <a:latin typeface="Trebuchet MS" panose="020B0603020202020204" pitchFamily="34" charset="0"/>
              </a:rPr>
              <a:t> and </a:t>
            </a:r>
            <a:r>
              <a:rPr kumimoji="0" lang="en-GB" sz="1000" b="0" i="0" u="none" strike="noStrike" cap="none" normalizeH="0" baseline="0" err="1">
                <a:ln>
                  <a:noFill/>
                </a:ln>
                <a:solidFill>
                  <a:schemeClr val="tx1"/>
                </a:solidFill>
                <a:effectLst/>
                <a:latin typeface="Trebuchet MS" panose="020B0603020202020204" pitchFamily="34" charset="0"/>
              </a:rPr>
              <a:t>Infolégale</a:t>
            </a:r>
            <a:r>
              <a:rPr kumimoji="0" lang="en-GB" sz="1000" b="0" i="0" u="none" strike="noStrike" cap="none" normalizeH="0" baseline="0">
                <a:ln>
                  <a:noFill/>
                </a:ln>
                <a:solidFill>
                  <a:schemeClr val="tx1"/>
                </a:solidFill>
                <a:effectLst/>
                <a:latin typeface="Trebuchet MS" panose="020B0603020202020204" pitchFamily="34" charset="0"/>
              </a:rPr>
              <a:t>)</a:t>
            </a:r>
            <a:endParaRPr lang="en-GB" sz="1000">
              <a:latin typeface="Trebuchet MS" panose="020B0603020202020204" pitchFamily="34" charset="0"/>
            </a:endParaRPr>
          </a:p>
          <a:p>
            <a:pPr marL="171450" marR="0" indent="-171450" defTabSz="914400" rtl="0" eaLnBrk="1" fontAlgn="base" latinLnBrk="0" hangingPunct="1">
              <a:lnSpc>
                <a:spcPts val="1100"/>
              </a:lnSpc>
              <a:spcBef>
                <a:spcPts val="600"/>
              </a:spcBef>
              <a:spcAft>
                <a:spcPct val="0"/>
              </a:spcAft>
              <a:buClrTx/>
              <a:buSzTx/>
              <a:buFont typeface="Arial" panose="020B0604020202020204" pitchFamily="34" charset="0"/>
              <a:buChar char="•"/>
              <a:tabLst/>
            </a:pPr>
            <a:r>
              <a:rPr kumimoji="0" lang="en-GB" sz="1000" b="0" i="0" u="none" strike="noStrike" cap="none" normalizeH="0" baseline="0">
                <a:ln>
                  <a:noFill/>
                </a:ln>
                <a:solidFill>
                  <a:schemeClr val="tx1"/>
                </a:solidFill>
                <a:effectLst/>
                <a:latin typeface="Trebuchet MS" panose="020B0603020202020204" pitchFamily="34" charset="0"/>
              </a:rPr>
              <a:t>They compare </a:t>
            </a:r>
            <a:r>
              <a:rPr kumimoji="0" lang="en-GB" sz="1000" b="0" i="0" u="none" strike="noStrike" cap="none" normalizeH="0" baseline="0">
                <a:ln>
                  <a:noFill/>
                </a:ln>
                <a:solidFill>
                  <a:schemeClr val="tx2"/>
                </a:solidFill>
                <a:effectLst/>
                <a:latin typeface="Trebuchet MS" panose="020B0603020202020204" pitchFamily="34" charset="0"/>
              </a:rPr>
              <a:t>databases</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prices </a:t>
            </a:r>
            <a:r>
              <a:rPr kumimoji="0" lang="en-GB" sz="1000" b="0" i="0" u="none" strike="noStrike" cap="none" normalizeH="0" baseline="0">
                <a:ln>
                  <a:noFill/>
                </a:ln>
                <a:solidFill>
                  <a:schemeClr val="tx1"/>
                </a:solidFill>
                <a:effectLst/>
                <a:latin typeface="Trebuchet MS" panose="020B0603020202020204" pitchFamily="34" charset="0"/>
              </a:rPr>
              <a:t>and </a:t>
            </a:r>
            <a:r>
              <a:rPr kumimoji="0" lang="en-GB" sz="1000" b="0" i="0" u="none" strike="noStrike" cap="none" normalizeH="0" baseline="0">
                <a:ln>
                  <a:noFill/>
                </a:ln>
                <a:solidFill>
                  <a:schemeClr val="tx2"/>
                </a:solidFill>
                <a:effectLst/>
                <a:latin typeface="Trebuchet MS" panose="020B0603020202020204" pitchFamily="34" charset="0"/>
              </a:rPr>
              <a:t>customized services </a:t>
            </a:r>
            <a:r>
              <a:rPr kumimoji="0" lang="en-GB" sz="1000" b="0" i="0" u="none" strike="noStrike" cap="none" normalizeH="0" baseline="0">
                <a:ln>
                  <a:noFill/>
                </a:ln>
                <a:solidFill>
                  <a:schemeClr val="tx1"/>
                </a:solidFill>
                <a:effectLst/>
                <a:latin typeface="Trebuchet MS" panose="020B0603020202020204" pitchFamily="34" charset="0"/>
              </a:rPr>
              <a:t>each one can provide, </a:t>
            </a:r>
          </a:p>
        </p:txBody>
      </p:sp>
      <p:sp>
        <p:nvSpPr>
          <p:cNvPr id="30" name="Rectangle 29">
            <a:extLst>
              <a:ext uri="{FF2B5EF4-FFF2-40B4-BE49-F238E27FC236}">
                <a16:creationId xmlns:a16="http://schemas.microsoft.com/office/drawing/2014/main" id="{915DE561-E594-422C-ABEF-BE658ED3202A}"/>
              </a:ext>
            </a:extLst>
          </p:cNvPr>
          <p:cNvSpPr/>
          <p:nvPr/>
        </p:nvSpPr>
        <p:spPr bwMode="auto">
          <a:xfrm>
            <a:off x="6814943" y="4215263"/>
            <a:ext cx="2788603" cy="104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71450" indent="-171450">
              <a:lnSpc>
                <a:spcPts val="1100"/>
              </a:lnSpc>
              <a:buFont typeface="Arial" panose="020B0604020202020204" pitchFamily="34" charset="0"/>
              <a:buChar char="•"/>
            </a:pPr>
            <a:r>
              <a:rPr lang="en-GB" sz="1000">
                <a:latin typeface="Trebuchet MS" panose="020B0603020202020204" pitchFamily="34" charset="0"/>
              </a:rPr>
              <a:t>The commercial teams consider the </a:t>
            </a:r>
            <a:r>
              <a:rPr lang="en-GB" sz="1000">
                <a:solidFill>
                  <a:schemeClr val="tx2"/>
                </a:solidFill>
                <a:latin typeface="Trebuchet MS" panose="020B0603020202020204" pitchFamily="34" charset="0"/>
              </a:rPr>
              <a:t>risk score</a:t>
            </a:r>
            <a:r>
              <a:rPr lang="en-GB" sz="1000">
                <a:latin typeface="Trebuchet MS" panose="020B0603020202020204" pitchFamily="34" charset="0"/>
              </a:rPr>
              <a:t>, risk </a:t>
            </a:r>
            <a:r>
              <a:rPr lang="en-GB" sz="1000">
                <a:solidFill>
                  <a:schemeClr val="tx2"/>
                </a:solidFill>
                <a:latin typeface="Trebuchet MS" panose="020B0603020202020204" pitchFamily="34" charset="0"/>
              </a:rPr>
              <a:t>reports</a:t>
            </a:r>
            <a:r>
              <a:rPr lang="en-GB" sz="1000">
                <a:latin typeface="Trebuchet MS" panose="020B0603020202020204" pitchFamily="34" charset="0"/>
              </a:rPr>
              <a:t> and </a:t>
            </a:r>
            <a:r>
              <a:rPr lang="en-GB" sz="1000">
                <a:solidFill>
                  <a:schemeClr val="tx2"/>
                </a:solidFill>
                <a:latin typeface="Trebuchet MS" panose="020B0603020202020204" pitchFamily="34" charset="0"/>
              </a:rPr>
              <a:t>value-added personalized solutions</a:t>
            </a:r>
            <a:r>
              <a:rPr lang="en-GB" sz="1000">
                <a:latin typeface="Trebuchet MS" panose="020B0603020202020204" pitchFamily="34" charset="0"/>
              </a:rPr>
              <a:t>, such as additional ratios to arbitrate their supplier and clients’ portfolios</a:t>
            </a:r>
          </a:p>
          <a:p>
            <a:pPr marL="171450" indent="-171450">
              <a:lnSpc>
                <a:spcPts val="1100"/>
              </a:lnSpc>
              <a:buFont typeface="Arial" panose="020B0604020202020204" pitchFamily="34" charset="0"/>
              <a:buChar char="•"/>
            </a:pPr>
            <a:r>
              <a:rPr lang="en-GB" sz="1000">
                <a:latin typeface="Trebuchet MS" panose="020B0603020202020204" pitchFamily="34" charset="0"/>
              </a:rPr>
              <a:t>The Credit risk information is mostly used through </a:t>
            </a:r>
            <a:r>
              <a:rPr lang="en-GB" sz="1000">
                <a:solidFill>
                  <a:schemeClr val="tx2"/>
                </a:solidFill>
                <a:latin typeface="Trebuchet MS" panose="020B0603020202020204" pitchFamily="34" charset="0"/>
              </a:rPr>
              <a:t>platform</a:t>
            </a:r>
            <a:r>
              <a:rPr lang="en-GB" sz="1000">
                <a:latin typeface="Trebuchet MS" panose="020B0603020202020204" pitchFamily="34" charset="0"/>
              </a:rPr>
              <a:t> </a:t>
            </a:r>
            <a:r>
              <a:rPr lang="en-GB" sz="1000">
                <a:solidFill>
                  <a:schemeClr val="tx2"/>
                </a:solidFill>
                <a:latin typeface="Trebuchet MS" panose="020B0603020202020204" pitchFamily="34" charset="0"/>
              </a:rPr>
              <a:t>solutions</a:t>
            </a: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23" name="Rectangle 22">
            <a:extLst>
              <a:ext uri="{FF2B5EF4-FFF2-40B4-BE49-F238E27FC236}">
                <a16:creationId xmlns:a16="http://schemas.microsoft.com/office/drawing/2014/main" id="{AF03692B-EDE7-49C0-9469-792607B855DA}"/>
              </a:ext>
            </a:extLst>
          </p:cNvPr>
          <p:cNvSpPr/>
          <p:nvPr/>
        </p:nvSpPr>
        <p:spPr bwMode="auto">
          <a:xfrm>
            <a:off x="911996" y="5376734"/>
            <a:ext cx="2788603" cy="104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a:lnSpc>
                <a:spcPts val="1100"/>
              </a:lnSpc>
            </a:pPr>
            <a:r>
              <a:rPr lang="en-GB" sz="1000">
                <a:latin typeface="Trebuchet MS" panose="020B0603020202020204" pitchFamily="34" charset="0"/>
              </a:rPr>
              <a:t>The CEO of a </a:t>
            </a:r>
            <a:r>
              <a:rPr lang="en-GB" sz="1000">
                <a:solidFill>
                  <a:schemeClr val="tx2"/>
                </a:solidFill>
                <a:latin typeface="Trebuchet MS" panose="020B0603020202020204" pitchFamily="34" charset="0"/>
              </a:rPr>
              <a:t>€2m-revenue company </a:t>
            </a:r>
            <a:r>
              <a:rPr lang="en-GB" sz="1000">
                <a:latin typeface="Trebuchet MS" panose="020B0603020202020204" pitchFamily="34" charset="0"/>
              </a:rPr>
              <a:t>in the agri-food sector needs to monitor the </a:t>
            </a:r>
            <a:r>
              <a:rPr lang="en-GB" sz="1000">
                <a:solidFill>
                  <a:schemeClr val="tx2"/>
                </a:solidFill>
                <a:latin typeface="Trebuchet MS" panose="020B0603020202020204" pitchFamily="34" charset="0"/>
              </a:rPr>
              <a:t>solvability and liquidity of its clients </a:t>
            </a:r>
            <a:r>
              <a:rPr lang="en-GB" sz="1000">
                <a:latin typeface="Trebuchet MS" panose="020B0603020202020204" pitchFamily="34" charset="0"/>
              </a:rPr>
              <a:t>to manage secure cash flows but does not know how to do it</a:t>
            </a:r>
          </a:p>
        </p:txBody>
      </p:sp>
      <p:sp>
        <p:nvSpPr>
          <p:cNvPr id="26" name="Rectangle 25">
            <a:extLst>
              <a:ext uri="{FF2B5EF4-FFF2-40B4-BE49-F238E27FC236}">
                <a16:creationId xmlns:a16="http://schemas.microsoft.com/office/drawing/2014/main" id="{8A586765-5E7F-493F-88A0-837E50CEF9C7}"/>
              </a:ext>
            </a:extLst>
          </p:cNvPr>
          <p:cNvSpPr/>
          <p:nvPr/>
        </p:nvSpPr>
        <p:spPr bwMode="auto">
          <a:xfrm>
            <a:off x="3863470" y="5376734"/>
            <a:ext cx="2788603" cy="104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71450" indent="-171450">
              <a:lnSpc>
                <a:spcPts val="1100"/>
              </a:lnSpc>
              <a:spcBef>
                <a:spcPts val="600"/>
              </a:spcBef>
              <a:buFont typeface="Arial" panose="020B0604020202020204" pitchFamily="34" charset="0"/>
              <a:buChar char="•"/>
            </a:pPr>
            <a:r>
              <a:rPr lang="en-GB" sz="1000">
                <a:latin typeface="Trebuchet MS" panose="020B0603020202020204" pitchFamily="34" charset="0"/>
              </a:rPr>
              <a:t>The CEO is contacted by Credit risk information players, which present their solutions</a:t>
            </a:r>
          </a:p>
          <a:p>
            <a:pPr marL="171450" indent="-171450">
              <a:lnSpc>
                <a:spcPts val="1100"/>
              </a:lnSpc>
              <a:spcBef>
                <a:spcPts val="600"/>
              </a:spcBef>
              <a:buFont typeface="Arial" panose="020B0604020202020204" pitchFamily="34" charset="0"/>
              <a:buChar char="•"/>
            </a:pPr>
            <a:r>
              <a:rPr lang="en-GB" sz="1000">
                <a:latin typeface="Trebuchet MS" panose="020B0603020202020204" pitchFamily="34" charset="0"/>
              </a:rPr>
              <a:t>They choose to </a:t>
            </a:r>
            <a:r>
              <a:rPr lang="en-GB" sz="1000">
                <a:solidFill>
                  <a:schemeClr val="tx2"/>
                </a:solidFill>
                <a:latin typeface="Trebuchet MS" panose="020B0603020202020204" pitchFamily="34" charset="0"/>
              </a:rPr>
              <a:t>test one of them for a short period </a:t>
            </a:r>
            <a:r>
              <a:rPr lang="en-GB" sz="1000">
                <a:latin typeface="Trebuchet MS" panose="020B0603020202020204" pitchFamily="34" charset="0"/>
              </a:rPr>
              <a:t>of time</a:t>
            </a:r>
          </a:p>
        </p:txBody>
      </p:sp>
      <p:sp>
        <p:nvSpPr>
          <p:cNvPr id="47" name="Rectangle 84">
            <a:extLst>
              <a:ext uri="{FF2B5EF4-FFF2-40B4-BE49-F238E27FC236}">
                <a16:creationId xmlns:a16="http://schemas.microsoft.com/office/drawing/2014/main" id="{6EB208DB-88DF-4A4A-B39E-823496A978C9}"/>
              </a:ext>
            </a:extLst>
          </p:cNvPr>
          <p:cNvSpPr/>
          <p:nvPr/>
        </p:nvSpPr>
        <p:spPr bwMode="auto">
          <a:xfrm>
            <a:off x="1196071" y="968460"/>
            <a:ext cx="7513859"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177800" indent="88900" algn="ctr">
              <a:defRPr/>
            </a:pPr>
            <a:r>
              <a:rPr lang="en-GB" sz="1100">
                <a:latin typeface="Trebuchet MS" panose="020B0603020202020204" pitchFamily="34" charset="0"/>
              </a:rPr>
              <a:t>Illustration of typical Credit &amp; financial risk information use cases per client type at each step of the relationship</a:t>
            </a:r>
          </a:p>
        </p:txBody>
      </p:sp>
      <p:sp>
        <p:nvSpPr>
          <p:cNvPr id="31" name="Rectangle 30">
            <a:extLst>
              <a:ext uri="{FF2B5EF4-FFF2-40B4-BE49-F238E27FC236}">
                <a16:creationId xmlns:a16="http://schemas.microsoft.com/office/drawing/2014/main" id="{CF10381D-2B0D-4F0D-A107-DE4398C077FC}"/>
              </a:ext>
            </a:extLst>
          </p:cNvPr>
          <p:cNvSpPr/>
          <p:nvPr/>
        </p:nvSpPr>
        <p:spPr bwMode="auto">
          <a:xfrm>
            <a:off x="6814943" y="5376734"/>
            <a:ext cx="2788603" cy="104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71450" marR="0" indent="-171450" defTabSz="914400" rtl="0" eaLnBrk="1" fontAlgn="base" latinLnBrk="0" hangingPunct="1">
              <a:lnSpc>
                <a:spcPts val="1100"/>
              </a:lnSpc>
              <a:spcBef>
                <a:spcPct val="0"/>
              </a:spcBef>
              <a:spcAft>
                <a:spcPct val="0"/>
              </a:spcAft>
              <a:buClrTx/>
              <a:buSzTx/>
              <a:buFont typeface="Arial" panose="020B0604020202020204" pitchFamily="34" charset="0"/>
              <a:buChar char="•"/>
              <a:tabLst/>
            </a:pPr>
            <a:r>
              <a:rPr lang="en-GB" sz="1000">
                <a:latin typeface="Trebuchet MS" panose="020B0603020202020204" pitchFamily="34" charset="0"/>
              </a:rPr>
              <a:t>The CEO uses the Credit risk information service via the Credit risk information provider’s </a:t>
            </a:r>
            <a:r>
              <a:rPr lang="en-GB" sz="1000">
                <a:solidFill>
                  <a:schemeClr val="tx2"/>
                </a:solidFill>
                <a:latin typeface="Trebuchet MS" panose="020B0603020202020204" pitchFamily="34" charset="0"/>
              </a:rPr>
              <a:t>platform</a:t>
            </a:r>
            <a:r>
              <a:rPr lang="en-GB" sz="1000">
                <a:latin typeface="Trebuchet MS" panose="020B0603020202020204" pitchFamily="34" charset="0"/>
              </a:rPr>
              <a:t>, allowing him to monitor the selected portfolios </a:t>
            </a:r>
            <a:endParaRPr kumimoji="0" lang="en-GB" sz="1000" b="0" i="0" u="none" strike="noStrike" cap="none" normalizeH="0" baseline="0">
              <a:ln>
                <a:noFill/>
              </a:ln>
              <a:solidFill>
                <a:schemeClr val="tx1"/>
              </a:solidFill>
              <a:effectLst/>
              <a:latin typeface="Trebuchet MS" panose="020B0603020202020204" pitchFamily="34" charset="0"/>
            </a:endParaRPr>
          </a:p>
        </p:txBody>
      </p:sp>
      <p:sp>
        <p:nvSpPr>
          <p:cNvPr id="12" name="Rectangle 11">
            <a:extLst>
              <a:ext uri="{FF2B5EF4-FFF2-40B4-BE49-F238E27FC236}">
                <a16:creationId xmlns:a16="http://schemas.microsoft.com/office/drawing/2014/main" id="{EA1A5C2A-AB1F-4D69-B08A-BB5F8C7A9FA0}"/>
              </a:ext>
            </a:extLst>
          </p:cNvPr>
          <p:cNvSpPr/>
          <p:nvPr/>
        </p:nvSpPr>
        <p:spPr bwMode="auto">
          <a:xfrm>
            <a:off x="66680" y="5383768"/>
            <a:ext cx="813704" cy="1281152"/>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bg1"/>
              </a:solidFill>
              <a:effectLst/>
              <a:latin typeface="Trebuchet MS" pitchFamily="34" charset="0"/>
            </a:endParaRPr>
          </a:p>
        </p:txBody>
      </p:sp>
      <p:sp>
        <p:nvSpPr>
          <p:cNvPr id="51" name="Rectangle 50">
            <a:extLst>
              <a:ext uri="{FF2B5EF4-FFF2-40B4-BE49-F238E27FC236}">
                <a16:creationId xmlns:a16="http://schemas.microsoft.com/office/drawing/2014/main" id="{977423ED-228E-46FB-AC10-1162D7AE2B5F}"/>
              </a:ext>
            </a:extLst>
          </p:cNvPr>
          <p:cNvSpPr/>
          <p:nvPr/>
        </p:nvSpPr>
        <p:spPr bwMode="auto">
          <a:xfrm>
            <a:off x="911996" y="3043112"/>
            <a:ext cx="2788603" cy="104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R="0" defTabSz="914400" rtl="0" eaLnBrk="1" fontAlgn="base" latinLnBrk="0" hangingPunct="1">
              <a:lnSpc>
                <a:spcPts val="1100"/>
              </a:lnSpc>
              <a:spcBef>
                <a:spcPct val="0"/>
              </a:spcBef>
              <a:spcAft>
                <a:spcPct val="0"/>
              </a:spcAft>
              <a:buClrTx/>
              <a:buSzTx/>
              <a:tabLst/>
            </a:pPr>
            <a:r>
              <a:rPr lang="en-GB" sz="1000">
                <a:latin typeface="Trebuchet MS" panose="020B0603020202020204" pitchFamily="34" charset="0"/>
              </a:rPr>
              <a:t>A </a:t>
            </a:r>
            <a:r>
              <a:rPr lang="en-GB" sz="1000">
                <a:solidFill>
                  <a:schemeClr val="tx2"/>
                </a:solidFill>
                <a:latin typeface="Trebuchet MS" panose="020B0603020202020204" pitchFamily="34" charset="0"/>
              </a:rPr>
              <a:t>government</a:t>
            </a:r>
            <a:r>
              <a:rPr lang="en-GB" sz="1000">
                <a:latin typeface="Trebuchet MS" panose="020B0603020202020204" pitchFamily="34" charset="0"/>
              </a:rPr>
              <a:t> </a:t>
            </a:r>
            <a:r>
              <a:rPr lang="en-GB" sz="1000">
                <a:solidFill>
                  <a:schemeClr val="tx2"/>
                </a:solidFill>
                <a:latin typeface="Trebuchet MS" panose="020B0603020202020204" pitchFamily="34" charset="0"/>
              </a:rPr>
              <a:t>agency</a:t>
            </a:r>
            <a:r>
              <a:rPr lang="en-GB" sz="1000">
                <a:latin typeface="Trebuchet MS" panose="020B0603020202020204" pitchFamily="34" charset="0"/>
              </a:rPr>
              <a:t> needs </a:t>
            </a:r>
            <a:r>
              <a:rPr lang="en-GB" sz="1000">
                <a:solidFill>
                  <a:schemeClr val="tx2"/>
                </a:solidFill>
                <a:latin typeface="Trebuchet MS" panose="020B0603020202020204" pitchFamily="34" charset="0"/>
              </a:rPr>
              <a:t>information</a:t>
            </a:r>
            <a:r>
              <a:rPr lang="en-GB" sz="1000">
                <a:latin typeface="Trebuchet MS" panose="020B0603020202020204" pitchFamily="34" charset="0"/>
              </a:rPr>
              <a:t> on the financial health of identified companies in order to </a:t>
            </a:r>
            <a:r>
              <a:rPr lang="en-GB" sz="1000">
                <a:solidFill>
                  <a:schemeClr val="tx2"/>
                </a:solidFill>
                <a:latin typeface="Trebuchet MS" panose="020B0603020202020204" pitchFamily="34" charset="0"/>
              </a:rPr>
              <a:t>determine</a:t>
            </a:r>
            <a:r>
              <a:rPr lang="en-GB" sz="1000">
                <a:latin typeface="Trebuchet MS" panose="020B0603020202020204" pitchFamily="34" charset="0"/>
              </a:rPr>
              <a:t> a </a:t>
            </a:r>
            <a:r>
              <a:rPr lang="en-GB" sz="1000">
                <a:solidFill>
                  <a:schemeClr val="tx2"/>
                </a:solidFill>
                <a:latin typeface="Trebuchet MS" panose="020B0603020202020204" pitchFamily="34" charset="0"/>
              </a:rPr>
              <a:t>financial</a:t>
            </a:r>
            <a:r>
              <a:rPr lang="en-GB" sz="1000">
                <a:latin typeface="Trebuchet MS" panose="020B0603020202020204" pitchFamily="34" charset="0"/>
              </a:rPr>
              <a:t> </a:t>
            </a:r>
            <a:r>
              <a:rPr lang="en-GB" sz="1000">
                <a:solidFill>
                  <a:schemeClr val="tx2"/>
                </a:solidFill>
                <a:latin typeface="Trebuchet MS" panose="020B0603020202020204" pitchFamily="34" charset="0"/>
              </a:rPr>
              <a:t>aid</a:t>
            </a:r>
            <a:r>
              <a:rPr lang="en-GB" sz="1000">
                <a:latin typeface="Trebuchet MS" panose="020B0603020202020204" pitchFamily="34" charset="0"/>
              </a:rPr>
              <a:t> </a:t>
            </a:r>
            <a:r>
              <a:rPr lang="en-GB" sz="1000">
                <a:solidFill>
                  <a:schemeClr val="tx2"/>
                </a:solidFill>
                <a:latin typeface="Trebuchet MS" panose="020B0603020202020204" pitchFamily="34" charset="0"/>
              </a:rPr>
              <a:t>policy</a:t>
            </a: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52" name="Rectangle 51">
            <a:extLst>
              <a:ext uri="{FF2B5EF4-FFF2-40B4-BE49-F238E27FC236}">
                <a16:creationId xmlns:a16="http://schemas.microsoft.com/office/drawing/2014/main" id="{FC557E8E-3266-4F49-8B5B-2FF11AF870F0}"/>
              </a:ext>
            </a:extLst>
          </p:cNvPr>
          <p:cNvSpPr/>
          <p:nvPr/>
        </p:nvSpPr>
        <p:spPr bwMode="auto">
          <a:xfrm>
            <a:off x="3863470" y="3043112"/>
            <a:ext cx="2788603" cy="104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71450" marR="0" indent="-171450" defTabSz="914400" rtl="0" eaLnBrk="1" fontAlgn="base" latinLnBrk="0" hangingPunct="1">
              <a:lnSpc>
                <a:spcPts val="1100"/>
              </a:lnSpc>
              <a:spcBef>
                <a:spcPts val="600"/>
              </a:spcBef>
              <a:spcAft>
                <a:spcPct val="0"/>
              </a:spcAft>
              <a:buClrTx/>
              <a:buSzTx/>
              <a:buFont typeface="Arial" panose="020B0604020202020204" pitchFamily="34" charset="0"/>
              <a:buChar char="•"/>
              <a:tabLst/>
            </a:pPr>
            <a:r>
              <a:rPr kumimoji="0" lang="en-GB" sz="1000" b="0" i="0" u="none" strike="noStrike" cap="none" normalizeH="0" baseline="0">
                <a:ln>
                  <a:noFill/>
                </a:ln>
                <a:solidFill>
                  <a:schemeClr val="tx1"/>
                </a:solidFill>
                <a:effectLst/>
                <a:latin typeface="Trebuchet MS" panose="020B0603020202020204" pitchFamily="34" charset="0"/>
              </a:rPr>
              <a:t>Such as key accounts, the government agency launches a </a:t>
            </a:r>
            <a:r>
              <a:rPr kumimoji="0" lang="en-GB" sz="1000" b="0" i="0" u="none" strike="noStrike" cap="none" normalizeH="0" baseline="0">
                <a:ln>
                  <a:noFill/>
                </a:ln>
                <a:solidFill>
                  <a:schemeClr val="tx2"/>
                </a:solidFill>
                <a:effectLst/>
                <a:latin typeface="Trebuchet MS" panose="020B0603020202020204" pitchFamily="34" charset="0"/>
              </a:rPr>
              <a:t>restricted</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tender</a:t>
            </a:r>
          </a:p>
          <a:p>
            <a:pPr marL="171450" marR="0" indent="-171450" defTabSz="914400" rtl="0" eaLnBrk="1" fontAlgn="base" latinLnBrk="0" hangingPunct="1">
              <a:lnSpc>
                <a:spcPts val="1100"/>
              </a:lnSpc>
              <a:spcBef>
                <a:spcPts val="600"/>
              </a:spcBef>
              <a:spcAft>
                <a:spcPct val="0"/>
              </a:spcAft>
              <a:buClrTx/>
              <a:buSzTx/>
              <a:buFont typeface="Arial" panose="020B0604020202020204" pitchFamily="34" charset="0"/>
              <a:buChar char="•"/>
              <a:tabLst/>
            </a:pPr>
            <a:r>
              <a:rPr lang="en-GB" sz="1000">
                <a:latin typeface="Trebuchet MS" panose="020B0603020202020204" pitchFamily="34" charset="0"/>
              </a:rPr>
              <a:t>They select the offer of the player that can provide them the </a:t>
            </a:r>
            <a:r>
              <a:rPr lang="en-GB" sz="1000">
                <a:solidFill>
                  <a:schemeClr val="tx2"/>
                </a:solidFill>
                <a:latin typeface="Trebuchet MS" panose="020B0603020202020204" pitchFamily="34" charset="0"/>
              </a:rPr>
              <a:t>right</a:t>
            </a:r>
            <a:r>
              <a:rPr lang="en-GB" sz="1000">
                <a:latin typeface="Trebuchet MS" panose="020B0603020202020204" pitchFamily="34" charset="0"/>
              </a:rPr>
              <a:t> </a:t>
            </a:r>
            <a:r>
              <a:rPr lang="en-GB" sz="1000">
                <a:solidFill>
                  <a:schemeClr val="tx2"/>
                </a:solidFill>
                <a:latin typeface="Trebuchet MS" panose="020B0603020202020204" pitchFamily="34" charset="0"/>
              </a:rPr>
              <a:t>data</a:t>
            </a: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53" name="Rectangle 52">
            <a:extLst>
              <a:ext uri="{FF2B5EF4-FFF2-40B4-BE49-F238E27FC236}">
                <a16:creationId xmlns:a16="http://schemas.microsoft.com/office/drawing/2014/main" id="{5BAEC41E-5484-44CD-8768-800721C328F8}"/>
              </a:ext>
            </a:extLst>
          </p:cNvPr>
          <p:cNvSpPr/>
          <p:nvPr/>
        </p:nvSpPr>
        <p:spPr bwMode="auto">
          <a:xfrm>
            <a:off x="6814943" y="3043112"/>
            <a:ext cx="2788603" cy="104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71450" indent="-171450">
              <a:lnSpc>
                <a:spcPts val="1100"/>
              </a:lnSpc>
              <a:buFont typeface="Arial" panose="020B0604020202020204" pitchFamily="34" charset="0"/>
              <a:buChar char="•"/>
            </a:pPr>
            <a:r>
              <a:rPr lang="en-GB" sz="1000">
                <a:latin typeface="Trebuchet MS" panose="020B0603020202020204" pitchFamily="34" charset="0"/>
              </a:rPr>
              <a:t>The government agency selects the relevant data in order to establish a comparison and to </a:t>
            </a:r>
            <a:r>
              <a:rPr lang="en-GB" sz="1000">
                <a:solidFill>
                  <a:schemeClr val="tx2"/>
                </a:solidFill>
                <a:latin typeface="Trebuchet MS" panose="020B0603020202020204" pitchFamily="34" charset="0"/>
              </a:rPr>
              <a:t>identify</a:t>
            </a:r>
            <a:r>
              <a:rPr lang="en-GB" sz="1000">
                <a:latin typeface="Trebuchet MS" panose="020B0603020202020204" pitchFamily="34" charset="0"/>
              </a:rPr>
              <a:t> the </a:t>
            </a:r>
            <a:r>
              <a:rPr lang="en-GB" sz="1000">
                <a:solidFill>
                  <a:schemeClr val="tx2"/>
                </a:solidFill>
                <a:latin typeface="Trebuchet MS" panose="020B0603020202020204" pitchFamily="34" charset="0"/>
              </a:rPr>
              <a:t>companies</a:t>
            </a:r>
            <a:r>
              <a:rPr lang="en-GB" sz="1000">
                <a:latin typeface="Trebuchet MS" panose="020B0603020202020204" pitchFamily="34" charset="0"/>
              </a:rPr>
              <a:t> most in difficulty and to </a:t>
            </a:r>
            <a:r>
              <a:rPr lang="en-GB" sz="1000">
                <a:solidFill>
                  <a:schemeClr val="tx2"/>
                </a:solidFill>
                <a:latin typeface="Trebuchet MS" panose="020B0603020202020204" pitchFamily="34" charset="0"/>
              </a:rPr>
              <a:t>evaluate</a:t>
            </a:r>
            <a:r>
              <a:rPr lang="en-GB" sz="1000">
                <a:latin typeface="Trebuchet MS" panose="020B0603020202020204" pitchFamily="34" charset="0"/>
              </a:rPr>
              <a:t> the </a:t>
            </a:r>
            <a:r>
              <a:rPr lang="en-GB" sz="1000">
                <a:solidFill>
                  <a:schemeClr val="tx2"/>
                </a:solidFill>
                <a:latin typeface="Trebuchet MS" panose="020B0603020202020204" pitchFamily="34" charset="0"/>
              </a:rPr>
              <a:t>amount</a:t>
            </a:r>
            <a:r>
              <a:rPr lang="en-GB" sz="1000">
                <a:latin typeface="Trebuchet MS" panose="020B0603020202020204" pitchFamily="34" charset="0"/>
              </a:rPr>
              <a:t> of </a:t>
            </a:r>
            <a:r>
              <a:rPr lang="en-GB" sz="1000">
                <a:solidFill>
                  <a:schemeClr val="tx2"/>
                </a:solidFill>
                <a:latin typeface="Trebuchet MS" panose="020B0603020202020204" pitchFamily="34" charset="0"/>
              </a:rPr>
              <a:t>aid</a:t>
            </a:r>
            <a:r>
              <a:rPr lang="en-GB" sz="1000">
                <a:latin typeface="Trebuchet MS" panose="020B0603020202020204" pitchFamily="34" charset="0"/>
              </a:rPr>
              <a:t> as well as the potential </a:t>
            </a:r>
            <a:r>
              <a:rPr lang="en-GB" sz="1000">
                <a:solidFill>
                  <a:schemeClr val="tx2"/>
                </a:solidFill>
                <a:latin typeface="Trebuchet MS" panose="020B0603020202020204" pitchFamily="34" charset="0"/>
              </a:rPr>
              <a:t>solvency</a:t>
            </a:r>
            <a:r>
              <a:rPr lang="en-GB" sz="1000">
                <a:latin typeface="Trebuchet MS" panose="020B0603020202020204" pitchFamily="34" charset="0"/>
              </a:rPr>
              <a:t> </a:t>
            </a:r>
            <a:r>
              <a:rPr lang="en-GB" sz="1000">
                <a:solidFill>
                  <a:schemeClr val="tx2"/>
                </a:solidFill>
                <a:latin typeface="Trebuchet MS" panose="020B0603020202020204" pitchFamily="34" charset="0"/>
              </a:rPr>
              <a:t>capacities</a:t>
            </a:r>
            <a:r>
              <a:rPr lang="en-GB" sz="1000">
                <a:latin typeface="Trebuchet MS" panose="020B0603020202020204" pitchFamily="34" charset="0"/>
              </a:rPr>
              <a:t> (in the case of loans)</a:t>
            </a: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16" name="Rectangle 15">
            <a:extLst>
              <a:ext uri="{FF2B5EF4-FFF2-40B4-BE49-F238E27FC236}">
                <a16:creationId xmlns:a16="http://schemas.microsoft.com/office/drawing/2014/main" id="{692E84D6-5919-44FC-93F6-6322CEB1855D}"/>
              </a:ext>
            </a:extLst>
          </p:cNvPr>
          <p:cNvSpPr/>
          <p:nvPr/>
        </p:nvSpPr>
        <p:spPr bwMode="auto">
          <a:xfrm>
            <a:off x="54048" y="1867505"/>
            <a:ext cx="807919" cy="1044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endParaRPr lang="en-GB" sz="1050" b="1">
              <a:solidFill>
                <a:schemeClr val="accent1">
                  <a:lumMod val="75000"/>
                </a:schemeClr>
              </a:solidFill>
              <a:latin typeface="Trebuchet MS" pitchFamily="34" charset="0"/>
            </a:endParaRPr>
          </a:p>
          <a:p>
            <a:pPr marR="0" algn="ctr" defTabSz="914400" rtl="0" eaLnBrk="1" fontAlgn="base" latinLnBrk="0" hangingPunct="1">
              <a:lnSpc>
                <a:spcPct val="100000"/>
              </a:lnSpc>
              <a:spcBef>
                <a:spcPct val="0"/>
              </a:spcBef>
              <a:spcAft>
                <a:spcPct val="0"/>
              </a:spcAft>
              <a:buClrTx/>
              <a:buSzTx/>
              <a:tabLst/>
            </a:pPr>
            <a:r>
              <a:rPr lang="en-GB" sz="1050" b="1">
                <a:solidFill>
                  <a:schemeClr val="accent1">
                    <a:lumMod val="75000"/>
                  </a:schemeClr>
                </a:solidFill>
                <a:latin typeface="Trebuchet MS" pitchFamily="34" charset="0"/>
              </a:rPr>
              <a:t>Key accounts</a:t>
            </a:r>
            <a:endParaRPr kumimoji="0" lang="en-GB" sz="1050" i="0" u="none" strike="noStrike" cap="none" normalizeH="0" baseline="0">
              <a:ln>
                <a:noFill/>
              </a:ln>
              <a:solidFill>
                <a:schemeClr val="accent1">
                  <a:lumMod val="75000"/>
                </a:schemeClr>
              </a:solidFill>
              <a:effectLst/>
              <a:latin typeface="Trebuchet MS" panose="020B0603020202020204" pitchFamily="34" charset="0"/>
            </a:endParaRPr>
          </a:p>
        </p:txBody>
      </p:sp>
      <p:pic>
        <p:nvPicPr>
          <p:cNvPr id="17" name="Graphique 62">
            <a:extLst>
              <a:ext uri="{FF2B5EF4-FFF2-40B4-BE49-F238E27FC236}">
                <a16:creationId xmlns:a16="http://schemas.microsoft.com/office/drawing/2014/main" id="{71657D1E-B61C-4643-BC27-279AD309ACE3}"/>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b="19795"/>
          <a:stretch/>
        </p:blipFill>
        <p:spPr>
          <a:xfrm>
            <a:off x="324745" y="1913800"/>
            <a:ext cx="266524" cy="267203"/>
          </a:xfrm>
          <a:prstGeom prst="rect">
            <a:avLst/>
          </a:prstGeom>
          <a:effectLst/>
        </p:spPr>
      </p:pic>
      <p:sp>
        <p:nvSpPr>
          <p:cNvPr id="19" name="Rectangle 18">
            <a:extLst>
              <a:ext uri="{FF2B5EF4-FFF2-40B4-BE49-F238E27FC236}">
                <a16:creationId xmlns:a16="http://schemas.microsoft.com/office/drawing/2014/main" id="{ED4AD25C-4830-4C7B-8AFE-059F00E0BEAF}"/>
              </a:ext>
            </a:extLst>
          </p:cNvPr>
          <p:cNvSpPr/>
          <p:nvPr/>
        </p:nvSpPr>
        <p:spPr bwMode="auto">
          <a:xfrm>
            <a:off x="54048" y="4208281"/>
            <a:ext cx="807919" cy="1044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50" b="1">
              <a:solidFill>
                <a:schemeClr val="accent1">
                  <a:lumMod val="75000"/>
                </a:schemeClr>
              </a:solidFill>
              <a:latin typeface="Trebuchet MS" pitchFamily="34" charset="0"/>
            </a:endParaRPr>
          </a:p>
          <a:p>
            <a:pPr algn="ctr"/>
            <a:r>
              <a:rPr lang="en-GB" sz="1050" b="1">
                <a:solidFill>
                  <a:schemeClr val="accent1">
                    <a:lumMod val="75000"/>
                  </a:schemeClr>
                </a:solidFill>
                <a:latin typeface="Trebuchet MS" pitchFamily="34" charset="0"/>
              </a:rPr>
              <a:t>Mid market</a:t>
            </a:r>
          </a:p>
        </p:txBody>
      </p:sp>
      <p:pic>
        <p:nvPicPr>
          <p:cNvPr id="20" name="Graphique 63">
            <a:extLst>
              <a:ext uri="{FF2B5EF4-FFF2-40B4-BE49-F238E27FC236}">
                <a16:creationId xmlns:a16="http://schemas.microsoft.com/office/drawing/2014/main" id="{9EF315F0-0DE4-4CE6-BE48-87EC29AD01FD}"/>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b="28139"/>
          <a:stretch/>
        </p:blipFill>
        <p:spPr>
          <a:xfrm>
            <a:off x="300185" y="4261781"/>
            <a:ext cx="315644" cy="283523"/>
          </a:xfrm>
          <a:prstGeom prst="rect">
            <a:avLst/>
          </a:prstGeom>
          <a:effectLst/>
        </p:spPr>
      </p:pic>
      <p:sp>
        <p:nvSpPr>
          <p:cNvPr id="21" name="Rectangle 20">
            <a:extLst>
              <a:ext uri="{FF2B5EF4-FFF2-40B4-BE49-F238E27FC236}">
                <a16:creationId xmlns:a16="http://schemas.microsoft.com/office/drawing/2014/main" id="{3128434E-E917-486F-85DC-08CC68829FA8}"/>
              </a:ext>
            </a:extLst>
          </p:cNvPr>
          <p:cNvSpPr/>
          <p:nvPr/>
        </p:nvSpPr>
        <p:spPr bwMode="auto">
          <a:xfrm>
            <a:off x="54048" y="5370149"/>
            <a:ext cx="807919" cy="1044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050" b="1">
                <a:solidFill>
                  <a:schemeClr val="accent1">
                    <a:lumMod val="75000"/>
                  </a:schemeClr>
                </a:solidFill>
                <a:latin typeface="Trebuchet MS" panose="020B0603020202020204" pitchFamily="34" charset="0"/>
              </a:rPr>
              <a:t>Mass market</a:t>
            </a:r>
          </a:p>
        </p:txBody>
      </p:sp>
      <p:pic>
        <p:nvPicPr>
          <p:cNvPr id="27" name="Graphique 64">
            <a:extLst>
              <a:ext uri="{FF2B5EF4-FFF2-40B4-BE49-F238E27FC236}">
                <a16:creationId xmlns:a16="http://schemas.microsoft.com/office/drawing/2014/main" id="{ACDE829D-7C1F-491A-9FDF-452DD2FB54BC}"/>
              </a:ext>
            </a:extLst>
          </p:cNvPr>
          <p:cNvPicPr>
            <a:picLocks noChangeAspect="1"/>
          </p:cNvPicPr>
          <p:nvPr/>
        </p:nvPicPr>
        <p:blipFill rotWithShape="1">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r="-3601" b="22797"/>
          <a:stretch/>
        </p:blipFill>
        <p:spPr>
          <a:xfrm>
            <a:off x="310621" y="5417378"/>
            <a:ext cx="294773" cy="274579"/>
          </a:xfrm>
          <a:prstGeom prst="rect">
            <a:avLst/>
          </a:prstGeom>
          <a:effectLst/>
        </p:spPr>
      </p:pic>
      <p:sp>
        <p:nvSpPr>
          <p:cNvPr id="32" name="Rectangle 31">
            <a:extLst>
              <a:ext uri="{FF2B5EF4-FFF2-40B4-BE49-F238E27FC236}">
                <a16:creationId xmlns:a16="http://schemas.microsoft.com/office/drawing/2014/main" id="{5E35726E-70F3-473F-8AE2-FE626231EE19}"/>
              </a:ext>
            </a:extLst>
          </p:cNvPr>
          <p:cNvSpPr/>
          <p:nvPr/>
        </p:nvSpPr>
        <p:spPr bwMode="auto">
          <a:xfrm>
            <a:off x="54048" y="3025846"/>
            <a:ext cx="807919" cy="1044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050" b="1">
                <a:solidFill>
                  <a:schemeClr val="accent1">
                    <a:lumMod val="75000"/>
                  </a:schemeClr>
                </a:solidFill>
                <a:latin typeface="Trebuchet MS" panose="020B0603020202020204" pitchFamily="34" charset="0"/>
              </a:rPr>
              <a:t>Public institutions</a:t>
            </a:r>
          </a:p>
        </p:txBody>
      </p:sp>
      <p:sp>
        <p:nvSpPr>
          <p:cNvPr id="33" name="Forme libre : forme 32">
            <a:extLst>
              <a:ext uri="{FF2B5EF4-FFF2-40B4-BE49-F238E27FC236}">
                <a16:creationId xmlns:a16="http://schemas.microsoft.com/office/drawing/2014/main" id="{8AD7B1BB-687C-41D1-99CC-748B715F1357}"/>
              </a:ext>
            </a:extLst>
          </p:cNvPr>
          <p:cNvSpPr/>
          <p:nvPr/>
        </p:nvSpPr>
        <p:spPr>
          <a:xfrm>
            <a:off x="310621" y="3090234"/>
            <a:ext cx="267627" cy="267629"/>
          </a:xfrm>
          <a:custGeom>
            <a:avLst/>
            <a:gdLst>
              <a:gd name="connsiteX0" fmla="*/ 262662 w 267627"/>
              <a:gd name="connsiteY0" fmla="*/ 146506 h 267629"/>
              <a:gd name="connsiteX1" fmla="*/ 204446 w 267627"/>
              <a:gd name="connsiteY1" fmla="*/ 146506 h 267629"/>
              <a:gd name="connsiteX2" fmla="*/ 204446 w 267627"/>
              <a:gd name="connsiteY2" fmla="*/ 140161 h 267629"/>
              <a:gd name="connsiteX3" fmla="*/ 208860 w 267627"/>
              <a:gd name="connsiteY3" fmla="*/ 140161 h 267629"/>
              <a:gd name="connsiteX4" fmla="*/ 213275 w 267627"/>
              <a:gd name="connsiteY4" fmla="*/ 135746 h 267629"/>
              <a:gd name="connsiteX5" fmla="*/ 213275 w 267627"/>
              <a:gd name="connsiteY5" fmla="*/ 127193 h 267629"/>
              <a:gd name="connsiteX6" fmla="*/ 215482 w 267627"/>
              <a:gd name="connsiteY6" fmla="*/ 127193 h 267629"/>
              <a:gd name="connsiteX7" fmla="*/ 219896 w 267627"/>
              <a:gd name="connsiteY7" fmla="*/ 122779 h 267629"/>
              <a:gd name="connsiteX8" fmla="*/ 219896 w 267627"/>
              <a:gd name="connsiteY8" fmla="*/ 107604 h 267629"/>
              <a:gd name="connsiteX9" fmla="*/ 215482 w 267627"/>
              <a:gd name="connsiteY9" fmla="*/ 103189 h 267629"/>
              <a:gd name="connsiteX10" fmla="*/ 198652 w 267627"/>
              <a:gd name="connsiteY10" fmla="*/ 103189 h 267629"/>
              <a:gd name="connsiteX11" fmla="*/ 150920 w 267627"/>
              <a:gd name="connsiteY11" fmla="*/ 41110 h 267629"/>
              <a:gd name="connsiteX12" fmla="*/ 150920 w 267627"/>
              <a:gd name="connsiteY12" fmla="*/ 32281 h 267629"/>
              <a:gd name="connsiteX13" fmla="*/ 146506 w 267627"/>
              <a:gd name="connsiteY13" fmla="*/ 27867 h 267629"/>
              <a:gd name="connsiteX14" fmla="*/ 137953 w 267627"/>
              <a:gd name="connsiteY14" fmla="*/ 27867 h 267629"/>
              <a:gd name="connsiteX15" fmla="*/ 137953 w 267627"/>
              <a:gd name="connsiteY15" fmla="*/ 23452 h 267629"/>
              <a:gd name="connsiteX16" fmla="*/ 159473 w 267627"/>
              <a:gd name="connsiteY16" fmla="*/ 23452 h 267629"/>
              <a:gd name="connsiteX17" fmla="*/ 163888 w 267627"/>
              <a:gd name="connsiteY17" fmla="*/ 19038 h 267629"/>
              <a:gd name="connsiteX18" fmla="*/ 163888 w 267627"/>
              <a:gd name="connsiteY18" fmla="*/ 4415 h 267629"/>
              <a:gd name="connsiteX19" fmla="*/ 159473 w 267627"/>
              <a:gd name="connsiteY19" fmla="*/ 0 h 267629"/>
              <a:gd name="connsiteX20" fmla="*/ 133538 w 267627"/>
              <a:gd name="connsiteY20" fmla="*/ 0 h 267629"/>
              <a:gd name="connsiteX21" fmla="*/ 129124 w 267627"/>
              <a:gd name="connsiteY21" fmla="*/ 4415 h 267629"/>
              <a:gd name="connsiteX22" fmla="*/ 129124 w 267627"/>
              <a:gd name="connsiteY22" fmla="*/ 28142 h 267629"/>
              <a:gd name="connsiteX23" fmla="*/ 120570 w 267627"/>
              <a:gd name="connsiteY23" fmla="*/ 28142 h 267629"/>
              <a:gd name="connsiteX24" fmla="*/ 116156 w 267627"/>
              <a:gd name="connsiteY24" fmla="*/ 32557 h 267629"/>
              <a:gd name="connsiteX25" fmla="*/ 116156 w 267627"/>
              <a:gd name="connsiteY25" fmla="*/ 41386 h 267629"/>
              <a:gd name="connsiteX26" fmla="*/ 67045 w 267627"/>
              <a:gd name="connsiteY26" fmla="*/ 103465 h 267629"/>
              <a:gd name="connsiteX27" fmla="*/ 51594 w 267627"/>
              <a:gd name="connsiteY27" fmla="*/ 103465 h 267629"/>
              <a:gd name="connsiteX28" fmla="*/ 47180 w 267627"/>
              <a:gd name="connsiteY28" fmla="*/ 107880 h 267629"/>
              <a:gd name="connsiteX29" fmla="*/ 47180 w 267627"/>
              <a:gd name="connsiteY29" fmla="*/ 123054 h 267629"/>
              <a:gd name="connsiteX30" fmla="*/ 51594 w 267627"/>
              <a:gd name="connsiteY30" fmla="*/ 127469 h 267629"/>
              <a:gd name="connsiteX31" fmla="*/ 53801 w 267627"/>
              <a:gd name="connsiteY31" fmla="*/ 127469 h 267629"/>
              <a:gd name="connsiteX32" fmla="*/ 53801 w 267627"/>
              <a:gd name="connsiteY32" fmla="*/ 136022 h 267629"/>
              <a:gd name="connsiteX33" fmla="*/ 58216 w 267627"/>
              <a:gd name="connsiteY33" fmla="*/ 140437 h 267629"/>
              <a:gd name="connsiteX34" fmla="*/ 62630 w 267627"/>
              <a:gd name="connsiteY34" fmla="*/ 140437 h 267629"/>
              <a:gd name="connsiteX35" fmla="*/ 62630 w 267627"/>
              <a:gd name="connsiteY35" fmla="*/ 146782 h 267629"/>
              <a:gd name="connsiteX36" fmla="*/ 4414 w 267627"/>
              <a:gd name="connsiteY36" fmla="*/ 146782 h 267629"/>
              <a:gd name="connsiteX37" fmla="*/ 0 w 267627"/>
              <a:gd name="connsiteY37" fmla="*/ 151197 h 267629"/>
              <a:gd name="connsiteX38" fmla="*/ 0 w 267627"/>
              <a:gd name="connsiteY38" fmla="*/ 166372 h 267629"/>
              <a:gd name="connsiteX39" fmla="*/ 4414 w 267627"/>
              <a:gd name="connsiteY39" fmla="*/ 170786 h 267629"/>
              <a:gd name="connsiteX40" fmla="*/ 8829 w 267627"/>
              <a:gd name="connsiteY40" fmla="*/ 170786 h 267629"/>
              <a:gd name="connsiteX41" fmla="*/ 8829 w 267627"/>
              <a:gd name="connsiteY41" fmla="*/ 263215 h 267629"/>
              <a:gd name="connsiteX42" fmla="*/ 13243 w 267627"/>
              <a:gd name="connsiteY42" fmla="*/ 267630 h 267629"/>
              <a:gd name="connsiteX43" fmla="*/ 254384 w 267627"/>
              <a:gd name="connsiteY43" fmla="*/ 267630 h 267629"/>
              <a:gd name="connsiteX44" fmla="*/ 258799 w 267627"/>
              <a:gd name="connsiteY44" fmla="*/ 263215 h 267629"/>
              <a:gd name="connsiteX45" fmla="*/ 258799 w 267627"/>
              <a:gd name="connsiteY45" fmla="*/ 250247 h 267629"/>
              <a:gd name="connsiteX46" fmla="*/ 258799 w 267627"/>
              <a:gd name="connsiteY46" fmla="*/ 170234 h 267629"/>
              <a:gd name="connsiteX47" fmla="*/ 263213 w 267627"/>
              <a:gd name="connsiteY47" fmla="*/ 170234 h 267629"/>
              <a:gd name="connsiteX48" fmla="*/ 267628 w 267627"/>
              <a:gd name="connsiteY48" fmla="*/ 165820 h 267629"/>
              <a:gd name="connsiteX49" fmla="*/ 267628 w 267627"/>
              <a:gd name="connsiteY49" fmla="*/ 150645 h 267629"/>
              <a:gd name="connsiteX50" fmla="*/ 262662 w 267627"/>
              <a:gd name="connsiteY50" fmla="*/ 146506 h 267629"/>
              <a:gd name="connsiteX51" fmla="*/ 155059 w 267627"/>
              <a:gd name="connsiteY51" fmla="*/ 15175 h 267629"/>
              <a:gd name="connsiteX52" fmla="*/ 137953 w 267627"/>
              <a:gd name="connsiteY52" fmla="*/ 15175 h 267629"/>
              <a:gd name="connsiteX53" fmla="*/ 137953 w 267627"/>
              <a:gd name="connsiteY53" fmla="*/ 8829 h 267629"/>
              <a:gd name="connsiteX54" fmla="*/ 155059 w 267627"/>
              <a:gd name="connsiteY54" fmla="*/ 8829 h 267629"/>
              <a:gd name="connsiteX55" fmla="*/ 155059 w 267627"/>
              <a:gd name="connsiteY55" fmla="*/ 15175 h 267629"/>
              <a:gd name="connsiteX56" fmla="*/ 232588 w 267627"/>
              <a:gd name="connsiteY56" fmla="*/ 245557 h 267629"/>
              <a:gd name="connsiteX57" fmla="*/ 34488 w 267627"/>
              <a:gd name="connsiteY57" fmla="*/ 245557 h 267629"/>
              <a:gd name="connsiteX58" fmla="*/ 34488 w 267627"/>
              <a:gd name="connsiteY58" fmla="*/ 241143 h 267629"/>
              <a:gd name="connsiteX59" fmla="*/ 232588 w 267627"/>
              <a:gd name="connsiteY59" fmla="*/ 241143 h 267629"/>
              <a:gd name="connsiteX60" fmla="*/ 232588 w 267627"/>
              <a:gd name="connsiteY60" fmla="*/ 245557 h 267629"/>
              <a:gd name="connsiteX61" fmla="*/ 101257 w 267627"/>
              <a:gd name="connsiteY61" fmla="*/ 139885 h 267629"/>
              <a:gd name="connsiteX62" fmla="*/ 105672 w 267627"/>
              <a:gd name="connsiteY62" fmla="*/ 135470 h 267629"/>
              <a:gd name="connsiteX63" fmla="*/ 105672 w 267627"/>
              <a:gd name="connsiteY63" fmla="*/ 126917 h 267629"/>
              <a:gd name="connsiteX64" fmla="*/ 161680 w 267627"/>
              <a:gd name="connsiteY64" fmla="*/ 126917 h 267629"/>
              <a:gd name="connsiteX65" fmla="*/ 161680 w 267627"/>
              <a:gd name="connsiteY65" fmla="*/ 135470 h 267629"/>
              <a:gd name="connsiteX66" fmla="*/ 166095 w 267627"/>
              <a:gd name="connsiteY66" fmla="*/ 139885 h 267629"/>
              <a:gd name="connsiteX67" fmla="*/ 170509 w 267627"/>
              <a:gd name="connsiteY67" fmla="*/ 139885 h 267629"/>
              <a:gd name="connsiteX68" fmla="*/ 170509 w 267627"/>
              <a:gd name="connsiteY68" fmla="*/ 232313 h 267629"/>
              <a:gd name="connsiteX69" fmla="*/ 159749 w 267627"/>
              <a:gd name="connsiteY69" fmla="*/ 232313 h 267629"/>
              <a:gd name="connsiteX70" fmla="*/ 159749 w 267627"/>
              <a:gd name="connsiteY70" fmla="*/ 182374 h 267629"/>
              <a:gd name="connsiteX71" fmla="*/ 133814 w 267627"/>
              <a:gd name="connsiteY71" fmla="*/ 156991 h 267629"/>
              <a:gd name="connsiteX72" fmla="*/ 107879 w 267627"/>
              <a:gd name="connsiteY72" fmla="*/ 182374 h 267629"/>
              <a:gd name="connsiteX73" fmla="*/ 107879 w 267627"/>
              <a:gd name="connsiteY73" fmla="*/ 232313 h 267629"/>
              <a:gd name="connsiteX74" fmla="*/ 97119 w 267627"/>
              <a:gd name="connsiteY74" fmla="*/ 232313 h 267629"/>
              <a:gd name="connsiteX75" fmla="*/ 97119 w 267627"/>
              <a:gd name="connsiteY75" fmla="*/ 139885 h 267629"/>
              <a:gd name="connsiteX76" fmla="*/ 101257 w 267627"/>
              <a:gd name="connsiteY76" fmla="*/ 139885 h 267629"/>
              <a:gd name="connsiteX77" fmla="*/ 150644 w 267627"/>
              <a:gd name="connsiteY77" fmla="*/ 232589 h 267629"/>
              <a:gd name="connsiteX78" fmla="*/ 116432 w 267627"/>
              <a:gd name="connsiteY78" fmla="*/ 232589 h 267629"/>
              <a:gd name="connsiteX79" fmla="*/ 116432 w 267627"/>
              <a:gd name="connsiteY79" fmla="*/ 182374 h 267629"/>
              <a:gd name="connsiteX80" fmla="*/ 133538 w 267627"/>
              <a:gd name="connsiteY80" fmla="*/ 165820 h 267629"/>
              <a:gd name="connsiteX81" fmla="*/ 150644 w 267627"/>
              <a:gd name="connsiteY81" fmla="*/ 182374 h 267629"/>
              <a:gd name="connsiteX82" fmla="*/ 150644 w 267627"/>
              <a:gd name="connsiteY82" fmla="*/ 232589 h 267629"/>
              <a:gd name="connsiteX83" fmla="*/ 195893 w 267627"/>
              <a:gd name="connsiteY83" fmla="*/ 232589 h 267629"/>
              <a:gd name="connsiteX84" fmla="*/ 178786 w 267627"/>
              <a:gd name="connsiteY84" fmla="*/ 232589 h 267629"/>
              <a:gd name="connsiteX85" fmla="*/ 178786 w 267627"/>
              <a:gd name="connsiteY85" fmla="*/ 139885 h 267629"/>
              <a:gd name="connsiteX86" fmla="*/ 195893 w 267627"/>
              <a:gd name="connsiteY86" fmla="*/ 139885 h 267629"/>
              <a:gd name="connsiteX87" fmla="*/ 195893 w 267627"/>
              <a:gd name="connsiteY87" fmla="*/ 232589 h 267629"/>
              <a:gd name="connsiteX88" fmla="*/ 204446 w 267627"/>
              <a:gd name="connsiteY88" fmla="*/ 131332 h 267629"/>
              <a:gd name="connsiteX89" fmla="*/ 169957 w 267627"/>
              <a:gd name="connsiteY89" fmla="*/ 131332 h 267629"/>
              <a:gd name="connsiteX90" fmla="*/ 169957 w 267627"/>
              <a:gd name="connsiteY90" fmla="*/ 126917 h 267629"/>
              <a:gd name="connsiteX91" fmla="*/ 204446 w 267627"/>
              <a:gd name="connsiteY91" fmla="*/ 126917 h 267629"/>
              <a:gd name="connsiteX92" fmla="*/ 204446 w 267627"/>
              <a:gd name="connsiteY92" fmla="*/ 131332 h 267629"/>
              <a:gd name="connsiteX93" fmla="*/ 124985 w 267627"/>
              <a:gd name="connsiteY93" fmla="*/ 36696 h 267629"/>
              <a:gd name="connsiteX94" fmla="*/ 142091 w 267627"/>
              <a:gd name="connsiteY94" fmla="*/ 36696 h 267629"/>
              <a:gd name="connsiteX95" fmla="*/ 142091 w 267627"/>
              <a:gd name="connsiteY95" fmla="*/ 39455 h 267629"/>
              <a:gd name="connsiteX96" fmla="*/ 124985 w 267627"/>
              <a:gd name="connsiteY96" fmla="*/ 39455 h 267629"/>
              <a:gd name="connsiteX97" fmla="*/ 124985 w 267627"/>
              <a:gd name="connsiteY97" fmla="*/ 36696 h 267629"/>
              <a:gd name="connsiteX98" fmla="*/ 133538 w 267627"/>
              <a:gd name="connsiteY98" fmla="*/ 47456 h 267629"/>
              <a:gd name="connsiteX99" fmla="*/ 189823 w 267627"/>
              <a:gd name="connsiteY99" fmla="*/ 103465 h 267629"/>
              <a:gd name="connsiteX100" fmla="*/ 75874 w 267627"/>
              <a:gd name="connsiteY100" fmla="*/ 103465 h 267629"/>
              <a:gd name="connsiteX101" fmla="*/ 133538 w 267627"/>
              <a:gd name="connsiteY101" fmla="*/ 47456 h 267629"/>
              <a:gd name="connsiteX102" fmla="*/ 56009 w 267627"/>
              <a:gd name="connsiteY102" fmla="*/ 112018 h 267629"/>
              <a:gd name="connsiteX103" fmla="*/ 211067 w 267627"/>
              <a:gd name="connsiteY103" fmla="*/ 112018 h 267629"/>
              <a:gd name="connsiteX104" fmla="*/ 211067 w 267627"/>
              <a:gd name="connsiteY104" fmla="*/ 118364 h 267629"/>
              <a:gd name="connsiteX105" fmla="*/ 58216 w 267627"/>
              <a:gd name="connsiteY105" fmla="*/ 118364 h 267629"/>
              <a:gd name="connsiteX106" fmla="*/ 56009 w 267627"/>
              <a:gd name="connsiteY106" fmla="*/ 118364 h 267629"/>
              <a:gd name="connsiteX107" fmla="*/ 56009 w 267627"/>
              <a:gd name="connsiteY107" fmla="*/ 112018 h 267629"/>
              <a:gd name="connsiteX108" fmla="*/ 96843 w 267627"/>
              <a:gd name="connsiteY108" fmla="*/ 127193 h 267629"/>
              <a:gd name="connsiteX109" fmla="*/ 96843 w 267627"/>
              <a:gd name="connsiteY109" fmla="*/ 131608 h 267629"/>
              <a:gd name="connsiteX110" fmla="*/ 62355 w 267627"/>
              <a:gd name="connsiteY110" fmla="*/ 131608 h 267629"/>
              <a:gd name="connsiteX111" fmla="*/ 62355 w 267627"/>
              <a:gd name="connsiteY111" fmla="*/ 127193 h 267629"/>
              <a:gd name="connsiteX112" fmla="*/ 96843 w 267627"/>
              <a:gd name="connsiteY112" fmla="*/ 127193 h 267629"/>
              <a:gd name="connsiteX113" fmla="*/ 88290 w 267627"/>
              <a:gd name="connsiteY113" fmla="*/ 139885 h 267629"/>
              <a:gd name="connsiteX114" fmla="*/ 88290 w 267627"/>
              <a:gd name="connsiteY114" fmla="*/ 232313 h 267629"/>
              <a:gd name="connsiteX115" fmla="*/ 71183 w 267627"/>
              <a:gd name="connsiteY115" fmla="*/ 232313 h 267629"/>
              <a:gd name="connsiteX116" fmla="*/ 71183 w 267627"/>
              <a:gd name="connsiteY116" fmla="*/ 139885 h 267629"/>
              <a:gd name="connsiteX117" fmla="*/ 88290 w 267627"/>
              <a:gd name="connsiteY117" fmla="*/ 139885 h 267629"/>
              <a:gd name="connsiteX118" fmla="*/ 8829 w 267627"/>
              <a:gd name="connsiteY118" fmla="*/ 155060 h 267629"/>
              <a:gd name="connsiteX119" fmla="*/ 62630 w 267627"/>
              <a:gd name="connsiteY119" fmla="*/ 155060 h 267629"/>
              <a:gd name="connsiteX120" fmla="*/ 62630 w 267627"/>
              <a:gd name="connsiteY120" fmla="*/ 161405 h 267629"/>
              <a:gd name="connsiteX121" fmla="*/ 8829 w 267627"/>
              <a:gd name="connsiteY121" fmla="*/ 161405 h 267629"/>
              <a:gd name="connsiteX122" fmla="*/ 8829 w 267627"/>
              <a:gd name="connsiteY122" fmla="*/ 155060 h 267629"/>
              <a:gd name="connsiteX123" fmla="*/ 62630 w 267627"/>
              <a:gd name="connsiteY123" fmla="*/ 170234 h 267629"/>
              <a:gd name="connsiteX124" fmla="*/ 62630 w 267627"/>
              <a:gd name="connsiteY124" fmla="*/ 232589 h 267629"/>
              <a:gd name="connsiteX125" fmla="*/ 30350 w 267627"/>
              <a:gd name="connsiteY125" fmla="*/ 232589 h 267629"/>
              <a:gd name="connsiteX126" fmla="*/ 25935 w 267627"/>
              <a:gd name="connsiteY126" fmla="*/ 237004 h 267629"/>
              <a:gd name="connsiteX127" fmla="*/ 25935 w 267627"/>
              <a:gd name="connsiteY127" fmla="*/ 245557 h 267629"/>
              <a:gd name="connsiteX128" fmla="*/ 17382 w 267627"/>
              <a:gd name="connsiteY128" fmla="*/ 245557 h 267629"/>
              <a:gd name="connsiteX129" fmla="*/ 17382 w 267627"/>
              <a:gd name="connsiteY129" fmla="*/ 170234 h 267629"/>
              <a:gd name="connsiteX130" fmla="*/ 62630 w 267627"/>
              <a:gd name="connsiteY130" fmla="*/ 170234 h 267629"/>
              <a:gd name="connsiteX131" fmla="*/ 249694 w 267627"/>
              <a:gd name="connsiteY131" fmla="*/ 258249 h 267629"/>
              <a:gd name="connsiteX132" fmla="*/ 17382 w 267627"/>
              <a:gd name="connsiteY132" fmla="*/ 258249 h 267629"/>
              <a:gd name="connsiteX133" fmla="*/ 17382 w 267627"/>
              <a:gd name="connsiteY133" fmla="*/ 253834 h 267629"/>
              <a:gd name="connsiteX134" fmla="*/ 249694 w 267627"/>
              <a:gd name="connsiteY134" fmla="*/ 253834 h 267629"/>
              <a:gd name="connsiteX135" fmla="*/ 249694 w 267627"/>
              <a:gd name="connsiteY135" fmla="*/ 258249 h 267629"/>
              <a:gd name="connsiteX136" fmla="*/ 249694 w 267627"/>
              <a:gd name="connsiteY136" fmla="*/ 245557 h 267629"/>
              <a:gd name="connsiteX137" fmla="*/ 241141 w 267627"/>
              <a:gd name="connsiteY137" fmla="*/ 245557 h 267629"/>
              <a:gd name="connsiteX138" fmla="*/ 241141 w 267627"/>
              <a:gd name="connsiteY138" fmla="*/ 237004 h 267629"/>
              <a:gd name="connsiteX139" fmla="*/ 236727 w 267627"/>
              <a:gd name="connsiteY139" fmla="*/ 232589 h 267629"/>
              <a:gd name="connsiteX140" fmla="*/ 204446 w 267627"/>
              <a:gd name="connsiteY140" fmla="*/ 232589 h 267629"/>
              <a:gd name="connsiteX141" fmla="*/ 204446 w 267627"/>
              <a:gd name="connsiteY141" fmla="*/ 170234 h 267629"/>
              <a:gd name="connsiteX142" fmla="*/ 249694 w 267627"/>
              <a:gd name="connsiteY142" fmla="*/ 170234 h 267629"/>
              <a:gd name="connsiteX143" fmla="*/ 249694 w 267627"/>
              <a:gd name="connsiteY143" fmla="*/ 245557 h 267629"/>
              <a:gd name="connsiteX144" fmla="*/ 258247 w 267627"/>
              <a:gd name="connsiteY144" fmla="*/ 161405 h 267629"/>
              <a:gd name="connsiteX145" fmla="*/ 204446 w 267627"/>
              <a:gd name="connsiteY145" fmla="*/ 161405 h 267629"/>
              <a:gd name="connsiteX146" fmla="*/ 204446 w 267627"/>
              <a:gd name="connsiteY146" fmla="*/ 155060 h 267629"/>
              <a:gd name="connsiteX147" fmla="*/ 258247 w 267627"/>
              <a:gd name="connsiteY147" fmla="*/ 155060 h 267629"/>
              <a:gd name="connsiteX148" fmla="*/ 258247 w 267627"/>
              <a:gd name="connsiteY148" fmla="*/ 161405 h 267629"/>
              <a:gd name="connsiteX149" fmla="*/ 28142 w 267627"/>
              <a:gd name="connsiteY149" fmla="*/ 224036 h 267629"/>
              <a:gd name="connsiteX150" fmla="*/ 51870 w 267627"/>
              <a:gd name="connsiteY150" fmla="*/ 224036 h 267629"/>
              <a:gd name="connsiteX151" fmla="*/ 56285 w 267627"/>
              <a:gd name="connsiteY151" fmla="*/ 219622 h 267629"/>
              <a:gd name="connsiteX152" fmla="*/ 56285 w 267627"/>
              <a:gd name="connsiteY152" fmla="*/ 182926 h 267629"/>
              <a:gd name="connsiteX153" fmla="*/ 51870 w 267627"/>
              <a:gd name="connsiteY153" fmla="*/ 178512 h 267629"/>
              <a:gd name="connsiteX154" fmla="*/ 28142 w 267627"/>
              <a:gd name="connsiteY154" fmla="*/ 178512 h 267629"/>
              <a:gd name="connsiteX155" fmla="*/ 23728 w 267627"/>
              <a:gd name="connsiteY155" fmla="*/ 182926 h 267629"/>
              <a:gd name="connsiteX156" fmla="*/ 23728 w 267627"/>
              <a:gd name="connsiteY156" fmla="*/ 219622 h 267629"/>
              <a:gd name="connsiteX157" fmla="*/ 28142 w 267627"/>
              <a:gd name="connsiteY157" fmla="*/ 224036 h 267629"/>
              <a:gd name="connsiteX158" fmla="*/ 32281 w 267627"/>
              <a:gd name="connsiteY158" fmla="*/ 187341 h 267629"/>
              <a:gd name="connsiteX159" fmla="*/ 47456 w 267627"/>
              <a:gd name="connsiteY159" fmla="*/ 187341 h 267629"/>
              <a:gd name="connsiteX160" fmla="*/ 47456 w 267627"/>
              <a:gd name="connsiteY160" fmla="*/ 215207 h 267629"/>
              <a:gd name="connsiteX161" fmla="*/ 32281 w 267627"/>
              <a:gd name="connsiteY161" fmla="*/ 215207 h 267629"/>
              <a:gd name="connsiteX162" fmla="*/ 32281 w 267627"/>
              <a:gd name="connsiteY162" fmla="*/ 187341 h 267629"/>
              <a:gd name="connsiteX163" fmla="*/ 215206 w 267627"/>
              <a:gd name="connsiteY163" fmla="*/ 224036 h 267629"/>
              <a:gd name="connsiteX164" fmla="*/ 238934 w 267627"/>
              <a:gd name="connsiteY164" fmla="*/ 224036 h 267629"/>
              <a:gd name="connsiteX165" fmla="*/ 243348 w 267627"/>
              <a:gd name="connsiteY165" fmla="*/ 219622 h 267629"/>
              <a:gd name="connsiteX166" fmla="*/ 243348 w 267627"/>
              <a:gd name="connsiteY166" fmla="*/ 182926 h 267629"/>
              <a:gd name="connsiteX167" fmla="*/ 238934 w 267627"/>
              <a:gd name="connsiteY167" fmla="*/ 178512 h 267629"/>
              <a:gd name="connsiteX168" fmla="*/ 215206 w 267627"/>
              <a:gd name="connsiteY168" fmla="*/ 178512 h 267629"/>
              <a:gd name="connsiteX169" fmla="*/ 210791 w 267627"/>
              <a:gd name="connsiteY169" fmla="*/ 182926 h 267629"/>
              <a:gd name="connsiteX170" fmla="*/ 210791 w 267627"/>
              <a:gd name="connsiteY170" fmla="*/ 219622 h 267629"/>
              <a:gd name="connsiteX171" fmla="*/ 215206 w 267627"/>
              <a:gd name="connsiteY171" fmla="*/ 224036 h 267629"/>
              <a:gd name="connsiteX172" fmla="*/ 219620 w 267627"/>
              <a:gd name="connsiteY172" fmla="*/ 187341 h 267629"/>
              <a:gd name="connsiteX173" fmla="*/ 234795 w 267627"/>
              <a:gd name="connsiteY173" fmla="*/ 187341 h 267629"/>
              <a:gd name="connsiteX174" fmla="*/ 234795 w 267627"/>
              <a:gd name="connsiteY174" fmla="*/ 215207 h 267629"/>
              <a:gd name="connsiteX175" fmla="*/ 219620 w 267627"/>
              <a:gd name="connsiteY175" fmla="*/ 215207 h 267629"/>
              <a:gd name="connsiteX176" fmla="*/ 219620 w 267627"/>
              <a:gd name="connsiteY176" fmla="*/ 187341 h 26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67627" h="267629">
                <a:moveTo>
                  <a:pt x="262662" y="146506"/>
                </a:moveTo>
                <a:lnTo>
                  <a:pt x="204446" y="146506"/>
                </a:lnTo>
                <a:lnTo>
                  <a:pt x="204446" y="140161"/>
                </a:lnTo>
                <a:lnTo>
                  <a:pt x="208860" y="140161"/>
                </a:lnTo>
                <a:cubicBezTo>
                  <a:pt x="211343" y="140161"/>
                  <a:pt x="213275" y="138229"/>
                  <a:pt x="213275" y="135746"/>
                </a:cubicBezTo>
                <a:lnTo>
                  <a:pt x="213275" y="127193"/>
                </a:lnTo>
                <a:lnTo>
                  <a:pt x="215482" y="127193"/>
                </a:lnTo>
                <a:cubicBezTo>
                  <a:pt x="217965" y="127193"/>
                  <a:pt x="219896" y="125262"/>
                  <a:pt x="219896" y="122779"/>
                </a:cubicBezTo>
                <a:lnTo>
                  <a:pt x="219896" y="107604"/>
                </a:lnTo>
                <a:cubicBezTo>
                  <a:pt x="219896" y="105120"/>
                  <a:pt x="217965" y="103189"/>
                  <a:pt x="215482" y="103189"/>
                </a:cubicBezTo>
                <a:lnTo>
                  <a:pt x="198652" y="103189"/>
                </a:lnTo>
                <a:cubicBezTo>
                  <a:pt x="197548" y="73391"/>
                  <a:pt x="177683" y="48560"/>
                  <a:pt x="150920" y="41110"/>
                </a:cubicBezTo>
                <a:lnTo>
                  <a:pt x="150920" y="32281"/>
                </a:lnTo>
                <a:cubicBezTo>
                  <a:pt x="150920" y="29798"/>
                  <a:pt x="148989" y="27867"/>
                  <a:pt x="146506" y="27867"/>
                </a:cubicBezTo>
                <a:lnTo>
                  <a:pt x="137953" y="27867"/>
                </a:lnTo>
                <a:lnTo>
                  <a:pt x="137953" y="23452"/>
                </a:lnTo>
                <a:lnTo>
                  <a:pt x="159473" y="23452"/>
                </a:lnTo>
                <a:cubicBezTo>
                  <a:pt x="161956" y="23452"/>
                  <a:pt x="163888" y="21521"/>
                  <a:pt x="163888" y="19038"/>
                </a:cubicBezTo>
                <a:lnTo>
                  <a:pt x="163888" y="4415"/>
                </a:lnTo>
                <a:cubicBezTo>
                  <a:pt x="163888" y="1931"/>
                  <a:pt x="161956" y="0"/>
                  <a:pt x="159473" y="0"/>
                </a:cubicBezTo>
                <a:lnTo>
                  <a:pt x="133538" y="0"/>
                </a:lnTo>
                <a:cubicBezTo>
                  <a:pt x="131055" y="0"/>
                  <a:pt x="129124" y="1931"/>
                  <a:pt x="129124" y="4415"/>
                </a:cubicBezTo>
                <a:cubicBezTo>
                  <a:pt x="129124" y="12968"/>
                  <a:pt x="129124" y="19589"/>
                  <a:pt x="129124" y="28142"/>
                </a:cubicBezTo>
                <a:lnTo>
                  <a:pt x="120570" y="28142"/>
                </a:lnTo>
                <a:cubicBezTo>
                  <a:pt x="118087" y="28142"/>
                  <a:pt x="116156" y="30074"/>
                  <a:pt x="116156" y="32557"/>
                </a:cubicBezTo>
                <a:lnTo>
                  <a:pt x="116156" y="41386"/>
                </a:lnTo>
                <a:cubicBezTo>
                  <a:pt x="89117" y="49111"/>
                  <a:pt x="68149" y="74219"/>
                  <a:pt x="67045" y="103465"/>
                </a:cubicBezTo>
                <a:lnTo>
                  <a:pt x="51594" y="103465"/>
                </a:lnTo>
                <a:cubicBezTo>
                  <a:pt x="49111" y="103465"/>
                  <a:pt x="47180" y="105396"/>
                  <a:pt x="47180" y="107880"/>
                </a:cubicBezTo>
                <a:lnTo>
                  <a:pt x="47180" y="123054"/>
                </a:lnTo>
                <a:cubicBezTo>
                  <a:pt x="47180" y="125538"/>
                  <a:pt x="49111" y="127469"/>
                  <a:pt x="51594" y="127469"/>
                </a:cubicBezTo>
                <a:lnTo>
                  <a:pt x="53801" y="127469"/>
                </a:lnTo>
                <a:lnTo>
                  <a:pt x="53801" y="136022"/>
                </a:lnTo>
                <a:cubicBezTo>
                  <a:pt x="53801" y="138505"/>
                  <a:pt x="55733" y="140437"/>
                  <a:pt x="58216" y="140437"/>
                </a:cubicBezTo>
                <a:lnTo>
                  <a:pt x="62630" y="140437"/>
                </a:lnTo>
                <a:lnTo>
                  <a:pt x="62630" y="146782"/>
                </a:lnTo>
                <a:lnTo>
                  <a:pt x="4414" y="146782"/>
                </a:lnTo>
                <a:cubicBezTo>
                  <a:pt x="1931" y="146782"/>
                  <a:pt x="0" y="148714"/>
                  <a:pt x="0" y="151197"/>
                </a:cubicBezTo>
                <a:lnTo>
                  <a:pt x="0" y="166372"/>
                </a:lnTo>
                <a:cubicBezTo>
                  <a:pt x="0" y="168855"/>
                  <a:pt x="1931" y="170786"/>
                  <a:pt x="4414" y="170786"/>
                </a:cubicBezTo>
                <a:lnTo>
                  <a:pt x="8829" y="170786"/>
                </a:lnTo>
                <a:cubicBezTo>
                  <a:pt x="8829" y="206378"/>
                  <a:pt x="8829" y="229003"/>
                  <a:pt x="8829" y="263215"/>
                </a:cubicBezTo>
                <a:cubicBezTo>
                  <a:pt x="8829" y="265698"/>
                  <a:pt x="10760" y="267630"/>
                  <a:pt x="13243" y="267630"/>
                </a:cubicBezTo>
                <a:lnTo>
                  <a:pt x="254384" y="267630"/>
                </a:lnTo>
                <a:cubicBezTo>
                  <a:pt x="256868" y="267630"/>
                  <a:pt x="258799" y="265698"/>
                  <a:pt x="258799" y="263215"/>
                </a:cubicBezTo>
                <a:lnTo>
                  <a:pt x="258799" y="250247"/>
                </a:lnTo>
                <a:lnTo>
                  <a:pt x="258799" y="170234"/>
                </a:lnTo>
                <a:lnTo>
                  <a:pt x="263213" y="170234"/>
                </a:lnTo>
                <a:cubicBezTo>
                  <a:pt x="265697" y="170234"/>
                  <a:pt x="267628" y="168303"/>
                  <a:pt x="267628" y="165820"/>
                </a:cubicBezTo>
                <a:lnTo>
                  <a:pt x="267628" y="150645"/>
                </a:lnTo>
                <a:cubicBezTo>
                  <a:pt x="267076" y="148438"/>
                  <a:pt x="265145" y="146506"/>
                  <a:pt x="262662" y="146506"/>
                </a:cubicBezTo>
                <a:close/>
                <a:moveTo>
                  <a:pt x="155059" y="15175"/>
                </a:moveTo>
                <a:lnTo>
                  <a:pt x="137953" y="15175"/>
                </a:lnTo>
                <a:lnTo>
                  <a:pt x="137953" y="8829"/>
                </a:lnTo>
                <a:lnTo>
                  <a:pt x="155059" y="8829"/>
                </a:lnTo>
                <a:lnTo>
                  <a:pt x="155059" y="15175"/>
                </a:lnTo>
                <a:close/>
                <a:moveTo>
                  <a:pt x="232588" y="245557"/>
                </a:moveTo>
                <a:lnTo>
                  <a:pt x="34488" y="245557"/>
                </a:lnTo>
                <a:lnTo>
                  <a:pt x="34488" y="241143"/>
                </a:lnTo>
                <a:cubicBezTo>
                  <a:pt x="74770" y="241143"/>
                  <a:pt x="190374" y="241143"/>
                  <a:pt x="232588" y="241143"/>
                </a:cubicBezTo>
                <a:lnTo>
                  <a:pt x="232588" y="245557"/>
                </a:lnTo>
                <a:close/>
                <a:moveTo>
                  <a:pt x="101257" y="139885"/>
                </a:moveTo>
                <a:cubicBezTo>
                  <a:pt x="103740" y="139885"/>
                  <a:pt x="105672" y="137953"/>
                  <a:pt x="105672" y="135470"/>
                </a:cubicBezTo>
                <a:lnTo>
                  <a:pt x="105672" y="126917"/>
                </a:lnTo>
                <a:lnTo>
                  <a:pt x="161680" y="126917"/>
                </a:lnTo>
                <a:lnTo>
                  <a:pt x="161680" y="135470"/>
                </a:lnTo>
                <a:cubicBezTo>
                  <a:pt x="161680" y="137953"/>
                  <a:pt x="163612" y="139885"/>
                  <a:pt x="166095" y="139885"/>
                </a:cubicBezTo>
                <a:lnTo>
                  <a:pt x="170509" y="139885"/>
                </a:lnTo>
                <a:lnTo>
                  <a:pt x="170509" y="232313"/>
                </a:lnTo>
                <a:lnTo>
                  <a:pt x="159749" y="232313"/>
                </a:lnTo>
                <a:lnTo>
                  <a:pt x="159749" y="182374"/>
                </a:lnTo>
                <a:cubicBezTo>
                  <a:pt x="159749" y="169131"/>
                  <a:pt x="149265" y="156991"/>
                  <a:pt x="133814" y="156991"/>
                </a:cubicBezTo>
                <a:cubicBezTo>
                  <a:pt x="118639" y="156991"/>
                  <a:pt x="107879" y="168855"/>
                  <a:pt x="107879" y="182374"/>
                </a:cubicBezTo>
                <a:lnTo>
                  <a:pt x="107879" y="232313"/>
                </a:lnTo>
                <a:lnTo>
                  <a:pt x="97119" y="232313"/>
                </a:lnTo>
                <a:lnTo>
                  <a:pt x="97119" y="139885"/>
                </a:lnTo>
                <a:lnTo>
                  <a:pt x="101257" y="139885"/>
                </a:lnTo>
                <a:close/>
                <a:moveTo>
                  <a:pt x="150644" y="232589"/>
                </a:moveTo>
                <a:lnTo>
                  <a:pt x="116432" y="232589"/>
                </a:lnTo>
                <a:lnTo>
                  <a:pt x="116432" y="182374"/>
                </a:lnTo>
                <a:cubicBezTo>
                  <a:pt x="116432" y="173545"/>
                  <a:pt x="123330" y="165820"/>
                  <a:pt x="133538" y="165820"/>
                </a:cubicBezTo>
                <a:cubicBezTo>
                  <a:pt x="144022" y="165820"/>
                  <a:pt x="150644" y="173821"/>
                  <a:pt x="150644" y="182374"/>
                </a:cubicBezTo>
                <a:lnTo>
                  <a:pt x="150644" y="232589"/>
                </a:lnTo>
                <a:close/>
                <a:moveTo>
                  <a:pt x="195893" y="232589"/>
                </a:moveTo>
                <a:lnTo>
                  <a:pt x="178786" y="232589"/>
                </a:lnTo>
                <a:lnTo>
                  <a:pt x="178786" y="139885"/>
                </a:lnTo>
                <a:lnTo>
                  <a:pt x="195893" y="139885"/>
                </a:lnTo>
                <a:cubicBezTo>
                  <a:pt x="195893" y="178788"/>
                  <a:pt x="195893" y="169683"/>
                  <a:pt x="195893" y="232589"/>
                </a:cubicBezTo>
                <a:close/>
                <a:moveTo>
                  <a:pt x="204446" y="131332"/>
                </a:moveTo>
                <a:cubicBezTo>
                  <a:pt x="196996" y="131332"/>
                  <a:pt x="176855" y="131332"/>
                  <a:pt x="169957" y="131332"/>
                </a:cubicBezTo>
                <a:lnTo>
                  <a:pt x="169957" y="126917"/>
                </a:lnTo>
                <a:lnTo>
                  <a:pt x="204446" y="126917"/>
                </a:lnTo>
                <a:lnTo>
                  <a:pt x="204446" y="131332"/>
                </a:lnTo>
                <a:close/>
                <a:moveTo>
                  <a:pt x="124985" y="36696"/>
                </a:moveTo>
                <a:lnTo>
                  <a:pt x="142091" y="36696"/>
                </a:lnTo>
                <a:lnTo>
                  <a:pt x="142091" y="39455"/>
                </a:lnTo>
                <a:cubicBezTo>
                  <a:pt x="136021" y="38627"/>
                  <a:pt x="130779" y="38627"/>
                  <a:pt x="124985" y="39455"/>
                </a:cubicBezTo>
                <a:lnTo>
                  <a:pt x="124985" y="36696"/>
                </a:lnTo>
                <a:close/>
                <a:moveTo>
                  <a:pt x="133538" y="47456"/>
                </a:moveTo>
                <a:cubicBezTo>
                  <a:pt x="163888" y="47456"/>
                  <a:pt x="188443" y="72288"/>
                  <a:pt x="189823" y="103465"/>
                </a:cubicBezTo>
                <a:lnTo>
                  <a:pt x="75874" y="103465"/>
                </a:lnTo>
                <a:cubicBezTo>
                  <a:pt x="77253" y="72839"/>
                  <a:pt x="103188" y="47456"/>
                  <a:pt x="133538" y="47456"/>
                </a:cubicBezTo>
                <a:close/>
                <a:moveTo>
                  <a:pt x="56009" y="112018"/>
                </a:moveTo>
                <a:lnTo>
                  <a:pt x="211067" y="112018"/>
                </a:lnTo>
                <a:lnTo>
                  <a:pt x="211067" y="118364"/>
                </a:lnTo>
                <a:cubicBezTo>
                  <a:pt x="34764" y="118364"/>
                  <a:pt x="216585" y="118364"/>
                  <a:pt x="58216" y="118364"/>
                </a:cubicBezTo>
                <a:lnTo>
                  <a:pt x="56009" y="118364"/>
                </a:lnTo>
                <a:lnTo>
                  <a:pt x="56009" y="112018"/>
                </a:lnTo>
                <a:close/>
                <a:moveTo>
                  <a:pt x="96843" y="127193"/>
                </a:moveTo>
                <a:lnTo>
                  <a:pt x="96843" y="131608"/>
                </a:lnTo>
                <a:cubicBezTo>
                  <a:pt x="89393" y="131608"/>
                  <a:pt x="69252" y="131608"/>
                  <a:pt x="62355" y="131608"/>
                </a:cubicBezTo>
                <a:lnTo>
                  <a:pt x="62355" y="127193"/>
                </a:lnTo>
                <a:lnTo>
                  <a:pt x="96843" y="127193"/>
                </a:lnTo>
                <a:close/>
                <a:moveTo>
                  <a:pt x="88290" y="139885"/>
                </a:moveTo>
                <a:lnTo>
                  <a:pt x="88290" y="232313"/>
                </a:lnTo>
                <a:lnTo>
                  <a:pt x="71183" y="232313"/>
                </a:lnTo>
                <a:cubicBezTo>
                  <a:pt x="71183" y="145403"/>
                  <a:pt x="71183" y="241418"/>
                  <a:pt x="71183" y="139885"/>
                </a:cubicBezTo>
                <a:lnTo>
                  <a:pt x="88290" y="139885"/>
                </a:lnTo>
                <a:close/>
                <a:moveTo>
                  <a:pt x="8829" y="155060"/>
                </a:moveTo>
                <a:lnTo>
                  <a:pt x="62630" y="155060"/>
                </a:lnTo>
                <a:lnTo>
                  <a:pt x="62630" y="161405"/>
                </a:lnTo>
                <a:cubicBezTo>
                  <a:pt x="41386" y="161405"/>
                  <a:pt x="29798" y="161405"/>
                  <a:pt x="8829" y="161405"/>
                </a:cubicBezTo>
                <a:lnTo>
                  <a:pt x="8829" y="155060"/>
                </a:lnTo>
                <a:close/>
                <a:moveTo>
                  <a:pt x="62630" y="170234"/>
                </a:moveTo>
                <a:lnTo>
                  <a:pt x="62630" y="232589"/>
                </a:lnTo>
                <a:lnTo>
                  <a:pt x="30350" y="232589"/>
                </a:lnTo>
                <a:cubicBezTo>
                  <a:pt x="27866" y="232589"/>
                  <a:pt x="25935" y="234521"/>
                  <a:pt x="25935" y="237004"/>
                </a:cubicBezTo>
                <a:lnTo>
                  <a:pt x="25935" y="245557"/>
                </a:lnTo>
                <a:lnTo>
                  <a:pt x="17382" y="245557"/>
                </a:lnTo>
                <a:lnTo>
                  <a:pt x="17382" y="170234"/>
                </a:lnTo>
                <a:lnTo>
                  <a:pt x="62630" y="170234"/>
                </a:lnTo>
                <a:close/>
                <a:moveTo>
                  <a:pt x="249694" y="258249"/>
                </a:moveTo>
                <a:lnTo>
                  <a:pt x="17382" y="258249"/>
                </a:lnTo>
                <a:lnTo>
                  <a:pt x="17382" y="253834"/>
                </a:lnTo>
                <a:cubicBezTo>
                  <a:pt x="41110" y="253834"/>
                  <a:pt x="224863" y="253834"/>
                  <a:pt x="249694" y="253834"/>
                </a:cubicBezTo>
                <a:lnTo>
                  <a:pt x="249694" y="258249"/>
                </a:lnTo>
                <a:close/>
                <a:moveTo>
                  <a:pt x="249694" y="245557"/>
                </a:moveTo>
                <a:lnTo>
                  <a:pt x="241141" y="245557"/>
                </a:lnTo>
                <a:lnTo>
                  <a:pt x="241141" y="237004"/>
                </a:lnTo>
                <a:cubicBezTo>
                  <a:pt x="241141" y="234521"/>
                  <a:pt x="239210" y="232589"/>
                  <a:pt x="236727" y="232589"/>
                </a:cubicBezTo>
                <a:lnTo>
                  <a:pt x="204446" y="232589"/>
                </a:lnTo>
                <a:lnTo>
                  <a:pt x="204446" y="170234"/>
                </a:lnTo>
                <a:lnTo>
                  <a:pt x="249694" y="170234"/>
                </a:lnTo>
                <a:lnTo>
                  <a:pt x="249694" y="245557"/>
                </a:lnTo>
                <a:close/>
                <a:moveTo>
                  <a:pt x="258247" y="161405"/>
                </a:moveTo>
                <a:cubicBezTo>
                  <a:pt x="237278" y="161405"/>
                  <a:pt x="225690" y="161405"/>
                  <a:pt x="204446" y="161405"/>
                </a:cubicBezTo>
                <a:lnTo>
                  <a:pt x="204446" y="155060"/>
                </a:lnTo>
                <a:lnTo>
                  <a:pt x="258247" y="155060"/>
                </a:lnTo>
                <a:lnTo>
                  <a:pt x="258247" y="161405"/>
                </a:lnTo>
                <a:close/>
                <a:moveTo>
                  <a:pt x="28142" y="224036"/>
                </a:moveTo>
                <a:lnTo>
                  <a:pt x="51870" y="224036"/>
                </a:lnTo>
                <a:cubicBezTo>
                  <a:pt x="54353" y="224036"/>
                  <a:pt x="56285" y="222105"/>
                  <a:pt x="56285" y="219622"/>
                </a:cubicBezTo>
                <a:lnTo>
                  <a:pt x="56285" y="182926"/>
                </a:lnTo>
                <a:cubicBezTo>
                  <a:pt x="56285" y="180443"/>
                  <a:pt x="54353" y="178512"/>
                  <a:pt x="51870" y="178512"/>
                </a:cubicBezTo>
                <a:lnTo>
                  <a:pt x="28142" y="178512"/>
                </a:lnTo>
                <a:cubicBezTo>
                  <a:pt x="25659" y="178512"/>
                  <a:pt x="23728" y="180443"/>
                  <a:pt x="23728" y="182926"/>
                </a:cubicBezTo>
                <a:lnTo>
                  <a:pt x="23728" y="219622"/>
                </a:lnTo>
                <a:cubicBezTo>
                  <a:pt x="23728" y="222105"/>
                  <a:pt x="25659" y="224036"/>
                  <a:pt x="28142" y="224036"/>
                </a:cubicBezTo>
                <a:close/>
                <a:moveTo>
                  <a:pt x="32281" y="187341"/>
                </a:moveTo>
                <a:lnTo>
                  <a:pt x="47456" y="187341"/>
                </a:lnTo>
                <a:lnTo>
                  <a:pt x="47456" y="215207"/>
                </a:lnTo>
                <a:lnTo>
                  <a:pt x="32281" y="215207"/>
                </a:lnTo>
                <a:lnTo>
                  <a:pt x="32281" y="187341"/>
                </a:lnTo>
                <a:close/>
                <a:moveTo>
                  <a:pt x="215206" y="224036"/>
                </a:moveTo>
                <a:lnTo>
                  <a:pt x="238934" y="224036"/>
                </a:lnTo>
                <a:cubicBezTo>
                  <a:pt x="241417" y="224036"/>
                  <a:pt x="243348" y="222105"/>
                  <a:pt x="243348" y="219622"/>
                </a:cubicBezTo>
                <a:lnTo>
                  <a:pt x="243348" y="182926"/>
                </a:lnTo>
                <a:cubicBezTo>
                  <a:pt x="243348" y="180443"/>
                  <a:pt x="241417" y="178512"/>
                  <a:pt x="238934" y="178512"/>
                </a:cubicBezTo>
                <a:lnTo>
                  <a:pt x="215206" y="178512"/>
                </a:lnTo>
                <a:cubicBezTo>
                  <a:pt x="212723" y="178512"/>
                  <a:pt x="210791" y="180443"/>
                  <a:pt x="210791" y="182926"/>
                </a:cubicBezTo>
                <a:lnTo>
                  <a:pt x="210791" y="219622"/>
                </a:lnTo>
                <a:cubicBezTo>
                  <a:pt x="211067" y="222105"/>
                  <a:pt x="212999" y="224036"/>
                  <a:pt x="215206" y="224036"/>
                </a:cubicBezTo>
                <a:close/>
                <a:moveTo>
                  <a:pt x="219620" y="187341"/>
                </a:moveTo>
                <a:lnTo>
                  <a:pt x="234795" y="187341"/>
                </a:lnTo>
                <a:lnTo>
                  <a:pt x="234795" y="215207"/>
                </a:lnTo>
                <a:lnTo>
                  <a:pt x="219620" y="215207"/>
                </a:lnTo>
                <a:lnTo>
                  <a:pt x="219620" y="187341"/>
                </a:lnTo>
                <a:close/>
              </a:path>
            </a:pathLst>
          </a:custGeom>
          <a:solidFill>
            <a:schemeClr val="accent1">
              <a:lumMod val="75000"/>
            </a:schemeClr>
          </a:solidFill>
          <a:ln w="2667" cap="flat">
            <a:noFill/>
            <a:prstDash val="solid"/>
            <a:miter/>
          </a:ln>
        </p:spPr>
        <p:txBody>
          <a:bodyPr rtlCol="0" anchor="ctr"/>
          <a:lstStyle/>
          <a:p>
            <a:endParaRPr lang="en-GB"/>
          </a:p>
        </p:txBody>
      </p:sp>
      <p:grpSp>
        <p:nvGrpSpPr>
          <p:cNvPr id="43" name="Groupe 42">
            <a:extLst>
              <a:ext uri="{FF2B5EF4-FFF2-40B4-BE49-F238E27FC236}">
                <a16:creationId xmlns:a16="http://schemas.microsoft.com/office/drawing/2014/main" id="{F7EB7B23-D043-4DD9-83CE-E37B7629070D}"/>
              </a:ext>
            </a:extLst>
          </p:cNvPr>
          <p:cNvGrpSpPr/>
          <p:nvPr/>
        </p:nvGrpSpPr>
        <p:grpSpPr>
          <a:xfrm>
            <a:off x="8448150" y="-11528"/>
            <a:ext cx="1435548" cy="711253"/>
            <a:chOff x="8448150" y="-11528"/>
            <a:chExt cx="1435548" cy="711253"/>
          </a:xfrm>
        </p:grpSpPr>
        <p:grpSp>
          <p:nvGrpSpPr>
            <p:cNvPr id="45" name="Groupe 44">
              <a:extLst>
                <a:ext uri="{FF2B5EF4-FFF2-40B4-BE49-F238E27FC236}">
                  <a16:creationId xmlns:a16="http://schemas.microsoft.com/office/drawing/2014/main" id="{1527A2B7-958C-44B3-8D2E-D650CC35EDAC}"/>
                </a:ext>
              </a:extLst>
            </p:cNvPr>
            <p:cNvGrpSpPr/>
            <p:nvPr/>
          </p:nvGrpSpPr>
          <p:grpSpPr>
            <a:xfrm>
              <a:off x="8448150" y="-11528"/>
              <a:ext cx="1435548" cy="555653"/>
              <a:chOff x="8448150" y="-11528"/>
              <a:chExt cx="1435548" cy="555653"/>
            </a:xfrm>
          </p:grpSpPr>
          <p:sp>
            <p:nvSpPr>
              <p:cNvPr id="48" name="Rectangle : coins arrondis 199">
                <a:extLst>
                  <a:ext uri="{FF2B5EF4-FFF2-40B4-BE49-F238E27FC236}">
                    <a16:creationId xmlns:a16="http://schemas.microsoft.com/office/drawing/2014/main" id="{D46C80E9-4694-4D7C-893E-290276647A74}"/>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9" name="Rectangle : coins arrondis 200">
                <a:extLst>
                  <a:ext uri="{FF2B5EF4-FFF2-40B4-BE49-F238E27FC236}">
                    <a16:creationId xmlns:a16="http://schemas.microsoft.com/office/drawing/2014/main" id="{AF7D2484-8E97-49AD-82C2-518216AD0774}"/>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0" name="Rectangle : coins arrondis 201">
                <a:extLst>
                  <a:ext uri="{FF2B5EF4-FFF2-40B4-BE49-F238E27FC236}">
                    <a16:creationId xmlns:a16="http://schemas.microsoft.com/office/drawing/2014/main" id="{11B3CE88-4382-44E6-9D66-E1F42AF2037A}"/>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4" name="ZoneTexte 18">
                <a:extLst>
                  <a:ext uri="{FF2B5EF4-FFF2-40B4-BE49-F238E27FC236}">
                    <a16:creationId xmlns:a16="http://schemas.microsoft.com/office/drawing/2014/main" id="{ADA12236-4580-46FF-914C-F358ACE0B50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55" name="Graphique 128" descr="Jauge">
                <a:extLst>
                  <a:ext uri="{FF2B5EF4-FFF2-40B4-BE49-F238E27FC236}">
                    <a16:creationId xmlns:a16="http://schemas.microsoft.com/office/drawing/2014/main" id="{BB6438D8-493E-43DE-9CC4-FD6F1DB450F1}"/>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553764" y="187516"/>
                <a:ext cx="234953" cy="218224"/>
              </a:xfrm>
              <a:prstGeom prst="rect">
                <a:avLst/>
              </a:prstGeom>
              <a:effectLst/>
            </p:spPr>
          </p:pic>
          <p:pic>
            <p:nvPicPr>
              <p:cNvPr id="56" name="Graphique 90" descr="Poignée de main">
                <a:extLst>
                  <a:ext uri="{FF2B5EF4-FFF2-40B4-BE49-F238E27FC236}">
                    <a16:creationId xmlns:a16="http://schemas.microsoft.com/office/drawing/2014/main" id="{77226592-9CE8-43FD-A23D-93AF48724153}"/>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960868" y="152880"/>
                <a:ext cx="256313" cy="287496"/>
              </a:xfrm>
              <a:prstGeom prst="rect">
                <a:avLst/>
              </a:prstGeom>
              <a:effectLst/>
            </p:spPr>
          </p:pic>
          <p:pic>
            <p:nvPicPr>
              <p:cNvPr id="57" name="Graphique 74" descr="Mégaphone">
                <a:extLst>
                  <a:ext uri="{FF2B5EF4-FFF2-40B4-BE49-F238E27FC236}">
                    <a16:creationId xmlns:a16="http://schemas.microsoft.com/office/drawing/2014/main" id="{BA621212-FE9A-4403-BDED-19ECC634B80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389331" y="181519"/>
                <a:ext cx="233011" cy="216420"/>
              </a:xfrm>
              <a:prstGeom prst="rect">
                <a:avLst/>
              </a:prstGeom>
              <a:effectLst/>
            </p:spPr>
          </p:pic>
          <p:pic>
            <p:nvPicPr>
              <p:cNvPr id="59" name="Picture 2" descr="Drapeau France">
                <a:extLst>
                  <a:ext uri="{FF2B5EF4-FFF2-40B4-BE49-F238E27FC236}">
                    <a16:creationId xmlns:a16="http://schemas.microsoft.com/office/drawing/2014/main" id="{3E391C21-3CEB-4A48-87AA-32F0260A563C}"/>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1" name="Picture 2" descr="5 ft x 3 ft 150 x 90 cm-DRAPEAU BELGE Belgique 100% Polyester ...">
                <a:extLst>
                  <a:ext uri="{FF2B5EF4-FFF2-40B4-BE49-F238E27FC236}">
                    <a16:creationId xmlns:a16="http://schemas.microsoft.com/office/drawing/2014/main" id="{AC651110-6654-447E-BBEA-04DDEDA41EFD}"/>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3" name="Picture 2 - 1" descr="Drapeau des Pays-Bas — Wikipédia">
                <a:extLst>
                  <a:ext uri="{FF2B5EF4-FFF2-40B4-BE49-F238E27FC236}">
                    <a16:creationId xmlns:a16="http://schemas.microsoft.com/office/drawing/2014/main" id="{A1B0B917-418D-472A-A52A-01993FAD3828}"/>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4" name="Picture 2 - 2" descr="Drapeau du Luxembourg">
                <a:extLst>
                  <a:ext uri="{FF2B5EF4-FFF2-40B4-BE49-F238E27FC236}">
                    <a16:creationId xmlns:a16="http://schemas.microsoft.com/office/drawing/2014/main" id="{D2C9DE43-6519-4AD6-BA7E-4D60EC5C16D5}"/>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46" name="ZoneTexte 18">
              <a:extLst>
                <a:ext uri="{FF2B5EF4-FFF2-40B4-BE49-F238E27FC236}">
                  <a16:creationId xmlns:a16="http://schemas.microsoft.com/office/drawing/2014/main" id="{8A3E495C-BBCF-4977-93DF-67D88835594B}"/>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Customers’ use cases in Credit &amp; financial risk</a:t>
              </a:r>
            </a:p>
          </p:txBody>
        </p:sp>
      </p:grpSp>
    </p:spTree>
    <p:extLst>
      <p:ext uri="{BB962C8B-B14F-4D97-AF65-F5344CB8AC3E}">
        <p14:creationId xmlns:p14="http://schemas.microsoft.com/office/powerpoint/2010/main" val="4144320212"/>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3EA8379-8D74-4C97-BB0E-4A64A807C9A8}"/>
              </a:ext>
            </a:extLst>
          </p:cNvPr>
          <p:cNvGraphicFramePr>
            <a:graphicFrameLocks noChangeAspect="1"/>
          </p:cNvGraphicFramePr>
          <p:nvPr>
            <p:custDataLst>
              <p:tags r:id="rId1"/>
            </p:custDataLst>
            <p:extLst>
              <p:ext uri="{D42A27DB-BD31-4B8C-83A1-F6EECF244321}">
                <p14:modId xmlns:p14="http://schemas.microsoft.com/office/powerpoint/2010/main" val="472327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03EA8379-8D74-4C97-BB0E-4A64A807C9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F4C6763-9444-44CD-BB49-8335E962889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cxnSp>
        <p:nvCxnSpPr>
          <p:cNvPr id="53" name="Connecteur droit 52">
            <a:extLst>
              <a:ext uri="{FF2B5EF4-FFF2-40B4-BE49-F238E27FC236}">
                <a16:creationId xmlns:a16="http://schemas.microsoft.com/office/drawing/2014/main" id="{A41ADC7E-6E71-45A6-B599-C9C22574CF34}"/>
              </a:ext>
            </a:extLst>
          </p:cNvPr>
          <p:cNvCxnSpPr>
            <a:cxnSpLocks/>
          </p:cNvCxnSpPr>
          <p:nvPr/>
        </p:nvCxnSpPr>
        <p:spPr bwMode="auto">
          <a:xfrm>
            <a:off x="183000" y="973139"/>
            <a:ext cx="954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47" name="Rectangle 84">
            <a:extLst>
              <a:ext uri="{FF2B5EF4-FFF2-40B4-BE49-F238E27FC236}">
                <a16:creationId xmlns:a16="http://schemas.microsoft.com/office/drawing/2014/main" id="{81FD8FE6-A690-4079-A07E-E888E0853879}"/>
              </a:ext>
            </a:extLst>
          </p:cNvPr>
          <p:cNvSpPr/>
          <p:nvPr/>
        </p:nvSpPr>
        <p:spPr bwMode="auto">
          <a:xfrm>
            <a:off x="3330505" y="822473"/>
            <a:ext cx="3244991"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7800" indent="88900" algn="ctr">
              <a:defRPr/>
            </a:pPr>
            <a:r>
              <a:rPr lang="en-GB" sz="1100">
                <a:latin typeface="Trebuchet MS" panose="020B0603020202020204" pitchFamily="34" charset="0"/>
              </a:rPr>
              <a:t>Illustration of typical Compliance use cases</a:t>
            </a:r>
          </a:p>
        </p:txBody>
      </p:sp>
      <p:sp>
        <p:nvSpPr>
          <p:cNvPr id="3" name="Titre 2">
            <a:extLst>
              <a:ext uri="{FF2B5EF4-FFF2-40B4-BE49-F238E27FC236}">
                <a16:creationId xmlns:a16="http://schemas.microsoft.com/office/drawing/2014/main" id="{367A8690-5ACA-4D46-A503-AFE8EA65203C}"/>
              </a:ext>
            </a:extLst>
          </p:cNvPr>
          <p:cNvSpPr>
            <a:spLocks noGrp="1"/>
          </p:cNvSpPr>
          <p:nvPr>
            <p:ph type="title"/>
          </p:nvPr>
        </p:nvSpPr>
        <p:spPr>
          <a:xfrm>
            <a:off x="165600" y="147600"/>
            <a:ext cx="8419600" cy="684000"/>
          </a:xfrm>
        </p:spPr>
        <p:txBody>
          <a:bodyPr/>
          <a:lstStyle/>
          <a:p>
            <a:r>
              <a:rPr lang="en-GB">
                <a:solidFill>
                  <a:schemeClr val="tx2"/>
                </a:solidFill>
                <a:latin typeface="Trebuchet MS" panose="020B0603020202020204" pitchFamily="34" charset="0"/>
              </a:rPr>
              <a:t>Compliance</a:t>
            </a:r>
            <a:r>
              <a:rPr lang="en-GB">
                <a:latin typeface="Trebuchet MS" panose="020B0603020202020204" pitchFamily="34" charset="0"/>
              </a:rPr>
              <a:t> use cases depend on the </a:t>
            </a:r>
            <a:r>
              <a:rPr lang="en-GB">
                <a:solidFill>
                  <a:schemeClr val="tx2"/>
                </a:solidFill>
                <a:latin typeface="Trebuchet MS" panose="020B0603020202020204" pitchFamily="34" charset="0"/>
              </a:rPr>
              <a:t>step of the client/supplier lifecycle </a:t>
            </a:r>
            <a:r>
              <a:rPr lang="en-GB">
                <a:latin typeface="Trebuchet MS" panose="020B0603020202020204" pitchFamily="34" charset="0"/>
              </a:rPr>
              <a:t>to be assessed as well as the</a:t>
            </a:r>
            <a:r>
              <a:rPr lang="en-GB">
                <a:solidFill>
                  <a:schemeClr val="tx2"/>
                </a:solidFill>
                <a:latin typeface="Trebuchet MS" panose="020B0603020202020204" pitchFamily="34" charset="0"/>
              </a:rPr>
              <a:t> legislation constraints </a:t>
            </a:r>
            <a:r>
              <a:rPr lang="en-GB">
                <a:latin typeface="Trebuchet MS" panose="020B0603020202020204" pitchFamily="34" charset="0"/>
              </a:rPr>
              <a:t>to which it is subject</a:t>
            </a:r>
          </a:p>
        </p:txBody>
      </p:sp>
      <p:sp>
        <p:nvSpPr>
          <p:cNvPr id="4" name="Espace réservé du texte 3">
            <a:extLst>
              <a:ext uri="{FF2B5EF4-FFF2-40B4-BE49-F238E27FC236}">
                <a16:creationId xmlns:a16="http://schemas.microsoft.com/office/drawing/2014/main" id="{F359B0C1-3D34-4535-B418-F4885A9AC31D}"/>
              </a:ext>
            </a:extLst>
          </p:cNvPr>
          <p:cNvSpPr>
            <a:spLocks noGrp="1"/>
          </p:cNvSpPr>
          <p:nvPr>
            <p:ph type="body" sz="quarter" idx="10"/>
          </p:nvPr>
        </p:nvSpPr>
        <p:spPr/>
        <p:txBody>
          <a:bodyPr/>
          <a:lstStyle/>
          <a:p>
            <a:r>
              <a:rPr lang="en-GB"/>
              <a:t>Sources: eleven research &amp; analysis, expert calls</a:t>
            </a:r>
          </a:p>
        </p:txBody>
      </p:sp>
      <p:sp>
        <p:nvSpPr>
          <p:cNvPr id="14" name="Flèche : droite 13">
            <a:extLst>
              <a:ext uri="{FF2B5EF4-FFF2-40B4-BE49-F238E27FC236}">
                <a16:creationId xmlns:a16="http://schemas.microsoft.com/office/drawing/2014/main" id="{52B0305F-B6B5-4DCF-8E0A-D7F7316DEBAA}"/>
              </a:ext>
            </a:extLst>
          </p:cNvPr>
          <p:cNvSpPr/>
          <p:nvPr/>
        </p:nvSpPr>
        <p:spPr bwMode="auto">
          <a:xfrm>
            <a:off x="770446" y="2257999"/>
            <a:ext cx="102434" cy="3382458"/>
          </a:xfrm>
          <a:prstGeom prst="rightArrow">
            <a:avLst>
              <a:gd name="adj1" fmla="val 100000"/>
              <a:gd name="adj2" fmla="val 100000"/>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1" name="ZoneTexte 80">
            <a:extLst>
              <a:ext uri="{FF2B5EF4-FFF2-40B4-BE49-F238E27FC236}">
                <a16:creationId xmlns:a16="http://schemas.microsoft.com/office/drawing/2014/main" id="{1958C581-2C8C-4143-842C-888D954574BA}"/>
              </a:ext>
            </a:extLst>
          </p:cNvPr>
          <p:cNvSpPr txBox="1"/>
          <p:nvPr/>
        </p:nvSpPr>
        <p:spPr>
          <a:xfrm>
            <a:off x="-128761" y="1861982"/>
            <a:ext cx="1034420" cy="400110"/>
          </a:xfrm>
          <a:prstGeom prst="rect">
            <a:avLst/>
          </a:prstGeom>
          <a:noFill/>
          <a:effectLst/>
        </p:spPr>
        <p:txBody>
          <a:bodyPr wrap="square" rtlCol="0">
            <a:spAutoFit/>
          </a:bodyPr>
          <a:lstStyle/>
          <a:p>
            <a:pPr algn="ctr"/>
            <a:r>
              <a:rPr lang="en-GB" sz="1000" i="1">
                <a:latin typeface="Trebuchet MS" panose="020B0603020202020204" pitchFamily="34" charset="0"/>
              </a:rPr>
              <a:t>Client segmentation</a:t>
            </a:r>
          </a:p>
        </p:txBody>
      </p:sp>
      <p:sp>
        <p:nvSpPr>
          <p:cNvPr id="55" name="Rectangle 54">
            <a:extLst>
              <a:ext uri="{FF2B5EF4-FFF2-40B4-BE49-F238E27FC236}">
                <a16:creationId xmlns:a16="http://schemas.microsoft.com/office/drawing/2014/main" id="{F6009FCD-45E6-4097-A4BB-61D5A876F2C6}"/>
              </a:ext>
            </a:extLst>
          </p:cNvPr>
          <p:cNvSpPr/>
          <p:nvPr/>
        </p:nvSpPr>
        <p:spPr bwMode="auto">
          <a:xfrm>
            <a:off x="50554" y="2351298"/>
            <a:ext cx="667702" cy="1071074"/>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endParaRPr lang="en-GB" sz="1050" b="1">
              <a:solidFill>
                <a:schemeClr val="accent1">
                  <a:lumMod val="75000"/>
                </a:schemeClr>
              </a:solidFill>
              <a:latin typeface="Trebuchet MS" pitchFamily="34" charset="0"/>
            </a:endParaRPr>
          </a:p>
          <a:p>
            <a:pPr marR="0" algn="ctr" defTabSz="914400" rtl="0" eaLnBrk="1" fontAlgn="base" latinLnBrk="0" hangingPunct="1">
              <a:lnSpc>
                <a:spcPct val="100000"/>
              </a:lnSpc>
              <a:spcBef>
                <a:spcPct val="0"/>
              </a:spcBef>
              <a:spcAft>
                <a:spcPct val="0"/>
              </a:spcAft>
              <a:buClrTx/>
              <a:buSzTx/>
              <a:tabLst/>
            </a:pPr>
            <a:r>
              <a:rPr lang="en-GB" sz="1050" b="1">
                <a:solidFill>
                  <a:schemeClr val="accent1">
                    <a:lumMod val="75000"/>
                  </a:schemeClr>
                </a:solidFill>
                <a:latin typeface="Trebuchet MS" pitchFamily="34" charset="0"/>
              </a:rPr>
              <a:t>Key accounts*</a:t>
            </a:r>
            <a:endParaRPr kumimoji="0" lang="en-GB" sz="1050" i="0" u="none" strike="noStrike" cap="none" normalizeH="0" baseline="0">
              <a:ln>
                <a:noFill/>
              </a:ln>
              <a:solidFill>
                <a:schemeClr val="accent1">
                  <a:lumMod val="75000"/>
                </a:schemeClr>
              </a:solidFill>
              <a:effectLst/>
              <a:latin typeface="Trebuchet MS" panose="020B0603020202020204" pitchFamily="34" charset="0"/>
            </a:endParaRPr>
          </a:p>
        </p:txBody>
      </p:sp>
      <p:pic>
        <p:nvPicPr>
          <p:cNvPr id="58" name="Graphique 62">
            <a:extLst>
              <a:ext uri="{FF2B5EF4-FFF2-40B4-BE49-F238E27FC236}">
                <a16:creationId xmlns:a16="http://schemas.microsoft.com/office/drawing/2014/main" id="{FE307571-DF06-4C61-A0F5-AC607B42FC43}"/>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9795"/>
          <a:stretch/>
        </p:blipFill>
        <p:spPr>
          <a:xfrm>
            <a:off x="274270" y="2389558"/>
            <a:ext cx="220268" cy="220829"/>
          </a:xfrm>
          <a:prstGeom prst="rect">
            <a:avLst/>
          </a:prstGeom>
          <a:effectLst/>
        </p:spPr>
      </p:pic>
      <p:sp>
        <p:nvSpPr>
          <p:cNvPr id="61" name="Rectangle 60">
            <a:extLst>
              <a:ext uri="{FF2B5EF4-FFF2-40B4-BE49-F238E27FC236}">
                <a16:creationId xmlns:a16="http://schemas.microsoft.com/office/drawing/2014/main" id="{47FED896-1B34-4337-8D2A-48603B8083E0}"/>
              </a:ext>
            </a:extLst>
          </p:cNvPr>
          <p:cNvSpPr/>
          <p:nvPr/>
        </p:nvSpPr>
        <p:spPr bwMode="auto">
          <a:xfrm>
            <a:off x="50554" y="3587902"/>
            <a:ext cx="667702" cy="1071074"/>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50" b="1">
              <a:solidFill>
                <a:schemeClr val="accent1">
                  <a:lumMod val="75000"/>
                </a:schemeClr>
              </a:solidFill>
              <a:latin typeface="Trebuchet MS" pitchFamily="34" charset="0"/>
            </a:endParaRPr>
          </a:p>
          <a:p>
            <a:pPr algn="ctr"/>
            <a:r>
              <a:rPr lang="en-GB" sz="1050" b="1">
                <a:solidFill>
                  <a:schemeClr val="accent1">
                    <a:lumMod val="75000"/>
                  </a:schemeClr>
                </a:solidFill>
                <a:latin typeface="Trebuchet MS" pitchFamily="34" charset="0"/>
              </a:rPr>
              <a:t>Mid market*</a:t>
            </a:r>
          </a:p>
        </p:txBody>
      </p:sp>
      <p:pic>
        <p:nvPicPr>
          <p:cNvPr id="65" name="Graphique 63">
            <a:extLst>
              <a:ext uri="{FF2B5EF4-FFF2-40B4-BE49-F238E27FC236}">
                <a16:creationId xmlns:a16="http://schemas.microsoft.com/office/drawing/2014/main" id="{BA1C18FD-6BD9-48F9-AFE4-4EEBD7FAEB7C}"/>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28139"/>
          <a:stretch/>
        </p:blipFill>
        <p:spPr>
          <a:xfrm>
            <a:off x="253973" y="3629402"/>
            <a:ext cx="260863" cy="234317"/>
          </a:xfrm>
          <a:prstGeom prst="rect">
            <a:avLst/>
          </a:prstGeom>
          <a:effectLst/>
        </p:spPr>
      </p:pic>
      <p:sp>
        <p:nvSpPr>
          <p:cNvPr id="70" name="Rectangle 69">
            <a:extLst>
              <a:ext uri="{FF2B5EF4-FFF2-40B4-BE49-F238E27FC236}">
                <a16:creationId xmlns:a16="http://schemas.microsoft.com/office/drawing/2014/main" id="{6EBBB04F-E272-4187-81B2-F0A9156B9E36}"/>
              </a:ext>
            </a:extLst>
          </p:cNvPr>
          <p:cNvSpPr/>
          <p:nvPr/>
        </p:nvSpPr>
        <p:spPr bwMode="auto">
          <a:xfrm>
            <a:off x="51059" y="4824507"/>
            <a:ext cx="667702" cy="1071074"/>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50" b="1">
              <a:solidFill>
                <a:schemeClr val="accent1">
                  <a:lumMod val="75000"/>
                </a:schemeClr>
              </a:solidFill>
              <a:latin typeface="Trebuchet MS" pitchFamily="34" charset="0"/>
            </a:endParaRPr>
          </a:p>
          <a:p>
            <a:pPr algn="ctr"/>
            <a:r>
              <a:rPr lang="en-GB" sz="1050" b="1">
                <a:solidFill>
                  <a:schemeClr val="accent1">
                    <a:lumMod val="75000"/>
                  </a:schemeClr>
                </a:solidFill>
                <a:latin typeface="Trebuchet MS" pitchFamily="34" charset="0"/>
              </a:rPr>
              <a:t>Mass market</a:t>
            </a:r>
          </a:p>
        </p:txBody>
      </p:sp>
      <p:sp>
        <p:nvSpPr>
          <p:cNvPr id="15" name="Flèche : pentagone 14">
            <a:extLst>
              <a:ext uri="{FF2B5EF4-FFF2-40B4-BE49-F238E27FC236}">
                <a16:creationId xmlns:a16="http://schemas.microsoft.com/office/drawing/2014/main" id="{3E2D710E-1165-4241-AC9E-DA704FCD5FBB}"/>
              </a:ext>
            </a:extLst>
          </p:cNvPr>
          <p:cNvSpPr/>
          <p:nvPr/>
        </p:nvSpPr>
        <p:spPr bwMode="auto">
          <a:xfrm>
            <a:off x="924565" y="1545395"/>
            <a:ext cx="771114" cy="1536543"/>
          </a:xfrm>
          <a:prstGeom prst="homePlate">
            <a:avLst>
              <a:gd name="adj" fmla="val 0"/>
            </a:avLst>
          </a:prstGeom>
          <a:solidFill>
            <a:schemeClr val="bg2"/>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normalizeH="0">
                <a:ln>
                  <a:noFill/>
                </a:ln>
                <a:solidFill>
                  <a:schemeClr val="bg1"/>
                </a:solidFill>
                <a:effectLst/>
                <a:latin typeface="Trebuchet MS" panose="020B0603020202020204" pitchFamily="34" charset="0"/>
              </a:rPr>
              <a:t>Onboarding of new clients / suppliers</a:t>
            </a:r>
          </a:p>
        </p:txBody>
      </p:sp>
      <p:sp>
        <p:nvSpPr>
          <p:cNvPr id="73" name="Flèche : pentagone 72">
            <a:extLst>
              <a:ext uri="{FF2B5EF4-FFF2-40B4-BE49-F238E27FC236}">
                <a16:creationId xmlns:a16="http://schemas.microsoft.com/office/drawing/2014/main" id="{9456D184-C532-4BF8-BF80-3E0DECEF2DEE}"/>
              </a:ext>
            </a:extLst>
          </p:cNvPr>
          <p:cNvSpPr/>
          <p:nvPr/>
        </p:nvSpPr>
        <p:spPr bwMode="auto">
          <a:xfrm>
            <a:off x="924565" y="3172177"/>
            <a:ext cx="771114" cy="1549568"/>
          </a:xfrm>
          <a:prstGeom prst="homePlate">
            <a:avLst>
              <a:gd name="adj" fmla="val 0"/>
            </a:avLst>
          </a:prstGeom>
          <a:solidFill>
            <a:schemeClr val="accent4">
              <a:lumMod val="60000"/>
              <a:lumOff val="40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normalizeH="0">
                <a:ln>
                  <a:noFill/>
                </a:ln>
                <a:solidFill>
                  <a:schemeClr val="bg1"/>
                </a:solidFill>
                <a:effectLst/>
                <a:latin typeface="Trebuchet MS" panose="020B0603020202020204" pitchFamily="34" charset="0"/>
              </a:rPr>
              <a:t>Remediation of existing portfolio</a:t>
            </a:r>
          </a:p>
        </p:txBody>
      </p:sp>
      <p:sp>
        <p:nvSpPr>
          <p:cNvPr id="74" name="Flèche : pentagone 73">
            <a:extLst>
              <a:ext uri="{FF2B5EF4-FFF2-40B4-BE49-F238E27FC236}">
                <a16:creationId xmlns:a16="http://schemas.microsoft.com/office/drawing/2014/main" id="{A5249D78-C581-43FE-A837-31049461C70A}"/>
              </a:ext>
            </a:extLst>
          </p:cNvPr>
          <p:cNvSpPr/>
          <p:nvPr/>
        </p:nvSpPr>
        <p:spPr bwMode="auto">
          <a:xfrm>
            <a:off x="924564" y="4824507"/>
            <a:ext cx="771115" cy="1536543"/>
          </a:xfrm>
          <a:prstGeom prst="homePlate">
            <a:avLst>
              <a:gd name="adj" fmla="val 0"/>
            </a:avLst>
          </a:prstGeom>
          <a:solidFill>
            <a:schemeClr val="tx1">
              <a:lumMod val="60000"/>
              <a:lumOff val="40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normalizeH="0">
                <a:ln>
                  <a:noFill/>
                </a:ln>
                <a:solidFill>
                  <a:schemeClr val="bg1"/>
                </a:solidFill>
                <a:effectLst/>
                <a:latin typeface="Trebuchet MS" panose="020B0603020202020204" pitchFamily="34" charset="0"/>
              </a:rPr>
              <a:t>Regular Monitoring of portfolio </a:t>
            </a:r>
          </a:p>
        </p:txBody>
      </p:sp>
      <p:sp>
        <p:nvSpPr>
          <p:cNvPr id="108" name="Ellipse 107">
            <a:extLst>
              <a:ext uri="{FF2B5EF4-FFF2-40B4-BE49-F238E27FC236}">
                <a16:creationId xmlns:a16="http://schemas.microsoft.com/office/drawing/2014/main" id="{E8D0DB70-FBC1-44EB-A982-4CE14D1AD94E}"/>
              </a:ext>
            </a:extLst>
          </p:cNvPr>
          <p:cNvSpPr>
            <a:spLocks noChangeAspect="1"/>
          </p:cNvSpPr>
          <p:nvPr/>
        </p:nvSpPr>
        <p:spPr bwMode="auto">
          <a:xfrm>
            <a:off x="1215790" y="1607016"/>
            <a:ext cx="188665" cy="180477"/>
          </a:xfrm>
          <a:prstGeom prst="ellipse">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anose="020B0603020202020204" pitchFamily="34" charset="0"/>
              </a:rPr>
              <a:t>1</a:t>
            </a:r>
          </a:p>
        </p:txBody>
      </p:sp>
      <p:sp>
        <p:nvSpPr>
          <p:cNvPr id="109" name="Ellipse 108">
            <a:extLst>
              <a:ext uri="{FF2B5EF4-FFF2-40B4-BE49-F238E27FC236}">
                <a16:creationId xmlns:a16="http://schemas.microsoft.com/office/drawing/2014/main" id="{90AE348A-F57B-433A-835A-3AC6563CE954}"/>
              </a:ext>
            </a:extLst>
          </p:cNvPr>
          <p:cNvSpPr>
            <a:spLocks noChangeAspect="1"/>
          </p:cNvSpPr>
          <p:nvPr/>
        </p:nvSpPr>
        <p:spPr bwMode="auto">
          <a:xfrm>
            <a:off x="1215790" y="3241895"/>
            <a:ext cx="188665" cy="180477"/>
          </a:xfrm>
          <a:prstGeom prst="ellipse">
            <a:avLst/>
          </a:prstGeom>
          <a:solidFill>
            <a:schemeClr val="bg1"/>
          </a:solidFill>
          <a:ln w="9525" cap="flat" cmpd="sng" algn="ctr">
            <a:solidFill>
              <a:schemeClr val="accent4"/>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accent4"/>
                </a:solidFill>
                <a:effectLst/>
                <a:latin typeface="Trebuchet MS" panose="020B0603020202020204" pitchFamily="34" charset="0"/>
              </a:rPr>
              <a:t>2</a:t>
            </a:r>
          </a:p>
        </p:txBody>
      </p:sp>
      <p:sp>
        <p:nvSpPr>
          <p:cNvPr id="110" name="Ellipse 109">
            <a:extLst>
              <a:ext uri="{FF2B5EF4-FFF2-40B4-BE49-F238E27FC236}">
                <a16:creationId xmlns:a16="http://schemas.microsoft.com/office/drawing/2014/main" id="{1F1E2E48-D212-43FE-AC6B-8ECBDA59CB22}"/>
              </a:ext>
            </a:extLst>
          </p:cNvPr>
          <p:cNvSpPr>
            <a:spLocks noChangeAspect="1"/>
          </p:cNvSpPr>
          <p:nvPr/>
        </p:nvSpPr>
        <p:spPr bwMode="auto">
          <a:xfrm>
            <a:off x="1215790" y="4879639"/>
            <a:ext cx="188665" cy="180477"/>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3</a:t>
            </a:r>
          </a:p>
        </p:txBody>
      </p:sp>
      <p:sp>
        <p:nvSpPr>
          <p:cNvPr id="84" name="Rectangle 83">
            <a:extLst>
              <a:ext uri="{FF2B5EF4-FFF2-40B4-BE49-F238E27FC236}">
                <a16:creationId xmlns:a16="http://schemas.microsoft.com/office/drawing/2014/main" id="{861AB80A-183C-4AAF-AA15-36C6F9B9ACC2}"/>
              </a:ext>
            </a:extLst>
          </p:cNvPr>
          <p:cNvSpPr/>
          <p:nvPr/>
        </p:nvSpPr>
        <p:spPr bwMode="auto">
          <a:xfrm>
            <a:off x="1751059" y="1112942"/>
            <a:ext cx="4299930" cy="343260"/>
          </a:xfrm>
          <a:prstGeom prst="rect">
            <a:avLst/>
          </a:prstGeom>
          <a:noFill/>
          <a:ln w="9525" cap="flat" cmpd="sng" algn="ctr">
            <a:solidFill>
              <a:schemeClr val="tx1"/>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latin typeface="Trebuchet MS" panose="020B0603020202020204" pitchFamily="34" charset="0"/>
              </a:rPr>
              <a:t>Examples of use cases</a:t>
            </a:r>
            <a:endParaRPr kumimoji="0" lang="en-GB" sz="1200" b="0" i="0" u="none" strike="noStrike" normalizeH="0">
              <a:ln>
                <a:noFill/>
              </a:ln>
              <a:effectLst/>
              <a:latin typeface="Trebuchet MS" panose="020B0603020202020204" pitchFamily="34" charset="0"/>
            </a:endParaRPr>
          </a:p>
        </p:txBody>
      </p:sp>
      <p:sp>
        <p:nvSpPr>
          <p:cNvPr id="86" name="Rectangle 85">
            <a:extLst>
              <a:ext uri="{FF2B5EF4-FFF2-40B4-BE49-F238E27FC236}">
                <a16:creationId xmlns:a16="http://schemas.microsoft.com/office/drawing/2014/main" id="{6F325901-9CD7-4476-9D7F-9FBC8374B874}"/>
              </a:ext>
            </a:extLst>
          </p:cNvPr>
          <p:cNvSpPr/>
          <p:nvPr/>
        </p:nvSpPr>
        <p:spPr bwMode="auto">
          <a:xfrm>
            <a:off x="6332185" y="1112942"/>
            <a:ext cx="3271957" cy="343260"/>
          </a:xfrm>
          <a:prstGeom prst="rect">
            <a:avLst/>
          </a:prstGeom>
          <a:noFill/>
          <a:ln w="9525" cap="flat" cmpd="sng" algn="ctr">
            <a:solidFill>
              <a:schemeClr val="tx1"/>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algn="ctr"/>
            <a:r>
              <a:rPr lang="en-GB" sz="1200">
                <a:latin typeface="Trebuchet MS" panose="020B0603020202020204" pitchFamily="34" charset="0"/>
              </a:rPr>
              <a:t>Data access</a:t>
            </a:r>
          </a:p>
        </p:txBody>
      </p:sp>
      <p:sp>
        <p:nvSpPr>
          <p:cNvPr id="90" name="Isosceles Triangle 57">
            <a:extLst>
              <a:ext uri="{FF2B5EF4-FFF2-40B4-BE49-F238E27FC236}">
                <a16:creationId xmlns:a16="http://schemas.microsoft.com/office/drawing/2014/main" id="{77542712-A5A1-4F63-ADE6-D1E8B6816A02}"/>
              </a:ext>
            </a:extLst>
          </p:cNvPr>
          <p:cNvSpPr/>
          <p:nvPr/>
        </p:nvSpPr>
        <p:spPr bwMode="auto">
          <a:xfrm rot="5400000">
            <a:off x="6008017" y="2258824"/>
            <a:ext cx="429063" cy="104239"/>
          </a:xfrm>
          <a:prstGeom prst="triangle">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2" name="Isosceles Triangle 57">
            <a:extLst>
              <a:ext uri="{FF2B5EF4-FFF2-40B4-BE49-F238E27FC236}">
                <a16:creationId xmlns:a16="http://schemas.microsoft.com/office/drawing/2014/main" id="{CB124131-3AB9-4BA6-B7E0-00690253484C}"/>
              </a:ext>
            </a:extLst>
          </p:cNvPr>
          <p:cNvSpPr/>
          <p:nvPr/>
        </p:nvSpPr>
        <p:spPr bwMode="auto">
          <a:xfrm rot="5400000">
            <a:off x="6008017" y="3902097"/>
            <a:ext cx="429063" cy="104239"/>
          </a:xfrm>
          <a:prstGeom prst="triangle">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4" name="Isosceles Triangle 57">
            <a:extLst>
              <a:ext uri="{FF2B5EF4-FFF2-40B4-BE49-F238E27FC236}">
                <a16:creationId xmlns:a16="http://schemas.microsoft.com/office/drawing/2014/main" id="{1CB403BC-3B6B-4576-978F-C03560764DB4}"/>
              </a:ext>
            </a:extLst>
          </p:cNvPr>
          <p:cNvSpPr/>
          <p:nvPr/>
        </p:nvSpPr>
        <p:spPr bwMode="auto">
          <a:xfrm rot="5400000">
            <a:off x="6008017" y="5316630"/>
            <a:ext cx="429063" cy="104239"/>
          </a:xfrm>
          <a:prstGeom prst="triangle">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6" name="Rectangle 95">
            <a:extLst>
              <a:ext uri="{FF2B5EF4-FFF2-40B4-BE49-F238E27FC236}">
                <a16:creationId xmlns:a16="http://schemas.microsoft.com/office/drawing/2014/main" id="{09C6F846-F2C0-4AEF-BF94-6B5AD532A3E8}"/>
              </a:ext>
            </a:extLst>
          </p:cNvPr>
          <p:cNvSpPr/>
          <p:nvPr/>
        </p:nvSpPr>
        <p:spPr bwMode="auto">
          <a:xfrm>
            <a:off x="1751060" y="1536158"/>
            <a:ext cx="1404000" cy="154957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a:spcAft>
                <a:spcPts val="200"/>
              </a:spcAft>
            </a:pPr>
            <a:r>
              <a:rPr lang="en-GB" sz="1000">
                <a:latin typeface="Trebuchet MS" panose="020B0603020202020204" pitchFamily="34" charset="0"/>
              </a:rPr>
              <a:t>A bank is asked for a loan from an unknown client for which existing </a:t>
            </a:r>
            <a:r>
              <a:rPr lang="en-GB" sz="1000">
                <a:solidFill>
                  <a:schemeClr val="tx2"/>
                </a:solidFill>
                <a:latin typeface="Trebuchet MS" panose="020B0603020202020204" pitchFamily="34" charset="0"/>
              </a:rPr>
              <a:t>KYC data is uncomplete</a:t>
            </a:r>
            <a:r>
              <a:rPr lang="en-GB" sz="1000">
                <a:latin typeface="Trebuchet MS" panose="020B0603020202020204" pitchFamily="34" charset="0"/>
              </a:rPr>
              <a:t> or missing</a:t>
            </a:r>
          </a:p>
        </p:txBody>
      </p:sp>
      <p:sp>
        <p:nvSpPr>
          <p:cNvPr id="97" name="Rectangle 96">
            <a:extLst>
              <a:ext uri="{FF2B5EF4-FFF2-40B4-BE49-F238E27FC236}">
                <a16:creationId xmlns:a16="http://schemas.microsoft.com/office/drawing/2014/main" id="{D430D591-9AB6-49DC-9172-2830A02225A5}"/>
              </a:ext>
            </a:extLst>
          </p:cNvPr>
          <p:cNvSpPr/>
          <p:nvPr/>
        </p:nvSpPr>
        <p:spPr bwMode="auto">
          <a:xfrm>
            <a:off x="3199024" y="1536158"/>
            <a:ext cx="1404000" cy="154957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a:spcAft>
                <a:spcPts val="200"/>
              </a:spcAft>
            </a:pPr>
            <a:r>
              <a:rPr lang="en-GB" sz="1000">
                <a:latin typeface="Trebuchet MS" panose="020B0603020202020204" pitchFamily="34" charset="0"/>
              </a:rPr>
              <a:t>The client file is complete, but one of the beneficial owners is from Iranian descent and </a:t>
            </a:r>
            <a:r>
              <a:rPr lang="en-GB" sz="1000">
                <a:solidFill>
                  <a:schemeClr val="tx2"/>
                </a:solidFill>
                <a:latin typeface="Trebuchet MS" panose="020B0603020202020204" pitchFamily="34" charset="0"/>
              </a:rPr>
              <a:t>further investigations is required </a:t>
            </a:r>
            <a:r>
              <a:rPr lang="en-GB" sz="1000">
                <a:latin typeface="Trebuchet MS" panose="020B0603020202020204" pitchFamily="34" charset="0"/>
              </a:rPr>
              <a:t>to proceed with the relationship</a:t>
            </a:r>
          </a:p>
        </p:txBody>
      </p:sp>
      <p:sp>
        <p:nvSpPr>
          <p:cNvPr id="98" name="Rectangle 97">
            <a:extLst>
              <a:ext uri="{FF2B5EF4-FFF2-40B4-BE49-F238E27FC236}">
                <a16:creationId xmlns:a16="http://schemas.microsoft.com/office/drawing/2014/main" id="{91C7156E-1590-44DB-A40F-C870DF28A23D}"/>
              </a:ext>
            </a:extLst>
          </p:cNvPr>
          <p:cNvSpPr/>
          <p:nvPr/>
        </p:nvSpPr>
        <p:spPr bwMode="auto">
          <a:xfrm>
            <a:off x="4646989" y="1536158"/>
            <a:ext cx="1404000" cy="154957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a:spcAft>
                <a:spcPts val="200"/>
              </a:spcAft>
            </a:pPr>
            <a:r>
              <a:rPr lang="en-GB" sz="1000">
                <a:latin typeface="Trebuchet MS" panose="020B0603020202020204" pitchFamily="34" charset="0"/>
              </a:rPr>
              <a:t>A corporation’s supply chain manager wants to contract with a new supplier based in France but from Libyan</a:t>
            </a:r>
            <a:r>
              <a:rPr lang="en-GB" sz="1000">
                <a:solidFill>
                  <a:schemeClr val="tx2"/>
                </a:solidFill>
                <a:latin typeface="Trebuchet MS" panose="020B0603020202020204" pitchFamily="34" charset="0"/>
              </a:rPr>
              <a:t> </a:t>
            </a:r>
            <a:r>
              <a:rPr lang="en-GB" sz="1000">
                <a:latin typeface="Trebuchet MS" panose="020B0603020202020204" pitchFamily="34" charset="0"/>
              </a:rPr>
              <a:t>origin</a:t>
            </a:r>
            <a:r>
              <a:rPr lang="en-GB" sz="1000">
                <a:solidFill>
                  <a:schemeClr val="tx2"/>
                </a:solidFill>
                <a:latin typeface="Trebuchet MS" panose="020B0603020202020204" pitchFamily="34" charset="0"/>
              </a:rPr>
              <a:t> </a:t>
            </a:r>
            <a:r>
              <a:rPr lang="en-GB" sz="1000">
                <a:latin typeface="Trebuchet MS" panose="020B0603020202020204" pitchFamily="34" charset="0"/>
              </a:rPr>
              <a:t>and wants to know more about the </a:t>
            </a:r>
            <a:r>
              <a:rPr lang="en-GB" sz="1000">
                <a:solidFill>
                  <a:schemeClr val="tx2"/>
                </a:solidFill>
                <a:latin typeface="Trebuchet MS" panose="020B0603020202020204" pitchFamily="34" charset="0"/>
              </a:rPr>
              <a:t>potential</a:t>
            </a:r>
            <a:r>
              <a:rPr lang="en-GB" sz="1000">
                <a:latin typeface="Trebuchet MS" panose="020B0603020202020204" pitchFamily="34" charset="0"/>
              </a:rPr>
              <a:t> </a:t>
            </a:r>
            <a:r>
              <a:rPr lang="en-GB" sz="1000">
                <a:solidFill>
                  <a:schemeClr val="tx2"/>
                </a:solidFill>
                <a:latin typeface="Trebuchet MS" panose="020B0603020202020204" pitchFamily="34" charset="0"/>
              </a:rPr>
              <a:t>corruption</a:t>
            </a:r>
            <a:r>
              <a:rPr lang="en-GB" sz="1000">
                <a:latin typeface="Trebuchet MS" panose="020B0603020202020204" pitchFamily="34" charset="0"/>
              </a:rPr>
              <a:t> </a:t>
            </a:r>
            <a:r>
              <a:rPr lang="en-GB" sz="1000">
                <a:solidFill>
                  <a:schemeClr val="tx2"/>
                </a:solidFill>
                <a:latin typeface="Trebuchet MS" panose="020B0603020202020204" pitchFamily="34" charset="0"/>
              </a:rPr>
              <a:t>risk</a:t>
            </a:r>
            <a:r>
              <a:rPr lang="en-GB" sz="1000">
                <a:latin typeface="Trebuchet MS" panose="020B0603020202020204" pitchFamily="34" charset="0"/>
              </a:rPr>
              <a:t> </a:t>
            </a:r>
          </a:p>
        </p:txBody>
      </p:sp>
      <p:sp>
        <p:nvSpPr>
          <p:cNvPr id="99" name="Rectangle 98">
            <a:extLst>
              <a:ext uri="{FF2B5EF4-FFF2-40B4-BE49-F238E27FC236}">
                <a16:creationId xmlns:a16="http://schemas.microsoft.com/office/drawing/2014/main" id="{076ADCF7-6101-499B-B097-2F688E1CEC97}"/>
              </a:ext>
            </a:extLst>
          </p:cNvPr>
          <p:cNvSpPr/>
          <p:nvPr/>
        </p:nvSpPr>
        <p:spPr bwMode="auto">
          <a:xfrm>
            <a:off x="1751060" y="3175566"/>
            <a:ext cx="1404000" cy="1549570"/>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R="0" defTabSz="914400" rtl="0" eaLnBrk="1" fontAlgn="base" latinLnBrk="0" hangingPunct="1">
              <a:lnSpc>
                <a:spcPct val="100000"/>
              </a:lnSpc>
              <a:spcBef>
                <a:spcPct val="0"/>
              </a:spcBef>
              <a:spcAft>
                <a:spcPts val="200"/>
              </a:spcAft>
              <a:buClrTx/>
              <a:buSzTx/>
              <a:tabLst/>
            </a:pPr>
            <a:r>
              <a:rPr lang="en-GB" sz="1000">
                <a:latin typeface="Trebuchet MS" panose="020B0603020202020204" pitchFamily="34" charset="0"/>
              </a:rPr>
              <a:t>A bank’s compliance manager is noticed that AFA agents will proceed to a control and </a:t>
            </a:r>
            <a:r>
              <a:rPr lang="en-GB" sz="1000">
                <a:solidFill>
                  <a:schemeClr val="accent4"/>
                </a:solidFill>
                <a:latin typeface="Trebuchet MS" panose="020B0603020202020204" pitchFamily="34" charset="0"/>
              </a:rPr>
              <a:t>check</a:t>
            </a:r>
            <a:r>
              <a:rPr lang="en-GB" sz="1000">
                <a:latin typeface="Trebuchet MS" panose="020B0603020202020204" pitchFamily="34" charset="0"/>
              </a:rPr>
              <a:t> that </a:t>
            </a:r>
            <a:r>
              <a:rPr lang="en-GB" sz="1000">
                <a:solidFill>
                  <a:schemeClr val="accent4"/>
                </a:solidFill>
                <a:latin typeface="Trebuchet MS" panose="020B0603020202020204" pitchFamily="34" charset="0"/>
              </a:rPr>
              <a:t>KYC</a:t>
            </a:r>
            <a:r>
              <a:rPr lang="en-GB" sz="1000">
                <a:latin typeface="Trebuchet MS" panose="020B0603020202020204" pitchFamily="34" charset="0"/>
              </a:rPr>
              <a:t> </a:t>
            </a:r>
            <a:r>
              <a:rPr lang="en-GB" sz="1000">
                <a:solidFill>
                  <a:schemeClr val="accent4"/>
                </a:solidFill>
                <a:latin typeface="Trebuchet MS" panose="020B0603020202020204" pitchFamily="34" charset="0"/>
              </a:rPr>
              <a:t>information</a:t>
            </a:r>
            <a:r>
              <a:rPr lang="en-GB" sz="1000">
                <a:latin typeface="Trebuchet MS" panose="020B0603020202020204" pitchFamily="34" charset="0"/>
              </a:rPr>
              <a:t> in the client database is compliant with the current regulation</a:t>
            </a:r>
          </a:p>
        </p:txBody>
      </p:sp>
      <p:sp>
        <p:nvSpPr>
          <p:cNvPr id="100" name="Rectangle 99">
            <a:extLst>
              <a:ext uri="{FF2B5EF4-FFF2-40B4-BE49-F238E27FC236}">
                <a16:creationId xmlns:a16="http://schemas.microsoft.com/office/drawing/2014/main" id="{2F67BF1D-0E53-4F3C-85FD-D935567F88B3}"/>
              </a:ext>
            </a:extLst>
          </p:cNvPr>
          <p:cNvSpPr/>
          <p:nvPr/>
        </p:nvSpPr>
        <p:spPr bwMode="auto">
          <a:xfrm>
            <a:off x="3199024" y="3175566"/>
            <a:ext cx="1404000" cy="1549570"/>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a:spcAft>
                <a:spcPts val="200"/>
              </a:spcAft>
            </a:pPr>
            <a:r>
              <a:rPr lang="en-GB" sz="1000">
                <a:latin typeface="Trebuchet MS" panose="020B0603020202020204" pitchFamily="34" charset="0"/>
              </a:rPr>
              <a:t>A basic </a:t>
            </a:r>
            <a:r>
              <a:rPr lang="en-GB" sz="1000">
                <a:solidFill>
                  <a:schemeClr val="accent4"/>
                </a:solidFill>
                <a:latin typeface="Trebuchet MS" panose="020B0603020202020204" pitchFamily="34" charset="0"/>
              </a:rPr>
              <a:t>KYC</a:t>
            </a:r>
            <a:r>
              <a:rPr lang="en-GB" sz="1000">
                <a:latin typeface="Trebuchet MS" panose="020B0603020202020204" pitchFamily="34" charset="0"/>
              </a:rPr>
              <a:t> </a:t>
            </a:r>
            <a:r>
              <a:rPr lang="en-GB" sz="1000">
                <a:solidFill>
                  <a:schemeClr val="accent4"/>
                </a:solidFill>
                <a:latin typeface="Trebuchet MS" panose="020B0603020202020204" pitchFamily="34" charset="0"/>
              </a:rPr>
              <a:t>file</a:t>
            </a:r>
            <a:r>
              <a:rPr lang="en-GB" sz="1000">
                <a:latin typeface="Trebuchet MS" panose="020B0603020202020204" pitchFamily="34" charset="0"/>
              </a:rPr>
              <a:t> is </a:t>
            </a:r>
            <a:r>
              <a:rPr lang="en-GB" sz="1000">
                <a:solidFill>
                  <a:schemeClr val="accent4"/>
                </a:solidFill>
                <a:latin typeface="Trebuchet MS" panose="020B0603020202020204" pitchFamily="34" charset="0"/>
              </a:rPr>
              <a:t>missing</a:t>
            </a:r>
            <a:r>
              <a:rPr lang="en-GB" sz="1000">
                <a:latin typeface="Trebuchet MS" panose="020B0603020202020204" pitchFamily="34" charset="0"/>
              </a:rPr>
              <a:t> about one client of the portfolio, but the commercial team considers that the client should not be bothered with phone calls from the compliance team</a:t>
            </a:r>
          </a:p>
        </p:txBody>
      </p:sp>
      <p:sp>
        <p:nvSpPr>
          <p:cNvPr id="101" name="Rectangle 100">
            <a:extLst>
              <a:ext uri="{FF2B5EF4-FFF2-40B4-BE49-F238E27FC236}">
                <a16:creationId xmlns:a16="http://schemas.microsoft.com/office/drawing/2014/main" id="{2F247F61-71B3-4B45-AA0D-A5039A9ED30D}"/>
              </a:ext>
            </a:extLst>
          </p:cNvPr>
          <p:cNvSpPr/>
          <p:nvPr/>
        </p:nvSpPr>
        <p:spPr bwMode="auto">
          <a:xfrm>
            <a:off x="4646989" y="3175566"/>
            <a:ext cx="1404000" cy="1549570"/>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a:spcAft>
                <a:spcPts val="200"/>
              </a:spcAft>
            </a:pPr>
            <a:r>
              <a:rPr lang="en-GB" sz="1000">
                <a:latin typeface="Trebuchet MS" panose="020B0603020202020204" pitchFamily="34" charset="0"/>
              </a:rPr>
              <a:t>A purchase director notes that one of its suppliers was </a:t>
            </a:r>
            <a:r>
              <a:rPr lang="en-GB" sz="1000">
                <a:solidFill>
                  <a:schemeClr val="accent4"/>
                </a:solidFill>
                <a:latin typeface="Trebuchet MS" panose="020B0603020202020204" pitchFamily="34" charset="0"/>
              </a:rPr>
              <a:t>convicted for corruption </a:t>
            </a:r>
            <a:r>
              <a:rPr lang="en-GB" sz="1000">
                <a:latin typeface="Trebuchet MS" panose="020B0603020202020204" pitchFamily="34" charset="0"/>
              </a:rPr>
              <a:t>whereas the internal compliance file didn’t show any sign of potentially risky links or activities</a:t>
            </a:r>
          </a:p>
        </p:txBody>
      </p:sp>
      <p:sp>
        <p:nvSpPr>
          <p:cNvPr id="102" name="Rectangle 101">
            <a:extLst>
              <a:ext uri="{FF2B5EF4-FFF2-40B4-BE49-F238E27FC236}">
                <a16:creationId xmlns:a16="http://schemas.microsoft.com/office/drawing/2014/main" id="{FD6588E9-2B0F-40D3-ABE3-AC87BA2A1757}"/>
              </a:ext>
            </a:extLst>
          </p:cNvPr>
          <p:cNvSpPr/>
          <p:nvPr/>
        </p:nvSpPr>
        <p:spPr bwMode="auto">
          <a:xfrm>
            <a:off x="1751060" y="4812729"/>
            <a:ext cx="1404000" cy="1549570"/>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R="0" defTabSz="914400" rtl="0" eaLnBrk="1" fontAlgn="base" latinLnBrk="0" hangingPunct="1">
              <a:lnSpc>
                <a:spcPct val="100000"/>
              </a:lnSpc>
              <a:spcBef>
                <a:spcPct val="0"/>
              </a:spcBef>
              <a:spcAft>
                <a:spcPts val="200"/>
              </a:spcAft>
              <a:buClrTx/>
              <a:buSzTx/>
              <a:tabLst/>
            </a:pPr>
            <a:r>
              <a:rPr lang="en-GB" sz="1000">
                <a:latin typeface="Trebuchet MS" panose="020B0603020202020204" pitchFamily="34" charset="0"/>
              </a:rPr>
              <a:t>Since the last remediation process that took place three years ago, many of the </a:t>
            </a:r>
            <a:r>
              <a:rPr lang="en-GB" sz="1000">
                <a:solidFill>
                  <a:schemeClr val="tx1">
                    <a:lumMod val="75000"/>
                  </a:schemeClr>
                </a:solidFill>
                <a:latin typeface="Trebuchet MS" panose="020B0603020202020204" pitchFamily="34" charset="0"/>
              </a:rPr>
              <a:t>capitalistic links </a:t>
            </a:r>
            <a:r>
              <a:rPr lang="en-GB" sz="1000">
                <a:latin typeface="Trebuchet MS" panose="020B0603020202020204" pitchFamily="34" charset="0"/>
              </a:rPr>
              <a:t>of the clients of a bank </a:t>
            </a:r>
            <a:r>
              <a:rPr lang="en-GB" sz="1000">
                <a:solidFill>
                  <a:schemeClr val="tx1">
                    <a:lumMod val="75000"/>
                  </a:schemeClr>
                </a:solidFill>
                <a:latin typeface="Trebuchet MS" panose="020B0603020202020204" pitchFamily="34" charset="0"/>
              </a:rPr>
              <a:t>have changed (e.g. buyout, bankruptcies…)</a:t>
            </a:r>
            <a:endParaRPr lang="en-GB" sz="1000">
              <a:latin typeface="Trebuchet MS" panose="020B0603020202020204" pitchFamily="34" charset="0"/>
            </a:endParaRPr>
          </a:p>
        </p:txBody>
      </p:sp>
      <p:sp>
        <p:nvSpPr>
          <p:cNvPr id="103" name="Rectangle 102">
            <a:extLst>
              <a:ext uri="{FF2B5EF4-FFF2-40B4-BE49-F238E27FC236}">
                <a16:creationId xmlns:a16="http://schemas.microsoft.com/office/drawing/2014/main" id="{F4E0F918-0D5B-4E7F-B2F4-12D9BDB76EDA}"/>
              </a:ext>
            </a:extLst>
          </p:cNvPr>
          <p:cNvSpPr/>
          <p:nvPr/>
        </p:nvSpPr>
        <p:spPr bwMode="auto">
          <a:xfrm>
            <a:off x="3199024" y="4812729"/>
            <a:ext cx="1404000" cy="1549570"/>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a:spcAft>
                <a:spcPts val="200"/>
              </a:spcAft>
            </a:pPr>
            <a:r>
              <a:rPr lang="en-GB" sz="1000">
                <a:latin typeface="Trebuchet MS" panose="020B0603020202020204" pitchFamily="34" charset="0"/>
              </a:rPr>
              <a:t>A client in the portfolio of a leasing company requires specific surveillance because it was bought by a trust based in Aruba, and alerts are set up to get notifications (e.g. PEP)</a:t>
            </a:r>
          </a:p>
        </p:txBody>
      </p:sp>
      <p:sp>
        <p:nvSpPr>
          <p:cNvPr id="104" name="Rectangle 103">
            <a:extLst>
              <a:ext uri="{FF2B5EF4-FFF2-40B4-BE49-F238E27FC236}">
                <a16:creationId xmlns:a16="http://schemas.microsoft.com/office/drawing/2014/main" id="{45FB7760-5A27-43AA-AB25-73DD199A64CF}"/>
              </a:ext>
            </a:extLst>
          </p:cNvPr>
          <p:cNvSpPr/>
          <p:nvPr/>
        </p:nvSpPr>
        <p:spPr bwMode="auto">
          <a:xfrm>
            <a:off x="4646989" y="4812729"/>
            <a:ext cx="1404000" cy="1549570"/>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r>
              <a:rPr lang="en-GB" sz="1000">
                <a:latin typeface="Trebuchet MS" panose="020B0603020202020204" pitchFamily="34" charset="0"/>
              </a:rPr>
              <a:t>The executive director of a French automaker has been put in jail, which requires an </a:t>
            </a:r>
            <a:r>
              <a:rPr lang="en-GB" sz="1000">
                <a:solidFill>
                  <a:schemeClr val="tx1">
                    <a:lumMod val="75000"/>
                  </a:schemeClr>
                </a:solidFill>
                <a:latin typeface="Trebuchet MS" panose="020B0603020202020204" pitchFamily="34" charset="0"/>
              </a:rPr>
              <a:t>updated compliance risk score</a:t>
            </a:r>
          </a:p>
        </p:txBody>
      </p:sp>
      <p:sp>
        <p:nvSpPr>
          <p:cNvPr id="105" name="Rectangle 104">
            <a:extLst>
              <a:ext uri="{FF2B5EF4-FFF2-40B4-BE49-F238E27FC236}">
                <a16:creationId xmlns:a16="http://schemas.microsoft.com/office/drawing/2014/main" id="{75C3160F-55BE-4562-9129-1E17A70AE30A}"/>
              </a:ext>
            </a:extLst>
          </p:cNvPr>
          <p:cNvSpPr/>
          <p:nvPr/>
        </p:nvSpPr>
        <p:spPr bwMode="auto">
          <a:xfrm>
            <a:off x="6330049" y="1534955"/>
            <a:ext cx="3271957" cy="154957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91440" bIns="45720" numCol="1" spcCol="0" rtlCol="0" fromWordArt="0" anchor="ctr" anchorCtr="0" forceAA="0" compatLnSpc="1">
            <a:prstTxWarp prst="textNoShape">
              <a:avLst/>
            </a:prstTxWarp>
            <a:noAutofit/>
          </a:bodyPr>
          <a:lstStyle/>
          <a:p>
            <a:pPr marL="171450" indent="-171450">
              <a:spcAft>
                <a:spcPts val="20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Option 1</a:t>
            </a:r>
            <a:r>
              <a:rPr lang="en-GB" sz="1000">
                <a:latin typeface="Trebuchet MS" panose="020B0603020202020204" pitchFamily="34" charset="0"/>
              </a:rPr>
              <a:t>: the client is given access to a </a:t>
            </a:r>
            <a:r>
              <a:rPr lang="en-GB" sz="1000">
                <a:solidFill>
                  <a:schemeClr val="tx2"/>
                </a:solidFill>
                <a:latin typeface="Trebuchet MS" panose="020B0603020202020204" pitchFamily="34" charset="0"/>
              </a:rPr>
              <a:t>B2B platform </a:t>
            </a:r>
            <a:r>
              <a:rPr lang="en-GB" sz="1000">
                <a:latin typeface="Trebuchet MS" pitchFamily="34" charset="0"/>
              </a:rPr>
              <a:t>on which he can make a research and get data from the provider’s database</a:t>
            </a:r>
          </a:p>
          <a:p>
            <a:pPr marL="171450" indent="-171450">
              <a:spcAft>
                <a:spcPts val="200"/>
              </a:spcAft>
              <a:buClr>
                <a:schemeClr val="tx1"/>
              </a:buClr>
              <a:buFont typeface="Arial" panose="020B0604020202020204" pitchFamily="34" charset="0"/>
              <a:buChar char="•"/>
            </a:pPr>
            <a:endParaRPr lang="en-GB" sz="1000">
              <a:latin typeface="Trebuchet MS" pitchFamily="34" charset="0"/>
            </a:endParaRPr>
          </a:p>
          <a:p>
            <a:pPr marL="171450" indent="-171450">
              <a:spcAft>
                <a:spcPts val="20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Option 2</a:t>
            </a:r>
            <a:r>
              <a:rPr lang="en-GB" sz="1000">
                <a:latin typeface="Trebuchet MS" panose="020B0603020202020204" pitchFamily="34" charset="0"/>
              </a:rPr>
              <a:t>: if the required company information is </a:t>
            </a:r>
            <a:r>
              <a:rPr lang="en-GB" sz="1000">
                <a:solidFill>
                  <a:schemeClr val="tx2"/>
                </a:solidFill>
                <a:latin typeface="Trebuchet MS" panose="020B0603020202020204" pitchFamily="34" charset="0"/>
              </a:rPr>
              <a:t>not available </a:t>
            </a:r>
            <a:r>
              <a:rPr lang="en-GB" sz="1000">
                <a:latin typeface="Trebuchet MS" panose="020B0603020202020204" pitchFamily="34" charset="0"/>
              </a:rPr>
              <a:t>in the database, the client can ask for </a:t>
            </a:r>
            <a:r>
              <a:rPr lang="en-GB" sz="1000">
                <a:solidFill>
                  <a:schemeClr val="tx2"/>
                </a:solidFill>
                <a:latin typeface="Trebuchet MS" panose="020B0603020202020204" pitchFamily="34" charset="0"/>
              </a:rPr>
              <a:t>specific investigations </a:t>
            </a:r>
            <a:r>
              <a:rPr lang="en-GB" sz="1000">
                <a:latin typeface="Trebuchet MS" panose="020B0603020202020204" pitchFamily="34" charset="0"/>
              </a:rPr>
              <a:t>that will be performed by the provider ; once found, the data will enrich the database</a:t>
            </a:r>
          </a:p>
        </p:txBody>
      </p:sp>
      <p:sp>
        <p:nvSpPr>
          <p:cNvPr id="106" name="Rectangle 105">
            <a:extLst>
              <a:ext uri="{FF2B5EF4-FFF2-40B4-BE49-F238E27FC236}">
                <a16:creationId xmlns:a16="http://schemas.microsoft.com/office/drawing/2014/main" id="{29DF70E0-F7C6-4AC4-90C9-0F9BC9C3B1CF}"/>
              </a:ext>
            </a:extLst>
          </p:cNvPr>
          <p:cNvSpPr/>
          <p:nvPr/>
        </p:nvSpPr>
        <p:spPr bwMode="auto">
          <a:xfrm>
            <a:off x="6330049" y="3174665"/>
            <a:ext cx="3271957" cy="1549568"/>
          </a:xfrm>
          <a:prstGeom prst="rect">
            <a:avLst/>
          </a:prstGeom>
          <a:solidFill>
            <a:srgbClr val="F9E8D7"/>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91440" bIns="45720" numCol="1" spcCol="0" rtlCol="0" fromWordArt="0" anchor="ctr" anchorCtr="0" forceAA="0" compatLnSpc="1">
            <a:prstTxWarp prst="textNoShape">
              <a:avLst/>
            </a:prstTxWarp>
            <a:noAutofit/>
          </a:bodyPr>
          <a:lstStyle/>
          <a:p>
            <a:pPr marL="171450" indent="-171450">
              <a:spcAft>
                <a:spcPts val="200"/>
              </a:spcAft>
              <a:buClr>
                <a:schemeClr val="tx1"/>
              </a:buClr>
              <a:buFont typeface="Arial" panose="020B0604020202020204" pitchFamily="34" charset="0"/>
              <a:buChar char="•"/>
            </a:pPr>
            <a:r>
              <a:rPr lang="en-GB" sz="1000">
                <a:solidFill>
                  <a:schemeClr val="accent4"/>
                </a:solidFill>
                <a:latin typeface="Trebuchet MS" panose="020B0603020202020204" pitchFamily="34" charset="0"/>
              </a:rPr>
              <a:t>Option</a:t>
            </a:r>
            <a:r>
              <a:rPr lang="en-GB" sz="1000">
                <a:solidFill>
                  <a:schemeClr val="accent1">
                    <a:lumMod val="75000"/>
                  </a:schemeClr>
                </a:solidFill>
                <a:latin typeface="Trebuchet MS" panose="020B0603020202020204" pitchFamily="34" charset="0"/>
              </a:rPr>
              <a:t> </a:t>
            </a:r>
            <a:r>
              <a:rPr lang="en-GB" sz="1000">
                <a:solidFill>
                  <a:schemeClr val="accent4"/>
                </a:solidFill>
                <a:latin typeface="Trebuchet MS" panose="020B0603020202020204" pitchFamily="34" charset="0"/>
              </a:rPr>
              <a:t>1</a:t>
            </a:r>
            <a:r>
              <a:rPr lang="en-GB" sz="1000">
                <a:latin typeface="Trebuchet MS" panose="020B0603020202020204" pitchFamily="34" charset="0"/>
              </a:rPr>
              <a:t>: the client sends the list of peers to evaluate under a </a:t>
            </a:r>
            <a:r>
              <a:rPr lang="en-GB" sz="1000">
                <a:solidFill>
                  <a:schemeClr val="accent4"/>
                </a:solidFill>
                <a:latin typeface="Trebuchet MS" panose="020B0603020202020204" pitchFamily="34" charset="0"/>
              </a:rPr>
              <a:t>predefined</a:t>
            </a:r>
            <a:r>
              <a:rPr lang="en-GB" sz="1000">
                <a:solidFill>
                  <a:schemeClr val="accent1">
                    <a:lumMod val="75000"/>
                  </a:schemeClr>
                </a:solidFill>
                <a:latin typeface="Trebuchet MS" panose="020B0603020202020204" pitchFamily="34" charset="0"/>
              </a:rPr>
              <a:t> </a:t>
            </a:r>
            <a:r>
              <a:rPr lang="en-GB" sz="1000">
                <a:solidFill>
                  <a:schemeClr val="accent4"/>
                </a:solidFill>
                <a:latin typeface="Trebuchet MS" panose="020B0603020202020204" pitchFamily="34" charset="0"/>
              </a:rPr>
              <a:t>format</a:t>
            </a:r>
            <a:r>
              <a:rPr lang="en-GB" sz="1000">
                <a:solidFill>
                  <a:schemeClr val="accent1">
                    <a:lumMod val="75000"/>
                  </a:schemeClr>
                </a:solidFill>
                <a:latin typeface="Trebuchet MS" panose="020B0603020202020204" pitchFamily="34" charset="0"/>
              </a:rPr>
              <a:t> </a:t>
            </a:r>
            <a:r>
              <a:rPr lang="en-GB" sz="1000">
                <a:latin typeface="Trebuchet MS" panose="020B0603020202020204" pitchFamily="34" charset="0"/>
              </a:rPr>
              <a:t>(ex: a .csv file with columns like SIREN, etc.) to the data provider for enrichment ; the file is sent back or dropped when the task is completed</a:t>
            </a:r>
          </a:p>
          <a:p>
            <a:pPr marL="171450" indent="-171450">
              <a:spcAft>
                <a:spcPts val="200"/>
              </a:spcAft>
              <a:buClr>
                <a:schemeClr val="tx1"/>
              </a:buClr>
              <a:buFont typeface="Arial" panose="020B0604020202020204" pitchFamily="34" charset="0"/>
              <a:buChar char="•"/>
            </a:pPr>
            <a:endParaRPr lang="en-GB" sz="1000">
              <a:latin typeface="Trebuchet MS" panose="020B0603020202020204" pitchFamily="34" charset="0"/>
            </a:endParaRPr>
          </a:p>
          <a:p>
            <a:pPr marL="171450" indent="-171450">
              <a:spcAft>
                <a:spcPts val="200"/>
              </a:spcAft>
              <a:buClr>
                <a:schemeClr val="tx1"/>
              </a:buClr>
              <a:buFont typeface="Arial" panose="020B0604020202020204" pitchFamily="34" charset="0"/>
              <a:buChar char="•"/>
            </a:pPr>
            <a:r>
              <a:rPr lang="en-GB" sz="1000">
                <a:solidFill>
                  <a:schemeClr val="accent4"/>
                </a:solidFill>
                <a:latin typeface="Trebuchet MS" panose="020B0603020202020204" pitchFamily="34" charset="0"/>
              </a:rPr>
              <a:t>Option</a:t>
            </a:r>
            <a:r>
              <a:rPr lang="en-GB" sz="1000">
                <a:solidFill>
                  <a:schemeClr val="accent1">
                    <a:lumMod val="75000"/>
                  </a:schemeClr>
                </a:solidFill>
                <a:latin typeface="Trebuchet MS" panose="020B0603020202020204" pitchFamily="34" charset="0"/>
              </a:rPr>
              <a:t> </a:t>
            </a:r>
            <a:r>
              <a:rPr lang="en-GB" sz="1000">
                <a:solidFill>
                  <a:schemeClr val="accent4"/>
                </a:solidFill>
                <a:latin typeface="Trebuchet MS" panose="020B0603020202020204" pitchFamily="34" charset="0"/>
              </a:rPr>
              <a:t>2</a:t>
            </a:r>
            <a:r>
              <a:rPr lang="en-GB" sz="1000">
                <a:latin typeface="Trebuchet MS" panose="020B0603020202020204" pitchFamily="34" charset="0"/>
              </a:rPr>
              <a:t>: provider’s data is automatically sent to the client’s internal IT system base through </a:t>
            </a:r>
            <a:r>
              <a:rPr lang="en-GB" sz="1000">
                <a:solidFill>
                  <a:schemeClr val="accent4"/>
                </a:solidFill>
                <a:latin typeface="Trebuchet MS" panose="020B0603020202020204" pitchFamily="34" charset="0"/>
              </a:rPr>
              <a:t>APIs</a:t>
            </a:r>
            <a:r>
              <a:rPr lang="en-GB" sz="1000">
                <a:solidFill>
                  <a:schemeClr val="accent1">
                    <a:lumMod val="75000"/>
                  </a:schemeClr>
                </a:solidFill>
                <a:latin typeface="Trebuchet MS" panose="020B0603020202020204" pitchFamily="34" charset="0"/>
              </a:rPr>
              <a:t> </a:t>
            </a:r>
            <a:r>
              <a:rPr lang="en-GB" sz="1000">
                <a:solidFill>
                  <a:schemeClr val="accent4"/>
                </a:solidFill>
                <a:latin typeface="Trebuchet MS" panose="020B0603020202020204" pitchFamily="34" charset="0"/>
              </a:rPr>
              <a:t>or</a:t>
            </a:r>
            <a:r>
              <a:rPr lang="en-GB" sz="1000">
                <a:solidFill>
                  <a:schemeClr val="accent1">
                    <a:lumMod val="75000"/>
                  </a:schemeClr>
                </a:solidFill>
                <a:latin typeface="Trebuchet MS" panose="020B0603020202020204" pitchFamily="34" charset="0"/>
              </a:rPr>
              <a:t> </a:t>
            </a:r>
            <a:r>
              <a:rPr lang="en-GB" sz="1000">
                <a:solidFill>
                  <a:schemeClr val="accent4"/>
                </a:solidFill>
                <a:latin typeface="Trebuchet MS" panose="020B0603020202020204" pitchFamily="34" charset="0"/>
              </a:rPr>
              <a:t>H2H</a:t>
            </a:r>
            <a:r>
              <a:rPr lang="en-GB" sz="1000">
                <a:solidFill>
                  <a:schemeClr val="accent1">
                    <a:lumMod val="75000"/>
                  </a:schemeClr>
                </a:solidFill>
                <a:latin typeface="Trebuchet MS" panose="020B0603020202020204" pitchFamily="34" charset="0"/>
              </a:rPr>
              <a:t> </a:t>
            </a:r>
            <a:r>
              <a:rPr lang="en-GB" sz="1000">
                <a:solidFill>
                  <a:schemeClr val="accent4"/>
                </a:solidFill>
                <a:latin typeface="Trebuchet MS" panose="020B0603020202020204" pitchFamily="34" charset="0"/>
              </a:rPr>
              <a:t>protocol</a:t>
            </a:r>
          </a:p>
        </p:txBody>
      </p:sp>
      <p:sp>
        <p:nvSpPr>
          <p:cNvPr id="107" name="Rectangle 106">
            <a:extLst>
              <a:ext uri="{FF2B5EF4-FFF2-40B4-BE49-F238E27FC236}">
                <a16:creationId xmlns:a16="http://schemas.microsoft.com/office/drawing/2014/main" id="{48435563-5ABE-4C86-B260-F751EEF89BC8}"/>
              </a:ext>
            </a:extLst>
          </p:cNvPr>
          <p:cNvSpPr/>
          <p:nvPr/>
        </p:nvSpPr>
        <p:spPr bwMode="auto">
          <a:xfrm>
            <a:off x="6330049" y="4812729"/>
            <a:ext cx="3271957" cy="1549570"/>
          </a:xfrm>
          <a:prstGeom prst="rect">
            <a:avLst/>
          </a:prstGeom>
          <a:solidFill>
            <a:srgbClr val="E2E2E2"/>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91440" bIns="45720" numCol="1" spcCol="0" rtlCol="0" fromWordArt="0" anchor="ctr" anchorCtr="0" forceAA="0" compatLnSpc="1">
            <a:prstTxWarp prst="textNoShape">
              <a:avLst/>
            </a:prstTxWarp>
            <a:noAutofit/>
          </a:bodyPr>
          <a:lstStyle/>
          <a:p>
            <a:pPr marL="171450" indent="-171450">
              <a:spcAft>
                <a:spcPts val="200"/>
              </a:spcAft>
              <a:buClr>
                <a:schemeClr val="tx1"/>
              </a:buClr>
              <a:buFont typeface="Arial" panose="020B0604020202020204" pitchFamily="34" charset="0"/>
              <a:buChar char="•"/>
            </a:pPr>
            <a:r>
              <a:rPr lang="en-GB" sz="1000">
                <a:solidFill>
                  <a:schemeClr val="tx1">
                    <a:lumMod val="75000"/>
                  </a:schemeClr>
                </a:solidFill>
                <a:latin typeface="Trebuchet MS" panose="020B0603020202020204" pitchFamily="34" charset="0"/>
              </a:rPr>
              <a:t>Option 1: </a:t>
            </a:r>
            <a:r>
              <a:rPr lang="en-GB" sz="1000">
                <a:latin typeface="Trebuchet MS" panose="020B0603020202020204" pitchFamily="34" charset="0"/>
              </a:rPr>
              <a:t>the provider </a:t>
            </a:r>
            <a:r>
              <a:rPr lang="en-GB" sz="1000">
                <a:solidFill>
                  <a:schemeClr val="tx1">
                    <a:lumMod val="75000"/>
                  </a:schemeClr>
                </a:solidFill>
                <a:latin typeface="Trebuchet MS" panose="020B0603020202020204" pitchFamily="34" charset="0"/>
              </a:rPr>
              <a:t>automatically updates </a:t>
            </a:r>
            <a:r>
              <a:rPr lang="en-GB" sz="1000">
                <a:latin typeface="Trebuchet MS" panose="020B0603020202020204" pitchFamily="34" charset="0"/>
              </a:rPr>
              <a:t>the companies’ data in its proprietary database (“database maintenance”), making the fresh information available to client</a:t>
            </a:r>
          </a:p>
          <a:p>
            <a:pPr marL="171450" indent="-171450">
              <a:spcAft>
                <a:spcPts val="200"/>
              </a:spcAft>
              <a:buClr>
                <a:schemeClr val="tx1"/>
              </a:buClr>
              <a:buFont typeface="Arial" panose="020B0604020202020204" pitchFamily="34" charset="0"/>
              <a:buChar char="•"/>
            </a:pPr>
            <a:endParaRPr lang="en-GB" sz="1000">
              <a:latin typeface="Trebuchet MS" panose="020B0603020202020204" pitchFamily="34" charset="0"/>
            </a:endParaRPr>
          </a:p>
          <a:p>
            <a:pPr marL="171450" indent="-171450">
              <a:spcAft>
                <a:spcPts val="200"/>
              </a:spcAft>
              <a:buClr>
                <a:schemeClr val="tx1"/>
              </a:buClr>
              <a:buFont typeface="Arial" panose="020B0604020202020204" pitchFamily="34" charset="0"/>
              <a:buChar char="•"/>
            </a:pPr>
            <a:r>
              <a:rPr lang="en-GB" sz="1000">
                <a:solidFill>
                  <a:schemeClr val="tx1">
                    <a:lumMod val="75000"/>
                  </a:schemeClr>
                </a:solidFill>
                <a:latin typeface="Trebuchet MS" panose="020B0603020202020204" pitchFamily="34" charset="0"/>
              </a:rPr>
              <a:t>Option 2</a:t>
            </a:r>
            <a:r>
              <a:rPr lang="en-GB" sz="1000">
                <a:latin typeface="Trebuchet MS" panose="020B0603020202020204" pitchFamily="34" charset="0"/>
              </a:rPr>
              <a:t>: the provider makes the changes directly in the client’s internal database</a:t>
            </a:r>
          </a:p>
        </p:txBody>
      </p:sp>
      <p:pic>
        <p:nvPicPr>
          <p:cNvPr id="71" name="Graphique 70">
            <a:extLst>
              <a:ext uri="{FF2B5EF4-FFF2-40B4-BE49-F238E27FC236}">
                <a16:creationId xmlns:a16="http://schemas.microsoft.com/office/drawing/2014/main" id="{5E28EE58-976B-4686-9F25-6CF7CC23DECF}"/>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b="19568"/>
          <a:stretch/>
        </p:blipFill>
        <p:spPr>
          <a:xfrm>
            <a:off x="6437949" y="1182367"/>
            <a:ext cx="250823" cy="252177"/>
          </a:xfrm>
          <a:prstGeom prst="rect">
            <a:avLst/>
          </a:prstGeom>
          <a:effectLst/>
        </p:spPr>
      </p:pic>
      <p:pic>
        <p:nvPicPr>
          <p:cNvPr id="20" name="Graphique 19">
            <a:extLst>
              <a:ext uri="{FF2B5EF4-FFF2-40B4-BE49-F238E27FC236}">
                <a16:creationId xmlns:a16="http://schemas.microsoft.com/office/drawing/2014/main" id="{D92F19F0-FCD4-45F7-B179-959EC1A0BAE8}"/>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b="18934"/>
          <a:stretch/>
        </p:blipFill>
        <p:spPr>
          <a:xfrm>
            <a:off x="1977147" y="1164331"/>
            <a:ext cx="257424" cy="260853"/>
          </a:xfrm>
          <a:prstGeom prst="rect">
            <a:avLst/>
          </a:prstGeom>
        </p:spPr>
      </p:pic>
      <p:pic>
        <p:nvPicPr>
          <p:cNvPr id="51" name="Graphique 64">
            <a:extLst>
              <a:ext uri="{FF2B5EF4-FFF2-40B4-BE49-F238E27FC236}">
                <a16:creationId xmlns:a16="http://schemas.microsoft.com/office/drawing/2014/main" id="{DEF023F8-F15F-47F2-B99B-0728F9461877}"/>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r="-3601" b="22797"/>
          <a:stretch/>
        </p:blipFill>
        <p:spPr>
          <a:xfrm>
            <a:off x="247830" y="4879639"/>
            <a:ext cx="294773" cy="274579"/>
          </a:xfrm>
          <a:prstGeom prst="rect">
            <a:avLst/>
          </a:prstGeom>
          <a:effectLst/>
        </p:spPr>
      </p:pic>
      <p:grpSp>
        <p:nvGrpSpPr>
          <p:cNvPr id="48" name="Groupe 47">
            <a:extLst>
              <a:ext uri="{FF2B5EF4-FFF2-40B4-BE49-F238E27FC236}">
                <a16:creationId xmlns:a16="http://schemas.microsoft.com/office/drawing/2014/main" id="{1501F049-798E-4CA8-80F7-4CC0CA039C35}"/>
              </a:ext>
            </a:extLst>
          </p:cNvPr>
          <p:cNvGrpSpPr/>
          <p:nvPr/>
        </p:nvGrpSpPr>
        <p:grpSpPr>
          <a:xfrm>
            <a:off x="8448150" y="-11528"/>
            <a:ext cx="1435548" cy="711253"/>
            <a:chOff x="8448150" y="-11528"/>
            <a:chExt cx="1435548" cy="711253"/>
          </a:xfrm>
        </p:grpSpPr>
        <p:grpSp>
          <p:nvGrpSpPr>
            <p:cNvPr id="49" name="Groupe 48">
              <a:extLst>
                <a:ext uri="{FF2B5EF4-FFF2-40B4-BE49-F238E27FC236}">
                  <a16:creationId xmlns:a16="http://schemas.microsoft.com/office/drawing/2014/main" id="{6584A97D-C307-4A29-8D04-795AB2CA7957}"/>
                </a:ext>
              </a:extLst>
            </p:cNvPr>
            <p:cNvGrpSpPr/>
            <p:nvPr/>
          </p:nvGrpSpPr>
          <p:grpSpPr>
            <a:xfrm>
              <a:off x="8448150" y="-11528"/>
              <a:ext cx="1435548" cy="555653"/>
              <a:chOff x="8448150" y="-11528"/>
              <a:chExt cx="1435548" cy="555653"/>
            </a:xfrm>
          </p:grpSpPr>
          <p:sp>
            <p:nvSpPr>
              <p:cNvPr id="52" name="Rectangle : coins arrondis 199">
                <a:extLst>
                  <a:ext uri="{FF2B5EF4-FFF2-40B4-BE49-F238E27FC236}">
                    <a16:creationId xmlns:a16="http://schemas.microsoft.com/office/drawing/2014/main" id="{84C3F1F5-BC50-4B35-9109-CA2A9E203682}"/>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4" name="Rectangle : coins arrondis 200">
                <a:extLst>
                  <a:ext uri="{FF2B5EF4-FFF2-40B4-BE49-F238E27FC236}">
                    <a16:creationId xmlns:a16="http://schemas.microsoft.com/office/drawing/2014/main" id="{A85970AF-44D7-4BD4-9DA2-EAC9263C82A9}"/>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6" name="Rectangle : coins arrondis 201">
                <a:extLst>
                  <a:ext uri="{FF2B5EF4-FFF2-40B4-BE49-F238E27FC236}">
                    <a16:creationId xmlns:a16="http://schemas.microsoft.com/office/drawing/2014/main" id="{FAD43092-2FCF-40F8-B672-9A82C3BDF5A2}"/>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7" name="ZoneTexte 18">
                <a:extLst>
                  <a:ext uri="{FF2B5EF4-FFF2-40B4-BE49-F238E27FC236}">
                    <a16:creationId xmlns:a16="http://schemas.microsoft.com/office/drawing/2014/main" id="{ACCD971D-361C-4B66-90CB-7CE477E3D39D}"/>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59" name="Graphique 128" descr="Jauge">
                <a:extLst>
                  <a:ext uri="{FF2B5EF4-FFF2-40B4-BE49-F238E27FC236}">
                    <a16:creationId xmlns:a16="http://schemas.microsoft.com/office/drawing/2014/main" id="{BA602C8E-029C-427D-8E0A-040179F47A7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553764" y="187516"/>
                <a:ext cx="234953" cy="218224"/>
              </a:xfrm>
              <a:prstGeom prst="rect">
                <a:avLst/>
              </a:prstGeom>
              <a:effectLst/>
            </p:spPr>
          </p:pic>
          <p:pic>
            <p:nvPicPr>
              <p:cNvPr id="60" name="Graphique 90" descr="Poignée de main">
                <a:extLst>
                  <a:ext uri="{FF2B5EF4-FFF2-40B4-BE49-F238E27FC236}">
                    <a16:creationId xmlns:a16="http://schemas.microsoft.com/office/drawing/2014/main" id="{EDF083A7-3774-40A6-B3EB-D6C1CCE9D388}"/>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960868" y="152880"/>
                <a:ext cx="256313" cy="287496"/>
              </a:xfrm>
              <a:prstGeom prst="rect">
                <a:avLst/>
              </a:prstGeom>
              <a:effectLst/>
            </p:spPr>
          </p:pic>
          <p:pic>
            <p:nvPicPr>
              <p:cNvPr id="62" name="Graphique 74" descr="Mégaphone">
                <a:extLst>
                  <a:ext uri="{FF2B5EF4-FFF2-40B4-BE49-F238E27FC236}">
                    <a16:creationId xmlns:a16="http://schemas.microsoft.com/office/drawing/2014/main" id="{CB02B9FE-1C36-453A-98E7-2820F14DA8B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389331" y="181519"/>
                <a:ext cx="233011" cy="216420"/>
              </a:xfrm>
              <a:prstGeom prst="rect">
                <a:avLst/>
              </a:prstGeom>
              <a:effectLst/>
            </p:spPr>
          </p:pic>
          <p:pic>
            <p:nvPicPr>
              <p:cNvPr id="63" name="Picture 2" descr="Drapeau France">
                <a:extLst>
                  <a:ext uri="{FF2B5EF4-FFF2-40B4-BE49-F238E27FC236}">
                    <a16:creationId xmlns:a16="http://schemas.microsoft.com/office/drawing/2014/main" id="{D79A16B8-C893-41F6-BEF0-DA7418204D87}"/>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4" name="Picture 2" descr="5 ft x 3 ft 150 x 90 cm-DRAPEAU BELGE Belgique 100% Polyester ...">
                <a:extLst>
                  <a:ext uri="{FF2B5EF4-FFF2-40B4-BE49-F238E27FC236}">
                    <a16:creationId xmlns:a16="http://schemas.microsoft.com/office/drawing/2014/main" id="{A08EEC37-F1F3-4933-A274-13343CD3AFEF}"/>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6" name="Picture 2 - 1" descr="Drapeau des Pays-Bas — Wikipédia">
                <a:extLst>
                  <a:ext uri="{FF2B5EF4-FFF2-40B4-BE49-F238E27FC236}">
                    <a16:creationId xmlns:a16="http://schemas.microsoft.com/office/drawing/2014/main" id="{3CCE693E-68C8-412D-9B63-7BA259E18542}"/>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7" name="Picture 2 - 2" descr="Drapeau du Luxembourg">
                <a:extLst>
                  <a:ext uri="{FF2B5EF4-FFF2-40B4-BE49-F238E27FC236}">
                    <a16:creationId xmlns:a16="http://schemas.microsoft.com/office/drawing/2014/main" id="{3527BBAA-AB25-4B84-A0D7-CD4916E80B42}"/>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50" name="ZoneTexte 18">
              <a:extLst>
                <a:ext uri="{FF2B5EF4-FFF2-40B4-BE49-F238E27FC236}">
                  <a16:creationId xmlns:a16="http://schemas.microsoft.com/office/drawing/2014/main" id="{0CA0195D-0498-432D-9356-151B362F619C}"/>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Customers’ use cases in Compliance</a:t>
              </a:r>
            </a:p>
          </p:txBody>
        </p:sp>
      </p:grpSp>
    </p:spTree>
    <p:extLst>
      <p:ext uri="{BB962C8B-B14F-4D97-AF65-F5344CB8AC3E}">
        <p14:creationId xmlns:p14="http://schemas.microsoft.com/office/powerpoint/2010/main" val="1707520117"/>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t 43" hidden="1">
            <a:extLst>
              <a:ext uri="{FF2B5EF4-FFF2-40B4-BE49-F238E27FC236}">
                <a16:creationId xmlns:a16="http://schemas.microsoft.com/office/drawing/2014/main" id="{FF09F980-65F9-4BEF-885F-A428C188814A}"/>
              </a:ext>
            </a:extLst>
          </p:cNvPr>
          <p:cNvGraphicFramePr>
            <a:graphicFrameLocks noChangeAspect="1"/>
          </p:cNvGraphicFramePr>
          <p:nvPr>
            <p:custDataLst>
              <p:tags r:id="rId1"/>
            </p:custDataLst>
            <p:extLst>
              <p:ext uri="{D42A27DB-BD31-4B8C-83A1-F6EECF244321}">
                <p14:modId xmlns:p14="http://schemas.microsoft.com/office/powerpoint/2010/main" val="1478088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4" name="Objet 43" hidden="1">
                        <a:extLst>
                          <a:ext uri="{FF2B5EF4-FFF2-40B4-BE49-F238E27FC236}">
                            <a16:creationId xmlns:a16="http://schemas.microsoft.com/office/drawing/2014/main" id="{FF09F980-65F9-4BEF-885F-A428C18881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 name="Rectangle 42" hidden="1">
            <a:extLst>
              <a:ext uri="{FF2B5EF4-FFF2-40B4-BE49-F238E27FC236}">
                <a16:creationId xmlns:a16="http://schemas.microsoft.com/office/drawing/2014/main" id="{5404907B-9748-4A0C-A53C-3F7E9EFBA2E8}"/>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41" name="Titre 40">
            <a:extLst>
              <a:ext uri="{FF2B5EF4-FFF2-40B4-BE49-F238E27FC236}">
                <a16:creationId xmlns:a16="http://schemas.microsoft.com/office/drawing/2014/main" id="{E4D1907D-DD67-4C18-AF72-20A9757922B3}"/>
              </a:ext>
            </a:extLst>
          </p:cNvPr>
          <p:cNvSpPr>
            <a:spLocks noGrp="1"/>
          </p:cNvSpPr>
          <p:nvPr>
            <p:ph type="title"/>
          </p:nvPr>
        </p:nvSpPr>
        <p:spPr>
          <a:xfrm>
            <a:off x="165601" y="147600"/>
            <a:ext cx="8388164" cy="684000"/>
          </a:xfrm>
        </p:spPr>
        <p:txBody>
          <a:bodyPr/>
          <a:lstStyle/>
          <a:p>
            <a:r>
              <a:rPr lang="en-GB" spc="-10">
                <a:latin typeface="Trebuchet MS" panose="020B0603020202020204" pitchFamily="34" charset="0"/>
              </a:rPr>
              <a:t>B2B companies have </a:t>
            </a:r>
            <a:r>
              <a:rPr lang="en-GB" spc="-10">
                <a:solidFill>
                  <a:schemeClr val="tx2"/>
                </a:solidFill>
                <a:latin typeface="Trebuchet MS" panose="020B0603020202020204" pitchFamily="34" charset="0"/>
              </a:rPr>
              <a:t>various needs </a:t>
            </a:r>
            <a:r>
              <a:rPr lang="en-GB" spc="-10">
                <a:latin typeface="Trebuchet MS" panose="020B0603020202020204" pitchFamily="34" charset="0"/>
              </a:rPr>
              <a:t>regarding direct </a:t>
            </a:r>
            <a:r>
              <a:rPr lang="en-GB" spc="-10">
                <a:solidFill>
                  <a:schemeClr val="tx2"/>
                </a:solidFill>
                <a:latin typeface="Trebuchet MS" panose="020B0603020202020204" pitchFamily="34" charset="0"/>
              </a:rPr>
              <a:t>B2B marketing</a:t>
            </a:r>
            <a:r>
              <a:rPr lang="en-GB" spc="-10">
                <a:latin typeface="Trebuchet MS" panose="020B0603020202020204" pitchFamily="34" charset="0"/>
              </a:rPr>
              <a:t>, depending on </a:t>
            </a:r>
            <a:r>
              <a:rPr lang="en-GB">
                <a:latin typeface="Trebuchet MS" panose="020B0603020202020204" pitchFamily="34" charset="0"/>
              </a:rPr>
              <a:t>their internal capabilities and available resources</a:t>
            </a:r>
          </a:p>
        </p:txBody>
      </p:sp>
      <p:sp>
        <p:nvSpPr>
          <p:cNvPr id="42" name="Espace réservé du texte 41">
            <a:extLst>
              <a:ext uri="{FF2B5EF4-FFF2-40B4-BE49-F238E27FC236}">
                <a16:creationId xmlns:a16="http://schemas.microsoft.com/office/drawing/2014/main" id="{96A037BE-4D2F-4858-82A5-6E84A94BB24A}"/>
              </a:ext>
            </a:extLst>
          </p:cNvPr>
          <p:cNvSpPr>
            <a:spLocks noGrp="1"/>
          </p:cNvSpPr>
          <p:nvPr>
            <p:ph type="body" sz="quarter" idx="10"/>
          </p:nvPr>
        </p:nvSpPr>
        <p:spPr/>
        <p:txBody>
          <a:bodyPr/>
          <a:lstStyle/>
          <a:p>
            <a:r>
              <a:rPr lang="en-GB"/>
              <a:t>Sources: eleven research &amp; analysis, expert calls</a:t>
            </a:r>
          </a:p>
          <a:p>
            <a:endParaRPr lang="en-GB"/>
          </a:p>
        </p:txBody>
      </p:sp>
      <p:sp>
        <p:nvSpPr>
          <p:cNvPr id="3" name="Flèche : pentagone 2">
            <a:extLst>
              <a:ext uri="{FF2B5EF4-FFF2-40B4-BE49-F238E27FC236}">
                <a16:creationId xmlns:a16="http://schemas.microsoft.com/office/drawing/2014/main" id="{19652242-9AEC-453E-B8E4-0AB708316051}"/>
              </a:ext>
            </a:extLst>
          </p:cNvPr>
          <p:cNvSpPr/>
          <p:nvPr/>
        </p:nvSpPr>
        <p:spPr bwMode="auto">
          <a:xfrm>
            <a:off x="911996" y="1486298"/>
            <a:ext cx="3027088" cy="422031"/>
          </a:xfrm>
          <a:prstGeom prst="homePlate">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57600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GB" sz="1000" b="1" cap="all">
                <a:solidFill>
                  <a:schemeClr val="accent1">
                    <a:lumMod val="75000"/>
                  </a:schemeClr>
                </a:solidFill>
                <a:latin typeface="Trebuchet MS" panose="020B0603020202020204" pitchFamily="34" charset="0"/>
              </a:rPr>
              <a:t>Initial situation</a:t>
            </a:r>
            <a:endParaRPr kumimoji="0" lang="en-GB" sz="1000" b="1" i="0" u="none" strike="noStrike" cap="all" normalizeH="0">
              <a:ln>
                <a:noFill/>
              </a:ln>
              <a:solidFill>
                <a:schemeClr val="accent1">
                  <a:lumMod val="75000"/>
                </a:schemeClr>
              </a:solidFill>
              <a:effectLst/>
              <a:latin typeface="Trebuchet MS" panose="020B0603020202020204" pitchFamily="34" charset="0"/>
            </a:endParaRPr>
          </a:p>
        </p:txBody>
      </p:sp>
      <p:sp>
        <p:nvSpPr>
          <p:cNvPr id="4" name="Flèche : chevron 3">
            <a:extLst>
              <a:ext uri="{FF2B5EF4-FFF2-40B4-BE49-F238E27FC236}">
                <a16:creationId xmlns:a16="http://schemas.microsoft.com/office/drawing/2014/main" id="{FDEF46DD-451D-46BE-938E-1944B10E8A7C}"/>
              </a:ext>
            </a:extLst>
          </p:cNvPr>
          <p:cNvSpPr/>
          <p:nvPr/>
        </p:nvSpPr>
        <p:spPr bwMode="auto">
          <a:xfrm>
            <a:off x="6819343" y="1486298"/>
            <a:ext cx="2919564" cy="422031"/>
          </a:xfrm>
          <a:prstGeom prst="chevron">
            <a:avLst/>
          </a:prstGeom>
          <a:solidFill>
            <a:schemeClr val="accent1">
              <a:lumMod val="75000"/>
            </a:schemeClr>
          </a:solidFill>
          <a:ln w="9525" cap="flat" cmpd="sng" algn="ctr">
            <a:noFill/>
            <a:prstDash val="solid"/>
            <a:round/>
            <a:headEnd type="none" w="med" len="med"/>
            <a:tailEnd type="none" w="med" len="med"/>
          </a:ln>
          <a:effectLst/>
        </p:spPr>
        <p:txBody>
          <a:bodyPr vert="horz" wrap="square" lIns="57600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GB" sz="1000" b="1" cap="all">
                <a:solidFill>
                  <a:schemeClr val="bg1"/>
                </a:solidFill>
                <a:latin typeface="Trebuchet MS" panose="020B0603020202020204" pitchFamily="34" charset="0"/>
              </a:rPr>
              <a:t>Use of selected information solution</a:t>
            </a:r>
            <a:endParaRPr kumimoji="0" lang="en-GB" sz="1000" b="1" i="0" u="none" strike="noStrike" cap="all" normalizeH="0">
              <a:ln>
                <a:noFill/>
              </a:ln>
              <a:solidFill>
                <a:schemeClr val="bg1"/>
              </a:solidFill>
              <a:effectLst/>
              <a:latin typeface="Trebuchet MS" panose="020B0603020202020204" pitchFamily="34" charset="0"/>
            </a:endParaRPr>
          </a:p>
        </p:txBody>
      </p:sp>
      <p:sp>
        <p:nvSpPr>
          <p:cNvPr id="5" name="Flèche : chevron 4">
            <a:extLst>
              <a:ext uri="{FF2B5EF4-FFF2-40B4-BE49-F238E27FC236}">
                <a16:creationId xmlns:a16="http://schemas.microsoft.com/office/drawing/2014/main" id="{6B01D57F-669E-4987-A039-7312987B4557}"/>
              </a:ext>
            </a:extLst>
          </p:cNvPr>
          <p:cNvSpPr/>
          <p:nvPr/>
        </p:nvSpPr>
        <p:spPr bwMode="auto">
          <a:xfrm>
            <a:off x="3863470" y="1486298"/>
            <a:ext cx="3027088" cy="422031"/>
          </a:xfrm>
          <a:prstGeom prst="chevron">
            <a:avLst/>
          </a:prstGeom>
          <a:solidFill>
            <a:srgbClr val="8ECEE6"/>
          </a:solidFill>
          <a:ln w="9525" cap="flat" cmpd="sng" algn="ctr">
            <a:noFill/>
            <a:prstDash val="solid"/>
            <a:round/>
            <a:headEnd type="none" w="med" len="med"/>
            <a:tailEnd type="none" w="med" len="med"/>
          </a:ln>
          <a:effectLst/>
        </p:spPr>
        <p:txBody>
          <a:bodyPr vert="horz" wrap="square" lIns="57600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GB" sz="1000" b="1" cap="all">
                <a:solidFill>
                  <a:schemeClr val="bg1"/>
                </a:solidFill>
                <a:latin typeface="Trebuchet MS" panose="020B0603020202020204" pitchFamily="34" charset="0"/>
              </a:rPr>
              <a:t>Involvement of a BD&amp;A player</a:t>
            </a:r>
            <a:endParaRPr kumimoji="0" lang="en-GB" sz="1000" b="1" i="0" u="none" strike="noStrike" cap="all" normalizeH="0">
              <a:ln>
                <a:noFill/>
              </a:ln>
              <a:solidFill>
                <a:schemeClr val="bg1"/>
              </a:solidFill>
              <a:effectLst/>
              <a:latin typeface="Trebuchet MS" panose="020B0603020202020204" pitchFamily="34" charset="0"/>
            </a:endParaRPr>
          </a:p>
        </p:txBody>
      </p:sp>
      <p:pic>
        <p:nvPicPr>
          <p:cNvPr id="6" name="Graphique 5">
            <a:extLst>
              <a:ext uri="{FF2B5EF4-FFF2-40B4-BE49-F238E27FC236}">
                <a16:creationId xmlns:a16="http://schemas.microsoft.com/office/drawing/2014/main" id="{100A2460-68DF-4517-AEE3-A98314876ECD}"/>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23085" t="17595" r="21728" b="38390"/>
          <a:stretch/>
        </p:blipFill>
        <p:spPr>
          <a:xfrm>
            <a:off x="1046550" y="1562617"/>
            <a:ext cx="279388" cy="278599"/>
          </a:xfrm>
          <a:prstGeom prst="rect">
            <a:avLst/>
          </a:prstGeom>
          <a:effectLst/>
        </p:spPr>
      </p:pic>
      <p:pic>
        <p:nvPicPr>
          <p:cNvPr id="7" name="Graphique 6">
            <a:extLst>
              <a:ext uri="{FF2B5EF4-FFF2-40B4-BE49-F238E27FC236}">
                <a16:creationId xmlns:a16="http://schemas.microsoft.com/office/drawing/2014/main" id="{C4C24B15-8B4C-4D65-9639-38AA1DAE36B1}"/>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15204"/>
          <a:stretch/>
        </p:blipFill>
        <p:spPr>
          <a:xfrm>
            <a:off x="4214223" y="1561295"/>
            <a:ext cx="265334" cy="281241"/>
          </a:xfrm>
          <a:prstGeom prst="rect">
            <a:avLst/>
          </a:prstGeom>
          <a:effectLst/>
        </p:spPr>
      </p:pic>
      <p:pic>
        <p:nvPicPr>
          <p:cNvPr id="8" name="Graphique 7">
            <a:extLst>
              <a:ext uri="{FF2B5EF4-FFF2-40B4-BE49-F238E27FC236}">
                <a16:creationId xmlns:a16="http://schemas.microsoft.com/office/drawing/2014/main" id="{F640CB13-3484-427E-8265-E7A9C380B96B}"/>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b="20329"/>
          <a:stretch/>
        </p:blipFill>
        <p:spPr>
          <a:xfrm>
            <a:off x="7165697" y="1571869"/>
            <a:ext cx="255295" cy="254245"/>
          </a:xfrm>
          <a:prstGeom prst="rect">
            <a:avLst/>
          </a:prstGeom>
          <a:effectLst/>
        </p:spPr>
      </p:pic>
      <p:sp>
        <p:nvSpPr>
          <p:cNvPr id="9" name="Rectangle 8">
            <a:extLst>
              <a:ext uri="{FF2B5EF4-FFF2-40B4-BE49-F238E27FC236}">
                <a16:creationId xmlns:a16="http://schemas.microsoft.com/office/drawing/2014/main" id="{C1D446B8-70EC-4686-B213-9BB7984F917B}"/>
              </a:ext>
            </a:extLst>
          </p:cNvPr>
          <p:cNvSpPr/>
          <p:nvPr/>
        </p:nvSpPr>
        <p:spPr bwMode="auto">
          <a:xfrm>
            <a:off x="134964" y="2022546"/>
            <a:ext cx="685007" cy="1003486"/>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050" b="1">
                <a:solidFill>
                  <a:schemeClr val="accent1">
                    <a:lumMod val="75000"/>
                  </a:schemeClr>
                </a:solidFill>
                <a:latin typeface="Trebuchet MS" panose="020B0603020202020204" pitchFamily="34" charset="0"/>
              </a:rPr>
              <a:t>Key accounts</a:t>
            </a:r>
          </a:p>
        </p:txBody>
      </p:sp>
      <p:sp>
        <p:nvSpPr>
          <p:cNvPr id="15" name="Rectangle 14">
            <a:extLst>
              <a:ext uri="{FF2B5EF4-FFF2-40B4-BE49-F238E27FC236}">
                <a16:creationId xmlns:a16="http://schemas.microsoft.com/office/drawing/2014/main" id="{2E8AD9B5-C47B-4F05-A1D0-18DF92BB2F19}"/>
              </a:ext>
            </a:extLst>
          </p:cNvPr>
          <p:cNvSpPr/>
          <p:nvPr/>
        </p:nvSpPr>
        <p:spPr bwMode="auto">
          <a:xfrm>
            <a:off x="70615" y="2051810"/>
            <a:ext cx="813704" cy="1281152"/>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bg1"/>
              </a:solidFill>
              <a:effectLst/>
              <a:latin typeface="Trebuchet MS" pitchFamily="34" charset="0"/>
            </a:endParaRPr>
          </a:p>
        </p:txBody>
      </p:sp>
      <p:sp>
        <p:nvSpPr>
          <p:cNvPr id="16" name="Rectangle 15">
            <a:extLst>
              <a:ext uri="{FF2B5EF4-FFF2-40B4-BE49-F238E27FC236}">
                <a16:creationId xmlns:a16="http://schemas.microsoft.com/office/drawing/2014/main" id="{6AD38115-6BC6-4622-B976-34915D4250E8}"/>
              </a:ext>
            </a:extLst>
          </p:cNvPr>
          <p:cNvSpPr/>
          <p:nvPr/>
        </p:nvSpPr>
        <p:spPr bwMode="auto">
          <a:xfrm>
            <a:off x="70615" y="3939133"/>
            <a:ext cx="813704" cy="1281152"/>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bg1"/>
              </a:solidFill>
              <a:effectLst/>
              <a:latin typeface="Trebuchet MS" pitchFamily="34" charset="0"/>
            </a:endParaRPr>
          </a:p>
        </p:txBody>
      </p:sp>
      <p:sp>
        <p:nvSpPr>
          <p:cNvPr id="17" name="Rectangle 16">
            <a:extLst>
              <a:ext uri="{FF2B5EF4-FFF2-40B4-BE49-F238E27FC236}">
                <a16:creationId xmlns:a16="http://schemas.microsoft.com/office/drawing/2014/main" id="{4F648C5E-4454-4D8A-BDAD-DF5FE903EDCB}"/>
              </a:ext>
            </a:extLst>
          </p:cNvPr>
          <p:cNvSpPr/>
          <p:nvPr/>
        </p:nvSpPr>
        <p:spPr bwMode="auto">
          <a:xfrm>
            <a:off x="911996" y="2022546"/>
            <a:ext cx="2788603" cy="209005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r>
              <a:rPr lang="en-GB" sz="1000">
                <a:latin typeface="Trebuchet MS" panose="020B0603020202020204" pitchFamily="34" charset="0"/>
              </a:rPr>
              <a:t>The marketing director of a company in the manufacturing sector needs a </a:t>
            </a:r>
            <a:r>
              <a:rPr lang="en-GB" sz="1000">
                <a:solidFill>
                  <a:schemeClr val="tx2"/>
                </a:solidFill>
                <a:latin typeface="Trebuchet MS" panose="020B0603020202020204" pitchFamily="34" charset="0"/>
              </a:rPr>
              <a:t>new solution to identify prospects </a:t>
            </a:r>
            <a:r>
              <a:rPr lang="en-GB" sz="1000">
                <a:latin typeface="Trebuchet MS" panose="020B0603020202020204" pitchFamily="34" charset="0"/>
              </a:rPr>
              <a:t>to</a:t>
            </a:r>
            <a:r>
              <a:rPr lang="en-GB" sz="1000">
                <a:solidFill>
                  <a:schemeClr val="tx2"/>
                </a:solidFill>
                <a:latin typeface="Trebuchet MS" panose="020B0603020202020204" pitchFamily="34" charset="0"/>
              </a:rPr>
              <a:t> </a:t>
            </a:r>
            <a:r>
              <a:rPr lang="en-GB" sz="1000">
                <a:latin typeface="Trebuchet MS" panose="020B0603020202020204" pitchFamily="34" charset="0"/>
              </a:rPr>
              <a:t>implement a new marketing campaign and support the launch of a new product that will increase its turnover</a:t>
            </a:r>
          </a:p>
        </p:txBody>
      </p:sp>
      <p:sp>
        <p:nvSpPr>
          <p:cNvPr id="18" name="Rectangle 17">
            <a:extLst>
              <a:ext uri="{FF2B5EF4-FFF2-40B4-BE49-F238E27FC236}">
                <a16:creationId xmlns:a16="http://schemas.microsoft.com/office/drawing/2014/main" id="{A05EE251-EF8E-4BF4-AE98-B727A7FB5F8E}"/>
              </a:ext>
            </a:extLst>
          </p:cNvPr>
          <p:cNvSpPr/>
          <p:nvPr/>
        </p:nvSpPr>
        <p:spPr bwMode="auto">
          <a:xfrm>
            <a:off x="3863470" y="2022546"/>
            <a:ext cx="2788603" cy="209005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71450" indent="-171450">
              <a:spcBef>
                <a:spcPts val="600"/>
              </a:spcBef>
              <a:buFont typeface="Arial" panose="020B0604020202020204" pitchFamily="34" charset="0"/>
              <a:buChar char="•"/>
            </a:pPr>
            <a:r>
              <a:rPr lang="en-GB" sz="1000">
                <a:latin typeface="Trebuchet MS" panose="020B0603020202020204" pitchFamily="34" charset="0"/>
              </a:rPr>
              <a:t>The marketing director </a:t>
            </a:r>
            <a:r>
              <a:rPr lang="en-GB" sz="1000">
                <a:solidFill>
                  <a:schemeClr val="tx2"/>
                </a:solidFill>
                <a:latin typeface="Trebuchet MS" panose="020B0603020202020204" pitchFamily="34" charset="0"/>
              </a:rPr>
              <a:t>defines a list of key criteria </a:t>
            </a:r>
            <a:r>
              <a:rPr lang="en-GB" sz="1000">
                <a:latin typeface="Trebuchet MS" panose="020B0603020202020204" pitchFamily="34" charset="0"/>
              </a:rPr>
              <a:t>to select prospects, based on their teams’ own analyses and experience</a:t>
            </a:r>
          </a:p>
          <a:p>
            <a:pPr marL="171450" indent="-171450">
              <a:spcBef>
                <a:spcPts val="600"/>
              </a:spcBef>
              <a:buFont typeface="Arial" panose="020B0604020202020204" pitchFamily="34" charset="0"/>
              <a:buChar char="•"/>
            </a:pPr>
            <a:r>
              <a:rPr lang="en-GB" sz="1000">
                <a:latin typeface="Trebuchet MS" panose="020B0603020202020204" pitchFamily="34" charset="0"/>
              </a:rPr>
              <a:t>The marketing director </a:t>
            </a:r>
            <a:r>
              <a:rPr lang="en-GB" sz="1000">
                <a:solidFill>
                  <a:schemeClr val="tx2"/>
                </a:solidFill>
                <a:latin typeface="Trebuchet MS" panose="020B0603020202020204" pitchFamily="34" charset="0"/>
              </a:rPr>
              <a:t>uses the commercial sales teams’ risk management tool </a:t>
            </a:r>
            <a:r>
              <a:rPr lang="en-GB" sz="1000">
                <a:latin typeface="Trebuchet MS" panose="020B0603020202020204" pitchFamily="34" charset="0"/>
              </a:rPr>
              <a:t>to process to a first selection of potential prospects, based on their solvability</a:t>
            </a:r>
          </a:p>
        </p:txBody>
      </p:sp>
      <p:sp>
        <p:nvSpPr>
          <p:cNvPr id="19" name="Rectangle 18">
            <a:extLst>
              <a:ext uri="{FF2B5EF4-FFF2-40B4-BE49-F238E27FC236}">
                <a16:creationId xmlns:a16="http://schemas.microsoft.com/office/drawing/2014/main" id="{43E57853-4BC2-4472-8AE2-52AA9CFEEEFC}"/>
              </a:ext>
            </a:extLst>
          </p:cNvPr>
          <p:cNvSpPr/>
          <p:nvPr/>
        </p:nvSpPr>
        <p:spPr bwMode="auto">
          <a:xfrm>
            <a:off x="6814943" y="2022546"/>
            <a:ext cx="2788603" cy="209005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71450" indent="-171450">
              <a:spcBef>
                <a:spcPts val="600"/>
              </a:spcBef>
              <a:buFont typeface="Arial" panose="020B0604020202020204" pitchFamily="34" charset="0"/>
              <a:buChar char="•"/>
            </a:pPr>
            <a:r>
              <a:rPr lang="en-GB" sz="1000">
                <a:latin typeface="Trebuchet MS" panose="020B0603020202020204" pitchFamily="34" charset="0"/>
              </a:rPr>
              <a:t>The marketing department </a:t>
            </a:r>
            <a:r>
              <a:rPr lang="en-GB" sz="1000">
                <a:solidFill>
                  <a:schemeClr val="tx2"/>
                </a:solidFill>
                <a:latin typeface="Trebuchet MS" panose="020B0603020202020204" pitchFamily="34" charset="0"/>
              </a:rPr>
              <a:t>integrates the tool into its own CRM </a:t>
            </a:r>
            <a:r>
              <a:rPr lang="en-GB" sz="1000">
                <a:latin typeface="Trebuchet MS" pitchFamily="34" charset="0"/>
              </a:rPr>
              <a:t>to reconcile the direct marketing player’s information and its own</a:t>
            </a:r>
          </a:p>
          <a:p>
            <a:pPr marL="171450" indent="-171450">
              <a:spcBef>
                <a:spcPts val="600"/>
              </a:spcBef>
              <a:buFont typeface="Arial" panose="020B0604020202020204" pitchFamily="34" charset="0"/>
              <a:buChar char="•"/>
            </a:pPr>
            <a:r>
              <a:rPr lang="en-GB" sz="1000">
                <a:latin typeface="Trebuchet MS" pitchFamily="34" charset="0"/>
              </a:rPr>
              <a:t>The marketing director uses the direct marketing player’s </a:t>
            </a:r>
            <a:r>
              <a:rPr lang="en-GB" sz="1000">
                <a:solidFill>
                  <a:schemeClr val="tx2"/>
                </a:solidFill>
                <a:latin typeface="Trebuchet MS" panose="020B0603020202020204" pitchFamily="34" charset="0"/>
              </a:rPr>
              <a:t>contact information </a:t>
            </a:r>
            <a:r>
              <a:rPr lang="en-GB" sz="1000">
                <a:latin typeface="Trebuchet MS" panose="020B0603020202020204" pitchFamily="34" charset="0"/>
              </a:rPr>
              <a:t>to lead their new marketing campaign</a:t>
            </a:r>
          </a:p>
        </p:txBody>
      </p:sp>
      <p:sp>
        <p:nvSpPr>
          <p:cNvPr id="20" name="Rectangle 19">
            <a:extLst>
              <a:ext uri="{FF2B5EF4-FFF2-40B4-BE49-F238E27FC236}">
                <a16:creationId xmlns:a16="http://schemas.microsoft.com/office/drawing/2014/main" id="{6F718DF4-6781-4501-87DA-00A4242A5E6E}"/>
              </a:ext>
            </a:extLst>
          </p:cNvPr>
          <p:cNvSpPr/>
          <p:nvPr/>
        </p:nvSpPr>
        <p:spPr bwMode="auto">
          <a:xfrm>
            <a:off x="911996" y="4189924"/>
            <a:ext cx="2788603" cy="174549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r>
              <a:rPr lang="en-GB" sz="1000">
                <a:latin typeface="Trebuchet MS" panose="020B0603020202020204" pitchFamily="34" charset="0"/>
              </a:rPr>
              <a:t>The CEO of a €2m-revenue company in the B2B services needs to </a:t>
            </a:r>
            <a:r>
              <a:rPr lang="en-GB" sz="1000">
                <a:solidFill>
                  <a:schemeClr val="tx2"/>
                </a:solidFill>
                <a:latin typeface="Trebuchet MS" panose="020B0603020202020204" pitchFamily="34" charset="0"/>
              </a:rPr>
              <a:t>increase their customer base on new geographies</a:t>
            </a:r>
          </a:p>
        </p:txBody>
      </p:sp>
      <p:sp>
        <p:nvSpPr>
          <p:cNvPr id="21" name="Rectangle 20">
            <a:extLst>
              <a:ext uri="{FF2B5EF4-FFF2-40B4-BE49-F238E27FC236}">
                <a16:creationId xmlns:a16="http://schemas.microsoft.com/office/drawing/2014/main" id="{A8B850C3-E624-4BD7-94D3-767EE3EEF8D1}"/>
              </a:ext>
            </a:extLst>
          </p:cNvPr>
          <p:cNvSpPr/>
          <p:nvPr/>
        </p:nvSpPr>
        <p:spPr bwMode="auto">
          <a:xfrm>
            <a:off x="3863470" y="4189924"/>
            <a:ext cx="2788603" cy="174549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71450" indent="-171450">
              <a:spcBef>
                <a:spcPts val="600"/>
              </a:spcBef>
              <a:buFont typeface="Arial" panose="020B0604020202020204" pitchFamily="34" charset="0"/>
              <a:buChar char="•"/>
            </a:pPr>
            <a:r>
              <a:rPr lang="en-GB" sz="1000">
                <a:latin typeface="Trebuchet MS" panose="020B0603020202020204" pitchFamily="34" charset="0"/>
              </a:rPr>
              <a:t>The CEO benchmarks direct marketing players and </a:t>
            </a:r>
            <a:r>
              <a:rPr lang="en-GB" sz="1000">
                <a:solidFill>
                  <a:schemeClr val="tx2"/>
                </a:solidFill>
                <a:latin typeface="Trebuchet MS" panose="020B0603020202020204" pitchFamily="34" charset="0"/>
              </a:rPr>
              <a:t>selects one of them to test the solution</a:t>
            </a:r>
            <a:r>
              <a:rPr lang="en-GB" sz="1000">
                <a:solidFill>
                  <a:schemeClr val="accent1">
                    <a:lumMod val="75000"/>
                  </a:schemeClr>
                </a:solidFill>
                <a:latin typeface="Trebuchet MS" panose="020B0603020202020204" pitchFamily="34" charset="0"/>
              </a:rPr>
              <a:t> </a:t>
            </a:r>
            <a:r>
              <a:rPr lang="en-GB" sz="1000">
                <a:latin typeface="Trebuchet MS" pitchFamily="34" charset="0"/>
              </a:rPr>
              <a:t>for a short period of time</a:t>
            </a:r>
          </a:p>
          <a:p>
            <a:pPr marL="171450" indent="-171450">
              <a:spcBef>
                <a:spcPts val="600"/>
              </a:spcBef>
              <a:buFont typeface="Arial" panose="020B0604020202020204" pitchFamily="34" charset="0"/>
              <a:buChar char="•"/>
            </a:pPr>
            <a:r>
              <a:rPr lang="en-GB" sz="1000">
                <a:latin typeface="Trebuchet MS" pitchFamily="34" charset="0"/>
              </a:rPr>
              <a:t>He chooses the solution for which the information database is </a:t>
            </a:r>
            <a:r>
              <a:rPr lang="en-GB" sz="1000">
                <a:solidFill>
                  <a:schemeClr val="tx2"/>
                </a:solidFill>
                <a:latin typeface="Trebuchet MS" panose="020B0603020202020204" pitchFamily="34" charset="0"/>
              </a:rPr>
              <a:t>constantly up-to-date </a:t>
            </a:r>
          </a:p>
        </p:txBody>
      </p:sp>
      <p:sp>
        <p:nvSpPr>
          <p:cNvPr id="22" name="Rectangle 21">
            <a:extLst>
              <a:ext uri="{FF2B5EF4-FFF2-40B4-BE49-F238E27FC236}">
                <a16:creationId xmlns:a16="http://schemas.microsoft.com/office/drawing/2014/main" id="{AC8C7BAB-1000-41F7-ABBE-0CC9275C7DB9}"/>
              </a:ext>
            </a:extLst>
          </p:cNvPr>
          <p:cNvSpPr/>
          <p:nvPr/>
        </p:nvSpPr>
        <p:spPr bwMode="auto">
          <a:xfrm>
            <a:off x="6814943" y="4189924"/>
            <a:ext cx="2788603" cy="174549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71450" indent="-171450">
              <a:spcBef>
                <a:spcPts val="600"/>
              </a:spcBef>
              <a:buFont typeface="Arial" panose="020B0604020202020204" pitchFamily="34" charset="0"/>
              <a:buChar char="•"/>
            </a:pPr>
            <a:r>
              <a:rPr lang="en-GB" sz="1000">
                <a:latin typeface="Trebuchet MS" panose="020B0603020202020204" pitchFamily="34" charset="0"/>
              </a:rPr>
              <a:t>The CEO selects the prospects on the direct marketing player’s </a:t>
            </a:r>
            <a:r>
              <a:rPr lang="en-GB" sz="1000">
                <a:solidFill>
                  <a:schemeClr val="tx2"/>
                </a:solidFill>
                <a:latin typeface="Trebuchet MS" panose="020B0603020202020204" pitchFamily="34" charset="0"/>
              </a:rPr>
              <a:t>pre-selected criteria</a:t>
            </a:r>
            <a:r>
              <a:rPr lang="en-GB" sz="1000">
                <a:latin typeface="Trebuchet MS" panose="020B0603020202020204" pitchFamily="34" charset="0"/>
              </a:rPr>
              <a:t>, applied to their own existing client database</a:t>
            </a:r>
          </a:p>
          <a:p>
            <a:pPr marL="171450" indent="-171450">
              <a:spcBef>
                <a:spcPts val="600"/>
              </a:spcBef>
              <a:buFont typeface="Arial" panose="020B0604020202020204" pitchFamily="34" charset="0"/>
              <a:buChar char="•"/>
            </a:pPr>
            <a:r>
              <a:rPr lang="en-GB" sz="1000">
                <a:latin typeface="Trebuchet MS" panose="020B0603020202020204" pitchFamily="34" charset="0"/>
              </a:rPr>
              <a:t>The CEO collects the </a:t>
            </a:r>
            <a:r>
              <a:rPr lang="en-GB" sz="1000">
                <a:solidFill>
                  <a:schemeClr val="tx2"/>
                </a:solidFill>
                <a:latin typeface="Trebuchet MS" panose="020B0603020202020204" pitchFamily="34" charset="0"/>
              </a:rPr>
              <a:t>contact information </a:t>
            </a:r>
            <a:r>
              <a:rPr lang="en-GB" sz="1000">
                <a:latin typeface="Trebuchet MS" panose="020B0603020202020204" pitchFamily="34" charset="0"/>
              </a:rPr>
              <a:t>provided by the direct marketing player and </a:t>
            </a:r>
            <a:r>
              <a:rPr lang="en-GB" sz="1000">
                <a:solidFill>
                  <a:schemeClr val="tx2"/>
                </a:solidFill>
                <a:latin typeface="Trebuchet MS" panose="020B0603020202020204" pitchFamily="34" charset="0"/>
              </a:rPr>
              <a:t>contacts the prospects on their own</a:t>
            </a:r>
          </a:p>
          <a:p>
            <a:pPr marL="171450" indent="-171450">
              <a:spcBef>
                <a:spcPts val="600"/>
              </a:spcBef>
              <a:buFont typeface="Arial" panose="020B0604020202020204" pitchFamily="34" charset="0"/>
              <a:buChar char="•"/>
            </a:pPr>
            <a:r>
              <a:rPr lang="en-GB" sz="1000">
                <a:latin typeface="Trebuchet MS" panose="020B0603020202020204" pitchFamily="34" charset="0"/>
              </a:rPr>
              <a:t>The CEO monitors the selected portfolio via the direct marketing player’s </a:t>
            </a:r>
            <a:r>
              <a:rPr lang="en-GB" sz="1000">
                <a:solidFill>
                  <a:schemeClr val="tx2"/>
                </a:solidFill>
                <a:latin typeface="Trebuchet MS" panose="020B0603020202020204" pitchFamily="34" charset="0"/>
              </a:rPr>
              <a:t>integrated platform</a:t>
            </a:r>
          </a:p>
        </p:txBody>
      </p:sp>
      <p:sp>
        <p:nvSpPr>
          <p:cNvPr id="30" name="Rectangle: Rounded Corners 66">
            <a:extLst>
              <a:ext uri="{FF2B5EF4-FFF2-40B4-BE49-F238E27FC236}">
                <a16:creationId xmlns:a16="http://schemas.microsoft.com/office/drawing/2014/main" id="{211EC496-F20D-4CD1-B814-A615476F7081}"/>
              </a:ext>
            </a:extLst>
          </p:cNvPr>
          <p:cNvSpPr/>
          <p:nvPr/>
        </p:nvSpPr>
        <p:spPr bwMode="auto">
          <a:xfrm>
            <a:off x="1408181" y="5980696"/>
            <a:ext cx="7441316" cy="513899"/>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182563">
              <a:spcBef>
                <a:spcPts val="600"/>
              </a:spcBef>
            </a:pPr>
            <a:r>
              <a:rPr lang="en-GB" sz="1000">
                <a:latin typeface="Trebuchet MS" panose="020B0603020202020204" pitchFamily="34" charset="0"/>
              </a:rPr>
              <a:t>More generally, companies can choose to internalize, outsource or not to address at all each of the services provided by direct B2B marketing players, depending on their internal capabilities and available resources for outsourcing </a:t>
            </a:r>
          </a:p>
        </p:txBody>
      </p:sp>
      <p:grpSp>
        <p:nvGrpSpPr>
          <p:cNvPr id="31" name="Groupe 21">
            <a:extLst>
              <a:ext uri="{FF2B5EF4-FFF2-40B4-BE49-F238E27FC236}">
                <a16:creationId xmlns:a16="http://schemas.microsoft.com/office/drawing/2014/main" id="{22350CC4-C6B7-47B8-AFA5-2245D36E2AD8}"/>
              </a:ext>
            </a:extLst>
          </p:cNvPr>
          <p:cNvGrpSpPr/>
          <p:nvPr/>
        </p:nvGrpSpPr>
        <p:grpSpPr>
          <a:xfrm>
            <a:off x="1056504" y="6009675"/>
            <a:ext cx="451426" cy="455941"/>
            <a:chOff x="195390" y="5861727"/>
            <a:chExt cx="335805" cy="335805"/>
          </a:xfrm>
        </p:grpSpPr>
        <p:sp>
          <p:nvSpPr>
            <p:cNvPr id="32" name="Ellipse 22">
              <a:extLst>
                <a:ext uri="{FF2B5EF4-FFF2-40B4-BE49-F238E27FC236}">
                  <a16:creationId xmlns:a16="http://schemas.microsoft.com/office/drawing/2014/main" id="{437B9D3E-821F-411F-AECD-1F6585FCFD25}"/>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33" name="Group 5">
              <a:extLst>
                <a:ext uri="{FF2B5EF4-FFF2-40B4-BE49-F238E27FC236}">
                  <a16:creationId xmlns:a16="http://schemas.microsoft.com/office/drawing/2014/main" id="{6C179191-CDB0-4A68-AC0A-FB1F4699060A}"/>
                </a:ext>
              </a:extLst>
            </p:cNvPr>
            <p:cNvGrpSpPr>
              <a:grpSpLocks noChangeAspect="1"/>
            </p:cNvGrpSpPr>
            <p:nvPr/>
          </p:nvGrpSpPr>
          <p:grpSpPr bwMode="auto">
            <a:xfrm>
              <a:off x="249663" y="5915997"/>
              <a:ext cx="227258" cy="227255"/>
              <a:chOff x="788" y="800"/>
              <a:chExt cx="742" cy="742"/>
            </a:xfrm>
            <a:solidFill>
              <a:schemeClr val="tx2"/>
            </a:solidFill>
          </p:grpSpPr>
          <p:sp>
            <p:nvSpPr>
              <p:cNvPr id="34" name="Freeform 6">
                <a:extLst>
                  <a:ext uri="{FF2B5EF4-FFF2-40B4-BE49-F238E27FC236}">
                    <a16:creationId xmlns:a16="http://schemas.microsoft.com/office/drawing/2014/main" id="{4C0961A0-B63D-429E-A48C-93E9299A3D8C}"/>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35" name="Freeform 7">
                <a:extLst>
                  <a:ext uri="{FF2B5EF4-FFF2-40B4-BE49-F238E27FC236}">
                    <a16:creationId xmlns:a16="http://schemas.microsoft.com/office/drawing/2014/main" id="{AEFF8329-F6DA-4A98-A96E-A7F93315E9B5}"/>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36" name="Freeform 8">
                <a:extLst>
                  <a:ext uri="{FF2B5EF4-FFF2-40B4-BE49-F238E27FC236}">
                    <a16:creationId xmlns:a16="http://schemas.microsoft.com/office/drawing/2014/main" id="{D8F1B14A-B8AC-4810-80DC-3FDA447D8BF4}"/>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37" name="Freeform 9">
                <a:extLst>
                  <a:ext uri="{FF2B5EF4-FFF2-40B4-BE49-F238E27FC236}">
                    <a16:creationId xmlns:a16="http://schemas.microsoft.com/office/drawing/2014/main" id="{A9893197-B07E-423C-B7A6-A640AFBAC376}"/>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38" name="Freeform 10">
                <a:extLst>
                  <a:ext uri="{FF2B5EF4-FFF2-40B4-BE49-F238E27FC236}">
                    <a16:creationId xmlns:a16="http://schemas.microsoft.com/office/drawing/2014/main" id="{FB58EA91-A605-4D9E-9B24-DD5800ED7194}"/>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39" name="Freeform 11">
                <a:extLst>
                  <a:ext uri="{FF2B5EF4-FFF2-40B4-BE49-F238E27FC236}">
                    <a16:creationId xmlns:a16="http://schemas.microsoft.com/office/drawing/2014/main" id="{7F36B4F8-68D9-41E4-8F51-1E0DBFF17FE7}"/>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40" name="Freeform 12">
                <a:extLst>
                  <a:ext uri="{FF2B5EF4-FFF2-40B4-BE49-F238E27FC236}">
                    <a16:creationId xmlns:a16="http://schemas.microsoft.com/office/drawing/2014/main" id="{5F76474A-49A1-427F-87BC-75BEE83097F3}"/>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sp>
        <p:nvSpPr>
          <p:cNvPr id="2" name="Rectangle 1">
            <a:extLst>
              <a:ext uri="{FF2B5EF4-FFF2-40B4-BE49-F238E27FC236}">
                <a16:creationId xmlns:a16="http://schemas.microsoft.com/office/drawing/2014/main" id="{3507F17F-E8E9-4D3E-BE30-9C6B3BA6C864}"/>
              </a:ext>
            </a:extLst>
          </p:cNvPr>
          <p:cNvSpPr/>
          <p:nvPr/>
        </p:nvSpPr>
        <p:spPr bwMode="auto">
          <a:xfrm>
            <a:off x="134963" y="4189925"/>
            <a:ext cx="685008" cy="1745496"/>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050" b="1">
                <a:solidFill>
                  <a:schemeClr val="accent1">
                    <a:lumMod val="75000"/>
                  </a:schemeClr>
                </a:solidFill>
                <a:latin typeface="Trebuchet MS" pitchFamily="34" charset="0"/>
              </a:rPr>
              <a:t>Mass </a:t>
            </a:r>
          </a:p>
          <a:p>
            <a:pPr algn="ctr"/>
            <a:r>
              <a:rPr lang="en-GB" sz="1050" b="1">
                <a:solidFill>
                  <a:schemeClr val="accent1">
                    <a:lumMod val="75000"/>
                  </a:schemeClr>
                </a:solidFill>
                <a:latin typeface="Trebuchet MS" pitchFamily="34" charset="0"/>
              </a:rPr>
              <a:t>market</a:t>
            </a:r>
          </a:p>
        </p:txBody>
      </p:sp>
      <p:pic>
        <p:nvPicPr>
          <p:cNvPr id="51" name="Graphique 64">
            <a:extLst>
              <a:ext uri="{FF2B5EF4-FFF2-40B4-BE49-F238E27FC236}">
                <a16:creationId xmlns:a16="http://schemas.microsoft.com/office/drawing/2014/main" id="{2594DA6E-67C5-4BB5-A8BF-3CA8AB7137FE}"/>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r="-3601" b="22797"/>
          <a:stretch/>
        </p:blipFill>
        <p:spPr>
          <a:xfrm>
            <a:off x="330081" y="4476333"/>
            <a:ext cx="294773" cy="274579"/>
          </a:xfrm>
          <a:prstGeom prst="rect">
            <a:avLst/>
          </a:prstGeom>
          <a:effectLst/>
        </p:spPr>
      </p:pic>
      <p:pic>
        <p:nvPicPr>
          <p:cNvPr id="53" name="Graphique 62">
            <a:extLst>
              <a:ext uri="{FF2B5EF4-FFF2-40B4-BE49-F238E27FC236}">
                <a16:creationId xmlns:a16="http://schemas.microsoft.com/office/drawing/2014/main" id="{DB4D5222-6D99-4361-95B3-EA455A2CD83E}"/>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19795"/>
          <a:stretch/>
        </p:blipFill>
        <p:spPr>
          <a:xfrm>
            <a:off x="344205" y="2071970"/>
            <a:ext cx="266524" cy="267203"/>
          </a:xfrm>
          <a:prstGeom prst="rect">
            <a:avLst/>
          </a:prstGeom>
          <a:effectLst/>
        </p:spPr>
      </p:pic>
      <p:cxnSp>
        <p:nvCxnSpPr>
          <p:cNvPr id="11" name="Connecteur droit 10">
            <a:extLst>
              <a:ext uri="{FF2B5EF4-FFF2-40B4-BE49-F238E27FC236}">
                <a16:creationId xmlns:a16="http://schemas.microsoft.com/office/drawing/2014/main" id="{648A6CF9-E851-4C79-918F-7F565C6FB5BA}"/>
              </a:ext>
            </a:extLst>
          </p:cNvPr>
          <p:cNvCxnSpPr>
            <a:cxnSpLocks/>
          </p:cNvCxnSpPr>
          <p:nvPr/>
        </p:nvCxnSpPr>
        <p:spPr bwMode="auto">
          <a:xfrm>
            <a:off x="183000" y="1240585"/>
            <a:ext cx="954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4" name="Rectangle 84">
            <a:extLst>
              <a:ext uri="{FF2B5EF4-FFF2-40B4-BE49-F238E27FC236}">
                <a16:creationId xmlns:a16="http://schemas.microsoft.com/office/drawing/2014/main" id="{8306873D-C28C-43DB-8822-B5C0F5BA6103}"/>
              </a:ext>
            </a:extLst>
          </p:cNvPr>
          <p:cNvSpPr/>
          <p:nvPr/>
        </p:nvSpPr>
        <p:spPr bwMode="auto">
          <a:xfrm>
            <a:off x="1792276" y="1089919"/>
            <a:ext cx="6334381"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7800" lvl="0" indent="88900" algn="ctr">
              <a:defRPr/>
            </a:pPr>
            <a:r>
              <a:rPr lang="en-GB" sz="1100">
                <a:latin typeface="Trebuchet MS" panose="020B0603020202020204" pitchFamily="34" charset="0"/>
              </a:rPr>
              <a:t>Illustration of typical marketing use cases per client type at each step of the relationship</a:t>
            </a:r>
          </a:p>
        </p:txBody>
      </p:sp>
      <p:sp>
        <p:nvSpPr>
          <p:cNvPr id="12" name="ZoneTexte 11">
            <a:extLst>
              <a:ext uri="{FF2B5EF4-FFF2-40B4-BE49-F238E27FC236}">
                <a16:creationId xmlns:a16="http://schemas.microsoft.com/office/drawing/2014/main" id="{907C72A4-E75C-4F2A-BC94-537EBB64BB60}"/>
              </a:ext>
            </a:extLst>
          </p:cNvPr>
          <p:cNvSpPr txBox="1"/>
          <p:nvPr/>
        </p:nvSpPr>
        <p:spPr>
          <a:xfrm>
            <a:off x="-78144" y="1633667"/>
            <a:ext cx="1071038" cy="400110"/>
          </a:xfrm>
          <a:prstGeom prst="rect">
            <a:avLst/>
          </a:prstGeom>
          <a:noFill/>
          <a:effectLst/>
        </p:spPr>
        <p:txBody>
          <a:bodyPr wrap="square" rtlCol="0">
            <a:spAutoFit/>
          </a:bodyPr>
          <a:lstStyle/>
          <a:p>
            <a:pPr algn="ctr"/>
            <a:r>
              <a:rPr lang="en-GB" sz="1000" i="1">
                <a:latin typeface="Trebuchet MS" panose="020B0603020202020204" pitchFamily="34" charset="0"/>
              </a:rPr>
              <a:t>Client segmentation</a:t>
            </a:r>
          </a:p>
        </p:txBody>
      </p:sp>
      <p:sp>
        <p:nvSpPr>
          <p:cNvPr id="46" name="Rectangle 45">
            <a:extLst>
              <a:ext uri="{FF2B5EF4-FFF2-40B4-BE49-F238E27FC236}">
                <a16:creationId xmlns:a16="http://schemas.microsoft.com/office/drawing/2014/main" id="{B8ADC350-2659-48EE-8F25-6AF3A8EF567D}"/>
              </a:ext>
            </a:extLst>
          </p:cNvPr>
          <p:cNvSpPr/>
          <p:nvPr/>
        </p:nvSpPr>
        <p:spPr bwMode="auto">
          <a:xfrm>
            <a:off x="134964" y="3109116"/>
            <a:ext cx="685007" cy="1003486"/>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050" b="1">
                <a:solidFill>
                  <a:schemeClr val="accent1">
                    <a:lumMod val="75000"/>
                  </a:schemeClr>
                </a:solidFill>
                <a:latin typeface="Trebuchet MS" panose="020B0603020202020204" pitchFamily="34" charset="0"/>
              </a:rPr>
              <a:t>Mid Market</a:t>
            </a:r>
          </a:p>
        </p:txBody>
      </p:sp>
      <p:pic>
        <p:nvPicPr>
          <p:cNvPr id="23" name="Graphique 63">
            <a:extLst>
              <a:ext uri="{FF2B5EF4-FFF2-40B4-BE49-F238E27FC236}">
                <a16:creationId xmlns:a16="http://schemas.microsoft.com/office/drawing/2014/main" id="{56197B47-6A74-47E9-8E18-BBF5C6E00E4A}"/>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28139"/>
          <a:stretch/>
        </p:blipFill>
        <p:spPr>
          <a:xfrm>
            <a:off x="319645" y="3154589"/>
            <a:ext cx="315644" cy="283523"/>
          </a:xfrm>
          <a:prstGeom prst="rect">
            <a:avLst/>
          </a:prstGeom>
          <a:effectLst/>
        </p:spPr>
      </p:pic>
      <p:grpSp>
        <p:nvGrpSpPr>
          <p:cNvPr id="47" name="Groupe 46">
            <a:extLst>
              <a:ext uri="{FF2B5EF4-FFF2-40B4-BE49-F238E27FC236}">
                <a16:creationId xmlns:a16="http://schemas.microsoft.com/office/drawing/2014/main" id="{3740A3C6-348D-4175-BE0F-205ECADC81BB}"/>
              </a:ext>
            </a:extLst>
          </p:cNvPr>
          <p:cNvGrpSpPr/>
          <p:nvPr/>
        </p:nvGrpSpPr>
        <p:grpSpPr>
          <a:xfrm>
            <a:off x="8448150" y="-11528"/>
            <a:ext cx="1435548" cy="711253"/>
            <a:chOff x="8448150" y="-11528"/>
            <a:chExt cx="1435548" cy="711253"/>
          </a:xfrm>
        </p:grpSpPr>
        <p:grpSp>
          <p:nvGrpSpPr>
            <p:cNvPr id="48" name="Groupe 47">
              <a:extLst>
                <a:ext uri="{FF2B5EF4-FFF2-40B4-BE49-F238E27FC236}">
                  <a16:creationId xmlns:a16="http://schemas.microsoft.com/office/drawing/2014/main" id="{3E3AEE20-BF0E-4F2A-B3F8-04E368A57B77}"/>
                </a:ext>
              </a:extLst>
            </p:cNvPr>
            <p:cNvGrpSpPr/>
            <p:nvPr/>
          </p:nvGrpSpPr>
          <p:grpSpPr>
            <a:xfrm>
              <a:off x="8448150" y="-11528"/>
              <a:ext cx="1435548" cy="555653"/>
              <a:chOff x="8448150" y="-11528"/>
              <a:chExt cx="1435548" cy="555653"/>
            </a:xfrm>
          </p:grpSpPr>
          <p:sp>
            <p:nvSpPr>
              <p:cNvPr id="50" name="Rectangle : coins arrondis 199">
                <a:extLst>
                  <a:ext uri="{FF2B5EF4-FFF2-40B4-BE49-F238E27FC236}">
                    <a16:creationId xmlns:a16="http://schemas.microsoft.com/office/drawing/2014/main" id="{A4F88D4A-CCAA-4E80-A02F-E5F77C8050EC}"/>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2" name="Rectangle : coins arrondis 200">
                <a:extLst>
                  <a:ext uri="{FF2B5EF4-FFF2-40B4-BE49-F238E27FC236}">
                    <a16:creationId xmlns:a16="http://schemas.microsoft.com/office/drawing/2014/main" id="{C885EFCE-00A7-49CE-85CC-4493A30AF199}"/>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4" name="Rectangle : coins arrondis 201">
                <a:extLst>
                  <a:ext uri="{FF2B5EF4-FFF2-40B4-BE49-F238E27FC236}">
                    <a16:creationId xmlns:a16="http://schemas.microsoft.com/office/drawing/2014/main" id="{FB1707B3-95BB-43E6-948E-9710F0F59ACE}"/>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5" name="ZoneTexte 18">
                <a:extLst>
                  <a:ext uri="{FF2B5EF4-FFF2-40B4-BE49-F238E27FC236}">
                    <a16:creationId xmlns:a16="http://schemas.microsoft.com/office/drawing/2014/main" id="{C1C5419F-8D68-4796-97BE-804EE78CC5BA}"/>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56" name="Graphique 128" descr="Jauge">
                <a:extLst>
                  <a:ext uri="{FF2B5EF4-FFF2-40B4-BE49-F238E27FC236}">
                    <a16:creationId xmlns:a16="http://schemas.microsoft.com/office/drawing/2014/main" id="{0D49E14B-7287-4A36-9454-6FB1C4F5D958}"/>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553764" y="187516"/>
                <a:ext cx="234953" cy="218224"/>
              </a:xfrm>
              <a:prstGeom prst="rect">
                <a:avLst/>
              </a:prstGeom>
              <a:effectLst/>
            </p:spPr>
          </p:pic>
          <p:pic>
            <p:nvPicPr>
              <p:cNvPr id="57" name="Graphique 90" descr="Poignée de main">
                <a:extLst>
                  <a:ext uri="{FF2B5EF4-FFF2-40B4-BE49-F238E27FC236}">
                    <a16:creationId xmlns:a16="http://schemas.microsoft.com/office/drawing/2014/main" id="{125EEC4F-C63E-41FD-9568-DBB7AE843EB2}"/>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960868" y="152880"/>
                <a:ext cx="256313" cy="287496"/>
              </a:xfrm>
              <a:prstGeom prst="rect">
                <a:avLst/>
              </a:prstGeom>
              <a:effectLst/>
            </p:spPr>
          </p:pic>
          <p:pic>
            <p:nvPicPr>
              <p:cNvPr id="58" name="Graphique 74" descr="Mégaphone">
                <a:extLst>
                  <a:ext uri="{FF2B5EF4-FFF2-40B4-BE49-F238E27FC236}">
                    <a16:creationId xmlns:a16="http://schemas.microsoft.com/office/drawing/2014/main" id="{62E2F096-B308-409E-81F2-05143383EF6B}"/>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389331" y="181519"/>
                <a:ext cx="233011" cy="216420"/>
              </a:xfrm>
              <a:prstGeom prst="rect">
                <a:avLst/>
              </a:prstGeom>
              <a:effectLst/>
            </p:spPr>
          </p:pic>
          <p:pic>
            <p:nvPicPr>
              <p:cNvPr id="59" name="Picture 2" descr="Drapeau France">
                <a:extLst>
                  <a:ext uri="{FF2B5EF4-FFF2-40B4-BE49-F238E27FC236}">
                    <a16:creationId xmlns:a16="http://schemas.microsoft.com/office/drawing/2014/main" id="{E8E82BDF-2260-407D-82D8-044CACC457F4}"/>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0" name="Picture 2" descr="5 ft x 3 ft 150 x 90 cm-DRAPEAU BELGE Belgique 100% Polyester ...">
                <a:extLst>
                  <a:ext uri="{FF2B5EF4-FFF2-40B4-BE49-F238E27FC236}">
                    <a16:creationId xmlns:a16="http://schemas.microsoft.com/office/drawing/2014/main" id="{3A92735A-67C0-4C08-AFFF-3578342C5AB3}"/>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1" name="Picture 2 - 1" descr="Drapeau des Pays-Bas — Wikipédia">
                <a:extLst>
                  <a:ext uri="{FF2B5EF4-FFF2-40B4-BE49-F238E27FC236}">
                    <a16:creationId xmlns:a16="http://schemas.microsoft.com/office/drawing/2014/main" id="{1347CB75-7922-4130-9B41-9CB21EA6AAEE}"/>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2" name="Picture 2 - 2" descr="Drapeau du Luxembourg">
                <a:extLst>
                  <a:ext uri="{FF2B5EF4-FFF2-40B4-BE49-F238E27FC236}">
                    <a16:creationId xmlns:a16="http://schemas.microsoft.com/office/drawing/2014/main" id="{FB0A074B-572D-4A07-8AD9-77CBBA6CAF0F}"/>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49" name="ZoneTexte 18">
              <a:extLst>
                <a:ext uri="{FF2B5EF4-FFF2-40B4-BE49-F238E27FC236}">
                  <a16:creationId xmlns:a16="http://schemas.microsoft.com/office/drawing/2014/main" id="{6821E735-D57C-4F89-9D1E-7183C71CC832}"/>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Customers’ use cases in B2B Marketing</a:t>
              </a:r>
            </a:p>
          </p:txBody>
        </p:sp>
      </p:grpSp>
    </p:spTree>
    <p:extLst>
      <p:ext uri="{BB962C8B-B14F-4D97-AF65-F5344CB8AC3E}">
        <p14:creationId xmlns:p14="http://schemas.microsoft.com/office/powerpoint/2010/main" val="814138608"/>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4E8BB55-4454-4FE4-A0CA-08C2677BB30A}"/>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15C80389-6548-4E62-B1DE-3FED01EC77DC}"/>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75FE8F21-E3E3-4251-AE38-E7F5ADF23A80}"/>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marR="0" indent="-228600" defTabSz="914400" rtl="0" eaLnBrk="1" fontAlgn="base" latinLnBrk="0" hangingPunct="1">
              <a:lnSpc>
                <a:spcPct val="100000"/>
              </a:lnSpc>
              <a:spcBef>
                <a:spcPct val="0"/>
              </a:spcBef>
              <a:spcAft>
                <a:spcPct val="0"/>
              </a:spcAft>
              <a:buClrTx/>
              <a:buSzTx/>
              <a:buFont typeface="+mj-lt"/>
              <a:buAutoNum type="arabicPeriod"/>
              <a:tabLst/>
            </a:pPr>
            <a:r>
              <a:rPr kumimoji="0" lang="en-GB" sz="1200" b="0" u="none" strike="noStrike" cap="none" normalizeH="0" baseline="0">
                <a:ln>
                  <a:noFill/>
                </a:ln>
                <a:solidFill>
                  <a:schemeClr val="tx2"/>
                </a:solidFill>
                <a:effectLst/>
                <a:latin typeface="Trebuchet MS" panose="020B0603020202020204" pitchFamily="34" charset="0"/>
              </a:rPr>
              <a:t>Overview of the BD&amp;A market addressed by </a:t>
            </a:r>
            <a:r>
              <a:rPr kumimoji="0" lang="en-GB" sz="1200" b="0" u="none" strike="noStrike" cap="none" normalizeH="0" baseline="0" err="1">
                <a:ln>
                  <a:noFill/>
                </a:ln>
                <a:solidFill>
                  <a:schemeClr val="tx2"/>
                </a:solidFill>
                <a:effectLst/>
                <a:latin typeface="Trebuchet MS" panose="020B0603020202020204" pitchFamily="34" charset="0"/>
              </a:rPr>
              <a:t>Altares</a:t>
            </a:r>
            <a:endParaRPr kumimoji="0" lang="en-GB" sz="1200" b="0" u="none" strike="noStrike" cap="none" normalizeH="0" baseline="0">
              <a:ln>
                <a:noFill/>
              </a:ln>
              <a:solidFill>
                <a:schemeClr val="tx2"/>
              </a:solidFill>
              <a:effectLst/>
              <a:latin typeface="Trebuchet MS" panose="020B0603020202020204" pitchFamily="34" charset="0"/>
            </a:endParaRPr>
          </a:p>
          <a:p>
            <a:pPr marL="742950" lvl="1" indent="-285750">
              <a:buFont typeface="+mj-lt"/>
              <a:buAutoNum type="romanLcPeriod"/>
            </a:pPr>
            <a:r>
              <a:rPr kumimoji="0" lang="en-GB" sz="1200" b="0" u="none" strike="noStrike" cap="none" normalizeH="0" baseline="0">
                <a:ln>
                  <a:noFill/>
                </a:ln>
                <a:effectLst/>
                <a:latin typeface="Trebuchet MS" panose="020B0603020202020204" pitchFamily="34" charset="0"/>
              </a:rPr>
              <a:t>Key customers’ use cases related to BD&amp;A</a:t>
            </a:r>
          </a:p>
          <a:p>
            <a:pPr marL="742950" lvl="1" indent="-285750">
              <a:buFont typeface="+mj-lt"/>
              <a:buAutoNum type="romanLcPeriod"/>
            </a:pPr>
            <a:r>
              <a:rPr kumimoji="0" lang="en-GB" sz="1200" b="0" u="none" strike="noStrike" cap="none" normalizeH="0" baseline="0">
                <a:ln>
                  <a:noFill/>
                </a:ln>
                <a:solidFill>
                  <a:schemeClr val="tx2"/>
                </a:solidFill>
                <a:effectLst/>
                <a:latin typeface="Trebuchet MS" panose="020B0603020202020204" pitchFamily="34" charset="0"/>
              </a:rPr>
              <a:t>Global market structure and </a:t>
            </a:r>
            <a:r>
              <a:rPr kumimoji="0" lang="en-GB" sz="1200" b="0" u="none" strike="noStrike" cap="none" normalizeH="0" baseline="0" err="1">
                <a:ln>
                  <a:noFill/>
                </a:ln>
                <a:solidFill>
                  <a:schemeClr val="tx2"/>
                </a:solidFill>
                <a:effectLst/>
                <a:latin typeface="Trebuchet MS" panose="020B0603020202020204" pitchFamily="34" charset="0"/>
              </a:rPr>
              <a:t>Altares</a:t>
            </a:r>
            <a:r>
              <a:rPr kumimoji="0" lang="en-GB" sz="1200" b="0" u="none" strike="noStrike" cap="none" normalizeH="0" baseline="0">
                <a:ln>
                  <a:noFill/>
                </a:ln>
                <a:solidFill>
                  <a:schemeClr val="tx2"/>
                </a:solidFill>
                <a:effectLst/>
                <a:latin typeface="Trebuchet MS" panose="020B0603020202020204" pitchFamily="34" charset="0"/>
              </a:rPr>
              <a:t> positioning</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Credit &amp; financial risk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Compliance market</a:t>
            </a:r>
          </a:p>
          <a:p>
            <a:pPr marL="742950" lvl="1" indent="-285750">
              <a:buFont typeface="+mj-lt"/>
              <a:buAutoNum type="romanLcPeriod"/>
            </a:pPr>
            <a:r>
              <a:rPr lang="en-GB" sz="1200">
                <a:latin typeface="Trebuchet MS" pitchFamily="34" charset="0"/>
              </a:rPr>
              <a:t>Market scope &amp; overview</a:t>
            </a:r>
          </a:p>
          <a:p>
            <a:pPr marL="742950" lvl="1" indent="-285750">
              <a:buFont typeface="+mj-lt"/>
              <a:buAutoNum type="romanLcPeriod"/>
            </a:pPr>
            <a:r>
              <a:rPr lang="en-GB" sz="1200">
                <a:latin typeface="Trebuchet MS" pitchFamily="34" charset="0"/>
              </a:rPr>
              <a:t>Regulatory context &amp; key drivers</a:t>
            </a:r>
          </a:p>
          <a:p>
            <a:pPr marL="742950" marR="0" lvl="1" indent="-285750" defTabSz="914400" eaLnBrk="1" latinLnBrk="0" hangingPunct="1">
              <a:lnSpc>
                <a:spcPct val="100000"/>
              </a:lnSpc>
              <a:buClrTx/>
              <a:buSzTx/>
              <a:buFont typeface="+mj-lt"/>
              <a:buAutoNum type="romanLcPeriod"/>
              <a:tabLst/>
            </a:pPr>
            <a:r>
              <a:rPr lang="en-GB" sz="1200">
                <a:latin typeface="Trebuchet MS" pitchFamily="34" charset="0"/>
              </a:rPr>
              <a:t>Altares’ compliance ecosystem</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B2B Marketing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BD&amp;A market overview in Maghreb</a:t>
            </a:r>
          </a:p>
        </p:txBody>
      </p:sp>
      <p:sp>
        <p:nvSpPr>
          <p:cNvPr id="5" name="Chevron">
            <a:extLst>
              <a:ext uri="{FF2B5EF4-FFF2-40B4-BE49-F238E27FC236}">
                <a16:creationId xmlns:a16="http://schemas.microsoft.com/office/drawing/2014/main" id="{E411076D-BD7D-4F3C-BA4F-785FA7DEB8E0}"/>
              </a:ext>
            </a:extLst>
          </p:cNvPr>
          <p:cNvSpPr/>
          <p:nvPr/>
        </p:nvSpPr>
        <p:spPr bwMode="auto">
          <a:xfrm>
            <a:off x="1418399" y="2181600"/>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 name="Section">
            <a:extLst>
              <a:ext uri="{FF2B5EF4-FFF2-40B4-BE49-F238E27FC236}">
                <a16:creationId xmlns:a16="http://schemas.microsoft.com/office/drawing/2014/main" id="{326B4D12-3A06-4913-AA9A-9843CDCAF5C5}"/>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2</a:t>
            </a:r>
          </a:p>
        </p:txBody>
      </p:sp>
      <p:sp>
        <p:nvSpPr>
          <p:cNvPr id="6" name="Isosceles Triangle">
            <a:extLst>
              <a:ext uri="{FF2B5EF4-FFF2-40B4-BE49-F238E27FC236}">
                <a16:creationId xmlns:a16="http://schemas.microsoft.com/office/drawing/2014/main" id="{731EFF7F-A362-41B8-882D-8E6C9BAF8C48}"/>
              </a:ext>
            </a:extLst>
          </p:cNvPr>
          <p:cNvSpPr/>
          <p:nvPr/>
        </p:nvSpPr>
        <p:spPr bwMode="auto">
          <a:xfrm rot="5400000">
            <a:off x="5731200" y="2282400"/>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 name="Arrow: Pentagon">
            <a:extLst>
              <a:ext uri="{FF2B5EF4-FFF2-40B4-BE49-F238E27FC236}">
                <a16:creationId xmlns:a16="http://schemas.microsoft.com/office/drawing/2014/main" id="{F4C52BCD-3761-4093-93B3-BF117CF448F7}"/>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20" name="Oval">
            <a:extLst>
              <a:ext uri="{FF2B5EF4-FFF2-40B4-BE49-F238E27FC236}">
                <a16:creationId xmlns:a16="http://schemas.microsoft.com/office/drawing/2014/main" id="{7C64EC38-153D-4FF2-A781-5F77D6335EFC}"/>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21" name="Arrow: Pentagon">
            <a:extLst>
              <a:ext uri="{FF2B5EF4-FFF2-40B4-BE49-F238E27FC236}">
                <a16:creationId xmlns:a16="http://schemas.microsoft.com/office/drawing/2014/main" id="{5274DAF2-A28E-48F4-8D8C-7251081DA004}"/>
              </a:ext>
            </a:extLst>
          </p:cNvPr>
          <p:cNvSpPr/>
          <p:nvPr/>
        </p:nvSpPr>
        <p:spPr bwMode="auto">
          <a:xfrm>
            <a:off x="1641599" y="2181600"/>
            <a:ext cx="4319994"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FFFFFF"/>
                </a:solidFill>
                <a:effectLst/>
                <a:latin typeface="Trebuchet MS" panose="020B0603020202020204" pitchFamily="34" charset="0"/>
              </a:rPr>
              <a:t>BD&amp;A Market &amp; Competition</a:t>
            </a:r>
          </a:p>
        </p:txBody>
      </p:sp>
      <p:sp>
        <p:nvSpPr>
          <p:cNvPr id="23" name="Oval">
            <a:extLst>
              <a:ext uri="{FF2B5EF4-FFF2-40B4-BE49-F238E27FC236}">
                <a16:creationId xmlns:a16="http://schemas.microsoft.com/office/drawing/2014/main" id="{3FC68CB0-928E-45CE-90EC-FF5F9244D3B8}"/>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25" name="Arrow: Pentagon">
            <a:extLst>
              <a:ext uri="{FF2B5EF4-FFF2-40B4-BE49-F238E27FC236}">
                <a16:creationId xmlns:a16="http://schemas.microsoft.com/office/drawing/2014/main" id="{BF256D8C-B966-42BF-93F2-D49BDABA0123}"/>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27" name="Arrow: Pentagon">
            <a:extLst>
              <a:ext uri="{FF2B5EF4-FFF2-40B4-BE49-F238E27FC236}">
                <a16:creationId xmlns:a16="http://schemas.microsoft.com/office/drawing/2014/main" id="{8AE121C1-9A95-46D8-8A6C-56D930348A52}"/>
              </a:ext>
            </a:extLst>
          </p:cNvPr>
          <p:cNvSpPr/>
          <p:nvPr/>
        </p:nvSpPr>
        <p:spPr bwMode="auto">
          <a:xfrm>
            <a:off x="1641599" y="2685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29" name="Oval">
            <a:extLst>
              <a:ext uri="{FF2B5EF4-FFF2-40B4-BE49-F238E27FC236}">
                <a16:creationId xmlns:a16="http://schemas.microsoft.com/office/drawing/2014/main" id="{AAA78091-85E6-4477-B748-9DAC2F0BBB9C}"/>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31" name="Arrow: Pentagon">
            <a:extLst>
              <a:ext uri="{FF2B5EF4-FFF2-40B4-BE49-F238E27FC236}">
                <a16:creationId xmlns:a16="http://schemas.microsoft.com/office/drawing/2014/main" id="{09833164-BF7D-4E24-AF26-90AE894B809C}"/>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33" name="Oval">
            <a:extLst>
              <a:ext uri="{FF2B5EF4-FFF2-40B4-BE49-F238E27FC236}">
                <a16:creationId xmlns:a16="http://schemas.microsoft.com/office/drawing/2014/main" id="{B5CFE843-F825-4DAC-93A1-48A34B00A2CB}"/>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35" name="Oval">
            <a:extLst>
              <a:ext uri="{FF2B5EF4-FFF2-40B4-BE49-F238E27FC236}">
                <a16:creationId xmlns:a16="http://schemas.microsoft.com/office/drawing/2014/main" id="{CF976A17-C96A-4B94-9C3F-9CE39047680C}"/>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1303992329"/>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4" name="Object 113" hidden="1">
            <a:extLst>
              <a:ext uri="{FF2B5EF4-FFF2-40B4-BE49-F238E27FC236}">
                <a16:creationId xmlns:a16="http://schemas.microsoft.com/office/drawing/2014/main" id="{15DFFB9E-9A55-4AA9-8206-5BC818B27F13}"/>
              </a:ext>
            </a:extLst>
          </p:cNvPr>
          <p:cNvGraphicFramePr>
            <a:graphicFrameLocks noChangeAspect="1"/>
          </p:cNvGraphicFramePr>
          <p:nvPr>
            <p:custDataLst>
              <p:tags r:id="rId1"/>
            </p:custDataLst>
            <p:extLst>
              <p:ext uri="{D42A27DB-BD31-4B8C-83A1-F6EECF244321}">
                <p14:modId xmlns:p14="http://schemas.microsoft.com/office/powerpoint/2010/main" val="167772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6" imgH="416" progId="TCLayout.ActiveDocument.1">
                  <p:embed/>
                </p:oleObj>
              </mc:Choice>
              <mc:Fallback>
                <p:oleObj name="think-cell Slide" r:id="rId9" imgW="416" imgH="416" progId="TCLayout.ActiveDocument.1">
                  <p:embed/>
                  <p:pic>
                    <p:nvPicPr>
                      <p:cNvPr id="114" name="Object 113" hidden="1">
                        <a:extLst>
                          <a:ext uri="{FF2B5EF4-FFF2-40B4-BE49-F238E27FC236}">
                            <a16:creationId xmlns:a16="http://schemas.microsoft.com/office/drawing/2014/main" id="{15DFFB9E-9A55-4AA9-8206-5BC818B27F1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13" name="Rectangle 112" hidden="1">
            <a:extLst>
              <a:ext uri="{FF2B5EF4-FFF2-40B4-BE49-F238E27FC236}">
                <a16:creationId xmlns:a16="http://schemas.microsoft.com/office/drawing/2014/main" id="{65F9577C-E65E-4DF1-BBD9-D0503617D710}"/>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30" name="Rectangle 129">
            <a:extLst>
              <a:ext uri="{FF2B5EF4-FFF2-40B4-BE49-F238E27FC236}">
                <a16:creationId xmlns:a16="http://schemas.microsoft.com/office/drawing/2014/main" id="{44FD085B-EE2C-473A-B053-657F8A64679F}"/>
              </a:ext>
            </a:extLst>
          </p:cNvPr>
          <p:cNvSpPr/>
          <p:nvPr/>
        </p:nvSpPr>
        <p:spPr bwMode="auto">
          <a:xfrm>
            <a:off x="3855356" y="4994965"/>
            <a:ext cx="2120595" cy="126905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1" name="Rectangle 130">
            <a:extLst>
              <a:ext uri="{FF2B5EF4-FFF2-40B4-BE49-F238E27FC236}">
                <a16:creationId xmlns:a16="http://schemas.microsoft.com/office/drawing/2014/main" id="{D9F0D4CE-C753-409A-888A-8BA68FE8A19A}"/>
              </a:ext>
            </a:extLst>
          </p:cNvPr>
          <p:cNvSpPr/>
          <p:nvPr/>
        </p:nvSpPr>
        <p:spPr bwMode="auto">
          <a:xfrm>
            <a:off x="4680028" y="5053389"/>
            <a:ext cx="683826" cy="17190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17-19</a:t>
            </a:r>
            <a:endParaRPr lang="en-GB" sz="900">
              <a:latin typeface="Trebuchet MS" panose="020B0603020202020204" pitchFamily="34" charset="0"/>
            </a:endParaRPr>
          </a:p>
        </p:txBody>
      </p:sp>
      <p:sp>
        <p:nvSpPr>
          <p:cNvPr id="147" name="Rectangle 146">
            <a:extLst>
              <a:ext uri="{FF2B5EF4-FFF2-40B4-BE49-F238E27FC236}">
                <a16:creationId xmlns:a16="http://schemas.microsoft.com/office/drawing/2014/main" id="{1207F7EA-2443-4583-9EFB-2395071D1412}"/>
              </a:ext>
            </a:extLst>
          </p:cNvPr>
          <p:cNvSpPr/>
          <p:nvPr/>
        </p:nvSpPr>
        <p:spPr bwMode="auto">
          <a:xfrm>
            <a:off x="5338477" y="5053389"/>
            <a:ext cx="683826" cy="17190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21-25</a:t>
            </a:r>
            <a:endParaRPr lang="en-GB" sz="900">
              <a:latin typeface="Trebuchet MS" panose="020B0603020202020204" pitchFamily="34" charset="0"/>
            </a:endParaRPr>
          </a:p>
        </p:txBody>
      </p:sp>
      <p:sp>
        <p:nvSpPr>
          <p:cNvPr id="149" name="ZoneTexte 146">
            <a:extLst>
              <a:ext uri="{FF2B5EF4-FFF2-40B4-BE49-F238E27FC236}">
                <a16:creationId xmlns:a16="http://schemas.microsoft.com/office/drawing/2014/main" id="{420E297B-940C-4D83-9526-9FAE9CED8D13}"/>
              </a:ext>
            </a:extLst>
          </p:cNvPr>
          <p:cNvSpPr txBox="1"/>
          <p:nvPr/>
        </p:nvSpPr>
        <p:spPr>
          <a:xfrm>
            <a:off x="4837318" y="5731829"/>
            <a:ext cx="546130" cy="224613"/>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0.14%</a:t>
            </a:r>
          </a:p>
        </p:txBody>
      </p:sp>
      <p:sp>
        <p:nvSpPr>
          <p:cNvPr id="152" name="ZoneTexte 146">
            <a:extLst>
              <a:ext uri="{FF2B5EF4-FFF2-40B4-BE49-F238E27FC236}">
                <a16:creationId xmlns:a16="http://schemas.microsoft.com/office/drawing/2014/main" id="{FAD52475-A338-4645-B07B-E2CB9AA98F81}"/>
              </a:ext>
            </a:extLst>
          </p:cNvPr>
          <p:cNvSpPr txBox="1"/>
          <p:nvPr/>
        </p:nvSpPr>
        <p:spPr>
          <a:xfrm>
            <a:off x="5406569" y="5732353"/>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lang="en-GB" sz="900">
                <a:latin typeface="Trebuchet MS" panose="020B0603020202020204" pitchFamily="34" charset="0"/>
              </a:rPr>
              <a:t>~0</a:t>
            </a: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a:t>
            </a:r>
          </a:p>
        </p:txBody>
      </p:sp>
      <p:sp>
        <p:nvSpPr>
          <p:cNvPr id="153" name="ZoneTexte 146">
            <a:extLst>
              <a:ext uri="{FF2B5EF4-FFF2-40B4-BE49-F238E27FC236}">
                <a16:creationId xmlns:a16="http://schemas.microsoft.com/office/drawing/2014/main" id="{618C0019-C91A-4993-AD40-23120B36D19C}"/>
              </a:ext>
            </a:extLst>
          </p:cNvPr>
          <p:cNvSpPr txBox="1"/>
          <p:nvPr/>
        </p:nvSpPr>
        <p:spPr>
          <a:xfrm>
            <a:off x="4837318" y="5499966"/>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8%</a:t>
            </a:r>
          </a:p>
        </p:txBody>
      </p:sp>
      <p:sp>
        <p:nvSpPr>
          <p:cNvPr id="154" name="ZoneTexte 146">
            <a:extLst>
              <a:ext uri="{FF2B5EF4-FFF2-40B4-BE49-F238E27FC236}">
                <a16:creationId xmlns:a16="http://schemas.microsoft.com/office/drawing/2014/main" id="{CA99DFC2-1824-434F-8C58-50BBD3DB8274}"/>
              </a:ext>
            </a:extLst>
          </p:cNvPr>
          <p:cNvSpPr txBox="1"/>
          <p:nvPr/>
        </p:nvSpPr>
        <p:spPr>
          <a:xfrm>
            <a:off x="5406569" y="5500490"/>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5.3%</a:t>
            </a:r>
          </a:p>
        </p:txBody>
      </p:sp>
      <p:sp>
        <p:nvSpPr>
          <p:cNvPr id="157" name="ZoneTexte 146">
            <a:extLst>
              <a:ext uri="{FF2B5EF4-FFF2-40B4-BE49-F238E27FC236}">
                <a16:creationId xmlns:a16="http://schemas.microsoft.com/office/drawing/2014/main" id="{B320A6B7-229B-4EF7-A57E-93AD27CB44F5}"/>
              </a:ext>
            </a:extLst>
          </p:cNvPr>
          <p:cNvSpPr txBox="1"/>
          <p:nvPr/>
        </p:nvSpPr>
        <p:spPr>
          <a:xfrm>
            <a:off x="4837318" y="5294422"/>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24%</a:t>
            </a:r>
          </a:p>
        </p:txBody>
      </p:sp>
      <p:sp>
        <p:nvSpPr>
          <p:cNvPr id="158" name="ZoneTexte 146">
            <a:extLst>
              <a:ext uri="{FF2B5EF4-FFF2-40B4-BE49-F238E27FC236}">
                <a16:creationId xmlns:a16="http://schemas.microsoft.com/office/drawing/2014/main" id="{4C5F9036-3FC9-40B6-8CEA-7E0B7DDF0E05}"/>
              </a:ext>
            </a:extLst>
          </p:cNvPr>
          <p:cNvSpPr txBox="1"/>
          <p:nvPr/>
        </p:nvSpPr>
        <p:spPr>
          <a:xfrm>
            <a:off x="5406569" y="5294946"/>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10.3%</a:t>
            </a:r>
          </a:p>
        </p:txBody>
      </p:sp>
      <p:sp>
        <p:nvSpPr>
          <p:cNvPr id="159" name="ZoneTexte 146">
            <a:extLst>
              <a:ext uri="{FF2B5EF4-FFF2-40B4-BE49-F238E27FC236}">
                <a16:creationId xmlns:a16="http://schemas.microsoft.com/office/drawing/2014/main" id="{9F41F73E-C318-4941-A123-E61C1F006186}"/>
              </a:ext>
            </a:extLst>
          </p:cNvPr>
          <p:cNvSpPr txBox="1"/>
          <p:nvPr/>
        </p:nvSpPr>
        <p:spPr>
          <a:xfrm>
            <a:off x="4837318" y="5958301"/>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b="1" i="0" u="none" strike="noStrike" kern="1200" cap="none" spc="0" normalizeH="0" baseline="0" noProof="0">
                <a:ln>
                  <a:noFill/>
                </a:ln>
                <a:effectLst/>
                <a:uLnTx/>
                <a:uFillTx/>
                <a:latin typeface="Trebuchet MS" panose="020B0603020202020204" pitchFamily="34" charset="0"/>
                <a:ea typeface="+mn-ea"/>
                <a:cs typeface="Arial" pitchFamily="34" charset="0"/>
              </a:rPr>
              <a:t>+3.4%</a:t>
            </a:r>
          </a:p>
        </p:txBody>
      </p:sp>
      <p:sp>
        <p:nvSpPr>
          <p:cNvPr id="160" name="ZoneTexte 146">
            <a:extLst>
              <a:ext uri="{FF2B5EF4-FFF2-40B4-BE49-F238E27FC236}">
                <a16:creationId xmlns:a16="http://schemas.microsoft.com/office/drawing/2014/main" id="{936EAC5F-C475-485D-B80F-1AFBB397D2B4}"/>
              </a:ext>
            </a:extLst>
          </p:cNvPr>
          <p:cNvSpPr txBox="1"/>
          <p:nvPr/>
        </p:nvSpPr>
        <p:spPr>
          <a:xfrm>
            <a:off x="5363854" y="5958301"/>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b="1" i="0" u="none" strike="noStrike" kern="1200" cap="none" spc="0" normalizeH="0" baseline="0" noProof="0">
                <a:ln>
                  <a:noFill/>
                </a:ln>
                <a:effectLst/>
                <a:uLnTx/>
                <a:uFillTx/>
                <a:latin typeface="Trebuchet MS" panose="020B0603020202020204" pitchFamily="34" charset="0"/>
                <a:ea typeface="+mn-ea"/>
                <a:cs typeface="Arial" pitchFamily="34" charset="0"/>
              </a:rPr>
              <a:t>+2.5%</a:t>
            </a:r>
          </a:p>
        </p:txBody>
      </p:sp>
      <p:graphicFrame>
        <p:nvGraphicFramePr>
          <p:cNvPr id="23" name="Graphique 22">
            <a:extLst>
              <a:ext uri="{FF2B5EF4-FFF2-40B4-BE49-F238E27FC236}">
                <a16:creationId xmlns:a16="http://schemas.microsoft.com/office/drawing/2014/main" id="{964F6132-F15B-419D-9D2D-A76985505476}"/>
              </a:ext>
            </a:extLst>
          </p:cNvPr>
          <p:cNvGraphicFramePr/>
          <p:nvPr/>
        </p:nvGraphicFramePr>
        <p:xfrm>
          <a:off x="7198497" y="3256021"/>
          <a:ext cx="2759952" cy="3694804"/>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10" name="Chart 109">
            <a:extLst>
              <a:ext uri="{FF2B5EF4-FFF2-40B4-BE49-F238E27FC236}">
                <a16:creationId xmlns:a16="http://schemas.microsoft.com/office/drawing/2014/main" id="{1D68E748-719A-4BCF-AA49-3115683701A5}"/>
              </a:ext>
            </a:extLst>
          </p:cNvPr>
          <p:cNvGraphicFramePr/>
          <p:nvPr/>
        </p:nvGraphicFramePr>
        <p:xfrm>
          <a:off x="235783" y="4542524"/>
          <a:ext cx="5046490" cy="1917170"/>
        </p:xfrm>
        <a:graphic>
          <a:graphicData uri="http://schemas.openxmlformats.org/drawingml/2006/chart">
            <c:chart xmlns:c="http://schemas.openxmlformats.org/drawingml/2006/chart" xmlns:r="http://schemas.openxmlformats.org/officeDocument/2006/relationships" r:id="rId12"/>
          </a:graphicData>
        </a:graphic>
      </p:graphicFrame>
      <p:sp>
        <p:nvSpPr>
          <p:cNvPr id="2" name="Titre 1">
            <a:extLst>
              <a:ext uri="{FF2B5EF4-FFF2-40B4-BE49-F238E27FC236}">
                <a16:creationId xmlns:a16="http://schemas.microsoft.com/office/drawing/2014/main" id="{3FA10D67-B0CD-467C-9FAE-459CE49A73AC}"/>
              </a:ext>
            </a:extLst>
          </p:cNvPr>
          <p:cNvSpPr>
            <a:spLocks noGrp="1"/>
          </p:cNvSpPr>
          <p:nvPr>
            <p:ph type="title"/>
          </p:nvPr>
        </p:nvSpPr>
        <p:spPr>
          <a:xfrm>
            <a:off x="165601" y="147600"/>
            <a:ext cx="8388164" cy="684000"/>
          </a:xfrm>
        </p:spPr>
        <p:txBody>
          <a:bodyPr/>
          <a:lstStyle/>
          <a:p>
            <a:r>
              <a:rPr lang="en-GB">
                <a:latin typeface="Trebuchet MS" panose="020B0603020202020204" pitchFamily="34" charset="0"/>
              </a:rPr>
              <a:t>The </a:t>
            </a:r>
            <a:r>
              <a:rPr lang="en-GB">
                <a:solidFill>
                  <a:schemeClr val="tx2"/>
                </a:solidFill>
                <a:latin typeface="Trebuchet MS" panose="020B0603020202020204" pitchFamily="34" charset="0"/>
              </a:rPr>
              <a:t>Business Data &amp; Analytics market </a:t>
            </a:r>
            <a:r>
              <a:rPr lang="en-GB">
                <a:latin typeface="Trebuchet MS" panose="020B0603020202020204" pitchFamily="34" charset="0"/>
              </a:rPr>
              <a:t>represents a </a:t>
            </a:r>
            <a:r>
              <a:rPr lang="en-GB">
                <a:solidFill>
                  <a:schemeClr val="tx2"/>
                </a:solidFill>
                <a:latin typeface="Trebuchet MS" panose="020B0603020202020204" pitchFamily="34" charset="0"/>
              </a:rPr>
              <a:t>large market with stable growth</a:t>
            </a:r>
            <a:r>
              <a:rPr lang="en-GB">
                <a:latin typeface="Trebuchet MS" panose="020B0603020202020204" pitchFamily="34" charset="0"/>
              </a:rPr>
              <a:t>, driven by the rise of compliance &amp; marketing verticals</a:t>
            </a:r>
            <a:endParaRPr lang="en-GB">
              <a:highlight>
                <a:srgbClr val="FFFF00"/>
              </a:highlight>
              <a:latin typeface="Trebuchet MS" panose="020B0603020202020204" pitchFamily="34" charset="0"/>
            </a:endParaRPr>
          </a:p>
        </p:txBody>
      </p:sp>
      <p:sp>
        <p:nvSpPr>
          <p:cNvPr id="3" name="Espace réservé du texte 2">
            <a:extLst>
              <a:ext uri="{FF2B5EF4-FFF2-40B4-BE49-F238E27FC236}">
                <a16:creationId xmlns:a16="http://schemas.microsoft.com/office/drawing/2014/main" id="{EE562520-AE05-45DC-86C8-4773408518C0}"/>
              </a:ext>
            </a:extLst>
          </p:cNvPr>
          <p:cNvSpPr>
            <a:spLocks noGrp="1"/>
          </p:cNvSpPr>
          <p:nvPr>
            <p:ph type="body" sz="quarter" idx="10"/>
          </p:nvPr>
        </p:nvSpPr>
        <p:spPr/>
        <p:txBody>
          <a:bodyPr/>
          <a:lstStyle/>
          <a:p>
            <a:r>
              <a:rPr lang="en-GB"/>
              <a:t>Sources: eleven research &amp; analysis, expert calls, company data, interviews with management</a:t>
            </a:r>
          </a:p>
          <a:p>
            <a:r>
              <a:rPr lang="en-GB"/>
              <a:t>*Top of the mid-market represents the 25% largest Mid-size companies, public institutions included</a:t>
            </a:r>
          </a:p>
          <a:p>
            <a:endParaRPr lang="en-GB"/>
          </a:p>
        </p:txBody>
      </p:sp>
      <p:cxnSp>
        <p:nvCxnSpPr>
          <p:cNvPr id="43" name="Connecteur droit 42">
            <a:extLst>
              <a:ext uri="{FF2B5EF4-FFF2-40B4-BE49-F238E27FC236}">
                <a16:creationId xmlns:a16="http://schemas.microsoft.com/office/drawing/2014/main" id="{A97BD764-8E64-4BE5-83EE-ECAA9338966C}"/>
              </a:ext>
            </a:extLst>
          </p:cNvPr>
          <p:cNvCxnSpPr>
            <a:cxnSpLocks/>
          </p:cNvCxnSpPr>
          <p:nvPr/>
        </p:nvCxnSpPr>
        <p:spPr bwMode="auto">
          <a:xfrm>
            <a:off x="6057075" y="1246012"/>
            <a:ext cx="0" cy="504000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69" name="Rectangle 68">
            <a:extLst>
              <a:ext uri="{FF2B5EF4-FFF2-40B4-BE49-F238E27FC236}">
                <a16:creationId xmlns:a16="http://schemas.microsoft.com/office/drawing/2014/main" id="{7DEC9FAE-77A5-44C7-8F96-8BF6BDBBFA8E}"/>
              </a:ext>
            </a:extLst>
          </p:cNvPr>
          <p:cNvSpPr/>
          <p:nvPr/>
        </p:nvSpPr>
        <p:spPr bwMode="auto">
          <a:xfrm>
            <a:off x="235657" y="4446275"/>
            <a:ext cx="2407536" cy="252449"/>
          </a:xfrm>
          <a:prstGeom prst="rect">
            <a:avLst/>
          </a:prstGeom>
        </p:spPr>
        <p:txBody>
          <a:bodyPr wrap="square" anchor="ctr">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ea typeface="+mn-ea"/>
                <a:cs typeface="Arial" pitchFamily="34" charset="0"/>
              </a:rPr>
              <a:t>BD&amp;A market size evolution, in €m</a:t>
            </a:r>
          </a:p>
        </p:txBody>
      </p:sp>
      <p:grpSp>
        <p:nvGrpSpPr>
          <p:cNvPr id="24" name="Groupe 23">
            <a:extLst>
              <a:ext uri="{FF2B5EF4-FFF2-40B4-BE49-F238E27FC236}">
                <a16:creationId xmlns:a16="http://schemas.microsoft.com/office/drawing/2014/main" id="{5985F4FF-1F71-4D9A-983A-7E60CE908C6D}"/>
              </a:ext>
            </a:extLst>
          </p:cNvPr>
          <p:cNvGrpSpPr/>
          <p:nvPr/>
        </p:nvGrpSpPr>
        <p:grpSpPr>
          <a:xfrm>
            <a:off x="396619" y="1937915"/>
            <a:ext cx="1238845" cy="347255"/>
            <a:chOff x="3795117" y="1499863"/>
            <a:chExt cx="1238845" cy="347255"/>
          </a:xfrm>
        </p:grpSpPr>
        <p:pic>
          <p:nvPicPr>
            <p:cNvPr id="60" name="Picture 2 - 2" descr="Drapeau du Luxembourg">
              <a:extLst>
                <a:ext uri="{FF2B5EF4-FFF2-40B4-BE49-F238E27FC236}">
                  <a16:creationId xmlns:a16="http://schemas.microsoft.com/office/drawing/2014/main" id="{0FA43B6A-3031-4A3A-8D07-CBCD3CFBD77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795117" y="1537284"/>
              <a:ext cx="204859" cy="128985"/>
            </a:xfrm>
            <a:prstGeom prst="roundRect">
              <a:avLst/>
            </a:prstGeom>
            <a:solidFill>
              <a:schemeClr val="bg1"/>
            </a:solidFill>
            <a:ln w="9525" cap="flat" cmpd="sng" algn="ctr">
              <a:noFill/>
              <a:prstDash val="solid"/>
              <a:round/>
              <a:headEnd type="none" w="med" len="med"/>
              <a:tailEnd type="none" w="med" len="med"/>
            </a:ln>
            <a:effectLst/>
          </p:spPr>
        </p:pic>
        <p:sp>
          <p:nvSpPr>
            <p:cNvPr id="109" name="ZoneTexte 108">
              <a:extLst>
                <a:ext uri="{FF2B5EF4-FFF2-40B4-BE49-F238E27FC236}">
                  <a16:creationId xmlns:a16="http://schemas.microsoft.com/office/drawing/2014/main" id="{E130BA1D-EB13-46D8-9E88-8EF15AA3C022}"/>
                </a:ext>
              </a:extLst>
            </p:cNvPr>
            <p:cNvSpPr txBox="1"/>
            <p:nvPr/>
          </p:nvSpPr>
          <p:spPr>
            <a:xfrm>
              <a:off x="3929093" y="1499863"/>
              <a:ext cx="1104869" cy="200055"/>
            </a:xfrm>
            <a:prstGeom prst="rect">
              <a:avLst/>
            </a:prstGeom>
            <a:noFill/>
          </p:spPr>
          <p:txBody>
            <a:bodyPr wrap="square" rtlCol="0">
              <a:spAutoFit/>
            </a:bodyPr>
            <a:lstStyle/>
            <a:p>
              <a:r>
                <a:rPr lang="en-GB" sz="700" b="1">
                  <a:latin typeface="+mj-lt"/>
                </a:rPr>
                <a:t>Luxembourg</a:t>
              </a:r>
            </a:p>
          </p:txBody>
        </p:sp>
        <p:sp>
          <p:nvSpPr>
            <p:cNvPr id="155" name="ZoneTexte 154">
              <a:extLst>
                <a:ext uri="{FF2B5EF4-FFF2-40B4-BE49-F238E27FC236}">
                  <a16:creationId xmlns:a16="http://schemas.microsoft.com/office/drawing/2014/main" id="{C25FAC6F-DC9C-4F09-ADD2-707E924CC830}"/>
                </a:ext>
              </a:extLst>
            </p:cNvPr>
            <p:cNvSpPr txBox="1"/>
            <p:nvPr/>
          </p:nvSpPr>
          <p:spPr>
            <a:xfrm>
              <a:off x="3923902" y="1625454"/>
              <a:ext cx="490814" cy="221664"/>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800" b="1" i="0" u="none" strike="noStrike" kern="1200" cap="none" spc="0" normalizeH="0" baseline="0" noProof="0">
                  <a:ln>
                    <a:noFill/>
                  </a:ln>
                  <a:effectLst/>
                  <a:uLnTx/>
                  <a:uFillTx/>
                  <a:latin typeface="Trebuchet MS" panose="020B0603020202020204" pitchFamily="34" charset="0"/>
                  <a:ea typeface="+mn-ea"/>
                  <a:cs typeface="Arial" pitchFamily="34" charset="0"/>
                </a:rPr>
                <a:t>~€6m</a:t>
              </a:r>
            </a:p>
          </p:txBody>
        </p:sp>
      </p:grpSp>
      <p:cxnSp>
        <p:nvCxnSpPr>
          <p:cNvPr id="132" name="Straight Connector 131">
            <a:extLst>
              <a:ext uri="{FF2B5EF4-FFF2-40B4-BE49-F238E27FC236}">
                <a16:creationId xmlns:a16="http://schemas.microsoft.com/office/drawing/2014/main" id="{470AB543-5F56-4A89-92E7-189865C25464}"/>
              </a:ext>
            </a:extLst>
          </p:cNvPr>
          <p:cNvCxnSpPr>
            <a:cxnSpLocks/>
          </p:cNvCxnSpPr>
          <p:nvPr>
            <p:custDataLst>
              <p:tags r:id="rId3"/>
            </p:custDataLst>
          </p:nvPr>
        </p:nvCxnSpPr>
        <p:spPr bwMode="auto">
          <a:xfrm flipV="1">
            <a:off x="433635" y="4925140"/>
            <a:ext cx="1128309" cy="58215"/>
          </a:xfrm>
          <a:prstGeom prst="line">
            <a:avLst/>
          </a:prstGeom>
          <a:solidFill>
            <a:schemeClr val="accent1"/>
          </a:solidFill>
          <a:ln w="9525" cap="flat" cmpd="sng" algn="ctr">
            <a:solidFill>
              <a:schemeClr val="tx1"/>
            </a:solidFill>
            <a:prstDash val="dash"/>
            <a:round/>
            <a:headEnd type="none" w="med" len="med"/>
            <a:tailEnd type="triangle"/>
          </a:ln>
          <a:effectLst/>
        </p:spPr>
      </p:cxnSp>
      <p:cxnSp>
        <p:nvCxnSpPr>
          <p:cNvPr id="162" name="Connecteur droit 13">
            <a:extLst>
              <a:ext uri="{FF2B5EF4-FFF2-40B4-BE49-F238E27FC236}">
                <a16:creationId xmlns:a16="http://schemas.microsoft.com/office/drawing/2014/main" id="{8602B880-B0A5-4907-98C7-05CE2AC6585E}"/>
              </a:ext>
            </a:extLst>
          </p:cNvPr>
          <p:cNvCxnSpPr>
            <a:cxnSpLocks/>
          </p:cNvCxnSpPr>
          <p:nvPr/>
        </p:nvCxnSpPr>
        <p:spPr bwMode="auto">
          <a:xfrm>
            <a:off x="251394" y="974778"/>
            <a:ext cx="9403213"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53" name="Rectangle 84">
            <a:extLst>
              <a:ext uri="{FF2B5EF4-FFF2-40B4-BE49-F238E27FC236}">
                <a16:creationId xmlns:a16="http://schemas.microsoft.com/office/drawing/2014/main" id="{7B1B944E-EA5B-4AE1-9528-949A1A0C5920}"/>
              </a:ext>
            </a:extLst>
          </p:cNvPr>
          <p:cNvSpPr/>
          <p:nvPr/>
        </p:nvSpPr>
        <p:spPr bwMode="auto">
          <a:xfrm>
            <a:off x="4037143" y="833628"/>
            <a:ext cx="1831714"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a:solidFill>
                  <a:schemeClr val="accent1">
                    <a:lumMod val="75000"/>
                  </a:schemeClr>
                </a:solidFill>
                <a:latin typeface="Trebuchet MS" panose="020B0603020202020204" pitchFamily="34" charset="0"/>
              </a:rPr>
              <a:t>Market overview</a:t>
            </a:r>
          </a:p>
        </p:txBody>
      </p:sp>
      <p:cxnSp>
        <p:nvCxnSpPr>
          <p:cNvPr id="165" name="Straight Connector 131">
            <a:extLst>
              <a:ext uri="{FF2B5EF4-FFF2-40B4-BE49-F238E27FC236}">
                <a16:creationId xmlns:a16="http://schemas.microsoft.com/office/drawing/2014/main" id="{A7059167-F004-4C9F-A6DD-57DF8D309551}"/>
              </a:ext>
            </a:extLst>
          </p:cNvPr>
          <p:cNvCxnSpPr>
            <a:cxnSpLocks/>
          </p:cNvCxnSpPr>
          <p:nvPr>
            <p:custDataLst>
              <p:tags r:id="rId4"/>
            </p:custDataLst>
          </p:nvPr>
        </p:nvCxnSpPr>
        <p:spPr bwMode="auto">
          <a:xfrm flipV="1">
            <a:off x="2023541" y="4835005"/>
            <a:ext cx="1368814" cy="121871"/>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74" name="Rectangle 173">
            <a:extLst>
              <a:ext uri="{FF2B5EF4-FFF2-40B4-BE49-F238E27FC236}">
                <a16:creationId xmlns:a16="http://schemas.microsoft.com/office/drawing/2014/main" id="{8B76AD98-FB6B-40A6-B97F-5731DBDDCCAB}"/>
              </a:ext>
            </a:extLst>
          </p:cNvPr>
          <p:cNvSpPr/>
          <p:nvPr/>
        </p:nvSpPr>
        <p:spPr bwMode="auto">
          <a:xfrm>
            <a:off x="6756772" y="3959652"/>
            <a:ext cx="660857" cy="556364"/>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endParaRPr lang="en-GB" sz="1050" b="1">
              <a:latin typeface="Trebuchet MS" panose="020B0603020202020204" pitchFamily="34" charset="0"/>
            </a:endParaRPr>
          </a:p>
          <a:p>
            <a:pPr marR="0" algn="ctr" defTabSz="914400" rtl="0" eaLnBrk="1" fontAlgn="base" latinLnBrk="0" hangingPunct="1">
              <a:lnSpc>
                <a:spcPct val="100000"/>
              </a:lnSpc>
              <a:spcBef>
                <a:spcPct val="0"/>
              </a:spcBef>
              <a:spcAft>
                <a:spcPct val="0"/>
              </a:spcAft>
              <a:buClrTx/>
              <a:buSzTx/>
              <a:tabLst/>
            </a:pPr>
            <a:r>
              <a:rPr lang="en-GB" sz="1050" b="1">
                <a:solidFill>
                  <a:schemeClr val="accent1">
                    <a:lumMod val="75000"/>
                  </a:schemeClr>
                </a:solidFill>
                <a:latin typeface="Trebuchet MS" panose="020B0603020202020204" pitchFamily="34" charset="0"/>
              </a:rPr>
              <a:t>Key accounts</a:t>
            </a:r>
            <a:endParaRPr kumimoji="0" lang="en-GB" sz="1050" i="0" u="none" strike="noStrike" cap="none" normalizeH="0" baseline="0">
              <a:ln>
                <a:noFill/>
              </a:ln>
              <a:solidFill>
                <a:schemeClr val="accent1">
                  <a:lumMod val="75000"/>
                </a:schemeClr>
              </a:solidFill>
              <a:effectLst/>
              <a:latin typeface="Trebuchet MS" panose="020B0603020202020204" pitchFamily="34" charset="0"/>
            </a:endParaRPr>
          </a:p>
        </p:txBody>
      </p:sp>
      <p:pic>
        <p:nvPicPr>
          <p:cNvPr id="176" name="Graphique 62">
            <a:extLst>
              <a:ext uri="{FF2B5EF4-FFF2-40B4-BE49-F238E27FC236}">
                <a16:creationId xmlns:a16="http://schemas.microsoft.com/office/drawing/2014/main" id="{3D6F2E6B-7302-406D-A506-32D5C42A37FA}"/>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19795"/>
          <a:stretch/>
        </p:blipFill>
        <p:spPr>
          <a:xfrm>
            <a:off x="7010732" y="3995412"/>
            <a:ext cx="181727" cy="160974"/>
          </a:xfrm>
          <a:prstGeom prst="rect">
            <a:avLst/>
          </a:prstGeom>
          <a:effectLst/>
        </p:spPr>
      </p:pic>
      <p:sp>
        <p:nvSpPr>
          <p:cNvPr id="178" name="Rectangle 177">
            <a:extLst>
              <a:ext uri="{FF2B5EF4-FFF2-40B4-BE49-F238E27FC236}">
                <a16:creationId xmlns:a16="http://schemas.microsoft.com/office/drawing/2014/main" id="{3A303B09-561C-4BC8-8BF2-0390E64A499C}"/>
              </a:ext>
            </a:extLst>
          </p:cNvPr>
          <p:cNvSpPr/>
          <p:nvPr/>
        </p:nvSpPr>
        <p:spPr bwMode="auto">
          <a:xfrm>
            <a:off x="6756772" y="4558519"/>
            <a:ext cx="660857" cy="556364"/>
          </a:xfrm>
          <a:prstGeom prst="rect">
            <a:avLst/>
          </a:prstGeom>
          <a:solidFill>
            <a:schemeClr val="bg1"/>
          </a:solidFill>
          <a:ln w="9525" cap="flat" cmpd="sng" algn="ctr">
            <a:solidFill>
              <a:srgbClr val="55CFFF"/>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50" b="1">
              <a:latin typeface="Trebuchet MS" panose="020B0603020202020204" pitchFamily="34" charset="0"/>
            </a:endParaRPr>
          </a:p>
          <a:p>
            <a:pPr algn="ctr"/>
            <a:r>
              <a:rPr lang="en-GB" sz="1050" b="1">
                <a:solidFill>
                  <a:srgbClr val="55CFFF"/>
                </a:solidFill>
                <a:latin typeface="Trebuchet MS" panose="020B0603020202020204" pitchFamily="34" charset="0"/>
              </a:rPr>
              <a:t>Top-Mid market*</a:t>
            </a:r>
          </a:p>
        </p:txBody>
      </p:sp>
      <p:pic>
        <p:nvPicPr>
          <p:cNvPr id="180" name="Graphique 63">
            <a:extLst>
              <a:ext uri="{FF2B5EF4-FFF2-40B4-BE49-F238E27FC236}">
                <a16:creationId xmlns:a16="http://schemas.microsoft.com/office/drawing/2014/main" id="{7F2AEBFF-4C22-4AF9-851B-6811AF958D61}"/>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28139"/>
          <a:stretch/>
        </p:blipFill>
        <p:spPr>
          <a:xfrm>
            <a:off x="6981319" y="4587310"/>
            <a:ext cx="215219" cy="170805"/>
          </a:xfrm>
          <a:prstGeom prst="rect">
            <a:avLst/>
          </a:prstGeom>
          <a:effectLst/>
        </p:spPr>
      </p:pic>
      <p:sp>
        <p:nvSpPr>
          <p:cNvPr id="182" name="Rectangle 181">
            <a:extLst>
              <a:ext uri="{FF2B5EF4-FFF2-40B4-BE49-F238E27FC236}">
                <a16:creationId xmlns:a16="http://schemas.microsoft.com/office/drawing/2014/main" id="{AED717AD-68D5-4CAD-883D-EBB76A531546}"/>
              </a:ext>
            </a:extLst>
          </p:cNvPr>
          <p:cNvSpPr/>
          <p:nvPr/>
        </p:nvSpPr>
        <p:spPr bwMode="auto">
          <a:xfrm>
            <a:off x="6756772" y="5756252"/>
            <a:ext cx="660857" cy="556364"/>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50" b="1">
              <a:solidFill>
                <a:schemeClr val="bg2"/>
              </a:solidFill>
              <a:latin typeface="Trebuchet MS" panose="020B0603020202020204" pitchFamily="34" charset="0"/>
            </a:endParaRPr>
          </a:p>
          <a:p>
            <a:pPr algn="ctr"/>
            <a:r>
              <a:rPr lang="en-GB" sz="1050" b="1">
                <a:solidFill>
                  <a:schemeClr val="bg2"/>
                </a:solidFill>
                <a:latin typeface="Trebuchet MS" panose="020B0603020202020204" pitchFamily="34" charset="0"/>
              </a:rPr>
              <a:t>Mass market</a:t>
            </a:r>
          </a:p>
        </p:txBody>
      </p:sp>
      <p:pic>
        <p:nvPicPr>
          <p:cNvPr id="184" name="Graphique 64">
            <a:extLst>
              <a:ext uri="{FF2B5EF4-FFF2-40B4-BE49-F238E27FC236}">
                <a16:creationId xmlns:a16="http://schemas.microsoft.com/office/drawing/2014/main" id="{156B8711-6708-4151-A2E4-CAFC9AEA6890}"/>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r="-3601" b="22797"/>
          <a:stretch/>
        </p:blipFill>
        <p:spPr>
          <a:xfrm>
            <a:off x="6993818" y="5805217"/>
            <a:ext cx="200988" cy="165417"/>
          </a:xfrm>
          <a:prstGeom prst="rect">
            <a:avLst/>
          </a:prstGeom>
          <a:effectLst/>
        </p:spPr>
      </p:pic>
      <p:sp>
        <p:nvSpPr>
          <p:cNvPr id="190" name="ZoneTexte 189">
            <a:extLst>
              <a:ext uri="{FF2B5EF4-FFF2-40B4-BE49-F238E27FC236}">
                <a16:creationId xmlns:a16="http://schemas.microsoft.com/office/drawing/2014/main" id="{F2AAA5DC-E287-49B0-8082-93972B70424F}"/>
              </a:ext>
            </a:extLst>
          </p:cNvPr>
          <p:cNvSpPr txBox="1"/>
          <p:nvPr/>
        </p:nvSpPr>
        <p:spPr>
          <a:xfrm>
            <a:off x="6596464" y="3584166"/>
            <a:ext cx="995697" cy="400110"/>
          </a:xfrm>
          <a:prstGeom prst="rect">
            <a:avLst/>
          </a:prstGeom>
          <a:noFill/>
          <a:effectLst/>
        </p:spPr>
        <p:txBody>
          <a:bodyPr wrap="square" rtlCol="0">
            <a:spAutoFit/>
          </a:bodyPr>
          <a:lstStyle/>
          <a:p>
            <a:pPr algn="ctr"/>
            <a:r>
              <a:rPr lang="en-GB" sz="1000" i="1">
                <a:latin typeface="Trebuchet MS" panose="020B0603020202020204" pitchFamily="34" charset="0"/>
              </a:rPr>
              <a:t>Client segmentation</a:t>
            </a:r>
          </a:p>
        </p:txBody>
      </p:sp>
      <p:sp>
        <p:nvSpPr>
          <p:cNvPr id="191" name="Rectangle 190">
            <a:extLst>
              <a:ext uri="{FF2B5EF4-FFF2-40B4-BE49-F238E27FC236}">
                <a16:creationId xmlns:a16="http://schemas.microsoft.com/office/drawing/2014/main" id="{3AF10328-ED58-4997-9DCD-35E7E3022CDB}"/>
              </a:ext>
            </a:extLst>
          </p:cNvPr>
          <p:cNvSpPr/>
          <p:nvPr/>
        </p:nvSpPr>
        <p:spPr bwMode="auto">
          <a:xfrm>
            <a:off x="6127204" y="3382596"/>
            <a:ext cx="3340923" cy="252449"/>
          </a:xfrm>
          <a:prstGeom prst="rect">
            <a:avLst/>
          </a:prstGeom>
        </p:spPr>
        <p:txBody>
          <a:bodyPr wrap="square" anchor="ctr">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ea typeface="+mn-ea"/>
                <a:cs typeface="Arial" pitchFamily="34" charset="0"/>
              </a:rPr>
              <a:t>Market split per client segmentation, 2019, in €m</a:t>
            </a:r>
          </a:p>
        </p:txBody>
      </p:sp>
      <p:sp>
        <p:nvSpPr>
          <p:cNvPr id="82" name="Rectangle 81">
            <a:extLst>
              <a:ext uri="{FF2B5EF4-FFF2-40B4-BE49-F238E27FC236}">
                <a16:creationId xmlns:a16="http://schemas.microsoft.com/office/drawing/2014/main" id="{E57E42BD-359D-49BC-9898-5C3A143B4275}"/>
              </a:ext>
            </a:extLst>
          </p:cNvPr>
          <p:cNvSpPr/>
          <p:nvPr/>
        </p:nvSpPr>
        <p:spPr bwMode="auto">
          <a:xfrm>
            <a:off x="361076" y="4778431"/>
            <a:ext cx="954197" cy="149866"/>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17-19</a:t>
            </a:r>
            <a:r>
              <a:rPr lang="en-GB" sz="900">
                <a:latin typeface="Trebuchet MS" panose="020B0603020202020204" pitchFamily="34" charset="0"/>
              </a:rPr>
              <a:t>: </a:t>
            </a:r>
            <a:r>
              <a:rPr kumimoji="0" lang="en-GB" sz="900" b="0" i="0" u="none" strike="noStrike" cap="none" normalizeH="0" baseline="0">
                <a:ln>
                  <a:noFill/>
                </a:ln>
                <a:effectLst/>
                <a:latin typeface="Trebuchet MS" panose="020B0603020202020204" pitchFamily="34" charset="0"/>
              </a:rPr>
              <a:t>+</a:t>
            </a:r>
            <a:r>
              <a:rPr lang="en-GB" sz="900">
                <a:latin typeface="Trebuchet MS" panose="020B0603020202020204" pitchFamily="34" charset="0"/>
              </a:rPr>
              <a:t>3.4</a:t>
            </a:r>
            <a:r>
              <a:rPr kumimoji="0" lang="en-GB" sz="900" b="0" i="0" u="none" strike="noStrike" cap="none" normalizeH="0" baseline="0">
                <a:ln>
                  <a:noFill/>
                </a:ln>
                <a:effectLst/>
                <a:latin typeface="Trebuchet MS" panose="020B0603020202020204" pitchFamily="34" charset="0"/>
              </a:rPr>
              <a:t>% </a:t>
            </a:r>
          </a:p>
        </p:txBody>
      </p:sp>
      <p:sp>
        <p:nvSpPr>
          <p:cNvPr id="83" name="Rectangle 82">
            <a:extLst>
              <a:ext uri="{FF2B5EF4-FFF2-40B4-BE49-F238E27FC236}">
                <a16:creationId xmlns:a16="http://schemas.microsoft.com/office/drawing/2014/main" id="{5328B39B-B86B-48B9-8D71-F09533A0A716}"/>
              </a:ext>
            </a:extLst>
          </p:cNvPr>
          <p:cNvSpPr/>
          <p:nvPr/>
        </p:nvSpPr>
        <p:spPr bwMode="auto">
          <a:xfrm>
            <a:off x="2332551" y="4659266"/>
            <a:ext cx="887662" cy="149866"/>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21-25</a:t>
            </a:r>
            <a:r>
              <a:rPr lang="en-GB" sz="900">
                <a:latin typeface="Trebuchet MS" panose="020B0603020202020204" pitchFamily="34" charset="0"/>
              </a:rPr>
              <a:t>: +2.5% </a:t>
            </a:r>
            <a:endParaRPr kumimoji="0" lang="en-GB" sz="900" b="0" i="0" u="none" strike="noStrike" cap="none" normalizeH="0" baseline="0">
              <a:ln>
                <a:noFill/>
              </a:ln>
              <a:effectLst/>
              <a:latin typeface="Trebuchet MS" panose="020B0603020202020204" pitchFamily="34" charset="0"/>
            </a:endParaRPr>
          </a:p>
        </p:txBody>
      </p:sp>
      <p:sp>
        <p:nvSpPr>
          <p:cNvPr id="8" name="Rectangle 7">
            <a:extLst>
              <a:ext uri="{FF2B5EF4-FFF2-40B4-BE49-F238E27FC236}">
                <a16:creationId xmlns:a16="http://schemas.microsoft.com/office/drawing/2014/main" id="{E0384457-C418-477F-BB45-C66BE5AC97AA}"/>
              </a:ext>
            </a:extLst>
          </p:cNvPr>
          <p:cNvSpPr/>
          <p:nvPr/>
        </p:nvSpPr>
        <p:spPr bwMode="auto">
          <a:xfrm>
            <a:off x="235657" y="1488075"/>
            <a:ext cx="4679996" cy="252449"/>
          </a:xfrm>
          <a:prstGeom prst="rect">
            <a:avLst/>
          </a:prstGeom>
        </p:spPr>
        <p:txBody>
          <a:bodyPr wrap="square" anchor="ctr">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ea typeface="+mn-ea"/>
                <a:cs typeface="Arial" pitchFamily="34" charset="0"/>
              </a:rPr>
              <a:t>Market size estimation per verticals and geographies, 2019, in €m</a:t>
            </a:r>
          </a:p>
        </p:txBody>
      </p:sp>
      <p:grpSp>
        <p:nvGrpSpPr>
          <p:cNvPr id="7" name="Groupe 6">
            <a:extLst>
              <a:ext uri="{FF2B5EF4-FFF2-40B4-BE49-F238E27FC236}">
                <a16:creationId xmlns:a16="http://schemas.microsoft.com/office/drawing/2014/main" id="{4D82C139-3F5E-4FFB-B209-A0A074061CED}"/>
              </a:ext>
            </a:extLst>
          </p:cNvPr>
          <p:cNvGrpSpPr/>
          <p:nvPr/>
        </p:nvGrpSpPr>
        <p:grpSpPr>
          <a:xfrm>
            <a:off x="386807" y="3579622"/>
            <a:ext cx="728119" cy="353754"/>
            <a:chOff x="750692" y="2620400"/>
            <a:chExt cx="728119" cy="353754"/>
          </a:xfrm>
        </p:grpSpPr>
        <p:pic>
          <p:nvPicPr>
            <p:cNvPr id="54" name="Picture 2" descr="Drapeau France">
              <a:extLst>
                <a:ext uri="{FF2B5EF4-FFF2-40B4-BE49-F238E27FC236}">
                  <a16:creationId xmlns:a16="http://schemas.microsoft.com/office/drawing/2014/main" id="{5FDD1960-BCF3-45D8-94EA-22C4806B6DBC}"/>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7006" b="16757"/>
            <a:stretch/>
          </p:blipFill>
          <p:spPr bwMode="auto">
            <a:xfrm>
              <a:off x="759740" y="2664320"/>
              <a:ext cx="203912" cy="128985"/>
            </a:xfrm>
            <a:prstGeom prst="roundRect">
              <a:avLst/>
            </a:prstGeom>
            <a:noFill/>
            <a:extLst>
              <a:ext uri="{909E8E84-426E-40DD-AFC4-6F175D3DCCD1}">
                <a14:hiddenFill xmlns:a14="http://schemas.microsoft.com/office/drawing/2010/main">
                  <a:solidFill>
                    <a:srgbClr val="FFFFFF"/>
                  </a:solidFill>
                </a14:hiddenFill>
              </a:ext>
            </a:extLst>
          </p:spPr>
        </p:pic>
        <p:sp>
          <p:nvSpPr>
            <p:cNvPr id="61" name="ZoneTexte 60">
              <a:extLst>
                <a:ext uri="{FF2B5EF4-FFF2-40B4-BE49-F238E27FC236}">
                  <a16:creationId xmlns:a16="http://schemas.microsoft.com/office/drawing/2014/main" id="{C9B059BF-D299-4C61-AB4C-16AC34780315}"/>
                </a:ext>
              </a:extLst>
            </p:cNvPr>
            <p:cNvSpPr txBox="1"/>
            <p:nvPr/>
          </p:nvSpPr>
          <p:spPr>
            <a:xfrm>
              <a:off x="912806" y="2620400"/>
              <a:ext cx="566005" cy="200055"/>
            </a:xfrm>
            <a:prstGeom prst="rect">
              <a:avLst/>
            </a:prstGeom>
            <a:noFill/>
          </p:spPr>
          <p:txBody>
            <a:bodyPr wrap="square" rtlCol="0">
              <a:spAutoFit/>
            </a:bodyPr>
            <a:lstStyle/>
            <a:p>
              <a:r>
                <a:rPr lang="en-GB" sz="700" b="1">
                  <a:latin typeface="+mj-lt"/>
                </a:rPr>
                <a:t>France</a:t>
              </a:r>
            </a:p>
          </p:txBody>
        </p:sp>
        <p:sp>
          <p:nvSpPr>
            <p:cNvPr id="150" name="ZoneTexte 149">
              <a:extLst>
                <a:ext uri="{FF2B5EF4-FFF2-40B4-BE49-F238E27FC236}">
                  <a16:creationId xmlns:a16="http://schemas.microsoft.com/office/drawing/2014/main" id="{B5009B96-6A4D-4884-90E4-52ED2EB0E4B4}"/>
                </a:ext>
              </a:extLst>
            </p:cNvPr>
            <p:cNvSpPr txBox="1"/>
            <p:nvPr/>
          </p:nvSpPr>
          <p:spPr>
            <a:xfrm>
              <a:off x="750692" y="2752490"/>
              <a:ext cx="721921" cy="221664"/>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800" b="1" i="0" u="none" strike="noStrike" kern="1200" cap="none" spc="0" normalizeH="0" baseline="0" noProof="0">
                  <a:ln>
                    <a:noFill/>
                  </a:ln>
                  <a:effectLst/>
                  <a:uLnTx/>
                  <a:uFillTx/>
                  <a:latin typeface="Trebuchet MS" panose="020B0603020202020204" pitchFamily="34" charset="0"/>
                  <a:ea typeface="+mn-ea"/>
                  <a:cs typeface="Arial" pitchFamily="34" charset="0"/>
                </a:rPr>
                <a:t>~€</a:t>
              </a:r>
              <a:r>
                <a:rPr lang="en-GB" sz="800" b="1">
                  <a:latin typeface="Trebuchet MS" panose="020B0603020202020204" pitchFamily="34" charset="0"/>
                </a:rPr>
                <a:t>287</a:t>
              </a:r>
              <a:r>
                <a:rPr kumimoji="0" lang="en-GB" sz="800" b="1" i="0" u="none" strike="noStrike" kern="1200" cap="none" spc="0" normalizeH="0" baseline="0" noProof="0">
                  <a:ln>
                    <a:noFill/>
                  </a:ln>
                  <a:effectLst/>
                  <a:uLnTx/>
                  <a:uFillTx/>
                  <a:latin typeface="Trebuchet MS" panose="020B0603020202020204" pitchFamily="34" charset="0"/>
                  <a:ea typeface="+mn-ea"/>
                  <a:cs typeface="Arial" pitchFamily="34" charset="0"/>
                </a:rPr>
                <a:t>m</a:t>
              </a:r>
            </a:p>
          </p:txBody>
        </p:sp>
      </p:grpSp>
      <p:grpSp>
        <p:nvGrpSpPr>
          <p:cNvPr id="15" name="Groupe 14">
            <a:extLst>
              <a:ext uri="{FF2B5EF4-FFF2-40B4-BE49-F238E27FC236}">
                <a16:creationId xmlns:a16="http://schemas.microsoft.com/office/drawing/2014/main" id="{CD4B764A-0EC9-4E58-BA43-319686F27EA4}"/>
              </a:ext>
            </a:extLst>
          </p:cNvPr>
          <p:cNvGrpSpPr/>
          <p:nvPr/>
        </p:nvGrpSpPr>
        <p:grpSpPr>
          <a:xfrm>
            <a:off x="396628" y="2248501"/>
            <a:ext cx="907077" cy="353754"/>
            <a:chOff x="2956798" y="1736829"/>
            <a:chExt cx="907077" cy="353754"/>
          </a:xfrm>
        </p:grpSpPr>
        <p:pic>
          <p:nvPicPr>
            <p:cNvPr id="59" name="Picture 2" descr="5 ft x 3 ft 150 x 90 cm-DRAPEAU BELGE Belgique 100% Polyester ...">
              <a:extLst>
                <a:ext uri="{FF2B5EF4-FFF2-40B4-BE49-F238E27FC236}">
                  <a16:creationId xmlns:a16="http://schemas.microsoft.com/office/drawing/2014/main" id="{4B7975B3-C54B-47FE-B016-CEC7C3251C68}"/>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973"/>
            <a:stretch/>
          </p:blipFill>
          <p:spPr bwMode="auto">
            <a:xfrm>
              <a:off x="2956798" y="1780749"/>
              <a:ext cx="203914" cy="128985"/>
            </a:xfrm>
            <a:prstGeom prst="roundRect">
              <a:avLst/>
            </a:prstGeom>
            <a:noFill/>
            <a:extLst>
              <a:ext uri="{909E8E84-426E-40DD-AFC4-6F175D3DCCD1}">
                <a14:hiddenFill xmlns:a14="http://schemas.microsoft.com/office/drawing/2010/main">
                  <a:solidFill>
                    <a:srgbClr val="FFFFFF"/>
                  </a:solidFill>
                </a14:hiddenFill>
              </a:ext>
            </a:extLst>
          </p:spPr>
        </p:pic>
        <p:sp>
          <p:nvSpPr>
            <p:cNvPr id="107" name="ZoneTexte 106">
              <a:extLst>
                <a:ext uri="{FF2B5EF4-FFF2-40B4-BE49-F238E27FC236}">
                  <a16:creationId xmlns:a16="http://schemas.microsoft.com/office/drawing/2014/main" id="{BD458A23-9E88-4881-956E-29AFB82B1C38}"/>
                </a:ext>
              </a:extLst>
            </p:cNvPr>
            <p:cNvSpPr txBox="1"/>
            <p:nvPr/>
          </p:nvSpPr>
          <p:spPr>
            <a:xfrm>
              <a:off x="3110522" y="1736829"/>
              <a:ext cx="753353" cy="200055"/>
            </a:xfrm>
            <a:prstGeom prst="rect">
              <a:avLst/>
            </a:prstGeom>
            <a:noFill/>
          </p:spPr>
          <p:txBody>
            <a:bodyPr wrap="square" rtlCol="0">
              <a:spAutoFit/>
            </a:bodyPr>
            <a:lstStyle/>
            <a:p>
              <a:r>
                <a:rPr lang="en-GB" sz="700" b="1">
                  <a:latin typeface="+mj-lt"/>
                </a:rPr>
                <a:t>Belgium</a:t>
              </a:r>
            </a:p>
          </p:txBody>
        </p:sp>
        <p:sp>
          <p:nvSpPr>
            <p:cNvPr id="151" name="ZoneTexte 150">
              <a:extLst>
                <a:ext uri="{FF2B5EF4-FFF2-40B4-BE49-F238E27FC236}">
                  <a16:creationId xmlns:a16="http://schemas.microsoft.com/office/drawing/2014/main" id="{C5FB69E2-C78D-42AB-843F-297843A83A1E}"/>
                </a:ext>
              </a:extLst>
            </p:cNvPr>
            <p:cNvSpPr txBox="1"/>
            <p:nvPr/>
          </p:nvSpPr>
          <p:spPr>
            <a:xfrm>
              <a:off x="3031394" y="1868919"/>
              <a:ext cx="721921" cy="221664"/>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800" b="1" i="0" u="none" strike="noStrike" kern="1200" cap="none" spc="0" normalizeH="0" baseline="0" noProof="0">
                  <a:ln>
                    <a:noFill/>
                  </a:ln>
                  <a:effectLst/>
                  <a:uLnTx/>
                  <a:uFillTx/>
                  <a:latin typeface="Trebuchet MS" panose="020B0603020202020204" pitchFamily="34" charset="0"/>
                  <a:ea typeface="+mn-ea"/>
                  <a:cs typeface="Arial" pitchFamily="34" charset="0"/>
                </a:rPr>
                <a:t>~€</a:t>
              </a:r>
              <a:r>
                <a:rPr lang="en-GB" sz="800" b="1">
                  <a:latin typeface="Trebuchet MS" panose="020B0603020202020204" pitchFamily="34" charset="0"/>
                </a:rPr>
                <a:t>79</a:t>
              </a:r>
              <a:r>
                <a:rPr kumimoji="0" lang="en-GB" sz="800" b="1" i="0" u="none" strike="noStrike" kern="1200" cap="none" spc="0" normalizeH="0" baseline="0" noProof="0">
                  <a:ln>
                    <a:noFill/>
                  </a:ln>
                  <a:effectLst/>
                  <a:uLnTx/>
                  <a:uFillTx/>
                  <a:latin typeface="Trebuchet MS" panose="020B0603020202020204" pitchFamily="34" charset="0"/>
                  <a:ea typeface="+mn-ea"/>
                  <a:cs typeface="Arial" pitchFamily="34" charset="0"/>
                </a:rPr>
                <a:t>m</a:t>
              </a:r>
            </a:p>
          </p:txBody>
        </p:sp>
      </p:grpSp>
      <p:grpSp>
        <p:nvGrpSpPr>
          <p:cNvPr id="9" name="Groupe 8">
            <a:extLst>
              <a:ext uri="{FF2B5EF4-FFF2-40B4-BE49-F238E27FC236}">
                <a16:creationId xmlns:a16="http://schemas.microsoft.com/office/drawing/2014/main" id="{20EFD478-C65C-4782-BF4D-20D79C2389B9}"/>
              </a:ext>
            </a:extLst>
          </p:cNvPr>
          <p:cNvGrpSpPr/>
          <p:nvPr/>
        </p:nvGrpSpPr>
        <p:grpSpPr>
          <a:xfrm>
            <a:off x="395855" y="2783347"/>
            <a:ext cx="916464" cy="353754"/>
            <a:chOff x="1612403" y="2620400"/>
            <a:chExt cx="916464" cy="353754"/>
          </a:xfrm>
        </p:grpSpPr>
        <p:pic>
          <p:nvPicPr>
            <p:cNvPr id="58" name="Picture 2 - 1" descr="Drapeau des Pays-Bas — Wikipédia">
              <a:extLst>
                <a:ext uri="{FF2B5EF4-FFF2-40B4-BE49-F238E27FC236}">
                  <a16:creationId xmlns:a16="http://schemas.microsoft.com/office/drawing/2014/main" id="{3CF3FA9B-47E3-4C06-B539-5F2DFF46E0A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612403" y="2664320"/>
              <a:ext cx="203912" cy="128985"/>
            </a:xfrm>
            <a:prstGeom prst="roundRect">
              <a:avLst/>
            </a:prstGeom>
            <a:noFill/>
            <a:extLst>
              <a:ext uri="{909E8E84-426E-40DD-AFC4-6F175D3DCCD1}">
                <a14:hiddenFill xmlns:a14="http://schemas.microsoft.com/office/drawing/2010/main">
                  <a:solidFill>
                    <a:srgbClr val="FFFFFF"/>
                  </a:solidFill>
                </a14:hiddenFill>
              </a:ext>
            </a:extLst>
          </p:spPr>
        </p:pic>
        <p:sp>
          <p:nvSpPr>
            <p:cNvPr id="63" name="ZoneTexte 62">
              <a:extLst>
                <a:ext uri="{FF2B5EF4-FFF2-40B4-BE49-F238E27FC236}">
                  <a16:creationId xmlns:a16="http://schemas.microsoft.com/office/drawing/2014/main" id="{9BA37649-E45D-4D10-AFEA-95D895A5583F}"/>
                </a:ext>
              </a:extLst>
            </p:cNvPr>
            <p:cNvSpPr txBox="1"/>
            <p:nvPr/>
          </p:nvSpPr>
          <p:spPr>
            <a:xfrm>
              <a:off x="1775514" y="2620400"/>
              <a:ext cx="753353" cy="200055"/>
            </a:xfrm>
            <a:prstGeom prst="rect">
              <a:avLst/>
            </a:prstGeom>
            <a:noFill/>
          </p:spPr>
          <p:txBody>
            <a:bodyPr wrap="square" rtlCol="0">
              <a:spAutoFit/>
            </a:bodyPr>
            <a:lstStyle/>
            <a:p>
              <a:r>
                <a:rPr lang="en-GB" sz="700" b="1">
                  <a:latin typeface="+mj-lt"/>
                </a:rPr>
                <a:t>Netherlands</a:t>
              </a:r>
            </a:p>
          </p:txBody>
        </p:sp>
        <p:sp>
          <p:nvSpPr>
            <p:cNvPr id="156" name="ZoneTexte 155">
              <a:extLst>
                <a:ext uri="{FF2B5EF4-FFF2-40B4-BE49-F238E27FC236}">
                  <a16:creationId xmlns:a16="http://schemas.microsoft.com/office/drawing/2014/main" id="{E8B4B5F8-ED28-4DBA-A8BA-C0FA94F1E630}"/>
                </a:ext>
              </a:extLst>
            </p:cNvPr>
            <p:cNvSpPr txBox="1"/>
            <p:nvPr/>
          </p:nvSpPr>
          <p:spPr>
            <a:xfrm>
              <a:off x="1743305" y="2752490"/>
              <a:ext cx="721921" cy="221664"/>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800" b="1" i="0" u="none" strike="noStrike" kern="1200" cap="none" spc="0" normalizeH="0" baseline="0" noProof="0">
                  <a:ln>
                    <a:noFill/>
                  </a:ln>
                  <a:effectLst/>
                  <a:uLnTx/>
                  <a:uFillTx/>
                  <a:latin typeface="Trebuchet MS" panose="020B0603020202020204" pitchFamily="34" charset="0"/>
                  <a:ea typeface="+mn-ea"/>
                  <a:cs typeface="Arial" pitchFamily="34" charset="0"/>
                </a:rPr>
                <a:t>~€151m</a:t>
              </a:r>
            </a:p>
          </p:txBody>
        </p:sp>
      </p:grpSp>
      <p:sp>
        <p:nvSpPr>
          <p:cNvPr id="26" name="Flèche : double flèche horizontale 25">
            <a:extLst>
              <a:ext uri="{FF2B5EF4-FFF2-40B4-BE49-F238E27FC236}">
                <a16:creationId xmlns:a16="http://schemas.microsoft.com/office/drawing/2014/main" id="{0E92E948-7C54-4125-A61C-DE37D0920822}"/>
              </a:ext>
            </a:extLst>
          </p:cNvPr>
          <p:cNvSpPr/>
          <p:nvPr/>
        </p:nvSpPr>
        <p:spPr bwMode="auto">
          <a:xfrm rot="5400000">
            <a:off x="6101294" y="4495398"/>
            <a:ext cx="1155234" cy="83740"/>
          </a:xfrm>
          <a:prstGeom prst="leftRight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1" name="ZoneTexte 80">
            <a:extLst>
              <a:ext uri="{FF2B5EF4-FFF2-40B4-BE49-F238E27FC236}">
                <a16:creationId xmlns:a16="http://schemas.microsoft.com/office/drawing/2014/main" id="{4F1E6CCC-F5B5-4C99-8640-CC6FDDEE1E91}"/>
              </a:ext>
            </a:extLst>
          </p:cNvPr>
          <p:cNvSpPr txBox="1"/>
          <p:nvPr/>
        </p:nvSpPr>
        <p:spPr>
          <a:xfrm>
            <a:off x="6018111" y="4418503"/>
            <a:ext cx="760924" cy="646331"/>
          </a:xfrm>
          <a:prstGeom prst="rect">
            <a:avLst/>
          </a:prstGeom>
          <a:noFill/>
          <a:effectLst/>
        </p:spPr>
        <p:txBody>
          <a:bodyPr wrap="square" rtlCol="0">
            <a:spAutoFit/>
          </a:bodyPr>
          <a:lstStyle/>
          <a:p>
            <a:pPr algn="ctr"/>
            <a:r>
              <a:rPr lang="en-GB" sz="900" i="1" err="1">
                <a:latin typeface="Trebuchet MS" panose="020B0603020202020204" pitchFamily="34" charset="0"/>
              </a:rPr>
              <a:t>Altares</a:t>
            </a:r>
            <a:r>
              <a:rPr lang="en-GB" sz="900" i="1">
                <a:latin typeface="Trebuchet MS" panose="020B0603020202020204" pitchFamily="34" charset="0"/>
              </a:rPr>
              <a:t>’ targeted client segment</a:t>
            </a:r>
          </a:p>
        </p:txBody>
      </p:sp>
      <p:grpSp>
        <p:nvGrpSpPr>
          <p:cNvPr id="25" name="Groupe 24">
            <a:extLst>
              <a:ext uri="{FF2B5EF4-FFF2-40B4-BE49-F238E27FC236}">
                <a16:creationId xmlns:a16="http://schemas.microsoft.com/office/drawing/2014/main" id="{6C8EFB06-E079-4AFE-B73E-9EA259F0EB0B}"/>
              </a:ext>
            </a:extLst>
          </p:cNvPr>
          <p:cNvGrpSpPr/>
          <p:nvPr/>
        </p:nvGrpSpPr>
        <p:grpSpPr>
          <a:xfrm>
            <a:off x="8448150" y="-11528"/>
            <a:ext cx="1435548" cy="711253"/>
            <a:chOff x="8448150" y="-11528"/>
            <a:chExt cx="1435548" cy="711253"/>
          </a:xfrm>
        </p:grpSpPr>
        <p:grpSp>
          <p:nvGrpSpPr>
            <p:cNvPr id="21" name="Groupe 20">
              <a:extLst>
                <a:ext uri="{FF2B5EF4-FFF2-40B4-BE49-F238E27FC236}">
                  <a16:creationId xmlns:a16="http://schemas.microsoft.com/office/drawing/2014/main" id="{FE07E5F5-6C92-4E9B-A9D9-D54094C5A1D2}"/>
                </a:ext>
              </a:extLst>
            </p:cNvPr>
            <p:cNvGrpSpPr/>
            <p:nvPr/>
          </p:nvGrpSpPr>
          <p:grpSpPr>
            <a:xfrm>
              <a:off x="8448150" y="-11528"/>
              <a:ext cx="1435548" cy="555653"/>
              <a:chOff x="8448150" y="-11528"/>
              <a:chExt cx="1435548" cy="555653"/>
            </a:xfrm>
          </p:grpSpPr>
          <p:sp>
            <p:nvSpPr>
              <p:cNvPr id="4" name="Rectangle : coins arrondis 199">
                <a:extLst>
                  <a:ext uri="{FF2B5EF4-FFF2-40B4-BE49-F238E27FC236}">
                    <a16:creationId xmlns:a16="http://schemas.microsoft.com/office/drawing/2014/main" id="{1769F871-8B2E-445A-BD09-BAFAFE505D49}"/>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 name="Rectangle : coins arrondis 200">
                <a:extLst>
                  <a:ext uri="{FF2B5EF4-FFF2-40B4-BE49-F238E27FC236}">
                    <a16:creationId xmlns:a16="http://schemas.microsoft.com/office/drawing/2014/main" id="{1EA5CD55-EE2E-4832-AC40-CEDFD622217D}"/>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 name="Rectangle : coins arrondis 201">
                <a:extLst>
                  <a:ext uri="{FF2B5EF4-FFF2-40B4-BE49-F238E27FC236}">
                    <a16:creationId xmlns:a16="http://schemas.microsoft.com/office/drawing/2014/main" id="{3F29675B-5805-49FA-BA92-1A11B633D877}"/>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 name="ZoneTexte 18">
                <a:extLst>
                  <a:ext uri="{FF2B5EF4-FFF2-40B4-BE49-F238E27FC236}">
                    <a16:creationId xmlns:a16="http://schemas.microsoft.com/office/drawing/2014/main" id="{18947DD1-81A4-4A04-A5E8-870882608D9B}"/>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1" name="Graphique 128" descr="Jauge">
                <a:extLst>
                  <a:ext uri="{FF2B5EF4-FFF2-40B4-BE49-F238E27FC236}">
                    <a16:creationId xmlns:a16="http://schemas.microsoft.com/office/drawing/2014/main" id="{22493356-097E-4BB9-ABCE-A4E182A7C62B}"/>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553764" y="187516"/>
                <a:ext cx="234953" cy="218224"/>
              </a:xfrm>
              <a:prstGeom prst="rect">
                <a:avLst/>
              </a:prstGeom>
              <a:effectLst/>
            </p:spPr>
          </p:pic>
          <p:pic>
            <p:nvPicPr>
              <p:cNvPr id="12" name="Graphique 90" descr="Poignée de main">
                <a:extLst>
                  <a:ext uri="{FF2B5EF4-FFF2-40B4-BE49-F238E27FC236}">
                    <a16:creationId xmlns:a16="http://schemas.microsoft.com/office/drawing/2014/main" id="{174055F3-A679-49CE-A82E-B623F410FB3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960868" y="152880"/>
                <a:ext cx="256313" cy="287496"/>
              </a:xfrm>
              <a:prstGeom prst="rect">
                <a:avLst/>
              </a:prstGeom>
              <a:effectLst/>
            </p:spPr>
          </p:pic>
          <p:pic>
            <p:nvPicPr>
              <p:cNvPr id="13" name="Graphique 74" descr="Mégaphone">
                <a:extLst>
                  <a:ext uri="{FF2B5EF4-FFF2-40B4-BE49-F238E27FC236}">
                    <a16:creationId xmlns:a16="http://schemas.microsoft.com/office/drawing/2014/main" id="{9134D4BC-EDF0-4A23-9E1A-53242660B81F}"/>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9389331" y="181519"/>
                <a:ext cx="233011" cy="216420"/>
              </a:xfrm>
              <a:prstGeom prst="rect">
                <a:avLst/>
              </a:prstGeom>
              <a:effectLst/>
            </p:spPr>
          </p:pic>
          <p:pic>
            <p:nvPicPr>
              <p:cNvPr id="14" name="Picture 2" descr="Drapeau France">
                <a:extLst>
                  <a:ext uri="{FF2B5EF4-FFF2-40B4-BE49-F238E27FC236}">
                    <a16:creationId xmlns:a16="http://schemas.microsoft.com/office/drawing/2014/main" id="{F0EF71D0-AB92-4DE6-8FFF-702DCA1DE97E}"/>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6" name="Picture 2" descr="5 ft x 3 ft 150 x 90 cm-DRAPEAU BELGE Belgique 100% Polyester ...">
                <a:extLst>
                  <a:ext uri="{FF2B5EF4-FFF2-40B4-BE49-F238E27FC236}">
                    <a16:creationId xmlns:a16="http://schemas.microsoft.com/office/drawing/2014/main" id="{67E0389A-6373-4E00-8CFD-15AD42DD1731}"/>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7" name="Picture 2 - 1" descr="Drapeau des Pays-Bas — Wikipédia">
                <a:extLst>
                  <a:ext uri="{FF2B5EF4-FFF2-40B4-BE49-F238E27FC236}">
                    <a16:creationId xmlns:a16="http://schemas.microsoft.com/office/drawing/2014/main" id="{882B5EDF-6386-4318-96D0-B9AB22EF0E35}"/>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8" name="Picture 2 - 2" descr="Drapeau du Luxembourg">
                <a:extLst>
                  <a:ext uri="{FF2B5EF4-FFF2-40B4-BE49-F238E27FC236}">
                    <a16:creationId xmlns:a16="http://schemas.microsoft.com/office/drawing/2014/main" id="{DF64FEE8-026F-4163-90F0-00A1F0D76B4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72" name="ZoneTexte 18">
              <a:extLst>
                <a:ext uri="{FF2B5EF4-FFF2-40B4-BE49-F238E27FC236}">
                  <a16:creationId xmlns:a16="http://schemas.microsoft.com/office/drawing/2014/main" id="{7ED8CEDC-8765-41B6-A34E-5E7F88FFC7ED}"/>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Global market assessment</a:t>
              </a:r>
            </a:p>
          </p:txBody>
        </p:sp>
      </p:grpSp>
      <p:cxnSp>
        <p:nvCxnSpPr>
          <p:cNvPr id="29" name="Connecteur droit 28">
            <a:extLst>
              <a:ext uri="{FF2B5EF4-FFF2-40B4-BE49-F238E27FC236}">
                <a16:creationId xmlns:a16="http://schemas.microsoft.com/office/drawing/2014/main" id="{54DF1807-E581-45A0-BA78-78BC2D07B122}"/>
              </a:ext>
            </a:extLst>
          </p:cNvPr>
          <p:cNvCxnSpPr/>
          <p:nvPr/>
        </p:nvCxnSpPr>
        <p:spPr bwMode="auto">
          <a:xfrm flipV="1">
            <a:off x="1044969" y="3666427"/>
            <a:ext cx="313625" cy="4848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33" name="Connecteur droit 132">
            <a:extLst>
              <a:ext uri="{FF2B5EF4-FFF2-40B4-BE49-F238E27FC236}">
                <a16:creationId xmlns:a16="http://schemas.microsoft.com/office/drawing/2014/main" id="{4B2650D0-25D5-4A8F-B08A-43B3E07C58A6}"/>
              </a:ext>
            </a:extLst>
          </p:cNvPr>
          <p:cNvCxnSpPr>
            <a:cxnSpLocks/>
          </p:cNvCxnSpPr>
          <p:nvPr/>
        </p:nvCxnSpPr>
        <p:spPr bwMode="auto">
          <a:xfrm flipV="1">
            <a:off x="1248678" y="2990233"/>
            <a:ext cx="109916" cy="36036"/>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35" name="Connecteur droit 134">
            <a:extLst>
              <a:ext uri="{FF2B5EF4-FFF2-40B4-BE49-F238E27FC236}">
                <a16:creationId xmlns:a16="http://schemas.microsoft.com/office/drawing/2014/main" id="{CAD72492-2609-42B1-801A-56BCF0611603}"/>
              </a:ext>
            </a:extLst>
          </p:cNvPr>
          <p:cNvCxnSpPr>
            <a:cxnSpLocks/>
          </p:cNvCxnSpPr>
          <p:nvPr/>
        </p:nvCxnSpPr>
        <p:spPr bwMode="auto">
          <a:xfrm flipV="1">
            <a:off x="1193145" y="2391508"/>
            <a:ext cx="191490" cy="99915"/>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36" name="Connecteur droit 135">
            <a:extLst>
              <a:ext uri="{FF2B5EF4-FFF2-40B4-BE49-F238E27FC236}">
                <a16:creationId xmlns:a16="http://schemas.microsoft.com/office/drawing/2014/main" id="{4122FB23-B775-48E3-BCC4-508EC05E0372}"/>
              </a:ext>
            </a:extLst>
          </p:cNvPr>
          <p:cNvCxnSpPr>
            <a:cxnSpLocks/>
          </p:cNvCxnSpPr>
          <p:nvPr/>
        </p:nvCxnSpPr>
        <p:spPr bwMode="auto">
          <a:xfrm flipV="1">
            <a:off x="1193145" y="2161344"/>
            <a:ext cx="239592" cy="6833"/>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37" name="Rectangle 136">
            <a:extLst>
              <a:ext uri="{FF2B5EF4-FFF2-40B4-BE49-F238E27FC236}">
                <a16:creationId xmlns:a16="http://schemas.microsoft.com/office/drawing/2014/main" id="{3A4BBA4A-35A4-446D-9CBE-B5F06DD9BADB}"/>
              </a:ext>
            </a:extLst>
          </p:cNvPr>
          <p:cNvSpPr/>
          <p:nvPr/>
        </p:nvSpPr>
        <p:spPr bwMode="auto">
          <a:xfrm>
            <a:off x="4078985" y="2533473"/>
            <a:ext cx="1877863" cy="1698073"/>
          </a:xfrm>
          <a:prstGeom prst="rect">
            <a:avLst/>
          </a:prstGeom>
          <a:solidFill>
            <a:srgbClr val="F2F2F2"/>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2"/>
              </a:solidFill>
              <a:effectLst/>
              <a:latin typeface="Trebuchet MS" panose="020B0603020202020204" pitchFamily="34" charset="0"/>
            </a:endParaRPr>
          </a:p>
          <a:p>
            <a:pPr marL="534988" marR="0" defTabSz="534988"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Credit &amp; financial risk</a:t>
            </a:r>
          </a:p>
          <a:p>
            <a:pPr marL="534988" marR="0" defTabSz="534988" rtl="0" eaLnBrk="1" fontAlgn="base" latinLnBrk="0" hangingPunct="1">
              <a:lnSpc>
                <a:spcPct val="100000"/>
              </a:lnSpc>
              <a:spcBef>
                <a:spcPct val="0"/>
              </a:spcBef>
              <a:spcAft>
                <a:spcPct val="0"/>
              </a:spcAft>
              <a:buClrTx/>
              <a:buSzTx/>
              <a:buFontTx/>
              <a:buNone/>
            </a:pPr>
            <a:r>
              <a:rPr lang="en-GB" sz="1000">
                <a:solidFill>
                  <a:schemeClr val="tx2"/>
                </a:solidFill>
                <a:latin typeface="Trebuchet MS" panose="020B0603020202020204" pitchFamily="34" charset="0"/>
              </a:rPr>
              <a:t>~€341m</a:t>
            </a:r>
          </a:p>
          <a:p>
            <a:pPr marL="534988" marR="0" defTabSz="534988" rtl="0" eaLnBrk="1" fontAlgn="base" latinLnBrk="0" hangingPunct="1">
              <a:lnSpc>
                <a:spcPct val="100000"/>
              </a:lnSpc>
              <a:spcBef>
                <a:spcPct val="0"/>
              </a:spcBef>
              <a:spcAft>
                <a:spcPct val="0"/>
              </a:spcAft>
              <a:buClrTx/>
              <a:buSzTx/>
              <a:buFontTx/>
              <a:buNone/>
            </a:pPr>
            <a:endParaRPr lang="en-GB" sz="1000">
              <a:solidFill>
                <a:schemeClr val="tx2"/>
              </a:solidFill>
              <a:latin typeface="Trebuchet MS" panose="020B0603020202020204" pitchFamily="34" charset="0"/>
            </a:endParaRPr>
          </a:p>
          <a:p>
            <a:pPr marL="534988" marR="0" defTabSz="914400" rtl="0" eaLnBrk="1" fontAlgn="base" latinLnBrk="0" hangingPunct="1">
              <a:lnSpc>
                <a:spcPct val="100000"/>
              </a:lnSpc>
              <a:spcBef>
                <a:spcPct val="0"/>
              </a:spcBef>
              <a:spcAft>
                <a:spcPct val="0"/>
              </a:spcAft>
              <a:buClrTx/>
              <a:buSzTx/>
              <a:buFontTx/>
              <a:buNone/>
              <a:tabLst/>
            </a:pPr>
            <a:endParaRPr lang="en-GB" sz="1000">
              <a:latin typeface="Trebuchet MS" panose="020B0603020202020204" pitchFamily="34" charset="0"/>
            </a:endParaRPr>
          </a:p>
          <a:p>
            <a:pPr marL="534988" marR="0"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Compliance</a:t>
            </a:r>
          </a:p>
          <a:p>
            <a:pPr marL="534988" marR="0" defTabSz="914400" rtl="0" eaLnBrk="1" fontAlgn="base" latinLnBrk="0" hangingPunct="1">
              <a:lnSpc>
                <a:spcPct val="100000"/>
              </a:lnSpc>
              <a:spcBef>
                <a:spcPct val="0"/>
              </a:spcBef>
              <a:spcAft>
                <a:spcPct val="0"/>
              </a:spcAft>
              <a:buClrTx/>
              <a:buSzTx/>
              <a:buFontTx/>
              <a:buNone/>
              <a:tabLst/>
            </a:pPr>
            <a:r>
              <a:rPr lang="en-GB" sz="1000">
                <a:solidFill>
                  <a:schemeClr val="tx2"/>
                </a:solidFill>
                <a:latin typeface="Trebuchet MS" panose="020B0603020202020204" pitchFamily="34" charset="0"/>
              </a:rPr>
              <a:t>~€35m</a:t>
            </a:r>
          </a:p>
          <a:p>
            <a:pPr marL="534988" marR="0" defTabSz="914400" rtl="0" eaLnBrk="1" fontAlgn="base" latinLnBrk="0" hangingPunct="1">
              <a:lnSpc>
                <a:spcPct val="100000"/>
              </a:lnSpc>
              <a:spcBef>
                <a:spcPct val="0"/>
              </a:spcBef>
              <a:spcAft>
                <a:spcPct val="0"/>
              </a:spcAft>
              <a:buClrTx/>
              <a:buSzTx/>
              <a:buFontTx/>
              <a:buNone/>
              <a:tabLst/>
            </a:pPr>
            <a:endParaRPr lang="en-GB" sz="1000">
              <a:solidFill>
                <a:schemeClr val="tx2"/>
              </a:solidFill>
              <a:latin typeface="Trebuchet MS" panose="020B0603020202020204" pitchFamily="34" charset="0"/>
            </a:endParaRPr>
          </a:p>
          <a:p>
            <a:pPr marL="534988" marR="0" defTabSz="914400" rtl="0" eaLnBrk="1" fontAlgn="base" latinLnBrk="0" hangingPunct="1">
              <a:lnSpc>
                <a:spcPct val="100000"/>
              </a:lnSpc>
              <a:spcBef>
                <a:spcPct val="0"/>
              </a:spcBef>
              <a:spcAft>
                <a:spcPct val="0"/>
              </a:spcAft>
              <a:buClrTx/>
              <a:buSzTx/>
              <a:buFontTx/>
              <a:buNone/>
              <a:tabLst/>
            </a:pPr>
            <a:endParaRPr lang="en-GB" sz="1000">
              <a:solidFill>
                <a:schemeClr val="tx2"/>
              </a:solidFill>
              <a:latin typeface="Trebuchet MS" panose="020B0603020202020204" pitchFamily="34" charset="0"/>
            </a:endParaRPr>
          </a:p>
          <a:p>
            <a:pPr marL="534988" marR="0"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B2B Marketing</a:t>
            </a:r>
          </a:p>
          <a:p>
            <a:pPr marL="534988" marR="0" defTabSz="914400" rtl="0" eaLnBrk="1" fontAlgn="base" latinLnBrk="0" hangingPunct="1">
              <a:lnSpc>
                <a:spcPct val="100000"/>
              </a:lnSpc>
              <a:spcBef>
                <a:spcPct val="0"/>
              </a:spcBef>
              <a:spcAft>
                <a:spcPct val="0"/>
              </a:spcAft>
              <a:buClrTx/>
              <a:buSzTx/>
              <a:buFontTx/>
              <a:buNone/>
              <a:tabLst/>
            </a:pPr>
            <a:r>
              <a:rPr lang="en-GB" sz="1000">
                <a:solidFill>
                  <a:schemeClr val="tx2"/>
                </a:solidFill>
                <a:latin typeface="Trebuchet MS" panose="020B0603020202020204" pitchFamily="34" charset="0"/>
              </a:rPr>
              <a:t>~€146m</a:t>
            </a:r>
          </a:p>
          <a:p>
            <a:pPr marL="0" marR="0" indent="0"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2"/>
              </a:solidFill>
              <a:effectLst/>
              <a:latin typeface="Trebuchet MS" panose="020B0603020202020204" pitchFamily="34" charset="0"/>
            </a:endParaRPr>
          </a:p>
        </p:txBody>
      </p:sp>
      <p:cxnSp>
        <p:nvCxnSpPr>
          <p:cNvPr id="142" name="Straight Connector 131">
            <a:extLst>
              <a:ext uri="{FF2B5EF4-FFF2-40B4-BE49-F238E27FC236}">
                <a16:creationId xmlns:a16="http://schemas.microsoft.com/office/drawing/2014/main" id="{004AB576-6BE1-40D8-AD0B-44F3095366A1}"/>
              </a:ext>
            </a:extLst>
          </p:cNvPr>
          <p:cNvCxnSpPr>
            <a:cxnSpLocks/>
          </p:cNvCxnSpPr>
          <p:nvPr>
            <p:custDataLst>
              <p:tags r:id="rId5"/>
            </p:custDataLst>
          </p:nvPr>
        </p:nvCxnSpPr>
        <p:spPr bwMode="auto">
          <a:xfrm>
            <a:off x="1618148" y="4914934"/>
            <a:ext cx="246671" cy="107787"/>
          </a:xfrm>
          <a:prstGeom prst="line">
            <a:avLst/>
          </a:prstGeom>
          <a:solidFill>
            <a:schemeClr val="accent1"/>
          </a:solidFill>
          <a:ln w="9525" cap="flat" cmpd="sng" algn="ctr">
            <a:solidFill>
              <a:schemeClr val="tx1"/>
            </a:solidFill>
            <a:prstDash val="dash"/>
            <a:round/>
            <a:headEnd type="none" w="med" len="med"/>
            <a:tailEnd type="triangle"/>
          </a:ln>
          <a:effectLst/>
        </p:spPr>
      </p:cxnSp>
      <p:cxnSp>
        <p:nvCxnSpPr>
          <p:cNvPr id="143" name="Straight Connector 131">
            <a:extLst>
              <a:ext uri="{FF2B5EF4-FFF2-40B4-BE49-F238E27FC236}">
                <a16:creationId xmlns:a16="http://schemas.microsoft.com/office/drawing/2014/main" id="{5FACC68F-636A-4ECF-98F7-CA807E92C153}"/>
              </a:ext>
            </a:extLst>
          </p:cNvPr>
          <p:cNvCxnSpPr>
            <a:cxnSpLocks/>
          </p:cNvCxnSpPr>
          <p:nvPr>
            <p:custDataLst>
              <p:tags r:id="rId6"/>
            </p:custDataLst>
          </p:nvPr>
        </p:nvCxnSpPr>
        <p:spPr bwMode="auto">
          <a:xfrm flipV="1">
            <a:off x="1846178" y="4890484"/>
            <a:ext cx="229522" cy="114935"/>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44" name="ZoneTexte 146">
            <a:extLst>
              <a:ext uri="{FF2B5EF4-FFF2-40B4-BE49-F238E27FC236}">
                <a16:creationId xmlns:a16="http://schemas.microsoft.com/office/drawing/2014/main" id="{ECEE62FD-5541-4B53-B3BC-C37BB925B102}"/>
              </a:ext>
            </a:extLst>
          </p:cNvPr>
          <p:cNvSpPr txBox="1"/>
          <p:nvPr/>
        </p:nvSpPr>
        <p:spPr>
          <a:xfrm>
            <a:off x="1383995" y="4697657"/>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2.3%</a:t>
            </a:r>
          </a:p>
        </p:txBody>
      </p:sp>
      <p:sp>
        <p:nvSpPr>
          <p:cNvPr id="145" name="ZoneTexte 146">
            <a:extLst>
              <a:ext uri="{FF2B5EF4-FFF2-40B4-BE49-F238E27FC236}">
                <a16:creationId xmlns:a16="http://schemas.microsoft.com/office/drawing/2014/main" id="{FF36A1D0-0768-4618-B6D5-1BC61A898E42}"/>
              </a:ext>
            </a:extLst>
          </p:cNvPr>
          <p:cNvSpPr txBox="1"/>
          <p:nvPr/>
        </p:nvSpPr>
        <p:spPr>
          <a:xfrm>
            <a:off x="1812826" y="4697657"/>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lang="en-GB" sz="900">
                <a:latin typeface="Trebuchet MS" panose="020B0603020202020204" pitchFamily="34" charset="0"/>
              </a:rPr>
              <a:t>+3.3%</a:t>
            </a:r>
            <a:endPar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endParaRPr>
          </a:p>
        </p:txBody>
      </p:sp>
      <p:sp>
        <p:nvSpPr>
          <p:cNvPr id="85" name="Rectangle : coins arrondis 199">
            <a:extLst>
              <a:ext uri="{FF2B5EF4-FFF2-40B4-BE49-F238E27FC236}">
                <a16:creationId xmlns:a16="http://schemas.microsoft.com/office/drawing/2014/main" id="{8C277912-D391-45B9-9B4A-B7082FB05D18}"/>
              </a:ext>
            </a:extLst>
          </p:cNvPr>
          <p:cNvSpPr/>
          <p:nvPr/>
        </p:nvSpPr>
        <p:spPr bwMode="auto">
          <a:xfrm>
            <a:off x="4177123" y="2641648"/>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8" name="Rectangle : coins arrondis 200">
            <a:extLst>
              <a:ext uri="{FF2B5EF4-FFF2-40B4-BE49-F238E27FC236}">
                <a16:creationId xmlns:a16="http://schemas.microsoft.com/office/drawing/2014/main" id="{E6DDC46B-7748-4935-B180-4705B6A872B3}"/>
              </a:ext>
            </a:extLst>
          </p:cNvPr>
          <p:cNvSpPr/>
          <p:nvPr/>
        </p:nvSpPr>
        <p:spPr bwMode="auto">
          <a:xfrm>
            <a:off x="4177123" y="3222117"/>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0" name="Rectangle : coins arrondis 201">
            <a:extLst>
              <a:ext uri="{FF2B5EF4-FFF2-40B4-BE49-F238E27FC236}">
                <a16:creationId xmlns:a16="http://schemas.microsoft.com/office/drawing/2014/main" id="{76CDCAC3-E573-4933-A873-C953696FB512}"/>
              </a:ext>
            </a:extLst>
          </p:cNvPr>
          <p:cNvSpPr/>
          <p:nvPr/>
        </p:nvSpPr>
        <p:spPr bwMode="auto">
          <a:xfrm>
            <a:off x="4177123" y="384881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pic>
        <p:nvPicPr>
          <p:cNvPr id="92" name="Graphique 128" descr="Jauge">
            <a:extLst>
              <a:ext uri="{FF2B5EF4-FFF2-40B4-BE49-F238E27FC236}">
                <a16:creationId xmlns:a16="http://schemas.microsoft.com/office/drawing/2014/main" id="{BAF06680-FA22-4B80-9266-418ED84D5BB5}"/>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4227446" y="2633129"/>
            <a:ext cx="234953" cy="218224"/>
          </a:xfrm>
          <a:prstGeom prst="rect">
            <a:avLst/>
          </a:prstGeom>
          <a:effectLst/>
        </p:spPr>
      </p:pic>
      <p:pic>
        <p:nvPicPr>
          <p:cNvPr id="93" name="Graphique 90" descr="Poignée de main">
            <a:extLst>
              <a:ext uri="{FF2B5EF4-FFF2-40B4-BE49-F238E27FC236}">
                <a16:creationId xmlns:a16="http://schemas.microsoft.com/office/drawing/2014/main" id="{58AE4F08-A0CA-447D-BD02-92BFEDAC5B20}"/>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4216766" y="3178962"/>
            <a:ext cx="256313" cy="287496"/>
          </a:xfrm>
          <a:prstGeom prst="rect">
            <a:avLst/>
          </a:prstGeom>
          <a:effectLst/>
        </p:spPr>
      </p:pic>
      <p:pic>
        <p:nvPicPr>
          <p:cNvPr id="94" name="Graphique 74" descr="Mégaphone">
            <a:extLst>
              <a:ext uri="{FF2B5EF4-FFF2-40B4-BE49-F238E27FC236}">
                <a16:creationId xmlns:a16="http://schemas.microsoft.com/office/drawing/2014/main" id="{AD1AB24F-DE35-4F62-9EB5-60F6D4278BF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228417" y="3834299"/>
            <a:ext cx="233011" cy="216420"/>
          </a:xfrm>
          <a:prstGeom prst="rect">
            <a:avLst/>
          </a:prstGeom>
          <a:effectLst/>
        </p:spPr>
      </p:pic>
      <p:sp>
        <p:nvSpPr>
          <p:cNvPr id="146" name="Rectangle 145">
            <a:extLst>
              <a:ext uri="{FF2B5EF4-FFF2-40B4-BE49-F238E27FC236}">
                <a16:creationId xmlns:a16="http://schemas.microsoft.com/office/drawing/2014/main" id="{4491C46B-90F0-40A3-8169-DEDD6E65C300}"/>
              </a:ext>
            </a:extLst>
          </p:cNvPr>
          <p:cNvSpPr/>
          <p:nvPr/>
        </p:nvSpPr>
        <p:spPr bwMode="auto">
          <a:xfrm>
            <a:off x="6756772" y="5157386"/>
            <a:ext cx="660857" cy="556364"/>
          </a:xfrm>
          <a:prstGeom prst="rect">
            <a:avLst/>
          </a:prstGeom>
          <a:solidFill>
            <a:schemeClr val="bg1"/>
          </a:solidFill>
          <a:ln w="9525" cap="flat" cmpd="sng" algn="ctr">
            <a:solidFill>
              <a:schemeClr val="accent1">
                <a:lumMod val="20000"/>
                <a:lumOff val="80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50" b="1">
              <a:solidFill>
                <a:schemeClr val="accent1">
                  <a:lumMod val="60000"/>
                  <a:lumOff val="40000"/>
                </a:schemeClr>
              </a:solidFill>
              <a:latin typeface="Trebuchet MS" panose="020B0603020202020204" pitchFamily="34" charset="0"/>
            </a:endParaRPr>
          </a:p>
          <a:p>
            <a:pPr algn="ctr"/>
            <a:r>
              <a:rPr lang="en-GB" sz="1050" b="1">
                <a:solidFill>
                  <a:schemeClr val="accent1">
                    <a:lumMod val="40000"/>
                    <a:lumOff val="60000"/>
                  </a:schemeClr>
                </a:solidFill>
                <a:latin typeface="Trebuchet MS" panose="020B0603020202020204" pitchFamily="34" charset="0"/>
              </a:rPr>
              <a:t>Mid market</a:t>
            </a:r>
          </a:p>
        </p:txBody>
      </p:sp>
      <p:pic>
        <p:nvPicPr>
          <p:cNvPr id="148" name="Graphique 63">
            <a:extLst>
              <a:ext uri="{FF2B5EF4-FFF2-40B4-BE49-F238E27FC236}">
                <a16:creationId xmlns:a16="http://schemas.microsoft.com/office/drawing/2014/main" id="{33A54AC3-8C64-44EA-A37A-1AD00C94FC67}"/>
              </a:ext>
            </a:extLst>
          </p:cNvPr>
          <p:cNvPicPr>
            <a:picLocks noChangeAspect="1"/>
          </p:cNvPicPr>
          <p:nvPr/>
        </p:nvPicPr>
        <p:blipFill rotWithShape="1">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b="28139"/>
          <a:stretch/>
        </p:blipFill>
        <p:spPr>
          <a:xfrm>
            <a:off x="7002202" y="5164168"/>
            <a:ext cx="215219" cy="170805"/>
          </a:xfrm>
          <a:prstGeom prst="rect">
            <a:avLst/>
          </a:prstGeom>
          <a:effectLst/>
        </p:spPr>
      </p:pic>
      <p:sp>
        <p:nvSpPr>
          <p:cNvPr id="102" name="Rectangle 101">
            <a:extLst>
              <a:ext uri="{FF2B5EF4-FFF2-40B4-BE49-F238E27FC236}">
                <a16:creationId xmlns:a16="http://schemas.microsoft.com/office/drawing/2014/main" id="{AD0F52B8-C6D8-49CF-A1B7-E2780DD4C6C1}"/>
              </a:ext>
            </a:extLst>
          </p:cNvPr>
          <p:cNvSpPr/>
          <p:nvPr/>
        </p:nvSpPr>
        <p:spPr bwMode="auto">
          <a:xfrm>
            <a:off x="239937" y="1093509"/>
            <a:ext cx="5747010" cy="39775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a:spcBef>
                <a:spcPts val="300"/>
              </a:spcBef>
            </a:pPr>
            <a:r>
              <a:rPr lang="en-GB" sz="1000">
                <a:latin typeface="Trebuchet MS" panose="020B0603020202020204" pitchFamily="34" charset="0"/>
              </a:rPr>
              <a:t>The </a:t>
            </a:r>
            <a:r>
              <a:rPr lang="en-GB" sz="1000">
                <a:solidFill>
                  <a:schemeClr val="tx2"/>
                </a:solidFill>
                <a:latin typeface="Trebuchet MS" panose="020B0603020202020204" pitchFamily="34" charset="0"/>
              </a:rPr>
              <a:t>BD&amp;A market</a:t>
            </a:r>
            <a:r>
              <a:rPr lang="en-GB" sz="1000">
                <a:latin typeface="Trebuchet MS" panose="020B0603020202020204" pitchFamily="34" charset="0"/>
              </a:rPr>
              <a:t> addressed by </a:t>
            </a:r>
            <a:r>
              <a:rPr lang="en-GB" sz="1000" err="1">
                <a:latin typeface="Trebuchet MS" panose="020B0603020202020204" pitchFamily="34" charset="0"/>
              </a:rPr>
              <a:t>Altares</a:t>
            </a:r>
            <a:r>
              <a:rPr lang="en-GB" sz="1000">
                <a:latin typeface="Trebuchet MS" panose="020B0603020202020204" pitchFamily="34" charset="0"/>
              </a:rPr>
              <a:t> will globally experience an estimated </a:t>
            </a:r>
            <a:r>
              <a:rPr lang="en-GB" sz="1000">
                <a:solidFill>
                  <a:schemeClr val="tx2"/>
                </a:solidFill>
                <a:latin typeface="Trebuchet MS" panose="020B0603020202020204" pitchFamily="34" charset="0"/>
              </a:rPr>
              <a:t>stable</a:t>
            </a:r>
            <a:r>
              <a:rPr lang="en-GB" sz="1000">
                <a:latin typeface="Trebuchet MS" panose="020B0603020202020204" pitchFamily="34" charset="0"/>
              </a:rPr>
              <a:t> </a:t>
            </a:r>
            <a:r>
              <a:rPr lang="en-GB" sz="1000">
                <a:solidFill>
                  <a:schemeClr val="tx2"/>
                </a:solidFill>
                <a:latin typeface="Trebuchet MS" panose="020B0603020202020204" pitchFamily="34" charset="0"/>
              </a:rPr>
              <a:t>growth</a:t>
            </a:r>
            <a:r>
              <a:rPr lang="en-GB" sz="1000">
                <a:latin typeface="Trebuchet MS" panose="020B0603020202020204" pitchFamily="34" charset="0"/>
              </a:rPr>
              <a:t> of around</a:t>
            </a:r>
            <a:r>
              <a:rPr lang="en-GB" sz="1000">
                <a:solidFill>
                  <a:schemeClr val="tx2"/>
                </a:solidFill>
                <a:latin typeface="Trebuchet MS" panose="020B0603020202020204" pitchFamily="34" charset="0"/>
              </a:rPr>
              <a:t> 2.5%</a:t>
            </a:r>
            <a:r>
              <a:rPr lang="en-GB" sz="1000">
                <a:latin typeface="Trebuchet MS" panose="020B0603020202020204" pitchFamily="34" charset="0"/>
              </a:rPr>
              <a:t> per year (CAGR</a:t>
            </a:r>
            <a:r>
              <a:rPr lang="en-GB" sz="1000" baseline="-25000">
                <a:latin typeface="Trebuchet MS" panose="020B0603020202020204" pitchFamily="34" charset="0"/>
              </a:rPr>
              <a:t>21-25</a:t>
            </a:r>
            <a:r>
              <a:rPr lang="en-GB" sz="1000">
                <a:latin typeface="Trebuchet MS" panose="020B0603020202020204" pitchFamily="34" charset="0"/>
              </a:rPr>
              <a:t>), </a:t>
            </a:r>
            <a:r>
              <a:rPr lang="en-GB" sz="1000">
                <a:solidFill>
                  <a:schemeClr val="tx2"/>
                </a:solidFill>
                <a:latin typeface="Trebuchet MS" panose="020B0603020202020204" pitchFamily="34" charset="0"/>
              </a:rPr>
              <a:t>driven</a:t>
            </a:r>
            <a:r>
              <a:rPr lang="en-GB" sz="1000">
                <a:latin typeface="Trebuchet MS" panose="020B0603020202020204" pitchFamily="34" charset="0"/>
              </a:rPr>
              <a:t> by the </a:t>
            </a:r>
            <a:r>
              <a:rPr lang="en-GB" sz="1000">
                <a:solidFill>
                  <a:schemeClr val="tx2"/>
                </a:solidFill>
                <a:latin typeface="Trebuchet MS" panose="020B0603020202020204" pitchFamily="34" charset="0"/>
              </a:rPr>
              <a:t>compliance</a:t>
            </a:r>
            <a:r>
              <a:rPr lang="en-GB" sz="1000">
                <a:latin typeface="Trebuchet MS" panose="020B0603020202020204" pitchFamily="34" charset="0"/>
              </a:rPr>
              <a:t> and </a:t>
            </a:r>
            <a:r>
              <a:rPr lang="en-GB" sz="1000">
                <a:solidFill>
                  <a:schemeClr val="tx2"/>
                </a:solidFill>
                <a:latin typeface="Trebuchet MS" panose="020B0603020202020204" pitchFamily="34" charset="0"/>
              </a:rPr>
              <a:t>B2B</a:t>
            </a:r>
            <a:r>
              <a:rPr lang="en-GB" sz="1000">
                <a:latin typeface="Trebuchet MS" panose="020B0603020202020204" pitchFamily="34" charset="0"/>
              </a:rPr>
              <a:t> </a:t>
            </a:r>
            <a:r>
              <a:rPr lang="en-GB" sz="1000">
                <a:solidFill>
                  <a:schemeClr val="tx2"/>
                </a:solidFill>
                <a:latin typeface="Trebuchet MS" panose="020B0603020202020204" pitchFamily="34" charset="0"/>
              </a:rPr>
              <a:t>marketing</a:t>
            </a:r>
            <a:r>
              <a:rPr lang="en-GB" sz="1000">
                <a:latin typeface="Trebuchet MS" panose="020B0603020202020204" pitchFamily="34" charset="0"/>
              </a:rPr>
              <a:t> verticals</a:t>
            </a:r>
          </a:p>
        </p:txBody>
      </p:sp>
      <p:sp>
        <p:nvSpPr>
          <p:cNvPr id="103" name="Rectangle 102">
            <a:extLst>
              <a:ext uri="{FF2B5EF4-FFF2-40B4-BE49-F238E27FC236}">
                <a16:creationId xmlns:a16="http://schemas.microsoft.com/office/drawing/2014/main" id="{C8A52D54-9E96-4855-BF97-88907E41C19C}"/>
              </a:ext>
            </a:extLst>
          </p:cNvPr>
          <p:cNvSpPr/>
          <p:nvPr/>
        </p:nvSpPr>
        <p:spPr bwMode="auto">
          <a:xfrm>
            <a:off x="6148834" y="1093508"/>
            <a:ext cx="3581064" cy="218751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spcBef>
                <a:spcPts val="300"/>
              </a:spcBef>
            </a:pPr>
            <a:r>
              <a:rPr lang="en-GB" sz="1000" dirty="0">
                <a:latin typeface="Trebuchet MS" panose="020B0603020202020204" pitchFamily="34" charset="0"/>
              </a:rPr>
              <a:t>In terms of client segmentation, </a:t>
            </a:r>
            <a:r>
              <a:rPr lang="en-GB" sz="1000" dirty="0" err="1">
                <a:solidFill>
                  <a:schemeClr val="tx2"/>
                </a:solidFill>
                <a:latin typeface="Trebuchet MS" panose="020B0603020202020204" pitchFamily="34" charset="0"/>
              </a:rPr>
              <a:t>Altares</a:t>
            </a:r>
            <a:r>
              <a:rPr lang="en-GB" sz="1000" dirty="0">
                <a:solidFill>
                  <a:schemeClr val="tx2"/>
                </a:solidFill>
                <a:latin typeface="Trebuchet MS" panose="020B0603020202020204" pitchFamily="34" charset="0"/>
              </a:rPr>
              <a:t> </a:t>
            </a:r>
            <a:r>
              <a:rPr lang="en-GB" sz="1000" dirty="0">
                <a:latin typeface="Trebuchet MS" panose="020B0603020202020204" pitchFamily="34" charset="0"/>
              </a:rPr>
              <a:t>only</a:t>
            </a:r>
            <a:r>
              <a:rPr lang="en-GB" sz="1000" dirty="0">
                <a:solidFill>
                  <a:schemeClr val="tx2"/>
                </a:solidFill>
                <a:latin typeface="Trebuchet MS" panose="020B0603020202020204" pitchFamily="34" charset="0"/>
              </a:rPr>
              <a:t> addresses </a:t>
            </a:r>
            <a:r>
              <a:rPr lang="en-GB" sz="1000" dirty="0">
                <a:latin typeface="Trebuchet MS" panose="020B0603020202020204" pitchFamily="34" charset="0"/>
              </a:rPr>
              <a:t>the</a:t>
            </a:r>
            <a:r>
              <a:rPr lang="en-GB" sz="1000" dirty="0">
                <a:solidFill>
                  <a:schemeClr val="tx2"/>
                </a:solidFill>
                <a:latin typeface="Trebuchet MS" panose="020B0603020202020204" pitchFamily="34" charset="0"/>
              </a:rPr>
              <a:t> large accounts </a:t>
            </a:r>
            <a:r>
              <a:rPr lang="en-GB" sz="1000" dirty="0">
                <a:latin typeface="Trebuchet MS" panose="020B0603020202020204" pitchFamily="34" charset="0"/>
              </a:rPr>
              <a:t>and the </a:t>
            </a:r>
            <a:r>
              <a:rPr lang="en-GB" sz="1000" dirty="0">
                <a:solidFill>
                  <a:schemeClr val="tx2"/>
                </a:solidFill>
                <a:latin typeface="Trebuchet MS" panose="020B0603020202020204" pitchFamily="34" charset="0"/>
              </a:rPr>
              <a:t>upper-mid market. </a:t>
            </a:r>
            <a:endParaRPr lang="en-GB" sz="1000" dirty="0">
              <a:latin typeface="Trebuchet MS" panose="020B0603020202020204" pitchFamily="34" charset="0"/>
            </a:endParaRPr>
          </a:p>
          <a:p>
            <a:pPr marL="171450" indent="-171450">
              <a:spcBef>
                <a:spcPts val="300"/>
              </a:spcBef>
              <a:buFont typeface="Arial" panose="020B0604020202020204" pitchFamily="34" charset="0"/>
              <a:buChar char="•"/>
            </a:pPr>
            <a:r>
              <a:rPr lang="en-GB" sz="1000" b="1" i="1" dirty="0">
                <a:latin typeface="Trebuchet MS" panose="020B0603020202020204" pitchFamily="34" charset="0"/>
              </a:rPr>
              <a:t>On the Credit risk vertical</a:t>
            </a:r>
            <a:r>
              <a:rPr lang="en-GB" sz="1000" dirty="0">
                <a:latin typeface="Trebuchet MS" panose="020B0603020202020204" pitchFamily="34" charset="0"/>
              </a:rPr>
              <a:t>: Key accounts and the upper mid-market represent </a:t>
            </a:r>
            <a:r>
              <a:rPr lang="en-GB" sz="1000" dirty="0">
                <a:solidFill>
                  <a:schemeClr val="tx2"/>
                </a:solidFill>
                <a:latin typeface="Trebuchet MS" panose="020B0603020202020204" pitchFamily="34" charset="0"/>
              </a:rPr>
              <a:t>60% of the market</a:t>
            </a:r>
            <a:r>
              <a:rPr lang="en-GB" sz="1000" dirty="0">
                <a:latin typeface="Trebuchet MS" panose="020B0603020202020204" pitchFamily="34" charset="0"/>
              </a:rPr>
              <a:t>. The mass market being less mature as it has been recently penetrated by players positioned on the lower-end</a:t>
            </a:r>
          </a:p>
          <a:p>
            <a:pPr marL="171450" indent="-171450">
              <a:spcBef>
                <a:spcPts val="300"/>
              </a:spcBef>
              <a:buFont typeface="Arial" panose="020B0604020202020204" pitchFamily="34" charset="0"/>
              <a:buChar char="•"/>
            </a:pPr>
            <a:r>
              <a:rPr lang="en-GB" sz="1000" b="1" i="1" dirty="0">
                <a:latin typeface="Trebuchet MS" panose="020B0603020202020204" pitchFamily="34" charset="0"/>
              </a:rPr>
              <a:t>On the compliance vertical</a:t>
            </a:r>
            <a:r>
              <a:rPr lang="en-GB" sz="1000" dirty="0">
                <a:latin typeface="Trebuchet MS" panose="020B0603020202020204" pitchFamily="34" charset="0"/>
              </a:rPr>
              <a:t>, t</a:t>
            </a:r>
            <a:r>
              <a:rPr lang="en-US" sz="1000" dirty="0">
                <a:latin typeface="Trebuchet MS" panose="020B0603020202020204" pitchFamily="34" charset="0"/>
              </a:rPr>
              <a:t>he addressable market which initially targeted large and upper mid-size companies is growing rapidly with a larger proportion of the mid-size companies looking for compliance solutions</a:t>
            </a:r>
            <a:endParaRPr lang="en-GB" sz="1000" dirty="0">
              <a:latin typeface="Trebuchet MS" panose="020B0603020202020204" pitchFamily="34" charset="0"/>
            </a:endParaRPr>
          </a:p>
          <a:p>
            <a:pPr marL="171450" indent="-171450">
              <a:spcBef>
                <a:spcPts val="300"/>
              </a:spcBef>
              <a:buFont typeface="Arial" panose="020B0604020202020204" pitchFamily="34" charset="0"/>
              <a:buChar char="•"/>
            </a:pPr>
            <a:r>
              <a:rPr lang="en-GB" sz="1000" b="1" i="1" dirty="0">
                <a:latin typeface="Trebuchet MS" panose="020B0603020202020204" pitchFamily="34" charset="0"/>
              </a:rPr>
              <a:t>On the B2B marketing vertical</a:t>
            </a:r>
            <a:r>
              <a:rPr lang="en-GB" sz="1000" dirty="0">
                <a:latin typeface="Trebuchet MS" panose="020B0603020202020204" pitchFamily="34" charset="0"/>
              </a:rPr>
              <a:t>, the repartition between the client segments is more balanced</a:t>
            </a:r>
          </a:p>
        </p:txBody>
      </p:sp>
      <p:pic>
        <p:nvPicPr>
          <p:cNvPr id="104" name="Picture 2" descr="ALTARES-D&amp;B - L'ASSOCIATION FRANCAISE DES CREDIT MANAGERS ET CONSEILS">
            <a:extLst>
              <a:ext uri="{FF2B5EF4-FFF2-40B4-BE49-F238E27FC236}">
                <a16:creationId xmlns:a16="http://schemas.microsoft.com/office/drawing/2014/main" id="{DFDC5A00-E3DB-40E3-88B6-DE495CD76B3F}"/>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6176745" y="4174515"/>
            <a:ext cx="416692" cy="233401"/>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 coins arrondis 201">
            <a:extLst>
              <a:ext uri="{FF2B5EF4-FFF2-40B4-BE49-F238E27FC236}">
                <a16:creationId xmlns:a16="http://schemas.microsoft.com/office/drawing/2014/main" id="{4A998605-7ECD-4304-B9D2-9AEA65D2298F}"/>
              </a:ext>
            </a:extLst>
          </p:cNvPr>
          <p:cNvSpPr/>
          <p:nvPr/>
        </p:nvSpPr>
        <p:spPr bwMode="auto">
          <a:xfrm>
            <a:off x="9221531" y="367946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pic>
        <p:nvPicPr>
          <p:cNvPr id="106" name="Graphique 74" descr="Mégaphone">
            <a:extLst>
              <a:ext uri="{FF2B5EF4-FFF2-40B4-BE49-F238E27FC236}">
                <a16:creationId xmlns:a16="http://schemas.microsoft.com/office/drawing/2014/main" id="{0A0F6E44-ACAD-45EA-BAF4-FE447E380E3F}"/>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9272825" y="3677324"/>
            <a:ext cx="233011" cy="216420"/>
          </a:xfrm>
          <a:prstGeom prst="rect">
            <a:avLst/>
          </a:prstGeom>
          <a:effectLst/>
        </p:spPr>
      </p:pic>
      <p:sp>
        <p:nvSpPr>
          <p:cNvPr id="108" name="Rectangle : coins arrondis 200">
            <a:extLst>
              <a:ext uri="{FF2B5EF4-FFF2-40B4-BE49-F238E27FC236}">
                <a16:creationId xmlns:a16="http://schemas.microsoft.com/office/drawing/2014/main" id="{FFAC3459-DE3C-4EB5-BBCB-E6078F310C00}"/>
              </a:ext>
            </a:extLst>
          </p:cNvPr>
          <p:cNvSpPr/>
          <p:nvPr/>
        </p:nvSpPr>
        <p:spPr bwMode="auto">
          <a:xfrm>
            <a:off x="8402816" y="367946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pic>
        <p:nvPicPr>
          <p:cNvPr id="111" name="Graphique 90" descr="Poignée de main">
            <a:extLst>
              <a:ext uri="{FF2B5EF4-FFF2-40B4-BE49-F238E27FC236}">
                <a16:creationId xmlns:a16="http://schemas.microsoft.com/office/drawing/2014/main" id="{FC3ABABC-8635-4C09-B727-7D9956D49B8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442459" y="3641786"/>
            <a:ext cx="256313" cy="287496"/>
          </a:xfrm>
          <a:prstGeom prst="rect">
            <a:avLst/>
          </a:prstGeom>
          <a:effectLst/>
        </p:spPr>
      </p:pic>
      <p:sp>
        <p:nvSpPr>
          <p:cNvPr id="112" name="Rectangle : coins arrondis 199">
            <a:extLst>
              <a:ext uri="{FF2B5EF4-FFF2-40B4-BE49-F238E27FC236}">
                <a16:creationId xmlns:a16="http://schemas.microsoft.com/office/drawing/2014/main" id="{FA3C3630-2358-4A47-B775-D001EFC95E1E}"/>
              </a:ext>
            </a:extLst>
          </p:cNvPr>
          <p:cNvSpPr/>
          <p:nvPr/>
        </p:nvSpPr>
        <p:spPr bwMode="auto">
          <a:xfrm>
            <a:off x="7577579" y="367946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pic>
        <p:nvPicPr>
          <p:cNvPr id="115" name="Graphique 128" descr="Jauge">
            <a:extLst>
              <a:ext uri="{FF2B5EF4-FFF2-40B4-BE49-F238E27FC236}">
                <a16:creationId xmlns:a16="http://schemas.microsoft.com/office/drawing/2014/main" id="{A3CABC7E-F497-44DD-9D87-94CF3FFB417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7627902" y="3676422"/>
            <a:ext cx="234953" cy="218224"/>
          </a:xfrm>
          <a:prstGeom prst="rect">
            <a:avLst/>
          </a:prstGeom>
          <a:effectLst/>
        </p:spPr>
      </p:pic>
      <p:sp>
        <p:nvSpPr>
          <p:cNvPr id="89" name="Rectangle 88">
            <a:extLst>
              <a:ext uri="{FF2B5EF4-FFF2-40B4-BE49-F238E27FC236}">
                <a16:creationId xmlns:a16="http://schemas.microsoft.com/office/drawing/2014/main" id="{88307EE7-5D2D-49EF-AE46-80E1324263C0}"/>
              </a:ext>
            </a:extLst>
          </p:cNvPr>
          <p:cNvSpPr/>
          <p:nvPr/>
        </p:nvSpPr>
        <p:spPr bwMode="auto">
          <a:xfrm>
            <a:off x="4078985" y="2107736"/>
            <a:ext cx="1877863" cy="382927"/>
          </a:xfrm>
          <a:prstGeom prst="rect">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Total estimated BD&amp;A market: </a:t>
            </a:r>
          </a:p>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2"/>
                </a:solidFill>
                <a:effectLst/>
                <a:latin typeface="Trebuchet MS" panose="020B0603020202020204" pitchFamily="34" charset="0"/>
              </a:rPr>
              <a:t>~ €522m</a:t>
            </a:r>
          </a:p>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100" name="Flèche : double flèche horizontale 99">
            <a:extLst>
              <a:ext uri="{FF2B5EF4-FFF2-40B4-BE49-F238E27FC236}">
                <a16:creationId xmlns:a16="http://schemas.microsoft.com/office/drawing/2014/main" id="{F343EEEA-DA3B-4276-B135-A47F1DB66145}"/>
              </a:ext>
            </a:extLst>
          </p:cNvPr>
          <p:cNvSpPr/>
          <p:nvPr/>
        </p:nvSpPr>
        <p:spPr bwMode="auto">
          <a:xfrm rot="5400000">
            <a:off x="7261808" y="4629274"/>
            <a:ext cx="1422984" cy="83740"/>
          </a:xfrm>
          <a:prstGeom prst="leftRight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6" name="Flèche : double flèche horizontale 115">
            <a:extLst>
              <a:ext uri="{FF2B5EF4-FFF2-40B4-BE49-F238E27FC236}">
                <a16:creationId xmlns:a16="http://schemas.microsoft.com/office/drawing/2014/main" id="{4ACE5FC1-CB48-4769-93E8-294A8D02849A}"/>
              </a:ext>
            </a:extLst>
          </p:cNvPr>
          <p:cNvSpPr/>
          <p:nvPr/>
        </p:nvSpPr>
        <p:spPr bwMode="auto">
          <a:xfrm rot="5400000">
            <a:off x="7653526" y="5093873"/>
            <a:ext cx="2352183" cy="83740"/>
          </a:xfrm>
          <a:prstGeom prst="leftRight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9" name="Flèche : double flèche horizontale 118">
            <a:extLst>
              <a:ext uri="{FF2B5EF4-FFF2-40B4-BE49-F238E27FC236}">
                <a16:creationId xmlns:a16="http://schemas.microsoft.com/office/drawing/2014/main" id="{A7B0B63C-5E8E-4EC3-9E99-CE723D6BE6F1}"/>
              </a:ext>
            </a:extLst>
          </p:cNvPr>
          <p:cNvSpPr/>
          <p:nvPr/>
        </p:nvSpPr>
        <p:spPr bwMode="auto">
          <a:xfrm rot="5400000">
            <a:off x="9157191" y="4415494"/>
            <a:ext cx="995425" cy="83740"/>
          </a:xfrm>
          <a:prstGeom prst="leftRight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22" name="Image 21">
            <a:extLst>
              <a:ext uri="{FF2B5EF4-FFF2-40B4-BE49-F238E27FC236}">
                <a16:creationId xmlns:a16="http://schemas.microsoft.com/office/drawing/2014/main" id="{33982973-714C-4C93-B2CD-8088CFE342D9}"/>
              </a:ext>
            </a:extLst>
          </p:cNvPr>
          <p:cNvPicPr>
            <a:picLocks noChangeAspect="1"/>
          </p:cNvPicPr>
          <p:nvPr/>
        </p:nvPicPr>
        <p:blipFill>
          <a:blip r:embed="rId32"/>
          <a:stretch>
            <a:fillRect/>
          </a:stretch>
        </p:blipFill>
        <p:spPr>
          <a:xfrm>
            <a:off x="1439977" y="1732262"/>
            <a:ext cx="2445345" cy="2720765"/>
          </a:xfrm>
          <a:prstGeom prst="rect">
            <a:avLst/>
          </a:prstGeom>
        </p:spPr>
      </p:pic>
    </p:spTree>
    <p:extLst>
      <p:ext uri="{BB962C8B-B14F-4D97-AF65-F5344CB8AC3E}">
        <p14:creationId xmlns:p14="http://schemas.microsoft.com/office/powerpoint/2010/main" val="3357989335"/>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t 25" hidden="1">
            <a:extLst>
              <a:ext uri="{FF2B5EF4-FFF2-40B4-BE49-F238E27FC236}">
                <a16:creationId xmlns:a16="http://schemas.microsoft.com/office/drawing/2014/main" id="{A4938685-CD3E-4297-9299-8EFD9F88E830}"/>
              </a:ext>
            </a:extLst>
          </p:cNvPr>
          <p:cNvGraphicFramePr>
            <a:graphicFrameLocks noChangeAspect="1"/>
          </p:cNvGraphicFramePr>
          <p:nvPr>
            <p:custDataLst>
              <p:tags r:id="rId1"/>
            </p:custDataLst>
            <p:extLst>
              <p:ext uri="{D42A27DB-BD31-4B8C-83A1-F6EECF244321}">
                <p14:modId xmlns:p14="http://schemas.microsoft.com/office/powerpoint/2010/main" val="1588230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26" name="Objet 25" hidden="1">
                        <a:extLst>
                          <a:ext uri="{FF2B5EF4-FFF2-40B4-BE49-F238E27FC236}">
                            <a16:creationId xmlns:a16="http://schemas.microsoft.com/office/drawing/2014/main" id="{A4938685-CD3E-4297-9299-8EFD9F88E8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09B840F8-497F-4061-BCB3-52E61A3148E7}"/>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0" name="Rectangle 9">
            <a:extLst>
              <a:ext uri="{FF2B5EF4-FFF2-40B4-BE49-F238E27FC236}">
                <a16:creationId xmlns:a16="http://schemas.microsoft.com/office/drawing/2014/main" id="{50C3B344-EC20-4FC0-A0F8-1D6921421D45}"/>
              </a:ext>
            </a:extLst>
          </p:cNvPr>
          <p:cNvSpPr/>
          <p:nvPr/>
        </p:nvSpPr>
        <p:spPr bwMode="auto">
          <a:xfrm>
            <a:off x="371501" y="1229615"/>
            <a:ext cx="9358397" cy="519992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le 1">
            <a:extLst>
              <a:ext uri="{FF2B5EF4-FFF2-40B4-BE49-F238E27FC236}">
                <a16:creationId xmlns:a16="http://schemas.microsoft.com/office/drawing/2014/main" id="{3870AB5E-A103-47D5-8E5F-1BD7EDE99C28}"/>
              </a:ext>
            </a:extLst>
          </p:cNvPr>
          <p:cNvSpPr>
            <a:spLocks noGrp="1"/>
          </p:cNvSpPr>
          <p:nvPr>
            <p:ph type="title"/>
          </p:nvPr>
        </p:nvSpPr>
        <p:spPr>
          <a:xfrm>
            <a:off x="165600" y="147600"/>
            <a:ext cx="8502150" cy="684000"/>
          </a:xfrm>
        </p:spPr>
        <p:txBody>
          <a:bodyPr/>
          <a:lstStyle/>
          <a:p>
            <a:r>
              <a:rPr lang="en-GB" dirty="0">
                <a:latin typeface="Trebuchet MS" panose="020B0603020202020204" pitchFamily="34" charset="0"/>
              </a:rPr>
              <a:t>The BD&amp;A market is </a:t>
            </a:r>
            <a:r>
              <a:rPr lang="en-GB" dirty="0">
                <a:solidFill>
                  <a:schemeClr val="tx2"/>
                </a:solidFill>
                <a:latin typeface="Trebuchet MS" panose="020B0603020202020204" pitchFamily="34" charset="0"/>
              </a:rPr>
              <a:t>expected to grow 2.5% per year </a:t>
            </a:r>
            <a:r>
              <a:rPr lang="en-GB" sz="1600" dirty="0">
                <a:latin typeface="Trebuchet MS" panose="020B0603020202020204" pitchFamily="34" charset="0"/>
              </a:rPr>
              <a:t>(CAGR</a:t>
            </a:r>
            <a:r>
              <a:rPr lang="en-GB" sz="1600" baseline="-25000" dirty="0">
                <a:latin typeface="Trebuchet MS" panose="020B0603020202020204" pitchFamily="34" charset="0"/>
              </a:rPr>
              <a:t>21-25</a:t>
            </a:r>
            <a:r>
              <a:rPr lang="en-GB" sz="1600" dirty="0">
                <a:latin typeface="Trebuchet MS" panose="020B0603020202020204" pitchFamily="34" charset="0"/>
              </a:rPr>
              <a:t>)</a:t>
            </a:r>
            <a:r>
              <a:rPr lang="en-GB" dirty="0">
                <a:latin typeface="Trebuchet MS" panose="020B0603020202020204" pitchFamily="34" charset="0"/>
              </a:rPr>
              <a:t>, mostly driven by the Compliance and B2B marketing verticals while Credit risk should globally experience an overall stability</a:t>
            </a:r>
            <a:endParaRPr lang="en-GB" dirty="0">
              <a:solidFill>
                <a:schemeClr val="tx2"/>
              </a:solidFill>
              <a:latin typeface="Trebuchet MS" panose="020B0603020202020204" pitchFamily="34" charset="0"/>
            </a:endParaRPr>
          </a:p>
        </p:txBody>
      </p:sp>
      <p:sp>
        <p:nvSpPr>
          <p:cNvPr id="3" name="Text Placeholder 2">
            <a:extLst>
              <a:ext uri="{FF2B5EF4-FFF2-40B4-BE49-F238E27FC236}">
                <a16:creationId xmlns:a16="http://schemas.microsoft.com/office/drawing/2014/main" id="{61351E7A-9481-41DB-AB3F-B12A6918ABEC}"/>
              </a:ext>
            </a:extLst>
          </p:cNvPr>
          <p:cNvSpPr>
            <a:spLocks noGrp="1"/>
          </p:cNvSpPr>
          <p:nvPr>
            <p:ph type="body" sz="quarter" idx="10"/>
          </p:nvPr>
        </p:nvSpPr>
        <p:spPr>
          <a:xfrm>
            <a:off x="1240409" y="6580025"/>
            <a:ext cx="7131600" cy="244800"/>
          </a:xfrm>
        </p:spPr>
        <p:txBody>
          <a:bodyPr/>
          <a:lstStyle/>
          <a:p>
            <a:r>
              <a:rPr lang="en-GB"/>
              <a:t>Sources: eleven research &amp; analysis, expert calls 	</a:t>
            </a:r>
          </a:p>
          <a:p>
            <a:r>
              <a:rPr lang="en-GB"/>
              <a:t>1. Future growth: CAGR 2021-25</a:t>
            </a:r>
          </a:p>
        </p:txBody>
      </p:sp>
      <p:sp>
        <p:nvSpPr>
          <p:cNvPr id="16" name="Rectangle 15">
            <a:extLst>
              <a:ext uri="{FF2B5EF4-FFF2-40B4-BE49-F238E27FC236}">
                <a16:creationId xmlns:a16="http://schemas.microsoft.com/office/drawing/2014/main" id="{99A85B47-9B6A-409E-925C-8CA1206520DF}"/>
              </a:ext>
            </a:extLst>
          </p:cNvPr>
          <p:cNvSpPr/>
          <p:nvPr/>
        </p:nvSpPr>
        <p:spPr bwMode="auto">
          <a:xfrm>
            <a:off x="2338087" y="1328761"/>
            <a:ext cx="1515790" cy="611368"/>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200" b="1">
              <a:solidFill>
                <a:schemeClr val="tx2"/>
              </a:solidFill>
              <a:latin typeface="Trebuchet MS" panose="020B0603020202020204" pitchFamily="34" charset="0"/>
            </a:endParaRPr>
          </a:p>
          <a:p>
            <a:pPr algn="ctr"/>
            <a:r>
              <a:rPr lang="en-GB" sz="1200" b="1">
                <a:solidFill>
                  <a:schemeClr val="tx2"/>
                </a:solidFill>
                <a:latin typeface="Trebuchet MS" panose="020B0603020202020204" pitchFamily="34" charset="0"/>
              </a:rPr>
              <a:t>Credit &amp; financial risk</a:t>
            </a:r>
          </a:p>
        </p:txBody>
      </p:sp>
      <p:pic>
        <p:nvPicPr>
          <p:cNvPr id="17" name="Graphique 128" descr="Jauge">
            <a:extLst>
              <a:ext uri="{FF2B5EF4-FFF2-40B4-BE49-F238E27FC236}">
                <a16:creationId xmlns:a16="http://schemas.microsoft.com/office/drawing/2014/main" id="{11106CBA-D63F-4EF4-AD6D-FFDFF843993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92870" y="1321549"/>
            <a:ext cx="234953" cy="218224"/>
          </a:xfrm>
          <a:prstGeom prst="rect">
            <a:avLst/>
          </a:prstGeom>
          <a:effectLst/>
        </p:spPr>
      </p:pic>
      <p:sp>
        <p:nvSpPr>
          <p:cNvPr id="18" name="Rectangle 17">
            <a:extLst>
              <a:ext uri="{FF2B5EF4-FFF2-40B4-BE49-F238E27FC236}">
                <a16:creationId xmlns:a16="http://schemas.microsoft.com/office/drawing/2014/main" id="{0344E564-E925-467B-81BE-BC1FC73022AB}"/>
              </a:ext>
            </a:extLst>
          </p:cNvPr>
          <p:cNvSpPr/>
          <p:nvPr/>
        </p:nvSpPr>
        <p:spPr bwMode="auto">
          <a:xfrm>
            <a:off x="4108325" y="1328761"/>
            <a:ext cx="1515791" cy="611368"/>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200" b="1">
              <a:solidFill>
                <a:schemeClr val="tx2"/>
              </a:solidFill>
              <a:latin typeface="Trebuchet MS" pitchFamily="34" charset="0"/>
            </a:endParaRPr>
          </a:p>
          <a:p>
            <a:pPr algn="ctr"/>
            <a:r>
              <a:rPr lang="en-GB" sz="1200" b="1">
                <a:solidFill>
                  <a:schemeClr val="tx2"/>
                </a:solidFill>
                <a:latin typeface="Trebuchet MS" pitchFamily="34" charset="0"/>
              </a:rPr>
              <a:t>Compliance services</a:t>
            </a:r>
          </a:p>
        </p:txBody>
      </p:sp>
      <p:pic>
        <p:nvPicPr>
          <p:cNvPr id="19" name="Graphique 90" descr="Poignée de main">
            <a:extLst>
              <a:ext uri="{FF2B5EF4-FFF2-40B4-BE49-F238E27FC236}">
                <a16:creationId xmlns:a16="http://schemas.microsoft.com/office/drawing/2014/main" id="{4516E92C-4BA8-4CD2-BFE4-74B2EA2DDA8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757227" y="1321549"/>
            <a:ext cx="256313" cy="287496"/>
          </a:xfrm>
          <a:prstGeom prst="rect">
            <a:avLst/>
          </a:prstGeom>
          <a:effectLst/>
        </p:spPr>
      </p:pic>
      <p:sp>
        <p:nvSpPr>
          <p:cNvPr id="21" name="Rectangle 20">
            <a:extLst>
              <a:ext uri="{FF2B5EF4-FFF2-40B4-BE49-F238E27FC236}">
                <a16:creationId xmlns:a16="http://schemas.microsoft.com/office/drawing/2014/main" id="{45751F37-24C4-4D3E-BB31-025E729AD47A}"/>
              </a:ext>
            </a:extLst>
          </p:cNvPr>
          <p:cNvSpPr/>
          <p:nvPr/>
        </p:nvSpPr>
        <p:spPr bwMode="auto">
          <a:xfrm>
            <a:off x="5889731" y="1328761"/>
            <a:ext cx="1515791" cy="611368"/>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solidFill>
                  <a:schemeClr val="tx2"/>
                </a:solidFill>
                <a:latin typeface="Trebuchet MS" panose="020B0603020202020204" pitchFamily="34" charset="0"/>
              </a:rPr>
              <a:t>B2B marketing</a:t>
            </a:r>
          </a:p>
        </p:txBody>
      </p:sp>
      <p:pic>
        <p:nvPicPr>
          <p:cNvPr id="25" name="Graphique 74" descr="Mégaphone">
            <a:extLst>
              <a:ext uri="{FF2B5EF4-FFF2-40B4-BE49-F238E27FC236}">
                <a16:creationId xmlns:a16="http://schemas.microsoft.com/office/drawing/2014/main" id="{F7ABF7AE-E941-4A98-AA4D-55C5905327A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555087" y="1321549"/>
            <a:ext cx="233011" cy="216420"/>
          </a:xfrm>
          <a:prstGeom prst="rect">
            <a:avLst/>
          </a:prstGeom>
          <a:effectLst/>
        </p:spPr>
      </p:pic>
      <p:pic>
        <p:nvPicPr>
          <p:cNvPr id="33" name="Picture 2 - 1 - 1" descr="Drapeau des Pays-Bas — Wikipédia">
            <a:extLst>
              <a:ext uri="{FF2B5EF4-FFF2-40B4-BE49-F238E27FC236}">
                <a16:creationId xmlns:a16="http://schemas.microsoft.com/office/drawing/2014/main" id="{68DFDF2F-41AC-48D9-AAA8-27CBAC4633F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8000" y="2245490"/>
            <a:ext cx="597233" cy="360000"/>
          </a:xfrm>
          <a:prstGeom prst="roundRect">
            <a:avLst/>
          </a:prstGeom>
          <a:noFill/>
          <a:extLst>
            <a:ext uri="{909E8E84-426E-40DD-AFC4-6F175D3DCCD1}">
              <a14:hiddenFill xmlns:a14="http://schemas.microsoft.com/office/drawing/2010/main">
                <a:solidFill>
                  <a:srgbClr val="FFFFFF"/>
                </a:solidFill>
              </a14:hiddenFill>
            </a:ext>
          </a:extLst>
        </p:spPr>
      </p:pic>
      <p:pic>
        <p:nvPicPr>
          <p:cNvPr id="69" name="Picture 2" descr="Drapeau France">
            <a:extLst>
              <a:ext uri="{FF2B5EF4-FFF2-40B4-BE49-F238E27FC236}">
                <a16:creationId xmlns:a16="http://schemas.microsoft.com/office/drawing/2014/main" id="{83560A92-0E81-4DC2-A8A9-C7743BFB3E2A}"/>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643176" y="4944583"/>
            <a:ext cx="597233" cy="360000"/>
          </a:xfrm>
          <a:prstGeom prst="roundRect">
            <a:avLst/>
          </a:prstGeom>
          <a:noFill/>
          <a:extLst>
            <a:ext uri="{909E8E84-426E-40DD-AFC4-6F175D3DCCD1}">
              <a14:hiddenFill xmlns:a14="http://schemas.microsoft.com/office/drawing/2010/main">
                <a:solidFill>
                  <a:srgbClr val="FFFFFF"/>
                </a:solidFill>
              </a14:hiddenFill>
            </a:ext>
          </a:extLst>
        </p:spPr>
      </p:pic>
      <p:pic>
        <p:nvPicPr>
          <p:cNvPr id="71" name="Picture 2 - 1" descr="5 ft x 3 ft 150 x 90 cm-DRAPEAU BELGE Belgique 100% Polyester ...">
            <a:extLst>
              <a:ext uri="{FF2B5EF4-FFF2-40B4-BE49-F238E27FC236}">
                <a16:creationId xmlns:a16="http://schemas.microsoft.com/office/drawing/2014/main" id="{7AE9C4A2-E84F-4BAF-9E43-62141FA1FE90}"/>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647996" y="3173754"/>
            <a:ext cx="597240" cy="360000"/>
          </a:xfrm>
          <a:prstGeom prst="roundRect">
            <a:avLst/>
          </a:prstGeom>
          <a:noFill/>
          <a:extLst>
            <a:ext uri="{909E8E84-426E-40DD-AFC4-6F175D3DCCD1}">
              <a14:hiddenFill xmlns:a14="http://schemas.microsoft.com/office/drawing/2010/main">
                <a:solidFill>
                  <a:srgbClr val="FFFFFF"/>
                </a:solidFill>
              </a14:hiddenFill>
            </a:ext>
          </a:extLst>
        </p:spPr>
      </p:pic>
      <p:sp>
        <p:nvSpPr>
          <p:cNvPr id="81" name="Rectangle 80">
            <a:extLst>
              <a:ext uri="{FF2B5EF4-FFF2-40B4-BE49-F238E27FC236}">
                <a16:creationId xmlns:a16="http://schemas.microsoft.com/office/drawing/2014/main" id="{40BD4282-7F68-4479-B087-6C03DBACFBC8}"/>
              </a:ext>
            </a:extLst>
          </p:cNvPr>
          <p:cNvSpPr/>
          <p:nvPr/>
        </p:nvSpPr>
        <p:spPr bwMode="auto">
          <a:xfrm>
            <a:off x="5894577" y="2096254"/>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lang="en-GB" sz="1050" b="1">
                <a:solidFill>
                  <a:srgbClr val="289B38"/>
                </a:solidFill>
                <a:latin typeface="Trebuchet MS" panose="020B0603020202020204" pitchFamily="34" charset="0"/>
              </a:rPr>
              <a:t>€35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050" b="1" i="1">
                <a:solidFill>
                  <a:srgbClr val="6C6C6C"/>
                </a:solidFill>
                <a:latin typeface="Trebuchet MS" panose="020B0603020202020204" pitchFamily="34" charset="0"/>
              </a:rPr>
              <a:t>~ +3%</a:t>
            </a:r>
          </a:p>
        </p:txBody>
      </p:sp>
      <p:sp>
        <p:nvSpPr>
          <p:cNvPr id="82" name="Rectangle 81">
            <a:extLst>
              <a:ext uri="{FF2B5EF4-FFF2-40B4-BE49-F238E27FC236}">
                <a16:creationId xmlns:a16="http://schemas.microsoft.com/office/drawing/2014/main" id="{47A90E6D-C112-4370-9B18-F1DB4973ECFF}"/>
              </a:ext>
            </a:extLst>
          </p:cNvPr>
          <p:cNvSpPr/>
          <p:nvPr/>
        </p:nvSpPr>
        <p:spPr bwMode="auto">
          <a:xfrm>
            <a:off x="5889731" y="2934445"/>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25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050" b="1" i="1">
                <a:solidFill>
                  <a:srgbClr val="6C6C6C"/>
                </a:solidFill>
                <a:latin typeface="Trebuchet MS" panose="020B0603020202020204" pitchFamily="34" charset="0"/>
              </a:rPr>
              <a:t>~ +7</a:t>
            </a:r>
            <a:r>
              <a:rPr kumimoji="0" lang="en-GB" sz="105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sp>
        <p:nvSpPr>
          <p:cNvPr id="83" name="Rectangle 82">
            <a:extLst>
              <a:ext uri="{FF2B5EF4-FFF2-40B4-BE49-F238E27FC236}">
                <a16:creationId xmlns:a16="http://schemas.microsoft.com/office/drawing/2014/main" id="{C52DB842-0D1E-422C-A630-0636842D0A69}"/>
              </a:ext>
            </a:extLst>
          </p:cNvPr>
          <p:cNvSpPr/>
          <p:nvPr/>
        </p:nvSpPr>
        <p:spPr bwMode="auto">
          <a:xfrm>
            <a:off x="5889731" y="4687029"/>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85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050" b="1" i="1">
                <a:solidFill>
                  <a:srgbClr val="6C6C6C"/>
                </a:solidFill>
                <a:latin typeface="Trebuchet MS" panose="020B0603020202020204" pitchFamily="34" charset="0"/>
              </a:rPr>
              <a:t>~ +6</a:t>
            </a:r>
            <a:r>
              <a:rPr kumimoji="0" lang="en-GB" sz="105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sp>
        <p:nvSpPr>
          <p:cNvPr id="84" name="Rectangle 83">
            <a:extLst>
              <a:ext uri="{FF2B5EF4-FFF2-40B4-BE49-F238E27FC236}">
                <a16:creationId xmlns:a16="http://schemas.microsoft.com/office/drawing/2014/main" id="{19AB4639-25CC-401C-8F8C-90821BB24636}"/>
              </a:ext>
            </a:extLst>
          </p:cNvPr>
          <p:cNvSpPr/>
          <p:nvPr/>
        </p:nvSpPr>
        <p:spPr bwMode="auto">
          <a:xfrm>
            <a:off x="7664815" y="2096254"/>
            <a:ext cx="1968185"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151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200" b="1" i="1">
                <a:solidFill>
                  <a:srgbClr val="6C6C6C"/>
                </a:solidFill>
                <a:latin typeface="Trebuchet MS" panose="020B0603020202020204" pitchFamily="34" charset="0"/>
              </a:rPr>
              <a:t>~ +4</a:t>
            </a:r>
            <a:r>
              <a:rPr kumimoji="0" lang="en-GB" sz="12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endParaRPr kumimoji="0" lang="en-GB" sz="105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p:txBody>
      </p:sp>
      <p:sp>
        <p:nvSpPr>
          <p:cNvPr id="86" name="Rectangle 85">
            <a:extLst>
              <a:ext uri="{FF2B5EF4-FFF2-40B4-BE49-F238E27FC236}">
                <a16:creationId xmlns:a16="http://schemas.microsoft.com/office/drawing/2014/main" id="{39DE89E0-737E-410F-8525-85E5DD4EC013}"/>
              </a:ext>
            </a:extLst>
          </p:cNvPr>
          <p:cNvSpPr/>
          <p:nvPr/>
        </p:nvSpPr>
        <p:spPr bwMode="auto">
          <a:xfrm>
            <a:off x="7664815" y="4688211"/>
            <a:ext cx="1968185"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286.5m</a:t>
            </a:r>
          </a:p>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effectLst/>
                <a:uLnTx/>
                <a:uFillTx/>
                <a:latin typeface="Trebuchet MS" panose="020B0603020202020204" pitchFamily="34" charset="0"/>
                <a:ea typeface="+mn-ea"/>
                <a:cs typeface="Arial" pitchFamily="34" charset="0"/>
              </a:rPr>
              <a:t>~ +3%</a:t>
            </a:r>
            <a:endParaRPr kumimoji="0" lang="en-GB" sz="1050" b="1" i="1" u="none" strike="noStrike" kern="1200" cap="none" spc="0" normalizeH="0" baseline="0" noProof="0">
              <a:ln>
                <a:noFill/>
              </a:ln>
              <a:effectLst/>
              <a:uLnTx/>
              <a:uFillTx/>
              <a:latin typeface="Trebuchet MS" panose="020B0603020202020204" pitchFamily="34" charset="0"/>
              <a:ea typeface="+mn-ea"/>
              <a:cs typeface="Arial" pitchFamily="34" charset="0"/>
            </a:endParaRPr>
          </a:p>
        </p:txBody>
      </p:sp>
      <p:sp>
        <p:nvSpPr>
          <p:cNvPr id="89" name="Rectangle 88">
            <a:extLst>
              <a:ext uri="{FF2B5EF4-FFF2-40B4-BE49-F238E27FC236}">
                <a16:creationId xmlns:a16="http://schemas.microsoft.com/office/drawing/2014/main" id="{3EA799DF-A51B-4CD6-9AF3-A99647E6EB3B}"/>
              </a:ext>
            </a:extLst>
          </p:cNvPr>
          <p:cNvSpPr/>
          <p:nvPr/>
        </p:nvSpPr>
        <p:spPr bwMode="auto">
          <a:xfrm>
            <a:off x="5889731" y="3810737"/>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1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050" b="1" i="1">
                <a:latin typeface="Trebuchet MS" panose="020B0603020202020204" pitchFamily="34" charset="0"/>
              </a:rPr>
              <a:t>~ +7</a:t>
            </a:r>
            <a:r>
              <a:rPr kumimoji="0" lang="en-GB" sz="1050" b="1" i="1" u="none" strike="noStrike" kern="1200" cap="none" spc="0" normalizeH="0" baseline="0" noProof="0">
                <a:ln>
                  <a:noFill/>
                </a:ln>
                <a:effectLst/>
                <a:uLnTx/>
                <a:uFillTx/>
                <a:latin typeface="Trebuchet MS" panose="020B0603020202020204" pitchFamily="34" charset="0"/>
                <a:ea typeface="+mn-ea"/>
                <a:cs typeface="Arial" pitchFamily="34" charset="0"/>
              </a:rPr>
              <a:t>%</a:t>
            </a:r>
          </a:p>
        </p:txBody>
      </p:sp>
      <p:sp>
        <p:nvSpPr>
          <p:cNvPr id="43" name="Rectangle 42">
            <a:extLst>
              <a:ext uri="{FF2B5EF4-FFF2-40B4-BE49-F238E27FC236}">
                <a16:creationId xmlns:a16="http://schemas.microsoft.com/office/drawing/2014/main" id="{5EF23CE8-FA1A-490A-867F-9ADD3B2693E4}"/>
              </a:ext>
            </a:extLst>
          </p:cNvPr>
          <p:cNvSpPr/>
          <p:nvPr/>
        </p:nvSpPr>
        <p:spPr bwMode="auto">
          <a:xfrm>
            <a:off x="5889731" y="5563320"/>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lang="en-GB" sz="1050" b="1">
                <a:solidFill>
                  <a:srgbClr val="289B38"/>
                </a:solidFill>
                <a:latin typeface="Trebuchet MS" panose="020B0603020202020204" pitchFamily="34" charset="0"/>
              </a:rPr>
              <a:t>~ €146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050" b="1" i="1">
                <a:solidFill>
                  <a:srgbClr val="6C6C6C"/>
                </a:solidFill>
                <a:latin typeface="Trebuchet MS" panose="020B0603020202020204" pitchFamily="34" charset="0"/>
              </a:rPr>
              <a:t>~ +5.3%</a:t>
            </a:r>
            <a:endParaRPr kumimoji="0" lang="en-GB" sz="105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p:txBody>
      </p:sp>
      <p:sp>
        <p:nvSpPr>
          <p:cNvPr id="44" name="Rectangle 43">
            <a:extLst>
              <a:ext uri="{FF2B5EF4-FFF2-40B4-BE49-F238E27FC236}">
                <a16:creationId xmlns:a16="http://schemas.microsoft.com/office/drawing/2014/main" id="{B556EBA1-48C6-48C3-9DC9-8DF046FBAF2C}"/>
              </a:ext>
            </a:extLst>
          </p:cNvPr>
          <p:cNvSpPr/>
          <p:nvPr/>
        </p:nvSpPr>
        <p:spPr bwMode="auto">
          <a:xfrm>
            <a:off x="4108325" y="2096254"/>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14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050" b="1" i="1">
                <a:solidFill>
                  <a:srgbClr val="6C6C6C"/>
                </a:solidFill>
                <a:latin typeface="Trebuchet MS" panose="020B0603020202020204" pitchFamily="34" charset="0"/>
              </a:rPr>
              <a:t>~ +10</a:t>
            </a:r>
            <a:r>
              <a:rPr kumimoji="0" lang="en-GB" sz="105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sp>
        <p:nvSpPr>
          <p:cNvPr id="45" name="Rectangle 44">
            <a:extLst>
              <a:ext uri="{FF2B5EF4-FFF2-40B4-BE49-F238E27FC236}">
                <a16:creationId xmlns:a16="http://schemas.microsoft.com/office/drawing/2014/main" id="{931C6884-999E-4697-BF7C-27C3123E62E7}"/>
              </a:ext>
            </a:extLst>
          </p:cNvPr>
          <p:cNvSpPr/>
          <p:nvPr/>
        </p:nvSpPr>
        <p:spPr bwMode="auto">
          <a:xfrm>
            <a:off x="4108325" y="2934445"/>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4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050" b="1" i="1">
                <a:solidFill>
                  <a:srgbClr val="6C6C6C"/>
                </a:solidFill>
                <a:latin typeface="Trebuchet MS" panose="020B0603020202020204" pitchFamily="34" charset="0"/>
              </a:rPr>
              <a:t>~ +13</a:t>
            </a:r>
            <a:r>
              <a:rPr kumimoji="0" lang="en-GB" sz="105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sp>
        <p:nvSpPr>
          <p:cNvPr id="46" name="Rectangle 45">
            <a:extLst>
              <a:ext uri="{FF2B5EF4-FFF2-40B4-BE49-F238E27FC236}">
                <a16:creationId xmlns:a16="http://schemas.microsoft.com/office/drawing/2014/main" id="{1E0226D3-4633-4EDA-877D-B040FB35AB8C}"/>
              </a:ext>
            </a:extLst>
          </p:cNvPr>
          <p:cNvSpPr/>
          <p:nvPr/>
        </p:nvSpPr>
        <p:spPr bwMode="auto">
          <a:xfrm>
            <a:off x="4108325" y="4687029"/>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16.5m</a:t>
            </a:r>
          </a:p>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effectLst/>
                <a:uLnTx/>
                <a:uFillTx/>
                <a:latin typeface="Trebuchet MS" panose="020B0603020202020204" pitchFamily="34" charset="0"/>
                <a:ea typeface="+mn-ea"/>
                <a:cs typeface="Arial" pitchFamily="34" charset="0"/>
              </a:rPr>
              <a:t>~ +10%</a:t>
            </a:r>
            <a:endParaRPr kumimoji="0" lang="en-GB" sz="1050" b="1" i="1" u="none" strike="noStrike" kern="1200" cap="none" spc="0" normalizeH="0" baseline="0" noProof="0">
              <a:ln>
                <a:noFill/>
              </a:ln>
              <a:effectLst/>
              <a:uLnTx/>
              <a:uFillTx/>
              <a:latin typeface="Trebuchet MS" panose="020B0603020202020204" pitchFamily="34" charset="0"/>
              <a:ea typeface="+mn-ea"/>
              <a:cs typeface="Arial" pitchFamily="34" charset="0"/>
            </a:endParaRPr>
          </a:p>
        </p:txBody>
      </p:sp>
      <p:sp>
        <p:nvSpPr>
          <p:cNvPr id="47" name="Rectangle 46">
            <a:extLst>
              <a:ext uri="{FF2B5EF4-FFF2-40B4-BE49-F238E27FC236}">
                <a16:creationId xmlns:a16="http://schemas.microsoft.com/office/drawing/2014/main" id="{B4CFA30E-4A1A-4040-991A-495DF4A10580}"/>
              </a:ext>
            </a:extLst>
          </p:cNvPr>
          <p:cNvSpPr/>
          <p:nvPr/>
        </p:nvSpPr>
        <p:spPr bwMode="auto">
          <a:xfrm>
            <a:off x="4108325" y="3810737"/>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1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050" b="1" i="1">
                <a:latin typeface="Trebuchet MS" panose="020B0603020202020204" pitchFamily="34" charset="0"/>
              </a:rPr>
              <a:t>~ +10</a:t>
            </a:r>
            <a:r>
              <a:rPr kumimoji="0" lang="en-GB" sz="1050" b="1" i="1" u="none" strike="noStrike" kern="1200" cap="none" spc="0" normalizeH="0" baseline="0" noProof="0">
                <a:ln>
                  <a:noFill/>
                </a:ln>
                <a:effectLst/>
                <a:uLnTx/>
                <a:uFillTx/>
                <a:latin typeface="Trebuchet MS" panose="020B0603020202020204" pitchFamily="34" charset="0"/>
                <a:ea typeface="+mn-ea"/>
                <a:cs typeface="Arial" pitchFamily="34" charset="0"/>
              </a:rPr>
              <a:t>%</a:t>
            </a:r>
          </a:p>
        </p:txBody>
      </p:sp>
      <p:sp>
        <p:nvSpPr>
          <p:cNvPr id="49" name="Rectangle 48">
            <a:extLst>
              <a:ext uri="{FF2B5EF4-FFF2-40B4-BE49-F238E27FC236}">
                <a16:creationId xmlns:a16="http://schemas.microsoft.com/office/drawing/2014/main" id="{4CEF070C-10A3-402B-A567-04B5A5707142}"/>
              </a:ext>
            </a:extLst>
          </p:cNvPr>
          <p:cNvSpPr/>
          <p:nvPr/>
        </p:nvSpPr>
        <p:spPr bwMode="auto">
          <a:xfrm>
            <a:off x="4108325" y="5563320"/>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a:t>
            </a:r>
            <a:r>
              <a:rPr lang="en-GB" sz="1050" b="1">
                <a:solidFill>
                  <a:srgbClr val="289B38"/>
                </a:solidFill>
                <a:latin typeface="Trebuchet MS" panose="020B0603020202020204" pitchFamily="34" charset="0"/>
              </a:rPr>
              <a:t>35</a:t>
            </a: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050" b="1" i="1">
                <a:solidFill>
                  <a:srgbClr val="6C6C6C"/>
                </a:solidFill>
                <a:latin typeface="Trebuchet MS" panose="020B0603020202020204" pitchFamily="34" charset="0"/>
              </a:rPr>
              <a:t>~ +10.3</a:t>
            </a:r>
            <a:r>
              <a:rPr kumimoji="0" lang="en-GB" sz="105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sp>
        <p:nvSpPr>
          <p:cNvPr id="50" name="Rectangle 49">
            <a:extLst>
              <a:ext uri="{FF2B5EF4-FFF2-40B4-BE49-F238E27FC236}">
                <a16:creationId xmlns:a16="http://schemas.microsoft.com/office/drawing/2014/main" id="{40AC6737-C920-4282-803C-3787263AB325}"/>
              </a:ext>
            </a:extLst>
          </p:cNvPr>
          <p:cNvSpPr/>
          <p:nvPr/>
        </p:nvSpPr>
        <p:spPr bwMode="auto">
          <a:xfrm>
            <a:off x="2338087" y="2096254"/>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r>
              <a:rPr lang="en-GB" sz="1050" b="1">
                <a:solidFill>
                  <a:schemeClr val="tx2"/>
                </a:solidFill>
                <a:latin typeface="Trebuchet MS" panose="020B0603020202020204" pitchFamily="34" charset="0"/>
              </a:rPr>
              <a:t>~ €102m</a:t>
            </a:r>
          </a:p>
          <a:p>
            <a:pPr marR="0" algn="ctr" defTabSz="361950" rtl="0" eaLnBrk="1" fontAlgn="base" latinLnBrk="0" hangingPunct="1">
              <a:lnSpc>
                <a:spcPts val="1100"/>
              </a:lnSpc>
              <a:spcBef>
                <a:spcPct val="0"/>
              </a:spcBef>
              <a:spcAft>
                <a:spcPts val="600"/>
              </a:spcAft>
              <a:buClrTx/>
              <a:buSzTx/>
              <a:tabLst/>
            </a:pPr>
            <a:r>
              <a:rPr lang="en-GB" sz="1050" b="1" i="1">
                <a:latin typeface="Trebuchet MS" panose="020B0603020202020204" pitchFamily="34" charset="0"/>
              </a:rPr>
              <a:t>~ +2%</a:t>
            </a:r>
          </a:p>
        </p:txBody>
      </p:sp>
      <p:sp>
        <p:nvSpPr>
          <p:cNvPr id="51" name="Rectangle 50">
            <a:extLst>
              <a:ext uri="{FF2B5EF4-FFF2-40B4-BE49-F238E27FC236}">
                <a16:creationId xmlns:a16="http://schemas.microsoft.com/office/drawing/2014/main" id="{CCA1E744-642D-4E27-B133-5CB9220CD2ED}"/>
              </a:ext>
            </a:extLst>
          </p:cNvPr>
          <p:cNvSpPr/>
          <p:nvPr/>
        </p:nvSpPr>
        <p:spPr bwMode="auto">
          <a:xfrm>
            <a:off x="2338087" y="2955084"/>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50m</a:t>
            </a:r>
          </a:p>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effectLst/>
                <a:uLnTx/>
                <a:uFillTx/>
                <a:latin typeface="Trebuchet MS" panose="020B0603020202020204" pitchFamily="34" charset="0"/>
                <a:ea typeface="+mn-ea"/>
                <a:cs typeface="Arial" pitchFamily="34" charset="0"/>
              </a:rPr>
              <a:t>~ +0.5%</a:t>
            </a:r>
            <a:endParaRPr kumimoji="0" lang="en-GB" sz="1050" b="1" i="1" u="none" strike="noStrike" kern="1200" cap="none" spc="0" normalizeH="0" baseline="0" noProof="0">
              <a:ln>
                <a:noFill/>
              </a:ln>
              <a:effectLst/>
              <a:uLnTx/>
              <a:uFillTx/>
              <a:latin typeface="Trebuchet MS" panose="020B0603020202020204" pitchFamily="34" charset="0"/>
              <a:ea typeface="+mn-ea"/>
              <a:cs typeface="Arial" pitchFamily="34" charset="0"/>
            </a:endParaRPr>
          </a:p>
        </p:txBody>
      </p:sp>
      <p:sp>
        <p:nvSpPr>
          <p:cNvPr id="52" name="Rectangle 51">
            <a:extLst>
              <a:ext uri="{FF2B5EF4-FFF2-40B4-BE49-F238E27FC236}">
                <a16:creationId xmlns:a16="http://schemas.microsoft.com/office/drawing/2014/main" id="{04118EFC-EE59-4DDB-9F04-2660DF8D9CFD}"/>
              </a:ext>
            </a:extLst>
          </p:cNvPr>
          <p:cNvSpPr/>
          <p:nvPr/>
        </p:nvSpPr>
        <p:spPr bwMode="auto">
          <a:xfrm>
            <a:off x="2338087" y="4693908"/>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185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050" b="1" i="1">
                <a:solidFill>
                  <a:srgbClr val="6C6C6C"/>
                </a:solidFill>
                <a:latin typeface="Trebuchet MS" panose="020B0603020202020204" pitchFamily="34" charset="0"/>
              </a:rPr>
              <a:t>~ -1</a:t>
            </a:r>
            <a:r>
              <a:rPr kumimoji="0" lang="en-GB" sz="105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sp>
        <p:nvSpPr>
          <p:cNvPr id="53" name="Rectangle 52">
            <a:extLst>
              <a:ext uri="{FF2B5EF4-FFF2-40B4-BE49-F238E27FC236}">
                <a16:creationId xmlns:a16="http://schemas.microsoft.com/office/drawing/2014/main" id="{B24572AB-9534-43BC-972D-A430C2797644}"/>
              </a:ext>
            </a:extLst>
          </p:cNvPr>
          <p:cNvSpPr/>
          <p:nvPr/>
        </p:nvSpPr>
        <p:spPr bwMode="auto">
          <a:xfrm>
            <a:off x="2338087" y="3824496"/>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4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050" b="1" i="1">
                <a:solidFill>
                  <a:srgbClr val="6C6C6C"/>
                </a:solidFill>
                <a:latin typeface="Trebuchet MS" panose="020B0603020202020204" pitchFamily="34" charset="0"/>
              </a:rPr>
              <a:t>~0</a:t>
            </a:r>
            <a:r>
              <a:rPr kumimoji="0" lang="en-GB" sz="105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sp>
        <p:nvSpPr>
          <p:cNvPr id="55" name="Rectangle 54">
            <a:extLst>
              <a:ext uri="{FF2B5EF4-FFF2-40B4-BE49-F238E27FC236}">
                <a16:creationId xmlns:a16="http://schemas.microsoft.com/office/drawing/2014/main" id="{10D5D2EA-688D-4927-9F63-0ECF42EB5370}"/>
              </a:ext>
            </a:extLst>
          </p:cNvPr>
          <p:cNvSpPr/>
          <p:nvPr/>
        </p:nvSpPr>
        <p:spPr bwMode="auto">
          <a:xfrm>
            <a:off x="2338087" y="5563320"/>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341m</a:t>
            </a:r>
          </a:p>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effectLst/>
                <a:uLnTx/>
                <a:uFillTx/>
                <a:latin typeface="Trebuchet MS" panose="020B0603020202020204" pitchFamily="34" charset="0"/>
                <a:ea typeface="+mn-ea"/>
                <a:cs typeface="Arial" pitchFamily="34" charset="0"/>
              </a:rPr>
              <a:t>~ +0.01%</a:t>
            </a:r>
            <a:endParaRPr kumimoji="0" lang="en-GB" sz="1050" b="1" i="1" u="none" strike="noStrike" kern="1200" cap="none" spc="0" normalizeH="0" baseline="0" noProof="0">
              <a:ln>
                <a:noFill/>
              </a:ln>
              <a:effectLst/>
              <a:uLnTx/>
              <a:uFillTx/>
              <a:latin typeface="Trebuchet MS" panose="020B0603020202020204" pitchFamily="34" charset="0"/>
              <a:ea typeface="+mn-ea"/>
              <a:cs typeface="Arial" pitchFamily="34" charset="0"/>
            </a:endParaRPr>
          </a:p>
        </p:txBody>
      </p:sp>
      <p:sp>
        <p:nvSpPr>
          <p:cNvPr id="60" name="Rectangle 59">
            <a:extLst>
              <a:ext uri="{FF2B5EF4-FFF2-40B4-BE49-F238E27FC236}">
                <a16:creationId xmlns:a16="http://schemas.microsoft.com/office/drawing/2014/main" id="{0F7411FF-931F-4428-9782-B1936E618738}"/>
              </a:ext>
            </a:extLst>
          </p:cNvPr>
          <p:cNvSpPr/>
          <p:nvPr/>
        </p:nvSpPr>
        <p:spPr bwMode="auto">
          <a:xfrm>
            <a:off x="7664815" y="3813101"/>
            <a:ext cx="1968185"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2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6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200" b="1" i="1">
                <a:latin typeface="Trebuchet MS" panose="020B0603020202020204" pitchFamily="34" charset="0"/>
              </a:rPr>
              <a:t>~ +2</a:t>
            </a:r>
            <a:r>
              <a:rPr kumimoji="0" lang="en-GB" sz="1200" b="1" i="1" u="none" strike="noStrike" kern="1200" cap="none" spc="0" normalizeH="0" baseline="0" noProof="0">
                <a:ln>
                  <a:noFill/>
                </a:ln>
                <a:effectLst/>
                <a:uLnTx/>
                <a:uFillTx/>
                <a:latin typeface="Trebuchet MS" panose="020B0603020202020204" pitchFamily="34" charset="0"/>
                <a:ea typeface="+mn-ea"/>
                <a:cs typeface="Arial" pitchFamily="34" charset="0"/>
              </a:rPr>
              <a:t>%</a:t>
            </a:r>
          </a:p>
        </p:txBody>
      </p:sp>
      <p:sp>
        <p:nvSpPr>
          <p:cNvPr id="62" name="Rectangle 61">
            <a:extLst>
              <a:ext uri="{FF2B5EF4-FFF2-40B4-BE49-F238E27FC236}">
                <a16:creationId xmlns:a16="http://schemas.microsoft.com/office/drawing/2014/main" id="{B4B5EB93-D9FB-4310-BBB1-F16819ECE3A5}"/>
              </a:ext>
            </a:extLst>
          </p:cNvPr>
          <p:cNvSpPr/>
          <p:nvPr/>
        </p:nvSpPr>
        <p:spPr bwMode="auto">
          <a:xfrm>
            <a:off x="7664815" y="2937991"/>
            <a:ext cx="1968185"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2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a:t>
            </a:r>
            <a:r>
              <a:rPr lang="en-GB" sz="1200" b="1">
                <a:solidFill>
                  <a:srgbClr val="289B38"/>
                </a:solidFill>
                <a:latin typeface="Trebuchet MS" panose="020B0603020202020204" pitchFamily="34" charset="0"/>
              </a:rPr>
              <a:t>79</a:t>
            </a:r>
            <a:r>
              <a:rPr kumimoji="0" lang="en-GB" sz="12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200" b="1" i="1">
                <a:solidFill>
                  <a:srgbClr val="6C6C6C"/>
                </a:solidFill>
                <a:latin typeface="Trebuchet MS" panose="020B0603020202020204" pitchFamily="34" charset="0"/>
              </a:rPr>
              <a:t>~ +4</a:t>
            </a:r>
            <a:r>
              <a:rPr kumimoji="0" lang="en-GB" sz="12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pic>
        <p:nvPicPr>
          <p:cNvPr id="9" name="Picture 2 - 2" descr="Drapeau du Luxembourg">
            <a:extLst>
              <a:ext uri="{FF2B5EF4-FFF2-40B4-BE49-F238E27FC236}">
                <a16:creationId xmlns:a16="http://schemas.microsoft.com/office/drawing/2014/main" id="{B0970477-B417-4E39-BCC4-09D372FFF90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43176" y="4028667"/>
            <a:ext cx="600009" cy="360000"/>
          </a:xfrm>
          <a:prstGeom prst="roundRect">
            <a:avLst/>
          </a:prstGeom>
          <a:solidFill>
            <a:schemeClr val="bg1"/>
          </a:solidFill>
          <a:ln w="9525" cap="flat" cmpd="sng" algn="ctr">
            <a:noFill/>
            <a:prstDash val="solid"/>
            <a:round/>
            <a:headEnd type="none" w="med" len="med"/>
            <a:tailEnd type="none" w="med" len="med"/>
          </a:ln>
          <a:effectLst/>
        </p:spPr>
      </p:pic>
      <p:sp>
        <p:nvSpPr>
          <p:cNvPr id="107" name="Rectangle: Rounded Corners 4">
            <a:extLst>
              <a:ext uri="{FF2B5EF4-FFF2-40B4-BE49-F238E27FC236}">
                <a16:creationId xmlns:a16="http://schemas.microsoft.com/office/drawing/2014/main" id="{D9D9B692-EE19-493B-8051-6D1B341F9A65}"/>
              </a:ext>
            </a:extLst>
          </p:cNvPr>
          <p:cNvSpPr/>
          <p:nvPr/>
        </p:nvSpPr>
        <p:spPr bwMode="auto">
          <a:xfrm>
            <a:off x="382523" y="5819867"/>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tx2"/>
                </a:solidFill>
                <a:effectLst/>
                <a:latin typeface="Trebuchet MS" panose="020B0603020202020204" pitchFamily="34" charset="0"/>
              </a:rPr>
              <a:t>Total market sizes by vertical</a:t>
            </a:r>
          </a:p>
        </p:txBody>
      </p:sp>
      <p:sp>
        <p:nvSpPr>
          <p:cNvPr id="108" name="Rectangle: Rounded Corners 4">
            <a:extLst>
              <a:ext uri="{FF2B5EF4-FFF2-40B4-BE49-F238E27FC236}">
                <a16:creationId xmlns:a16="http://schemas.microsoft.com/office/drawing/2014/main" id="{D34F7579-186B-42C7-A9F6-172F9D397B67}"/>
              </a:ext>
            </a:extLst>
          </p:cNvPr>
          <p:cNvSpPr/>
          <p:nvPr/>
        </p:nvSpPr>
        <p:spPr bwMode="auto">
          <a:xfrm>
            <a:off x="7881980" y="1563368"/>
            <a:ext cx="1450539" cy="240410"/>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Total market sizes by geographies</a:t>
            </a:r>
          </a:p>
        </p:txBody>
      </p:sp>
      <p:cxnSp>
        <p:nvCxnSpPr>
          <p:cNvPr id="14" name="Connecteur droit 13">
            <a:extLst>
              <a:ext uri="{FF2B5EF4-FFF2-40B4-BE49-F238E27FC236}">
                <a16:creationId xmlns:a16="http://schemas.microsoft.com/office/drawing/2014/main" id="{B5820CBE-7878-4795-AAE6-60B7076F1F90}"/>
              </a:ext>
            </a:extLst>
          </p:cNvPr>
          <p:cNvCxnSpPr>
            <a:cxnSpLocks/>
          </p:cNvCxnSpPr>
          <p:nvPr/>
        </p:nvCxnSpPr>
        <p:spPr bwMode="auto">
          <a:xfrm>
            <a:off x="273000" y="1035711"/>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5" name="ZoneTexte 6">
            <a:extLst>
              <a:ext uri="{FF2B5EF4-FFF2-40B4-BE49-F238E27FC236}">
                <a16:creationId xmlns:a16="http://schemas.microsoft.com/office/drawing/2014/main" id="{7835799C-39A4-4B48-B444-AB9044F873CD}"/>
              </a:ext>
            </a:extLst>
          </p:cNvPr>
          <p:cNvSpPr txBox="1"/>
          <p:nvPr/>
        </p:nvSpPr>
        <p:spPr>
          <a:xfrm>
            <a:off x="2469548" y="904699"/>
            <a:ext cx="4966904" cy="251817"/>
          </a:xfrm>
          <a:prstGeom prst="rect">
            <a:avLst/>
          </a:prstGeom>
          <a:solidFill>
            <a:schemeClr val="bg1"/>
          </a:solidFill>
        </p:spPr>
        <p:txBody>
          <a:bodyPr wrap="square" rtlCol="0">
            <a:noAutofit/>
          </a:bodyPr>
          <a:lstStyle/>
          <a:p>
            <a:pPr algn="ctr"/>
            <a:r>
              <a:rPr lang="en-GB" sz="1200">
                <a:latin typeface="Trebuchet MS" panose="020B0603020202020204" pitchFamily="34" charset="0"/>
              </a:rPr>
              <a:t>Global overview of the BD&amp;A market by geographies and verticals</a:t>
            </a:r>
            <a:endParaRPr lang="en-GB" sz="1100">
              <a:latin typeface="Trebuchet MS" panose="020B0603020202020204" pitchFamily="34" charset="0"/>
            </a:endParaRPr>
          </a:p>
        </p:txBody>
      </p:sp>
      <p:sp>
        <p:nvSpPr>
          <p:cNvPr id="113" name="Rectangle: Rounded Corners 4">
            <a:extLst>
              <a:ext uri="{FF2B5EF4-FFF2-40B4-BE49-F238E27FC236}">
                <a16:creationId xmlns:a16="http://schemas.microsoft.com/office/drawing/2014/main" id="{CD9CE235-A39A-48F9-BA95-4B9C185731C1}"/>
              </a:ext>
            </a:extLst>
          </p:cNvPr>
          <p:cNvSpPr/>
          <p:nvPr/>
        </p:nvSpPr>
        <p:spPr bwMode="auto">
          <a:xfrm>
            <a:off x="382523" y="4748236"/>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France </a:t>
            </a:r>
          </a:p>
        </p:txBody>
      </p:sp>
      <p:sp>
        <p:nvSpPr>
          <p:cNvPr id="114" name="Rectangle: Rounded Corners 4">
            <a:extLst>
              <a:ext uri="{FF2B5EF4-FFF2-40B4-BE49-F238E27FC236}">
                <a16:creationId xmlns:a16="http://schemas.microsoft.com/office/drawing/2014/main" id="{EC9F6E44-6738-46BA-8B27-17F8FA043D82}"/>
              </a:ext>
            </a:extLst>
          </p:cNvPr>
          <p:cNvSpPr/>
          <p:nvPr/>
        </p:nvSpPr>
        <p:spPr bwMode="auto">
          <a:xfrm>
            <a:off x="382523" y="2959407"/>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Belgium</a:t>
            </a:r>
          </a:p>
        </p:txBody>
      </p:sp>
      <p:sp>
        <p:nvSpPr>
          <p:cNvPr id="115" name="Rectangle: Rounded Corners 4">
            <a:extLst>
              <a:ext uri="{FF2B5EF4-FFF2-40B4-BE49-F238E27FC236}">
                <a16:creationId xmlns:a16="http://schemas.microsoft.com/office/drawing/2014/main" id="{46D68191-5380-4E28-8488-025CB32B58BE}"/>
              </a:ext>
            </a:extLst>
          </p:cNvPr>
          <p:cNvSpPr/>
          <p:nvPr/>
        </p:nvSpPr>
        <p:spPr bwMode="auto">
          <a:xfrm>
            <a:off x="382523" y="2043444"/>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Netherlands</a:t>
            </a:r>
          </a:p>
        </p:txBody>
      </p:sp>
      <p:sp>
        <p:nvSpPr>
          <p:cNvPr id="116" name="Rectangle: Rounded Corners 4">
            <a:extLst>
              <a:ext uri="{FF2B5EF4-FFF2-40B4-BE49-F238E27FC236}">
                <a16:creationId xmlns:a16="http://schemas.microsoft.com/office/drawing/2014/main" id="{B2D99113-742D-4D12-8D4D-315331E4C38D}"/>
              </a:ext>
            </a:extLst>
          </p:cNvPr>
          <p:cNvSpPr/>
          <p:nvPr/>
        </p:nvSpPr>
        <p:spPr bwMode="auto">
          <a:xfrm>
            <a:off x="382523" y="3824054"/>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Luxembourg</a:t>
            </a:r>
          </a:p>
        </p:txBody>
      </p:sp>
      <p:sp>
        <p:nvSpPr>
          <p:cNvPr id="54" name="Rectangle 53">
            <a:extLst>
              <a:ext uri="{FF2B5EF4-FFF2-40B4-BE49-F238E27FC236}">
                <a16:creationId xmlns:a16="http://schemas.microsoft.com/office/drawing/2014/main" id="{E2EDA8C0-3F35-42AC-A37B-3A89F6473400}"/>
              </a:ext>
            </a:extLst>
          </p:cNvPr>
          <p:cNvSpPr/>
          <p:nvPr/>
        </p:nvSpPr>
        <p:spPr bwMode="auto">
          <a:xfrm>
            <a:off x="1444881" y="2035342"/>
            <a:ext cx="864000" cy="79200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iz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Future growth</a:t>
            </a:r>
            <a:r>
              <a:rPr lang="en-GB" sz="700" i="1" baseline="30000">
                <a:latin typeface="Trebuchet MS" panose="020B0603020202020204" pitchFamily="34" charset="0"/>
              </a:rPr>
              <a:t>1</a:t>
            </a:r>
            <a:r>
              <a:rPr lang="en-GB" sz="700" i="1">
                <a:latin typeface="Trebuchet MS" panose="020B0603020202020204" pitchFamily="34" charset="0"/>
              </a:rPr>
              <a:t>: </a:t>
            </a:r>
          </a:p>
        </p:txBody>
      </p:sp>
      <p:sp>
        <p:nvSpPr>
          <p:cNvPr id="57" name="Rectangle 56">
            <a:extLst>
              <a:ext uri="{FF2B5EF4-FFF2-40B4-BE49-F238E27FC236}">
                <a16:creationId xmlns:a16="http://schemas.microsoft.com/office/drawing/2014/main" id="{56D2F1AE-D69D-47CE-B4A1-E2BBF19BD30A}"/>
              </a:ext>
            </a:extLst>
          </p:cNvPr>
          <p:cNvSpPr/>
          <p:nvPr/>
        </p:nvSpPr>
        <p:spPr bwMode="auto">
          <a:xfrm>
            <a:off x="1444881" y="2959516"/>
            <a:ext cx="864000" cy="79200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iz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Future growth</a:t>
            </a:r>
            <a:r>
              <a:rPr lang="en-GB" sz="700" i="1" baseline="30000">
                <a:latin typeface="Trebuchet MS" panose="020B0603020202020204" pitchFamily="34" charset="0"/>
              </a:rPr>
              <a:t>1</a:t>
            </a:r>
            <a:r>
              <a:rPr lang="en-GB" sz="700" i="1">
                <a:latin typeface="Trebuchet MS" panose="020B0603020202020204" pitchFamily="34" charset="0"/>
              </a:rPr>
              <a:t>: </a:t>
            </a:r>
          </a:p>
        </p:txBody>
      </p:sp>
      <p:sp>
        <p:nvSpPr>
          <p:cNvPr id="58" name="Rectangle 57">
            <a:extLst>
              <a:ext uri="{FF2B5EF4-FFF2-40B4-BE49-F238E27FC236}">
                <a16:creationId xmlns:a16="http://schemas.microsoft.com/office/drawing/2014/main" id="{4E5A8748-A349-4CDA-BD9A-C8739B34CB8C}"/>
              </a:ext>
            </a:extLst>
          </p:cNvPr>
          <p:cNvSpPr/>
          <p:nvPr/>
        </p:nvSpPr>
        <p:spPr bwMode="auto">
          <a:xfrm>
            <a:off x="1444881" y="3732925"/>
            <a:ext cx="820606" cy="79200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iz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Future growth</a:t>
            </a:r>
            <a:r>
              <a:rPr lang="en-GB" sz="700" i="1" baseline="30000">
                <a:latin typeface="Trebuchet MS" panose="020B0603020202020204" pitchFamily="34" charset="0"/>
              </a:rPr>
              <a:t>1</a:t>
            </a:r>
            <a:r>
              <a:rPr lang="en-GB" sz="700" i="1">
                <a:latin typeface="Trebuchet MS" panose="020B0603020202020204" pitchFamily="34" charset="0"/>
              </a:rPr>
              <a:t>: </a:t>
            </a:r>
          </a:p>
        </p:txBody>
      </p:sp>
      <p:sp>
        <p:nvSpPr>
          <p:cNvPr id="59" name="Rectangle 58">
            <a:extLst>
              <a:ext uri="{FF2B5EF4-FFF2-40B4-BE49-F238E27FC236}">
                <a16:creationId xmlns:a16="http://schemas.microsoft.com/office/drawing/2014/main" id="{93EE29AE-3672-4992-B61E-FA8DB0DB91EC}"/>
              </a:ext>
            </a:extLst>
          </p:cNvPr>
          <p:cNvSpPr/>
          <p:nvPr/>
        </p:nvSpPr>
        <p:spPr bwMode="auto">
          <a:xfrm>
            <a:off x="1444881" y="4704226"/>
            <a:ext cx="864000" cy="79200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iz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Future growth</a:t>
            </a:r>
            <a:r>
              <a:rPr lang="en-GB" sz="700" i="1" baseline="30000">
                <a:latin typeface="Trebuchet MS" panose="020B0603020202020204" pitchFamily="34" charset="0"/>
              </a:rPr>
              <a:t>1</a:t>
            </a:r>
            <a:r>
              <a:rPr lang="en-GB" sz="700" i="1">
                <a:latin typeface="Trebuchet MS" panose="020B0603020202020204" pitchFamily="34" charset="0"/>
              </a:rPr>
              <a:t>: </a:t>
            </a:r>
          </a:p>
        </p:txBody>
      </p:sp>
      <p:sp>
        <p:nvSpPr>
          <p:cNvPr id="61" name="Rectangle 60">
            <a:extLst>
              <a:ext uri="{FF2B5EF4-FFF2-40B4-BE49-F238E27FC236}">
                <a16:creationId xmlns:a16="http://schemas.microsoft.com/office/drawing/2014/main" id="{6D8E28D4-E384-4FA7-BF9E-C7DCA53596F3}"/>
              </a:ext>
            </a:extLst>
          </p:cNvPr>
          <p:cNvSpPr/>
          <p:nvPr/>
        </p:nvSpPr>
        <p:spPr bwMode="auto">
          <a:xfrm>
            <a:off x="1444881" y="5534656"/>
            <a:ext cx="864000" cy="79200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iz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Future growth</a:t>
            </a:r>
            <a:r>
              <a:rPr lang="en-GB" sz="700" i="1" baseline="30000">
                <a:latin typeface="Trebuchet MS" panose="020B0603020202020204" pitchFamily="34" charset="0"/>
              </a:rPr>
              <a:t>1</a:t>
            </a:r>
            <a:r>
              <a:rPr lang="en-GB" sz="700" i="1">
                <a:latin typeface="Trebuchet MS" panose="020B0603020202020204" pitchFamily="34" charset="0"/>
              </a:rPr>
              <a:t>: </a:t>
            </a:r>
          </a:p>
        </p:txBody>
      </p:sp>
      <p:sp>
        <p:nvSpPr>
          <p:cNvPr id="63" name="Rectangle: Rounded Corners 4">
            <a:extLst>
              <a:ext uri="{FF2B5EF4-FFF2-40B4-BE49-F238E27FC236}">
                <a16:creationId xmlns:a16="http://schemas.microsoft.com/office/drawing/2014/main" id="{CF52B27B-156E-4EC7-93B5-D1842AB2B15C}"/>
              </a:ext>
            </a:extLst>
          </p:cNvPr>
          <p:cNvSpPr/>
          <p:nvPr/>
        </p:nvSpPr>
        <p:spPr bwMode="auto">
          <a:xfrm>
            <a:off x="382523" y="1648066"/>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Geographies</a:t>
            </a:r>
          </a:p>
        </p:txBody>
      </p:sp>
      <p:sp>
        <p:nvSpPr>
          <p:cNvPr id="64" name="Rectangle: Rounded Corners 4">
            <a:extLst>
              <a:ext uri="{FF2B5EF4-FFF2-40B4-BE49-F238E27FC236}">
                <a16:creationId xmlns:a16="http://schemas.microsoft.com/office/drawing/2014/main" id="{7E74E807-E39E-4930-A8CE-EE58B0787D58}"/>
              </a:ext>
            </a:extLst>
          </p:cNvPr>
          <p:cNvSpPr/>
          <p:nvPr/>
        </p:nvSpPr>
        <p:spPr bwMode="auto">
          <a:xfrm>
            <a:off x="1239152" y="1485567"/>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tx2"/>
                </a:solidFill>
                <a:effectLst/>
                <a:latin typeface="Trebuchet MS" panose="020B0603020202020204" pitchFamily="34" charset="0"/>
              </a:rPr>
              <a:t>Verticals</a:t>
            </a:r>
          </a:p>
        </p:txBody>
      </p:sp>
      <p:cxnSp>
        <p:nvCxnSpPr>
          <p:cNvPr id="24" name="Connecteur droit 23">
            <a:extLst>
              <a:ext uri="{FF2B5EF4-FFF2-40B4-BE49-F238E27FC236}">
                <a16:creationId xmlns:a16="http://schemas.microsoft.com/office/drawing/2014/main" id="{4860D5DD-536F-45CE-B8D0-870627FF6046}"/>
              </a:ext>
            </a:extLst>
          </p:cNvPr>
          <p:cNvCxnSpPr/>
          <p:nvPr/>
        </p:nvCxnSpPr>
        <p:spPr bwMode="auto">
          <a:xfrm>
            <a:off x="457200" y="2892639"/>
            <a:ext cx="9233851" cy="0"/>
          </a:xfrm>
          <a:prstGeom prst="line">
            <a:avLst/>
          </a:prstGeom>
          <a:solidFill>
            <a:schemeClr val="accent1"/>
          </a:solidFill>
          <a:ln w="9525" cap="flat" cmpd="sng" algn="ctr">
            <a:solidFill>
              <a:schemeClr val="accent1">
                <a:lumMod val="75000"/>
              </a:schemeClr>
            </a:solidFill>
            <a:prstDash val="dash"/>
            <a:round/>
            <a:headEnd type="none" w="med" len="med"/>
            <a:tailEnd type="none" w="med" len="med"/>
          </a:ln>
          <a:effectLst/>
        </p:spPr>
      </p:cxnSp>
      <p:cxnSp>
        <p:nvCxnSpPr>
          <p:cNvPr id="65" name="Connecteur droit 64">
            <a:extLst>
              <a:ext uri="{FF2B5EF4-FFF2-40B4-BE49-F238E27FC236}">
                <a16:creationId xmlns:a16="http://schemas.microsoft.com/office/drawing/2014/main" id="{56668BD2-A556-41F9-B161-1446938B6407}"/>
              </a:ext>
            </a:extLst>
          </p:cNvPr>
          <p:cNvCxnSpPr/>
          <p:nvPr/>
        </p:nvCxnSpPr>
        <p:spPr bwMode="auto">
          <a:xfrm>
            <a:off x="457200" y="3751516"/>
            <a:ext cx="9233851" cy="0"/>
          </a:xfrm>
          <a:prstGeom prst="line">
            <a:avLst/>
          </a:prstGeom>
          <a:solidFill>
            <a:schemeClr val="accent1"/>
          </a:solidFill>
          <a:ln w="9525" cap="flat" cmpd="sng" algn="ctr">
            <a:solidFill>
              <a:schemeClr val="accent1">
                <a:lumMod val="75000"/>
              </a:schemeClr>
            </a:solidFill>
            <a:prstDash val="dash"/>
            <a:round/>
            <a:headEnd type="none" w="med" len="med"/>
            <a:tailEnd type="none" w="med" len="med"/>
          </a:ln>
          <a:effectLst/>
        </p:spPr>
      </p:cxnSp>
      <p:cxnSp>
        <p:nvCxnSpPr>
          <p:cNvPr id="66" name="Connecteur droit 65">
            <a:extLst>
              <a:ext uri="{FF2B5EF4-FFF2-40B4-BE49-F238E27FC236}">
                <a16:creationId xmlns:a16="http://schemas.microsoft.com/office/drawing/2014/main" id="{4733E18A-2FC1-4CBA-AAA9-A2900A2D640A}"/>
              </a:ext>
            </a:extLst>
          </p:cNvPr>
          <p:cNvCxnSpPr/>
          <p:nvPr/>
        </p:nvCxnSpPr>
        <p:spPr bwMode="auto">
          <a:xfrm>
            <a:off x="457200" y="4630526"/>
            <a:ext cx="9233851" cy="0"/>
          </a:xfrm>
          <a:prstGeom prst="line">
            <a:avLst/>
          </a:prstGeom>
          <a:solidFill>
            <a:schemeClr val="accent1"/>
          </a:solidFill>
          <a:ln w="9525" cap="flat" cmpd="sng" algn="ctr">
            <a:solidFill>
              <a:schemeClr val="accent1">
                <a:lumMod val="75000"/>
              </a:schemeClr>
            </a:solidFill>
            <a:prstDash val="dash"/>
            <a:round/>
            <a:headEnd type="none" w="med" len="med"/>
            <a:tailEnd type="none" w="med" len="med"/>
          </a:ln>
          <a:effectLst/>
        </p:spPr>
      </p:cxnSp>
      <p:cxnSp>
        <p:nvCxnSpPr>
          <p:cNvPr id="67" name="Connecteur droit 66">
            <a:extLst>
              <a:ext uri="{FF2B5EF4-FFF2-40B4-BE49-F238E27FC236}">
                <a16:creationId xmlns:a16="http://schemas.microsoft.com/office/drawing/2014/main" id="{8EA6F477-F945-4E6A-9433-E7988CB09DB6}"/>
              </a:ext>
            </a:extLst>
          </p:cNvPr>
          <p:cNvCxnSpPr/>
          <p:nvPr/>
        </p:nvCxnSpPr>
        <p:spPr bwMode="auto">
          <a:xfrm>
            <a:off x="457200" y="5496226"/>
            <a:ext cx="9233851" cy="0"/>
          </a:xfrm>
          <a:prstGeom prst="line">
            <a:avLst/>
          </a:prstGeom>
          <a:solidFill>
            <a:schemeClr val="accent1"/>
          </a:solidFill>
          <a:ln w="9525" cap="flat" cmpd="sng" algn="ctr">
            <a:solidFill>
              <a:schemeClr val="accent1">
                <a:lumMod val="75000"/>
              </a:schemeClr>
            </a:solidFill>
            <a:prstDash val="dash"/>
            <a:round/>
            <a:headEnd type="none" w="med" len="med"/>
            <a:tailEnd type="none" w="med" len="med"/>
          </a:ln>
          <a:effectLst/>
        </p:spPr>
      </p:cxnSp>
      <p:sp>
        <p:nvSpPr>
          <p:cNvPr id="68" name="Rectangle 67">
            <a:extLst>
              <a:ext uri="{FF2B5EF4-FFF2-40B4-BE49-F238E27FC236}">
                <a16:creationId xmlns:a16="http://schemas.microsoft.com/office/drawing/2014/main" id="{21503CB5-33BE-4732-A392-FDE00411D40C}"/>
              </a:ext>
            </a:extLst>
          </p:cNvPr>
          <p:cNvSpPr/>
          <p:nvPr/>
        </p:nvSpPr>
        <p:spPr bwMode="auto">
          <a:xfrm>
            <a:off x="7664815" y="5563320"/>
            <a:ext cx="1968185"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522m</a:t>
            </a:r>
          </a:p>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2.5%</a:t>
            </a:r>
            <a:endParaRPr kumimoji="0" lang="en-GB" sz="12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p:txBody>
      </p:sp>
      <p:grpSp>
        <p:nvGrpSpPr>
          <p:cNvPr id="72" name="Groupe 71">
            <a:extLst>
              <a:ext uri="{FF2B5EF4-FFF2-40B4-BE49-F238E27FC236}">
                <a16:creationId xmlns:a16="http://schemas.microsoft.com/office/drawing/2014/main" id="{C3EF341B-670C-4F5B-8816-4478FB350C15}"/>
              </a:ext>
            </a:extLst>
          </p:cNvPr>
          <p:cNvGrpSpPr/>
          <p:nvPr/>
        </p:nvGrpSpPr>
        <p:grpSpPr>
          <a:xfrm>
            <a:off x="8448150" y="-11528"/>
            <a:ext cx="1435548" cy="588143"/>
            <a:chOff x="8448150" y="-11528"/>
            <a:chExt cx="1435548" cy="588143"/>
          </a:xfrm>
        </p:grpSpPr>
        <p:grpSp>
          <p:nvGrpSpPr>
            <p:cNvPr id="73" name="Groupe 72">
              <a:extLst>
                <a:ext uri="{FF2B5EF4-FFF2-40B4-BE49-F238E27FC236}">
                  <a16:creationId xmlns:a16="http://schemas.microsoft.com/office/drawing/2014/main" id="{ED3BC996-FD56-4338-8AEE-6B70A99073FA}"/>
                </a:ext>
              </a:extLst>
            </p:cNvPr>
            <p:cNvGrpSpPr/>
            <p:nvPr/>
          </p:nvGrpSpPr>
          <p:grpSpPr>
            <a:xfrm>
              <a:off x="8448150" y="-11528"/>
              <a:ext cx="1435548" cy="555653"/>
              <a:chOff x="8448150" y="-11528"/>
              <a:chExt cx="1435548" cy="555653"/>
            </a:xfrm>
          </p:grpSpPr>
          <p:sp>
            <p:nvSpPr>
              <p:cNvPr id="75" name="Rectangle : coins arrondis 199">
                <a:extLst>
                  <a:ext uri="{FF2B5EF4-FFF2-40B4-BE49-F238E27FC236}">
                    <a16:creationId xmlns:a16="http://schemas.microsoft.com/office/drawing/2014/main" id="{1C3B7076-7616-41DF-9B49-83397070BA55}"/>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6" name="Rectangle : coins arrondis 200">
                <a:extLst>
                  <a:ext uri="{FF2B5EF4-FFF2-40B4-BE49-F238E27FC236}">
                    <a16:creationId xmlns:a16="http://schemas.microsoft.com/office/drawing/2014/main" id="{0273EC4A-5127-4AA5-AFEC-C64B9472D045}"/>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7" name="Rectangle : coins arrondis 201">
                <a:extLst>
                  <a:ext uri="{FF2B5EF4-FFF2-40B4-BE49-F238E27FC236}">
                    <a16:creationId xmlns:a16="http://schemas.microsoft.com/office/drawing/2014/main" id="{42D328B2-1C66-4FBD-A7AA-F9E191A83839}"/>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8" name="ZoneTexte 18">
                <a:extLst>
                  <a:ext uri="{FF2B5EF4-FFF2-40B4-BE49-F238E27FC236}">
                    <a16:creationId xmlns:a16="http://schemas.microsoft.com/office/drawing/2014/main" id="{C51304FD-6BDE-4421-8C9A-5761AE4F77CE}"/>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79" name="Graphique 128" descr="Jauge">
                <a:extLst>
                  <a:ext uri="{FF2B5EF4-FFF2-40B4-BE49-F238E27FC236}">
                    <a16:creationId xmlns:a16="http://schemas.microsoft.com/office/drawing/2014/main" id="{204B19AC-46B4-49B4-9C0D-251E380920B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553764" y="187516"/>
                <a:ext cx="234953" cy="218224"/>
              </a:xfrm>
              <a:prstGeom prst="rect">
                <a:avLst/>
              </a:prstGeom>
              <a:effectLst/>
            </p:spPr>
          </p:pic>
          <p:pic>
            <p:nvPicPr>
              <p:cNvPr id="80" name="Graphique 90" descr="Poignée de main">
                <a:extLst>
                  <a:ext uri="{FF2B5EF4-FFF2-40B4-BE49-F238E27FC236}">
                    <a16:creationId xmlns:a16="http://schemas.microsoft.com/office/drawing/2014/main" id="{CBD108B3-1F12-4058-9F60-5C2D4F37E91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960868" y="152880"/>
                <a:ext cx="256313" cy="287496"/>
              </a:xfrm>
              <a:prstGeom prst="rect">
                <a:avLst/>
              </a:prstGeom>
              <a:effectLst/>
            </p:spPr>
          </p:pic>
          <p:pic>
            <p:nvPicPr>
              <p:cNvPr id="85" name="Graphique 74" descr="Mégaphone">
                <a:extLst>
                  <a:ext uri="{FF2B5EF4-FFF2-40B4-BE49-F238E27FC236}">
                    <a16:creationId xmlns:a16="http://schemas.microsoft.com/office/drawing/2014/main" id="{8A095CD0-056C-45A1-8E53-B4B3D059AFB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389331" y="181519"/>
                <a:ext cx="233011" cy="216420"/>
              </a:xfrm>
              <a:prstGeom prst="rect">
                <a:avLst/>
              </a:prstGeom>
              <a:effectLst/>
            </p:spPr>
          </p:pic>
          <p:pic>
            <p:nvPicPr>
              <p:cNvPr id="87" name="Picture 2" descr="Drapeau France">
                <a:extLst>
                  <a:ext uri="{FF2B5EF4-FFF2-40B4-BE49-F238E27FC236}">
                    <a16:creationId xmlns:a16="http://schemas.microsoft.com/office/drawing/2014/main" id="{0396A929-E20A-4E28-B678-B00E69590127}"/>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88" name="Picture 2" descr="5 ft x 3 ft 150 x 90 cm-DRAPEAU BELGE Belgique 100% Polyester ...">
                <a:extLst>
                  <a:ext uri="{FF2B5EF4-FFF2-40B4-BE49-F238E27FC236}">
                    <a16:creationId xmlns:a16="http://schemas.microsoft.com/office/drawing/2014/main" id="{448C4621-AE27-4CB7-98EA-5EF64DB02FC6}"/>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90" name="Picture 2 - 1" descr="Drapeau des Pays-Bas — Wikipédia">
                <a:extLst>
                  <a:ext uri="{FF2B5EF4-FFF2-40B4-BE49-F238E27FC236}">
                    <a16:creationId xmlns:a16="http://schemas.microsoft.com/office/drawing/2014/main" id="{E06ACCCA-3484-483D-885A-E9213FF0771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91" name="Picture 2 - 2" descr="Drapeau du Luxembourg">
                <a:extLst>
                  <a:ext uri="{FF2B5EF4-FFF2-40B4-BE49-F238E27FC236}">
                    <a16:creationId xmlns:a16="http://schemas.microsoft.com/office/drawing/2014/main" id="{48D69A0A-26E8-4A71-8543-26820967554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74" name="ZoneTexte 18">
              <a:extLst>
                <a:ext uri="{FF2B5EF4-FFF2-40B4-BE49-F238E27FC236}">
                  <a16:creationId xmlns:a16="http://schemas.microsoft.com/office/drawing/2014/main" id="{336D3575-5EDF-40E2-819F-540E7740B24F}"/>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Global overview</a:t>
              </a:r>
            </a:p>
          </p:txBody>
        </p:sp>
      </p:grpSp>
    </p:spTree>
    <p:extLst>
      <p:ext uri="{BB962C8B-B14F-4D97-AF65-F5344CB8AC3E}">
        <p14:creationId xmlns:p14="http://schemas.microsoft.com/office/powerpoint/2010/main" val="1917388172"/>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EBEC485D-0CDB-439C-BCEB-8D0581AEB790}"/>
              </a:ext>
            </a:extLst>
          </p:cNvPr>
          <p:cNvGraphicFramePr>
            <a:graphicFrameLocks noChangeAspect="1"/>
          </p:cNvGraphicFramePr>
          <p:nvPr>
            <p:custDataLst>
              <p:tags r:id="rId1"/>
            </p:custDataLst>
            <p:extLst>
              <p:ext uri="{D42A27DB-BD31-4B8C-83A1-F6EECF244321}">
                <p14:modId xmlns:p14="http://schemas.microsoft.com/office/powerpoint/2010/main" val="3262875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7" name="Object 16" hidden="1">
                        <a:extLst>
                          <a:ext uri="{FF2B5EF4-FFF2-40B4-BE49-F238E27FC236}">
                            <a16:creationId xmlns:a16="http://schemas.microsoft.com/office/drawing/2014/main" id="{EBEC485D-0CDB-439C-BCEB-8D0581AEB7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A29E73CE-3BF5-4210-BDE1-F106CD780CEE}"/>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pic>
        <p:nvPicPr>
          <p:cNvPr id="41" name="Picture 40">
            <a:extLst>
              <a:ext uri="{FF2B5EF4-FFF2-40B4-BE49-F238E27FC236}">
                <a16:creationId xmlns:a16="http://schemas.microsoft.com/office/drawing/2014/main" id="{0723779D-2418-424B-A54E-6EAD0086AE86}"/>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2116100" y="1113994"/>
            <a:ext cx="4974171" cy="5541319"/>
          </a:xfrm>
          <a:prstGeom prst="rect">
            <a:avLst/>
          </a:prstGeom>
          <a:noFill/>
        </p:spPr>
      </p:pic>
      <p:sp>
        <p:nvSpPr>
          <p:cNvPr id="2" name="Title 1">
            <a:extLst>
              <a:ext uri="{FF2B5EF4-FFF2-40B4-BE49-F238E27FC236}">
                <a16:creationId xmlns:a16="http://schemas.microsoft.com/office/drawing/2014/main" id="{8B209259-435B-45EF-8E08-C29099D248A8}"/>
              </a:ext>
            </a:extLst>
          </p:cNvPr>
          <p:cNvSpPr>
            <a:spLocks noGrp="1"/>
          </p:cNvSpPr>
          <p:nvPr>
            <p:ph type="title"/>
          </p:nvPr>
        </p:nvSpPr>
        <p:spPr>
          <a:xfrm>
            <a:off x="165600" y="147600"/>
            <a:ext cx="8352000" cy="684000"/>
          </a:xfrm>
        </p:spPr>
        <p:txBody>
          <a:bodyPr/>
          <a:lstStyle/>
          <a:p>
            <a:r>
              <a:rPr lang="en-GB" dirty="0" err="1">
                <a:solidFill>
                  <a:schemeClr val="tx2"/>
                </a:solidFill>
                <a:latin typeface="Trebuchet MS" panose="020B0603020202020204" pitchFamily="34" charset="0"/>
              </a:rPr>
              <a:t>Altares</a:t>
            </a:r>
            <a:r>
              <a:rPr lang="en-GB" dirty="0">
                <a:latin typeface="Trebuchet MS" panose="020B0603020202020204" pitchFamily="34" charset="0"/>
              </a:rPr>
              <a:t> plays a </a:t>
            </a:r>
            <a:r>
              <a:rPr lang="en-GB" dirty="0">
                <a:solidFill>
                  <a:schemeClr val="tx2"/>
                </a:solidFill>
                <a:latin typeface="Trebuchet MS" panose="020B0603020202020204" pitchFamily="34" charset="0"/>
              </a:rPr>
              <a:t>leading</a:t>
            </a:r>
            <a:r>
              <a:rPr lang="en-GB" dirty="0">
                <a:latin typeface="Trebuchet MS" panose="020B0603020202020204" pitchFamily="34" charset="0"/>
              </a:rPr>
              <a:t> </a:t>
            </a:r>
            <a:r>
              <a:rPr lang="en-GB" dirty="0">
                <a:solidFill>
                  <a:schemeClr val="tx2"/>
                </a:solidFill>
                <a:latin typeface="Trebuchet MS" panose="020B0603020202020204" pitchFamily="34" charset="0"/>
              </a:rPr>
              <a:t>role</a:t>
            </a:r>
            <a:r>
              <a:rPr lang="en-GB" dirty="0">
                <a:latin typeface="Trebuchet MS" panose="020B0603020202020204" pitchFamily="34" charset="0"/>
              </a:rPr>
              <a:t> in each geography, representing </a:t>
            </a:r>
            <a:r>
              <a:rPr lang="en-GB" dirty="0">
                <a:solidFill>
                  <a:schemeClr val="tx2"/>
                </a:solidFill>
                <a:latin typeface="Trebuchet MS" panose="020B0603020202020204" pitchFamily="34" charset="0"/>
              </a:rPr>
              <a:t>17%</a:t>
            </a:r>
            <a:r>
              <a:rPr lang="en-GB" dirty="0">
                <a:latin typeface="Trebuchet MS" panose="020B0603020202020204" pitchFamily="34" charset="0"/>
              </a:rPr>
              <a:t> of the </a:t>
            </a:r>
            <a:r>
              <a:rPr lang="en-GB" dirty="0">
                <a:solidFill>
                  <a:schemeClr val="tx2"/>
                </a:solidFill>
                <a:latin typeface="Trebuchet MS" panose="020B0603020202020204" pitchFamily="34" charset="0"/>
              </a:rPr>
              <a:t>French</a:t>
            </a:r>
            <a:r>
              <a:rPr lang="en-GB" dirty="0">
                <a:latin typeface="Trebuchet MS" panose="020B0603020202020204" pitchFamily="34" charset="0"/>
              </a:rPr>
              <a:t> BD&amp;A market, </a:t>
            </a:r>
            <a:r>
              <a:rPr lang="en-GB" dirty="0">
                <a:solidFill>
                  <a:schemeClr val="tx2"/>
                </a:solidFill>
                <a:latin typeface="Trebuchet MS" panose="020B0603020202020204" pitchFamily="34" charset="0"/>
              </a:rPr>
              <a:t>23%</a:t>
            </a:r>
            <a:r>
              <a:rPr lang="en-GB" dirty="0">
                <a:latin typeface="Trebuchet MS" panose="020B0603020202020204" pitchFamily="34" charset="0"/>
              </a:rPr>
              <a:t> in the </a:t>
            </a:r>
            <a:r>
              <a:rPr lang="en-GB" dirty="0">
                <a:solidFill>
                  <a:schemeClr val="tx2"/>
                </a:solidFill>
                <a:latin typeface="Trebuchet MS" panose="020B0603020202020204" pitchFamily="34" charset="0"/>
              </a:rPr>
              <a:t>Netherlands</a:t>
            </a:r>
            <a:r>
              <a:rPr lang="en-GB" dirty="0">
                <a:latin typeface="Trebuchet MS" panose="020B0603020202020204" pitchFamily="34" charset="0"/>
              </a:rPr>
              <a:t>, </a:t>
            </a:r>
            <a:r>
              <a:rPr lang="en-GB" dirty="0">
                <a:solidFill>
                  <a:schemeClr val="tx2"/>
                </a:solidFill>
                <a:latin typeface="Trebuchet MS" panose="020B0603020202020204" pitchFamily="34" charset="0"/>
              </a:rPr>
              <a:t>14%</a:t>
            </a:r>
            <a:r>
              <a:rPr lang="en-GB" dirty="0">
                <a:latin typeface="Trebuchet MS" panose="020B0603020202020204" pitchFamily="34" charset="0"/>
              </a:rPr>
              <a:t> in </a:t>
            </a:r>
            <a:r>
              <a:rPr lang="en-GB" dirty="0">
                <a:solidFill>
                  <a:schemeClr val="tx2"/>
                </a:solidFill>
                <a:latin typeface="Trebuchet MS" panose="020B0603020202020204" pitchFamily="34" charset="0"/>
              </a:rPr>
              <a:t>Belgium</a:t>
            </a:r>
            <a:r>
              <a:rPr lang="en-GB" dirty="0">
                <a:latin typeface="Trebuchet MS" panose="020B0603020202020204" pitchFamily="34" charset="0"/>
              </a:rPr>
              <a:t> and </a:t>
            </a:r>
            <a:r>
              <a:rPr lang="en-GB" dirty="0">
                <a:solidFill>
                  <a:schemeClr val="tx2"/>
                </a:solidFill>
                <a:latin typeface="Trebuchet MS" panose="020B0603020202020204" pitchFamily="34" charset="0"/>
              </a:rPr>
              <a:t>13%</a:t>
            </a:r>
            <a:r>
              <a:rPr lang="en-GB" dirty="0">
                <a:latin typeface="Trebuchet MS" panose="020B0603020202020204" pitchFamily="34" charset="0"/>
              </a:rPr>
              <a:t> in </a:t>
            </a:r>
            <a:r>
              <a:rPr lang="en-GB" dirty="0">
                <a:solidFill>
                  <a:schemeClr val="tx2"/>
                </a:solidFill>
                <a:latin typeface="Trebuchet MS" panose="020B0603020202020204" pitchFamily="34" charset="0"/>
              </a:rPr>
              <a:t>Luxembourg</a:t>
            </a:r>
          </a:p>
        </p:txBody>
      </p:sp>
      <p:sp>
        <p:nvSpPr>
          <p:cNvPr id="3" name="Text Placeholder 2">
            <a:extLst>
              <a:ext uri="{FF2B5EF4-FFF2-40B4-BE49-F238E27FC236}">
                <a16:creationId xmlns:a16="http://schemas.microsoft.com/office/drawing/2014/main" id="{B66E256D-ED32-4E13-A0C0-CF1897D67355}"/>
              </a:ext>
            </a:extLst>
          </p:cNvPr>
          <p:cNvSpPr>
            <a:spLocks noGrp="1"/>
          </p:cNvSpPr>
          <p:nvPr>
            <p:ph type="body" sz="quarter" idx="10"/>
          </p:nvPr>
        </p:nvSpPr>
        <p:spPr/>
        <p:txBody>
          <a:bodyPr/>
          <a:lstStyle/>
          <a:p>
            <a:r>
              <a:rPr lang="en-GB"/>
              <a:t>Sources: eleven research &amp; analysis, expert calls, company data</a:t>
            </a:r>
          </a:p>
          <a:p>
            <a:r>
              <a:rPr lang="en-GB"/>
              <a:t>*</a:t>
            </a:r>
            <a:r>
              <a:rPr lang="en-GB" err="1"/>
              <a:t>BvD</a:t>
            </a:r>
            <a:r>
              <a:rPr lang="en-GB"/>
              <a:t> revenue in 2017, before its acquisition by Moody’s</a:t>
            </a:r>
          </a:p>
          <a:p>
            <a:endParaRPr lang="en-GB"/>
          </a:p>
        </p:txBody>
      </p:sp>
      <p:cxnSp>
        <p:nvCxnSpPr>
          <p:cNvPr id="5" name="Connecteur droit 9">
            <a:extLst>
              <a:ext uri="{FF2B5EF4-FFF2-40B4-BE49-F238E27FC236}">
                <a16:creationId xmlns:a16="http://schemas.microsoft.com/office/drawing/2014/main" id="{6D495D3C-AD3F-48EC-A190-255C7572D61D}"/>
              </a:ext>
            </a:extLst>
          </p:cNvPr>
          <p:cNvCxnSpPr>
            <a:cxnSpLocks/>
          </p:cNvCxnSpPr>
          <p:nvPr/>
        </p:nvCxnSpPr>
        <p:spPr bwMode="auto">
          <a:xfrm>
            <a:off x="273000" y="1036866"/>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6" name="Rectangle 84">
            <a:extLst>
              <a:ext uri="{FF2B5EF4-FFF2-40B4-BE49-F238E27FC236}">
                <a16:creationId xmlns:a16="http://schemas.microsoft.com/office/drawing/2014/main" id="{1DE26851-631D-4848-9EBB-E00EE8883FA0}"/>
              </a:ext>
            </a:extLst>
          </p:cNvPr>
          <p:cNvSpPr/>
          <p:nvPr/>
        </p:nvSpPr>
        <p:spPr bwMode="auto">
          <a:xfrm>
            <a:off x="2013960" y="900851"/>
            <a:ext cx="5878081" cy="24579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defRPr/>
            </a:pPr>
            <a:r>
              <a:rPr lang="en-GB" sz="1100">
                <a:latin typeface="Trebuchet MS" panose="020B0603020202020204" pitchFamily="34" charset="0"/>
              </a:rPr>
              <a:t>Mapping of </a:t>
            </a:r>
            <a:r>
              <a:rPr lang="en-GB" sz="1100" err="1">
                <a:latin typeface="Trebuchet MS" panose="020B0603020202020204" pitchFamily="34" charset="0"/>
              </a:rPr>
              <a:t>Altares</a:t>
            </a:r>
            <a:r>
              <a:rPr lang="en-GB" sz="1100">
                <a:latin typeface="Trebuchet MS" panose="020B0603020202020204" pitchFamily="34" charset="0"/>
              </a:rPr>
              <a:t>’ three main competitors on the BD&amp;A market on the three geographies</a:t>
            </a:r>
          </a:p>
        </p:txBody>
      </p:sp>
      <p:pic>
        <p:nvPicPr>
          <p:cNvPr id="24" name="Picture 2" descr="Drapeau France">
            <a:extLst>
              <a:ext uri="{FF2B5EF4-FFF2-40B4-BE49-F238E27FC236}">
                <a16:creationId xmlns:a16="http://schemas.microsoft.com/office/drawing/2014/main" id="{04D47BE3-B8AA-4A02-9464-B44BE390C64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7006" b="16757"/>
          <a:stretch/>
        </p:blipFill>
        <p:spPr bwMode="auto">
          <a:xfrm>
            <a:off x="494955" y="3400439"/>
            <a:ext cx="238894"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89" name="Speech Bubble: Rectangle 88">
            <a:extLst>
              <a:ext uri="{FF2B5EF4-FFF2-40B4-BE49-F238E27FC236}">
                <a16:creationId xmlns:a16="http://schemas.microsoft.com/office/drawing/2014/main" id="{0A42DE0C-0424-41DB-9BC9-A65146960FF7}"/>
              </a:ext>
            </a:extLst>
          </p:cNvPr>
          <p:cNvSpPr/>
          <p:nvPr/>
        </p:nvSpPr>
        <p:spPr bwMode="auto">
          <a:xfrm>
            <a:off x="423692" y="3559285"/>
            <a:ext cx="2564369" cy="1711113"/>
          </a:xfrm>
          <a:prstGeom prst="wedgeRectCallout">
            <a:avLst>
              <a:gd name="adj1" fmla="val 73706"/>
              <a:gd name="adj2" fmla="val -27794"/>
            </a:avLst>
          </a:prstGeom>
          <a:solidFill>
            <a:schemeClr val="bg1">
              <a:lumMod val="95000"/>
            </a:schemeClr>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93" name="Rectangle 92">
            <a:extLst>
              <a:ext uri="{FF2B5EF4-FFF2-40B4-BE49-F238E27FC236}">
                <a16:creationId xmlns:a16="http://schemas.microsoft.com/office/drawing/2014/main" id="{27E00AC9-A6EC-4085-9312-C6E034401CAB}"/>
              </a:ext>
            </a:extLst>
          </p:cNvPr>
          <p:cNvSpPr/>
          <p:nvPr/>
        </p:nvSpPr>
        <p:spPr bwMode="auto">
          <a:xfrm>
            <a:off x="2156865" y="3625644"/>
            <a:ext cx="710653" cy="311675"/>
          </a:xfrm>
          <a:prstGeom prst="rect">
            <a:avLst/>
          </a:prstGeom>
          <a:solidFill>
            <a:schemeClr val="bg2">
              <a:lumMod val="20000"/>
              <a:lumOff val="80000"/>
            </a:schemeClr>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49.5m</a:t>
            </a:r>
          </a:p>
          <a:p>
            <a:pPr algn="ctr" defTabSz="361950">
              <a:lnSpc>
                <a:spcPts val="1100"/>
              </a:lnSpc>
              <a:spcAft>
                <a:spcPts val="200"/>
              </a:spcAft>
              <a:defRPr/>
            </a:pPr>
            <a:r>
              <a:rPr lang="en-GB" sz="1000" b="1" i="1">
                <a:solidFill>
                  <a:srgbClr val="6C6C6C"/>
                </a:solidFill>
                <a:latin typeface="Trebuchet MS" panose="020B0603020202020204" pitchFamily="34" charset="0"/>
              </a:rPr>
              <a:t>~17%</a:t>
            </a:r>
          </a:p>
        </p:txBody>
      </p:sp>
      <p:sp>
        <p:nvSpPr>
          <p:cNvPr id="94" name="Rectangle 93">
            <a:extLst>
              <a:ext uri="{FF2B5EF4-FFF2-40B4-BE49-F238E27FC236}">
                <a16:creationId xmlns:a16="http://schemas.microsoft.com/office/drawing/2014/main" id="{421DA50F-45D5-4307-80CC-94FEC0902CE8}"/>
              </a:ext>
            </a:extLst>
          </p:cNvPr>
          <p:cNvSpPr/>
          <p:nvPr/>
        </p:nvSpPr>
        <p:spPr bwMode="auto">
          <a:xfrm>
            <a:off x="2156573" y="4472842"/>
            <a:ext cx="711237" cy="311675"/>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26m</a:t>
            </a:r>
          </a:p>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9%</a:t>
            </a:r>
          </a:p>
        </p:txBody>
      </p:sp>
      <p:sp>
        <p:nvSpPr>
          <p:cNvPr id="95" name="Rectangle 94">
            <a:extLst>
              <a:ext uri="{FF2B5EF4-FFF2-40B4-BE49-F238E27FC236}">
                <a16:creationId xmlns:a16="http://schemas.microsoft.com/office/drawing/2014/main" id="{23027BF8-31C7-4EA5-91A2-9E1854EF0242}"/>
              </a:ext>
            </a:extLst>
          </p:cNvPr>
          <p:cNvSpPr/>
          <p:nvPr/>
        </p:nvSpPr>
        <p:spPr bwMode="auto">
          <a:xfrm>
            <a:off x="2156865" y="4044946"/>
            <a:ext cx="710652" cy="311675"/>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49m</a:t>
            </a:r>
          </a:p>
          <a:p>
            <a:pPr marL="0" marR="0" lvl="0" indent="0" algn="ctr" defTabSz="361950" rtl="0" eaLnBrk="1" fontAlgn="base" latinLnBrk="0" hangingPunct="1">
              <a:lnSpc>
                <a:spcPts val="1100"/>
              </a:lnSpc>
              <a:spcBef>
                <a:spcPct val="0"/>
              </a:spcBef>
              <a:spcAft>
                <a:spcPts val="200"/>
              </a:spcAft>
              <a:buClrTx/>
              <a:buSzTx/>
              <a:buFontTx/>
              <a:buNone/>
              <a:tabLst/>
              <a:defRPr/>
            </a:pPr>
            <a:r>
              <a:rPr lang="en-GB" sz="1000" b="1" i="1">
                <a:solidFill>
                  <a:srgbClr val="6C6C6C"/>
                </a:solidFill>
                <a:latin typeface="Trebuchet MS" panose="020B0603020202020204" pitchFamily="34" charset="0"/>
              </a:rPr>
              <a:t>~17</a:t>
            </a:r>
            <a:r>
              <a:rPr kumimoji="0" lang="en-GB" sz="10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sp>
        <p:nvSpPr>
          <p:cNvPr id="96" name="Rectangle 95">
            <a:extLst>
              <a:ext uri="{FF2B5EF4-FFF2-40B4-BE49-F238E27FC236}">
                <a16:creationId xmlns:a16="http://schemas.microsoft.com/office/drawing/2014/main" id="{FFDAAEBC-0AA9-43A9-8C1F-720AE3314F4D}"/>
              </a:ext>
            </a:extLst>
          </p:cNvPr>
          <p:cNvSpPr/>
          <p:nvPr/>
        </p:nvSpPr>
        <p:spPr bwMode="auto">
          <a:xfrm>
            <a:off x="1229630" y="3636602"/>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sp>
        <p:nvSpPr>
          <p:cNvPr id="97" name="Rectangle 96">
            <a:extLst>
              <a:ext uri="{FF2B5EF4-FFF2-40B4-BE49-F238E27FC236}">
                <a16:creationId xmlns:a16="http://schemas.microsoft.com/office/drawing/2014/main" id="{1D7614EE-35F9-4BDE-AF13-C5F2D301983F}"/>
              </a:ext>
            </a:extLst>
          </p:cNvPr>
          <p:cNvSpPr/>
          <p:nvPr/>
        </p:nvSpPr>
        <p:spPr bwMode="auto">
          <a:xfrm>
            <a:off x="1229630" y="4049737"/>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sp>
        <p:nvSpPr>
          <p:cNvPr id="98" name="Rectangle 97">
            <a:extLst>
              <a:ext uri="{FF2B5EF4-FFF2-40B4-BE49-F238E27FC236}">
                <a16:creationId xmlns:a16="http://schemas.microsoft.com/office/drawing/2014/main" id="{8BEB003C-5849-4172-AF32-E8B31D98767D}"/>
              </a:ext>
            </a:extLst>
          </p:cNvPr>
          <p:cNvSpPr/>
          <p:nvPr/>
        </p:nvSpPr>
        <p:spPr bwMode="auto">
          <a:xfrm>
            <a:off x="1229630" y="4510615"/>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pic>
        <p:nvPicPr>
          <p:cNvPr id="53" name="Picture 2" descr="Image result for bureau van dijk logo">
            <a:extLst>
              <a:ext uri="{FF2B5EF4-FFF2-40B4-BE49-F238E27FC236}">
                <a16:creationId xmlns:a16="http://schemas.microsoft.com/office/drawing/2014/main" id="{42B74A2B-8479-4D3A-AA6B-6C52F3C8784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9720" y="4570891"/>
            <a:ext cx="432373" cy="204357"/>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descr="ALTARES-D&amp;B - L'ASSOCIATION FRANCAISE DES CREDIT MANAGERS ET CONSEILS">
            <a:extLst>
              <a:ext uri="{FF2B5EF4-FFF2-40B4-BE49-F238E27FC236}">
                <a16:creationId xmlns:a16="http://schemas.microsoft.com/office/drawing/2014/main" id="{D259A4B6-5A4E-4A76-A59A-3AC1D752FBE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4690" y="3714537"/>
            <a:ext cx="302433" cy="169401"/>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0" descr="A picture containing light&#10;&#10;Description automatically generated">
            <a:extLst>
              <a:ext uri="{FF2B5EF4-FFF2-40B4-BE49-F238E27FC236}">
                <a16:creationId xmlns:a16="http://schemas.microsoft.com/office/drawing/2014/main" id="{294C3892-CA07-4023-9E9E-3D4629D12D0B}"/>
              </a:ext>
            </a:extLst>
          </p:cNvPr>
          <p:cNvPicPr>
            <a:picLocks noChangeAspect="1"/>
          </p:cNvPicPr>
          <p:nvPr/>
        </p:nvPicPr>
        <p:blipFill rotWithShape="1">
          <a:blip r:embed="rId10">
            <a:extLst>
              <a:ext uri="{28A0092B-C50C-407E-A947-70E740481C1C}">
                <a14:useLocalDpi xmlns:a14="http://schemas.microsoft.com/office/drawing/2010/main" val="0"/>
              </a:ext>
            </a:extLst>
          </a:blip>
          <a:srcRect t="38705" b="38705"/>
          <a:stretch/>
        </p:blipFill>
        <p:spPr>
          <a:xfrm>
            <a:off x="593379" y="4165672"/>
            <a:ext cx="585054" cy="105734"/>
          </a:xfrm>
          <a:prstGeom prst="rect">
            <a:avLst/>
          </a:prstGeom>
        </p:spPr>
      </p:pic>
      <p:pic>
        <p:nvPicPr>
          <p:cNvPr id="106" name="Picture 2" descr="5 ft x 3 ft 150 x 90 cm-DRAPEAU BELGE Belgique 100% Polyester ...">
            <a:extLst>
              <a:ext uri="{FF2B5EF4-FFF2-40B4-BE49-F238E27FC236}">
                <a16:creationId xmlns:a16="http://schemas.microsoft.com/office/drawing/2014/main" id="{79F308E9-46CF-42D5-9117-D1D625480D11}"/>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973"/>
          <a:stretch/>
        </p:blipFill>
        <p:spPr bwMode="auto">
          <a:xfrm>
            <a:off x="9145076" y="1712778"/>
            <a:ext cx="238896"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68" name="Rectangle: Rounded Corners 4">
            <a:extLst>
              <a:ext uri="{FF2B5EF4-FFF2-40B4-BE49-F238E27FC236}">
                <a16:creationId xmlns:a16="http://schemas.microsoft.com/office/drawing/2014/main" id="{3129BBB8-FEBE-4EDE-A29A-A2715953D234}"/>
              </a:ext>
            </a:extLst>
          </p:cNvPr>
          <p:cNvSpPr/>
          <p:nvPr/>
        </p:nvSpPr>
        <p:spPr bwMode="auto">
          <a:xfrm>
            <a:off x="410106" y="3347074"/>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France </a:t>
            </a:r>
          </a:p>
        </p:txBody>
      </p:sp>
      <p:sp>
        <p:nvSpPr>
          <p:cNvPr id="78" name="Rectangle: Rounded Corners 4">
            <a:extLst>
              <a:ext uri="{FF2B5EF4-FFF2-40B4-BE49-F238E27FC236}">
                <a16:creationId xmlns:a16="http://schemas.microsoft.com/office/drawing/2014/main" id="{A788D61C-7524-4FDA-A5F7-24AC9BC4C311}"/>
              </a:ext>
            </a:extLst>
          </p:cNvPr>
          <p:cNvSpPr/>
          <p:nvPr/>
        </p:nvSpPr>
        <p:spPr bwMode="auto">
          <a:xfrm>
            <a:off x="8255109" y="1665635"/>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Belgium</a:t>
            </a:r>
          </a:p>
        </p:txBody>
      </p:sp>
      <p:sp>
        <p:nvSpPr>
          <p:cNvPr id="80" name="Rectangle: Rounded Corners 4">
            <a:extLst>
              <a:ext uri="{FF2B5EF4-FFF2-40B4-BE49-F238E27FC236}">
                <a16:creationId xmlns:a16="http://schemas.microsoft.com/office/drawing/2014/main" id="{C5E09EFE-5C85-4D90-8B02-1AA08B48A0C2}"/>
              </a:ext>
            </a:extLst>
          </p:cNvPr>
          <p:cNvSpPr/>
          <p:nvPr/>
        </p:nvSpPr>
        <p:spPr bwMode="auto">
          <a:xfrm>
            <a:off x="1897999" y="1190192"/>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Netherlands</a:t>
            </a:r>
          </a:p>
        </p:txBody>
      </p:sp>
      <p:sp>
        <p:nvSpPr>
          <p:cNvPr id="47" name="Speech Bubble: Rectangle 46">
            <a:extLst>
              <a:ext uri="{FF2B5EF4-FFF2-40B4-BE49-F238E27FC236}">
                <a16:creationId xmlns:a16="http://schemas.microsoft.com/office/drawing/2014/main" id="{2C7EB5DC-F28C-4CD5-8A4E-7D74584D8E0F}"/>
              </a:ext>
            </a:extLst>
          </p:cNvPr>
          <p:cNvSpPr/>
          <p:nvPr/>
        </p:nvSpPr>
        <p:spPr bwMode="auto">
          <a:xfrm>
            <a:off x="1739325" y="1400710"/>
            <a:ext cx="2564369" cy="1711113"/>
          </a:xfrm>
          <a:prstGeom prst="wedgeRectCallout">
            <a:avLst>
              <a:gd name="adj1" fmla="val 77476"/>
              <a:gd name="adj2" fmla="val 39390"/>
            </a:avLst>
          </a:prstGeom>
          <a:solidFill>
            <a:schemeClr val="bg1">
              <a:lumMod val="95000"/>
            </a:schemeClr>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pic>
        <p:nvPicPr>
          <p:cNvPr id="23" name="Picture 2 - 1" descr="Drapeau des Pays-Bas — Wikipédia">
            <a:extLst>
              <a:ext uri="{FF2B5EF4-FFF2-40B4-BE49-F238E27FC236}">
                <a16:creationId xmlns:a16="http://schemas.microsoft.com/office/drawing/2014/main" id="{638844B9-32B7-4F20-BAE1-CDDA0C557B3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778552" y="1239132"/>
            <a:ext cx="238894" cy="144000"/>
          </a:xfrm>
          <a:prstGeom prst="roundRect">
            <a:avLst/>
          </a:prstGeom>
          <a:noFill/>
          <a:extLst>
            <a:ext uri="{909E8E84-426E-40DD-AFC4-6F175D3DCCD1}">
              <a14:hiddenFill xmlns:a14="http://schemas.microsoft.com/office/drawing/2010/main">
                <a:solidFill>
                  <a:srgbClr val="FFFFFF"/>
                </a:solidFill>
              </a14:hiddenFill>
            </a:ext>
          </a:extLst>
        </p:spPr>
      </p:pic>
      <p:pic>
        <p:nvPicPr>
          <p:cNvPr id="81" name="Picture 2" descr="Image result for creditsafe logo">
            <a:extLst>
              <a:ext uri="{FF2B5EF4-FFF2-40B4-BE49-F238E27FC236}">
                <a16:creationId xmlns:a16="http://schemas.microsoft.com/office/drawing/2014/main" id="{A816DCDC-01EB-46A0-BB2B-FF58CF9731F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916867" y="1996325"/>
            <a:ext cx="540946" cy="9336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ALTARES-D&amp;B - L'ASSOCIATION FRANCAISE DES CREDIT MANAGERS ET CONSEILS">
            <a:extLst>
              <a:ext uri="{FF2B5EF4-FFF2-40B4-BE49-F238E27FC236}">
                <a16:creationId xmlns:a16="http://schemas.microsoft.com/office/drawing/2014/main" id="{37A577BD-73AB-48C2-93FC-38FCEEBE0D9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36124" y="1556318"/>
            <a:ext cx="302433" cy="169401"/>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E9CB9E6D-B162-4E11-9E61-329207C51FA3}"/>
              </a:ext>
            </a:extLst>
          </p:cNvPr>
          <p:cNvSpPr/>
          <p:nvPr/>
        </p:nvSpPr>
        <p:spPr bwMode="auto">
          <a:xfrm>
            <a:off x="3496180" y="1907776"/>
            <a:ext cx="711237" cy="311675"/>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25m</a:t>
            </a:r>
          </a:p>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17%</a:t>
            </a:r>
          </a:p>
        </p:txBody>
      </p:sp>
      <p:sp>
        <p:nvSpPr>
          <p:cNvPr id="54" name="Rectangle 53">
            <a:extLst>
              <a:ext uri="{FF2B5EF4-FFF2-40B4-BE49-F238E27FC236}">
                <a16:creationId xmlns:a16="http://schemas.microsoft.com/office/drawing/2014/main" id="{CFE0DA9C-CA14-4F1D-A1D9-A9C1B3C0DBFF}"/>
              </a:ext>
            </a:extLst>
          </p:cNvPr>
          <p:cNvSpPr/>
          <p:nvPr/>
        </p:nvSpPr>
        <p:spPr bwMode="auto">
          <a:xfrm>
            <a:off x="3496180" y="1497284"/>
            <a:ext cx="711237" cy="311675"/>
          </a:xfrm>
          <a:prstGeom prst="rect">
            <a:avLst/>
          </a:prstGeom>
          <a:solidFill>
            <a:schemeClr val="bg2">
              <a:lumMod val="20000"/>
              <a:lumOff val="80000"/>
            </a:schemeClr>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34m</a:t>
            </a:r>
          </a:p>
          <a:p>
            <a:pPr marL="0" marR="0" lvl="0" indent="0" algn="ctr" defTabSz="361950" rtl="0" eaLnBrk="1" fontAlgn="base" latinLnBrk="0" hangingPunct="1">
              <a:lnSpc>
                <a:spcPts val="1100"/>
              </a:lnSpc>
              <a:spcBef>
                <a:spcPct val="0"/>
              </a:spcBef>
              <a:spcAft>
                <a:spcPts val="200"/>
              </a:spcAft>
              <a:buClrTx/>
              <a:buSzTx/>
              <a:buFontTx/>
              <a:buNone/>
              <a:tabLst/>
              <a:defRPr/>
            </a:pPr>
            <a:r>
              <a:rPr lang="en-GB" sz="1000" b="1" i="1">
                <a:solidFill>
                  <a:srgbClr val="6C6C6C"/>
                </a:solidFill>
                <a:latin typeface="Trebuchet MS" panose="020B0603020202020204" pitchFamily="34" charset="0"/>
              </a:rPr>
              <a:t>~23</a:t>
            </a:r>
            <a:r>
              <a:rPr kumimoji="0" lang="en-GB" sz="10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sp>
        <p:nvSpPr>
          <p:cNvPr id="56" name="Rectangle 55">
            <a:extLst>
              <a:ext uri="{FF2B5EF4-FFF2-40B4-BE49-F238E27FC236}">
                <a16:creationId xmlns:a16="http://schemas.microsoft.com/office/drawing/2014/main" id="{73291E4E-730E-4C6E-B026-1D163A9AAD7F}"/>
              </a:ext>
            </a:extLst>
          </p:cNvPr>
          <p:cNvSpPr/>
          <p:nvPr/>
        </p:nvSpPr>
        <p:spPr bwMode="auto">
          <a:xfrm>
            <a:off x="2574867" y="1482057"/>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sp>
        <p:nvSpPr>
          <p:cNvPr id="57" name="Rectangle 56">
            <a:extLst>
              <a:ext uri="{FF2B5EF4-FFF2-40B4-BE49-F238E27FC236}">
                <a16:creationId xmlns:a16="http://schemas.microsoft.com/office/drawing/2014/main" id="{5F199639-2799-4520-9CD5-F410B10BBC25}"/>
              </a:ext>
            </a:extLst>
          </p:cNvPr>
          <p:cNvSpPr/>
          <p:nvPr/>
        </p:nvSpPr>
        <p:spPr bwMode="auto">
          <a:xfrm>
            <a:off x="2574867" y="1924944"/>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sp>
        <p:nvSpPr>
          <p:cNvPr id="99" name="Speech Bubble: Rectangle 98">
            <a:extLst>
              <a:ext uri="{FF2B5EF4-FFF2-40B4-BE49-F238E27FC236}">
                <a16:creationId xmlns:a16="http://schemas.microsoft.com/office/drawing/2014/main" id="{4BCBFDBF-585C-4290-A4C4-9C51B4593A71}"/>
              </a:ext>
            </a:extLst>
          </p:cNvPr>
          <p:cNvSpPr/>
          <p:nvPr/>
        </p:nvSpPr>
        <p:spPr bwMode="auto">
          <a:xfrm>
            <a:off x="6889953" y="1880792"/>
            <a:ext cx="2564369" cy="1711113"/>
          </a:xfrm>
          <a:prstGeom prst="wedgeRectCallout">
            <a:avLst>
              <a:gd name="adj1" fmla="val -120450"/>
              <a:gd name="adj2" fmla="val 34551"/>
            </a:avLst>
          </a:prstGeom>
          <a:solidFill>
            <a:schemeClr val="bg1">
              <a:lumMod val="95000"/>
            </a:schemeClr>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110" name="Speech Bubble: Rectangle 109">
            <a:extLst>
              <a:ext uri="{FF2B5EF4-FFF2-40B4-BE49-F238E27FC236}">
                <a16:creationId xmlns:a16="http://schemas.microsoft.com/office/drawing/2014/main" id="{6CAF9CD0-D168-4D72-B052-99F2B45D4BEF}"/>
              </a:ext>
            </a:extLst>
          </p:cNvPr>
          <p:cNvSpPr/>
          <p:nvPr/>
        </p:nvSpPr>
        <p:spPr bwMode="auto">
          <a:xfrm>
            <a:off x="5383982" y="4620177"/>
            <a:ext cx="2564369" cy="1406936"/>
          </a:xfrm>
          <a:prstGeom prst="wedgeRectCallout">
            <a:avLst>
              <a:gd name="adj1" fmla="val -59242"/>
              <a:gd name="adj2" fmla="val -124282"/>
            </a:avLst>
          </a:prstGeom>
          <a:solidFill>
            <a:schemeClr val="bg1">
              <a:lumMod val="95000"/>
            </a:schemeClr>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111" name="Rectangle 110">
            <a:extLst>
              <a:ext uri="{FF2B5EF4-FFF2-40B4-BE49-F238E27FC236}">
                <a16:creationId xmlns:a16="http://schemas.microsoft.com/office/drawing/2014/main" id="{B92AEBEA-C80F-48EC-BA75-66526FED773D}"/>
              </a:ext>
            </a:extLst>
          </p:cNvPr>
          <p:cNvSpPr/>
          <p:nvPr/>
        </p:nvSpPr>
        <p:spPr bwMode="auto">
          <a:xfrm>
            <a:off x="7185905" y="4705485"/>
            <a:ext cx="711238" cy="311675"/>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3m</a:t>
            </a:r>
          </a:p>
          <a:p>
            <a:pPr marL="0" marR="0" lvl="0" indent="0" algn="ctr" defTabSz="361950" rtl="0" eaLnBrk="1" fontAlgn="base" latinLnBrk="0" hangingPunct="1">
              <a:lnSpc>
                <a:spcPts val="1100"/>
              </a:lnSpc>
              <a:spcBef>
                <a:spcPct val="0"/>
              </a:spcBef>
              <a:spcAft>
                <a:spcPts val="200"/>
              </a:spcAft>
              <a:buClrTx/>
              <a:buSzTx/>
              <a:buFontTx/>
              <a:buNone/>
              <a:tabLst/>
              <a:defRPr/>
            </a:pPr>
            <a:r>
              <a:rPr lang="en-GB" sz="1000" b="1" i="1">
                <a:solidFill>
                  <a:srgbClr val="6C6C6C"/>
                </a:solidFill>
                <a:latin typeface="Trebuchet MS" panose="020B0603020202020204" pitchFamily="34" charset="0"/>
              </a:rPr>
              <a:t>~50</a:t>
            </a:r>
            <a:r>
              <a:rPr kumimoji="0" lang="en-GB" sz="10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sp>
        <p:nvSpPr>
          <p:cNvPr id="112" name="Rectangle 111">
            <a:extLst>
              <a:ext uri="{FF2B5EF4-FFF2-40B4-BE49-F238E27FC236}">
                <a16:creationId xmlns:a16="http://schemas.microsoft.com/office/drawing/2014/main" id="{DC5C62C6-62B5-40DF-8BC1-6419FB988805}"/>
              </a:ext>
            </a:extLst>
          </p:cNvPr>
          <p:cNvSpPr/>
          <p:nvPr/>
        </p:nvSpPr>
        <p:spPr bwMode="auto">
          <a:xfrm>
            <a:off x="7176583" y="5566874"/>
            <a:ext cx="711237" cy="311675"/>
          </a:xfrm>
          <a:prstGeom prst="rect">
            <a:avLst/>
          </a:prstGeom>
          <a:solidFill>
            <a:schemeClr val="bg2">
              <a:lumMod val="20000"/>
              <a:lumOff val="80000"/>
            </a:schemeClr>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750k</a:t>
            </a:r>
          </a:p>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13%</a:t>
            </a:r>
          </a:p>
        </p:txBody>
      </p:sp>
      <p:sp>
        <p:nvSpPr>
          <p:cNvPr id="113" name="Rectangle 112">
            <a:extLst>
              <a:ext uri="{FF2B5EF4-FFF2-40B4-BE49-F238E27FC236}">
                <a16:creationId xmlns:a16="http://schemas.microsoft.com/office/drawing/2014/main" id="{71910195-4190-4988-BB54-991D7680B99E}"/>
              </a:ext>
            </a:extLst>
          </p:cNvPr>
          <p:cNvSpPr/>
          <p:nvPr/>
        </p:nvSpPr>
        <p:spPr bwMode="auto">
          <a:xfrm>
            <a:off x="7176583" y="5155363"/>
            <a:ext cx="711238" cy="311675"/>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1.5m</a:t>
            </a:r>
          </a:p>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effectLst/>
                <a:uLnTx/>
                <a:uFillTx/>
                <a:latin typeface="Trebuchet MS" panose="020B0603020202020204" pitchFamily="34" charset="0"/>
                <a:ea typeface="+mn-ea"/>
                <a:cs typeface="Arial" pitchFamily="34" charset="0"/>
              </a:rPr>
              <a:t>~25%</a:t>
            </a:r>
            <a:endParaRPr kumimoji="0" lang="en-GB" sz="1000" b="1" i="1" u="none" strike="noStrike" kern="1200" cap="none" spc="0" normalizeH="0" baseline="0" noProof="0">
              <a:ln>
                <a:noFill/>
              </a:ln>
              <a:effectLst/>
              <a:uLnTx/>
              <a:uFillTx/>
              <a:latin typeface="Trebuchet MS" panose="020B0603020202020204" pitchFamily="34" charset="0"/>
              <a:ea typeface="+mn-ea"/>
              <a:cs typeface="Arial" pitchFamily="34" charset="0"/>
            </a:endParaRPr>
          </a:p>
        </p:txBody>
      </p:sp>
      <p:sp>
        <p:nvSpPr>
          <p:cNvPr id="114" name="Rectangle 113">
            <a:extLst>
              <a:ext uri="{FF2B5EF4-FFF2-40B4-BE49-F238E27FC236}">
                <a16:creationId xmlns:a16="http://schemas.microsoft.com/office/drawing/2014/main" id="{89A5A8B3-F6D2-46AC-8D44-D5D430F8CA88}"/>
              </a:ext>
            </a:extLst>
          </p:cNvPr>
          <p:cNvSpPr/>
          <p:nvPr/>
        </p:nvSpPr>
        <p:spPr bwMode="auto">
          <a:xfrm>
            <a:off x="6255270" y="4707527"/>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sp>
        <p:nvSpPr>
          <p:cNvPr id="115" name="Rectangle 114">
            <a:extLst>
              <a:ext uri="{FF2B5EF4-FFF2-40B4-BE49-F238E27FC236}">
                <a16:creationId xmlns:a16="http://schemas.microsoft.com/office/drawing/2014/main" id="{83A7BA3A-0CC7-4429-8112-95C5763C4FD0}"/>
              </a:ext>
            </a:extLst>
          </p:cNvPr>
          <p:cNvSpPr/>
          <p:nvPr/>
        </p:nvSpPr>
        <p:spPr bwMode="auto">
          <a:xfrm>
            <a:off x="6255270" y="5160154"/>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sp>
        <p:nvSpPr>
          <p:cNvPr id="116" name="Rectangle 115">
            <a:extLst>
              <a:ext uri="{FF2B5EF4-FFF2-40B4-BE49-F238E27FC236}">
                <a16:creationId xmlns:a16="http://schemas.microsoft.com/office/drawing/2014/main" id="{B741CF4B-D80F-4705-A7B2-0CAE342BE001}"/>
              </a:ext>
            </a:extLst>
          </p:cNvPr>
          <p:cNvSpPr/>
          <p:nvPr/>
        </p:nvSpPr>
        <p:spPr bwMode="auto">
          <a:xfrm>
            <a:off x="6255270" y="5604647"/>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pic>
        <p:nvPicPr>
          <p:cNvPr id="69" name="Picture 68">
            <a:extLst>
              <a:ext uri="{FF2B5EF4-FFF2-40B4-BE49-F238E27FC236}">
                <a16:creationId xmlns:a16="http://schemas.microsoft.com/office/drawing/2014/main" id="{9735173B-E24D-4E07-B84E-1BD089EBFA39}"/>
              </a:ext>
            </a:extLst>
          </p:cNvPr>
          <p:cNvPicPr>
            <a:picLocks noChangeAspect="1"/>
          </p:cNvPicPr>
          <p:nvPr/>
        </p:nvPicPr>
        <p:blipFill>
          <a:blip r:embed="rId14">
            <a:clrChange>
              <a:clrFrom>
                <a:srgbClr val="FFFFFF"/>
              </a:clrFrom>
              <a:clrTo>
                <a:srgbClr val="FFFFFF">
                  <a:alpha val="0"/>
                </a:srgbClr>
              </a:clrTo>
            </a:clrChange>
          </a:blip>
          <a:stretch>
            <a:fillRect/>
          </a:stretch>
        </p:blipFill>
        <p:spPr>
          <a:xfrm>
            <a:off x="5593923" y="4807355"/>
            <a:ext cx="609607" cy="107935"/>
          </a:xfrm>
          <a:prstGeom prst="rect">
            <a:avLst/>
          </a:prstGeom>
        </p:spPr>
      </p:pic>
      <p:pic>
        <p:nvPicPr>
          <p:cNvPr id="71" name="Picture 2" descr="Fichiers d'Entreprises au Luxembourg – Solution de Prospection">
            <a:extLst>
              <a:ext uri="{FF2B5EF4-FFF2-40B4-BE49-F238E27FC236}">
                <a16:creationId xmlns:a16="http://schemas.microsoft.com/office/drawing/2014/main" id="{EA679106-2F2C-4EAA-8D35-ABAC21AE5457}"/>
              </a:ext>
            </a:extLst>
          </p:cNvPr>
          <p:cNvPicPr>
            <a:picLocks noChangeAspect="1" noChangeArrowheads="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639407" y="5234617"/>
            <a:ext cx="543165" cy="153167"/>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ALTARES-D&amp;B - L'ASSOCIATION FRANCAISE DES CREDIT MANAGERS ET CONSEILS">
            <a:extLst>
              <a:ext uri="{FF2B5EF4-FFF2-40B4-BE49-F238E27FC236}">
                <a16:creationId xmlns:a16="http://schemas.microsoft.com/office/drawing/2014/main" id="{36D492B9-ABE6-4458-85B5-F6CABDC6F1B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737329" y="5629541"/>
            <a:ext cx="332676" cy="186341"/>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2 - 2" descr="Drapeau du Luxembourg">
            <a:extLst>
              <a:ext uri="{FF2B5EF4-FFF2-40B4-BE49-F238E27FC236}">
                <a16:creationId xmlns:a16="http://schemas.microsoft.com/office/drawing/2014/main" id="{658FF247-C1AD-404D-8521-DEA6F66ECF8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621793" y="4451724"/>
            <a:ext cx="240003" cy="144000"/>
          </a:xfrm>
          <a:prstGeom prst="roundRect">
            <a:avLst/>
          </a:prstGeom>
          <a:solidFill>
            <a:schemeClr val="bg1"/>
          </a:solidFill>
          <a:ln w="9525" cap="flat" cmpd="sng" algn="ctr">
            <a:noFill/>
            <a:prstDash val="solid"/>
            <a:round/>
            <a:headEnd type="none" w="med" len="med"/>
            <a:tailEnd type="none" w="med" len="med"/>
          </a:ln>
          <a:effectLst/>
        </p:spPr>
      </p:pic>
      <p:sp>
        <p:nvSpPr>
          <p:cNvPr id="82" name="Rectangle: Rounded Corners 4">
            <a:extLst>
              <a:ext uri="{FF2B5EF4-FFF2-40B4-BE49-F238E27FC236}">
                <a16:creationId xmlns:a16="http://schemas.microsoft.com/office/drawing/2014/main" id="{86A72F3A-78A1-46A2-B165-8C76B003B3CF}"/>
              </a:ext>
            </a:extLst>
          </p:cNvPr>
          <p:cNvSpPr/>
          <p:nvPr/>
        </p:nvSpPr>
        <p:spPr bwMode="auto">
          <a:xfrm>
            <a:off x="6604951" y="4390088"/>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Luxembourg</a:t>
            </a:r>
          </a:p>
        </p:txBody>
      </p:sp>
      <p:grpSp>
        <p:nvGrpSpPr>
          <p:cNvPr id="70" name="Groupe 69">
            <a:extLst>
              <a:ext uri="{FF2B5EF4-FFF2-40B4-BE49-F238E27FC236}">
                <a16:creationId xmlns:a16="http://schemas.microsoft.com/office/drawing/2014/main" id="{D3DC6262-B697-4592-90CB-9A0DDB26C9DC}"/>
              </a:ext>
            </a:extLst>
          </p:cNvPr>
          <p:cNvGrpSpPr/>
          <p:nvPr/>
        </p:nvGrpSpPr>
        <p:grpSpPr>
          <a:xfrm>
            <a:off x="8448150" y="-11528"/>
            <a:ext cx="1435548" cy="588143"/>
            <a:chOff x="8448150" y="-11528"/>
            <a:chExt cx="1435548" cy="588143"/>
          </a:xfrm>
        </p:grpSpPr>
        <p:grpSp>
          <p:nvGrpSpPr>
            <p:cNvPr id="72" name="Groupe 71">
              <a:extLst>
                <a:ext uri="{FF2B5EF4-FFF2-40B4-BE49-F238E27FC236}">
                  <a16:creationId xmlns:a16="http://schemas.microsoft.com/office/drawing/2014/main" id="{33DC6497-2CA3-4159-B29C-FEF2576A6322}"/>
                </a:ext>
              </a:extLst>
            </p:cNvPr>
            <p:cNvGrpSpPr/>
            <p:nvPr/>
          </p:nvGrpSpPr>
          <p:grpSpPr>
            <a:xfrm>
              <a:off x="8448150" y="-11528"/>
              <a:ext cx="1435548" cy="555653"/>
              <a:chOff x="8448150" y="-11528"/>
              <a:chExt cx="1435548" cy="555653"/>
            </a:xfrm>
          </p:grpSpPr>
          <p:sp>
            <p:nvSpPr>
              <p:cNvPr id="74" name="Rectangle : coins arrondis 199">
                <a:extLst>
                  <a:ext uri="{FF2B5EF4-FFF2-40B4-BE49-F238E27FC236}">
                    <a16:creationId xmlns:a16="http://schemas.microsoft.com/office/drawing/2014/main" id="{024E5636-E71E-452B-8601-2BB96A9DD293}"/>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5" name="Rectangle : coins arrondis 200">
                <a:extLst>
                  <a:ext uri="{FF2B5EF4-FFF2-40B4-BE49-F238E27FC236}">
                    <a16:creationId xmlns:a16="http://schemas.microsoft.com/office/drawing/2014/main" id="{FC1C8EAD-86DA-4BB2-B0B9-90BD15D4FE83}"/>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6" name="Rectangle : coins arrondis 201">
                <a:extLst>
                  <a:ext uri="{FF2B5EF4-FFF2-40B4-BE49-F238E27FC236}">
                    <a16:creationId xmlns:a16="http://schemas.microsoft.com/office/drawing/2014/main" id="{3C335CF1-29CE-41E4-B8B5-94DA14F0C148}"/>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7" name="ZoneTexte 18">
                <a:extLst>
                  <a:ext uri="{FF2B5EF4-FFF2-40B4-BE49-F238E27FC236}">
                    <a16:creationId xmlns:a16="http://schemas.microsoft.com/office/drawing/2014/main" id="{C9D92328-6F8A-476D-BBFB-D1BFD34BA8BA}"/>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79" name="Graphique 128" descr="Jauge">
                <a:extLst>
                  <a:ext uri="{FF2B5EF4-FFF2-40B4-BE49-F238E27FC236}">
                    <a16:creationId xmlns:a16="http://schemas.microsoft.com/office/drawing/2014/main" id="{43DF59B1-9AC3-44B2-90C5-255F8AB362A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553764" y="187516"/>
                <a:ext cx="234953" cy="218224"/>
              </a:xfrm>
              <a:prstGeom prst="rect">
                <a:avLst/>
              </a:prstGeom>
              <a:effectLst/>
            </p:spPr>
          </p:pic>
          <p:pic>
            <p:nvPicPr>
              <p:cNvPr id="84" name="Graphique 90" descr="Poignée de main">
                <a:extLst>
                  <a:ext uri="{FF2B5EF4-FFF2-40B4-BE49-F238E27FC236}">
                    <a16:creationId xmlns:a16="http://schemas.microsoft.com/office/drawing/2014/main" id="{C2B27BE3-60C7-4C4A-955F-236D8166C43E}"/>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960868" y="152880"/>
                <a:ext cx="256313" cy="287496"/>
              </a:xfrm>
              <a:prstGeom prst="rect">
                <a:avLst/>
              </a:prstGeom>
              <a:effectLst/>
            </p:spPr>
          </p:pic>
          <p:pic>
            <p:nvPicPr>
              <p:cNvPr id="85" name="Graphique 74" descr="Mégaphone">
                <a:extLst>
                  <a:ext uri="{FF2B5EF4-FFF2-40B4-BE49-F238E27FC236}">
                    <a16:creationId xmlns:a16="http://schemas.microsoft.com/office/drawing/2014/main" id="{DAE5902B-8B54-4A2B-BC93-FC87B06AD87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389331" y="181519"/>
                <a:ext cx="233011" cy="216420"/>
              </a:xfrm>
              <a:prstGeom prst="rect">
                <a:avLst/>
              </a:prstGeom>
              <a:effectLst/>
            </p:spPr>
          </p:pic>
          <p:pic>
            <p:nvPicPr>
              <p:cNvPr id="86" name="Picture 2" descr="Drapeau France">
                <a:extLst>
                  <a:ext uri="{FF2B5EF4-FFF2-40B4-BE49-F238E27FC236}">
                    <a16:creationId xmlns:a16="http://schemas.microsoft.com/office/drawing/2014/main" id="{6399B429-8362-442D-9B57-2639D5E0C15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87" name="Picture 2" descr="5 ft x 3 ft 150 x 90 cm-DRAPEAU BELGE Belgique 100% Polyester ...">
                <a:extLst>
                  <a:ext uri="{FF2B5EF4-FFF2-40B4-BE49-F238E27FC236}">
                    <a16:creationId xmlns:a16="http://schemas.microsoft.com/office/drawing/2014/main" id="{B7BCE0D1-30E8-48EA-ACE9-F96679CDBB4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88" name="Picture 2 - 1" descr="Drapeau des Pays-Bas — Wikipédia">
                <a:extLst>
                  <a:ext uri="{FF2B5EF4-FFF2-40B4-BE49-F238E27FC236}">
                    <a16:creationId xmlns:a16="http://schemas.microsoft.com/office/drawing/2014/main" id="{4704A25E-E241-4F2C-83BF-C49DA19DFF6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90" name="Picture 2 - 2" descr="Drapeau du Luxembourg">
                <a:extLst>
                  <a:ext uri="{FF2B5EF4-FFF2-40B4-BE49-F238E27FC236}">
                    <a16:creationId xmlns:a16="http://schemas.microsoft.com/office/drawing/2014/main" id="{5F454783-C0AB-4453-AAEE-ABADED96627C}"/>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73" name="ZoneTexte 18">
              <a:extLst>
                <a:ext uri="{FF2B5EF4-FFF2-40B4-BE49-F238E27FC236}">
                  <a16:creationId xmlns:a16="http://schemas.microsoft.com/office/drawing/2014/main" id="{795AFF1B-C9B6-442A-BFED-B952793CF38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etitive landscape</a:t>
              </a:r>
            </a:p>
          </p:txBody>
        </p:sp>
      </p:grpSp>
      <p:sp>
        <p:nvSpPr>
          <p:cNvPr id="10" name="Ellipse 6">
            <a:extLst>
              <a:ext uri="{FF2B5EF4-FFF2-40B4-BE49-F238E27FC236}">
                <a16:creationId xmlns:a16="http://schemas.microsoft.com/office/drawing/2014/main" id="{BFA8C9ED-5005-4F89-9B08-CC4A6B3A4CD8}"/>
              </a:ext>
            </a:extLst>
          </p:cNvPr>
          <p:cNvSpPr/>
          <p:nvPr/>
        </p:nvSpPr>
        <p:spPr bwMode="auto">
          <a:xfrm>
            <a:off x="339345" y="3722264"/>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2"/>
                </a:solidFill>
                <a:effectLst/>
                <a:latin typeface="Trebuchet MS" panose="020B0603020202020204" pitchFamily="34" charset="0"/>
              </a:rPr>
              <a:t>1</a:t>
            </a:r>
          </a:p>
        </p:txBody>
      </p:sp>
      <p:sp>
        <p:nvSpPr>
          <p:cNvPr id="91" name="Ellipse 90">
            <a:extLst>
              <a:ext uri="{FF2B5EF4-FFF2-40B4-BE49-F238E27FC236}">
                <a16:creationId xmlns:a16="http://schemas.microsoft.com/office/drawing/2014/main" id="{DCF6F4B2-9A1B-4E9D-B9A5-7AB60F9A447C}"/>
              </a:ext>
            </a:extLst>
          </p:cNvPr>
          <p:cNvSpPr/>
          <p:nvPr/>
        </p:nvSpPr>
        <p:spPr bwMode="auto">
          <a:xfrm>
            <a:off x="339345" y="4122894"/>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tx2"/>
                </a:solidFill>
                <a:latin typeface="Trebuchet MS" panose="020B0603020202020204" pitchFamily="34" charset="0"/>
              </a:rPr>
              <a:t>2</a:t>
            </a:r>
            <a:endParaRPr kumimoji="0" lang="en-GB" sz="1200" b="0" i="0" u="none" strike="noStrike" cap="none" normalizeH="0" baseline="0">
              <a:ln>
                <a:noFill/>
              </a:ln>
              <a:solidFill>
                <a:schemeClr val="tx2"/>
              </a:solidFill>
              <a:effectLst/>
              <a:latin typeface="Trebuchet MS" panose="020B0603020202020204" pitchFamily="34" charset="0"/>
            </a:endParaRPr>
          </a:p>
        </p:txBody>
      </p:sp>
      <p:sp>
        <p:nvSpPr>
          <p:cNvPr id="92" name="Ellipse 91">
            <a:extLst>
              <a:ext uri="{FF2B5EF4-FFF2-40B4-BE49-F238E27FC236}">
                <a16:creationId xmlns:a16="http://schemas.microsoft.com/office/drawing/2014/main" id="{F0D0BBCB-C50C-4D78-90B5-726DA41BDFCE}"/>
              </a:ext>
            </a:extLst>
          </p:cNvPr>
          <p:cNvSpPr/>
          <p:nvPr/>
        </p:nvSpPr>
        <p:spPr bwMode="auto">
          <a:xfrm>
            <a:off x="339345" y="4522298"/>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2"/>
                </a:solidFill>
                <a:effectLst/>
                <a:latin typeface="Trebuchet MS" panose="020B0603020202020204" pitchFamily="34" charset="0"/>
              </a:rPr>
              <a:t>3</a:t>
            </a:r>
          </a:p>
        </p:txBody>
      </p:sp>
      <p:sp>
        <p:nvSpPr>
          <p:cNvPr id="109" name="Rectangle 108">
            <a:extLst>
              <a:ext uri="{FF2B5EF4-FFF2-40B4-BE49-F238E27FC236}">
                <a16:creationId xmlns:a16="http://schemas.microsoft.com/office/drawing/2014/main" id="{141E3EF0-99E6-49EC-9454-C3BE9637A1AC}"/>
              </a:ext>
            </a:extLst>
          </p:cNvPr>
          <p:cNvSpPr/>
          <p:nvPr/>
        </p:nvSpPr>
        <p:spPr bwMode="auto">
          <a:xfrm>
            <a:off x="2156573" y="4892144"/>
            <a:ext cx="711237" cy="311675"/>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22m</a:t>
            </a:r>
          </a:p>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8%</a:t>
            </a:r>
          </a:p>
        </p:txBody>
      </p:sp>
      <p:sp>
        <p:nvSpPr>
          <p:cNvPr id="119" name="Rectangle 118">
            <a:extLst>
              <a:ext uri="{FF2B5EF4-FFF2-40B4-BE49-F238E27FC236}">
                <a16:creationId xmlns:a16="http://schemas.microsoft.com/office/drawing/2014/main" id="{5F7ADA61-F3F1-4E90-A3F8-24A260DAD33D}"/>
              </a:ext>
            </a:extLst>
          </p:cNvPr>
          <p:cNvSpPr/>
          <p:nvPr/>
        </p:nvSpPr>
        <p:spPr bwMode="auto">
          <a:xfrm>
            <a:off x="1229630" y="4929917"/>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sp>
        <p:nvSpPr>
          <p:cNvPr id="121" name="Ellipse 120">
            <a:extLst>
              <a:ext uri="{FF2B5EF4-FFF2-40B4-BE49-F238E27FC236}">
                <a16:creationId xmlns:a16="http://schemas.microsoft.com/office/drawing/2014/main" id="{9414500E-5E00-425B-96D1-C5D2435D44A2}"/>
              </a:ext>
            </a:extLst>
          </p:cNvPr>
          <p:cNvSpPr/>
          <p:nvPr/>
        </p:nvSpPr>
        <p:spPr bwMode="auto">
          <a:xfrm>
            <a:off x="339345" y="4941600"/>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tx2"/>
                </a:solidFill>
                <a:latin typeface="Trebuchet MS" panose="020B0603020202020204" pitchFamily="34" charset="0"/>
              </a:rPr>
              <a:t>4</a:t>
            </a:r>
            <a:endParaRPr kumimoji="0" lang="en-GB" sz="1200" b="0" i="0" u="none" strike="noStrike" cap="none" normalizeH="0" baseline="0">
              <a:ln>
                <a:noFill/>
              </a:ln>
              <a:solidFill>
                <a:schemeClr val="tx2"/>
              </a:solidFill>
              <a:effectLst/>
              <a:latin typeface="Trebuchet MS" panose="020B0603020202020204" pitchFamily="34" charset="0"/>
            </a:endParaRPr>
          </a:p>
        </p:txBody>
      </p:sp>
      <p:pic>
        <p:nvPicPr>
          <p:cNvPr id="122" name="Picture 2" descr="Image result for creditsafe logo">
            <a:extLst>
              <a:ext uri="{FF2B5EF4-FFF2-40B4-BE49-F238E27FC236}">
                <a16:creationId xmlns:a16="http://schemas.microsoft.com/office/drawing/2014/main" id="{C6898B1F-7B9C-4838-8459-A2248B83E51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5970" y="5008356"/>
            <a:ext cx="540946" cy="93366"/>
          </a:xfrm>
          <a:prstGeom prst="rect">
            <a:avLst/>
          </a:prstGeom>
          <a:noFill/>
          <a:extLst>
            <a:ext uri="{909E8E84-426E-40DD-AFC4-6F175D3DCCD1}">
              <a14:hiddenFill xmlns:a14="http://schemas.microsoft.com/office/drawing/2010/main">
                <a:solidFill>
                  <a:srgbClr val="FFFFFF"/>
                </a:solidFill>
              </a14:hiddenFill>
            </a:ext>
          </a:extLst>
        </p:spPr>
      </p:pic>
      <p:sp>
        <p:nvSpPr>
          <p:cNvPr id="100" name="Rectangle 99">
            <a:extLst>
              <a:ext uri="{FF2B5EF4-FFF2-40B4-BE49-F238E27FC236}">
                <a16:creationId xmlns:a16="http://schemas.microsoft.com/office/drawing/2014/main" id="{121F4550-55B5-43BA-BF7E-D817570AC7D3}"/>
              </a:ext>
            </a:extLst>
          </p:cNvPr>
          <p:cNvSpPr/>
          <p:nvPr/>
        </p:nvSpPr>
        <p:spPr bwMode="auto">
          <a:xfrm>
            <a:off x="8662209" y="1977802"/>
            <a:ext cx="711237" cy="311675"/>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a:t>
            </a:r>
            <a:r>
              <a:rPr lang="en-GB" sz="1000" b="1">
                <a:solidFill>
                  <a:srgbClr val="289B38"/>
                </a:solidFill>
                <a:latin typeface="Trebuchet MS" panose="020B0603020202020204" pitchFamily="34" charset="0"/>
              </a:rPr>
              <a:t>34</a:t>
            </a: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m*</a:t>
            </a:r>
          </a:p>
          <a:p>
            <a:pPr marL="0" marR="0" lvl="0" indent="0" algn="ctr" defTabSz="361950" rtl="0" eaLnBrk="1" fontAlgn="base" latinLnBrk="0" hangingPunct="1">
              <a:lnSpc>
                <a:spcPts val="1100"/>
              </a:lnSpc>
              <a:spcBef>
                <a:spcPct val="0"/>
              </a:spcBef>
              <a:spcAft>
                <a:spcPts val="200"/>
              </a:spcAft>
              <a:buClrTx/>
              <a:buSzTx/>
              <a:buFontTx/>
              <a:buNone/>
              <a:tabLst/>
              <a:defRPr/>
            </a:pPr>
            <a:r>
              <a:rPr lang="en-GB" sz="1000" b="1" i="1">
                <a:solidFill>
                  <a:srgbClr val="6C6C6C"/>
                </a:solidFill>
                <a:latin typeface="Trebuchet MS" panose="020B0603020202020204" pitchFamily="34" charset="0"/>
              </a:rPr>
              <a:t>~43</a:t>
            </a:r>
            <a:r>
              <a:rPr kumimoji="0" lang="en-GB" sz="10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sp>
        <p:nvSpPr>
          <p:cNvPr id="101" name="Rectangle 100">
            <a:extLst>
              <a:ext uri="{FF2B5EF4-FFF2-40B4-BE49-F238E27FC236}">
                <a16:creationId xmlns:a16="http://schemas.microsoft.com/office/drawing/2014/main" id="{565D390C-50D9-433D-B03D-F680F77BE8F8}"/>
              </a:ext>
            </a:extLst>
          </p:cNvPr>
          <p:cNvSpPr/>
          <p:nvPr/>
        </p:nvSpPr>
        <p:spPr bwMode="auto">
          <a:xfrm>
            <a:off x="8662209" y="2783302"/>
            <a:ext cx="711237" cy="311675"/>
          </a:xfrm>
          <a:prstGeom prst="rect">
            <a:avLst/>
          </a:prstGeom>
          <a:solidFill>
            <a:schemeClr val="bg2">
              <a:lumMod val="20000"/>
              <a:lumOff val="80000"/>
            </a:schemeClr>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11.4m</a:t>
            </a:r>
          </a:p>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effectLst/>
                <a:uLnTx/>
                <a:uFillTx/>
                <a:latin typeface="Trebuchet MS" panose="020B0603020202020204" pitchFamily="34" charset="0"/>
                <a:ea typeface="+mn-ea"/>
                <a:cs typeface="Arial" pitchFamily="34" charset="0"/>
              </a:rPr>
              <a:t>~14%</a:t>
            </a:r>
            <a:endParaRPr kumimoji="0" lang="en-GB" sz="1000" b="1" i="1" u="none" strike="noStrike" kern="1200" cap="none" spc="0" normalizeH="0" baseline="0" noProof="0">
              <a:ln>
                <a:noFill/>
              </a:ln>
              <a:effectLst/>
              <a:uLnTx/>
              <a:uFillTx/>
              <a:latin typeface="Trebuchet MS" panose="020B0603020202020204" pitchFamily="34" charset="0"/>
              <a:ea typeface="+mn-ea"/>
              <a:cs typeface="Arial" pitchFamily="34" charset="0"/>
            </a:endParaRPr>
          </a:p>
        </p:txBody>
      </p:sp>
      <p:sp>
        <p:nvSpPr>
          <p:cNvPr id="102" name="Rectangle 101">
            <a:extLst>
              <a:ext uri="{FF2B5EF4-FFF2-40B4-BE49-F238E27FC236}">
                <a16:creationId xmlns:a16="http://schemas.microsoft.com/office/drawing/2014/main" id="{90545B1B-807E-49F9-A47E-E1E3BDBE5209}"/>
              </a:ext>
            </a:extLst>
          </p:cNvPr>
          <p:cNvSpPr/>
          <p:nvPr/>
        </p:nvSpPr>
        <p:spPr bwMode="auto">
          <a:xfrm>
            <a:off x="8662209" y="2380552"/>
            <a:ext cx="711237" cy="311675"/>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13m</a:t>
            </a:r>
          </a:p>
          <a:p>
            <a:pPr marL="0" marR="0" lvl="0" indent="0" algn="ctr" defTabSz="361950" rtl="0" eaLnBrk="1" fontAlgn="base" latinLnBrk="0" hangingPunct="1">
              <a:lnSpc>
                <a:spcPts val="1100"/>
              </a:lnSpc>
              <a:spcBef>
                <a:spcPct val="0"/>
              </a:spcBef>
              <a:spcAft>
                <a:spcPts val="200"/>
              </a:spcAft>
              <a:buClrTx/>
              <a:buSzTx/>
              <a:buFontTx/>
              <a:buNone/>
              <a:tabLst/>
              <a:defRPr/>
            </a:pPr>
            <a:r>
              <a:rPr lang="en-GB" sz="1000" b="1" i="1">
                <a:solidFill>
                  <a:srgbClr val="6C6C6C"/>
                </a:solidFill>
                <a:latin typeface="Trebuchet MS" panose="020B0603020202020204" pitchFamily="34" charset="0"/>
              </a:rPr>
              <a:t>~16</a:t>
            </a:r>
            <a:r>
              <a:rPr kumimoji="0" lang="en-GB" sz="10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sp>
        <p:nvSpPr>
          <p:cNvPr id="123" name="Ellipse 6">
            <a:extLst>
              <a:ext uri="{FF2B5EF4-FFF2-40B4-BE49-F238E27FC236}">
                <a16:creationId xmlns:a16="http://schemas.microsoft.com/office/drawing/2014/main" id="{8EA820EE-CD08-4001-8FCA-BC7A532C73A3}"/>
              </a:ext>
            </a:extLst>
          </p:cNvPr>
          <p:cNvSpPr/>
          <p:nvPr/>
        </p:nvSpPr>
        <p:spPr bwMode="auto">
          <a:xfrm>
            <a:off x="1615804" y="1519206"/>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2"/>
                </a:solidFill>
                <a:effectLst/>
                <a:latin typeface="Trebuchet MS" panose="020B0603020202020204" pitchFamily="34" charset="0"/>
              </a:rPr>
              <a:t>1</a:t>
            </a:r>
          </a:p>
        </p:txBody>
      </p:sp>
      <p:sp>
        <p:nvSpPr>
          <p:cNvPr id="124" name="Ellipse 123">
            <a:extLst>
              <a:ext uri="{FF2B5EF4-FFF2-40B4-BE49-F238E27FC236}">
                <a16:creationId xmlns:a16="http://schemas.microsoft.com/office/drawing/2014/main" id="{A76F87E0-F1D7-4C3F-9A96-6330E208FF74}"/>
              </a:ext>
            </a:extLst>
          </p:cNvPr>
          <p:cNvSpPr/>
          <p:nvPr/>
        </p:nvSpPr>
        <p:spPr bwMode="auto">
          <a:xfrm>
            <a:off x="1615804" y="1952675"/>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tx2"/>
                </a:solidFill>
                <a:latin typeface="Trebuchet MS" panose="020B0603020202020204" pitchFamily="34" charset="0"/>
              </a:rPr>
              <a:t>2</a:t>
            </a:r>
            <a:endParaRPr kumimoji="0" lang="en-GB" sz="1200" b="0" i="0" u="none" strike="noStrike" cap="none" normalizeH="0" baseline="0">
              <a:ln>
                <a:noFill/>
              </a:ln>
              <a:solidFill>
                <a:schemeClr val="tx2"/>
              </a:solidFill>
              <a:effectLst/>
              <a:latin typeface="Trebuchet MS" panose="020B0603020202020204" pitchFamily="34" charset="0"/>
            </a:endParaRPr>
          </a:p>
        </p:txBody>
      </p:sp>
      <p:sp>
        <p:nvSpPr>
          <p:cNvPr id="125" name="Ellipse 124">
            <a:extLst>
              <a:ext uri="{FF2B5EF4-FFF2-40B4-BE49-F238E27FC236}">
                <a16:creationId xmlns:a16="http://schemas.microsoft.com/office/drawing/2014/main" id="{7B7337F6-2863-4349-96C3-51E9A92ABE34}"/>
              </a:ext>
            </a:extLst>
          </p:cNvPr>
          <p:cNvSpPr/>
          <p:nvPr/>
        </p:nvSpPr>
        <p:spPr bwMode="auto">
          <a:xfrm>
            <a:off x="1615804" y="2386144"/>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2"/>
                </a:solidFill>
                <a:effectLst/>
                <a:latin typeface="Trebuchet MS" panose="020B0603020202020204" pitchFamily="34" charset="0"/>
              </a:rPr>
              <a:t>3</a:t>
            </a:r>
          </a:p>
        </p:txBody>
      </p:sp>
      <p:sp>
        <p:nvSpPr>
          <p:cNvPr id="126" name="Ellipse 125">
            <a:extLst>
              <a:ext uri="{FF2B5EF4-FFF2-40B4-BE49-F238E27FC236}">
                <a16:creationId xmlns:a16="http://schemas.microsoft.com/office/drawing/2014/main" id="{D642447E-6F6E-41D7-9BBB-CEBBD1C852E5}"/>
              </a:ext>
            </a:extLst>
          </p:cNvPr>
          <p:cNvSpPr/>
          <p:nvPr/>
        </p:nvSpPr>
        <p:spPr bwMode="auto">
          <a:xfrm>
            <a:off x="1615804" y="2819614"/>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tx2"/>
                </a:solidFill>
                <a:latin typeface="Trebuchet MS" panose="020B0603020202020204" pitchFamily="34" charset="0"/>
              </a:rPr>
              <a:t>4</a:t>
            </a:r>
            <a:endParaRPr kumimoji="0" lang="en-GB" sz="1200" b="0" i="0" u="none" strike="noStrike" cap="none" normalizeH="0" baseline="0">
              <a:ln>
                <a:noFill/>
              </a:ln>
              <a:solidFill>
                <a:schemeClr val="tx2"/>
              </a:solidFill>
              <a:effectLst/>
              <a:latin typeface="Trebuchet MS" panose="020B0603020202020204" pitchFamily="34" charset="0"/>
            </a:endParaRPr>
          </a:p>
        </p:txBody>
      </p:sp>
      <p:sp>
        <p:nvSpPr>
          <p:cNvPr id="131" name="Ellipse 6">
            <a:extLst>
              <a:ext uri="{FF2B5EF4-FFF2-40B4-BE49-F238E27FC236}">
                <a16:creationId xmlns:a16="http://schemas.microsoft.com/office/drawing/2014/main" id="{3AE408D4-0E74-4F5D-B991-4CCE8BE61C83}"/>
              </a:ext>
            </a:extLst>
          </p:cNvPr>
          <p:cNvSpPr/>
          <p:nvPr/>
        </p:nvSpPr>
        <p:spPr bwMode="auto">
          <a:xfrm>
            <a:off x="5263731" y="4783342"/>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2"/>
                </a:solidFill>
                <a:effectLst/>
                <a:latin typeface="Trebuchet MS" panose="020B0603020202020204" pitchFamily="34" charset="0"/>
              </a:rPr>
              <a:t>1</a:t>
            </a:r>
          </a:p>
        </p:txBody>
      </p:sp>
      <p:sp>
        <p:nvSpPr>
          <p:cNvPr id="132" name="Ellipse 131">
            <a:extLst>
              <a:ext uri="{FF2B5EF4-FFF2-40B4-BE49-F238E27FC236}">
                <a16:creationId xmlns:a16="http://schemas.microsoft.com/office/drawing/2014/main" id="{F34B240A-1FFD-40D9-AD74-768F660F776C}"/>
              </a:ext>
            </a:extLst>
          </p:cNvPr>
          <p:cNvSpPr/>
          <p:nvPr/>
        </p:nvSpPr>
        <p:spPr bwMode="auto">
          <a:xfrm>
            <a:off x="5263731" y="5183972"/>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tx2"/>
                </a:solidFill>
                <a:latin typeface="Trebuchet MS" panose="020B0603020202020204" pitchFamily="34" charset="0"/>
              </a:rPr>
              <a:t>2</a:t>
            </a:r>
            <a:endParaRPr kumimoji="0" lang="en-GB" sz="1200" b="0" i="0" u="none" strike="noStrike" cap="none" normalizeH="0" baseline="0">
              <a:ln>
                <a:noFill/>
              </a:ln>
              <a:solidFill>
                <a:schemeClr val="tx2"/>
              </a:solidFill>
              <a:effectLst/>
              <a:latin typeface="Trebuchet MS" panose="020B0603020202020204" pitchFamily="34" charset="0"/>
            </a:endParaRPr>
          </a:p>
        </p:txBody>
      </p:sp>
      <p:sp>
        <p:nvSpPr>
          <p:cNvPr id="133" name="Ellipse 132">
            <a:extLst>
              <a:ext uri="{FF2B5EF4-FFF2-40B4-BE49-F238E27FC236}">
                <a16:creationId xmlns:a16="http://schemas.microsoft.com/office/drawing/2014/main" id="{674B610F-7245-4550-9203-F2FA95398E8F}"/>
              </a:ext>
            </a:extLst>
          </p:cNvPr>
          <p:cNvSpPr/>
          <p:nvPr/>
        </p:nvSpPr>
        <p:spPr bwMode="auto">
          <a:xfrm>
            <a:off x="5263731" y="5583376"/>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2"/>
                </a:solidFill>
                <a:effectLst/>
                <a:latin typeface="Trebuchet MS" panose="020B0603020202020204" pitchFamily="34" charset="0"/>
              </a:rPr>
              <a:t>3</a:t>
            </a:r>
          </a:p>
        </p:txBody>
      </p:sp>
      <p:pic>
        <p:nvPicPr>
          <p:cNvPr id="108" name="Picture 107" descr="A picture containing computer, computer&#10;&#10;Description automatically generated">
            <a:extLst>
              <a:ext uri="{FF2B5EF4-FFF2-40B4-BE49-F238E27FC236}">
                <a16:creationId xmlns:a16="http://schemas.microsoft.com/office/drawing/2014/main" id="{E8FB10CA-9233-419F-8890-2BBE5185DF05}"/>
              </a:ext>
            </a:extLst>
          </p:cNvPr>
          <p:cNvPicPr>
            <a:picLocks noChangeAspect="1"/>
          </p:cNvPicPr>
          <p:nvPr/>
        </p:nvPicPr>
        <p:blipFill rotWithShape="1">
          <a:blip r:embed="rId23">
            <a:extLst>
              <a:ext uri="{28A0092B-C50C-407E-A947-70E740481C1C}">
                <a14:useLocalDpi xmlns:a14="http://schemas.microsoft.com/office/drawing/2010/main" val="0"/>
              </a:ext>
            </a:extLst>
          </a:blip>
          <a:srcRect l="12024" t="40724" r="12024" b="40724"/>
          <a:stretch/>
        </p:blipFill>
        <p:spPr>
          <a:xfrm>
            <a:off x="7072626" y="2505169"/>
            <a:ext cx="505889" cy="92675"/>
          </a:xfrm>
          <a:prstGeom prst="rect">
            <a:avLst/>
          </a:prstGeom>
        </p:spPr>
      </p:pic>
      <p:sp>
        <p:nvSpPr>
          <p:cNvPr id="103" name="Rectangle 102">
            <a:extLst>
              <a:ext uri="{FF2B5EF4-FFF2-40B4-BE49-F238E27FC236}">
                <a16:creationId xmlns:a16="http://schemas.microsoft.com/office/drawing/2014/main" id="{BBD7967C-AB1F-4105-AF78-DD6D9E15DE63}"/>
              </a:ext>
            </a:extLst>
          </p:cNvPr>
          <p:cNvSpPr/>
          <p:nvPr/>
        </p:nvSpPr>
        <p:spPr bwMode="auto">
          <a:xfrm>
            <a:off x="7750218" y="1986863"/>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sp>
        <p:nvSpPr>
          <p:cNvPr id="104" name="Rectangle 103">
            <a:extLst>
              <a:ext uri="{FF2B5EF4-FFF2-40B4-BE49-F238E27FC236}">
                <a16:creationId xmlns:a16="http://schemas.microsoft.com/office/drawing/2014/main" id="{24C198AD-118E-42D9-AC53-B0B2D78C1464}"/>
              </a:ext>
            </a:extLst>
          </p:cNvPr>
          <p:cNvSpPr/>
          <p:nvPr/>
        </p:nvSpPr>
        <p:spPr bwMode="auto">
          <a:xfrm>
            <a:off x="7750218" y="2401071"/>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sp>
        <p:nvSpPr>
          <p:cNvPr id="105" name="Rectangle 104">
            <a:extLst>
              <a:ext uri="{FF2B5EF4-FFF2-40B4-BE49-F238E27FC236}">
                <a16:creationId xmlns:a16="http://schemas.microsoft.com/office/drawing/2014/main" id="{66E546F3-0161-475F-A004-F5C763233EFF}"/>
              </a:ext>
            </a:extLst>
          </p:cNvPr>
          <p:cNvSpPr/>
          <p:nvPr/>
        </p:nvSpPr>
        <p:spPr bwMode="auto">
          <a:xfrm>
            <a:off x="7740896" y="2817970"/>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pic>
        <p:nvPicPr>
          <p:cNvPr id="118" name="Picture 2" descr="ALTARES-D&amp;B - L'ASSOCIATION FRANCAISE DES CREDIT MANAGERS ET CONSEILS">
            <a:extLst>
              <a:ext uri="{FF2B5EF4-FFF2-40B4-BE49-F238E27FC236}">
                <a16:creationId xmlns:a16="http://schemas.microsoft.com/office/drawing/2014/main" id="{A526B40B-51F7-4244-823E-0D7ACFECDAC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164494" y="2851779"/>
            <a:ext cx="332676" cy="186341"/>
          </a:xfrm>
          <a:prstGeom prst="rect">
            <a:avLst/>
          </a:prstGeom>
          <a:noFill/>
          <a:extLst>
            <a:ext uri="{909E8E84-426E-40DD-AFC4-6F175D3DCCD1}">
              <a14:hiddenFill xmlns:a14="http://schemas.microsoft.com/office/drawing/2010/main">
                <a:solidFill>
                  <a:srgbClr val="FFFFFF"/>
                </a:solidFill>
              </a14:hiddenFill>
            </a:ext>
          </a:extLst>
        </p:spPr>
      </p:pic>
      <p:sp>
        <p:nvSpPr>
          <p:cNvPr id="127" name="Ellipse 6">
            <a:extLst>
              <a:ext uri="{FF2B5EF4-FFF2-40B4-BE49-F238E27FC236}">
                <a16:creationId xmlns:a16="http://schemas.microsoft.com/office/drawing/2014/main" id="{DD48B380-E497-40D9-B8D9-F54C3B0D273A}"/>
              </a:ext>
            </a:extLst>
          </p:cNvPr>
          <p:cNvSpPr/>
          <p:nvPr/>
        </p:nvSpPr>
        <p:spPr bwMode="auto">
          <a:xfrm>
            <a:off x="6790207" y="2047668"/>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2"/>
                </a:solidFill>
                <a:effectLst/>
                <a:latin typeface="Trebuchet MS" panose="020B0603020202020204" pitchFamily="34" charset="0"/>
              </a:rPr>
              <a:t>1</a:t>
            </a:r>
          </a:p>
        </p:txBody>
      </p:sp>
      <p:sp>
        <p:nvSpPr>
          <p:cNvPr id="128" name="Ellipse 127">
            <a:extLst>
              <a:ext uri="{FF2B5EF4-FFF2-40B4-BE49-F238E27FC236}">
                <a16:creationId xmlns:a16="http://schemas.microsoft.com/office/drawing/2014/main" id="{79980424-B6BD-4403-B5B0-0164BB59CD06}"/>
              </a:ext>
            </a:extLst>
          </p:cNvPr>
          <p:cNvSpPr/>
          <p:nvPr/>
        </p:nvSpPr>
        <p:spPr bwMode="auto">
          <a:xfrm>
            <a:off x="6790207" y="2454113"/>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tx2"/>
                </a:solidFill>
                <a:latin typeface="Trebuchet MS" panose="020B0603020202020204" pitchFamily="34" charset="0"/>
              </a:rPr>
              <a:t>2</a:t>
            </a:r>
            <a:endParaRPr kumimoji="0" lang="en-GB" sz="1200" b="0" i="0" u="none" strike="noStrike" cap="none" normalizeH="0" baseline="0">
              <a:ln>
                <a:noFill/>
              </a:ln>
              <a:solidFill>
                <a:schemeClr val="tx2"/>
              </a:solidFill>
              <a:effectLst/>
              <a:latin typeface="Trebuchet MS" panose="020B0603020202020204" pitchFamily="34" charset="0"/>
            </a:endParaRPr>
          </a:p>
        </p:txBody>
      </p:sp>
      <p:sp>
        <p:nvSpPr>
          <p:cNvPr id="129" name="Ellipse 128">
            <a:extLst>
              <a:ext uri="{FF2B5EF4-FFF2-40B4-BE49-F238E27FC236}">
                <a16:creationId xmlns:a16="http://schemas.microsoft.com/office/drawing/2014/main" id="{652E5BA4-D056-4C87-9345-85D5C4AC955C}"/>
              </a:ext>
            </a:extLst>
          </p:cNvPr>
          <p:cNvSpPr/>
          <p:nvPr/>
        </p:nvSpPr>
        <p:spPr bwMode="auto">
          <a:xfrm>
            <a:off x="6790207" y="2860558"/>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2"/>
                </a:solidFill>
                <a:effectLst/>
                <a:latin typeface="Trebuchet MS" panose="020B0603020202020204" pitchFamily="34" charset="0"/>
              </a:rPr>
              <a:t>3</a:t>
            </a:r>
          </a:p>
        </p:txBody>
      </p:sp>
      <p:sp>
        <p:nvSpPr>
          <p:cNvPr id="130" name="Ellipse 129">
            <a:extLst>
              <a:ext uri="{FF2B5EF4-FFF2-40B4-BE49-F238E27FC236}">
                <a16:creationId xmlns:a16="http://schemas.microsoft.com/office/drawing/2014/main" id="{86B548EA-FCC1-4EE3-9441-A30BAC44D090}"/>
              </a:ext>
            </a:extLst>
          </p:cNvPr>
          <p:cNvSpPr/>
          <p:nvPr/>
        </p:nvSpPr>
        <p:spPr bwMode="auto">
          <a:xfrm>
            <a:off x="6790207" y="3267004"/>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tx2"/>
                </a:solidFill>
                <a:latin typeface="Trebuchet MS" panose="020B0603020202020204" pitchFamily="34" charset="0"/>
              </a:rPr>
              <a:t>4</a:t>
            </a:r>
            <a:endParaRPr kumimoji="0" lang="en-GB" sz="1200" b="0" i="0" u="none" strike="noStrike" cap="none" normalizeH="0" baseline="0">
              <a:ln>
                <a:noFill/>
              </a:ln>
              <a:solidFill>
                <a:schemeClr val="tx2"/>
              </a:solidFill>
              <a:effectLst/>
              <a:latin typeface="Trebuchet MS" panose="020B0603020202020204" pitchFamily="34" charset="0"/>
            </a:endParaRPr>
          </a:p>
        </p:txBody>
      </p:sp>
      <p:sp>
        <p:nvSpPr>
          <p:cNvPr id="120" name="Rectangle 119">
            <a:extLst>
              <a:ext uri="{FF2B5EF4-FFF2-40B4-BE49-F238E27FC236}">
                <a16:creationId xmlns:a16="http://schemas.microsoft.com/office/drawing/2014/main" id="{AC365600-E1B8-41C4-801C-D9B36AAA8AB1}"/>
              </a:ext>
            </a:extLst>
          </p:cNvPr>
          <p:cNvSpPr/>
          <p:nvPr/>
        </p:nvSpPr>
        <p:spPr bwMode="auto">
          <a:xfrm>
            <a:off x="3496180" y="2727786"/>
            <a:ext cx="711237" cy="311675"/>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dirty="0">
                <a:ln>
                  <a:noFill/>
                </a:ln>
                <a:solidFill>
                  <a:srgbClr val="289B38"/>
                </a:solidFill>
                <a:effectLst/>
                <a:uLnTx/>
                <a:uFillTx/>
                <a:latin typeface="Trebuchet MS" panose="020B0603020202020204" pitchFamily="34" charset="0"/>
                <a:ea typeface="+mn-ea"/>
                <a:cs typeface="Arial" pitchFamily="34" charset="0"/>
              </a:rPr>
              <a:t>€</a:t>
            </a:r>
            <a:r>
              <a:rPr lang="en-GB" sz="1000" b="1" dirty="0">
                <a:solidFill>
                  <a:srgbClr val="289B38"/>
                </a:solidFill>
                <a:latin typeface="Trebuchet MS" panose="020B0603020202020204" pitchFamily="34" charset="0"/>
              </a:rPr>
              <a:t>15</a:t>
            </a:r>
            <a:r>
              <a:rPr kumimoji="0" lang="en-GB" sz="1000" b="1" i="0" u="none" strike="noStrike" kern="1200" cap="none" spc="0" normalizeH="0" baseline="0" noProof="0" dirty="0">
                <a:ln>
                  <a:noFill/>
                </a:ln>
                <a:solidFill>
                  <a:srgbClr val="289B38"/>
                </a:solidFill>
                <a:effectLst/>
                <a:uLnTx/>
                <a:uFillTx/>
                <a:latin typeface="Trebuchet MS" panose="020B0603020202020204" pitchFamily="34" charset="0"/>
                <a:ea typeface="+mn-ea"/>
                <a:cs typeface="Arial" pitchFamily="34" charset="0"/>
              </a:rPr>
              <a:t>m</a:t>
            </a:r>
          </a:p>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1"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10%</a:t>
            </a:r>
          </a:p>
        </p:txBody>
      </p:sp>
      <p:sp>
        <p:nvSpPr>
          <p:cNvPr id="137" name="Rectangle 136">
            <a:extLst>
              <a:ext uri="{FF2B5EF4-FFF2-40B4-BE49-F238E27FC236}">
                <a16:creationId xmlns:a16="http://schemas.microsoft.com/office/drawing/2014/main" id="{10A52D15-0D18-4EDA-AC9B-D38F71453732}"/>
              </a:ext>
            </a:extLst>
          </p:cNvPr>
          <p:cNvSpPr/>
          <p:nvPr/>
        </p:nvSpPr>
        <p:spPr bwMode="auto">
          <a:xfrm>
            <a:off x="2574867" y="2741864"/>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pic>
        <p:nvPicPr>
          <p:cNvPr id="138" name="Picture 2" descr="Image result for bureau van dijk logo">
            <a:extLst>
              <a:ext uri="{FF2B5EF4-FFF2-40B4-BE49-F238E27FC236}">
                <a16:creationId xmlns:a16="http://schemas.microsoft.com/office/drawing/2014/main" id="{4063B1BD-2788-4FCC-8872-900060BAFC3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58268" y="2798842"/>
            <a:ext cx="432373" cy="204357"/>
          </a:xfrm>
          <a:prstGeom prst="rect">
            <a:avLst/>
          </a:prstGeom>
          <a:noFill/>
          <a:extLst>
            <a:ext uri="{909E8E84-426E-40DD-AFC4-6F175D3DCCD1}">
              <a14:hiddenFill xmlns:a14="http://schemas.microsoft.com/office/drawing/2010/main">
                <a:solidFill>
                  <a:srgbClr val="FFFFFF"/>
                </a:solidFill>
              </a14:hiddenFill>
            </a:ext>
          </a:extLst>
        </p:spPr>
      </p:pic>
      <p:sp>
        <p:nvSpPr>
          <p:cNvPr id="145" name="Rectangle 144">
            <a:extLst>
              <a:ext uri="{FF2B5EF4-FFF2-40B4-BE49-F238E27FC236}">
                <a16:creationId xmlns:a16="http://schemas.microsoft.com/office/drawing/2014/main" id="{3DE436EA-0E6F-4721-8566-0C9C7FE08C9D}"/>
              </a:ext>
            </a:extLst>
          </p:cNvPr>
          <p:cNvSpPr/>
          <p:nvPr/>
        </p:nvSpPr>
        <p:spPr bwMode="auto">
          <a:xfrm>
            <a:off x="8662209" y="3186051"/>
            <a:ext cx="711237" cy="311675"/>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5m</a:t>
            </a:r>
          </a:p>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6%</a:t>
            </a:r>
          </a:p>
        </p:txBody>
      </p:sp>
      <p:pic>
        <p:nvPicPr>
          <p:cNvPr id="146" name="Picture 2" descr="Image result for creditsafe logo">
            <a:extLst>
              <a:ext uri="{FF2B5EF4-FFF2-40B4-BE49-F238E27FC236}">
                <a16:creationId xmlns:a16="http://schemas.microsoft.com/office/drawing/2014/main" id="{9AC1E312-132F-4E57-921B-8F72C9DE1B0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071525" y="3295205"/>
            <a:ext cx="540946" cy="93366"/>
          </a:xfrm>
          <a:prstGeom prst="rect">
            <a:avLst/>
          </a:prstGeom>
          <a:noFill/>
          <a:extLst>
            <a:ext uri="{909E8E84-426E-40DD-AFC4-6F175D3DCCD1}">
              <a14:hiddenFill xmlns:a14="http://schemas.microsoft.com/office/drawing/2010/main">
                <a:solidFill>
                  <a:srgbClr val="FFFFFF"/>
                </a:solidFill>
              </a14:hiddenFill>
            </a:ext>
          </a:extLst>
        </p:spPr>
      </p:pic>
      <p:sp>
        <p:nvSpPr>
          <p:cNvPr id="147" name="Rectangle 146">
            <a:extLst>
              <a:ext uri="{FF2B5EF4-FFF2-40B4-BE49-F238E27FC236}">
                <a16:creationId xmlns:a16="http://schemas.microsoft.com/office/drawing/2014/main" id="{AA90726F-7A58-4FC5-A6F1-17B829F0C4D2}"/>
              </a:ext>
            </a:extLst>
          </p:cNvPr>
          <p:cNvSpPr/>
          <p:nvPr/>
        </p:nvSpPr>
        <p:spPr bwMode="auto">
          <a:xfrm>
            <a:off x="7740896" y="3223824"/>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pic>
        <p:nvPicPr>
          <p:cNvPr id="148" name="Picture 2" descr="Image result for bureau van dijk logo">
            <a:extLst>
              <a:ext uri="{FF2B5EF4-FFF2-40B4-BE49-F238E27FC236}">
                <a16:creationId xmlns:a16="http://schemas.microsoft.com/office/drawing/2014/main" id="{CA4D538A-F969-4F90-B73C-946781B093F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92711" y="2049417"/>
            <a:ext cx="432373" cy="204357"/>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82" descr="A picture containing computer, computer&#10;&#10;Description automatically generated">
            <a:extLst>
              <a:ext uri="{FF2B5EF4-FFF2-40B4-BE49-F238E27FC236}">
                <a16:creationId xmlns:a16="http://schemas.microsoft.com/office/drawing/2014/main" id="{9250AE8E-DE8D-4176-A4DC-F4B2CB930801}"/>
              </a:ext>
            </a:extLst>
          </p:cNvPr>
          <p:cNvPicPr>
            <a:picLocks noChangeAspect="1"/>
          </p:cNvPicPr>
          <p:nvPr/>
        </p:nvPicPr>
        <p:blipFill rotWithShape="1">
          <a:blip r:embed="rId23">
            <a:extLst>
              <a:ext uri="{28A0092B-C50C-407E-A947-70E740481C1C}">
                <a14:useLocalDpi xmlns:a14="http://schemas.microsoft.com/office/drawing/2010/main" val="0"/>
              </a:ext>
            </a:extLst>
          </a:blip>
          <a:srcRect l="12024" t="40724" r="12024" b="40724"/>
          <a:stretch/>
        </p:blipFill>
        <p:spPr>
          <a:xfrm>
            <a:off x="1934396" y="2430454"/>
            <a:ext cx="505889" cy="92675"/>
          </a:xfrm>
          <a:prstGeom prst="rect">
            <a:avLst/>
          </a:prstGeom>
        </p:spPr>
      </p:pic>
      <p:sp>
        <p:nvSpPr>
          <p:cNvPr id="134" name="Rectangle 133">
            <a:extLst>
              <a:ext uri="{FF2B5EF4-FFF2-40B4-BE49-F238E27FC236}">
                <a16:creationId xmlns:a16="http://schemas.microsoft.com/office/drawing/2014/main" id="{D55545FA-5791-4028-A69E-4D874346F1D1}"/>
              </a:ext>
            </a:extLst>
          </p:cNvPr>
          <p:cNvSpPr/>
          <p:nvPr/>
        </p:nvSpPr>
        <p:spPr bwMode="auto">
          <a:xfrm>
            <a:off x="3496180" y="2320954"/>
            <a:ext cx="711237" cy="311675"/>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dirty="0">
                <a:ln>
                  <a:noFill/>
                </a:ln>
                <a:solidFill>
                  <a:srgbClr val="289B38"/>
                </a:solidFill>
                <a:effectLst/>
                <a:uLnTx/>
                <a:uFillTx/>
                <a:latin typeface="Trebuchet MS" panose="020B0603020202020204" pitchFamily="34" charset="0"/>
                <a:ea typeface="+mn-ea"/>
                <a:cs typeface="Arial" pitchFamily="34" charset="0"/>
              </a:rPr>
              <a:t>€</a:t>
            </a:r>
            <a:r>
              <a:rPr lang="en-GB" sz="1000" b="1" dirty="0">
                <a:solidFill>
                  <a:srgbClr val="289B38"/>
                </a:solidFill>
                <a:latin typeface="Trebuchet MS" panose="020B0603020202020204" pitchFamily="34" charset="0"/>
              </a:rPr>
              <a:t>22</a:t>
            </a:r>
            <a:r>
              <a:rPr kumimoji="0" lang="en-GB" sz="1000" b="1" i="0" u="none" strike="noStrike" kern="1200" cap="none" spc="0" normalizeH="0" baseline="0" noProof="0" dirty="0">
                <a:ln>
                  <a:noFill/>
                </a:ln>
                <a:solidFill>
                  <a:srgbClr val="289B38"/>
                </a:solidFill>
                <a:effectLst/>
                <a:uLnTx/>
                <a:uFillTx/>
                <a:latin typeface="Trebuchet MS" panose="020B0603020202020204" pitchFamily="34" charset="0"/>
                <a:ea typeface="+mn-ea"/>
                <a:cs typeface="Arial" pitchFamily="34" charset="0"/>
              </a:rPr>
              <a:t>m</a:t>
            </a:r>
          </a:p>
          <a:p>
            <a:pPr marL="0" marR="0" lvl="0" indent="0" algn="ctr" defTabSz="361950" rtl="0" eaLnBrk="1" fontAlgn="base" latinLnBrk="0" hangingPunct="1">
              <a:lnSpc>
                <a:spcPts val="1100"/>
              </a:lnSpc>
              <a:spcBef>
                <a:spcPct val="0"/>
              </a:spcBef>
              <a:spcAft>
                <a:spcPts val="200"/>
              </a:spcAft>
              <a:buClrTx/>
              <a:buSzTx/>
              <a:buFontTx/>
              <a:buNone/>
              <a:tabLst/>
              <a:defRPr/>
            </a:pPr>
            <a:r>
              <a:rPr lang="en-GB" sz="1000" b="1" i="1" dirty="0">
                <a:solidFill>
                  <a:srgbClr val="6C6C6C"/>
                </a:solidFill>
                <a:latin typeface="Trebuchet MS" panose="020B0603020202020204" pitchFamily="34" charset="0"/>
              </a:rPr>
              <a:t>~15</a:t>
            </a:r>
            <a:r>
              <a:rPr kumimoji="0" lang="en-GB" sz="1000" b="1" i="1"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a:t>
            </a:r>
          </a:p>
        </p:txBody>
      </p:sp>
      <p:sp>
        <p:nvSpPr>
          <p:cNvPr id="135" name="Rectangle 134">
            <a:extLst>
              <a:ext uri="{FF2B5EF4-FFF2-40B4-BE49-F238E27FC236}">
                <a16:creationId xmlns:a16="http://schemas.microsoft.com/office/drawing/2014/main" id="{5B07B975-1960-4267-A5A0-D401243ABCDE}"/>
              </a:ext>
            </a:extLst>
          </p:cNvPr>
          <p:cNvSpPr/>
          <p:nvPr/>
        </p:nvSpPr>
        <p:spPr bwMode="auto">
          <a:xfrm>
            <a:off x="2574867" y="2314156"/>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spTree>
    <p:extLst>
      <p:ext uri="{BB962C8B-B14F-4D97-AF65-F5344CB8AC3E}">
        <p14:creationId xmlns:p14="http://schemas.microsoft.com/office/powerpoint/2010/main" val="2362942929"/>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t 17" hidden="1">
            <a:extLst>
              <a:ext uri="{FF2B5EF4-FFF2-40B4-BE49-F238E27FC236}">
                <a16:creationId xmlns:a16="http://schemas.microsoft.com/office/drawing/2014/main" id="{0A5B4FC8-0EBA-4B1D-91DE-85765AEEF6A9}"/>
              </a:ext>
            </a:extLst>
          </p:cNvPr>
          <p:cNvGraphicFramePr>
            <a:graphicFrameLocks noChangeAspect="1"/>
          </p:cNvGraphicFramePr>
          <p:nvPr>
            <p:custDataLst>
              <p:tags r:id="rId1"/>
            </p:custDataLst>
            <p:extLst>
              <p:ext uri="{D42A27DB-BD31-4B8C-83A1-F6EECF244321}">
                <p14:modId xmlns:p14="http://schemas.microsoft.com/office/powerpoint/2010/main" val="122042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18" name="Objet 17" hidden="1">
                        <a:extLst>
                          <a:ext uri="{FF2B5EF4-FFF2-40B4-BE49-F238E27FC236}">
                            <a16:creationId xmlns:a16="http://schemas.microsoft.com/office/drawing/2014/main" id="{0A5B4FC8-0EBA-4B1D-91DE-85765AEEF6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F6942657-9EF3-4A10-A88D-2215428669B4}"/>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0" name="Rectangle: Rounded Corners 9">
            <a:extLst>
              <a:ext uri="{FF2B5EF4-FFF2-40B4-BE49-F238E27FC236}">
                <a16:creationId xmlns:a16="http://schemas.microsoft.com/office/drawing/2014/main" id="{DBA1D637-ABE7-4F6F-8D69-1D79527DCEF9}"/>
              </a:ext>
            </a:extLst>
          </p:cNvPr>
          <p:cNvSpPr/>
          <p:nvPr/>
        </p:nvSpPr>
        <p:spPr bwMode="auto">
          <a:xfrm>
            <a:off x="1315274" y="1973239"/>
            <a:ext cx="6229707" cy="1218995"/>
          </a:xfrm>
          <a:prstGeom prst="roundRect">
            <a:avLst>
              <a:gd name="adj" fmla="val 457"/>
            </a:avLst>
          </a:prstGeom>
          <a:solidFill>
            <a:schemeClr val="accent4">
              <a:lumMod val="20000"/>
              <a:lumOff val="80000"/>
            </a:schemeClr>
          </a:solidFill>
          <a:ln w="12700" cap="flat" cmpd="sng" algn="ctr">
            <a:solidFill>
              <a:schemeClr val="accent4"/>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effectLst/>
              <a:latin typeface="Trebuchet MS" pitchFamily="34" charset="0"/>
            </a:endParaRPr>
          </a:p>
        </p:txBody>
      </p:sp>
      <p:sp>
        <p:nvSpPr>
          <p:cNvPr id="22" name="Rectangle: Rounded Corners 21">
            <a:extLst>
              <a:ext uri="{FF2B5EF4-FFF2-40B4-BE49-F238E27FC236}">
                <a16:creationId xmlns:a16="http://schemas.microsoft.com/office/drawing/2014/main" id="{8F3E0745-2FDC-4253-8144-AD7D2FE9AE02}"/>
              </a:ext>
            </a:extLst>
          </p:cNvPr>
          <p:cNvSpPr/>
          <p:nvPr/>
        </p:nvSpPr>
        <p:spPr bwMode="auto">
          <a:xfrm>
            <a:off x="109981" y="1973239"/>
            <a:ext cx="1113828" cy="1218995"/>
          </a:xfrm>
          <a:prstGeom prst="roundRect">
            <a:avLst>
              <a:gd name="adj" fmla="val 457"/>
            </a:avLst>
          </a:prstGeom>
          <a:solidFill>
            <a:schemeClr val="accent4">
              <a:lumMod val="20000"/>
              <a:lumOff val="80000"/>
            </a:schemeClr>
          </a:solidFill>
          <a:ln w="12700" cap="flat" cmpd="sng" algn="ctr">
            <a:solidFill>
              <a:schemeClr val="accent4"/>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000">
              <a:solidFill>
                <a:schemeClr val="accent4"/>
              </a:solidFill>
              <a:latin typeface="Trebuchet MS" panose="020B0603020202020204" pitchFamily="34" charset="0"/>
            </a:endParaRPr>
          </a:p>
          <a:p>
            <a:pPr algn="ctr"/>
            <a:r>
              <a:rPr lang="en-GB" sz="1000" b="1">
                <a:solidFill>
                  <a:schemeClr val="accent4"/>
                </a:solidFill>
                <a:latin typeface="Trebuchet MS" panose="020B0603020202020204" pitchFamily="34" charset="0"/>
              </a:rPr>
              <a:t>International</a:t>
            </a:r>
            <a:r>
              <a:rPr lang="en-GB" sz="1000">
                <a:solidFill>
                  <a:schemeClr val="accent4"/>
                </a:solidFill>
                <a:latin typeface="Trebuchet MS" panose="020B0603020202020204" pitchFamily="34" charset="0"/>
              </a:rPr>
              <a:t> </a:t>
            </a:r>
            <a:r>
              <a:rPr lang="en-GB" sz="1000" b="1">
                <a:solidFill>
                  <a:schemeClr val="accent4"/>
                </a:solidFill>
                <a:latin typeface="Trebuchet MS" panose="020B0603020202020204" pitchFamily="34" charset="0"/>
              </a:rPr>
              <a:t>players</a:t>
            </a:r>
          </a:p>
          <a:p>
            <a:pPr algn="ctr"/>
            <a:endParaRPr lang="en-GB" sz="1000" i="1">
              <a:solidFill>
                <a:schemeClr val="accent4"/>
              </a:solidFill>
              <a:latin typeface="Trebuchet MS" pitchFamily="34" charset="0"/>
            </a:endParaRPr>
          </a:p>
          <a:p>
            <a:pPr algn="ctr"/>
            <a:r>
              <a:rPr lang="en-GB" sz="1000" i="1">
                <a:solidFill>
                  <a:schemeClr val="accent4"/>
                </a:solidFill>
                <a:latin typeface="Trebuchet MS" pitchFamily="34" charset="0"/>
              </a:rPr>
              <a:t>International</a:t>
            </a:r>
            <a:r>
              <a:rPr lang="en-GB" sz="1000">
                <a:solidFill>
                  <a:schemeClr val="accent4"/>
                </a:solidFill>
                <a:latin typeface="Trebuchet MS" panose="020B0603020202020204" pitchFamily="34" charset="0"/>
              </a:rPr>
              <a:t> </a:t>
            </a:r>
            <a:r>
              <a:rPr lang="en-GB" sz="1000" i="1">
                <a:solidFill>
                  <a:schemeClr val="accent4"/>
                </a:solidFill>
                <a:latin typeface="Trebuchet MS" panose="020B0603020202020204" pitchFamily="34" charset="0"/>
              </a:rPr>
              <a:t>data</a:t>
            </a:r>
            <a:r>
              <a:rPr lang="en-GB" sz="1000">
                <a:solidFill>
                  <a:schemeClr val="accent4"/>
                </a:solidFill>
                <a:latin typeface="Trebuchet MS" panose="020B0603020202020204" pitchFamily="34" charset="0"/>
              </a:rPr>
              <a:t> providers</a:t>
            </a:r>
          </a:p>
        </p:txBody>
      </p:sp>
      <p:sp>
        <p:nvSpPr>
          <p:cNvPr id="85" name="Rectangle: Rounded Corners 84">
            <a:extLst>
              <a:ext uri="{FF2B5EF4-FFF2-40B4-BE49-F238E27FC236}">
                <a16:creationId xmlns:a16="http://schemas.microsoft.com/office/drawing/2014/main" id="{EA26E014-DCAD-4100-877A-2164D7BAA865}"/>
              </a:ext>
            </a:extLst>
          </p:cNvPr>
          <p:cNvSpPr/>
          <p:nvPr/>
        </p:nvSpPr>
        <p:spPr bwMode="auto">
          <a:xfrm>
            <a:off x="1315274" y="3315151"/>
            <a:ext cx="6229707" cy="3059607"/>
          </a:xfrm>
          <a:prstGeom prst="roundRect">
            <a:avLst>
              <a:gd name="adj" fmla="val 457"/>
            </a:avLst>
          </a:prstGeom>
          <a:solidFill>
            <a:schemeClr val="bg1">
              <a:lumMod val="95000"/>
            </a:schemeClr>
          </a:solidFill>
          <a:ln w="12700"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effectLst/>
              <a:latin typeface="Trebuchet MS" pitchFamily="34" charset="0"/>
            </a:endParaRPr>
          </a:p>
        </p:txBody>
      </p:sp>
      <p:sp>
        <p:nvSpPr>
          <p:cNvPr id="24" name="Rectangle: Rounded Corners 23">
            <a:extLst>
              <a:ext uri="{FF2B5EF4-FFF2-40B4-BE49-F238E27FC236}">
                <a16:creationId xmlns:a16="http://schemas.microsoft.com/office/drawing/2014/main" id="{75DD7B33-4261-4A24-990E-F8333D3C9F89}"/>
              </a:ext>
            </a:extLst>
          </p:cNvPr>
          <p:cNvSpPr/>
          <p:nvPr/>
        </p:nvSpPr>
        <p:spPr bwMode="auto">
          <a:xfrm>
            <a:off x="109981" y="3315151"/>
            <a:ext cx="1113828" cy="3059606"/>
          </a:xfrm>
          <a:prstGeom prst="roundRect">
            <a:avLst>
              <a:gd name="adj" fmla="val 458"/>
            </a:avLst>
          </a:prstGeom>
          <a:solidFill>
            <a:schemeClr val="bg1">
              <a:lumMod val="95000"/>
            </a:schemeClr>
          </a:solidFill>
          <a:ln w="12700"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000">
              <a:latin typeface="Trebuchet MS" pitchFamily="34" charset="0"/>
            </a:endParaRPr>
          </a:p>
          <a:p>
            <a:pPr algn="ctr"/>
            <a:endParaRPr lang="en-GB" sz="1000">
              <a:latin typeface="Trebuchet MS" pitchFamily="34" charset="0"/>
            </a:endParaRPr>
          </a:p>
          <a:p>
            <a:pPr algn="ctr"/>
            <a:r>
              <a:rPr lang="en-GB" sz="1000" b="1">
                <a:latin typeface="Trebuchet MS" pitchFamily="34" charset="0"/>
              </a:rPr>
              <a:t>Local actors</a:t>
            </a:r>
          </a:p>
          <a:p>
            <a:pPr algn="ctr"/>
            <a:endParaRPr lang="en-GB" sz="1000" b="1">
              <a:latin typeface="Trebuchet MS" pitchFamily="34" charset="0"/>
            </a:endParaRPr>
          </a:p>
          <a:p>
            <a:pPr algn="ctr"/>
            <a:r>
              <a:rPr lang="en-GB" sz="1000" i="1">
                <a:latin typeface="Trebuchet MS" panose="020B0603020202020204" pitchFamily="34" charset="0"/>
              </a:rPr>
              <a:t>Domestic data providers with limited available international data </a:t>
            </a:r>
          </a:p>
          <a:p>
            <a:pPr algn="ctr"/>
            <a:endParaRPr lang="en-GB" sz="1000">
              <a:latin typeface="Trebuchet MS" panose="020B0603020202020204" pitchFamily="34" charset="0"/>
            </a:endParaRPr>
          </a:p>
        </p:txBody>
      </p:sp>
      <p:sp>
        <p:nvSpPr>
          <p:cNvPr id="2" name="Title 1">
            <a:extLst>
              <a:ext uri="{FF2B5EF4-FFF2-40B4-BE49-F238E27FC236}">
                <a16:creationId xmlns:a16="http://schemas.microsoft.com/office/drawing/2014/main" id="{4BEF0EC8-7810-4068-B57F-BAB5158BFADF}"/>
              </a:ext>
            </a:extLst>
          </p:cNvPr>
          <p:cNvSpPr>
            <a:spLocks noGrp="1"/>
          </p:cNvSpPr>
          <p:nvPr>
            <p:ph type="title"/>
          </p:nvPr>
        </p:nvSpPr>
        <p:spPr>
          <a:xfrm>
            <a:off x="165600" y="147600"/>
            <a:ext cx="8350286" cy="684000"/>
          </a:xfrm>
        </p:spPr>
        <p:txBody>
          <a:bodyPr/>
          <a:lstStyle/>
          <a:p>
            <a:r>
              <a:rPr lang="en-GB">
                <a:latin typeface="Trebuchet MS" panose="020B0603020202020204" pitchFamily="34" charset="0"/>
              </a:rPr>
              <a:t>By</a:t>
            </a:r>
            <a:r>
              <a:rPr lang="en-GB">
                <a:solidFill>
                  <a:schemeClr val="tx2"/>
                </a:solidFill>
                <a:latin typeface="Trebuchet MS" panose="020B0603020202020204" pitchFamily="34" charset="0"/>
              </a:rPr>
              <a:t> </a:t>
            </a:r>
            <a:r>
              <a:rPr lang="en-GB">
                <a:latin typeface="Trebuchet MS" panose="020B0603020202020204" pitchFamily="34" charset="0"/>
              </a:rPr>
              <a:t>operating</a:t>
            </a:r>
            <a:r>
              <a:rPr lang="en-GB">
                <a:solidFill>
                  <a:schemeClr val="tx2"/>
                </a:solidFill>
                <a:latin typeface="Trebuchet MS" panose="020B0603020202020204" pitchFamily="34" charset="0"/>
              </a:rPr>
              <a:t> </a:t>
            </a:r>
            <a:r>
              <a:rPr lang="en-GB">
                <a:latin typeface="Trebuchet MS" panose="020B0603020202020204" pitchFamily="34" charset="0"/>
              </a:rPr>
              <a:t>both</a:t>
            </a:r>
            <a:r>
              <a:rPr lang="en-GB">
                <a:solidFill>
                  <a:schemeClr val="tx2"/>
                </a:solidFill>
                <a:latin typeface="Trebuchet MS" panose="020B0603020202020204" pitchFamily="34" charset="0"/>
              </a:rPr>
              <a:t> </a:t>
            </a:r>
            <a:r>
              <a:rPr lang="en-GB">
                <a:latin typeface="Trebuchet MS" panose="020B0603020202020204" pitchFamily="34" charset="0"/>
              </a:rPr>
              <a:t>on</a:t>
            </a:r>
            <a:r>
              <a:rPr lang="en-GB">
                <a:solidFill>
                  <a:schemeClr val="tx2"/>
                </a:solidFill>
                <a:latin typeface="Trebuchet MS" panose="020B0603020202020204" pitchFamily="34" charset="0"/>
              </a:rPr>
              <a:t> </a:t>
            </a:r>
            <a:r>
              <a:rPr lang="en-GB">
                <a:latin typeface="Trebuchet MS" panose="020B0603020202020204" pitchFamily="34" charset="0"/>
              </a:rPr>
              <a:t>the</a:t>
            </a:r>
            <a:r>
              <a:rPr lang="en-GB">
                <a:solidFill>
                  <a:schemeClr val="tx2"/>
                </a:solidFill>
                <a:latin typeface="Trebuchet MS" panose="020B0603020202020204" pitchFamily="34" charset="0"/>
              </a:rPr>
              <a:t> Benelux </a:t>
            </a:r>
            <a:r>
              <a:rPr lang="en-GB">
                <a:latin typeface="Trebuchet MS" panose="020B0603020202020204" pitchFamily="34" charset="0"/>
              </a:rPr>
              <a:t>and</a:t>
            </a:r>
            <a:r>
              <a:rPr lang="en-GB">
                <a:solidFill>
                  <a:schemeClr val="tx2"/>
                </a:solidFill>
                <a:latin typeface="Trebuchet MS" panose="020B0603020202020204" pitchFamily="34" charset="0"/>
              </a:rPr>
              <a:t> French market</a:t>
            </a:r>
            <a:r>
              <a:rPr lang="en-GB">
                <a:latin typeface="Trebuchet MS" panose="020B0603020202020204" pitchFamily="34" charset="0"/>
              </a:rPr>
              <a:t>, </a:t>
            </a:r>
            <a:r>
              <a:rPr lang="en-GB" err="1">
                <a:latin typeface="Trebuchet MS" panose="020B0603020202020204" pitchFamily="34" charset="0"/>
              </a:rPr>
              <a:t>Altares</a:t>
            </a:r>
            <a:r>
              <a:rPr lang="en-GB">
                <a:latin typeface="Trebuchet MS" panose="020B0603020202020204" pitchFamily="34" charset="0"/>
              </a:rPr>
              <a:t> competes with </a:t>
            </a:r>
            <a:r>
              <a:rPr lang="en-GB">
                <a:solidFill>
                  <a:schemeClr val="tx2"/>
                </a:solidFill>
                <a:latin typeface="Trebuchet MS" panose="020B0603020202020204" pitchFamily="34" charset="0"/>
              </a:rPr>
              <a:t>transnational </a:t>
            </a:r>
            <a:r>
              <a:rPr lang="en-GB">
                <a:latin typeface="Trebuchet MS" panose="020B0603020202020204" pitchFamily="34" charset="0"/>
              </a:rPr>
              <a:t>and </a:t>
            </a:r>
            <a:r>
              <a:rPr lang="en-GB">
                <a:solidFill>
                  <a:schemeClr val="tx2"/>
                </a:solidFill>
                <a:latin typeface="Trebuchet MS" panose="020B0603020202020204" pitchFamily="34" charset="0"/>
              </a:rPr>
              <a:t>local players </a:t>
            </a:r>
            <a:r>
              <a:rPr lang="en-GB">
                <a:latin typeface="Trebuchet MS" panose="020B0603020202020204" pitchFamily="34" charset="0"/>
              </a:rPr>
              <a:t>which</a:t>
            </a:r>
            <a:r>
              <a:rPr lang="en-GB">
                <a:solidFill>
                  <a:schemeClr val="tx2"/>
                </a:solidFill>
                <a:latin typeface="Trebuchet MS" panose="020B0603020202020204" pitchFamily="34" charset="0"/>
              </a:rPr>
              <a:t> </a:t>
            </a:r>
            <a:r>
              <a:rPr lang="en-GB">
                <a:latin typeface="Trebuchet MS" panose="020B0603020202020204" pitchFamily="34" charset="0"/>
              </a:rPr>
              <a:t>can</a:t>
            </a:r>
            <a:r>
              <a:rPr lang="en-GB">
                <a:solidFill>
                  <a:schemeClr val="tx2"/>
                </a:solidFill>
                <a:latin typeface="Trebuchet MS" panose="020B0603020202020204" pitchFamily="34" charset="0"/>
              </a:rPr>
              <a:t> </a:t>
            </a:r>
            <a:r>
              <a:rPr lang="en-GB">
                <a:latin typeface="Trebuchet MS" panose="020B0603020202020204" pitchFamily="34" charset="0"/>
              </a:rPr>
              <a:t>either address one or several verticals</a:t>
            </a:r>
          </a:p>
        </p:txBody>
      </p:sp>
      <p:sp>
        <p:nvSpPr>
          <p:cNvPr id="3" name="Text Placeholder 2">
            <a:extLst>
              <a:ext uri="{FF2B5EF4-FFF2-40B4-BE49-F238E27FC236}">
                <a16:creationId xmlns:a16="http://schemas.microsoft.com/office/drawing/2014/main" id="{FC3FFB2A-2D99-4AE1-82BC-E4233BE593A4}"/>
              </a:ext>
            </a:extLst>
          </p:cNvPr>
          <p:cNvSpPr>
            <a:spLocks noGrp="1"/>
          </p:cNvSpPr>
          <p:nvPr>
            <p:ph type="body" sz="quarter" idx="10"/>
          </p:nvPr>
        </p:nvSpPr>
        <p:spPr>
          <a:xfrm>
            <a:off x="1315273" y="6580025"/>
            <a:ext cx="6923851" cy="244800"/>
          </a:xfrm>
        </p:spPr>
        <p:txBody>
          <a:bodyPr/>
          <a:lstStyle/>
          <a:p>
            <a:r>
              <a:rPr lang="en-GB"/>
              <a:t>Sources: eleven research &amp; analysis, expert calls, company websites</a:t>
            </a:r>
          </a:p>
          <a:p>
            <a:r>
              <a:rPr lang="en-GB"/>
              <a:t>*On the assessed markets, Bisnode is only present in Belgium with B2B marketing solutions</a:t>
            </a:r>
          </a:p>
          <a:p>
            <a:endParaRPr lang="en-GB"/>
          </a:p>
        </p:txBody>
      </p:sp>
      <p:sp>
        <p:nvSpPr>
          <p:cNvPr id="5" name="Rectangle 4">
            <a:extLst>
              <a:ext uri="{FF2B5EF4-FFF2-40B4-BE49-F238E27FC236}">
                <a16:creationId xmlns:a16="http://schemas.microsoft.com/office/drawing/2014/main" id="{947F5FA7-A6F2-46E6-8FD1-C102113CA511}"/>
              </a:ext>
            </a:extLst>
          </p:cNvPr>
          <p:cNvSpPr/>
          <p:nvPr/>
        </p:nvSpPr>
        <p:spPr bwMode="auto">
          <a:xfrm>
            <a:off x="3481116" y="1294371"/>
            <a:ext cx="1224401" cy="581407"/>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1" i="0" u="none" strike="noStrike" cap="none" normalizeH="0" baseline="0">
              <a:ln>
                <a:noFill/>
              </a:ln>
              <a:solidFill>
                <a:schemeClr val="tx2"/>
              </a:solidFill>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chemeClr val="tx2"/>
                </a:solidFill>
                <a:effectLst/>
                <a:latin typeface="Trebuchet MS" panose="020B0603020202020204" pitchFamily="34" charset="0"/>
              </a:rPr>
              <a:t>Credit &amp; financial risk</a:t>
            </a:r>
          </a:p>
        </p:txBody>
      </p:sp>
      <p:sp>
        <p:nvSpPr>
          <p:cNvPr id="6" name="Rectangle 5">
            <a:extLst>
              <a:ext uri="{FF2B5EF4-FFF2-40B4-BE49-F238E27FC236}">
                <a16:creationId xmlns:a16="http://schemas.microsoft.com/office/drawing/2014/main" id="{A45757C7-4717-437C-BF48-46D7BCBA79D7}"/>
              </a:ext>
            </a:extLst>
          </p:cNvPr>
          <p:cNvSpPr/>
          <p:nvPr/>
        </p:nvSpPr>
        <p:spPr bwMode="auto">
          <a:xfrm>
            <a:off x="4861910" y="1294371"/>
            <a:ext cx="1224226" cy="581407"/>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1" i="0" u="none" strike="noStrike" cap="none" normalizeH="0" baseline="0">
              <a:ln>
                <a:noFill/>
              </a:ln>
              <a:solidFill>
                <a:schemeClr val="tx2"/>
              </a:solidFill>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chemeClr val="tx2"/>
                </a:solidFill>
                <a:effectLst/>
                <a:latin typeface="Trebuchet MS" panose="020B0603020202020204" pitchFamily="34" charset="0"/>
              </a:rPr>
              <a:t>Compliance</a:t>
            </a:r>
          </a:p>
        </p:txBody>
      </p:sp>
      <p:sp>
        <p:nvSpPr>
          <p:cNvPr id="7" name="Rectangle 6">
            <a:extLst>
              <a:ext uri="{FF2B5EF4-FFF2-40B4-BE49-F238E27FC236}">
                <a16:creationId xmlns:a16="http://schemas.microsoft.com/office/drawing/2014/main" id="{C241AF90-8339-42CB-9CBE-A2E9C4E9D756}"/>
              </a:ext>
            </a:extLst>
          </p:cNvPr>
          <p:cNvSpPr/>
          <p:nvPr/>
        </p:nvSpPr>
        <p:spPr bwMode="auto">
          <a:xfrm>
            <a:off x="6242529" y="1294371"/>
            <a:ext cx="1224402" cy="581407"/>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1" i="0" u="none" strike="noStrike" cap="none" normalizeH="0" baseline="0">
              <a:ln>
                <a:noFill/>
              </a:ln>
              <a:solidFill>
                <a:schemeClr val="tx2"/>
              </a:solidFill>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chemeClr val="tx2"/>
                </a:solidFill>
                <a:effectLst/>
                <a:latin typeface="Trebuchet MS" panose="020B0603020202020204" pitchFamily="34" charset="0"/>
              </a:rPr>
              <a:t>B2B Marketing</a:t>
            </a:r>
          </a:p>
        </p:txBody>
      </p:sp>
      <p:pic>
        <p:nvPicPr>
          <p:cNvPr id="9" name="Graphique 128" descr="Jauge">
            <a:extLst>
              <a:ext uri="{FF2B5EF4-FFF2-40B4-BE49-F238E27FC236}">
                <a16:creationId xmlns:a16="http://schemas.microsoft.com/office/drawing/2014/main" id="{8298B060-F5F8-49E0-9A6A-4FB6F493EF8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75840" y="1294371"/>
            <a:ext cx="234953" cy="218224"/>
          </a:xfrm>
          <a:prstGeom prst="rect">
            <a:avLst/>
          </a:prstGeom>
        </p:spPr>
      </p:pic>
      <p:pic>
        <p:nvPicPr>
          <p:cNvPr id="11" name="Graphique 90" descr="Poignée de main">
            <a:extLst>
              <a:ext uri="{FF2B5EF4-FFF2-40B4-BE49-F238E27FC236}">
                <a16:creationId xmlns:a16="http://schemas.microsoft.com/office/drawing/2014/main" id="{EC48964C-6EFB-49A8-9283-0146EC22739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345867" y="1276615"/>
            <a:ext cx="256313" cy="287496"/>
          </a:xfrm>
          <a:prstGeom prst="rect">
            <a:avLst/>
          </a:prstGeom>
        </p:spPr>
      </p:pic>
      <p:pic>
        <p:nvPicPr>
          <p:cNvPr id="13" name="Graphique 74" descr="Mégaphone">
            <a:extLst>
              <a:ext uri="{FF2B5EF4-FFF2-40B4-BE49-F238E27FC236}">
                <a16:creationId xmlns:a16="http://schemas.microsoft.com/office/drawing/2014/main" id="{2F07132F-3CD9-45C8-8397-FE3962CFE18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738225" y="1296175"/>
            <a:ext cx="233011" cy="216420"/>
          </a:xfrm>
          <a:prstGeom prst="rect">
            <a:avLst/>
          </a:prstGeom>
        </p:spPr>
      </p:pic>
      <p:pic>
        <p:nvPicPr>
          <p:cNvPr id="17" name="Picture 2" descr="Image result for creditsafe logo">
            <a:extLst>
              <a:ext uri="{FF2B5EF4-FFF2-40B4-BE49-F238E27FC236}">
                <a16:creationId xmlns:a16="http://schemas.microsoft.com/office/drawing/2014/main" id="{63F9FFDC-CEDD-451B-8F41-E4E8EA4061F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398177" y="2959574"/>
            <a:ext cx="654545" cy="11297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Image result for bureau van dijk logo">
            <a:extLst>
              <a:ext uri="{FF2B5EF4-FFF2-40B4-BE49-F238E27FC236}">
                <a16:creationId xmlns:a16="http://schemas.microsoft.com/office/drawing/2014/main" id="{77BD3828-7331-4D83-B5DA-5B997E30BB2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09263" y="2544047"/>
            <a:ext cx="432373" cy="20435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descr="A picture containing light&#10;&#10;Description automatically generated">
            <a:extLst>
              <a:ext uri="{FF2B5EF4-FFF2-40B4-BE49-F238E27FC236}">
                <a16:creationId xmlns:a16="http://schemas.microsoft.com/office/drawing/2014/main" id="{FD6A53C7-3153-4EE8-9D14-5CDECCAD67D6}"/>
              </a:ext>
            </a:extLst>
          </p:cNvPr>
          <p:cNvPicPr>
            <a:picLocks noChangeAspect="1"/>
          </p:cNvPicPr>
          <p:nvPr/>
        </p:nvPicPr>
        <p:blipFill rotWithShape="1">
          <a:blip r:embed="rId15">
            <a:extLst>
              <a:ext uri="{28A0092B-C50C-407E-A947-70E740481C1C}">
                <a14:useLocalDpi xmlns:a14="http://schemas.microsoft.com/office/drawing/2010/main" val="0"/>
              </a:ext>
            </a:extLst>
          </a:blip>
          <a:srcRect t="38705" b="38705"/>
          <a:stretch/>
        </p:blipFill>
        <p:spPr>
          <a:xfrm>
            <a:off x="1371492" y="3465982"/>
            <a:ext cx="707915" cy="127938"/>
          </a:xfrm>
          <a:prstGeom prst="rect">
            <a:avLst/>
          </a:prstGeom>
        </p:spPr>
      </p:pic>
      <p:pic>
        <p:nvPicPr>
          <p:cNvPr id="27" name="Picture 26" descr="A picture containing computer, computer&#10;&#10;Description automatically generated">
            <a:extLst>
              <a:ext uri="{FF2B5EF4-FFF2-40B4-BE49-F238E27FC236}">
                <a16:creationId xmlns:a16="http://schemas.microsoft.com/office/drawing/2014/main" id="{847325DD-1DB5-442A-9D42-397C10ADB9E9}"/>
              </a:ext>
            </a:extLst>
          </p:cNvPr>
          <p:cNvPicPr>
            <a:picLocks noChangeAspect="1"/>
          </p:cNvPicPr>
          <p:nvPr/>
        </p:nvPicPr>
        <p:blipFill rotWithShape="1">
          <a:blip r:embed="rId16">
            <a:extLst>
              <a:ext uri="{28A0092B-C50C-407E-A947-70E740481C1C}">
                <a14:useLocalDpi xmlns:a14="http://schemas.microsoft.com/office/drawing/2010/main" val="0"/>
              </a:ext>
            </a:extLst>
          </a:blip>
          <a:srcRect l="12024" t="40724" r="12024" b="40724"/>
          <a:stretch/>
        </p:blipFill>
        <p:spPr>
          <a:xfrm>
            <a:off x="1419386" y="4482553"/>
            <a:ext cx="612126" cy="112136"/>
          </a:xfrm>
          <a:prstGeom prst="rect">
            <a:avLst/>
          </a:prstGeom>
        </p:spPr>
      </p:pic>
      <p:pic>
        <p:nvPicPr>
          <p:cNvPr id="29" name="Picture 28" descr="A picture containing drawing, food&#10;&#10;Description automatically generated">
            <a:extLst>
              <a:ext uri="{FF2B5EF4-FFF2-40B4-BE49-F238E27FC236}">
                <a16:creationId xmlns:a16="http://schemas.microsoft.com/office/drawing/2014/main" id="{28D5870F-E82D-478E-8F0F-3B69CFC98E5B}"/>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347646" y="4760838"/>
            <a:ext cx="755607" cy="180162"/>
          </a:xfrm>
          <a:prstGeom prst="rect">
            <a:avLst/>
          </a:prstGeom>
        </p:spPr>
      </p:pic>
      <p:sp>
        <p:nvSpPr>
          <p:cNvPr id="36" name="Rectangle: Rounded Corners 35">
            <a:extLst>
              <a:ext uri="{FF2B5EF4-FFF2-40B4-BE49-F238E27FC236}">
                <a16:creationId xmlns:a16="http://schemas.microsoft.com/office/drawing/2014/main" id="{274C71F4-0249-4945-A4DE-1E050D8B8013}"/>
              </a:ext>
            </a:extLst>
          </p:cNvPr>
          <p:cNvSpPr/>
          <p:nvPr/>
        </p:nvSpPr>
        <p:spPr bwMode="auto">
          <a:xfrm>
            <a:off x="3481117" y="2178478"/>
            <a:ext cx="3985814" cy="180000"/>
          </a:xfrm>
          <a:prstGeom prst="round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7" name="Rectangle: Rounded Corners 36">
            <a:extLst>
              <a:ext uri="{FF2B5EF4-FFF2-40B4-BE49-F238E27FC236}">
                <a16:creationId xmlns:a16="http://schemas.microsoft.com/office/drawing/2014/main" id="{D91A5664-5699-49E1-B97E-C158CF1AF604}"/>
              </a:ext>
            </a:extLst>
          </p:cNvPr>
          <p:cNvSpPr/>
          <p:nvPr/>
        </p:nvSpPr>
        <p:spPr bwMode="auto">
          <a:xfrm>
            <a:off x="3481117" y="2550945"/>
            <a:ext cx="3985814" cy="180000"/>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8" name="Rectangle: Rounded Corners 37">
            <a:extLst>
              <a:ext uri="{FF2B5EF4-FFF2-40B4-BE49-F238E27FC236}">
                <a16:creationId xmlns:a16="http://schemas.microsoft.com/office/drawing/2014/main" id="{A320628B-EA44-449C-BDE4-E284BFABE36A}"/>
              </a:ext>
            </a:extLst>
          </p:cNvPr>
          <p:cNvSpPr/>
          <p:nvPr/>
        </p:nvSpPr>
        <p:spPr bwMode="auto">
          <a:xfrm>
            <a:off x="3481117" y="2923412"/>
            <a:ext cx="3985814" cy="180000"/>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0" name="Rectangle: Rounded Corners 39">
            <a:extLst>
              <a:ext uri="{FF2B5EF4-FFF2-40B4-BE49-F238E27FC236}">
                <a16:creationId xmlns:a16="http://schemas.microsoft.com/office/drawing/2014/main" id="{5A3587B2-B574-47AF-A307-B3D81D10F29E}"/>
              </a:ext>
            </a:extLst>
          </p:cNvPr>
          <p:cNvSpPr/>
          <p:nvPr/>
        </p:nvSpPr>
        <p:spPr bwMode="auto">
          <a:xfrm>
            <a:off x="3481117" y="3439951"/>
            <a:ext cx="3985814" cy="180000"/>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2" name="Rectangle: Rounded Corners 41">
            <a:extLst>
              <a:ext uri="{FF2B5EF4-FFF2-40B4-BE49-F238E27FC236}">
                <a16:creationId xmlns:a16="http://schemas.microsoft.com/office/drawing/2014/main" id="{76CCDC28-712B-42BC-B5D7-C63FA1F8BF85}"/>
              </a:ext>
            </a:extLst>
          </p:cNvPr>
          <p:cNvSpPr/>
          <p:nvPr/>
        </p:nvSpPr>
        <p:spPr bwMode="auto">
          <a:xfrm>
            <a:off x="3481117" y="3768671"/>
            <a:ext cx="3985814" cy="180000"/>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5" name="Rectangle: Rounded Corners 44">
            <a:extLst>
              <a:ext uri="{FF2B5EF4-FFF2-40B4-BE49-F238E27FC236}">
                <a16:creationId xmlns:a16="http://schemas.microsoft.com/office/drawing/2014/main" id="{7351DA03-0634-4443-8361-2553FFE849CC}"/>
              </a:ext>
            </a:extLst>
          </p:cNvPr>
          <p:cNvSpPr/>
          <p:nvPr/>
        </p:nvSpPr>
        <p:spPr bwMode="auto">
          <a:xfrm>
            <a:off x="3481117" y="4426111"/>
            <a:ext cx="3985814" cy="180000"/>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6" name="Rectangle: Rounded Corners 45">
            <a:extLst>
              <a:ext uri="{FF2B5EF4-FFF2-40B4-BE49-F238E27FC236}">
                <a16:creationId xmlns:a16="http://schemas.microsoft.com/office/drawing/2014/main" id="{B6B145A8-B4DD-4179-B3BE-9E416B8A24D7}"/>
              </a:ext>
            </a:extLst>
          </p:cNvPr>
          <p:cNvSpPr/>
          <p:nvPr/>
        </p:nvSpPr>
        <p:spPr bwMode="auto">
          <a:xfrm>
            <a:off x="3481117" y="4754831"/>
            <a:ext cx="3985814" cy="180000"/>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49" name="Picture 48" descr="A picture containing sitting, food, drawing&#10;&#10;Description automatically generated">
            <a:extLst>
              <a:ext uri="{FF2B5EF4-FFF2-40B4-BE49-F238E27FC236}">
                <a16:creationId xmlns:a16="http://schemas.microsoft.com/office/drawing/2014/main" id="{FCA24C71-C325-463E-8D42-2BB312E5DC28}"/>
              </a:ext>
            </a:extLst>
          </p:cNvPr>
          <p:cNvPicPr>
            <a:picLocks noChangeAspect="1"/>
          </p:cNvPicPr>
          <p:nvPr/>
        </p:nvPicPr>
        <p:blipFill rotWithShape="1">
          <a:blip r:embed="rId18">
            <a:extLst>
              <a:ext uri="{28A0092B-C50C-407E-A947-70E740481C1C}">
                <a14:useLocalDpi xmlns:a14="http://schemas.microsoft.com/office/drawing/2010/main" val="0"/>
              </a:ext>
            </a:extLst>
          </a:blip>
          <a:srcRect t="34524"/>
          <a:stretch/>
        </p:blipFill>
        <p:spPr>
          <a:xfrm>
            <a:off x="1432616" y="5413174"/>
            <a:ext cx="598896" cy="231756"/>
          </a:xfrm>
          <a:prstGeom prst="rect">
            <a:avLst/>
          </a:prstGeom>
        </p:spPr>
      </p:pic>
      <p:sp>
        <p:nvSpPr>
          <p:cNvPr id="50" name="Rectangle: Rounded Corners 49">
            <a:extLst>
              <a:ext uri="{FF2B5EF4-FFF2-40B4-BE49-F238E27FC236}">
                <a16:creationId xmlns:a16="http://schemas.microsoft.com/office/drawing/2014/main" id="{0E1798DD-0516-4051-A016-6576CFE492B1}"/>
              </a:ext>
            </a:extLst>
          </p:cNvPr>
          <p:cNvSpPr/>
          <p:nvPr/>
        </p:nvSpPr>
        <p:spPr bwMode="auto">
          <a:xfrm>
            <a:off x="6242529" y="5415847"/>
            <a:ext cx="1224401" cy="180000"/>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52" name="Picture 2 - 1" descr="Drapeau des Pays-Bas — Wikipédia">
            <a:extLst>
              <a:ext uri="{FF2B5EF4-FFF2-40B4-BE49-F238E27FC236}">
                <a16:creationId xmlns:a16="http://schemas.microsoft.com/office/drawing/2014/main" id="{BA199C5C-888F-42A5-BF00-B1FD05397992}"/>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91012" y="2171886"/>
            <a:ext cx="278614"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54" name="Picture 2" descr="Drapeau France">
            <a:extLst>
              <a:ext uri="{FF2B5EF4-FFF2-40B4-BE49-F238E27FC236}">
                <a16:creationId xmlns:a16="http://schemas.microsoft.com/office/drawing/2014/main" id="{907C84DE-9B6D-454E-BE29-A988AFBA9146}"/>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7006" b="16757"/>
          <a:stretch/>
        </p:blipFill>
        <p:spPr bwMode="auto">
          <a:xfrm>
            <a:off x="2843669" y="2171886"/>
            <a:ext cx="278614"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56" name="Picture 2 - 2" descr="5 ft x 3 ft 150 x 90 cm-DRAPEAU BELGE Belgique 100% Polyester ...">
            <a:extLst>
              <a:ext uri="{FF2B5EF4-FFF2-40B4-BE49-F238E27FC236}">
                <a16:creationId xmlns:a16="http://schemas.microsoft.com/office/drawing/2014/main" id="{6C0DF224-7889-4142-9679-6C6153678F36}"/>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973"/>
          <a:stretch/>
        </p:blipFill>
        <p:spPr bwMode="auto">
          <a:xfrm>
            <a:off x="2517340" y="2171886"/>
            <a:ext cx="278616"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57" name="Picture 2 - 1" descr="Drapeau des Pays-Bas — Wikipédia">
            <a:extLst>
              <a:ext uri="{FF2B5EF4-FFF2-40B4-BE49-F238E27FC236}">
                <a16:creationId xmlns:a16="http://schemas.microsoft.com/office/drawing/2014/main" id="{D2D8D28D-BAC9-47E1-ADDE-8486913892DE}"/>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91012" y="2550945"/>
            <a:ext cx="278614"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58" name="Picture 2" descr="Drapeau France">
            <a:extLst>
              <a:ext uri="{FF2B5EF4-FFF2-40B4-BE49-F238E27FC236}">
                <a16:creationId xmlns:a16="http://schemas.microsoft.com/office/drawing/2014/main" id="{C5544402-8928-48D5-A5EA-DF0696755175}"/>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7006" b="16757"/>
          <a:stretch/>
        </p:blipFill>
        <p:spPr bwMode="auto">
          <a:xfrm>
            <a:off x="2843669" y="2550945"/>
            <a:ext cx="278614"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59" name="Picture 2 - 2" descr="5 ft x 3 ft 150 x 90 cm-DRAPEAU BELGE Belgique 100% Polyester ...">
            <a:extLst>
              <a:ext uri="{FF2B5EF4-FFF2-40B4-BE49-F238E27FC236}">
                <a16:creationId xmlns:a16="http://schemas.microsoft.com/office/drawing/2014/main" id="{34BDA571-910A-4D0C-A8DA-59645EEFA792}"/>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973"/>
          <a:stretch/>
        </p:blipFill>
        <p:spPr bwMode="auto">
          <a:xfrm>
            <a:off x="2517340" y="2550945"/>
            <a:ext cx="278616"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60" name="Picture 2 - 1" descr="Drapeau des Pays-Bas — Wikipédia">
            <a:extLst>
              <a:ext uri="{FF2B5EF4-FFF2-40B4-BE49-F238E27FC236}">
                <a16:creationId xmlns:a16="http://schemas.microsoft.com/office/drawing/2014/main" id="{584DF1BC-64EE-484C-AC5C-11236D03BF54}"/>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91012" y="2930004"/>
            <a:ext cx="278614"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61" name="Picture 2" descr="Drapeau France">
            <a:extLst>
              <a:ext uri="{FF2B5EF4-FFF2-40B4-BE49-F238E27FC236}">
                <a16:creationId xmlns:a16="http://schemas.microsoft.com/office/drawing/2014/main" id="{D7BF9558-83CE-4851-A15B-F3B6D1E137D6}"/>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7006" b="16757"/>
          <a:stretch/>
        </p:blipFill>
        <p:spPr bwMode="auto">
          <a:xfrm>
            <a:off x="2843669" y="2930004"/>
            <a:ext cx="278614"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62" name="Picture 2 - 2" descr="5 ft x 3 ft 150 x 90 cm-DRAPEAU BELGE Belgique 100% Polyester ...">
            <a:extLst>
              <a:ext uri="{FF2B5EF4-FFF2-40B4-BE49-F238E27FC236}">
                <a16:creationId xmlns:a16="http://schemas.microsoft.com/office/drawing/2014/main" id="{FFFE90D2-67B8-46EE-9AB8-1089821173D5}"/>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973"/>
          <a:stretch/>
        </p:blipFill>
        <p:spPr bwMode="auto">
          <a:xfrm>
            <a:off x="2517340" y="2930004"/>
            <a:ext cx="278616"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66" name="Picture 2" descr="Drapeau France">
            <a:extLst>
              <a:ext uri="{FF2B5EF4-FFF2-40B4-BE49-F238E27FC236}">
                <a16:creationId xmlns:a16="http://schemas.microsoft.com/office/drawing/2014/main" id="{2E465BF3-C1AC-409D-A65B-10518C9DA3FB}"/>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7006" b="16757"/>
          <a:stretch/>
        </p:blipFill>
        <p:spPr bwMode="auto">
          <a:xfrm>
            <a:off x="2843669" y="3439232"/>
            <a:ext cx="278614"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68" name="Picture 2" descr="Drapeau France">
            <a:extLst>
              <a:ext uri="{FF2B5EF4-FFF2-40B4-BE49-F238E27FC236}">
                <a16:creationId xmlns:a16="http://schemas.microsoft.com/office/drawing/2014/main" id="{C1148CA0-9C70-44AA-A497-737FE71DD1E0}"/>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7006" b="16757"/>
          <a:stretch/>
        </p:blipFill>
        <p:spPr bwMode="auto">
          <a:xfrm>
            <a:off x="2843669" y="3768671"/>
            <a:ext cx="278614"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71" name="Picture 2 - 1" descr="Drapeau des Pays-Bas — Wikipédia">
            <a:extLst>
              <a:ext uri="{FF2B5EF4-FFF2-40B4-BE49-F238E27FC236}">
                <a16:creationId xmlns:a16="http://schemas.microsoft.com/office/drawing/2014/main" id="{9EA416FA-FC7A-4E46-8BE2-C50C062B8F5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91012" y="4426111"/>
            <a:ext cx="278614"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72" name="Picture 2 - 2" descr="5 ft x 3 ft 150 x 90 cm-DRAPEAU BELGE Belgique 100% Polyester ...">
            <a:extLst>
              <a:ext uri="{FF2B5EF4-FFF2-40B4-BE49-F238E27FC236}">
                <a16:creationId xmlns:a16="http://schemas.microsoft.com/office/drawing/2014/main" id="{7D955906-B8CE-47C9-A677-9F2B0D554AD4}"/>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973"/>
          <a:stretch/>
        </p:blipFill>
        <p:spPr bwMode="auto">
          <a:xfrm>
            <a:off x="2517340" y="4426111"/>
            <a:ext cx="278616"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73" name="Picture 2 - 1" descr="Drapeau des Pays-Bas — Wikipédia">
            <a:extLst>
              <a:ext uri="{FF2B5EF4-FFF2-40B4-BE49-F238E27FC236}">
                <a16:creationId xmlns:a16="http://schemas.microsoft.com/office/drawing/2014/main" id="{BFCB237D-E07D-486F-8FC0-A6FC62B22F2F}"/>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91012" y="4754831"/>
            <a:ext cx="278614"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74" name="Picture 2 - 2" descr="5 ft x 3 ft 150 x 90 cm-DRAPEAU BELGE Belgique 100% Polyester ...">
            <a:extLst>
              <a:ext uri="{FF2B5EF4-FFF2-40B4-BE49-F238E27FC236}">
                <a16:creationId xmlns:a16="http://schemas.microsoft.com/office/drawing/2014/main" id="{3D0FDA9E-F59B-42B4-8609-4A591CE3F01C}"/>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973"/>
          <a:stretch/>
        </p:blipFill>
        <p:spPr bwMode="auto">
          <a:xfrm>
            <a:off x="2517340" y="4754831"/>
            <a:ext cx="278616"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75" name="Picture 2 - 2" descr="5 ft x 3 ft 150 x 90 cm-DRAPEAU BELGE Belgique 100% Polyester ...">
            <a:extLst>
              <a:ext uri="{FF2B5EF4-FFF2-40B4-BE49-F238E27FC236}">
                <a16:creationId xmlns:a16="http://schemas.microsoft.com/office/drawing/2014/main" id="{1ADA39A9-73C8-4AE0-B816-12C0A3B8908D}"/>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973"/>
          <a:stretch/>
        </p:blipFill>
        <p:spPr bwMode="auto">
          <a:xfrm>
            <a:off x="2517340" y="5083549"/>
            <a:ext cx="278616" cy="167943"/>
          </a:xfrm>
          <a:prstGeom prst="roundRect">
            <a:avLst/>
          </a:prstGeom>
          <a:noFill/>
          <a:extLst>
            <a:ext uri="{909E8E84-426E-40DD-AFC4-6F175D3DCCD1}">
              <a14:hiddenFill xmlns:a14="http://schemas.microsoft.com/office/drawing/2010/main">
                <a:solidFill>
                  <a:srgbClr val="FFFFFF"/>
                </a:solidFill>
              </a14:hiddenFill>
            </a:ext>
          </a:extLst>
        </p:spPr>
      </p:pic>
      <p:cxnSp>
        <p:nvCxnSpPr>
          <p:cNvPr id="77" name="Connecteur droit 9">
            <a:extLst>
              <a:ext uri="{FF2B5EF4-FFF2-40B4-BE49-F238E27FC236}">
                <a16:creationId xmlns:a16="http://schemas.microsoft.com/office/drawing/2014/main" id="{C12E2FA0-4F52-4BB2-9F74-FECBB1FD68C8}"/>
              </a:ext>
            </a:extLst>
          </p:cNvPr>
          <p:cNvCxnSpPr>
            <a:cxnSpLocks/>
          </p:cNvCxnSpPr>
          <p:nvPr/>
        </p:nvCxnSpPr>
        <p:spPr bwMode="auto">
          <a:xfrm>
            <a:off x="273000" y="1036866"/>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79" name="Rectangle 84">
            <a:extLst>
              <a:ext uri="{FF2B5EF4-FFF2-40B4-BE49-F238E27FC236}">
                <a16:creationId xmlns:a16="http://schemas.microsoft.com/office/drawing/2014/main" id="{043F82B8-5839-4D1B-932C-0F57C5FC7756}"/>
              </a:ext>
            </a:extLst>
          </p:cNvPr>
          <p:cNvSpPr/>
          <p:nvPr/>
        </p:nvSpPr>
        <p:spPr bwMode="auto">
          <a:xfrm>
            <a:off x="2013960" y="900851"/>
            <a:ext cx="5878081" cy="24579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defRPr/>
            </a:pPr>
            <a:r>
              <a:rPr lang="en-GB" sz="1100">
                <a:latin typeface="Trebuchet MS" panose="020B0603020202020204" pitchFamily="34" charset="0"/>
              </a:rPr>
              <a:t>Mapping of </a:t>
            </a:r>
            <a:r>
              <a:rPr lang="en-GB" sz="1100" err="1">
                <a:latin typeface="Trebuchet MS" panose="020B0603020202020204" pitchFamily="34" charset="0"/>
              </a:rPr>
              <a:t>Altares</a:t>
            </a:r>
            <a:r>
              <a:rPr lang="en-GB" sz="1100">
                <a:latin typeface="Trebuchet MS" panose="020B0603020202020204" pitchFamily="34" charset="0"/>
              </a:rPr>
              <a:t>' main competitors on the BD&amp;A market in the three geographies</a:t>
            </a:r>
          </a:p>
        </p:txBody>
      </p:sp>
      <p:pic>
        <p:nvPicPr>
          <p:cNvPr id="8" name="Picture 7" descr="A close up of a logo&#10;&#10;Description automatically generated">
            <a:extLst>
              <a:ext uri="{FF2B5EF4-FFF2-40B4-BE49-F238E27FC236}">
                <a16:creationId xmlns:a16="http://schemas.microsoft.com/office/drawing/2014/main" id="{09281CB2-A564-4659-9A5C-3856240600E9}"/>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480025" y="3782604"/>
            <a:ext cx="490848" cy="127677"/>
          </a:xfrm>
          <a:prstGeom prst="rect">
            <a:avLst/>
          </a:prstGeom>
        </p:spPr>
      </p:pic>
      <p:pic>
        <p:nvPicPr>
          <p:cNvPr id="81" name="Picture 2" descr="Drapeau France">
            <a:extLst>
              <a:ext uri="{FF2B5EF4-FFF2-40B4-BE49-F238E27FC236}">
                <a16:creationId xmlns:a16="http://schemas.microsoft.com/office/drawing/2014/main" id="{2E4843DB-DDE3-4DCF-B064-54DDC0238BE9}"/>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7006" b="16757"/>
          <a:stretch/>
        </p:blipFill>
        <p:spPr bwMode="auto">
          <a:xfrm>
            <a:off x="2843669" y="4097391"/>
            <a:ext cx="278614" cy="167943"/>
          </a:xfrm>
          <a:prstGeom prst="roundRect">
            <a:avLst/>
          </a:prstGeom>
          <a:noFill/>
          <a:extLst>
            <a:ext uri="{909E8E84-426E-40DD-AFC4-6F175D3DCCD1}">
              <a14:hiddenFill xmlns:a14="http://schemas.microsoft.com/office/drawing/2010/main">
                <a:solidFill>
                  <a:srgbClr val="FFFFFF"/>
                </a:solidFill>
              </a14:hiddenFill>
            </a:ext>
          </a:extLst>
        </p:spPr>
      </p:pic>
      <p:sp>
        <p:nvSpPr>
          <p:cNvPr id="82" name="Rectangle: Rounded Corners 81">
            <a:extLst>
              <a:ext uri="{FF2B5EF4-FFF2-40B4-BE49-F238E27FC236}">
                <a16:creationId xmlns:a16="http://schemas.microsoft.com/office/drawing/2014/main" id="{ECE0C8EC-1C96-4B93-BF65-A799D4F356D4}"/>
              </a:ext>
            </a:extLst>
          </p:cNvPr>
          <p:cNvSpPr/>
          <p:nvPr/>
        </p:nvSpPr>
        <p:spPr bwMode="auto">
          <a:xfrm>
            <a:off x="3481118" y="4097391"/>
            <a:ext cx="2761412" cy="180000"/>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20" name="Picture 19">
            <a:extLst>
              <a:ext uri="{FF2B5EF4-FFF2-40B4-BE49-F238E27FC236}">
                <a16:creationId xmlns:a16="http://schemas.microsoft.com/office/drawing/2014/main" id="{EB802D23-4B50-4A83-8E57-ED093B0FF344}"/>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1322013" y="5089572"/>
            <a:ext cx="781240" cy="171384"/>
          </a:xfrm>
          <a:prstGeom prst="rect">
            <a:avLst/>
          </a:prstGeom>
        </p:spPr>
      </p:pic>
      <p:sp>
        <p:nvSpPr>
          <p:cNvPr id="90" name="Rectangle: Rounded Corners 89">
            <a:extLst>
              <a:ext uri="{FF2B5EF4-FFF2-40B4-BE49-F238E27FC236}">
                <a16:creationId xmlns:a16="http://schemas.microsoft.com/office/drawing/2014/main" id="{F5BA0B5F-3714-423A-B908-96BF3141EC07}"/>
              </a:ext>
            </a:extLst>
          </p:cNvPr>
          <p:cNvSpPr/>
          <p:nvPr/>
        </p:nvSpPr>
        <p:spPr bwMode="auto">
          <a:xfrm>
            <a:off x="4861909" y="5083549"/>
            <a:ext cx="2605021" cy="180000"/>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91" name="Picture 2 - 2" descr="5 ft x 3 ft 150 x 90 cm-DRAPEAU BELGE Belgique 100% Polyester ...">
            <a:extLst>
              <a:ext uri="{FF2B5EF4-FFF2-40B4-BE49-F238E27FC236}">
                <a16:creationId xmlns:a16="http://schemas.microsoft.com/office/drawing/2014/main" id="{0BA6217A-E714-47D9-8C88-97F2CBEB73F1}"/>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973"/>
          <a:stretch/>
        </p:blipFill>
        <p:spPr bwMode="auto">
          <a:xfrm>
            <a:off x="2517340" y="5413322"/>
            <a:ext cx="278616"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92" name="Picture 2 - 1" descr="Drapeau des Pays-Bas — Wikipédia">
            <a:extLst>
              <a:ext uri="{FF2B5EF4-FFF2-40B4-BE49-F238E27FC236}">
                <a16:creationId xmlns:a16="http://schemas.microsoft.com/office/drawing/2014/main" id="{8DA93078-0279-42E5-A164-2D05310C84E8}"/>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91012" y="5089827"/>
            <a:ext cx="278614"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26" name="Graphic 25">
            <a:extLst>
              <a:ext uri="{FF2B5EF4-FFF2-40B4-BE49-F238E27FC236}">
                <a16:creationId xmlns:a16="http://schemas.microsoft.com/office/drawing/2014/main" id="{1C379149-6B7F-4734-B8DA-45386C3D1778}"/>
              </a:ext>
            </a:extLst>
          </p:cNvPr>
          <p:cNvPicPr>
            <a:picLocks noChangeAspect="1"/>
          </p:cNvPicPr>
          <p:nvPr/>
        </p:nvPicPr>
        <p:blipFill rotWithShape="1">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rcRect b="19800"/>
          <a:stretch/>
        </p:blipFill>
        <p:spPr>
          <a:xfrm>
            <a:off x="546289" y="2063770"/>
            <a:ext cx="241213" cy="241816"/>
          </a:xfrm>
          <a:prstGeom prst="rect">
            <a:avLst/>
          </a:prstGeom>
        </p:spPr>
      </p:pic>
      <p:pic>
        <p:nvPicPr>
          <p:cNvPr id="28" name="Graphic 27">
            <a:extLst>
              <a:ext uri="{FF2B5EF4-FFF2-40B4-BE49-F238E27FC236}">
                <a16:creationId xmlns:a16="http://schemas.microsoft.com/office/drawing/2014/main" id="{E95DBBB1-0551-458E-94B4-BA2F8F7E35E5}"/>
              </a:ext>
            </a:extLst>
          </p:cNvPr>
          <p:cNvPicPr>
            <a:picLocks noChangeAspect="1"/>
          </p:cNvPicPr>
          <p:nvPr/>
        </p:nvPicPr>
        <p:blipFill rotWithShape="1">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b="19800"/>
          <a:stretch/>
        </p:blipFill>
        <p:spPr>
          <a:xfrm>
            <a:off x="520962" y="3384960"/>
            <a:ext cx="291867" cy="292598"/>
          </a:xfrm>
          <a:prstGeom prst="rect">
            <a:avLst/>
          </a:prstGeom>
        </p:spPr>
      </p:pic>
      <p:pic>
        <p:nvPicPr>
          <p:cNvPr id="21" name="Picture 20">
            <a:extLst>
              <a:ext uri="{FF2B5EF4-FFF2-40B4-BE49-F238E27FC236}">
                <a16:creationId xmlns:a16="http://schemas.microsoft.com/office/drawing/2014/main" id="{4CC1E594-A785-4136-B5EC-B9637EBE183D}"/>
              </a:ext>
            </a:extLst>
          </p:cNvPr>
          <p:cNvPicPr>
            <a:picLocks noChangeAspect="1"/>
          </p:cNvPicPr>
          <p:nvPr/>
        </p:nvPicPr>
        <p:blipFill>
          <a:blip r:embed="rId28">
            <a:clrChange>
              <a:clrFrom>
                <a:srgbClr val="FFFFFF"/>
              </a:clrFrom>
              <a:clrTo>
                <a:srgbClr val="FFFFFF">
                  <a:alpha val="0"/>
                </a:srgbClr>
              </a:clrTo>
            </a:clrChange>
          </a:blip>
          <a:stretch>
            <a:fillRect/>
          </a:stretch>
        </p:blipFill>
        <p:spPr>
          <a:xfrm>
            <a:off x="1356636" y="5797148"/>
            <a:ext cx="737625" cy="130602"/>
          </a:xfrm>
          <a:prstGeom prst="rect">
            <a:avLst/>
          </a:prstGeom>
        </p:spPr>
      </p:pic>
      <p:pic>
        <p:nvPicPr>
          <p:cNvPr id="23" name="Picture 2 - 2" descr="Drapeau du Luxembourg">
            <a:extLst>
              <a:ext uri="{FF2B5EF4-FFF2-40B4-BE49-F238E27FC236}">
                <a16:creationId xmlns:a16="http://schemas.microsoft.com/office/drawing/2014/main" id="{4B435FA5-2327-492C-821B-62668A0BE08F}"/>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3161118" y="5755536"/>
            <a:ext cx="282004" cy="169200"/>
          </a:xfrm>
          <a:prstGeom prst="roundRect">
            <a:avLst/>
          </a:prstGeom>
          <a:solidFill>
            <a:schemeClr val="bg1"/>
          </a:solidFill>
          <a:ln w="9525" cap="flat" cmpd="sng" algn="ctr">
            <a:noFill/>
            <a:prstDash val="solid"/>
            <a:round/>
            <a:headEnd type="none" w="med" len="med"/>
            <a:tailEnd type="none" w="med" len="med"/>
          </a:ln>
          <a:effectLst/>
        </p:spPr>
      </p:pic>
      <p:sp>
        <p:nvSpPr>
          <p:cNvPr id="67" name="Rectangle: Rounded Corners 66">
            <a:extLst>
              <a:ext uri="{FF2B5EF4-FFF2-40B4-BE49-F238E27FC236}">
                <a16:creationId xmlns:a16="http://schemas.microsoft.com/office/drawing/2014/main" id="{DED17E1F-5C97-4386-8C58-5DD92B3F4049}"/>
              </a:ext>
            </a:extLst>
          </p:cNvPr>
          <p:cNvSpPr/>
          <p:nvPr/>
        </p:nvSpPr>
        <p:spPr bwMode="auto">
          <a:xfrm>
            <a:off x="6242529" y="5747750"/>
            <a:ext cx="1224401" cy="180000"/>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9" name="Rectangle: Rounded Corners 68">
            <a:extLst>
              <a:ext uri="{FF2B5EF4-FFF2-40B4-BE49-F238E27FC236}">
                <a16:creationId xmlns:a16="http://schemas.microsoft.com/office/drawing/2014/main" id="{24ECA76F-7ACC-4C43-B1B1-307E30AB455E}"/>
              </a:ext>
            </a:extLst>
          </p:cNvPr>
          <p:cNvSpPr/>
          <p:nvPr/>
        </p:nvSpPr>
        <p:spPr bwMode="auto">
          <a:xfrm>
            <a:off x="3481116" y="5747750"/>
            <a:ext cx="1224401" cy="180000"/>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59394" name="Picture 2" descr="Fichiers d'Entreprises au Luxembourg – Solution de Prospection">
            <a:extLst>
              <a:ext uri="{FF2B5EF4-FFF2-40B4-BE49-F238E27FC236}">
                <a16:creationId xmlns:a16="http://schemas.microsoft.com/office/drawing/2014/main" id="{DEC1A7EB-D73A-4AAD-889E-7E32CE5D7FA4}"/>
              </a:ext>
            </a:extLst>
          </p:cNvPr>
          <p:cNvPicPr>
            <a:picLocks noChangeAspect="1" noChangeArrowheads="1"/>
          </p:cNvPicPr>
          <p:nvPr/>
        </p:nvPicPr>
        <p:blipFill>
          <a:blip r:embed="rId3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70588" y="6079189"/>
            <a:ext cx="722952" cy="203865"/>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 - 2" descr="Drapeau du Luxembourg">
            <a:extLst>
              <a:ext uri="{FF2B5EF4-FFF2-40B4-BE49-F238E27FC236}">
                <a16:creationId xmlns:a16="http://schemas.microsoft.com/office/drawing/2014/main" id="{02E25CDB-4063-46F4-8097-48F17320ADC8}"/>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3161118" y="6096521"/>
            <a:ext cx="282004" cy="169200"/>
          </a:xfrm>
          <a:prstGeom prst="roundRect">
            <a:avLst/>
          </a:prstGeom>
          <a:solidFill>
            <a:schemeClr val="bg1"/>
          </a:solidFill>
          <a:ln w="9525" cap="flat" cmpd="sng" algn="ctr">
            <a:noFill/>
            <a:prstDash val="solid"/>
            <a:round/>
            <a:headEnd type="none" w="med" len="med"/>
            <a:tailEnd type="none" w="med" len="med"/>
          </a:ln>
          <a:effectLst/>
        </p:spPr>
      </p:pic>
      <p:sp>
        <p:nvSpPr>
          <p:cNvPr id="76" name="Rectangle: Rounded Corners 75">
            <a:extLst>
              <a:ext uri="{FF2B5EF4-FFF2-40B4-BE49-F238E27FC236}">
                <a16:creationId xmlns:a16="http://schemas.microsoft.com/office/drawing/2014/main" id="{23E59640-8057-4C02-B694-1CD3F6F186C0}"/>
              </a:ext>
            </a:extLst>
          </p:cNvPr>
          <p:cNvSpPr/>
          <p:nvPr/>
        </p:nvSpPr>
        <p:spPr bwMode="auto">
          <a:xfrm>
            <a:off x="3481116" y="6085721"/>
            <a:ext cx="1224401" cy="180000"/>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 name="Rectangle 15">
            <a:extLst>
              <a:ext uri="{FF2B5EF4-FFF2-40B4-BE49-F238E27FC236}">
                <a16:creationId xmlns:a16="http://schemas.microsoft.com/office/drawing/2014/main" id="{100819F2-19AC-403C-B699-F0704CB12284}"/>
              </a:ext>
            </a:extLst>
          </p:cNvPr>
          <p:cNvSpPr/>
          <p:nvPr/>
        </p:nvSpPr>
        <p:spPr bwMode="auto">
          <a:xfrm>
            <a:off x="7649093" y="2052162"/>
            <a:ext cx="2146927" cy="432259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defRPr/>
            </a:pPr>
            <a:r>
              <a:rPr lang="en-GB" sz="1000" dirty="0">
                <a:latin typeface="Trebuchet MS" panose="020B0603020202020204" pitchFamily="34" charset="0"/>
              </a:rPr>
              <a:t>The Dutch, Belgian, Luxembourgish and French BD&amp;A market is composed of: </a:t>
            </a:r>
          </a:p>
          <a:p>
            <a:pPr>
              <a:defRPr/>
            </a:pPr>
            <a:br>
              <a:rPr lang="en-GB" sz="1000" dirty="0">
                <a:latin typeface="Trebuchet MS" panose="020B0603020202020204" pitchFamily="34" charset="0"/>
              </a:rPr>
            </a:br>
            <a:r>
              <a:rPr lang="en-GB" sz="1000" dirty="0">
                <a:latin typeface="Trebuchet MS" panose="020B0603020202020204" pitchFamily="34" charset="0"/>
              </a:rPr>
              <a:t>1. </a:t>
            </a:r>
            <a:r>
              <a:rPr lang="en-GB" sz="1000" dirty="0">
                <a:solidFill>
                  <a:schemeClr val="tx2"/>
                </a:solidFill>
                <a:latin typeface="Trebuchet MS" panose="020B0603020202020204" pitchFamily="34" charset="0"/>
              </a:rPr>
              <a:t>Transnational</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players</a:t>
            </a:r>
            <a:r>
              <a:rPr lang="en-GB" sz="1000" dirty="0">
                <a:latin typeface="Trebuchet MS" panose="020B0603020202020204" pitchFamily="34" charset="0"/>
              </a:rPr>
              <a:t> operating in the three verticals leveraging their international database</a:t>
            </a:r>
            <a:endParaRPr lang="en-GB" sz="1000" dirty="0">
              <a:solidFill>
                <a:schemeClr val="tx2"/>
              </a:solidFill>
              <a:latin typeface="Trebuchet MS" panose="020B0603020202020204" pitchFamily="34" charset="0"/>
            </a:endParaRPr>
          </a:p>
          <a:p>
            <a:pPr>
              <a:defRPr/>
            </a:pPr>
            <a:endParaRPr lang="en-GB" sz="1000" dirty="0">
              <a:latin typeface="Trebuchet MS" pitchFamily="34" charset="0"/>
            </a:endParaRPr>
          </a:p>
          <a:p>
            <a:pPr>
              <a:defRPr/>
            </a:pPr>
            <a:r>
              <a:rPr lang="en-GB" sz="1000" dirty="0">
                <a:latin typeface="Trebuchet MS" pitchFamily="34" charset="0"/>
              </a:rPr>
              <a:t>2. Large </a:t>
            </a:r>
            <a:r>
              <a:rPr lang="en-GB" sz="1000" dirty="0">
                <a:solidFill>
                  <a:schemeClr val="tx2"/>
                </a:solidFill>
                <a:latin typeface="Trebuchet MS" panose="020B0603020202020204" pitchFamily="34" charset="0"/>
              </a:rPr>
              <a:t>national incumbents </a:t>
            </a:r>
            <a:r>
              <a:rPr lang="en-GB" sz="1000" dirty="0">
                <a:latin typeface="Trebuchet MS" panose="020B0603020202020204" pitchFamily="34" charset="0"/>
              </a:rPr>
              <a:t>addressing the market in the three verticals with limited international data</a:t>
            </a:r>
          </a:p>
          <a:p>
            <a:pPr>
              <a:defRPr/>
            </a:pPr>
            <a:endParaRPr lang="en-GB" sz="1000" dirty="0">
              <a:latin typeface="Trebuchet MS" panose="020B0603020202020204" pitchFamily="34" charset="0"/>
            </a:endParaRPr>
          </a:p>
          <a:p>
            <a:pPr>
              <a:defRPr/>
            </a:pPr>
            <a:r>
              <a:rPr lang="en-GB" sz="1000" dirty="0">
                <a:latin typeface="Trebuchet MS" panose="020B0603020202020204" pitchFamily="34" charset="0"/>
              </a:rPr>
              <a:t>3. </a:t>
            </a:r>
            <a:r>
              <a:rPr lang="en-GB" sz="1000" dirty="0">
                <a:solidFill>
                  <a:schemeClr val="tx2"/>
                </a:solidFill>
                <a:latin typeface="Trebuchet MS" panose="020B0603020202020204" pitchFamily="34" charset="0"/>
              </a:rPr>
              <a:t>Smaller local specialized structures </a:t>
            </a:r>
            <a:r>
              <a:rPr lang="en-GB" sz="1000" dirty="0">
                <a:latin typeface="Trebuchet MS" panose="020B0603020202020204" pitchFamily="34" charset="0"/>
              </a:rPr>
              <a:t>focusing in a particular vertical</a:t>
            </a:r>
          </a:p>
        </p:txBody>
      </p:sp>
      <p:grpSp>
        <p:nvGrpSpPr>
          <p:cNvPr id="80" name="Groupe 21">
            <a:extLst>
              <a:ext uri="{FF2B5EF4-FFF2-40B4-BE49-F238E27FC236}">
                <a16:creationId xmlns:a16="http://schemas.microsoft.com/office/drawing/2014/main" id="{47276588-38D8-46FB-80CA-7C928D199C46}"/>
              </a:ext>
            </a:extLst>
          </p:cNvPr>
          <p:cNvGrpSpPr/>
          <p:nvPr/>
        </p:nvGrpSpPr>
        <p:grpSpPr>
          <a:xfrm>
            <a:off x="8492333" y="1799916"/>
            <a:ext cx="451426" cy="455941"/>
            <a:chOff x="195390" y="5861727"/>
            <a:chExt cx="335805" cy="335805"/>
          </a:xfrm>
        </p:grpSpPr>
        <p:sp>
          <p:nvSpPr>
            <p:cNvPr id="83" name="Ellipse 22">
              <a:extLst>
                <a:ext uri="{FF2B5EF4-FFF2-40B4-BE49-F238E27FC236}">
                  <a16:creationId xmlns:a16="http://schemas.microsoft.com/office/drawing/2014/main" id="{DB927B60-1BB0-43F2-8711-D9EDB04568FC}"/>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84" name="Group 5">
              <a:extLst>
                <a:ext uri="{FF2B5EF4-FFF2-40B4-BE49-F238E27FC236}">
                  <a16:creationId xmlns:a16="http://schemas.microsoft.com/office/drawing/2014/main" id="{A235B97B-A090-4005-A142-AF6A2F8FF11D}"/>
                </a:ext>
              </a:extLst>
            </p:cNvPr>
            <p:cNvGrpSpPr>
              <a:grpSpLocks noChangeAspect="1"/>
            </p:cNvGrpSpPr>
            <p:nvPr/>
          </p:nvGrpSpPr>
          <p:grpSpPr bwMode="auto">
            <a:xfrm>
              <a:off x="249663" y="5915997"/>
              <a:ext cx="227258" cy="227255"/>
              <a:chOff x="788" y="800"/>
              <a:chExt cx="742" cy="742"/>
            </a:xfrm>
            <a:solidFill>
              <a:schemeClr val="tx2"/>
            </a:solidFill>
          </p:grpSpPr>
          <p:sp>
            <p:nvSpPr>
              <p:cNvPr id="86" name="Freeform 6">
                <a:extLst>
                  <a:ext uri="{FF2B5EF4-FFF2-40B4-BE49-F238E27FC236}">
                    <a16:creationId xmlns:a16="http://schemas.microsoft.com/office/drawing/2014/main" id="{9D2F0C12-D0CF-435A-8F61-E115AAF74962}"/>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7" name="Freeform 7">
                <a:extLst>
                  <a:ext uri="{FF2B5EF4-FFF2-40B4-BE49-F238E27FC236}">
                    <a16:creationId xmlns:a16="http://schemas.microsoft.com/office/drawing/2014/main" id="{6CEC7783-137B-4F97-A3FE-E8AE74AF85D5}"/>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8" name="Freeform 8">
                <a:extLst>
                  <a:ext uri="{FF2B5EF4-FFF2-40B4-BE49-F238E27FC236}">
                    <a16:creationId xmlns:a16="http://schemas.microsoft.com/office/drawing/2014/main" id="{62E8BBA6-67FA-4FB8-ABC5-8D9D5346C31D}"/>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9" name="Freeform 9">
                <a:extLst>
                  <a:ext uri="{FF2B5EF4-FFF2-40B4-BE49-F238E27FC236}">
                    <a16:creationId xmlns:a16="http://schemas.microsoft.com/office/drawing/2014/main" id="{A94C43E3-9BC1-4B2E-94EB-BA74BC36DA48}"/>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3" name="Freeform 10">
                <a:extLst>
                  <a:ext uri="{FF2B5EF4-FFF2-40B4-BE49-F238E27FC236}">
                    <a16:creationId xmlns:a16="http://schemas.microsoft.com/office/drawing/2014/main" id="{35D0E7CC-6732-407C-B09D-351AAC019A5A}"/>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4" name="Freeform 11">
                <a:extLst>
                  <a:ext uri="{FF2B5EF4-FFF2-40B4-BE49-F238E27FC236}">
                    <a16:creationId xmlns:a16="http://schemas.microsoft.com/office/drawing/2014/main" id="{A87D3C9B-8F48-453A-A3E1-76ACFCB708E6}"/>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5" name="Freeform 12">
                <a:extLst>
                  <a:ext uri="{FF2B5EF4-FFF2-40B4-BE49-F238E27FC236}">
                    <a16:creationId xmlns:a16="http://schemas.microsoft.com/office/drawing/2014/main" id="{BA8186D5-5A58-4AE1-A840-0C2BA412DB20}"/>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pic>
        <p:nvPicPr>
          <p:cNvPr id="78" name="Picture 2 - 2" descr="Drapeau du Luxembourg">
            <a:extLst>
              <a:ext uri="{FF2B5EF4-FFF2-40B4-BE49-F238E27FC236}">
                <a16:creationId xmlns:a16="http://schemas.microsoft.com/office/drawing/2014/main" id="{7AB6D4CA-4A2D-448F-B19B-9DEA7D73E82B}"/>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3161118" y="2174636"/>
            <a:ext cx="282004" cy="169200"/>
          </a:xfrm>
          <a:prstGeom prst="roundRect">
            <a:avLst/>
          </a:prstGeom>
          <a:solidFill>
            <a:schemeClr val="bg1"/>
          </a:solidFill>
          <a:ln w="9525" cap="flat" cmpd="sng" algn="ctr">
            <a:noFill/>
            <a:prstDash val="solid"/>
            <a:round/>
            <a:headEnd type="none" w="med" len="med"/>
            <a:tailEnd type="none" w="med" len="med"/>
          </a:ln>
          <a:effectLst/>
        </p:spPr>
      </p:pic>
      <p:pic>
        <p:nvPicPr>
          <p:cNvPr id="96" name="Picture 2 - 2" descr="Drapeau du Luxembourg">
            <a:extLst>
              <a:ext uri="{FF2B5EF4-FFF2-40B4-BE49-F238E27FC236}">
                <a16:creationId xmlns:a16="http://schemas.microsoft.com/office/drawing/2014/main" id="{C1997804-83D6-4776-B503-CDF9ADD22AB7}"/>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3161118" y="2550316"/>
            <a:ext cx="282004" cy="169200"/>
          </a:xfrm>
          <a:prstGeom prst="roundRect">
            <a:avLst/>
          </a:prstGeom>
          <a:solidFill>
            <a:schemeClr val="bg1"/>
          </a:solidFill>
          <a:ln w="9525" cap="flat" cmpd="sng" algn="ctr">
            <a:noFill/>
            <a:prstDash val="solid"/>
            <a:round/>
            <a:headEnd type="none" w="med" len="med"/>
            <a:tailEnd type="none" w="med" len="med"/>
          </a:ln>
          <a:effectLst/>
        </p:spPr>
      </p:pic>
      <p:pic>
        <p:nvPicPr>
          <p:cNvPr id="97" name="Picture 2 - 2" descr="Drapeau du Luxembourg">
            <a:extLst>
              <a:ext uri="{FF2B5EF4-FFF2-40B4-BE49-F238E27FC236}">
                <a16:creationId xmlns:a16="http://schemas.microsoft.com/office/drawing/2014/main" id="{7515797B-EB54-4E1D-AD36-63774841F5D9}"/>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3161118" y="2918797"/>
            <a:ext cx="282004" cy="169200"/>
          </a:xfrm>
          <a:prstGeom prst="roundRect">
            <a:avLst/>
          </a:prstGeom>
          <a:solidFill>
            <a:schemeClr val="bg1"/>
          </a:solidFill>
          <a:ln w="9525" cap="flat" cmpd="sng" algn="ctr">
            <a:noFill/>
            <a:prstDash val="solid"/>
            <a:round/>
            <a:headEnd type="none" w="med" len="med"/>
            <a:tailEnd type="none" w="med" len="med"/>
          </a:ln>
          <a:effectLst/>
        </p:spPr>
      </p:pic>
      <p:pic>
        <p:nvPicPr>
          <p:cNvPr id="4" name="Picture 2" descr="ALTARES-D&amp;B - L'ASSOCIATION FRANCAISE DES CREDIT MANAGERS ET CONSEILS">
            <a:extLst>
              <a:ext uri="{FF2B5EF4-FFF2-40B4-BE49-F238E27FC236}">
                <a16:creationId xmlns:a16="http://schemas.microsoft.com/office/drawing/2014/main" id="{236D28D8-F98C-4F99-83BA-8EE6D9ED4B96}"/>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28081" y="2123540"/>
            <a:ext cx="442792" cy="24802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0B3FA95E-2808-4E1E-BCE4-92FECBB1FD12}"/>
              </a:ext>
            </a:extLst>
          </p:cNvPr>
          <p:cNvSpPr/>
          <p:nvPr/>
        </p:nvSpPr>
        <p:spPr bwMode="auto">
          <a:xfrm>
            <a:off x="1885984" y="5345844"/>
            <a:ext cx="386845" cy="40190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a:t>
            </a:r>
          </a:p>
        </p:txBody>
      </p:sp>
      <p:grpSp>
        <p:nvGrpSpPr>
          <p:cNvPr id="100" name="Groupe 99">
            <a:extLst>
              <a:ext uri="{FF2B5EF4-FFF2-40B4-BE49-F238E27FC236}">
                <a16:creationId xmlns:a16="http://schemas.microsoft.com/office/drawing/2014/main" id="{C9BC0344-7C2E-4FC0-8BA5-91729893C471}"/>
              </a:ext>
            </a:extLst>
          </p:cNvPr>
          <p:cNvGrpSpPr/>
          <p:nvPr/>
        </p:nvGrpSpPr>
        <p:grpSpPr>
          <a:xfrm>
            <a:off x="8448150" y="-11528"/>
            <a:ext cx="1435548" cy="588143"/>
            <a:chOff x="8448150" y="-11528"/>
            <a:chExt cx="1435548" cy="588143"/>
          </a:xfrm>
        </p:grpSpPr>
        <p:grpSp>
          <p:nvGrpSpPr>
            <p:cNvPr id="101" name="Groupe 100">
              <a:extLst>
                <a:ext uri="{FF2B5EF4-FFF2-40B4-BE49-F238E27FC236}">
                  <a16:creationId xmlns:a16="http://schemas.microsoft.com/office/drawing/2014/main" id="{1A7D58A5-44F5-443B-9D94-1A8969E06647}"/>
                </a:ext>
              </a:extLst>
            </p:cNvPr>
            <p:cNvGrpSpPr/>
            <p:nvPr/>
          </p:nvGrpSpPr>
          <p:grpSpPr>
            <a:xfrm>
              <a:off x="8448150" y="-11528"/>
              <a:ext cx="1435548" cy="555653"/>
              <a:chOff x="8448150" y="-11528"/>
              <a:chExt cx="1435548" cy="555653"/>
            </a:xfrm>
          </p:grpSpPr>
          <p:sp>
            <p:nvSpPr>
              <p:cNvPr id="103" name="Rectangle : coins arrondis 199">
                <a:extLst>
                  <a:ext uri="{FF2B5EF4-FFF2-40B4-BE49-F238E27FC236}">
                    <a16:creationId xmlns:a16="http://schemas.microsoft.com/office/drawing/2014/main" id="{E2392566-96E8-49D2-8B0C-64F5CE3015D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4" name="Rectangle : coins arrondis 200">
                <a:extLst>
                  <a:ext uri="{FF2B5EF4-FFF2-40B4-BE49-F238E27FC236}">
                    <a16:creationId xmlns:a16="http://schemas.microsoft.com/office/drawing/2014/main" id="{5E6607FF-128E-4732-9712-C9F75E5F5E89}"/>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5" name="Rectangle : coins arrondis 201">
                <a:extLst>
                  <a:ext uri="{FF2B5EF4-FFF2-40B4-BE49-F238E27FC236}">
                    <a16:creationId xmlns:a16="http://schemas.microsoft.com/office/drawing/2014/main" id="{DBF0527C-ABE2-4A68-BD9B-8389CF44DB1C}"/>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6" name="ZoneTexte 18">
                <a:extLst>
                  <a:ext uri="{FF2B5EF4-FFF2-40B4-BE49-F238E27FC236}">
                    <a16:creationId xmlns:a16="http://schemas.microsoft.com/office/drawing/2014/main" id="{41950A35-9E77-45D3-B894-6A42F5DA412A}"/>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07" name="Graphique 128" descr="Jauge">
                <a:extLst>
                  <a:ext uri="{FF2B5EF4-FFF2-40B4-BE49-F238E27FC236}">
                    <a16:creationId xmlns:a16="http://schemas.microsoft.com/office/drawing/2014/main" id="{CEBCC3EA-815F-40AF-8BCE-B885A364E87B}"/>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8553764" y="187516"/>
                <a:ext cx="234953" cy="218224"/>
              </a:xfrm>
              <a:prstGeom prst="rect">
                <a:avLst/>
              </a:prstGeom>
              <a:effectLst/>
            </p:spPr>
          </p:pic>
          <p:pic>
            <p:nvPicPr>
              <p:cNvPr id="108" name="Graphique 90" descr="Poignée de main">
                <a:extLst>
                  <a:ext uri="{FF2B5EF4-FFF2-40B4-BE49-F238E27FC236}">
                    <a16:creationId xmlns:a16="http://schemas.microsoft.com/office/drawing/2014/main" id="{6B0FEBD1-D5BA-4D6C-B7A3-9E8A771EBCE3}"/>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8960868" y="152880"/>
                <a:ext cx="256313" cy="287496"/>
              </a:xfrm>
              <a:prstGeom prst="rect">
                <a:avLst/>
              </a:prstGeom>
              <a:effectLst/>
            </p:spPr>
          </p:pic>
          <p:pic>
            <p:nvPicPr>
              <p:cNvPr id="109" name="Graphique 74" descr="Mégaphone">
                <a:extLst>
                  <a:ext uri="{FF2B5EF4-FFF2-40B4-BE49-F238E27FC236}">
                    <a16:creationId xmlns:a16="http://schemas.microsoft.com/office/drawing/2014/main" id="{4DECE565-383C-40FC-A1E7-40AB44C0DAD5}"/>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9389331" y="181519"/>
                <a:ext cx="233011" cy="216420"/>
              </a:xfrm>
              <a:prstGeom prst="rect">
                <a:avLst/>
              </a:prstGeom>
              <a:effectLst/>
            </p:spPr>
          </p:pic>
          <p:pic>
            <p:nvPicPr>
              <p:cNvPr id="110" name="Picture 2" descr="Drapeau France">
                <a:extLst>
                  <a:ext uri="{FF2B5EF4-FFF2-40B4-BE49-F238E27FC236}">
                    <a16:creationId xmlns:a16="http://schemas.microsoft.com/office/drawing/2014/main" id="{F8F2FF40-FABD-485C-81F5-D4C7C621EBAF}"/>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11" name="Picture 2" descr="5 ft x 3 ft 150 x 90 cm-DRAPEAU BELGE Belgique 100% Polyester ...">
                <a:extLst>
                  <a:ext uri="{FF2B5EF4-FFF2-40B4-BE49-F238E27FC236}">
                    <a16:creationId xmlns:a16="http://schemas.microsoft.com/office/drawing/2014/main" id="{615AB9C0-CF5A-47A0-AA25-8C3925F074C2}"/>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12" name="Picture 2 - 1" descr="Drapeau des Pays-Bas — Wikipédia">
                <a:extLst>
                  <a:ext uri="{FF2B5EF4-FFF2-40B4-BE49-F238E27FC236}">
                    <a16:creationId xmlns:a16="http://schemas.microsoft.com/office/drawing/2014/main" id="{E7B84131-3793-460E-9887-1905F4A3B224}"/>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13" name="Picture 2 - 2" descr="Drapeau du Luxembourg">
                <a:extLst>
                  <a:ext uri="{FF2B5EF4-FFF2-40B4-BE49-F238E27FC236}">
                    <a16:creationId xmlns:a16="http://schemas.microsoft.com/office/drawing/2014/main" id="{1AA582BD-515A-448C-BD28-E3411A67D0B6}"/>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102" name="ZoneTexte 18">
              <a:extLst>
                <a:ext uri="{FF2B5EF4-FFF2-40B4-BE49-F238E27FC236}">
                  <a16:creationId xmlns:a16="http://schemas.microsoft.com/office/drawing/2014/main" id="{ACA07594-374F-4BF6-8C23-39E01558EA74}"/>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etitive landscape</a:t>
              </a:r>
            </a:p>
          </p:txBody>
        </p:sp>
      </p:grpSp>
      <p:pic>
        <p:nvPicPr>
          <p:cNvPr id="114" name="Picture 32">
            <a:extLst>
              <a:ext uri="{FF2B5EF4-FFF2-40B4-BE49-F238E27FC236}">
                <a16:creationId xmlns:a16="http://schemas.microsoft.com/office/drawing/2014/main" id="{04B082F6-2C50-4BA3-A3A8-5E9685CF9177}"/>
              </a:ext>
            </a:extLst>
          </p:cNvPr>
          <p:cNvPicPr>
            <a:picLocks noChangeAspect="1"/>
          </p:cNvPicPr>
          <p:nvPr/>
        </p:nvPicPr>
        <p:blipFill>
          <a:blip r:embed="rId3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499332" y="4033198"/>
            <a:ext cx="452234" cy="302997"/>
          </a:xfrm>
          <a:prstGeom prst="rect">
            <a:avLst/>
          </a:prstGeom>
        </p:spPr>
      </p:pic>
    </p:spTree>
    <p:extLst>
      <p:ext uri="{BB962C8B-B14F-4D97-AF65-F5344CB8AC3E}">
        <p14:creationId xmlns:p14="http://schemas.microsoft.com/office/powerpoint/2010/main" val="1563937854"/>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E05803-6F33-4048-A38D-D472107A1B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18" imgH="520" progId="TCLayout.ActiveDocument.1">
                  <p:embed/>
                </p:oleObj>
              </mc:Choice>
              <mc:Fallback>
                <p:oleObj name="think-cell Slide" r:id="rId4" imgW="518" imgH="520" progId="TCLayout.ActiveDocument.1">
                  <p:embed/>
                  <p:pic>
                    <p:nvPicPr>
                      <p:cNvPr id="5" name="Object 4" hidden="1">
                        <a:extLst>
                          <a:ext uri="{FF2B5EF4-FFF2-40B4-BE49-F238E27FC236}">
                            <a16:creationId xmlns:a16="http://schemas.microsoft.com/office/drawing/2014/main" id="{95E05803-6F33-4048-A38D-D472107A1B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2B35E67-E779-422A-ADE1-988B1343A32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cxnSp>
        <p:nvCxnSpPr>
          <p:cNvPr id="135" name="Connecteur droit 13">
            <a:extLst>
              <a:ext uri="{FF2B5EF4-FFF2-40B4-BE49-F238E27FC236}">
                <a16:creationId xmlns:a16="http://schemas.microsoft.com/office/drawing/2014/main" id="{BF66CCF3-89F6-47E5-84D9-632713CB456F}"/>
              </a:ext>
            </a:extLst>
          </p:cNvPr>
          <p:cNvCxnSpPr>
            <a:cxnSpLocks/>
          </p:cNvCxnSpPr>
          <p:nvPr/>
        </p:nvCxnSpPr>
        <p:spPr bwMode="auto">
          <a:xfrm>
            <a:off x="251393" y="1048666"/>
            <a:ext cx="9403213"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137" name="ZoneTexte 6">
            <a:extLst>
              <a:ext uri="{FF2B5EF4-FFF2-40B4-BE49-F238E27FC236}">
                <a16:creationId xmlns:a16="http://schemas.microsoft.com/office/drawing/2014/main" id="{F03136AD-763F-4D0B-9C02-89D15EAE83F3}"/>
              </a:ext>
            </a:extLst>
          </p:cNvPr>
          <p:cNvSpPr txBox="1"/>
          <p:nvPr/>
        </p:nvSpPr>
        <p:spPr>
          <a:xfrm>
            <a:off x="2794867" y="917654"/>
            <a:ext cx="4316266" cy="251817"/>
          </a:xfrm>
          <a:prstGeom prst="rect">
            <a:avLst/>
          </a:prstGeom>
          <a:solidFill>
            <a:srgbClr val="FFFFFF"/>
          </a:solidFill>
          <a:ln>
            <a:noFill/>
          </a:ln>
        </p:spPr>
        <p:txBody>
          <a:bodyPr wrap="square" rtlCol="0">
            <a:noAutofit/>
          </a:bodyPr>
          <a:lstStyle/>
          <a:p>
            <a:pPr algn="ctr"/>
            <a:r>
              <a:rPr lang="en-GB" sz="1100">
                <a:solidFill>
                  <a:schemeClr val="accent1">
                    <a:lumMod val="75000"/>
                  </a:schemeClr>
                </a:solidFill>
                <a:latin typeface="Trebuchet MS" panose="020B0603020202020204" pitchFamily="34" charset="0"/>
              </a:rPr>
              <a:t>Overview and dynamics of the BD&amp;A market – Benelux &amp; France</a:t>
            </a:r>
          </a:p>
        </p:txBody>
      </p:sp>
      <p:sp>
        <p:nvSpPr>
          <p:cNvPr id="2" name="Titre 1">
            <a:extLst>
              <a:ext uri="{FF2B5EF4-FFF2-40B4-BE49-F238E27FC236}">
                <a16:creationId xmlns:a16="http://schemas.microsoft.com/office/drawing/2014/main" id="{FA4632FD-22F4-4A33-9DFA-6B5A5316FCA7}"/>
              </a:ext>
            </a:extLst>
          </p:cNvPr>
          <p:cNvSpPr>
            <a:spLocks noGrp="1"/>
          </p:cNvSpPr>
          <p:nvPr>
            <p:ph type="title"/>
          </p:nvPr>
        </p:nvSpPr>
        <p:spPr>
          <a:xfrm>
            <a:off x="165601" y="147600"/>
            <a:ext cx="8388164" cy="684000"/>
          </a:xfrm>
        </p:spPr>
        <p:txBody>
          <a:bodyPr/>
          <a:lstStyle/>
          <a:p>
            <a:r>
              <a:rPr lang="en-GB">
                <a:latin typeface="Trebuchet MS" panose="020B0603020202020204" pitchFamily="34" charset="0"/>
              </a:rPr>
              <a:t>The market landscape has been </a:t>
            </a:r>
            <a:r>
              <a:rPr lang="en-GB">
                <a:solidFill>
                  <a:schemeClr val="tx2"/>
                </a:solidFill>
                <a:latin typeface="Trebuchet MS" panose="020B0603020202020204" pitchFamily="34" charset="0"/>
              </a:rPr>
              <a:t>progressively reshaped in the past decade</a:t>
            </a:r>
            <a:r>
              <a:rPr lang="en-GB">
                <a:latin typeface="Trebuchet MS" panose="020B0603020202020204" pitchFamily="34" charset="0"/>
              </a:rPr>
              <a:t>, creating a polarization between the </a:t>
            </a:r>
            <a:r>
              <a:rPr lang="en-GB">
                <a:solidFill>
                  <a:schemeClr val="tx2"/>
                </a:solidFill>
                <a:latin typeface="Trebuchet MS" panose="020B0603020202020204" pitchFamily="34" charset="0"/>
              </a:rPr>
              <a:t>premium incumbent addressing large accounts </a:t>
            </a:r>
            <a:r>
              <a:rPr lang="en-GB">
                <a:latin typeface="Trebuchet MS" panose="020B0603020202020204" pitchFamily="34" charset="0"/>
              </a:rPr>
              <a:t>and the local small players addressing the mass market</a:t>
            </a:r>
          </a:p>
        </p:txBody>
      </p:sp>
      <p:sp>
        <p:nvSpPr>
          <p:cNvPr id="3" name="Espace réservé du texte 2">
            <a:extLst>
              <a:ext uri="{FF2B5EF4-FFF2-40B4-BE49-F238E27FC236}">
                <a16:creationId xmlns:a16="http://schemas.microsoft.com/office/drawing/2014/main" id="{0AA036DD-C883-4F76-839C-44FD6E23C870}"/>
              </a:ext>
            </a:extLst>
          </p:cNvPr>
          <p:cNvSpPr>
            <a:spLocks noGrp="1"/>
          </p:cNvSpPr>
          <p:nvPr>
            <p:ph type="body" sz="quarter" idx="10"/>
          </p:nvPr>
        </p:nvSpPr>
        <p:spPr>
          <a:xfrm>
            <a:off x="6460795" y="6598527"/>
            <a:ext cx="706050" cy="244800"/>
          </a:xfrm>
        </p:spPr>
        <p:txBody>
          <a:bodyPr/>
          <a:lstStyle/>
          <a:p>
            <a:r>
              <a:rPr lang="en-GB"/>
              <a:t>Mono-vertical players</a:t>
            </a:r>
          </a:p>
        </p:txBody>
      </p:sp>
      <p:sp>
        <p:nvSpPr>
          <p:cNvPr id="121" name="Rectangle: Rounded Corners 120">
            <a:extLst>
              <a:ext uri="{FF2B5EF4-FFF2-40B4-BE49-F238E27FC236}">
                <a16:creationId xmlns:a16="http://schemas.microsoft.com/office/drawing/2014/main" id="{C4436ADD-20DF-4625-A001-4D9DB1B540E8}"/>
              </a:ext>
            </a:extLst>
          </p:cNvPr>
          <p:cNvSpPr/>
          <p:nvPr/>
        </p:nvSpPr>
        <p:spPr bwMode="auto">
          <a:xfrm>
            <a:off x="6175476" y="6666927"/>
            <a:ext cx="216000" cy="108000"/>
          </a:xfrm>
          <a:prstGeom prst="roundRect">
            <a:avLst>
              <a:gd name="adj" fmla="val 3927"/>
            </a:avLst>
          </a:prstGeom>
          <a:solidFill>
            <a:schemeClr val="bg1">
              <a:lumMod val="95000"/>
            </a:schemeClr>
          </a:solidFill>
          <a:ln w="9525" cap="flat" cmpd="sng" algn="ctr">
            <a:solidFill>
              <a:schemeClr val="tx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8" name="Rectangle: Rounded Corners 127">
            <a:extLst>
              <a:ext uri="{FF2B5EF4-FFF2-40B4-BE49-F238E27FC236}">
                <a16:creationId xmlns:a16="http://schemas.microsoft.com/office/drawing/2014/main" id="{1B8C62D3-A2EB-4543-9D36-CA6830BD83F8}"/>
              </a:ext>
            </a:extLst>
          </p:cNvPr>
          <p:cNvSpPr/>
          <p:nvPr/>
        </p:nvSpPr>
        <p:spPr bwMode="auto">
          <a:xfrm>
            <a:off x="7273559" y="6666927"/>
            <a:ext cx="216000" cy="108000"/>
          </a:xfrm>
          <a:prstGeom prst="roundRect">
            <a:avLst>
              <a:gd name="adj" fmla="val 3927"/>
            </a:avLst>
          </a:prstGeom>
          <a:solidFill>
            <a:schemeClr val="bg2">
              <a:lumMod val="40000"/>
              <a:lumOff val="60000"/>
            </a:schemeClr>
          </a:solid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29" name="Espace réservé du texte 2">
            <a:extLst>
              <a:ext uri="{FF2B5EF4-FFF2-40B4-BE49-F238E27FC236}">
                <a16:creationId xmlns:a16="http://schemas.microsoft.com/office/drawing/2014/main" id="{CC254C3E-D7B2-4658-AD8A-BEA831411C4D}"/>
              </a:ext>
            </a:extLst>
          </p:cNvPr>
          <p:cNvSpPr txBox="1">
            <a:spLocks/>
          </p:cNvSpPr>
          <p:nvPr/>
        </p:nvSpPr>
        <p:spPr>
          <a:xfrm>
            <a:off x="7649003" y="6598527"/>
            <a:ext cx="706050" cy="244800"/>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GB"/>
              <a:t>Pluri-verticals players</a:t>
            </a:r>
          </a:p>
        </p:txBody>
      </p:sp>
      <p:sp>
        <p:nvSpPr>
          <p:cNvPr id="61" name="Espace réservé du texte 3">
            <a:extLst>
              <a:ext uri="{FF2B5EF4-FFF2-40B4-BE49-F238E27FC236}">
                <a16:creationId xmlns:a16="http://schemas.microsoft.com/office/drawing/2014/main" id="{6ED1D969-D34C-4557-9A0A-8B46B39C3FC1}"/>
              </a:ext>
            </a:extLst>
          </p:cNvPr>
          <p:cNvSpPr txBox="1">
            <a:spLocks/>
          </p:cNvSpPr>
          <p:nvPr/>
        </p:nvSpPr>
        <p:spPr>
          <a:xfrm>
            <a:off x="1315274" y="6580025"/>
            <a:ext cx="4760511" cy="244800"/>
          </a:xfrm>
          <a:prstGeom prst="rect">
            <a:avLst/>
          </a:prstGeom>
        </p:spPr>
        <p:txBody>
          <a:bodyPr lIns="0" tIns="0" rIns="0" bIns="0"/>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buNone/>
            </a:pPr>
            <a:r>
              <a:rPr lang="en-GB" sz="800" i="1" kern="0">
                <a:latin typeface="Trebuchet MS" panose="020B0603020202020204" pitchFamily="34" charset="0"/>
              </a:rPr>
              <a:t>Sources: eleven research &amp; analysis, expert calls, company websites</a:t>
            </a:r>
          </a:p>
          <a:p>
            <a:pPr marL="0" indent="0">
              <a:spcBef>
                <a:spcPts val="0"/>
              </a:spcBef>
              <a:buNone/>
            </a:pPr>
            <a:r>
              <a:rPr lang="en-GB" sz="800" i="1">
                <a:latin typeface="Trebuchet MS" panose="020B0603020202020204" pitchFamily="34" charset="0"/>
              </a:rPr>
              <a:t> *Public institutions have been distributed between key accounts &amp; mid market</a:t>
            </a:r>
            <a:r>
              <a:rPr lang="en-GB" sz="800">
                <a:latin typeface="Trebuchet MS" panose="020B0603020202020204" pitchFamily="34" charset="0"/>
              </a:rPr>
              <a:t> </a:t>
            </a:r>
            <a:endParaRPr lang="en-GB" sz="800" i="1" kern="0">
              <a:latin typeface="Trebuchet MS" panose="020B0603020202020204" pitchFamily="34" charset="0"/>
            </a:endParaRPr>
          </a:p>
        </p:txBody>
      </p:sp>
      <p:sp>
        <p:nvSpPr>
          <p:cNvPr id="17" name="Rectangle 16">
            <a:extLst>
              <a:ext uri="{FF2B5EF4-FFF2-40B4-BE49-F238E27FC236}">
                <a16:creationId xmlns:a16="http://schemas.microsoft.com/office/drawing/2014/main" id="{28F6B2CE-5062-4E93-973A-37A8106A4FDE}"/>
              </a:ext>
            </a:extLst>
          </p:cNvPr>
          <p:cNvSpPr/>
          <p:nvPr/>
        </p:nvSpPr>
        <p:spPr bwMode="auto">
          <a:xfrm>
            <a:off x="7166845" y="1230430"/>
            <a:ext cx="2487762" cy="521238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Bef>
                <a:spcPts val="600"/>
              </a:spcBef>
              <a:buClr>
                <a:schemeClr val="tx1"/>
              </a:buClr>
              <a:buFont typeface="Arial" panose="020B0604020202020204" pitchFamily="34" charset="0"/>
              <a:buChar char="•"/>
            </a:pPr>
            <a:r>
              <a:rPr lang="en-GB" sz="1000">
                <a:latin typeface="Trebuchet MS" panose="020B0603020202020204" pitchFamily="34" charset="0"/>
              </a:rPr>
              <a:t>The BD&amp;A market is structured around an </a:t>
            </a:r>
            <a:r>
              <a:rPr lang="en-GB" sz="1000">
                <a:solidFill>
                  <a:schemeClr val="tx2"/>
                </a:solidFill>
                <a:latin typeface="Trebuchet MS" panose="020B0603020202020204" pitchFamily="34" charset="0"/>
              </a:rPr>
              <a:t>oligopolistic ecosystem </a:t>
            </a:r>
            <a:r>
              <a:rPr lang="en-GB" sz="1000">
                <a:latin typeface="Trebuchet MS" panose="020B0603020202020204" pitchFamily="34" charset="0"/>
              </a:rPr>
              <a:t>with international players and local incumbents</a:t>
            </a:r>
          </a:p>
          <a:p>
            <a:pPr marL="171450" indent="-171450">
              <a:spcBef>
                <a:spcPts val="600"/>
              </a:spcBef>
              <a:buClr>
                <a:schemeClr val="tx1"/>
              </a:buClr>
              <a:buFont typeface="Arial" panose="020B0604020202020204" pitchFamily="34" charset="0"/>
              <a:buChar char="•"/>
            </a:pPr>
            <a:r>
              <a:rPr lang="en-GB" sz="1000">
                <a:latin typeface="Trebuchet MS" panose="020B0603020202020204" pitchFamily="34" charset="0"/>
              </a:rPr>
              <a:t>Facing a Benelux and French BD&amp;A market moderately growing, </a:t>
            </a:r>
            <a:r>
              <a:rPr lang="en-GB" sz="1000">
                <a:solidFill>
                  <a:schemeClr val="tx2"/>
                </a:solidFill>
                <a:latin typeface="Trebuchet MS" panose="020B0603020202020204" pitchFamily="34" charset="0"/>
              </a:rPr>
              <a:t>players addressing the mid market </a:t>
            </a:r>
            <a:r>
              <a:rPr lang="en-GB" sz="1000">
                <a:latin typeface="Trebuchet MS" panose="020B0603020202020204" pitchFamily="34" charset="0"/>
              </a:rPr>
              <a:t>(i.e. Graydon, </a:t>
            </a:r>
            <a:r>
              <a:rPr lang="en-GB" sz="1000" err="1">
                <a:latin typeface="Trebuchet MS" panose="020B0603020202020204" pitchFamily="34" charset="0"/>
              </a:rPr>
              <a:t>Creditsafe</a:t>
            </a:r>
            <a:r>
              <a:rPr lang="en-GB" sz="1000">
                <a:latin typeface="Trebuchet MS" panose="020B0603020202020204" pitchFamily="34" charset="0"/>
              </a:rPr>
              <a:t>) seem to be </a:t>
            </a:r>
            <a:r>
              <a:rPr lang="en-GB" sz="1000">
                <a:solidFill>
                  <a:schemeClr val="tx2"/>
                </a:solidFill>
                <a:latin typeface="Trebuchet MS" panose="020B0603020202020204" pitchFamily="34" charset="0"/>
              </a:rPr>
              <a:t>struggling</a:t>
            </a:r>
            <a:r>
              <a:rPr lang="en-GB" sz="1000">
                <a:latin typeface="Trebuchet MS" panose="020B0603020202020204" pitchFamily="34" charset="0"/>
              </a:rPr>
              <a:t> with keeping stable market shares due to increasing competition </a:t>
            </a:r>
          </a:p>
          <a:p>
            <a:pPr marL="171450" indent="-171450">
              <a:spcBef>
                <a:spcPts val="600"/>
              </a:spcBef>
              <a:buClr>
                <a:schemeClr val="tx1"/>
              </a:buClr>
              <a:buFont typeface="Arial" panose="020B0604020202020204" pitchFamily="34" charset="0"/>
              <a:buChar char="•"/>
            </a:pPr>
            <a:r>
              <a:rPr lang="en-GB" sz="1000">
                <a:solidFill>
                  <a:schemeClr val="tx2"/>
                </a:solidFill>
                <a:latin typeface="Trebuchet MS" panose="020B0603020202020204" pitchFamily="34" charset="0"/>
              </a:rPr>
              <a:t>Indeed, scale effects </a:t>
            </a:r>
            <a:r>
              <a:rPr lang="en-GB" sz="1000">
                <a:latin typeface="Trebuchet MS" panose="020B0603020202020204" pitchFamily="34" charset="0"/>
              </a:rPr>
              <a:t>on data collection contribute to a </a:t>
            </a:r>
            <a:r>
              <a:rPr lang="en-GB" sz="1000">
                <a:solidFill>
                  <a:schemeClr val="tx2"/>
                </a:solidFill>
                <a:latin typeface="Trebuchet MS" panose="020B0603020202020204" pitchFamily="34" charset="0"/>
              </a:rPr>
              <a:t>market polarization</a:t>
            </a:r>
            <a:r>
              <a:rPr lang="en-GB" sz="1000">
                <a:latin typeface="Trebuchet MS" panose="020B0603020202020204" pitchFamily="34" charset="0"/>
              </a:rPr>
              <a:t>, </a:t>
            </a:r>
            <a:r>
              <a:rPr lang="en-GB" sz="1000">
                <a:solidFill>
                  <a:schemeClr val="tx2"/>
                </a:solidFill>
                <a:latin typeface="Trebuchet MS" panose="020B0603020202020204" pitchFamily="34" charset="0"/>
              </a:rPr>
              <a:t>favouring premium international </a:t>
            </a:r>
            <a:r>
              <a:rPr lang="en-GB" sz="1000">
                <a:latin typeface="Trebuchet MS" panose="020B0603020202020204" pitchFamily="34" charset="0"/>
              </a:rPr>
              <a:t>players for their ability to offer a comprehensive range of products, develop client-specific analytics and integrated solutions</a:t>
            </a:r>
          </a:p>
          <a:p>
            <a:pPr marL="171450" indent="-171450">
              <a:spcBef>
                <a:spcPts val="600"/>
              </a:spcBef>
              <a:buClr>
                <a:schemeClr val="tx1"/>
              </a:buClr>
              <a:buFont typeface="Arial" panose="020B0604020202020204" pitchFamily="34" charset="0"/>
              <a:buChar char="•"/>
            </a:pPr>
            <a:r>
              <a:rPr lang="en-GB" sz="1000">
                <a:latin typeface="Trebuchet MS" panose="020B0603020202020204" pitchFamily="34" charset="0"/>
              </a:rPr>
              <a:t>Premium players have a privileged </a:t>
            </a:r>
            <a:r>
              <a:rPr lang="en-GB" sz="1000">
                <a:solidFill>
                  <a:schemeClr val="tx2"/>
                </a:solidFill>
                <a:latin typeface="Trebuchet MS" panose="020B0603020202020204" pitchFamily="34" charset="0"/>
              </a:rPr>
              <a:t>access to large international companies </a:t>
            </a:r>
            <a:r>
              <a:rPr lang="en-GB" sz="1000">
                <a:latin typeface="Trebuchet MS" panose="020B0603020202020204" pitchFamily="34" charset="0"/>
              </a:rPr>
              <a:t>thanks to their brand image and value proposition</a:t>
            </a:r>
          </a:p>
          <a:p>
            <a:pPr marL="171450" indent="-171450">
              <a:spcBef>
                <a:spcPts val="600"/>
              </a:spcBef>
              <a:buClr>
                <a:schemeClr val="tx1"/>
              </a:buClr>
              <a:buFont typeface="Arial" panose="020B0604020202020204" pitchFamily="34" charset="0"/>
              <a:buChar char="•"/>
            </a:pPr>
            <a:r>
              <a:rPr lang="en-GB" sz="1000">
                <a:solidFill>
                  <a:schemeClr val="tx2"/>
                </a:solidFill>
                <a:latin typeface="Trebuchet MS" panose="020B0603020202020204" pitchFamily="34" charset="0"/>
              </a:rPr>
              <a:t>Local players </a:t>
            </a:r>
            <a:r>
              <a:rPr lang="en-GB" sz="1000">
                <a:latin typeface="Trebuchet MS" panose="020B0603020202020204" pitchFamily="34" charset="0"/>
              </a:rPr>
              <a:t>tend to address the </a:t>
            </a:r>
            <a:r>
              <a:rPr lang="en-GB" sz="1000">
                <a:solidFill>
                  <a:schemeClr val="tx2"/>
                </a:solidFill>
                <a:latin typeface="Trebuchet MS" panose="020B0603020202020204" pitchFamily="34" charset="0"/>
              </a:rPr>
              <a:t>mass market </a:t>
            </a:r>
            <a:r>
              <a:rPr lang="en-GB" sz="1000">
                <a:latin typeface="Trebuchet MS" panose="020B0603020202020204" pitchFamily="34" charset="0"/>
              </a:rPr>
              <a:t>with scalable products</a:t>
            </a:r>
          </a:p>
          <a:p>
            <a:pPr marL="171450" indent="-171450">
              <a:spcBef>
                <a:spcPts val="600"/>
              </a:spcBef>
              <a:buClr>
                <a:schemeClr val="tx1"/>
              </a:buClr>
              <a:buFont typeface="Arial" panose="020B0604020202020204" pitchFamily="34" charset="0"/>
              <a:buChar char="•"/>
            </a:pPr>
            <a:r>
              <a:rPr lang="en-GB" sz="1000">
                <a:latin typeface="Trebuchet MS" panose="020B0603020202020204" pitchFamily="34" charset="0"/>
              </a:rPr>
              <a:t>There are a </a:t>
            </a:r>
            <a:r>
              <a:rPr lang="en-GB" sz="1000">
                <a:solidFill>
                  <a:schemeClr val="tx2"/>
                </a:solidFill>
                <a:latin typeface="Trebuchet MS" panose="020B0603020202020204" pitchFamily="34" charset="0"/>
              </a:rPr>
              <a:t>few</a:t>
            </a:r>
            <a:r>
              <a:rPr lang="en-GB" sz="1000">
                <a:latin typeface="Trebuchet MS" panose="020B0603020202020204" pitchFamily="34" charset="0"/>
              </a:rPr>
              <a:t> </a:t>
            </a:r>
            <a:r>
              <a:rPr lang="en-GB" sz="1000">
                <a:solidFill>
                  <a:schemeClr val="tx2"/>
                </a:solidFill>
                <a:latin typeface="Trebuchet MS" panose="020B0603020202020204" pitchFamily="34" charset="0"/>
              </a:rPr>
              <a:t>freemium</a:t>
            </a:r>
            <a:r>
              <a:rPr lang="en-GB" sz="1000">
                <a:latin typeface="Trebuchet MS" panose="020B0603020202020204" pitchFamily="34" charset="0"/>
              </a:rPr>
              <a:t> </a:t>
            </a:r>
            <a:r>
              <a:rPr lang="en-GB" sz="1000">
                <a:solidFill>
                  <a:schemeClr val="tx2"/>
                </a:solidFill>
                <a:latin typeface="Trebuchet MS" panose="020B0603020202020204" pitchFamily="34" charset="0"/>
              </a:rPr>
              <a:t>players</a:t>
            </a:r>
            <a:r>
              <a:rPr lang="en-GB" sz="1000">
                <a:latin typeface="Trebuchet MS" panose="020B0603020202020204" pitchFamily="34" charset="0"/>
              </a:rPr>
              <a:t> </a:t>
            </a:r>
            <a:r>
              <a:rPr lang="en-GB" sz="1000">
                <a:solidFill>
                  <a:schemeClr val="tx2"/>
                </a:solidFill>
                <a:latin typeface="Trebuchet MS" panose="020B0603020202020204" pitchFamily="34" charset="0"/>
              </a:rPr>
              <a:t>addressing</a:t>
            </a:r>
            <a:r>
              <a:rPr lang="en-GB" sz="1000">
                <a:latin typeface="Trebuchet MS" panose="020B0603020202020204" pitchFamily="34" charset="0"/>
              </a:rPr>
              <a:t> the </a:t>
            </a:r>
            <a:r>
              <a:rPr lang="en-GB" sz="1000">
                <a:solidFill>
                  <a:schemeClr val="tx2"/>
                </a:solidFill>
                <a:latin typeface="Trebuchet MS" panose="020B0603020202020204" pitchFamily="34" charset="0"/>
              </a:rPr>
              <a:t>mass</a:t>
            </a:r>
            <a:r>
              <a:rPr lang="en-GB" sz="1000">
                <a:latin typeface="Trebuchet MS" panose="020B0603020202020204" pitchFamily="34" charset="0"/>
              </a:rPr>
              <a:t> </a:t>
            </a:r>
            <a:r>
              <a:rPr lang="en-GB" sz="1000">
                <a:solidFill>
                  <a:schemeClr val="tx2"/>
                </a:solidFill>
                <a:latin typeface="Trebuchet MS" panose="020B0603020202020204" pitchFamily="34" charset="0"/>
              </a:rPr>
              <a:t>market</a:t>
            </a:r>
            <a:r>
              <a:rPr lang="en-GB" sz="1000">
                <a:latin typeface="Trebuchet MS" panose="020B0603020202020204" pitchFamily="34" charset="0"/>
              </a:rPr>
              <a:t> in France and Belgium, but </a:t>
            </a:r>
            <a:r>
              <a:rPr lang="en-GB" sz="1000">
                <a:solidFill>
                  <a:schemeClr val="tx2"/>
                </a:solidFill>
                <a:latin typeface="Trebuchet MS" panose="020B0603020202020204" pitchFamily="34" charset="0"/>
              </a:rPr>
              <a:t>not in the Netherlands</a:t>
            </a:r>
            <a:r>
              <a:rPr lang="en-GB" sz="1000">
                <a:latin typeface="Trebuchet MS" panose="020B0603020202020204" pitchFamily="34" charset="0"/>
              </a:rPr>
              <a:t> due to a higher cost to data access</a:t>
            </a:r>
          </a:p>
        </p:txBody>
      </p:sp>
      <p:grpSp>
        <p:nvGrpSpPr>
          <p:cNvPr id="29" name="Groupe 28">
            <a:extLst>
              <a:ext uri="{FF2B5EF4-FFF2-40B4-BE49-F238E27FC236}">
                <a16:creationId xmlns:a16="http://schemas.microsoft.com/office/drawing/2014/main" id="{EFF09360-47E3-40C6-80A5-1838898FA18F}"/>
              </a:ext>
            </a:extLst>
          </p:cNvPr>
          <p:cNvGrpSpPr/>
          <p:nvPr/>
        </p:nvGrpSpPr>
        <p:grpSpPr>
          <a:xfrm>
            <a:off x="8448150" y="-11528"/>
            <a:ext cx="1435548" cy="555653"/>
            <a:chOff x="8448150" y="-11528"/>
            <a:chExt cx="1435548" cy="555653"/>
          </a:xfrm>
        </p:grpSpPr>
        <p:sp>
          <p:nvSpPr>
            <p:cNvPr id="8" name="Rectangle : coins arrondis 199">
              <a:extLst>
                <a:ext uri="{FF2B5EF4-FFF2-40B4-BE49-F238E27FC236}">
                  <a16:creationId xmlns:a16="http://schemas.microsoft.com/office/drawing/2014/main" id="{F6B9CFB1-F526-41B6-9B4A-BB67962AA70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 name="Rectangle : coins arrondis 200">
              <a:extLst>
                <a:ext uri="{FF2B5EF4-FFF2-40B4-BE49-F238E27FC236}">
                  <a16:creationId xmlns:a16="http://schemas.microsoft.com/office/drawing/2014/main" id="{9E859635-F25E-4307-B762-EA130FF1E5B0}"/>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 name="Rectangle : coins arrondis 201">
              <a:extLst>
                <a:ext uri="{FF2B5EF4-FFF2-40B4-BE49-F238E27FC236}">
                  <a16:creationId xmlns:a16="http://schemas.microsoft.com/office/drawing/2014/main" id="{9565A9C2-2FD8-478C-B717-FB8EE6325CAE}"/>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8" name="ZoneTexte 18">
              <a:extLst>
                <a:ext uri="{FF2B5EF4-FFF2-40B4-BE49-F238E27FC236}">
                  <a16:creationId xmlns:a16="http://schemas.microsoft.com/office/drawing/2014/main" id="{E21B9AD8-0E0C-4846-8A4F-A50CF643E8BA}"/>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9" name="Graphique 128" descr="Jauge">
              <a:extLst>
                <a:ext uri="{FF2B5EF4-FFF2-40B4-BE49-F238E27FC236}">
                  <a16:creationId xmlns:a16="http://schemas.microsoft.com/office/drawing/2014/main" id="{32F72A62-E0A3-49BE-97EB-6C1BB0BE4E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20" name="Graphique 90" descr="Poignée de main">
              <a:extLst>
                <a:ext uri="{FF2B5EF4-FFF2-40B4-BE49-F238E27FC236}">
                  <a16:creationId xmlns:a16="http://schemas.microsoft.com/office/drawing/2014/main" id="{92DA17F4-FDD9-4AC9-A25C-5220459D3E7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22" name="Graphique 74" descr="Mégaphone">
              <a:extLst>
                <a:ext uri="{FF2B5EF4-FFF2-40B4-BE49-F238E27FC236}">
                  <a16:creationId xmlns:a16="http://schemas.microsoft.com/office/drawing/2014/main" id="{0BFC11F2-BE9D-46D0-BEFC-6FFC8A89472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23" name="Picture 2" descr="Drapeau France">
              <a:extLst>
                <a:ext uri="{FF2B5EF4-FFF2-40B4-BE49-F238E27FC236}">
                  <a16:creationId xmlns:a16="http://schemas.microsoft.com/office/drawing/2014/main" id="{3CB020A2-3038-4B69-99FB-EF2795A18EF4}"/>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25" name="Picture 2" descr="5 ft x 3 ft 150 x 90 cm-DRAPEAU BELGE Belgique 100% Polyester ...">
              <a:extLst>
                <a:ext uri="{FF2B5EF4-FFF2-40B4-BE49-F238E27FC236}">
                  <a16:creationId xmlns:a16="http://schemas.microsoft.com/office/drawing/2014/main" id="{2C3A68EA-D9C3-4942-85A7-F4B10C059751}"/>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27" name="Picture 2 - 1" descr="Drapeau des Pays-Bas — Wikipédia">
              <a:extLst>
                <a:ext uri="{FF2B5EF4-FFF2-40B4-BE49-F238E27FC236}">
                  <a16:creationId xmlns:a16="http://schemas.microsoft.com/office/drawing/2014/main" id="{7D0A511F-9831-4EE8-B341-241BA7D37FF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28" name="Picture 2 - 2" descr="Drapeau du Luxembourg">
              <a:extLst>
                <a:ext uri="{FF2B5EF4-FFF2-40B4-BE49-F238E27FC236}">
                  <a16:creationId xmlns:a16="http://schemas.microsoft.com/office/drawing/2014/main" id="{94C6BC62-CDD4-459B-B839-28B28630217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grpSp>
        <p:nvGrpSpPr>
          <p:cNvPr id="30" name="Groupe 29">
            <a:extLst>
              <a:ext uri="{FF2B5EF4-FFF2-40B4-BE49-F238E27FC236}">
                <a16:creationId xmlns:a16="http://schemas.microsoft.com/office/drawing/2014/main" id="{0882F78E-C46A-4FDF-B440-507B4AF52E8E}"/>
              </a:ext>
            </a:extLst>
          </p:cNvPr>
          <p:cNvGrpSpPr/>
          <p:nvPr/>
        </p:nvGrpSpPr>
        <p:grpSpPr>
          <a:xfrm>
            <a:off x="168738" y="1230430"/>
            <a:ext cx="6912816" cy="5212382"/>
            <a:chOff x="20334" y="1230430"/>
            <a:chExt cx="6912816" cy="5212382"/>
          </a:xfrm>
        </p:grpSpPr>
        <p:sp>
          <p:nvSpPr>
            <p:cNvPr id="125" name="Rectangle 124">
              <a:extLst>
                <a:ext uri="{FF2B5EF4-FFF2-40B4-BE49-F238E27FC236}">
                  <a16:creationId xmlns:a16="http://schemas.microsoft.com/office/drawing/2014/main" id="{E322760F-5E2A-4E10-8F1A-B75329FA02A7}"/>
                </a:ext>
              </a:extLst>
            </p:cNvPr>
            <p:cNvSpPr/>
            <p:nvPr/>
          </p:nvSpPr>
          <p:spPr bwMode="auto">
            <a:xfrm>
              <a:off x="93478" y="1230430"/>
              <a:ext cx="6769140" cy="521238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 name="Rectangle 5">
              <a:extLst>
                <a:ext uri="{FF2B5EF4-FFF2-40B4-BE49-F238E27FC236}">
                  <a16:creationId xmlns:a16="http://schemas.microsoft.com/office/drawing/2014/main" id="{B4F9AFAE-14FB-4CB5-8697-6113594D2EF7}"/>
                </a:ext>
              </a:extLst>
            </p:cNvPr>
            <p:cNvSpPr/>
            <p:nvPr/>
          </p:nvSpPr>
          <p:spPr bwMode="auto">
            <a:xfrm>
              <a:off x="187035" y="1725651"/>
              <a:ext cx="807919" cy="1296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endParaRPr lang="en-GB" sz="1000" b="1">
                <a:solidFill>
                  <a:schemeClr val="accent1">
                    <a:lumMod val="75000"/>
                  </a:schemeClr>
                </a:solidFill>
                <a:latin typeface="Trebuchet MS" pitchFamily="34" charset="0"/>
              </a:endParaRPr>
            </a:p>
            <a:p>
              <a:pPr marR="0" algn="ctr" defTabSz="914400" rtl="0" eaLnBrk="1" fontAlgn="base" latinLnBrk="0" hangingPunct="1">
                <a:lnSpc>
                  <a:spcPct val="100000"/>
                </a:lnSpc>
                <a:spcBef>
                  <a:spcPct val="0"/>
                </a:spcBef>
                <a:spcAft>
                  <a:spcPct val="0"/>
                </a:spcAft>
                <a:buClrTx/>
                <a:buSzTx/>
                <a:tabLst/>
              </a:pPr>
              <a:r>
                <a:rPr lang="en-GB" sz="1000" b="1">
                  <a:solidFill>
                    <a:schemeClr val="accent1">
                      <a:lumMod val="75000"/>
                    </a:schemeClr>
                  </a:solidFill>
                  <a:latin typeface="Trebuchet MS" pitchFamily="34" charset="0"/>
                </a:rPr>
                <a:t>Key accounts*</a:t>
              </a:r>
              <a:endParaRPr kumimoji="0" lang="en-GB" sz="1000" i="0" u="none" strike="noStrike" cap="none" normalizeH="0" baseline="0">
                <a:ln>
                  <a:noFill/>
                </a:ln>
                <a:solidFill>
                  <a:schemeClr val="accent1">
                    <a:lumMod val="75000"/>
                  </a:schemeClr>
                </a:solidFill>
                <a:effectLst/>
                <a:latin typeface="Trebuchet MS" pitchFamily="34" charset="0"/>
              </a:endParaRPr>
            </a:p>
          </p:txBody>
        </p:sp>
        <p:pic>
          <p:nvPicPr>
            <p:cNvPr id="10" name="Graphique 62">
              <a:extLst>
                <a:ext uri="{FF2B5EF4-FFF2-40B4-BE49-F238E27FC236}">
                  <a16:creationId xmlns:a16="http://schemas.microsoft.com/office/drawing/2014/main" id="{BFFF69F0-9455-4287-BD48-4A7735153B2E}"/>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19795"/>
            <a:stretch/>
          </p:blipFill>
          <p:spPr>
            <a:xfrm>
              <a:off x="457732" y="1771946"/>
              <a:ext cx="266524" cy="267203"/>
            </a:xfrm>
            <a:prstGeom prst="rect">
              <a:avLst/>
            </a:prstGeom>
            <a:effectLst/>
          </p:spPr>
        </p:pic>
        <p:sp>
          <p:nvSpPr>
            <p:cNvPr id="11" name="Rectangle 10">
              <a:extLst>
                <a:ext uri="{FF2B5EF4-FFF2-40B4-BE49-F238E27FC236}">
                  <a16:creationId xmlns:a16="http://schemas.microsoft.com/office/drawing/2014/main" id="{26388885-1D7D-4764-BE87-5CF5BF80DBA2}"/>
                </a:ext>
              </a:extLst>
            </p:cNvPr>
            <p:cNvSpPr/>
            <p:nvPr/>
          </p:nvSpPr>
          <p:spPr bwMode="auto">
            <a:xfrm>
              <a:off x="187035" y="3221942"/>
              <a:ext cx="807919" cy="1296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00" b="1">
                <a:solidFill>
                  <a:schemeClr val="accent1">
                    <a:lumMod val="75000"/>
                  </a:schemeClr>
                </a:solidFill>
                <a:latin typeface="Trebuchet MS" pitchFamily="34" charset="0"/>
              </a:endParaRPr>
            </a:p>
            <a:p>
              <a:pPr algn="ctr"/>
              <a:r>
                <a:rPr lang="en-GB" sz="1000" b="1">
                  <a:solidFill>
                    <a:schemeClr val="accent1">
                      <a:lumMod val="75000"/>
                    </a:schemeClr>
                  </a:solidFill>
                  <a:latin typeface="Trebuchet MS" pitchFamily="34" charset="0"/>
                </a:rPr>
                <a:t>Mid market*</a:t>
              </a:r>
            </a:p>
          </p:txBody>
        </p:sp>
        <p:pic>
          <p:nvPicPr>
            <p:cNvPr id="12" name="Graphique 63">
              <a:extLst>
                <a:ext uri="{FF2B5EF4-FFF2-40B4-BE49-F238E27FC236}">
                  <a16:creationId xmlns:a16="http://schemas.microsoft.com/office/drawing/2014/main" id="{FF340330-08EA-4249-9A67-6C485BF240F5}"/>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b="28139"/>
            <a:stretch/>
          </p:blipFill>
          <p:spPr>
            <a:xfrm>
              <a:off x="433172" y="3272157"/>
              <a:ext cx="315644" cy="283523"/>
            </a:xfrm>
            <a:prstGeom prst="rect">
              <a:avLst/>
            </a:prstGeom>
            <a:effectLst/>
          </p:spPr>
        </p:pic>
        <p:sp>
          <p:nvSpPr>
            <p:cNvPr id="14" name="Rectangle 13">
              <a:extLst>
                <a:ext uri="{FF2B5EF4-FFF2-40B4-BE49-F238E27FC236}">
                  <a16:creationId xmlns:a16="http://schemas.microsoft.com/office/drawing/2014/main" id="{F20B7311-A110-4087-B383-B2A6FC2291FC}"/>
                </a:ext>
              </a:extLst>
            </p:cNvPr>
            <p:cNvSpPr/>
            <p:nvPr/>
          </p:nvSpPr>
          <p:spPr bwMode="auto">
            <a:xfrm>
              <a:off x="187035" y="4718233"/>
              <a:ext cx="807919" cy="1296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000" b="1">
                  <a:solidFill>
                    <a:schemeClr val="accent1">
                      <a:lumMod val="75000"/>
                    </a:schemeClr>
                  </a:solidFill>
                  <a:latin typeface="Trebuchet MS" pitchFamily="34" charset="0"/>
                </a:rPr>
                <a:t>Mass market</a:t>
              </a:r>
            </a:p>
          </p:txBody>
        </p:sp>
        <p:pic>
          <p:nvPicPr>
            <p:cNvPr id="16" name="Graphique 64">
              <a:extLst>
                <a:ext uri="{FF2B5EF4-FFF2-40B4-BE49-F238E27FC236}">
                  <a16:creationId xmlns:a16="http://schemas.microsoft.com/office/drawing/2014/main" id="{CE058AA9-A581-43C9-A507-6D0604CA7599}"/>
                </a:ext>
              </a:extLst>
            </p:cNvPr>
            <p:cNvPicPr>
              <a:picLocks noChangeAspect="1"/>
            </p:cNvPicPr>
            <p:nvPr/>
          </p:nvPicPr>
          <p:blipFill rotWithShape="1">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r="-3601" b="22797"/>
            <a:stretch/>
          </p:blipFill>
          <p:spPr>
            <a:xfrm>
              <a:off x="443608" y="4765462"/>
              <a:ext cx="294773" cy="274579"/>
            </a:xfrm>
            <a:prstGeom prst="rect">
              <a:avLst/>
            </a:prstGeom>
            <a:effectLst/>
          </p:spPr>
        </p:pic>
        <p:sp>
          <p:nvSpPr>
            <p:cNvPr id="119" name="Freeform: Shape 118">
              <a:extLst>
                <a:ext uri="{FF2B5EF4-FFF2-40B4-BE49-F238E27FC236}">
                  <a16:creationId xmlns:a16="http://schemas.microsoft.com/office/drawing/2014/main" id="{53C583FD-2AF6-4047-97FD-3891A280B3EA}"/>
                </a:ext>
              </a:extLst>
            </p:cNvPr>
            <p:cNvSpPr/>
            <p:nvPr/>
          </p:nvSpPr>
          <p:spPr bwMode="auto">
            <a:xfrm>
              <a:off x="1288647" y="4718233"/>
              <a:ext cx="2420691" cy="1280610"/>
            </a:xfrm>
            <a:custGeom>
              <a:avLst/>
              <a:gdLst>
                <a:gd name="connsiteX0" fmla="*/ 57968 w 4082623"/>
                <a:gd name="connsiteY0" fmla="*/ 0 h 2005129"/>
                <a:gd name="connsiteX1" fmla="*/ 2463089 w 4082623"/>
                <a:gd name="connsiteY1" fmla="*/ 0 h 2005129"/>
                <a:gd name="connsiteX2" fmla="*/ 2521057 w 4082623"/>
                <a:gd name="connsiteY2" fmla="*/ 57968 h 2005129"/>
                <a:gd name="connsiteX3" fmla="*/ 2521057 w 4082623"/>
                <a:gd name="connsiteY3" fmla="*/ 775780 h 2005129"/>
                <a:gd name="connsiteX4" fmla="*/ 4047083 w 4082623"/>
                <a:gd name="connsiteY4" fmla="*/ 775780 h 2005129"/>
                <a:gd name="connsiteX5" fmla="*/ 4082623 w 4082623"/>
                <a:gd name="connsiteY5" fmla="*/ 811320 h 2005129"/>
                <a:gd name="connsiteX6" fmla="*/ 4082623 w 4082623"/>
                <a:gd name="connsiteY6" fmla="*/ 1969589 h 2005129"/>
                <a:gd name="connsiteX7" fmla="*/ 4047083 w 4082623"/>
                <a:gd name="connsiteY7" fmla="*/ 2005129 h 2005129"/>
                <a:gd name="connsiteX8" fmla="*/ 2509829 w 4082623"/>
                <a:gd name="connsiteY8" fmla="*/ 2005129 h 2005129"/>
                <a:gd name="connsiteX9" fmla="*/ 2490668 w 4082623"/>
                <a:gd name="connsiteY9" fmla="*/ 1997192 h 2005129"/>
                <a:gd name="connsiteX10" fmla="*/ 2485653 w 4082623"/>
                <a:gd name="connsiteY10" fmla="*/ 2000574 h 2005129"/>
                <a:gd name="connsiteX11" fmla="*/ 2463089 w 4082623"/>
                <a:gd name="connsiteY11" fmla="*/ 2005129 h 2005129"/>
                <a:gd name="connsiteX12" fmla="*/ 57968 w 4082623"/>
                <a:gd name="connsiteY12" fmla="*/ 2005129 h 2005129"/>
                <a:gd name="connsiteX13" fmla="*/ 0 w 4082623"/>
                <a:gd name="connsiteY13" fmla="*/ 1947161 h 2005129"/>
                <a:gd name="connsiteX14" fmla="*/ 0 w 4082623"/>
                <a:gd name="connsiteY14" fmla="*/ 57968 h 2005129"/>
                <a:gd name="connsiteX15" fmla="*/ 57968 w 4082623"/>
                <a:gd name="connsiteY15" fmla="*/ 0 h 2005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82623" h="2005129">
                  <a:moveTo>
                    <a:pt x="57968" y="0"/>
                  </a:moveTo>
                  <a:lnTo>
                    <a:pt x="2463089" y="0"/>
                  </a:lnTo>
                  <a:cubicBezTo>
                    <a:pt x="2495104" y="0"/>
                    <a:pt x="2521057" y="25953"/>
                    <a:pt x="2521057" y="57968"/>
                  </a:cubicBezTo>
                  <a:lnTo>
                    <a:pt x="2521057" y="775780"/>
                  </a:lnTo>
                  <a:lnTo>
                    <a:pt x="4047083" y="775780"/>
                  </a:lnTo>
                  <a:cubicBezTo>
                    <a:pt x="4066711" y="775780"/>
                    <a:pt x="4082623" y="791692"/>
                    <a:pt x="4082623" y="811320"/>
                  </a:cubicBezTo>
                  <a:lnTo>
                    <a:pt x="4082623" y="1969589"/>
                  </a:lnTo>
                  <a:cubicBezTo>
                    <a:pt x="4082623" y="1989217"/>
                    <a:pt x="4066711" y="2005129"/>
                    <a:pt x="4047083" y="2005129"/>
                  </a:cubicBezTo>
                  <a:lnTo>
                    <a:pt x="2509829" y="2005129"/>
                  </a:lnTo>
                  <a:lnTo>
                    <a:pt x="2490668" y="1997192"/>
                  </a:lnTo>
                  <a:lnTo>
                    <a:pt x="2485653" y="2000574"/>
                  </a:lnTo>
                  <a:cubicBezTo>
                    <a:pt x="2478718" y="2003507"/>
                    <a:pt x="2471093" y="2005129"/>
                    <a:pt x="2463089" y="2005129"/>
                  </a:cubicBezTo>
                  <a:lnTo>
                    <a:pt x="57968" y="2005129"/>
                  </a:lnTo>
                  <a:cubicBezTo>
                    <a:pt x="25953" y="2005129"/>
                    <a:pt x="0" y="1979176"/>
                    <a:pt x="0" y="1947161"/>
                  </a:cubicBezTo>
                  <a:lnTo>
                    <a:pt x="0" y="57968"/>
                  </a:lnTo>
                  <a:cubicBezTo>
                    <a:pt x="0" y="25953"/>
                    <a:pt x="25953" y="0"/>
                    <a:pt x="57968" y="0"/>
                  </a:cubicBezTo>
                  <a:close/>
                </a:path>
              </a:pathLst>
            </a:custGeom>
            <a:solidFill>
              <a:schemeClr val="bg2">
                <a:lumMod val="40000"/>
                <a:lumOff val="60000"/>
              </a:schemeClr>
            </a:solid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24" name="Connecteur droit avec flèche 6">
              <a:extLst>
                <a:ext uri="{FF2B5EF4-FFF2-40B4-BE49-F238E27FC236}">
                  <a16:creationId xmlns:a16="http://schemas.microsoft.com/office/drawing/2014/main" id="{3977FA13-8A98-4CA6-B2B9-DCF6C4BFC58C}"/>
                </a:ext>
              </a:extLst>
            </p:cNvPr>
            <p:cNvCxnSpPr>
              <a:cxnSpLocks/>
            </p:cNvCxnSpPr>
            <p:nvPr/>
          </p:nvCxnSpPr>
          <p:spPr bwMode="auto">
            <a:xfrm flipV="1">
              <a:off x="1161658" y="1513884"/>
              <a:ext cx="0" cy="4546644"/>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sp>
          <p:nvSpPr>
            <p:cNvPr id="32" name="ZoneTexte 88">
              <a:extLst>
                <a:ext uri="{FF2B5EF4-FFF2-40B4-BE49-F238E27FC236}">
                  <a16:creationId xmlns:a16="http://schemas.microsoft.com/office/drawing/2014/main" id="{CA3A4E67-16A2-4D94-BB9D-BA9E569154F7}"/>
                </a:ext>
              </a:extLst>
            </p:cNvPr>
            <p:cNvSpPr txBox="1"/>
            <p:nvPr/>
          </p:nvSpPr>
          <p:spPr>
            <a:xfrm>
              <a:off x="1180985" y="6060528"/>
              <a:ext cx="2451486" cy="246221"/>
            </a:xfrm>
            <a:prstGeom prst="rect">
              <a:avLst/>
            </a:prstGeom>
            <a:noFill/>
          </p:spPr>
          <p:txBody>
            <a:bodyPr wrap="square" rtlCol="0">
              <a:spAutoFit/>
            </a:bodyPr>
            <a:lstStyle/>
            <a:p>
              <a:pPr algn="ctr"/>
              <a:r>
                <a:rPr lang="en-GB" sz="1000" b="1">
                  <a:latin typeface="Trebuchet MS" panose="020B0603020202020204" pitchFamily="34" charset="0"/>
                </a:rPr>
                <a:t>Domestic players</a:t>
              </a:r>
            </a:p>
          </p:txBody>
        </p:sp>
        <p:cxnSp>
          <p:nvCxnSpPr>
            <p:cNvPr id="26" name="Connecteur droit avec flèche 6">
              <a:extLst>
                <a:ext uri="{FF2B5EF4-FFF2-40B4-BE49-F238E27FC236}">
                  <a16:creationId xmlns:a16="http://schemas.microsoft.com/office/drawing/2014/main" id="{75BD1D43-3BF4-4CAE-B58A-A1DD53EAEB97}"/>
                </a:ext>
              </a:extLst>
            </p:cNvPr>
            <p:cNvCxnSpPr>
              <a:cxnSpLocks/>
            </p:cNvCxnSpPr>
            <p:nvPr/>
          </p:nvCxnSpPr>
          <p:spPr bwMode="auto">
            <a:xfrm>
              <a:off x="1161658" y="6060526"/>
              <a:ext cx="5413144" cy="0"/>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pic>
          <p:nvPicPr>
            <p:cNvPr id="79" name="Picture 7" descr="A close up of a logo&#10;&#10;Description automatically generated">
              <a:extLst>
                <a:ext uri="{FF2B5EF4-FFF2-40B4-BE49-F238E27FC236}">
                  <a16:creationId xmlns:a16="http://schemas.microsoft.com/office/drawing/2014/main" id="{220E9D58-AEFE-4B1C-9747-FD7110FB396D}"/>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898527" y="5744052"/>
              <a:ext cx="446225" cy="116070"/>
            </a:xfrm>
            <a:prstGeom prst="rect">
              <a:avLst/>
            </a:prstGeom>
          </p:spPr>
        </p:pic>
        <p:pic>
          <p:nvPicPr>
            <p:cNvPr id="81" name="Picture 28" descr="A picture containing drawing, food&#10;&#10;Description automatically generated">
              <a:extLst>
                <a:ext uri="{FF2B5EF4-FFF2-40B4-BE49-F238E27FC236}">
                  <a16:creationId xmlns:a16="http://schemas.microsoft.com/office/drawing/2014/main" id="{5BEC6E98-E4A0-49BB-A16C-6170D5DEED1C}"/>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790160" y="5502634"/>
              <a:ext cx="686915" cy="163784"/>
            </a:xfrm>
            <a:prstGeom prst="rect">
              <a:avLst/>
            </a:prstGeom>
          </p:spPr>
        </p:pic>
        <p:pic>
          <p:nvPicPr>
            <p:cNvPr id="83" name="Picture 20">
              <a:extLst>
                <a:ext uri="{FF2B5EF4-FFF2-40B4-BE49-F238E27FC236}">
                  <a16:creationId xmlns:a16="http://schemas.microsoft.com/office/drawing/2014/main" id="{D0AAD88A-B3DC-409C-99AC-7858B80C5E31}"/>
                </a:ext>
              </a:extLst>
            </p:cNvPr>
            <p:cNvPicPr>
              <a:picLocks noChangeAspect="1"/>
            </p:cNvPicPr>
            <p:nvPr/>
          </p:nvPicPr>
          <p:blipFill>
            <a:blip r:embed="rId24">
              <a:clrChange>
                <a:clrFrom>
                  <a:srgbClr val="FFFFFF"/>
                </a:clrFrom>
                <a:clrTo>
                  <a:srgbClr val="FFFFFF">
                    <a:alpha val="0"/>
                  </a:srgbClr>
                </a:clrTo>
              </a:clrChange>
            </a:blip>
            <a:stretch>
              <a:fillRect/>
            </a:stretch>
          </p:blipFill>
          <p:spPr>
            <a:xfrm>
              <a:off x="2031154" y="5199307"/>
              <a:ext cx="641796" cy="113634"/>
            </a:xfrm>
            <a:prstGeom prst="rect">
              <a:avLst/>
            </a:prstGeom>
          </p:spPr>
        </p:pic>
        <p:pic>
          <p:nvPicPr>
            <p:cNvPr id="89" name="Picture 19">
              <a:extLst>
                <a:ext uri="{FF2B5EF4-FFF2-40B4-BE49-F238E27FC236}">
                  <a16:creationId xmlns:a16="http://schemas.microsoft.com/office/drawing/2014/main" id="{00E63208-D788-4D7D-9A0E-1DBE20243026}"/>
                </a:ext>
              </a:extLst>
            </p:cNvPr>
            <p:cNvPicPr>
              <a:picLocks noChangeAspect="1"/>
            </p:cNvPicPr>
            <p:nvPr/>
          </p:nvPicPr>
          <p:blipFill>
            <a:blip r:embed="rId25">
              <a:clrChange>
                <a:clrFrom>
                  <a:srgbClr val="FFFFFF"/>
                </a:clrFrom>
                <a:clrTo>
                  <a:srgbClr val="FFFFFF">
                    <a:alpha val="0"/>
                  </a:srgbClr>
                </a:clrTo>
              </a:clrChange>
            </a:blip>
            <a:stretch>
              <a:fillRect/>
            </a:stretch>
          </p:blipFill>
          <p:spPr>
            <a:xfrm>
              <a:off x="2009482" y="4995984"/>
              <a:ext cx="645653" cy="141640"/>
            </a:xfrm>
            <a:prstGeom prst="rect">
              <a:avLst/>
            </a:prstGeom>
          </p:spPr>
        </p:pic>
        <p:sp>
          <p:nvSpPr>
            <p:cNvPr id="93" name="Rectangle: Rounded Corners 92">
              <a:extLst>
                <a:ext uri="{FF2B5EF4-FFF2-40B4-BE49-F238E27FC236}">
                  <a16:creationId xmlns:a16="http://schemas.microsoft.com/office/drawing/2014/main" id="{EA6C355F-6456-4DF3-9E22-F6954A58D7FE}"/>
                </a:ext>
              </a:extLst>
            </p:cNvPr>
            <p:cNvSpPr/>
            <p:nvPr/>
          </p:nvSpPr>
          <p:spPr bwMode="auto">
            <a:xfrm>
              <a:off x="2700674" y="2579127"/>
              <a:ext cx="1035051" cy="1756372"/>
            </a:xfrm>
            <a:prstGeom prst="roundRect">
              <a:avLst>
                <a:gd name="adj" fmla="val 2891"/>
              </a:avLst>
            </a:prstGeom>
            <a:solidFill>
              <a:schemeClr val="bg2">
                <a:lumMod val="40000"/>
                <a:lumOff val="60000"/>
              </a:schemeClr>
            </a:solid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95" name="Picture 24" descr="A picture containing light&#10;&#10;Description automatically generated">
              <a:extLst>
                <a:ext uri="{FF2B5EF4-FFF2-40B4-BE49-F238E27FC236}">
                  <a16:creationId xmlns:a16="http://schemas.microsoft.com/office/drawing/2014/main" id="{49C29415-8A1A-4B61-A7AB-6B889744348A}"/>
                </a:ext>
              </a:extLst>
            </p:cNvPr>
            <p:cNvPicPr>
              <a:picLocks noChangeAspect="1"/>
            </p:cNvPicPr>
            <p:nvPr/>
          </p:nvPicPr>
          <p:blipFill rotWithShape="1">
            <a:blip r:embed="rId26">
              <a:extLst>
                <a:ext uri="{28A0092B-C50C-407E-A947-70E740481C1C}">
                  <a14:useLocalDpi xmlns:a14="http://schemas.microsoft.com/office/drawing/2010/main" val="0"/>
                </a:ext>
              </a:extLst>
            </a:blip>
            <a:srcRect t="38705" b="38705"/>
            <a:stretch/>
          </p:blipFill>
          <p:spPr>
            <a:xfrm>
              <a:off x="2828846" y="3291240"/>
              <a:ext cx="778707" cy="188582"/>
            </a:xfrm>
            <a:prstGeom prst="rect">
              <a:avLst/>
            </a:prstGeom>
          </p:spPr>
        </p:pic>
        <p:pic>
          <p:nvPicPr>
            <p:cNvPr id="97" name="Picture 26" descr="A picture containing computer, computer&#10;&#10;Description automatically generated">
              <a:extLst>
                <a:ext uri="{FF2B5EF4-FFF2-40B4-BE49-F238E27FC236}">
                  <a16:creationId xmlns:a16="http://schemas.microsoft.com/office/drawing/2014/main" id="{E1385D8D-5727-473E-A147-2C24F9581CFA}"/>
                </a:ext>
              </a:extLst>
            </p:cNvPr>
            <p:cNvPicPr>
              <a:picLocks noChangeAspect="1"/>
            </p:cNvPicPr>
            <p:nvPr/>
          </p:nvPicPr>
          <p:blipFill rotWithShape="1">
            <a:blip r:embed="rId27">
              <a:extLst>
                <a:ext uri="{28A0092B-C50C-407E-A947-70E740481C1C}">
                  <a14:useLocalDpi xmlns:a14="http://schemas.microsoft.com/office/drawing/2010/main" val="0"/>
                </a:ext>
              </a:extLst>
            </a:blip>
            <a:srcRect l="12024" t="40724" r="12024" b="40724"/>
            <a:stretch/>
          </p:blipFill>
          <p:spPr>
            <a:xfrm>
              <a:off x="2770092" y="3646468"/>
              <a:ext cx="896214" cy="164179"/>
            </a:xfrm>
            <a:prstGeom prst="rect">
              <a:avLst/>
            </a:prstGeom>
          </p:spPr>
        </p:pic>
        <p:pic>
          <p:nvPicPr>
            <p:cNvPr id="99" name="Picture 32">
              <a:extLst>
                <a:ext uri="{FF2B5EF4-FFF2-40B4-BE49-F238E27FC236}">
                  <a16:creationId xmlns:a16="http://schemas.microsoft.com/office/drawing/2014/main" id="{96E5E3CD-6816-4C60-ACA1-F1715BBB8941}"/>
                </a:ext>
              </a:extLst>
            </p:cNvPr>
            <p:cNvPicPr>
              <a:picLocks noChangeAspect="1"/>
            </p:cNvPicPr>
            <p:nvPr/>
          </p:nvPicPr>
          <p:blipFill>
            <a:blip r:embed="rId2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466398" y="4990468"/>
              <a:ext cx="410125" cy="274785"/>
            </a:xfrm>
            <a:prstGeom prst="rect">
              <a:avLst/>
            </a:prstGeom>
          </p:spPr>
        </p:pic>
        <p:sp>
          <p:nvSpPr>
            <p:cNvPr id="101" name="Rectangle: Rounded Corners 100">
              <a:extLst>
                <a:ext uri="{FF2B5EF4-FFF2-40B4-BE49-F238E27FC236}">
                  <a16:creationId xmlns:a16="http://schemas.microsoft.com/office/drawing/2014/main" id="{856C16A3-D462-44F7-8476-44F7D55BC75F}"/>
                </a:ext>
              </a:extLst>
            </p:cNvPr>
            <p:cNvSpPr/>
            <p:nvPr/>
          </p:nvSpPr>
          <p:spPr bwMode="auto">
            <a:xfrm>
              <a:off x="4211965" y="3740917"/>
              <a:ext cx="739372" cy="2143806"/>
            </a:xfrm>
            <a:prstGeom prst="roundRect">
              <a:avLst>
                <a:gd name="adj" fmla="val 2891"/>
              </a:avLst>
            </a:prstGeom>
            <a:solidFill>
              <a:schemeClr val="bg2">
                <a:lumMod val="40000"/>
                <a:lumOff val="60000"/>
              </a:schemeClr>
            </a:solid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103" name="Picture 2" descr="Image result for creditsafe logo">
              <a:extLst>
                <a:ext uri="{FF2B5EF4-FFF2-40B4-BE49-F238E27FC236}">
                  <a16:creationId xmlns:a16="http://schemas.microsoft.com/office/drawing/2014/main" id="{FF174016-7515-4E90-B26D-ED34D1299F1A}"/>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4263014" y="4945199"/>
              <a:ext cx="654545" cy="112973"/>
            </a:xfrm>
            <a:prstGeom prst="rect">
              <a:avLst/>
            </a:prstGeom>
            <a:noFill/>
            <a:extLst>
              <a:ext uri="{909E8E84-426E-40DD-AFC4-6F175D3DCCD1}">
                <a14:hiddenFill xmlns:a14="http://schemas.microsoft.com/office/drawing/2010/main">
                  <a:solidFill>
                    <a:srgbClr val="FFFFFF"/>
                  </a:solidFill>
                </a14:hiddenFill>
              </a:ext>
            </a:extLst>
          </p:spPr>
        </p:pic>
        <p:sp>
          <p:nvSpPr>
            <p:cNvPr id="107" name="Rectangle: Rounded Corners 106">
              <a:extLst>
                <a:ext uri="{FF2B5EF4-FFF2-40B4-BE49-F238E27FC236}">
                  <a16:creationId xmlns:a16="http://schemas.microsoft.com/office/drawing/2014/main" id="{6C184948-049B-49AF-B064-DE29FFAFA836}"/>
                </a:ext>
              </a:extLst>
            </p:cNvPr>
            <p:cNvSpPr/>
            <p:nvPr/>
          </p:nvSpPr>
          <p:spPr bwMode="auto">
            <a:xfrm>
              <a:off x="5067442" y="1725651"/>
              <a:ext cx="1002067" cy="2143806"/>
            </a:xfrm>
            <a:prstGeom prst="roundRect">
              <a:avLst>
                <a:gd name="adj" fmla="val 2891"/>
              </a:avLst>
            </a:prstGeom>
            <a:solidFill>
              <a:schemeClr val="bg2">
                <a:lumMod val="40000"/>
                <a:lumOff val="60000"/>
              </a:schemeClr>
            </a:solid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111" name="Picture 2" descr="Image result for bureau van dijk logo">
              <a:extLst>
                <a:ext uri="{FF2B5EF4-FFF2-40B4-BE49-F238E27FC236}">
                  <a16:creationId xmlns:a16="http://schemas.microsoft.com/office/drawing/2014/main" id="{CF913B35-5E3C-49F1-8F1A-D2F1DDDB7793}"/>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279520" y="2918033"/>
              <a:ext cx="575488" cy="271999"/>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E6341D1C-01C1-4623-97B3-30EEF1A9DEC0}"/>
                </a:ext>
              </a:extLst>
            </p:cNvPr>
            <p:cNvSpPr/>
            <p:nvPr/>
          </p:nvSpPr>
          <p:spPr bwMode="auto">
            <a:xfrm>
              <a:off x="20334" y="1368289"/>
              <a:ext cx="1141324" cy="29118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1" u="none" strike="noStrike" cap="none" normalizeH="0" baseline="0">
                  <a:ln>
                    <a:noFill/>
                  </a:ln>
                  <a:effectLst/>
                  <a:latin typeface="Trebuchet MS" pitchFamily="34" charset="0"/>
                </a:rPr>
                <a:t>Targeted company size</a:t>
              </a:r>
            </a:p>
          </p:txBody>
        </p:sp>
        <p:pic>
          <p:nvPicPr>
            <p:cNvPr id="131" name="Graphic 130" descr="Back">
              <a:extLst>
                <a:ext uri="{FF2B5EF4-FFF2-40B4-BE49-F238E27FC236}">
                  <a16:creationId xmlns:a16="http://schemas.microsoft.com/office/drawing/2014/main" id="{76259EEA-9AB0-48FE-830D-77AC3780E5F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rot="18164209">
              <a:off x="2430930" y="4250990"/>
              <a:ext cx="457199" cy="457199"/>
            </a:xfrm>
            <a:prstGeom prst="rect">
              <a:avLst/>
            </a:prstGeom>
          </p:spPr>
        </p:pic>
        <p:pic>
          <p:nvPicPr>
            <p:cNvPr id="132" name="Graphic 131" descr="Back">
              <a:extLst>
                <a:ext uri="{FF2B5EF4-FFF2-40B4-BE49-F238E27FC236}">
                  <a16:creationId xmlns:a16="http://schemas.microsoft.com/office/drawing/2014/main" id="{9B818DEE-CC0E-4CDF-A9FA-8ECA66C6A5E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rot="7471464" flipH="1">
              <a:off x="3768398" y="5394045"/>
              <a:ext cx="452844" cy="457199"/>
            </a:xfrm>
            <a:prstGeom prst="rect">
              <a:avLst/>
            </a:prstGeom>
          </p:spPr>
        </p:pic>
        <p:sp>
          <p:nvSpPr>
            <p:cNvPr id="55" name="Rectangle 54">
              <a:extLst>
                <a:ext uri="{FF2B5EF4-FFF2-40B4-BE49-F238E27FC236}">
                  <a16:creationId xmlns:a16="http://schemas.microsoft.com/office/drawing/2014/main" id="{94FD4810-78DD-4418-89F1-B391F203F328}"/>
                </a:ext>
              </a:extLst>
            </p:cNvPr>
            <p:cNvSpPr/>
            <p:nvPr/>
          </p:nvSpPr>
          <p:spPr bwMode="auto">
            <a:xfrm>
              <a:off x="1301860" y="4710286"/>
              <a:ext cx="1308500" cy="205145"/>
            </a:xfrm>
            <a:prstGeom prst="rect">
              <a:avLst/>
            </a:prstGeom>
            <a:noFill/>
            <a:ln w="9525" cap="flat" cmpd="sng" algn="ctr">
              <a:no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spcBef>
                  <a:spcPts val="600"/>
                </a:spcBef>
                <a:buClr>
                  <a:schemeClr val="tx1"/>
                </a:buClr>
              </a:pPr>
              <a:r>
                <a:rPr lang="en-GB" sz="900">
                  <a:solidFill>
                    <a:schemeClr val="tx2"/>
                  </a:solidFill>
                  <a:latin typeface="Trebuchet MS" panose="020B0603020202020204" pitchFamily="34" charset="0"/>
                </a:rPr>
                <a:t>Local &amp; small players</a:t>
              </a:r>
            </a:p>
          </p:txBody>
        </p:sp>
        <p:sp>
          <p:nvSpPr>
            <p:cNvPr id="56" name="Rectangle 55">
              <a:extLst>
                <a:ext uri="{FF2B5EF4-FFF2-40B4-BE49-F238E27FC236}">
                  <a16:creationId xmlns:a16="http://schemas.microsoft.com/office/drawing/2014/main" id="{9095BC5E-A314-459F-A2F4-8A465457C569}"/>
                </a:ext>
              </a:extLst>
            </p:cNvPr>
            <p:cNvSpPr/>
            <p:nvPr/>
          </p:nvSpPr>
          <p:spPr bwMode="auto">
            <a:xfrm>
              <a:off x="2665366" y="2608060"/>
              <a:ext cx="1105666" cy="205145"/>
            </a:xfrm>
            <a:prstGeom prst="rect">
              <a:avLst/>
            </a:prstGeom>
            <a:noFill/>
            <a:ln w="9525" cap="flat" cmpd="sng" algn="ctr">
              <a:no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600"/>
                </a:spcBef>
                <a:buClr>
                  <a:schemeClr val="tx1"/>
                </a:buClr>
              </a:pPr>
              <a:r>
                <a:rPr lang="en-GB" sz="900">
                  <a:solidFill>
                    <a:schemeClr val="tx2"/>
                  </a:solidFill>
                  <a:latin typeface="Trebuchet MS" panose="020B0603020202020204" pitchFamily="34" charset="0"/>
                </a:rPr>
                <a:t>Local incumbents</a:t>
              </a:r>
            </a:p>
          </p:txBody>
        </p:sp>
        <p:sp>
          <p:nvSpPr>
            <p:cNvPr id="57" name="Rectangle 56">
              <a:extLst>
                <a:ext uri="{FF2B5EF4-FFF2-40B4-BE49-F238E27FC236}">
                  <a16:creationId xmlns:a16="http://schemas.microsoft.com/office/drawing/2014/main" id="{52A88395-F427-4D51-91E6-C494DECFFCE7}"/>
                </a:ext>
              </a:extLst>
            </p:cNvPr>
            <p:cNvSpPr/>
            <p:nvPr/>
          </p:nvSpPr>
          <p:spPr bwMode="auto">
            <a:xfrm>
              <a:off x="4190171" y="4067457"/>
              <a:ext cx="766918" cy="205145"/>
            </a:xfrm>
            <a:prstGeom prst="rect">
              <a:avLst/>
            </a:prstGeom>
            <a:noFill/>
            <a:ln w="9525" cap="flat" cmpd="sng" algn="ctr">
              <a:no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600"/>
                </a:spcBef>
                <a:buClr>
                  <a:schemeClr val="tx1"/>
                </a:buClr>
              </a:pPr>
              <a:r>
                <a:rPr lang="en-GB" sz="900">
                  <a:solidFill>
                    <a:schemeClr val="tx2"/>
                  </a:solidFill>
                  <a:latin typeface="Trebuchet MS" panose="020B0603020202020204" pitchFamily="34" charset="0"/>
                </a:rPr>
                <a:t>Challenger</a:t>
              </a:r>
            </a:p>
          </p:txBody>
        </p:sp>
        <p:sp>
          <p:nvSpPr>
            <p:cNvPr id="58" name="Rectangle 57">
              <a:extLst>
                <a:ext uri="{FF2B5EF4-FFF2-40B4-BE49-F238E27FC236}">
                  <a16:creationId xmlns:a16="http://schemas.microsoft.com/office/drawing/2014/main" id="{8F449D3F-282A-4C8E-8B72-5568F3F1FD67}"/>
                </a:ext>
              </a:extLst>
            </p:cNvPr>
            <p:cNvSpPr/>
            <p:nvPr/>
          </p:nvSpPr>
          <p:spPr bwMode="auto">
            <a:xfrm>
              <a:off x="5067442" y="1747848"/>
              <a:ext cx="1002067" cy="205145"/>
            </a:xfrm>
            <a:prstGeom prst="rect">
              <a:avLst/>
            </a:prstGeom>
            <a:noFill/>
            <a:ln w="9525" cap="flat" cmpd="sng" algn="ctr">
              <a:no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600"/>
                </a:spcBef>
                <a:buClr>
                  <a:schemeClr val="tx1"/>
                </a:buClr>
              </a:pPr>
              <a:r>
                <a:rPr lang="en-GB" sz="900">
                  <a:solidFill>
                    <a:schemeClr val="tx2"/>
                  </a:solidFill>
                  <a:latin typeface="Trebuchet MS" panose="020B0603020202020204" pitchFamily="34" charset="0"/>
                </a:rPr>
                <a:t>International premium players</a:t>
              </a:r>
            </a:p>
          </p:txBody>
        </p:sp>
        <p:sp>
          <p:nvSpPr>
            <p:cNvPr id="62" name="Speech Bubble: Rectangle 61">
              <a:extLst>
                <a:ext uri="{FF2B5EF4-FFF2-40B4-BE49-F238E27FC236}">
                  <a16:creationId xmlns:a16="http://schemas.microsoft.com/office/drawing/2014/main" id="{F0FBE6A4-FA16-42D9-A59F-299921BD22E9}"/>
                </a:ext>
              </a:extLst>
            </p:cNvPr>
            <p:cNvSpPr/>
            <p:nvPr/>
          </p:nvSpPr>
          <p:spPr bwMode="auto">
            <a:xfrm>
              <a:off x="5177765" y="3487431"/>
              <a:ext cx="1334928" cy="467996"/>
            </a:xfrm>
            <a:prstGeom prst="wedgeRectCallout">
              <a:avLst>
                <a:gd name="adj1" fmla="val -17186"/>
                <a:gd name="adj2" fmla="val -83457"/>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dirty="0" err="1">
                  <a:ln>
                    <a:noFill/>
                  </a:ln>
                  <a:effectLst/>
                  <a:latin typeface="Trebuchet MS" panose="020B0603020202020204" pitchFamily="34" charset="0"/>
                </a:rPr>
                <a:t>BvD</a:t>
              </a:r>
              <a:r>
                <a:rPr kumimoji="0" lang="en-GB" sz="900" b="0" i="0" u="none" strike="noStrike" cap="none" normalizeH="0" baseline="0" dirty="0">
                  <a:ln>
                    <a:noFill/>
                  </a:ln>
                  <a:effectLst/>
                  <a:latin typeface="Trebuchet MS" panose="020B0603020202020204" pitchFamily="34" charset="0"/>
                </a:rPr>
                <a:t> mostly addresses the </a:t>
              </a:r>
              <a:r>
                <a:rPr lang="en-GB" sz="900" dirty="0">
                  <a:solidFill>
                    <a:schemeClr val="tx2"/>
                  </a:solidFill>
                  <a:latin typeface="Trebuchet MS" panose="020B0603020202020204" pitchFamily="34" charset="0"/>
                </a:rPr>
                <a:t>high-end </a:t>
              </a:r>
              <a:r>
                <a:rPr kumimoji="0" lang="en-GB" sz="900" b="0" i="0" u="none" strike="noStrike" cap="none" normalizeH="0" baseline="0" dirty="0">
                  <a:ln>
                    <a:noFill/>
                  </a:ln>
                  <a:effectLst/>
                  <a:latin typeface="Trebuchet MS" panose="020B0603020202020204" pitchFamily="34" charset="0"/>
                </a:rPr>
                <a:t>of </a:t>
              </a:r>
              <a:r>
                <a:rPr kumimoji="0" lang="en-GB" sz="900" b="0" i="0" u="none" strike="noStrike" cap="none" normalizeH="0" baseline="0" dirty="0">
                  <a:ln>
                    <a:noFill/>
                  </a:ln>
                  <a:solidFill>
                    <a:schemeClr val="tx2"/>
                  </a:solidFill>
                  <a:effectLst/>
                  <a:latin typeface="Trebuchet MS" panose="020B0603020202020204" pitchFamily="34" charset="0"/>
                </a:rPr>
                <a:t>large</a:t>
              </a:r>
              <a:r>
                <a:rPr kumimoji="0" lang="en-GB" sz="900" b="0" i="0" u="none" strike="noStrike" cap="none" normalizeH="0" baseline="0" dirty="0">
                  <a:ln>
                    <a:noFill/>
                  </a:ln>
                  <a:effectLst/>
                  <a:latin typeface="Trebuchet MS" panose="020B0603020202020204" pitchFamily="34" charset="0"/>
                </a:rPr>
                <a:t> </a:t>
              </a:r>
              <a:r>
                <a:rPr kumimoji="0" lang="en-GB" sz="900" b="0" i="0" u="none" strike="noStrike" cap="none" normalizeH="0" baseline="0" dirty="0">
                  <a:ln>
                    <a:noFill/>
                  </a:ln>
                  <a:solidFill>
                    <a:schemeClr val="tx2"/>
                  </a:solidFill>
                  <a:effectLst/>
                  <a:latin typeface="Trebuchet MS" panose="020B0603020202020204" pitchFamily="34" charset="0"/>
                </a:rPr>
                <a:t>companies</a:t>
              </a:r>
            </a:p>
          </p:txBody>
        </p:sp>
        <p:sp>
          <p:nvSpPr>
            <p:cNvPr id="65" name="Speech Bubble: Rectangle 64">
              <a:extLst>
                <a:ext uri="{FF2B5EF4-FFF2-40B4-BE49-F238E27FC236}">
                  <a16:creationId xmlns:a16="http://schemas.microsoft.com/office/drawing/2014/main" id="{C275C88D-1ABF-4963-A280-2C8561BBCF60}"/>
                </a:ext>
              </a:extLst>
            </p:cNvPr>
            <p:cNvSpPr/>
            <p:nvPr/>
          </p:nvSpPr>
          <p:spPr bwMode="auto">
            <a:xfrm>
              <a:off x="1288647" y="3164479"/>
              <a:ext cx="1334927" cy="737471"/>
            </a:xfrm>
            <a:prstGeom prst="wedgeRectCallout">
              <a:avLst>
                <a:gd name="adj1" fmla="val 73484"/>
                <a:gd name="adj2" fmla="val 58178"/>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err="1">
                  <a:ln>
                    <a:noFill/>
                  </a:ln>
                  <a:effectLst/>
                  <a:latin typeface="Trebuchet MS" panose="020B0603020202020204" pitchFamily="34" charset="0"/>
                </a:rPr>
                <a:t>Ellisphere</a:t>
              </a:r>
              <a:r>
                <a:rPr kumimoji="0" lang="en-GB" sz="900" b="0" i="0" u="none" strike="noStrike" cap="none" normalizeH="0" baseline="0">
                  <a:ln>
                    <a:noFill/>
                  </a:ln>
                  <a:effectLst/>
                  <a:latin typeface="Trebuchet MS" panose="020B0603020202020204" pitchFamily="34" charset="0"/>
                </a:rPr>
                <a:t>, Graydon and </a:t>
              </a:r>
              <a:r>
                <a:rPr kumimoji="0" lang="en-GB" sz="900" b="0" i="0" u="none" strike="noStrike" cap="none" normalizeH="0" baseline="0" err="1">
                  <a:ln>
                    <a:noFill/>
                  </a:ln>
                  <a:effectLst/>
                  <a:latin typeface="Trebuchet MS" panose="020B0603020202020204" pitchFamily="34" charset="0"/>
                </a:rPr>
                <a:t>Creditsafe</a:t>
              </a:r>
              <a:r>
                <a:rPr lang="en-GB" sz="900">
                  <a:latin typeface="Trebuchet MS" panose="020B0603020202020204" pitchFamily="34" charset="0"/>
                </a:rPr>
                <a:t> have a </a:t>
              </a:r>
              <a:r>
                <a:rPr lang="en-GB" sz="900">
                  <a:solidFill>
                    <a:schemeClr val="tx2"/>
                  </a:solidFill>
                  <a:latin typeface="Trebuchet MS" panose="020B0603020202020204" pitchFamily="34" charset="0"/>
                </a:rPr>
                <a:t>strong</a:t>
              </a:r>
              <a:r>
                <a:rPr lang="en-GB" sz="900">
                  <a:latin typeface="Trebuchet MS" panose="020B0603020202020204" pitchFamily="34" charset="0"/>
                </a:rPr>
                <a:t> </a:t>
              </a:r>
              <a:r>
                <a:rPr lang="en-GB" sz="900">
                  <a:solidFill>
                    <a:schemeClr val="tx2"/>
                  </a:solidFill>
                  <a:latin typeface="Trebuchet MS" panose="020B0603020202020204" pitchFamily="34" charset="0"/>
                </a:rPr>
                <a:t>presence</a:t>
              </a:r>
              <a:r>
                <a:rPr lang="en-GB" sz="900">
                  <a:latin typeface="Trebuchet MS" panose="020B0603020202020204" pitchFamily="34" charset="0"/>
                </a:rPr>
                <a:t> in </a:t>
              </a:r>
              <a:r>
                <a:rPr lang="en-GB" sz="900">
                  <a:solidFill>
                    <a:schemeClr val="tx2"/>
                  </a:solidFill>
                  <a:latin typeface="Trebuchet MS" panose="020B0603020202020204" pitchFamily="34" charset="0"/>
                </a:rPr>
                <a:t>risk</a:t>
              </a:r>
              <a:r>
                <a:rPr lang="en-GB" sz="900">
                  <a:latin typeface="Trebuchet MS" panose="020B0603020202020204" pitchFamily="34" charset="0"/>
                </a:rPr>
                <a:t> but are </a:t>
              </a:r>
              <a:r>
                <a:rPr lang="en-GB" sz="900">
                  <a:solidFill>
                    <a:schemeClr val="tx2"/>
                  </a:solidFill>
                  <a:latin typeface="Trebuchet MS" panose="020B0603020202020204" pitchFamily="34" charset="0"/>
                </a:rPr>
                <a:t>less</a:t>
              </a:r>
              <a:r>
                <a:rPr lang="en-GB" sz="900">
                  <a:latin typeface="Trebuchet MS" panose="020B0603020202020204" pitchFamily="34" charset="0"/>
                </a:rPr>
                <a:t> active in </a:t>
              </a:r>
              <a:r>
                <a:rPr lang="en-GB" sz="900">
                  <a:solidFill>
                    <a:schemeClr val="tx2"/>
                  </a:solidFill>
                  <a:latin typeface="Trebuchet MS" panose="020B0603020202020204" pitchFamily="34" charset="0"/>
                </a:rPr>
                <a:t>compliance</a:t>
              </a:r>
              <a:endParaRPr kumimoji="0" lang="en-GB" sz="900" b="0" i="0" u="none" strike="noStrike" cap="none" normalizeH="0" baseline="0">
                <a:ln>
                  <a:noFill/>
                </a:ln>
                <a:solidFill>
                  <a:schemeClr val="tx2"/>
                </a:solidFill>
                <a:effectLst/>
                <a:latin typeface="Trebuchet MS" panose="020B0603020202020204" pitchFamily="34" charset="0"/>
              </a:endParaRPr>
            </a:p>
          </p:txBody>
        </p:sp>
        <p:pic>
          <p:nvPicPr>
            <p:cNvPr id="7" name="Picture 2" descr="ALTARES-D&amp;B - L'ASSOCIATION FRANCAISE DES CREDIT MANAGERS ET CONSEILS">
              <a:extLst>
                <a:ext uri="{FF2B5EF4-FFF2-40B4-BE49-F238E27FC236}">
                  <a16:creationId xmlns:a16="http://schemas.microsoft.com/office/drawing/2014/main" id="{EA345218-DB6B-45F7-9783-FD0B1B410692}"/>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5345868" y="2465242"/>
              <a:ext cx="442792" cy="248020"/>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Rounded Corners 90">
              <a:extLst>
                <a:ext uri="{FF2B5EF4-FFF2-40B4-BE49-F238E27FC236}">
                  <a16:creationId xmlns:a16="http://schemas.microsoft.com/office/drawing/2014/main" id="{51CC9843-8661-47BA-A054-1FE9A931C2E5}"/>
                </a:ext>
              </a:extLst>
            </p:cNvPr>
            <p:cNvSpPr/>
            <p:nvPr/>
          </p:nvSpPr>
          <p:spPr bwMode="auto">
            <a:xfrm>
              <a:off x="1342549" y="5372677"/>
              <a:ext cx="1308500" cy="601914"/>
            </a:xfrm>
            <a:prstGeom prst="roundRect">
              <a:avLst>
                <a:gd name="adj" fmla="val 3927"/>
              </a:avLst>
            </a:prstGeom>
            <a:solidFill>
              <a:schemeClr val="bg1">
                <a:lumMod val="95000"/>
              </a:schemeClr>
            </a:solidFill>
            <a:ln w="9525" cap="flat" cmpd="sng" algn="ctr">
              <a:solidFill>
                <a:schemeClr val="tx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cxnSp>
          <p:nvCxnSpPr>
            <p:cNvPr id="33" name="Connecteur droit 32">
              <a:extLst>
                <a:ext uri="{FF2B5EF4-FFF2-40B4-BE49-F238E27FC236}">
                  <a16:creationId xmlns:a16="http://schemas.microsoft.com/office/drawing/2014/main" id="{C3FF1796-295A-441A-BC1E-0148E6019108}"/>
                </a:ext>
              </a:extLst>
            </p:cNvPr>
            <p:cNvCxnSpPr>
              <a:cxnSpLocks/>
            </p:cNvCxnSpPr>
            <p:nvPr/>
          </p:nvCxnSpPr>
          <p:spPr bwMode="auto">
            <a:xfrm flipH="1" flipV="1">
              <a:off x="3827177" y="1725651"/>
              <a:ext cx="9985" cy="4334876"/>
            </a:xfrm>
            <a:prstGeom prst="line">
              <a:avLst/>
            </a:prstGeom>
            <a:solidFill>
              <a:schemeClr val="accent1"/>
            </a:solidFill>
            <a:ln w="12700" cap="flat" cmpd="sng" algn="ctr">
              <a:solidFill>
                <a:schemeClr val="tx1"/>
              </a:solidFill>
              <a:prstDash val="dash"/>
              <a:round/>
              <a:headEnd type="none" w="med" len="med"/>
              <a:tailEnd type="none" w="med" len="med"/>
            </a:ln>
            <a:effectLst/>
          </p:spPr>
        </p:cxnSp>
        <p:sp>
          <p:nvSpPr>
            <p:cNvPr id="139" name="Speech Bubble: Rectangle 138">
              <a:extLst>
                <a:ext uri="{FF2B5EF4-FFF2-40B4-BE49-F238E27FC236}">
                  <a16:creationId xmlns:a16="http://schemas.microsoft.com/office/drawing/2014/main" id="{75CC1791-0479-40C3-B805-4CB0F788187D}"/>
                </a:ext>
              </a:extLst>
            </p:cNvPr>
            <p:cNvSpPr/>
            <p:nvPr/>
          </p:nvSpPr>
          <p:spPr bwMode="auto">
            <a:xfrm>
              <a:off x="3632471" y="1851837"/>
              <a:ext cx="1375910" cy="941291"/>
            </a:xfrm>
            <a:prstGeom prst="wedgeRectCallout">
              <a:avLst>
                <a:gd name="adj1" fmla="val 75793"/>
                <a:gd name="adj2" fmla="val 38419"/>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dirty="0">
                  <a:ln>
                    <a:noFill/>
                  </a:ln>
                  <a:solidFill>
                    <a:schemeClr val="tx2"/>
                  </a:solidFill>
                  <a:effectLst/>
                  <a:latin typeface="Trebuchet MS" panose="020B0603020202020204" pitchFamily="34" charset="0"/>
                </a:rPr>
                <a:t>Increasing</a:t>
              </a:r>
              <a:r>
                <a:rPr kumimoji="0" lang="en-GB" sz="900" b="0" i="0" u="none" strike="noStrike" cap="none" normalizeH="0" baseline="0" dirty="0">
                  <a:ln>
                    <a:noFill/>
                  </a:ln>
                  <a:solidFill>
                    <a:schemeClr val="tx1"/>
                  </a:solidFill>
                  <a:effectLst/>
                  <a:latin typeface="Trebuchet MS" panose="020B0603020202020204" pitchFamily="34" charset="0"/>
                </a:rPr>
                <a:t> </a:t>
              </a:r>
              <a:r>
                <a:rPr kumimoji="0" lang="en-GB" sz="900" b="0" i="0" u="none" strike="noStrike" cap="none" normalizeH="0" baseline="0" dirty="0">
                  <a:ln>
                    <a:noFill/>
                  </a:ln>
                  <a:solidFill>
                    <a:schemeClr val="tx2"/>
                  </a:solidFill>
                  <a:effectLst/>
                  <a:latin typeface="Trebuchet MS" panose="020B0603020202020204" pitchFamily="34" charset="0"/>
                </a:rPr>
                <a:t>competition</a:t>
              </a:r>
              <a:r>
                <a:rPr kumimoji="0" lang="en-GB" sz="900" b="0" i="0" u="none" strike="noStrike" cap="none" normalizeH="0" baseline="0" dirty="0">
                  <a:ln>
                    <a:noFill/>
                  </a:ln>
                  <a:solidFill>
                    <a:schemeClr val="tx1"/>
                  </a:solidFill>
                  <a:effectLst/>
                  <a:latin typeface="Trebuchet MS" panose="020B0603020202020204" pitchFamily="34" charset="0"/>
                </a:rPr>
                <a:t> from premium with more added-value offerings that target the </a:t>
              </a:r>
              <a:r>
                <a:rPr kumimoji="0" lang="en-GB" sz="900" b="0" i="0" u="none" strike="noStrike" cap="none" normalizeH="0" baseline="0" dirty="0">
                  <a:ln>
                    <a:noFill/>
                  </a:ln>
                  <a:solidFill>
                    <a:schemeClr val="tx2"/>
                  </a:solidFill>
                  <a:effectLst/>
                  <a:latin typeface="Trebuchet MS" panose="020B0603020202020204" pitchFamily="34" charset="0"/>
                </a:rPr>
                <a:t>high-end</a:t>
              </a:r>
              <a:r>
                <a:rPr kumimoji="0" lang="en-GB" sz="900" b="0" i="0" u="none" strike="noStrike" cap="none" normalizeH="0" baseline="0" dirty="0">
                  <a:ln>
                    <a:noFill/>
                  </a:ln>
                  <a:solidFill>
                    <a:schemeClr val="tx1"/>
                  </a:solidFill>
                  <a:effectLst/>
                  <a:latin typeface="Trebuchet MS" panose="020B0603020202020204" pitchFamily="34" charset="0"/>
                </a:rPr>
                <a:t> of the </a:t>
              </a:r>
              <a:r>
                <a:rPr kumimoji="0" lang="en-GB" sz="900" b="0" i="0" u="none" strike="noStrike" cap="none" normalizeH="0" baseline="0" dirty="0">
                  <a:ln>
                    <a:noFill/>
                  </a:ln>
                  <a:solidFill>
                    <a:schemeClr val="tx2"/>
                  </a:solidFill>
                  <a:effectLst/>
                  <a:latin typeface="Trebuchet MS" panose="020B0603020202020204" pitchFamily="34" charset="0"/>
                </a:rPr>
                <a:t>mid</a:t>
              </a:r>
              <a:r>
                <a:rPr kumimoji="0" lang="en-GB" sz="900" b="0" i="0" u="none" strike="noStrike" cap="none" normalizeH="0" baseline="0" dirty="0">
                  <a:ln>
                    <a:noFill/>
                  </a:ln>
                  <a:solidFill>
                    <a:schemeClr val="tx1"/>
                  </a:solidFill>
                  <a:effectLst/>
                  <a:latin typeface="Trebuchet MS" panose="020B0603020202020204" pitchFamily="34" charset="0"/>
                </a:rPr>
                <a:t> </a:t>
              </a:r>
              <a:r>
                <a:rPr kumimoji="0" lang="en-GB" sz="900" b="0" i="0" u="none" strike="noStrike" cap="none" normalizeH="0" baseline="0" dirty="0">
                  <a:ln>
                    <a:noFill/>
                  </a:ln>
                  <a:solidFill>
                    <a:schemeClr val="tx2"/>
                  </a:solidFill>
                  <a:effectLst/>
                  <a:latin typeface="Trebuchet MS" panose="020B0603020202020204" pitchFamily="34" charset="0"/>
                </a:rPr>
                <a:t>market</a:t>
              </a:r>
            </a:p>
          </p:txBody>
        </p:sp>
        <p:grpSp>
          <p:nvGrpSpPr>
            <p:cNvPr id="15" name="Groupe 14">
              <a:extLst>
                <a:ext uri="{FF2B5EF4-FFF2-40B4-BE49-F238E27FC236}">
                  <a16:creationId xmlns:a16="http://schemas.microsoft.com/office/drawing/2014/main" id="{29E72DDB-C5F4-4963-80D7-464419EC08C5}"/>
                </a:ext>
              </a:extLst>
            </p:cNvPr>
            <p:cNvGrpSpPr/>
            <p:nvPr/>
          </p:nvGrpSpPr>
          <p:grpSpPr>
            <a:xfrm>
              <a:off x="2755700" y="4343224"/>
              <a:ext cx="1466696" cy="1034248"/>
              <a:chOff x="-2479802" y="3592947"/>
              <a:chExt cx="1845673" cy="804635"/>
            </a:xfrm>
          </p:grpSpPr>
          <p:sp>
            <p:nvSpPr>
              <p:cNvPr id="71" name="Forme libre : forme 70">
                <a:extLst>
                  <a:ext uri="{FF2B5EF4-FFF2-40B4-BE49-F238E27FC236}">
                    <a16:creationId xmlns:a16="http://schemas.microsoft.com/office/drawing/2014/main" id="{AF65E28F-923D-47F4-9CFA-35F436C51AC1}"/>
                  </a:ext>
                </a:extLst>
              </p:cNvPr>
              <p:cNvSpPr/>
              <p:nvPr/>
            </p:nvSpPr>
            <p:spPr bwMode="auto">
              <a:xfrm rot="5400000">
                <a:off x="-1959283" y="3072428"/>
                <a:ext cx="804635" cy="1845673"/>
              </a:xfrm>
              <a:custGeom>
                <a:avLst/>
                <a:gdLst>
                  <a:gd name="connsiteX0" fmla="*/ 0 w 804635"/>
                  <a:gd name="connsiteY0" fmla="*/ 1271438 h 1845673"/>
                  <a:gd name="connsiteX1" fmla="*/ 173073 w 804635"/>
                  <a:gd name="connsiteY1" fmla="*/ 1142760 h 1845673"/>
                  <a:gd name="connsiteX2" fmla="*/ 173073 w 804635"/>
                  <a:gd name="connsiteY2" fmla="*/ 158681 h 1845673"/>
                  <a:gd name="connsiteX3" fmla="*/ 278333 w 804635"/>
                  <a:gd name="connsiteY3" fmla="*/ 158681 h 1845673"/>
                  <a:gd name="connsiteX4" fmla="*/ 380510 w 804635"/>
                  <a:gd name="connsiteY4" fmla="*/ 158681 h 1845673"/>
                  <a:gd name="connsiteX5" fmla="*/ 491389 w 804635"/>
                  <a:gd name="connsiteY5" fmla="*/ 0 h 1845673"/>
                  <a:gd name="connsiteX6" fmla="*/ 602267 w 804635"/>
                  <a:gd name="connsiteY6" fmla="*/ 158681 h 1845673"/>
                  <a:gd name="connsiteX7" fmla="*/ 804635 w 804635"/>
                  <a:gd name="connsiteY7" fmla="*/ 158681 h 1845673"/>
                  <a:gd name="connsiteX8" fmla="*/ 804635 w 804635"/>
                  <a:gd name="connsiteY8" fmla="*/ 1142760 h 1845673"/>
                  <a:gd name="connsiteX9" fmla="*/ 804635 w 804635"/>
                  <a:gd name="connsiteY9" fmla="*/ 1564508 h 1845673"/>
                  <a:gd name="connsiteX10" fmla="*/ 804635 w 804635"/>
                  <a:gd name="connsiteY10" fmla="*/ 1845673 h 1845673"/>
                  <a:gd name="connsiteX11" fmla="*/ 436224 w 804635"/>
                  <a:gd name="connsiteY11" fmla="*/ 1845673 h 1845673"/>
                  <a:gd name="connsiteX12" fmla="*/ 278333 w 804635"/>
                  <a:gd name="connsiteY12" fmla="*/ 1845673 h 1845673"/>
                  <a:gd name="connsiteX13" fmla="*/ 173073 w 804635"/>
                  <a:gd name="connsiteY13" fmla="*/ 1845673 h 1845673"/>
                  <a:gd name="connsiteX14" fmla="*/ 173073 w 804635"/>
                  <a:gd name="connsiteY14" fmla="*/ 1564508 h 1845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4635" h="1845673">
                    <a:moveTo>
                      <a:pt x="0" y="1271438"/>
                    </a:moveTo>
                    <a:lnTo>
                      <a:pt x="173073" y="1142760"/>
                    </a:lnTo>
                    <a:lnTo>
                      <a:pt x="173073" y="158681"/>
                    </a:lnTo>
                    <a:lnTo>
                      <a:pt x="278333" y="158681"/>
                    </a:lnTo>
                    <a:lnTo>
                      <a:pt x="380510" y="158681"/>
                    </a:lnTo>
                    <a:lnTo>
                      <a:pt x="491389" y="0"/>
                    </a:lnTo>
                    <a:lnTo>
                      <a:pt x="602267" y="158681"/>
                    </a:lnTo>
                    <a:lnTo>
                      <a:pt x="804635" y="158681"/>
                    </a:lnTo>
                    <a:lnTo>
                      <a:pt x="804635" y="1142760"/>
                    </a:lnTo>
                    <a:lnTo>
                      <a:pt x="804635" y="1564508"/>
                    </a:lnTo>
                    <a:lnTo>
                      <a:pt x="804635" y="1845673"/>
                    </a:lnTo>
                    <a:lnTo>
                      <a:pt x="436224" y="1845673"/>
                    </a:lnTo>
                    <a:lnTo>
                      <a:pt x="278333" y="1845673"/>
                    </a:lnTo>
                    <a:lnTo>
                      <a:pt x="173073" y="1845673"/>
                    </a:lnTo>
                    <a:lnTo>
                      <a:pt x="173073" y="1564508"/>
                    </a:lnTo>
                    <a:close/>
                  </a:path>
                </a:pathLst>
              </a:cu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endParaRPr lang="en-GB" sz="900">
                  <a:solidFill>
                    <a:schemeClr val="tx2"/>
                  </a:solidFill>
                  <a:latin typeface="Trebuchet MS" panose="020B0603020202020204" pitchFamily="34" charset="0"/>
                </a:endParaRPr>
              </a:p>
            </p:txBody>
          </p:sp>
          <p:sp>
            <p:nvSpPr>
              <p:cNvPr id="64" name="ZoneTexte 63">
                <a:extLst>
                  <a:ext uri="{FF2B5EF4-FFF2-40B4-BE49-F238E27FC236}">
                    <a16:creationId xmlns:a16="http://schemas.microsoft.com/office/drawing/2014/main" id="{36C26947-885E-4CF2-9380-E2E5974FEEF4}"/>
                  </a:ext>
                </a:extLst>
              </p:cNvPr>
              <p:cNvSpPr txBox="1"/>
              <p:nvPr/>
            </p:nvSpPr>
            <p:spPr>
              <a:xfrm>
                <a:off x="-2397980" y="3771399"/>
                <a:ext cx="1579510" cy="610590"/>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dirty="0">
                    <a:ln>
                      <a:noFill/>
                    </a:ln>
                    <a:solidFill>
                      <a:srgbClr val="289B38"/>
                    </a:solidFill>
                    <a:effectLst/>
                    <a:uLnTx/>
                    <a:uFillTx/>
                    <a:latin typeface="Trebuchet MS" panose="020B0603020202020204" pitchFamily="34" charset="0"/>
                    <a:ea typeface="+mn-ea"/>
                    <a:cs typeface="Arial" pitchFamily="34" charset="0"/>
                  </a:rPr>
                  <a:t>Increasing</a:t>
                </a:r>
                <a:r>
                  <a:rPr kumimoji="0" lang="en-GB" sz="900" b="0" i="0" u="none" strike="noStrike" kern="1200" cap="none" spc="0" normalizeH="0" baseline="0" dirty="0">
                    <a:ln>
                      <a:noFill/>
                    </a:ln>
                    <a:solidFill>
                      <a:srgbClr val="6C6C6C"/>
                    </a:solidFill>
                    <a:effectLst/>
                    <a:uLnTx/>
                    <a:uFillTx/>
                    <a:latin typeface="Trebuchet MS" panose="020B0603020202020204" pitchFamily="34" charset="0"/>
                    <a:ea typeface="+mn-ea"/>
                    <a:cs typeface="Arial" pitchFamily="34" charset="0"/>
                  </a:rPr>
                  <a:t> </a:t>
                </a:r>
                <a:r>
                  <a:rPr kumimoji="0" lang="en-GB" sz="900" b="0" i="0" u="none" strike="noStrike" kern="1200" cap="none" spc="0" normalizeH="0" baseline="0" dirty="0">
                    <a:ln>
                      <a:noFill/>
                    </a:ln>
                    <a:solidFill>
                      <a:srgbClr val="289B38"/>
                    </a:solidFill>
                    <a:effectLst/>
                    <a:uLnTx/>
                    <a:uFillTx/>
                    <a:latin typeface="Trebuchet MS" panose="020B0603020202020204" pitchFamily="34" charset="0"/>
                    <a:ea typeface="+mn-ea"/>
                    <a:cs typeface="Arial" pitchFamily="34" charset="0"/>
                  </a:rPr>
                  <a:t>competition</a:t>
                </a:r>
                <a:r>
                  <a:rPr kumimoji="0" lang="en-GB" sz="900" b="0" i="0" u="none" strike="noStrike" kern="1200" cap="none" spc="0" normalizeH="0" baseline="0" dirty="0">
                    <a:ln>
                      <a:noFill/>
                    </a:ln>
                    <a:solidFill>
                      <a:srgbClr val="6C6C6C"/>
                    </a:solidFill>
                    <a:effectLst/>
                    <a:uLnTx/>
                    <a:uFillTx/>
                    <a:latin typeface="Trebuchet MS" panose="020B0603020202020204" pitchFamily="34" charset="0"/>
                    <a:ea typeface="+mn-ea"/>
                    <a:cs typeface="Arial" pitchFamily="34" charset="0"/>
                  </a:rPr>
                  <a:t> from smaller players with affordable offerings for the </a:t>
                </a:r>
                <a:r>
                  <a:rPr kumimoji="0" lang="en-GB" sz="900" b="0" i="0" u="none" strike="noStrike" kern="1200" cap="none" spc="0" normalizeH="0" baseline="0" dirty="0">
                    <a:ln>
                      <a:noFill/>
                    </a:ln>
                    <a:solidFill>
                      <a:srgbClr val="289B38"/>
                    </a:solidFill>
                    <a:effectLst/>
                    <a:uLnTx/>
                    <a:uFillTx/>
                    <a:latin typeface="Trebuchet MS" panose="020B0603020202020204" pitchFamily="34" charset="0"/>
                    <a:ea typeface="+mn-ea"/>
                    <a:cs typeface="Arial" pitchFamily="34" charset="0"/>
                  </a:rPr>
                  <a:t>mass</a:t>
                </a:r>
                <a:r>
                  <a:rPr kumimoji="0" lang="en-GB" sz="900" b="0" i="0" u="none" strike="noStrike" kern="1200" cap="none" spc="0" normalizeH="0" baseline="0" dirty="0">
                    <a:ln>
                      <a:noFill/>
                    </a:ln>
                    <a:solidFill>
                      <a:srgbClr val="6C6C6C"/>
                    </a:solidFill>
                    <a:effectLst/>
                    <a:uLnTx/>
                    <a:uFillTx/>
                    <a:latin typeface="Trebuchet MS" panose="020B0603020202020204" pitchFamily="34" charset="0"/>
                    <a:ea typeface="+mn-ea"/>
                    <a:cs typeface="Arial" pitchFamily="34" charset="0"/>
                  </a:rPr>
                  <a:t> </a:t>
                </a:r>
                <a:r>
                  <a:rPr kumimoji="0" lang="en-GB" sz="900" b="0" i="0" u="none" strike="noStrike" kern="1200" cap="none" spc="0" normalizeH="0" baseline="0" dirty="0">
                    <a:ln>
                      <a:noFill/>
                    </a:ln>
                    <a:solidFill>
                      <a:srgbClr val="289B38"/>
                    </a:solidFill>
                    <a:effectLst/>
                    <a:uLnTx/>
                    <a:uFillTx/>
                    <a:latin typeface="Trebuchet MS" panose="020B0603020202020204" pitchFamily="34" charset="0"/>
                    <a:ea typeface="+mn-ea"/>
                    <a:cs typeface="Arial" pitchFamily="34" charset="0"/>
                  </a:rPr>
                  <a:t>market</a:t>
                </a:r>
              </a:p>
            </p:txBody>
          </p:sp>
        </p:grpSp>
        <p:sp>
          <p:nvSpPr>
            <p:cNvPr id="84" name="ZoneTexte 88">
              <a:extLst>
                <a:ext uri="{FF2B5EF4-FFF2-40B4-BE49-F238E27FC236}">
                  <a16:creationId xmlns:a16="http://schemas.microsoft.com/office/drawing/2014/main" id="{67890DD4-AFCD-4274-867A-19E4B9E5F4C1}"/>
                </a:ext>
              </a:extLst>
            </p:cNvPr>
            <p:cNvSpPr txBox="1"/>
            <p:nvPr/>
          </p:nvSpPr>
          <p:spPr>
            <a:xfrm>
              <a:off x="4067802" y="6060528"/>
              <a:ext cx="2103638" cy="246221"/>
            </a:xfrm>
            <a:prstGeom prst="rect">
              <a:avLst/>
            </a:prstGeom>
            <a:noFill/>
          </p:spPr>
          <p:txBody>
            <a:bodyPr wrap="square" rtlCol="0">
              <a:spAutoFit/>
            </a:bodyPr>
            <a:lstStyle/>
            <a:p>
              <a:pPr algn="ctr"/>
              <a:r>
                <a:rPr lang="en-GB" sz="1000" b="1">
                  <a:latin typeface="Trebuchet MS" panose="020B0603020202020204" pitchFamily="34" charset="0"/>
                </a:rPr>
                <a:t>International players</a:t>
              </a:r>
            </a:p>
          </p:txBody>
        </p:sp>
        <p:pic>
          <p:nvPicPr>
            <p:cNvPr id="76" name="Picture 2" descr="Image result for verif.com">
              <a:extLst>
                <a:ext uri="{FF2B5EF4-FFF2-40B4-BE49-F238E27FC236}">
                  <a16:creationId xmlns:a16="http://schemas.microsoft.com/office/drawing/2014/main" id="{D59307F3-8B20-4D7E-865F-6D70C1783D46}"/>
                </a:ext>
              </a:extLst>
            </p:cNvPr>
            <p:cNvPicPr>
              <a:picLocks noChangeAspect="1" noChangeArrowheads="1"/>
            </p:cNvPicPr>
            <p:nvPr/>
          </p:nvPicPr>
          <p:blipFill rotWithShape="1">
            <a:blip r:embed="rId34">
              <a:clrChange>
                <a:clrFrom>
                  <a:srgbClr val="FFFFFF"/>
                </a:clrFrom>
                <a:clrTo>
                  <a:srgbClr val="FFFFFF">
                    <a:alpha val="0"/>
                  </a:srgbClr>
                </a:clrTo>
              </a:clrChange>
              <a:extLst>
                <a:ext uri="{28A0092B-C50C-407E-A947-70E740481C1C}">
                  <a14:useLocalDpi xmlns:a14="http://schemas.microsoft.com/office/drawing/2010/main" val="0"/>
                </a:ext>
              </a:extLst>
            </a:blip>
            <a:srcRect t="17796" b="43422"/>
            <a:stretch/>
          </p:blipFill>
          <p:spPr bwMode="auto">
            <a:xfrm>
              <a:off x="1432330" y="5452803"/>
              <a:ext cx="466406" cy="180884"/>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 descr="Fichiers d'Entreprises au Luxembourg – Solution de Prospection">
              <a:extLst>
                <a:ext uri="{FF2B5EF4-FFF2-40B4-BE49-F238E27FC236}">
                  <a16:creationId xmlns:a16="http://schemas.microsoft.com/office/drawing/2014/main" id="{DA4CD4F8-6C04-495B-ACBA-54DA4326E27E}"/>
                </a:ext>
              </a:extLst>
            </p:cNvPr>
            <p:cNvPicPr>
              <a:picLocks noChangeAspect="1" noChangeArrowheads="1"/>
            </p:cNvPicPr>
            <p:nvPr/>
          </p:nvPicPr>
          <p:blipFill>
            <a:blip r:embed="rId3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43697" y="5523207"/>
              <a:ext cx="543165" cy="153167"/>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122">
              <a:extLst>
                <a:ext uri="{FF2B5EF4-FFF2-40B4-BE49-F238E27FC236}">
                  <a16:creationId xmlns:a16="http://schemas.microsoft.com/office/drawing/2014/main" id="{A3783AC7-A037-4847-B835-DEA5D6758A85}"/>
                </a:ext>
              </a:extLst>
            </p:cNvPr>
            <p:cNvPicPr>
              <a:picLocks noChangeAspect="1"/>
            </p:cNvPicPr>
            <p:nvPr/>
          </p:nvPicPr>
          <p:blipFill>
            <a:blip r:embed="rId36">
              <a:clrChange>
                <a:clrFrom>
                  <a:srgbClr val="FDFDFD"/>
                </a:clrFrom>
                <a:clrTo>
                  <a:srgbClr val="FDFDFD">
                    <a:alpha val="0"/>
                  </a:srgbClr>
                </a:clrTo>
              </a:clrChange>
            </a:blip>
            <a:stretch>
              <a:fillRect/>
            </a:stretch>
          </p:blipFill>
          <p:spPr>
            <a:xfrm>
              <a:off x="2082838" y="5719663"/>
              <a:ext cx="464883" cy="130434"/>
            </a:xfrm>
            <a:prstGeom prst="rect">
              <a:avLst/>
            </a:prstGeom>
          </p:spPr>
        </p:pic>
        <p:pic>
          <p:nvPicPr>
            <p:cNvPr id="77" name="Picture 2" descr="Afficher l'image d'origine">
              <a:extLst>
                <a:ext uri="{FF2B5EF4-FFF2-40B4-BE49-F238E27FC236}">
                  <a16:creationId xmlns:a16="http://schemas.microsoft.com/office/drawing/2014/main" id="{62663149-BA8C-4211-BF99-B995F47ED3EC}"/>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1402925" y="5729802"/>
              <a:ext cx="452382" cy="154922"/>
            </a:xfrm>
            <a:prstGeom prst="rect">
              <a:avLst/>
            </a:prstGeom>
            <a:noFill/>
            <a:extLst>
              <a:ext uri="{909E8E84-426E-40DD-AFC4-6F175D3DCCD1}">
                <a14:hiddenFill xmlns:a14="http://schemas.microsoft.com/office/drawing/2010/main">
                  <a:solidFill>
                    <a:srgbClr val="FFFFFF"/>
                  </a:solidFill>
                </a14:hiddenFill>
              </a:ext>
            </a:extLst>
          </p:spPr>
        </p:pic>
        <p:sp>
          <p:nvSpPr>
            <p:cNvPr id="70" name="Rectangle 69">
              <a:extLst>
                <a:ext uri="{FF2B5EF4-FFF2-40B4-BE49-F238E27FC236}">
                  <a16:creationId xmlns:a16="http://schemas.microsoft.com/office/drawing/2014/main" id="{CA5CD320-21C2-49AF-A0EE-FA684D495C2F}"/>
                </a:ext>
              </a:extLst>
            </p:cNvPr>
            <p:cNvSpPr/>
            <p:nvPr/>
          </p:nvSpPr>
          <p:spPr bwMode="auto">
            <a:xfrm>
              <a:off x="5971427" y="6124686"/>
              <a:ext cx="961723" cy="29118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700" b="0" i="1" u="none" strike="noStrike" cap="none" normalizeH="0" baseline="0">
                  <a:ln>
                    <a:noFill/>
                  </a:ln>
                  <a:effectLst/>
                  <a:latin typeface="Trebuchet MS" pitchFamily="34" charset="0"/>
                </a:rPr>
                <a:t>Data comprehensiveness</a:t>
              </a:r>
            </a:p>
          </p:txBody>
        </p:sp>
      </p:grpSp>
      <p:sp>
        <p:nvSpPr>
          <p:cNvPr id="72" name="ZoneTexte 18">
            <a:extLst>
              <a:ext uri="{FF2B5EF4-FFF2-40B4-BE49-F238E27FC236}">
                <a16:creationId xmlns:a16="http://schemas.microsoft.com/office/drawing/2014/main" id="{4B75DDA7-E54C-49BD-802D-232FA1BF75C8}"/>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etitive landscape</a:t>
            </a:r>
          </a:p>
        </p:txBody>
      </p:sp>
      <p:sp>
        <p:nvSpPr>
          <p:cNvPr id="73" name="Speech Bubble: Rectangle 126">
            <a:extLst>
              <a:ext uri="{FF2B5EF4-FFF2-40B4-BE49-F238E27FC236}">
                <a16:creationId xmlns:a16="http://schemas.microsoft.com/office/drawing/2014/main" id="{56C81D2A-FAF9-4FBF-8AB4-870F849663A9}"/>
              </a:ext>
            </a:extLst>
          </p:cNvPr>
          <p:cNvSpPr/>
          <p:nvPr/>
        </p:nvSpPr>
        <p:spPr bwMode="auto">
          <a:xfrm>
            <a:off x="207601" y="5627522"/>
            <a:ext cx="959025" cy="742641"/>
          </a:xfrm>
          <a:prstGeom prst="wedgeRectCallout">
            <a:avLst>
              <a:gd name="adj1" fmla="val 1900"/>
              <a:gd name="adj2" fmla="val -71723"/>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900">
                <a:latin typeface="Trebuchet MS" panose="020B0603020202020204" pitchFamily="34" charset="0"/>
              </a:rPr>
              <a:t>Client segment increasingly targeted by local and small players</a:t>
            </a:r>
          </a:p>
        </p:txBody>
      </p:sp>
      <p:grpSp>
        <p:nvGrpSpPr>
          <p:cNvPr id="74" name="Groupe 21">
            <a:extLst>
              <a:ext uri="{FF2B5EF4-FFF2-40B4-BE49-F238E27FC236}">
                <a16:creationId xmlns:a16="http://schemas.microsoft.com/office/drawing/2014/main" id="{36A983D7-50A6-44D8-BA96-0253AD284E3C}"/>
              </a:ext>
            </a:extLst>
          </p:cNvPr>
          <p:cNvGrpSpPr/>
          <p:nvPr/>
        </p:nvGrpSpPr>
        <p:grpSpPr>
          <a:xfrm>
            <a:off x="9389331" y="1091030"/>
            <a:ext cx="451426" cy="455941"/>
            <a:chOff x="195390" y="5861727"/>
            <a:chExt cx="335805" cy="335805"/>
          </a:xfrm>
        </p:grpSpPr>
        <p:sp>
          <p:nvSpPr>
            <p:cNvPr id="75" name="Ellipse 22">
              <a:extLst>
                <a:ext uri="{FF2B5EF4-FFF2-40B4-BE49-F238E27FC236}">
                  <a16:creationId xmlns:a16="http://schemas.microsoft.com/office/drawing/2014/main" id="{3E7AC06B-133A-45F3-9312-8D53624D5C3B}"/>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78" name="Group 5">
              <a:extLst>
                <a:ext uri="{FF2B5EF4-FFF2-40B4-BE49-F238E27FC236}">
                  <a16:creationId xmlns:a16="http://schemas.microsoft.com/office/drawing/2014/main" id="{BC6A03F7-7DE9-4571-B4EA-E290C8E834BC}"/>
                </a:ext>
              </a:extLst>
            </p:cNvPr>
            <p:cNvGrpSpPr>
              <a:grpSpLocks noChangeAspect="1"/>
            </p:cNvGrpSpPr>
            <p:nvPr/>
          </p:nvGrpSpPr>
          <p:grpSpPr bwMode="auto">
            <a:xfrm>
              <a:off x="249663" y="5915997"/>
              <a:ext cx="227258" cy="227255"/>
              <a:chOff x="788" y="800"/>
              <a:chExt cx="742" cy="742"/>
            </a:xfrm>
            <a:solidFill>
              <a:schemeClr val="tx2"/>
            </a:solidFill>
          </p:grpSpPr>
          <p:sp>
            <p:nvSpPr>
              <p:cNvPr id="80" name="Freeform 6">
                <a:extLst>
                  <a:ext uri="{FF2B5EF4-FFF2-40B4-BE49-F238E27FC236}">
                    <a16:creationId xmlns:a16="http://schemas.microsoft.com/office/drawing/2014/main" id="{C2EA28F5-C577-4208-BA8C-2F137124919D}"/>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2" name="Freeform 7">
                <a:extLst>
                  <a:ext uri="{FF2B5EF4-FFF2-40B4-BE49-F238E27FC236}">
                    <a16:creationId xmlns:a16="http://schemas.microsoft.com/office/drawing/2014/main" id="{AD6F7B96-8037-4B72-BF9B-2BB6C5A1A085}"/>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6" name="Freeform 8">
                <a:extLst>
                  <a:ext uri="{FF2B5EF4-FFF2-40B4-BE49-F238E27FC236}">
                    <a16:creationId xmlns:a16="http://schemas.microsoft.com/office/drawing/2014/main" id="{B4CB1852-FE6C-49F4-A26D-E81159C615E3}"/>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7" name="Freeform 9">
                <a:extLst>
                  <a:ext uri="{FF2B5EF4-FFF2-40B4-BE49-F238E27FC236}">
                    <a16:creationId xmlns:a16="http://schemas.microsoft.com/office/drawing/2014/main" id="{6EF77D4E-9CF2-4EE2-AB59-8CB85E1AEBF5}"/>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8" name="Freeform 10">
                <a:extLst>
                  <a:ext uri="{FF2B5EF4-FFF2-40B4-BE49-F238E27FC236}">
                    <a16:creationId xmlns:a16="http://schemas.microsoft.com/office/drawing/2014/main" id="{9F5EAA01-9345-4679-93EF-2A32D8794669}"/>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0" name="Freeform 11">
                <a:extLst>
                  <a:ext uri="{FF2B5EF4-FFF2-40B4-BE49-F238E27FC236}">
                    <a16:creationId xmlns:a16="http://schemas.microsoft.com/office/drawing/2014/main" id="{F8C7A454-446B-4977-9418-D6EF025F0B18}"/>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1" name="Freeform 12">
                <a:extLst>
                  <a:ext uri="{FF2B5EF4-FFF2-40B4-BE49-F238E27FC236}">
                    <a16:creationId xmlns:a16="http://schemas.microsoft.com/office/drawing/2014/main" id="{9A987A40-5C99-48A1-A4A5-D8A51501C0D6}"/>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spTree>
    <p:extLst>
      <p:ext uri="{BB962C8B-B14F-4D97-AF65-F5344CB8AC3E}">
        <p14:creationId xmlns:p14="http://schemas.microsoft.com/office/powerpoint/2010/main" val="3989485105"/>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4E8BB55-4454-4FE4-A0CA-08C2677BB30A}"/>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15C80389-6548-4E62-B1DE-3FED01EC77DC}"/>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5" name="Chevron">
            <a:extLst>
              <a:ext uri="{FF2B5EF4-FFF2-40B4-BE49-F238E27FC236}">
                <a16:creationId xmlns:a16="http://schemas.microsoft.com/office/drawing/2014/main" id="{E411076D-BD7D-4F3C-BA4F-785FA7DEB8E0}"/>
              </a:ext>
            </a:extLst>
          </p:cNvPr>
          <p:cNvSpPr/>
          <p:nvPr/>
        </p:nvSpPr>
        <p:spPr bwMode="auto">
          <a:xfrm>
            <a:off x="1418399" y="2181600"/>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 name="Section">
            <a:extLst>
              <a:ext uri="{FF2B5EF4-FFF2-40B4-BE49-F238E27FC236}">
                <a16:creationId xmlns:a16="http://schemas.microsoft.com/office/drawing/2014/main" id="{326B4D12-3A06-4913-AA9A-9843CDCAF5C5}"/>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2</a:t>
            </a:r>
          </a:p>
        </p:txBody>
      </p:sp>
      <p:sp>
        <p:nvSpPr>
          <p:cNvPr id="7" name="ZoneTexte 6">
            <a:extLst>
              <a:ext uri="{FF2B5EF4-FFF2-40B4-BE49-F238E27FC236}">
                <a16:creationId xmlns:a16="http://schemas.microsoft.com/office/drawing/2014/main" id="{ADACB22F-FE35-42D2-A230-417D29672BEF}"/>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marR="0" indent="-228600" defTabSz="914400" rtl="0" eaLnBrk="1" fontAlgn="base" latinLnBrk="0" hangingPunct="1">
              <a:lnSpc>
                <a:spcPct val="100000"/>
              </a:lnSpc>
              <a:spcBef>
                <a:spcPct val="0"/>
              </a:spcBef>
              <a:spcAft>
                <a:spcPct val="0"/>
              </a:spcAft>
              <a:buClrTx/>
              <a:buSzTx/>
              <a:buFont typeface="+mj-lt"/>
              <a:buAutoNum type="arabicPeriod"/>
              <a:tabLst/>
            </a:pPr>
            <a:r>
              <a:rPr kumimoji="0" lang="en-GB" sz="1200" b="0" u="none" strike="noStrike" cap="none" normalizeH="0" baseline="0">
                <a:ln>
                  <a:noFill/>
                </a:ln>
                <a:effectLst/>
                <a:latin typeface="Trebuchet MS" pitchFamily="34" charset="0"/>
              </a:rPr>
              <a:t>Overview of the BD&amp;A market addressed by </a:t>
            </a:r>
            <a:r>
              <a:rPr kumimoji="0" lang="en-GB" sz="1200" b="0" u="none" strike="noStrike" cap="none" normalizeH="0" baseline="0" err="1">
                <a:ln>
                  <a:noFill/>
                </a:ln>
                <a:effectLst/>
                <a:latin typeface="Trebuchet MS" pitchFamily="34" charset="0"/>
              </a:rPr>
              <a:t>Altares</a:t>
            </a:r>
            <a:endParaRPr kumimoji="0" lang="en-GB" sz="1200" b="0" u="none" strike="noStrike" cap="none" normalizeH="0" baseline="0">
              <a:ln>
                <a:noFill/>
              </a:ln>
              <a:effectLst/>
              <a:latin typeface="Trebuchet MS" pitchFamily="34" charset="0"/>
            </a:endParaRPr>
          </a:p>
          <a:p>
            <a:pPr marL="742950" lvl="1" indent="-285750">
              <a:buFont typeface="+mj-lt"/>
              <a:buAutoNum type="romanLcPeriod"/>
            </a:pPr>
            <a:r>
              <a:rPr kumimoji="0" lang="en-GB" sz="1200" b="0" u="none" strike="noStrike" cap="none" normalizeH="0" baseline="0">
                <a:ln>
                  <a:noFill/>
                </a:ln>
                <a:effectLst/>
                <a:latin typeface="Trebuchet MS" pitchFamily="34" charset="0"/>
              </a:rPr>
              <a:t>Key customers’ use cases related to BD&amp;A</a:t>
            </a:r>
          </a:p>
          <a:p>
            <a:pPr marL="742950" lvl="1" indent="-285750">
              <a:buFont typeface="+mj-lt"/>
              <a:buAutoNum type="romanLcPeriod"/>
            </a:pPr>
            <a:r>
              <a:rPr kumimoji="0" lang="en-GB" sz="1200" b="0" u="none" strike="noStrike" cap="none" normalizeH="0" baseline="0">
                <a:ln>
                  <a:noFill/>
                </a:ln>
                <a:effectLst/>
                <a:latin typeface="Trebuchet MS" pitchFamily="34" charset="0"/>
              </a:rPr>
              <a:t>Global market structure and </a:t>
            </a:r>
            <a:r>
              <a:rPr kumimoji="0" lang="en-GB" sz="1200" b="0" u="none" strike="noStrike" cap="none" normalizeH="0" baseline="0" err="1">
                <a:ln>
                  <a:noFill/>
                </a:ln>
                <a:effectLst/>
                <a:latin typeface="Trebuchet MS" pitchFamily="34" charset="0"/>
              </a:rPr>
              <a:t>Altares</a:t>
            </a:r>
            <a:r>
              <a:rPr kumimoji="0" lang="en-GB" sz="1200" b="0" u="none" strike="noStrike" cap="none" normalizeH="0" baseline="0">
                <a:ln>
                  <a:noFill/>
                </a:ln>
                <a:effectLst/>
                <a:latin typeface="Trebuchet MS" pitchFamily="34" charset="0"/>
              </a:rPr>
              <a:t> positioning</a:t>
            </a:r>
          </a:p>
          <a:p>
            <a:pPr marL="228600" indent="-228600">
              <a:buFont typeface="+mj-lt"/>
              <a:buAutoNum type="arabicPeriod"/>
            </a:pPr>
            <a:endParaRPr lang="en-GB" sz="1200">
              <a:latin typeface="Trebuchet MS" panose="020B0603020202020204" pitchFamily="34" charset="0"/>
            </a:endParaRPr>
          </a:p>
          <a:p>
            <a:pPr marL="228600" indent="-228600">
              <a:buFont typeface="+mj-lt"/>
              <a:buAutoNum type="arabicPeriod"/>
            </a:pPr>
            <a:r>
              <a:rPr lang="en-GB" sz="1200">
                <a:solidFill>
                  <a:schemeClr val="tx2"/>
                </a:solidFill>
                <a:latin typeface="Trebuchet MS" panose="020B0603020202020204" pitchFamily="34" charset="0"/>
              </a:rPr>
              <a:t>Credit &amp; financial risk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Compliance market</a:t>
            </a:r>
          </a:p>
          <a:p>
            <a:pPr marL="742950" lvl="1" indent="-285750">
              <a:buFont typeface="+mj-lt"/>
              <a:buAutoNum type="romanLcPeriod"/>
            </a:pPr>
            <a:r>
              <a:rPr lang="en-GB" sz="1200">
                <a:latin typeface="Trebuchet MS" pitchFamily="34" charset="0"/>
              </a:rPr>
              <a:t>Market scope &amp; overview</a:t>
            </a:r>
          </a:p>
          <a:p>
            <a:pPr marL="742950" lvl="1" indent="-285750">
              <a:buFont typeface="+mj-lt"/>
              <a:buAutoNum type="romanLcPeriod"/>
            </a:pPr>
            <a:r>
              <a:rPr lang="en-GB" sz="1200">
                <a:latin typeface="Trebuchet MS" pitchFamily="34" charset="0"/>
              </a:rPr>
              <a:t>Regulatory context &amp; key drivers</a:t>
            </a:r>
          </a:p>
          <a:p>
            <a:pPr marL="742950" marR="0" lvl="1" indent="-285750" defTabSz="914400" eaLnBrk="1" latinLnBrk="0" hangingPunct="1">
              <a:lnSpc>
                <a:spcPct val="100000"/>
              </a:lnSpc>
              <a:buClrTx/>
              <a:buSzTx/>
              <a:buFont typeface="+mj-lt"/>
              <a:buAutoNum type="romanLcPeriod"/>
              <a:tabLst/>
            </a:pPr>
            <a:r>
              <a:rPr lang="en-GB" sz="1200">
                <a:latin typeface="Trebuchet MS" pitchFamily="34" charset="0"/>
              </a:rPr>
              <a:t>Altares’ compliance ecosystem</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B2B Marketing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BD&amp;A market overview in Maghreb</a:t>
            </a:r>
          </a:p>
        </p:txBody>
      </p:sp>
      <p:sp>
        <p:nvSpPr>
          <p:cNvPr id="4" name="Isosceles Triangle">
            <a:extLst>
              <a:ext uri="{FF2B5EF4-FFF2-40B4-BE49-F238E27FC236}">
                <a16:creationId xmlns:a16="http://schemas.microsoft.com/office/drawing/2014/main" id="{A3B3512B-4EA3-4AF9-881E-D144BCEC9388}"/>
              </a:ext>
            </a:extLst>
          </p:cNvPr>
          <p:cNvSpPr/>
          <p:nvPr/>
        </p:nvSpPr>
        <p:spPr bwMode="auto">
          <a:xfrm rot="5400000">
            <a:off x="5731200" y="2282400"/>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 name="Arrow: Pentagon">
            <a:extLst>
              <a:ext uri="{FF2B5EF4-FFF2-40B4-BE49-F238E27FC236}">
                <a16:creationId xmlns:a16="http://schemas.microsoft.com/office/drawing/2014/main" id="{FB9B7061-DA07-44B6-9114-8326AAE2B922}"/>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20" name="Oval">
            <a:extLst>
              <a:ext uri="{FF2B5EF4-FFF2-40B4-BE49-F238E27FC236}">
                <a16:creationId xmlns:a16="http://schemas.microsoft.com/office/drawing/2014/main" id="{AF8FBC9D-EE47-4351-B03E-E55E2B15CB9B}"/>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21" name="Arrow: Pentagon">
            <a:extLst>
              <a:ext uri="{FF2B5EF4-FFF2-40B4-BE49-F238E27FC236}">
                <a16:creationId xmlns:a16="http://schemas.microsoft.com/office/drawing/2014/main" id="{7AC2368B-0D12-4397-A029-D9F291EB2F27}"/>
              </a:ext>
            </a:extLst>
          </p:cNvPr>
          <p:cNvSpPr/>
          <p:nvPr/>
        </p:nvSpPr>
        <p:spPr bwMode="auto">
          <a:xfrm>
            <a:off x="1641599" y="2181600"/>
            <a:ext cx="4319994"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FFFFFF"/>
                </a:solidFill>
                <a:effectLst/>
                <a:latin typeface="Trebuchet MS" panose="020B0603020202020204" pitchFamily="34" charset="0"/>
              </a:rPr>
              <a:t>BD&amp;A Market &amp; Competition</a:t>
            </a:r>
          </a:p>
        </p:txBody>
      </p:sp>
      <p:sp>
        <p:nvSpPr>
          <p:cNvPr id="23" name="Oval">
            <a:extLst>
              <a:ext uri="{FF2B5EF4-FFF2-40B4-BE49-F238E27FC236}">
                <a16:creationId xmlns:a16="http://schemas.microsoft.com/office/drawing/2014/main" id="{99E14A50-F41A-4821-8E58-CA9242EAB091}"/>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25" name="Arrow: Pentagon">
            <a:extLst>
              <a:ext uri="{FF2B5EF4-FFF2-40B4-BE49-F238E27FC236}">
                <a16:creationId xmlns:a16="http://schemas.microsoft.com/office/drawing/2014/main" id="{7259D4C0-D3D7-4C1C-ADAD-A31C3C36F228}"/>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27" name="Arrow: Pentagon">
            <a:extLst>
              <a:ext uri="{FF2B5EF4-FFF2-40B4-BE49-F238E27FC236}">
                <a16:creationId xmlns:a16="http://schemas.microsoft.com/office/drawing/2014/main" id="{6E22A566-B723-40A0-A3E1-2A8B5BF1713C}"/>
              </a:ext>
            </a:extLst>
          </p:cNvPr>
          <p:cNvSpPr/>
          <p:nvPr/>
        </p:nvSpPr>
        <p:spPr bwMode="auto">
          <a:xfrm>
            <a:off x="1641599" y="2685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29" name="Oval">
            <a:extLst>
              <a:ext uri="{FF2B5EF4-FFF2-40B4-BE49-F238E27FC236}">
                <a16:creationId xmlns:a16="http://schemas.microsoft.com/office/drawing/2014/main" id="{16E09F41-A17F-477F-B7AA-C1E8BFE9A111}"/>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31" name="Arrow: Pentagon">
            <a:extLst>
              <a:ext uri="{FF2B5EF4-FFF2-40B4-BE49-F238E27FC236}">
                <a16:creationId xmlns:a16="http://schemas.microsoft.com/office/drawing/2014/main" id="{8FFC4169-75DD-46AE-8211-1E36F8F762AC}"/>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33" name="Oval">
            <a:extLst>
              <a:ext uri="{FF2B5EF4-FFF2-40B4-BE49-F238E27FC236}">
                <a16:creationId xmlns:a16="http://schemas.microsoft.com/office/drawing/2014/main" id="{05F24510-43D8-4F4D-A0AD-A8B161F06054}"/>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35" name="Oval">
            <a:extLst>
              <a:ext uri="{FF2B5EF4-FFF2-40B4-BE49-F238E27FC236}">
                <a16:creationId xmlns:a16="http://schemas.microsoft.com/office/drawing/2014/main" id="{EECF42E2-9ED4-493C-90CA-C86069A34310}"/>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3001211257"/>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name="MasterAgenda">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EEAE506D-1019-4D1C-8CF6-AB7FBF5CA008}"/>
              </a:ext>
            </a:extLst>
          </p:cNvPr>
          <p:cNvSpPr>
            <a:spLocks noGrp="1"/>
          </p:cNvSpPr>
          <p:nvPr>
            <p:ph type="body" sz="quarter" idx="10"/>
          </p:nvPr>
        </p:nvSpPr>
        <p:spPr/>
        <p:txBody>
          <a:bodyPr/>
          <a:lstStyle/>
          <a:p>
            <a:endParaRPr lang="en-GB"/>
          </a:p>
        </p:txBody>
      </p:sp>
      <p:sp>
        <p:nvSpPr>
          <p:cNvPr id="3" name="Agenda">
            <a:extLst>
              <a:ext uri="{FF2B5EF4-FFF2-40B4-BE49-F238E27FC236}">
                <a16:creationId xmlns:a16="http://schemas.microsoft.com/office/drawing/2014/main" id="{810D02CC-3A93-4B28-991C-9D14246227BA}"/>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Flèche Partie 1">
            <a:extLst>
              <a:ext uri="{FF2B5EF4-FFF2-40B4-BE49-F238E27FC236}">
                <a16:creationId xmlns:a16="http://schemas.microsoft.com/office/drawing/2014/main" id="{0A3AC7F7-3D13-4334-AF8D-0FBA488E7047}"/>
              </a:ext>
            </a:extLst>
          </p:cNvPr>
          <p:cNvSpPr/>
          <p:nvPr/>
        </p:nvSpPr>
        <p:spPr bwMode="auto">
          <a:xfrm>
            <a:off x="1641599" y="1676922"/>
            <a:ext cx="7459200" cy="431999"/>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Executive summary</a:t>
            </a:r>
          </a:p>
        </p:txBody>
      </p:sp>
      <p:sp>
        <p:nvSpPr>
          <p:cNvPr id="5" name="Oval Partie">
            <a:extLst>
              <a:ext uri="{FF2B5EF4-FFF2-40B4-BE49-F238E27FC236}">
                <a16:creationId xmlns:a16="http://schemas.microsoft.com/office/drawing/2014/main" id="{2F4B4436-E007-44A0-8844-B891A5B65EFB}"/>
              </a:ext>
            </a:extLst>
          </p:cNvPr>
          <p:cNvSpPr/>
          <p:nvPr/>
        </p:nvSpPr>
        <p:spPr bwMode="auto">
          <a:xfrm>
            <a:off x="1717200" y="174892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b="1" i="0" u="none" strike="noStrike" cap="none" normalizeH="0" baseline="0">
                <a:ln>
                  <a:noFill/>
                </a:ln>
                <a:solidFill>
                  <a:srgbClr val="289B38"/>
                </a:solidFill>
                <a:effectLst/>
                <a:latin typeface="Trebuchet MS" panose="020B0603020202020204" pitchFamily="34" charset="0"/>
              </a:rPr>
              <a:t>1</a:t>
            </a:r>
          </a:p>
        </p:txBody>
      </p:sp>
      <p:sp>
        <p:nvSpPr>
          <p:cNvPr id="6" name="Numero slide Partie">
            <a:extLst>
              <a:ext uri="{FF2B5EF4-FFF2-40B4-BE49-F238E27FC236}">
                <a16:creationId xmlns:a16="http://schemas.microsoft.com/office/drawing/2014/main" id="{7D50EBA0-691C-496F-AE3E-2652B4197129}"/>
              </a:ext>
            </a:extLst>
          </p:cNvPr>
          <p:cNvSpPr/>
          <p:nvPr/>
        </p:nvSpPr>
        <p:spPr bwMode="auto">
          <a:xfrm>
            <a:off x="8074800" y="1748921"/>
            <a:ext cx="853200" cy="288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0" i="1" strike="noStrike" cap="none" normalizeH="0" baseline="0">
                <a:ln>
                  <a:noFill/>
                </a:ln>
                <a:solidFill>
                  <a:srgbClr val="007AA9"/>
                </a:solidFill>
                <a:effectLst/>
                <a:latin typeface="Trebuchet MS" panose="020B0603020202020204" pitchFamily="34" charset="0"/>
                <a:hlinkClick r:id="rId2" action="ppaction://hlinksldjump"/>
              </a:rPr>
              <a:t>Page 4</a:t>
            </a:r>
            <a:endParaRPr kumimoji="0" lang="en-GB" sz="1200" b="0" i="1" strike="noStrike" cap="none" normalizeH="0" baseline="0">
              <a:ln>
                <a:noFill/>
              </a:ln>
              <a:solidFill>
                <a:srgbClr val="007AA9"/>
              </a:solidFill>
              <a:effectLst/>
              <a:latin typeface="Trebuchet MS" panose="020B0603020202020204" pitchFamily="34" charset="0"/>
            </a:endParaRPr>
          </a:p>
        </p:txBody>
      </p:sp>
      <p:sp>
        <p:nvSpPr>
          <p:cNvPr id="7" name="Flèche Partie 2">
            <a:extLst>
              <a:ext uri="{FF2B5EF4-FFF2-40B4-BE49-F238E27FC236}">
                <a16:creationId xmlns:a16="http://schemas.microsoft.com/office/drawing/2014/main" id="{55B16CA3-068A-40CF-99A7-044D280FB380}"/>
              </a:ext>
            </a:extLst>
          </p:cNvPr>
          <p:cNvSpPr/>
          <p:nvPr/>
        </p:nvSpPr>
        <p:spPr bwMode="auto">
          <a:xfrm>
            <a:off x="1641599" y="2180922"/>
            <a:ext cx="7459200" cy="431999"/>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BD&amp;A Market &amp; competition</a:t>
            </a:r>
          </a:p>
        </p:txBody>
      </p:sp>
      <p:sp>
        <p:nvSpPr>
          <p:cNvPr id="8" name="Oval Partie">
            <a:extLst>
              <a:ext uri="{FF2B5EF4-FFF2-40B4-BE49-F238E27FC236}">
                <a16:creationId xmlns:a16="http://schemas.microsoft.com/office/drawing/2014/main" id="{6E5EBF9C-940E-4930-BCAA-A3EA6AC6D4A6}"/>
              </a:ext>
            </a:extLst>
          </p:cNvPr>
          <p:cNvSpPr/>
          <p:nvPr/>
        </p:nvSpPr>
        <p:spPr bwMode="auto">
          <a:xfrm>
            <a:off x="1717200" y="225292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b="1" i="0" u="none" strike="noStrike" cap="none" normalizeH="0" baseline="0">
                <a:ln>
                  <a:noFill/>
                </a:ln>
                <a:solidFill>
                  <a:srgbClr val="289B38"/>
                </a:solidFill>
                <a:effectLst/>
                <a:latin typeface="Trebuchet MS" panose="020B0603020202020204" pitchFamily="34" charset="0"/>
              </a:rPr>
              <a:t>2</a:t>
            </a:r>
          </a:p>
        </p:txBody>
      </p:sp>
      <p:sp>
        <p:nvSpPr>
          <p:cNvPr id="9" name="Numero slide Partie">
            <a:extLst>
              <a:ext uri="{FF2B5EF4-FFF2-40B4-BE49-F238E27FC236}">
                <a16:creationId xmlns:a16="http://schemas.microsoft.com/office/drawing/2014/main" id="{974F0DD0-8568-45DE-B44A-E627872120EC}"/>
              </a:ext>
            </a:extLst>
          </p:cNvPr>
          <p:cNvSpPr/>
          <p:nvPr/>
        </p:nvSpPr>
        <p:spPr bwMode="auto">
          <a:xfrm>
            <a:off x="8074800" y="2252921"/>
            <a:ext cx="853200" cy="288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0" i="1" strike="noStrike" cap="none" normalizeH="0" baseline="0">
                <a:ln>
                  <a:noFill/>
                </a:ln>
                <a:solidFill>
                  <a:srgbClr val="007AA9"/>
                </a:solidFill>
                <a:effectLst/>
                <a:latin typeface="Trebuchet MS" panose="020B0603020202020204" pitchFamily="34" charset="0"/>
                <a:hlinkClick r:id="rId3" action="ppaction://hlinksldjump"/>
              </a:rPr>
              <a:t>Page 17</a:t>
            </a:r>
            <a:endParaRPr kumimoji="0" lang="en-GB" sz="1200" b="0" i="1" strike="noStrike" cap="none" normalizeH="0" baseline="0">
              <a:ln>
                <a:noFill/>
              </a:ln>
              <a:solidFill>
                <a:srgbClr val="007AA9"/>
              </a:solidFill>
              <a:effectLst/>
              <a:latin typeface="Trebuchet MS" panose="020B0603020202020204" pitchFamily="34" charset="0"/>
            </a:endParaRPr>
          </a:p>
        </p:txBody>
      </p:sp>
      <p:sp>
        <p:nvSpPr>
          <p:cNvPr id="10" name="Flèche Partie 3">
            <a:extLst>
              <a:ext uri="{FF2B5EF4-FFF2-40B4-BE49-F238E27FC236}">
                <a16:creationId xmlns:a16="http://schemas.microsoft.com/office/drawing/2014/main" id="{79588C85-33C6-469D-80EA-ADD122A79C02}"/>
              </a:ext>
            </a:extLst>
          </p:cNvPr>
          <p:cNvSpPr/>
          <p:nvPr/>
        </p:nvSpPr>
        <p:spPr bwMode="auto">
          <a:xfrm>
            <a:off x="1641599" y="2684921"/>
            <a:ext cx="7459200" cy="431999"/>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lang="en-GB" sz="1200" b="1" err="1">
                <a:solidFill>
                  <a:srgbClr val="289B38"/>
                </a:solidFill>
                <a:latin typeface="Trebuchet MS" panose="020B0603020202020204" pitchFamily="34" charset="0"/>
              </a:rPr>
              <a:t>Altares</a:t>
            </a:r>
            <a:r>
              <a:rPr lang="en-GB" sz="1200" b="1">
                <a:solidFill>
                  <a:srgbClr val="289B38"/>
                </a:solidFill>
                <a:latin typeface="Trebuchet MS" panose="020B0603020202020204" pitchFamily="34" charset="0"/>
              </a:rPr>
              <a:t>’</a:t>
            </a:r>
            <a:r>
              <a:rPr kumimoji="0" lang="en-GB" sz="1200" b="1" i="0" u="none" strike="noStrike" cap="none" normalizeH="0" baseline="0">
                <a:ln>
                  <a:noFill/>
                </a:ln>
                <a:solidFill>
                  <a:srgbClr val="289B38"/>
                </a:solidFill>
                <a:effectLst/>
                <a:latin typeface="Trebuchet MS" panose="020B0603020202020204" pitchFamily="34" charset="0"/>
              </a:rPr>
              <a:t> value proposition &amp; core assets</a:t>
            </a:r>
          </a:p>
        </p:txBody>
      </p:sp>
      <p:sp>
        <p:nvSpPr>
          <p:cNvPr id="11" name="Oval Partie">
            <a:extLst>
              <a:ext uri="{FF2B5EF4-FFF2-40B4-BE49-F238E27FC236}">
                <a16:creationId xmlns:a16="http://schemas.microsoft.com/office/drawing/2014/main" id="{69F3A540-2CC5-4FF4-95EA-781ADB90CC30}"/>
              </a:ext>
            </a:extLst>
          </p:cNvPr>
          <p:cNvSpPr/>
          <p:nvPr/>
        </p:nvSpPr>
        <p:spPr bwMode="auto">
          <a:xfrm>
            <a:off x="1717200" y="27569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b="1" i="0" u="none" strike="noStrike" cap="none" normalizeH="0" baseline="0">
                <a:ln>
                  <a:noFill/>
                </a:ln>
                <a:solidFill>
                  <a:srgbClr val="289B38"/>
                </a:solidFill>
                <a:effectLst/>
                <a:latin typeface="Trebuchet MS" panose="020B0603020202020204" pitchFamily="34" charset="0"/>
              </a:rPr>
              <a:t>3</a:t>
            </a:r>
          </a:p>
        </p:txBody>
      </p:sp>
      <p:sp>
        <p:nvSpPr>
          <p:cNvPr id="12" name="Numero slide Partie">
            <a:extLst>
              <a:ext uri="{FF2B5EF4-FFF2-40B4-BE49-F238E27FC236}">
                <a16:creationId xmlns:a16="http://schemas.microsoft.com/office/drawing/2014/main" id="{3E5930D1-F538-4726-A0D5-2E6C9782085B}"/>
              </a:ext>
            </a:extLst>
          </p:cNvPr>
          <p:cNvSpPr/>
          <p:nvPr/>
        </p:nvSpPr>
        <p:spPr bwMode="auto">
          <a:xfrm>
            <a:off x="8074800" y="2756920"/>
            <a:ext cx="853200" cy="288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0" i="1" strike="noStrike" cap="none" normalizeH="0" baseline="0">
                <a:ln>
                  <a:noFill/>
                </a:ln>
                <a:solidFill>
                  <a:srgbClr val="007AA9"/>
                </a:solidFill>
                <a:effectLst/>
                <a:latin typeface="Trebuchet MS" panose="020B0603020202020204" pitchFamily="34" charset="0"/>
                <a:hlinkClick r:id="rId4" action="ppaction://hlinksldjump"/>
              </a:rPr>
              <a:t>Page 66</a:t>
            </a:r>
            <a:endParaRPr kumimoji="0" lang="en-GB" sz="1200" b="0" i="1" strike="noStrike" cap="none" normalizeH="0" baseline="0">
              <a:ln>
                <a:noFill/>
              </a:ln>
              <a:solidFill>
                <a:srgbClr val="007AA9"/>
              </a:solidFill>
              <a:effectLst/>
              <a:latin typeface="Trebuchet MS" panose="020B0603020202020204" pitchFamily="34" charset="0"/>
            </a:endParaRPr>
          </a:p>
        </p:txBody>
      </p:sp>
      <p:sp>
        <p:nvSpPr>
          <p:cNvPr id="13" name="Flèche Partie 4">
            <a:extLst>
              <a:ext uri="{FF2B5EF4-FFF2-40B4-BE49-F238E27FC236}">
                <a16:creationId xmlns:a16="http://schemas.microsoft.com/office/drawing/2014/main" id="{8D149614-1CA4-487A-83E8-38BAC0272A0C}"/>
              </a:ext>
            </a:extLst>
          </p:cNvPr>
          <p:cNvSpPr/>
          <p:nvPr/>
        </p:nvSpPr>
        <p:spPr bwMode="auto">
          <a:xfrm>
            <a:off x="1641599" y="3188921"/>
            <a:ext cx="7459200" cy="431999"/>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289B38"/>
                </a:solidFill>
                <a:latin typeface="Trebuchet MS" panose="020B0603020202020204" pitchFamily="34" charset="0"/>
              </a:rPr>
              <a:t>Altares</a:t>
            </a:r>
            <a:r>
              <a:rPr lang="en-GB" sz="1200" b="1">
                <a:solidFill>
                  <a:srgbClr val="289B38"/>
                </a:solidFill>
                <a:latin typeface="Trebuchet MS" panose="020B0603020202020204" pitchFamily="34" charset="0"/>
              </a:rPr>
              <a:t>’</a:t>
            </a:r>
            <a:r>
              <a:rPr kumimoji="0" lang="en-GB" sz="1200" b="1" i="0" u="none" strike="noStrike" cap="none" normalizeH="0" baseline="0">
                <a:ln>
                  <a:noFill/>
                </a:ln>
                <a:solidFill>
                  <a:srgbClr val="289B38"/>
                </a:solidFill>
                <a:effectLst/>
                <a:latin typeface="Trebuchet MS" panose="020B0603020202020204" pitchFamily="34" charset="0"/>
              </a:rPr>
              <a:t> BP assessment &amp; growth avenues</a:t>
            </a:r>
            <a:endParaRPr lang="en-GB" sz="1200" b="1">
              <a:solidFill>
                <a:srgbClr val="289B38"/>
              </a:solidFill>
              <a:latin typeface="Trebuchet MS" panose="020B0603020202020204" pitchFamily="34" charset="0"/>
            </a:endParaRPr>
          </a:p>
        </p:txBody>
      </p:sp>
      <p:sp>
        <p:nvSpPr>
          <p:cNvPr id="14" name="Oval Partie">
            <a:extLst>
              <a:ext uri="{FF2B5EF4-FFF2-40B4-BE49-F238E27FC236}">
                <a16:creationId xmlns:a16="http://schemas.microsoft.com/office/drawing/2014/main" id="{5E1EB975-F266-4BFB-9C09-8B638E1DF3D1}"/>
              </a:ext>
            </a:extLst>
          </p:cNvPr>
          <p:cNvSpPr/>
          <p:nvPr/>
        </p:nvSpPr>
        <p:spPr bwMode="auto">
          <a:xfrm>
            <a:off x="1717200" y="32609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b="1" i="0" u="none" strike="noStrike" cap="none" normalizeH="0" baseline="0">
                <a:ln>
                  <a:noFill/>
                </a:ln>
                <a:solidFill>
                  <a:srgbClr val="289B38"/>
                </a:solidFill>
                <a:effectLst/>
                <a:latin typeface="Trebuchet MS" panose="020B0603020202020204" pitchFamily="34" charset="0"/>
              </a:rPr>
              <a:t>4</a:t>
            </a:r>
          </a:p>
        </p:txBody>
      </p:sp>
      <p:sp>
        <p:nvSpPr>
          <p:cNvPr id="15" name="Numero slide Partie">
            <a:extLst>
              <a:ext uri="{FF2B5EF4-FFF2-40B4-BE49-F238E27FC236}">
                <a16:creationId xmlns:a16="http://schemas.microsoft.com/office/drawing/2014/main" id="{0392A238-B98B-4960-8579-91C4926C8EF2}"/>
              </a:ext>
            </a:extLst>
          </p:cNvPr>
          <p:cNvSpPr/>
          <p:nvPr/>
        </p:nvSpPr>
        <p:spPr bwMode="auto">
          <a:xfrm>
            <a:off x="8074800" y="3260920"/>
            <a:ext cx="853200" cy="288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0" i="1" strike="noStrike" cap="none" normalizeH="0" baseline="0">
                <a:ln>
                  <a:noFill/>
                </a:ln>
                <a:solidFill>
                  <a:srgbClr val="007AA9"/>
                </a:solidFill>
                <a:effectLst/>
                <a:latin typeface="Trebuchet MS" panose="020B0603020202020204" pitchFamily="34" charset="0"/>
                <a:hlinkClick r:id="rId5" action="ppaction://hlinksldjump"/>
              </a:rPr>
              <a:t>Page 121</a:t>
            </a:r>
            <a:endParaRPr kumimoji="0" lang="en-GB" sz="1200" b="0" i="1" strike="noStrike" cap="none" normalizeH="0" baseline="0">
              <a:ln>
                <a:noFill/>
              </a:ln>
              <a:solidFill>
                <a:srgbClr val="007AA9"/>
              </a:solidFill>
              <a:effectLst/>
              <a:latin typeface="Trebuchet MS" panose="020B0603020202020204" pitchFamily="34" charset="0"/>
            </a:endParaRPr>
          </a:p>
        </p:txBody>
      </p:sp>
      <p:sp>
        <p:nvSpPr>
          <p:cNvPr id="22" name="Flèche Partie 7">
            <a:extLst>
              <a:ext uri="{FF2B5EF4-FFF2-40B4-BE49-F238E27FC236}">
                <a16:creationId xmlns:a16="http://schemas.microsoft.com/office/drawing/2014/main" id="{6326A247-FC40-40E3-B80C-01BE341134C3}"/>
              </a:ext>
            </a:extLst>
          </p:cNvPr>
          <p:cNvSpPr/>
          <p:nvPr/>
        </p:nvSpPr>
        <p:spPr bwMode="auto">
          <a:xfrm>
            <a:off x="1641599" y="3696135"/>
            <a:ext cx="7459200" cy="431999"/>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Appendix</a:t>
            </a:r>
          </a:p>
        </p:txBody>
      </p:sp>
      <p:sp>
        <p:nvSpPr>
          <p:cNvPr id="23" name="Oval Partie">
            <a:extLst>
              <a:ext uri="{FF2B5EF4-FFF2-40B4-BE49-F238E27FC236}">
                <a16:creationId xmlns:a16="http://schemas.microsoft.com/office/drawing/2014/main" id="{BFDBEE20-06DD-46D3-B1D4-45BF26DB75E4}"/>
              </a:ext>
            </a:extLst>
          </p:cNvPr>
          <p:cNvSpPr/>
          <p:nvPr/>
        </p:nvSpPr>
        <p:spPr bwMode="auto">
          <a:xfrm>
            <a:off x="1717200" y="3768134"/>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b="1" i="0" u="none" strike="noStrike" cap="none" normalizeH="0" baseline="0">
                <a:ln>
                  <a:noFill/>
                </a:ln>
                <a:solidFill>
                  <a:srgbClr val="289B38"/>
                </a:solidFill>
                <a:effectLst/>
                <a:latin typeface="Trebuchet MS" panose="020B0603020202020204" pitchFamily="34" charset="0"/>
              </a:rPr>
              <a:t>5</a:t>
            </a:r>
          </a:p>
        </p:txBody>
      </p:sp>
      <p:sp>
        <p:nvSpPr>
          <p:cNvPr id="24" name="Numero slide Partie">
            <a:extLst>
              <a:ext uri="{FF2B5EF4-FFF2-40B4-BE49-F238E27FC236}">
                <a16:creationId xmlns:a16="http://schemas.microsoft.com/office/drawing/2014/main" id="{1C74A7EC-1176-4A72-B7ED-26DE0949B229}"/>
              </a:ext>
            </a:extLst>
          </p:cNvPr>
          <p:cNvSpPr/>
          <p:nvPr/>
        </p:nvSpPr>
        <p:spPr bwMode="auto">
          <a:xfrm>
            <a:off x="8074800" y="3768134"/>
            <a:ext cx="853200" cy="288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0" i="1" strike="noStrike" cap="none" normalizeH="0" baseline="0">
                <a:ln>
                  <a:noFill/>
                </a:ln>
                <a:solidFill>
                  <a:srgbClr val="007AA9"/>
                </a:solidFill>
                <a:effectLst/>
                <a:latin typeface="Trebuchet MS" panose="020B0603020202020204" pitchFamily="34" charset="0"/>
                <a:hlinkClick r:id="rId6" action="ppaction://hlinksldjump"/>
              </a:rPr>
              <a:t>Page 152</a:t>
            </a:r>
            <a:endParaRPr kumimoji="0" lang="en-GB" sz="1200" b="0" i="1" strike="noStrike" cap="none" normalizeH="0" baseline="0">
              <a:ln>
                <a:noFill/>
              </a:ln>
              <a:solidFill>
                <a:srgbClr val="007AA9"/>
              </a:solidFill>
              <a:effectLst/>
              <a:latin typeface="Trebuchet MS" panose="020B0603020202020204" pitchFamily="34" charset="0"/>
            </a:endParaRPr>
          </a:p>
        </p:txBody>
      </p:sp>
    </p:spTree>
    <p:extLst>
      <p:ext uri="{BB962C8B-B14F-4D97-AF65-F5344CB8AC3E}">
        <p14:creationId xmlns:p14="http://schemas.microsoft.com/office/powerpoint/2010/main" val="2217405137"/>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6043E77-1168-4484-8A37-85463A3B9C7F}"/>
              </a:ext>
            </a:extLst>
          </p:cNvPr>
          <p:cNvGraphicFramePr>
            <a:graphicFrameLocks noChangeAspect="1"/>
          </p:cNvGraphicFramePr>
          <p:nvPr>
            <p:custDataLst>
              <p:tags r:id="rId1"/>
            </p:custDataLst>
            <p:extLst>
              <p:ext uri="{D42A27DB-BD31-4B8C-83A1-F6EECF244321}">
                <p14:modId xmlns:p14="http://schemas.microsoft.com/office/powerpoint/2010/main" val="4159572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8" name="Object 7" hidden="1">
                        <a:extLst>
                          <a:ext uri="{FF2B5EF4-FFF2-40B4-BE49-F238E27FC236}">
                            <a16:creationId xmlns:a16="http://schemas.microsoft.com/office/drawing/2014/main" id="{76043E77-1168-4484-8A37-85463A3B9C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1356344-5549-4E62-A510-47789B3D6AAC}"/>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6" name="Rectangle 5">
            <a:extLst>
              <a:ext uri="{FF2B5EF4-FFF2-40B4-BE49-F238E27FC236}">
                <a16:creationId xmlns:a16="http://schemas.microsoft.com/office/drawing/2014/main" id="{8D9A547B-79DD-442E-BD6B-A339FEADE1CD}"/>
              </a:ext>
            </a:extLst>
          </p:cNvPr>
          <p:cNvSpPr/>
          <p:nvPr/>
        </p:nvSpPr>
        <p:spPr bwMode="auto">
          <a:xfrm>
            <a:off x="7097624" y="1593462"/>
            <a:ext cx="2651688" cy="1008745"/>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41" name="Picture 40">
            <a:extLst>
              <a:ext uri="{FF2B5EF4-FFF2-40B4-BE49-F238E27FC236}">
                <a16:creationId xmlns:a16="http://schemas.microsoft.com/office/drawing/2014/main" id="{0723779D-2418-424B-A54E-6EAD0086AE86}"/>
              </a:ext>
            </a:extLst>
          </p:cNvPr>
          <p:cNvPicPr>
            <a:picLocks noChangeAspect="1"/>
          </p:cNvPicPr>
          <p:nvPr/>
        </p:nvPicPr>
        <p:blipFill rotWithShape="1">
          <a:blip r:embed="rId6"/>
          <a:srcRect t="11645"/>
          <a:stretch/>
        </p:blipFill>
        <p:spPr>
          <a:xfrm>
            <a:off x="1316038" y="1676664"/>
            <a:ext cx="4974171" cy="4839545"/>
          </a:xfrm>
          <a:prstGeom prst="rect">
            <a:avLst/>
          </a:prstGeom>
        </p:spPr>
      </p:pic>
      <p:sp>
        <p:nvSpPr>
          <p:cNvPr id="2" name="Title 1">
            <a:extLst>
              <a:ext uri="{FF2B5EF4-FFF2-40B4-BE49-F238E27FC236}">
                <a16:creationId xmlns:a16="http://schemas.microsoft.com/office/drawing/2014/main" id="{8B209259-435B-45EF-8E08-C29099D248A8}"/>
              </a:ext>
            </a:extLst>
          </p:cNvPr>
          <p:cNvSpPr>
            <a:spLocks noGrp="1"/>
          </p:cNvSpPr>
          <p:nvPr>
            <p:ph type="title"/>
          </p:nvPr>
        </p:nvSpPr>
        <p:spPr>
          <a:xfrm>
            <a:off x="165600" y="147600"/>
            <a:ext cx="8259844" cy="684000"/>
          </a:xfrm>
        </p:spPr>
        <p:txBody>
          <a:bodyPr/>
          <a:lstStyle/>
          <a:p>
            <a:r>
              <a:rPr lang="en-GB">
                <a:latin typeface="Trebuchet MS" panose="020B0603020202020204" pitchFamily="34" charset="0"/>
              </a:rPr>
              <a:t>The </a:t>
            </a:r>
            <a:r>
              <a:rPr lang="en-GB">
                <a:solidFill>
                  <a:schemeClr val="tx2"/>
                </a:solidFill>
                <a:latin typeface="Trebuchet MS" panose="020B0603020202020204" pitchFamily="34" charset="0"/>
              </a:rPr>
              <a:t>Credit &amp; financial risk information market </a:t>
            </a:r>
            <a:r>
              <a:rPr lang="en-GB">
                <a:latin typeface="Trebuchet MS" panose="020B0603020202020204" pitchFamily="34" charset="0"/>
              </a:rPr>
              <a:t>represents a large market of </a:t>
            </a:r>
            <a:r>
              <a:rPr lang="en-GB">
                <a:solidFill>
                  <a:schemeClr val="tx2"/>
                </a:solidFill>
                <a:latin typeface="Trebuchet MS" panose="020B0603020202020204" pitchFamily="34" charset="0"/>
              </a:rPr>
              <a:t>€341m</a:t>
            </a:r>
            <a:r>
              <a:rPr lang="en-GB">
                <a:latin typeface="Trebuchet MS" panose="020B0603020202020204" pitchFamily="34" charset="0"/>
              </a:rPr>
              <a:t>, in which France accounts for more than 55% of generated revenue</a:t>
            </a:r>
          </a:p>
        </p:txBody>
      </p:sp>
      <p:sp>
        <p:nvSpPr>
          <p:cNvPr id="22" name="Text Placeholder 2">
            <a:extLst>
              <a:ext uri="{FF2B5EF4-FFF2-40B4-BE49-F238E27FC236}">
                <a16:creationId xmlns:a16="http://schemas.microsoft.com/office/drawing/2014/main" id="{1F80FF39-9038-4641-947A-58505FD32607}"/>
              </a:ext>
            </a:extLst>
          </p:cNvPr>
          <p:cNvSpPr>
            <a:spLocks noGrp="1"/>
          </p:cNvSpPr>
          <p:nvPr>
            <p:ph type="body" sz="quarter" idx="10"/>
          </p:nvPr>
        </p:nvSpPr>
        <p:spPr>
          <a:xfrm>
            <a:off x="1316038" y="6580188"/>
            <a:ext cx="7131050" cy="244475"/>
          </a:xfrm>
        </p:spPr>
        <p:txBody>
          <a:bodyPr/>
          <a:lstStyle/>
          <a:p>
            <a:r>
              <a:rPr lang="en-GB"/>
              <a:t>Sources: eleven research &amp; analysis, expert calls, company data</a:t>
            </a:r>
          </a:p>
          <a:p>
            <a:endParaRPr lang="en-GB"/>
          </a:p>
        </p:txBody>
      </p:sp>
      <p:cxnSp>
        <p:nvCxnSpPr>
          <p:cNvPr id="32" name="Connecteur droit 4">
            <a:extLst>
              <a:ext uri="{FF2B5EF4-FFF2-40B4-BE49-F238E27FC236}">
                <a16:creationId xmlns:a16="http://schemas.microsoft.com/office/drawing/2014/main" id="{87ED47F9-4381-4C0C-A99C-29594DA53E00}"/>
              </a:ext>
            </a:extLst>
          </p:cNvPr>
          <p:cNvCxnSpPr>
            <a:cxnSpLocks/>
          </p:cNvCxnSpPr>
          <p:nvPr/>
        </p:nvCxnSpPr>
        <p:spPr bwMode="auto">
          <a:xfrm>
            <a:off x="153380" y="1276433"/>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3" name="ZoneTexte 6">
            <a:extLst>
              <a:ext uri="{FF2B5EF4-FFF2-40B4-BE49-F238E27FC236}">
                <a16:creationId xmlns:a16="http://schemas.microsoft.com/office/drawing/2014/main" id="{A4A584A9-DE9A-4596-AC67-07538E75411F}"/>
              </a:ext>
            </a:extLst>
          </p:cNvPr>
          <p:cNvSpPr txBox="1"/>
          <p:nvPr/>
        </p:nvSpPr>
        <p:spPr>
          <a:xfrm>
            <a:off x="2753030" y="1115365"/>
            <a:ext cx="4515367" cy="322139"/>
          </a:xfrm>
          <a:prstGeom prst="rect">
            <a:avLst/>
          </a:prstGeom>
          <a:solidFill>
            <a:schemeClr val="bg1"/>
          </a:solidFill>
          <a:ln>
            <a:noFill/>
          </a:ln>
        </p:spPr>
        <p:txBody>
          <a:bodyPr wrap="square" rtlCol="0" anchor="ctr">
            <a:noAutofit/>
          </a:bodyPr>
          <a:lstStyle/>
          <a:p>
            <a:pPr algn="ctr"/>
            <a:r>
              <a:rPr lang="en-GB" sz="1100">
                <a:latin typeface="Trebuchet MS" panose="020B0603020202020204" pitchFamily="34" charset="0"/>
              </a:rPr>
              <a:t>Credit and financial risk market size estimation by geographies</a:t>
            </a:r>
          </a:p>
        </p:txBody>
      </p:sp>
      <p:sp>
        <p:nvSpPr>
          <p:cNvPr id="34" name="Rectangle 33">
            <a:extLst>
              <a:ext uri="{FF2B5EF4-FFF2-40B4-BE49-F238E27FC236}">
                <a16:creationId xmlns:a16="http://schemas.microsoft.com/office/drawing/2014/main" id="{25BFF712-FBF1-4DF2-AD8D-6466B435F2D6}"/>
              </a:ext>
            </a:extLst>
          </p:cNvPr>
          <p:cNvSpPr/>
          <p:nvPr/>
        </p:nvSpPr>
        <p:spPr bwMode="auto">
          <a:xfrm>
            <a:off x="7097624" y="3494137"/>
            <a:ext cx="2542133" cy="184818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defRPr/>
            </a:pPr>
            <a:r>
              <a:rPr lang="en-GB" sz="1000" i="1" spc="-30" dirty="0">
                <a:latin typeface="Trebuchet MS" panose="020B0603020202020204" pitchFamily="34" charset="0"/>
              </a:rPr>
              <a:t>“The Credit &amp; financial risk market is a market with </a:t>
            </a:r>
            <a:r>
              <a:rPr lang="en-GB" sz="1000" i="1" spc="-30" dirty="0">
                <a:solidFill>
                  <a:schemeClr val="tx2"/>
                </a:solidFill>
                <a:latin typeface="Trebuchet MS" panose="020B0603020202020204" pitchFamily="34" charset="0"/>
              </a:rPr>
              <a:t>little growth</a:t>
            </a:r>
            <a:r>
              <a:rPr lang="en-GB" sz="1000" i="1" spc="-30" dirty="0">
                <a:latin typeface="Trebuchet MS" panose="020B0603020202020204" pitchFamily="34" charset="0"/>
              </a:rPr>
              <a:t>. Players must now reinvent themselves by </a:t>
            </a:r>
            <a:r>
              <a:rPr lang="en-GB" sz="1000" i="1" spc="-30" dirty="0">
                <a:solidFill>
                  <a:schemeClr val="tx2"/>
                </a:solidFill>
                <a:latin typeface="Trebuchet MS" panose="020B0603020202020204" pitchFamily="34" charset="0"/>
              </a:rPr>
              <a:t>creating more intelligence and value </a:t>
            </a:r>
            <a:r>
              <a:rPr lang="en-GB" sz="1000" i="1" spc="-30" dirty="0">
                <a:latin typeface="Trebuchet MS" panose="020B0603020202020204" pitchFamily="34" charset="0"/>
              </a:rPr>
              <a:t>for their customers and by </a:t>
            </a:r>
            <a:r>
              <a:rPr lang="en-GB" sz="1000" i="1" spc="-30" dirty="0">
                <a:solidFill>
                  <a:schemeClr val="tx2"/>
                </a:solidFill>
                <a:latin typeface="Trebuchet MS" panose="020B0603020202020204" pitchFamily="34" charset="0"/>
              </a:rPr>
              <a:t>better tailoring </a:t>
            </a:r>
            <a:r>
              <a:rPr lang="en-GB" sz="1000" i="1" spc="-30" dirty="0">
                <a:latin typeface="Trebuchet MS" panose="020B0603020202020204" pitchFamily="34" charset="0"/>
              </a:rPr>
              <a:t>their offerings to each customer segment to generate new revenue streams”</a:t>
            </a:r>
          </a:p>
          <a:p>
            <a:pPr>
              <a:defRPr/>
            </a:pPr>
            <a:endParaRPr lang="en-GB" sz="1000" i="1" spc="-30" dirty="0">
              <a:latin typeface="Trebuchet MS" panose="020B0603020202020204" pitchFamily="34" charset="0"/>
            </a:endParaRPr>
          </a:p>
          <a:p>
            <a:pPr>
              <a:defRPr/>
            </a:pPr>
            <a:r>
              <a:rPr lang="en-GB" sz="1000" spc="-30" dirty="0">
                <a:latin typeface="Trebuchet MS" panose="020B0603020202020204" pitchFamily="34" charset="0"/>
              </a:rPr>
              <a:t>Former Managing Director at Graydon</a:t>
            </a:r>
            <a:endParaRPr lang="en-GB" sz="1000" dirty="0">
              <a:latin typeface="Trebuchet MS" panose="020B0603020202020204" pitchFamily="34" charset="0"/>
            </a:endParaRPr>
          </a:p>
        </p:txBody>
      </p:sp>
      <p:sp>
        <p:nvSpPr>
          <p:cNvPr id="35" name="Freeform 663">
            <a:extLst>
              <a:ext uri="{FF2B5EF4-FFF2-40B4-BE49-F238E27FC236}">
                <a16:creationId xmlns:a16="http://schemas.microsoft.com/office/drawing/2014/main" id="{6E06CD1B-F374-4AD2-A1F0-7EC54EAF9593}"/>
              </a:ext>
            </a:extLst>
          </p:cNvPr>
          <p:cNvSpPr>
            <a:spLocks noEditPoints="1"/>
          </p:cNvSpPr>
          <p:nvPr/>
        </p:nvSpPr>
        <p:spPr bwMode="auto">
          <a:xfrm>
            <a:off x="8237154" y="3370183"/>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5" name="Rectangle 4">
            <a:extLst>
              <a:ext uri="{FF2B5EF4-FFF2-40B4-BE49-F238E27FC236}">
                <a16:creationId xmlns:a16="http://schemas.microsoft.com/office/drawing/2014/main" id="{343FD597-189D-47CE-9DDB-00AAEBAA5CFE}"/>
              </a:ext>
            </a:extLst>
          </p:cNvPr>
          <p:cNvSpPr/>
          <p:nvPr/>
        </p:nvSpPr>
        <p:spPr bwMode="auto">
          <a:xfrm>
            <a:off x="7105679" y="1711980"/>
            <a:ext cx="1276931" cy="79200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iz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Future growth (CAGR</a:t>
            </a:r>
            <a:r>
              <a:rPr lang="en-GB" sz="600" i="1" baseline="-25000">
                <a:latin typeface="Trebuchet MS" panose="020B0603020202020204" pitchFamily="34" charset="0"/>
              </a:rPr>
              <a:t>2021-2023</a:t>
            </a:r>
            <a:r>
              <a:rPr lang="en-GB" sz="700" i="1">
                <a:latin typeface="Trebuchet MS" panose="020B0603020202020204" pitchFamily="34" charset="0"/>
              </a:rPr>
              <a:t>): </a:t>
            </a:r>
          </a:p>
          <a:p>
            <a:pPr marR="0" defTabSz="361950" rtl="0" eaLnBrk="1" fontAlgn="base" latinLnBrk="0" hangingPunct="1">
              <a:lnSpc>
                <a:spcPts val="1100"/>
              </a:lnSpc>
              <a:spcBef>
                <a:spcPct val="0"/>
              </a:spcBef>
              <a:spcAft>
                <a:spcPct val="0"/>
              </a:spcAft>
              <a:buClrTx/>
              <a:buSzTx/>
              <a:tabLst/>
            </a:pPr>
            <a:endParaRPr lang="en-GB" sz="700" i="1">
              <a:latin typeface="Trebuchet MS" panose="020B0603020202020204" pitchFamily="34" charset="0"/>
            </a:endParaRPr>
          </a:p>
          <a:p>
            <a:pPr marR="0" defTabSz="361950" rtl="0" eaLnBrk="1" fontAlgn="base" latinLnBrk="0" hangingPunct="1">
              <a:lnSpc>
                <a:spcPts val="1100"/>
              </a:lnSpc>
              <a:spcBef>
                <a:spcPct val="0"/>
              </a:spcBef>
              <a:spcAft>
                <a:spcPct val="0"/>
              </a:spcAft>
              <a:buClrTx/>
              <a:buSzTx/>
              <a:tabLst/>
            </a:pPr>
            <a:r>
              <a:rPr lang="en-GB" sz="700" i="1" err="1">
                <a:latin typeface="Trebuchet MS" panose="020B0603020202020204" pitchFamily="34" charset="0"/>
              </a:rPr>
              <a:t>Altares</a:t>
            </a:r>
            <a:r>
              <a:rPr lang="en-GB" sz="700" i="1">
                <a:latin typeface="Trebuchet MS" panose="020B0603020202020204" pitchFamily="34" charset="0"/>
              </a:rPr>
              <a:t>’ market share: </a:t>
            </a:r>
            <a:r>
              <a:rPr lang="en-GB" sz="700" i="1" err="1">
                <a:latin typeface="Trebuchet MS" panose="020B0603020202020204" pitchFamily="34" charset="0"/>
              </a:rPr>
              <a:t>Altares</a:t>
            </a:r>
            <a:r>
              <a:rPr lang="en-GB" sz="700" i="1">
                <a:latin typeface="Trebuchet MS" panose="020B0603020202020204" pitchFamily="34" charset="0"/>
              </a:rPr>
              <a:t>’ 2019 revenue: </a:t>
            </a:r>
          </a:p>
        </p:txBody>
      </p:sp>
      <p:sp>
        <p:nvSpPr>
          <p:cNvPr id="3" name="Rectangle 2">
            <a:extLst>
              <a:ext uri="{FF2B5EF4-FFF2-40B4-BE49-F238E27FC236}">
                <a16:creationId xmlns:a16="http://schemas.microsoft.com/office/drawing/2014/main" id="{90D4CBD9-7DF1-4BA8-BD5E-64D2C8DEB362}"/>
              </a:ext>
            </a:extLst>
          </p:cNvPr>
          <p:cNvSpPr/>
          <p:nvPr/>
        </p:nvSpPr>
        <p:spPr bwMode="auto">
          <a:xfrm>
            <a:off x="8390664" y="1663724"/>
            <a:ext cx="1260000" cy="900000"/>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341m</a:t>
            </a:r>
          </a:p>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0.01%</a:t>
            </a:r>
          </a:p>
          <a:p>
            <a:pPr marL="0" marR="0" lvl="0" indent="0" algn="ctr" defTabSz="361950" rtl="0" eaLnBrk="1" fontAlgn="base" latinLnBrk="0" hangingPunct="1">
              <a:lnSpc>
                <a:spcPts val="1100"/>
              </a:lnSpc>
              <a:spcBef>
                <a:spcPct val="0"/>
              </a:spcBef>
              <a:spcAft>
                <a:spcPts val="200"/>
              </a:spcAft>
              <a:buClrTx/>
              <a:buSzTx/>
              <a:buFontTx/>
              <a:buNone/>
              <a:tabLst/>
              <a:defRPr/>
            </a:pPr>
            <a:endPar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endParaRPr>
          </a:p>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19%</a:t>
            </a:r>
          </a:p>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65m</a:t>
            </a:r>
            <a:endParaRPr lang="en-GB" sz="900">
              <a:latin typeface="Trebuchet MS" panose="020B0603020202020204" pitchFamily="34" charset="0"/>
            </a:endParaRPr>
          </a:p>
        </p:txBody>
      </p:sp>
      <p:grpSp>
        <p:nvGrpSpPr>
          <p:cNvPr id="30" name="Groupe 29">
            <a:extLst>
              <a:ext uri="{FF2B5EF4-FFF2-40B4-BE49-F238E27FC236}">
                <a16:creationId xmlns:a16="http://schemas.microsoft.com/office/drawing/2014/main" id="{2CE68302-C541-471A-AB8D-1570272F4C2B}"/>
              </a:ext>
            </a:extLst>
          </p:cNvPr>
          <p:cNvGrpSpPr/>
          <p:nvPr/>
        </p:nvGrpSpPr>
        <p:grpSpPr>
          <a:xfrm>
            <a:off x="8448150" y="-11528"/>
            <a:ext cx="1435548" cy="588143"/>
            <a:chOff x="8448150" y="-11528"/>
            <a:chExt cx="1435548" cy="588143"/>
          </a:xfrm>
        </p:grpSpPr>
        <p:grpSp>
          <p:nvGrpSpPr>
            <p:cNvPr id="36" name="Groupe 35">
              <a:extLst>
                <a:ext uri="{FF2B5EF4-FFF2-40B4-BE49-F238E27FC236}">
                  <a16:creationId xmlns:a16="http://schemas.microsoft.com/office/drawing/2014/main" id="{66F6D027-28F6-4E80-96B3-5B15ED4DEFFD}"/>
                </a:ext>
              </a:extLst>
            </p:cNvPr>
            <p:cNvGrpSpPr/>
            <p:nvPr/>
          </p:nvGrpSpPr>
          <p:grpSpPr>
            <a:xfrm>
              <a:off x="8448150" y="-11528"/>
              <a:ext cx="1435548" cy="555653"/>
              <a:chOff x="8448150" y="-11528"/>
              <a:chExt cx="1435548" cy="555653"/>
            </a:xfrm>
          </p:grpSpPr>
          <p:sp>
            <p:nvSpPr>
              <p:cNvPr id="38" name="Rectangle : coins arrondis 199">
                <a:extLst>
                  <a:ext uri="{FF2B5EF4-FFF2-40B4-BE49-F238E27FC236}">
                    <a16:creationId xmlns:a16="http://schemas.microsoft.com/office/drawing/2014/main" id="{1705FFA1-5FBA-40A3-B3E2-473E692A0ABB}"/>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9" name="Rectangle : coins arrondis 200">
                <a:extLst>
                  <a:ext uri="{FF2B5EF4-FFF2-40B4-BE49-F238E27FC236}">
                    <a16:creationId xmlns:a16="http://schemas.microsoft.com/office/drawing/2014/main" id="{3D0BEBBA-1595-441E-AED6-DBE27D298499}"/>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0" name="Rectangle : coins arrondis 201">
                <a:extLst>
                  <a:ext uri="{FF2B5EF4-FFF2-40B4-BE49-F238E27FC236}">
                    <a16:creationId xmlns:a16="http://schemas.microsoft.com/office/drawing/2014/main" id="{20886D96-3964-4565-8ED3-1F7D6EB3DA8D}"/>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3" name="ZoneTexte 18">
                <a:extLst>
                  <a:ext uri="{FF2B5EF4-FFF2-40B4-BE49-F238E27FC236}">
                    <a16:creationId xmlns:a16="http://schemas.microsoft.com/office/drawing/2014/main" id="{D0DBC933-98C4-4CC8-A378-5E642163C66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45" name="Graphique 128" descr="Jauge">
                <a:extLst>
                  <a:ext uri="{FF2B5EF4-FFF2-40B4-BE49-F238E27FC236}">
                    <a16:creationId xmlns:a16="http://schemas.microsoft.com/office/drawing/2014/main" id="{CB4BA6E0-E6D3-41F4-A24F-F362BD74EC8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46" name="Graphique 90" descr="Poignée de main">
                <a:extLst>
                  <a:ext uri="{FF2B5EF4-FFF2-40B4-BE49-F238E27FC236}">
                    <a16:creationId xmlns:a16="http://schemas.microsoft.com/office/drawing/2014/main" id="{75B9AA2F-BF15-43AC-8334-D6A4ECFE2A5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47" name="Graphique 74" descr="Mégaphone">
                <a:extLst>
                  <a:ext uri="{FF2B5EF4-FFF2-40B4-BE49-F238E27FC236}">
                    <a16:creationId xmlns:a16="http://schemas.microsoft.com/office/drawing/2014/main" id="{6857D75C-0637-4588-87EE-6F658314802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48" name="Picture 2" descr="Drapeau France">
                <a:extLst>
                  <a:ext uri="{FF2B5EF4-FFF2-40B4-BE49-F238E27FC236}">
                    <a16:creationId xmlns:a16="http://schemas.microsoft.com/office/drawing/2014/main" id="{67D82C22-3FA5-4079-88DC-0B96C51BFE63}"/>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49" name="Picture 2" descr="5 ft x 3 ft 150 x 90 cm-DRAPEAU BELGE Belgique 100% Polyester ...">
                <a:extLst>
                  <a:ext uri="{FF2B5EF4-FFF2-40B4-BE49-F238E27FC236}">
                    <a16:creationId xmlns:a16="http://schemas.microsoft.com/office/drawing/2014/main" id="{B5501D5D-1846-48A7-8F7B-1BDC7F68C8F1}"/>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0" name="Picture 2 - 1" descr="Drapeau des Pays-Bas — Wikipédia">
                <a:extLst>
                  <a:ext uri="{FF2B5EF4-FFF2-40B4-BE49-F238E27FC236}">
                    <a16:creationId xmlns:a16="http://schemas.microsoft.com/office/drawing/2014/main" id="{7953B2B8-2BB2-4F12-B816-7FF3CF590A5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1" name="Picture 2 - 2" descr="Drapeau du Luxembourg">
                <a:extLst>
                  <a:ext uri="{FF2B5EF4-FFF2-40B4-BE49-F238E27FC236}">
                    <a16:creationId xmlns:a16="http://schemas.microsoft.com/office/drawing/2014/main" id="{684EC9DA-87F0-4258-BEB9-8879FEA875C5}"/>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37" name="ZoneTexte 18">
              <a:extLst>
                <a:ext uri="{FF2B5EF4-FFF2-40B4-BE49-F238E27FC236}">
                  <a16:creationId xmlns:a16="http://schemas.microsoft.com/office/drawing/2014/main" id="{EEFDAF66-2DCD-4701-A7CA-13CA717DD2C6}"/>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redit &amp; financial risk</a:t>
              </a:r>
            </a:p>
          </p:txBody>
        </p:sp>
      </p:grpSp>
      <p:grpSp>
        <p:nvGrpSpPr>
          <p:cNvPr id="11" name="Groupe 10">
            <a:extLst>
              <a:ext uri="{FF2B5EF4-FFF2-40B4-BE49-F238E27FC236}">
                <a16:creationId xmlns:a16="http://schemas.microsoft.com/office/drawing/2014/main" id="{5FB2EB85-6CE3-4FB8-80BD-6C5B5686BD7B}"/>
              </a:ext>
            </a:extLst>
          </p:cNvPr>
          <p:cNvGrpSpPr/>
          <p:nvPr/>
        </p:nvGrpSpPr>
        <p:grpSpPr>
          <a:xfrm>
            <a:off x="1615207" y="1616156"/>
            <a:ext cx="2386340" cy="1154732"/>
            <a:chOff x="1615207" y="1616156"/>
            <a:chExt cx="2386340" cy="1154732"/>
          </a:xfrm>
        </p:grpSpPr>
        <p:sp>
          <p:nvSpPr>
            <p:cNvPr id="29" name="Speech Bubble: Rectangle 28">
              <a:extLst>
                <a:ext uri="{FF2B5EF4-FFF2-40B4-BE49-F238E27FC236}">
                  <a16:creationId xmlns:a16="http://schemas.microsoft.com/office/drawing/2014/main" id="{0A8FEE59-28C4-4395-8A95-2D36FA037EC1}"/>
                </a:ext>
              </a:extLst>
            </p:cNvPr>
            <p:cNvSpPr/>
            <p:nvPr/>
          </p:nvSpPr>
          <p:spPr bwMode="auto">
            <a:xfrm>
              <a:off x="1615207" y="1847610"/>
              <a:ext cx="2386340" cy="923278"/>
            </a:xfrm>
            <a:prstGeom prst="wedgeRectCallout">
              <a:avLst>
                <a:gd name="adj1" fmla="val 42665"/>
                <a:gd name="adj2" fmla="val 68029"/>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endParaRPr lang="en-GB" sz="1100">
                <a:solidFill>
                  <a:schemeClr val="tx2"/>
                </a:solidFill>
                <a:latin typeface="Trebuchet MS" panose="020B0603020202020204" pitchFamily="34" charset="0"/>
              </a:endParaRPr>
            </a:p>
          </p:txBody>
        </p:sp>
        <p:sp>
          <p:nvSpPr>
            <p:cNvPr id="53" name="Rectangle 52">
              <a:extLst>
                <a:ext uri="{FF2B5EF4-FFF2-40B4-BE49-F238E27FC236}">
                  <a16:creationId xmlns:a16="http://schemas.microsoft.com/office/drawing/2014/main" id="{D8C3798D-66E0-49C8-B82D-F42A1FC5CB79}"/>
                </a:ext>
              </a:extLst>
            </p:cNvPr>
            <p:cNvSpPr/>
            <p:nvPr/>
          </p:nvSpPr>
          <p:spPr bwMode="auto">
            <a:xfrm>
              <a:off x="2660365" y="1941913"/>
              <a:ext cx="1226974"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02m</a:t>
              </a:r>
            </a:p>
            <a:p>
              <a:pPr marR="0" algn="ctr" defTabSz="361950" rtl="0" eaLnBrk="1" fontAlgn="base" latinLnBrk="0" hangingPunct="1">
                <a:lnSpc>
                  <a:spcPts val="1100"/>
                </a:lnSpc>
                <a:spcBef>
                  <a:spcPct val="0"/>
                </a:spcBef>
                <a:spcAft>
                  <a:spcPct val="0"/>
                </a:spcAft>
                <a:buClrTx/>
                <a:buSzTx/>
                <a:tabLst/>
              </a:pPr>
              <a:endParaRPr lang="en-GB" sz="1050">
                <a:latin typeface="Trebuchet MS" pitchFamily="34" charset="0"/>
              </a:endParaRP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25m</a:t>
              </a: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25%</a:t>
              </a:r>
            </a:p>
          </p:txBody>
        </p:sp>
        <p:sp>
          <p:nvSpPr>
            <p:cNvPr id="54" name="Rectangle: Rounded Corners 4">
              <a:extLst>
                <a:ext uri="{FF2B5EF4-FFF2-40B4-BE49-F238E27FC236}">
                  <a16:creationId xmlns:a16="http://schemas.microsoft.com/office/drawing/2014/main" id="{45546434-5DA5-41FB-98F8-3A40E5F853D9}"/>
                </a:ext>
              </a:extLst>
            </p:cNvPr>
            <p:cNvSpPr/>
            <p:nvPr/>
          </p:nvSpPr>
          <p:spPr bwMode="auto">
            <a:xfrm>
              <a:off x="1734654" y="1616156"/>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Netherlands</a:t>
              </a:r>
            </a:p>
          </p:txBody>
        </p:sp>
        <p:pic>
          <p:nvPicPr>
            <p:cNvPr id="55" name="Picture 2 - 1" descr="Drapeau des Pays-Bas — Wikipédia">
              <a:extLst>
                <a:ext uri="{FF2B5EF4-FFF2-40B4-BE49-F238E27FC236}">
                  <a16:creationId xmlns:a16="http://schemas.microsoft.com/office/drawing/2014/main" id="{A05F199C-A835-4C89-B355-7FA5A88D213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615207" y="1665096"/>
              <a:ext cx="238894"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56" name="Rectangle 55">
              <a:extLst>
                <a:ext uri="{FF2B5EF4-FFF2-40B4-BE49-F238E27FC236}">
                  <a16:creationId xmlns:a16="http://schemas.microsoft.com/office/drawing/2014/main" id="{F9B6687C-ABFA-4D71-8653-7A8EA92D664B}"/>
                </a:ext>
              </a:extLst>
            </p:cNvPr>
            <p:cNvSpPr/>
            <p:nvPr/>
          </p:nvSpPr>
          <p:spPr bwMode="auto">
            <a:xfrm>
              <a:off x="1734653" y="1940065"/>
              <a:ext cx="811503" cy="736521"/>
            </a:xfrm>
            <a:prstGeom prst="rect">
              <a:avLst/>
            </a:prstGeom>
            <a:solidFill>
              <a:srgbClr val="E2E2E2"/>
            </a:solid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Market size:</a:t>
              </a:r>
            </a:p>
            <a:p>
              <a:pPr marR="0" defTabSz="361950" rtl="0" eaLnBrk="1" fontAlgn="base" latinLnBrk="0" hangingPunct="1">
                <a:lnSpc>
                  <a:spcPts val="1100"/>
                </a:lnSpc>
                <a:spcBef>
                  <a:spcPct val="0"/>
                </a:spcBef>
                <a:spcAft>
                  <a:spcPct val="0"/>
                </a:spcAft>
                <a:buClrTx/>
                <a:buSzTx/>
                <a:tabLst/>
              </a:pPr>
              <a:endParaRPr lang="en-GB" sz="700" i="1">
                <a:latin typeface="Trebuchet MS" pitchFamily="34" charset="0"/>
              </a:endParaRPr>
            </a:p>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Altares' mkt share (2019 rev.)²:</a:t>
              </a:r>
            </a:p>
          </p:txBody>
        </p:sp>
      </p:grpSp>
      <p:grpSp>
        <p:nvGrpSpPr>
          <p:cNvPr id="12" name="Groupe 11">
            <a:extLst>
              <a:ext uri="{FF2B5EF4-FFF2-40B4-BE49-F238E27FC236}">
                <a16:creationId xmlns:a16="http://schemas.microsoft.com/office/drawing/2014/main" id="{E47CFD52-FF43-4DAA-9195-6A5F38D39420}"/>
              </a:ext>
            </a:extLst>
          </p:cNvPr>
          <p:cNvGrpSpPr/>
          <p:nvPr/>
        </p:nvGrpSpPr>
        <p:grpSpPr>
          <a:xfrm>
            <a:off x="418202" y="3262522"/>
            <a:ext cx="2487595" cy="1167698"/>
            <a:chOff x="418202" y="3262522"/>
            <a:chExt cx="2487595" cy="1167698"/>
          </a:xfrm>
        </p:grpSpPr>
        <p:sp>
          <p:nvSpPr>
            <p:cNvPr id="58" name="Speech Bubble: Rectangle 28">
              <a:extLst>
                <a:ext uri="{FF2B5EF4-FFF2-40B4-BE49-F238E27FC236}">
                  <a16:creationId xmlns:a16="http://schemas.microsoft.com/office/drawing/2014/main" id="{92CB1DD2-0D88-4D9E-AF9F-E025CC49E1EB}"/>
                </a:ext>
              </a:extLst>
            </p:cNvPr>
            <p:cNvSpPr/>
            <p:nvPr/>
          </p:nvSpPr>
          <p:spPr bwMode="auto">
            <a:xfrm>
              <a:off x="519457" y="3506942"/>
              <a:ext cx="2386340" cy="923278"/>
            </a:xfrm>
            <a:prstGeom prst="wedgeRectCallout">
              <a:avLst>
                <a:gd name="adj1" fmla="val 57461"/>
                <a:gd name="adj2" fmla="val 369"/>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endParaRPr lang="en-GB" sz="1100">
                <a:solidFill>
                  <a:schemeClr val="tx2"/>
                </a:solidFill>
                <a:latin typeface="Trebuchet MS" panose="020B0603020202020204" pitchFamily="34" charset="0"/>
              </a:endParaRPr>
            </a:p>
          </p:txBody>
        </p:sp>
        <p:sp>
          <p:nvSpPr>
            <p:cNvPr id="59" name="Rectangle 58">
              <a:extLst>
                <a:ext uri="{FF2B5EF4-FFF2-40B4-BE49-F238E27FC236}">
                  <a16:creationId xmlns:a16="http://schemas.microsoft.com/office/drawing/2014/main" id="{66694ED5-F44C-477F-A871-927AA8BBD1E1}"/>
                </a:ext>
              </a:extLst>
            </p:cNvPr>
            <p:cNvSpPr/>
            <p:nvPr/>
          </p:nvSpPr>
          <p:spPr bwMode="auto">
            <a:xfrm>
              <a:off x="1564615" y="3601245"/>
              <a:ext cx="1226974"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85m</a:t>
              </a:r>
            </a:p>
            <a:p>
              <a:pPr marR="0" algn="ctr" defTabSz="361950" rtl="0" eaLnBrk="1" fontAlgn="base" latinLnBrk="0" hangingPunct="1">
                <a:lnSpc>
                  <a:spcPts val="1100"/>
                </a:lnSpc>
                <a:spcBef>
                  <a:spcPct val="0"/>
                </a:spcBef>
                <a:spcAft>
                  <a:spcPct val="0"/>
                </a:spcAft>
                <a:buClrTx/>
                <a:buSzTx/>
                <a:tabLst/>
              </a:pPr>
              <a:endParaRPr lang="en-GB" sz="1050">
                <a:latin typeface="Trebuchet MS" pitchFamily="34" charset="0"/>
              </a:endParaRP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32m</a:t>
              </a: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7%</a:t>
              </a:r>
            </a:p>
          </p:txBody>
        </p:sp>
        <p:sp>
          <p:nvSpPr>
            <p:cNvPr id="60" name="Rectangle 59">
              <a:extLst>
                <a:ext uri="{FF2B5EF4-FFF2-40B4-BE49-F238E27FC236}">
                  <a16:creationId xmlns:a16="http://schemas.microsoft.com/office/drawing/2014/main" id="{89AA39F7-3458-4D4C-83F6-43836D1E22AE}"/>
                </a:ext>
              </a:extLst>
            </p:cNvPr>
            <p:cNvSpPr/>
            <p:nvPr/>
          </p:nvSpPr>
          <p:spPr bwMode="auto">
            <a:xfrm>
              <a:off x="638903" y="3599397"/>
              <a:ext cx="811503" cy="736521"/>
            </a:xfrm>
            <a:prstGeom prst="rect">
              <a:avLst/>
            </a:prstGeom>
            <a:solidFill>
              <a:srgbClr val="E2E2E2"/>
            </a:solid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Market size:</a:t>
              </a:r>
            </a:p>
            <a:p>
              <a:pPr marR="0" defTabSz="361950" rtl="0" eaLnBrk="1" fontAlgn="base" latinLnBrk="0" hangingPunct="1">
                <a:lnSpc>
                  <a:spcPts val="1100"/>
                </a:lnSpc>
                <a:spcBef>
                  <a:spcPct val="0"/>
                </a:spcBef>
                <a:spcAft>
                  <a:spcPct val="0"/>
                </a:spcAft>
                <a:buClrTx/>
                <a:buSzTx/>
                <a:tabLst/>
              </a:pPr>
              <a:endParaRPr lang="en-GB" sz="700" i="1">
                <a:latin typeface="Trebuchet MS" pitchFamily="34" charset="0"/>
              </a:endParaRPr>
            </a:p>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Altares' mkt share (2019 rev.)²:</a:t>
              </a:r>
            </a:p>
          </p:txBody>
        </p:sp>
        <p:pic>
          <p:nvPicPr>
            <p:cNvPr id="61" name="Picture 2" descr="Drapeau France">
              <a:extLst>
                <a:ext uri="{FF2B5EF4-FFF2-40B4-BE49-F238E27FC236}">
                  <a16:creationId xmlns:a16="http://schemas.microsoft.com/office/drawing/2014/main" id="{8D89C21C-5E66-439C-BC98-A7D9F702FF36}"/>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503051" y="3301311"/>
              <a:ext cx="238894"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62" name="Rectangle: Rounded Corners 4">
              <a:extLst>
                <a:ext uri="{FF2B5EF4-FFF2-40B4-BE49-F238E27FC236}">
                  <a16:creationId xmlns:a16="http://schemas.microsoft.com/office/drawing/2014/main" id="{22ECD98C-8FB1-4A10-A53B-34D0BD5CE105}"/>
                </a:ext>
              </a:extLst>
            </p:cNvPr>
            <p:cNvSpPr/>
            <p:nvPr/>
          </p:nvSpPr>
          <p:spPr bwMode="auto">
            <a:xfrm>
              <a:off x="418202" y="3262522"/>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France </a:t>
              </a:r>
            </a:p>
          </p:txBody>
        </p:sp>
      </p:grpSp>
      <p:grpSp>
        <p:nvGrpSpPr>
          <p:cNvPr id="4" name="Groupe 3">
            <a:extLst>
              <a:ext uri="{FF2B5EF4-FFF2-40B4-BE49-F238E27FC236}">
                <a16:creationId xmlns:a16="http://schemas.microsoft.com/office/drawing/2014/main" id="{0885C8C7-3CD1-488F-B4A2-A28A8BB93EF3}"/>
              </a:ext>
            </a:extLst>
          </p:cNvPr>
          <p:cNvGrpSpPr/>
          <p:nvPr/>
        </p:nvGrpSpPr>
        <p:grpSpPr>
          <a:xfrm>
            <a:off x="4437511" y="3656557"/>
            <a:ext cx="2386340" cy="1153024"/>
            <a:chOff x="4437511" y="3656557"/>
            <a:chExt cx="2386340" cy="1153024"/>
          </a:xfrm>
        </p:grpSpPr>
        <p:sp>
          <p:nvSpPr>
            <p:cNvPr id="64" name="Speech Bubble: Rectangle 28">
              <a:extLst>
                <a:ext uri="{FF2B5EF4-FFF2-40B4-BE49-F238E27FC236}">
                  <a16:creationId xmlns:a16="http://schemas.microsoft.com/office/drawing/2014/main" id="{ED023466-F322-4383-9247-160C4EB511E1}"/>
                </a:ext>
              </a:extLst>
            </p:cNvPr>
            <p:cNvSpPr/>
            <p:nvPr/>
          </p:nvSpPr>
          <p:spPr bwMode="auto">
            <a:xfrm>
              <a:off x="4437511" y="3886303"/>
              <a:ext cx="2386340" cy="923278"/>
            </a:xfrm>
            <a:prstGeom prst="wedgeRectCallout">
              <a:avLst>
                <a:gd name="adj1" fmla="val -51803"/>
                <a:gd name="adj2" fmla="val -92786"/>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endParaRPr lang="en-GB" sz="1100">
                <a:solidFill>
                  <a:schemeClr val="tx2"/>
                </a:solidFill>
                <a:latin typeface="Trebuchet MS" panose="020B0603020202020204" pitchFamily="34" charset="0"/>
              </a:endParaRPr>
            </a:p>
          </p:txBody>
        </p:sp>
        <p:sp>
          <p:nvSpPr>
            <p:cNvPr id="65" name="Rectangle 64">
              <a:extLst>
                <a:ext uri="{FF2B5EF4-FFF2-40B4-BE49-F238E27FC236}">
                  <a16:creationId xmlns:a16="http://schemas.microsoft.com/office/drawing/2014/main" id="{28D5DE04-50A0-4D29-94DC-1643C2C0C540}"/>
                </a:ext>
              </a:extLst>
            </p:cNvPr>
            <p:cNvSpPr/>
            <p:nvPr/>
          </p:nvSpPr>
          <p:spPr bwMode="auto">
            <a:xfrm>
              <a:off x="5482669" y="3980606"/>
              <a:ext cx="1226974"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4m</a:t>
              </a:r>
            </a:p>
            <a:p>
              <a:pPr marR="0" algn="ctr" defTabSz="361950" rtl="0" eaLnBrk="1" fontAlgn="base" latinLnBrk="0" hangingPunct="1">
                <a:lnSpc>
                  <a:spcPts val="1100"/>
                </a:lnSpc>
                <a:spcBef>
                  <a:spcPct val="0"/>
                </a:spcBef>
                <a:spcAft>
                  <a:spcPct val="0"/>
                </a:spcAft>
                <a:buClrTx/>
                <a:buSzTx/>
                <a:tabLst/>
              </a:pPr>
              <a:endParaRPr lang="en-GB" sz="1050">
                <a:latin typeface="Trebuchet MS" pitchFamily="34" charset="0"/>
              </a:endParaRP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700k</a:t>
              </a: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8%</a:t>
              </a:r>
            </a:p>
          </p:txBody>
        </p:sp>
        <p:sp>
          <p:nvSpPr>
            <p:cNvPr id="66" name="Rectangle 65">
              <a:extLst>
                <a:ext uri="{FF2B5EF4-FFF2-40B4-BE49-F238E27FC236}">
                  <a16:creationId xmlns:a16="http://schemas.microsoft.com/office/drawing/2014/main" id="{02DA807D-A70A-4901-9126-A2794FD8F12B}"/>
                </a:ext>
              </a:extLst>
            </p:cNvPr>
            <p:cNvSpPr/>
            <p:nvPr/>
          </p:nvSpPr>
          <p:spPr bwMode="auto">
            <a:xfrm>
              <a:off x="4556957" y="3978758"/>
              <a:ext cx="811503" cy="736521"/>
            </a:xfrm>
            <a:prstGeom prst="rect">
              <a:avLst/>
            </a:prstGeom>
            <a:solidFill>
              <a:srgbClr val="E2E2E2"/>
            </a:solid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Market size:</a:t>
              </a:r>
            </a:p>
            <a:p>
              <a:pPr marR="0" defTabSz="361950" rtl="0" eaLnBrk="1" fontAlgn="base" latinLnBrk="0" hangingPunct="1">
                <a:lnSpc>
                  <a:spcPts val="1100"/>
                </a:lnSpc>
                <a:spcBef>
                  <a:spcPct val="0"/>
                </a:spcBef>
                <a:spcAft>
                  <a:spcPct val="0"/>
                </a:spcAft>
                <a:buClrTx/>
                <a:buSzTx/>
                <a:tabLst/>
              </a:pPr>
              <a:endParaRPr lang="en-GB" sz="700" i="1">
                <a:latin typeface="Trebuchet MS" pitchFamily="34" charset="0"/>
              </a:endParaRPr>
            </a:p>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Altares' mkt share (2019 rev.)²:</a:t>
              </a:r>
            </a:p>
          </p:txBody>
        </p:sp>
        <p:pic>
          <p:nvPicPr>
            <p:cNvPr id="68" name="Picture 2 - 2" descr="Drapeau du Luxembourg">
              <a:extLst>
                <a:ext uri="{FF2B5EF4-FFF2-40B4-BE49-F238E27FC236}">
                  <a16:creationId xmlns:a16="http://schemas.microsoft.com/office/drawing/2014/main" id="{1F8B950E-F8BC-4C71-A2F5-57A9021FEBA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583848" y="3696076"/>
              <a:ext cx="240003" cy="144000"/>
            </a:xfrm>
            <a:prstGeom prst="roundRect">
              <a:avLst/>
            </a:prstGeom>
            <a:solidFill>
              <a:schemeClr val="bg1"/>
            </a:solidFill>
            <a:ln w="9525" cap="flat" cmpd="sng" algn="ctr">
              <a:noFill/>
              <a:prstDash val="solid"/>
              <a:round/>
              <a:headEnd type="none" w="med" len="med"/>
              <a:tailEnd type="none" w="med" len="med"/>
            </a:ln>
            <a:effectLst/>
          </p:spPr>
        </p:pic>
        <p:sp>
          <p:nvSpPr>
            <p:cNvPr id="69" name="Rectangle: Rounded Corners 4">
              <a:extLst>
                <a:ext uri="{FF2B5EF4-FFF2-40B4-BE49-F238E27FC236}">
                  <a16:creationId xmlns:a16="http://schemas.microsoft.com/office/drawing/2014/main" id="{75BD739E-4D4E-4E2B-A767-B59FFF9D8AB9}"/>
                </a:ext>
              </a:extLst>
            </p:cNvPr>
            <p:cNvSpPr/>
            <p:nvPr/>
          </p:nvSpPr>
          <p:spPr bwMode="auto">
            <a:xfrm>
              <a:off x="5575379" y="3656557"/>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Luxembourg</a:t>
              </a:r>
            </a:p>
          </p:txBody>
        </p:sp>
      </p:grpSp>
      <p:grpSp>
        <p:nvGrpSpPr>
          <p:cNvPr id="10" name="Groupe 9">
            <a:extLst>
              <a:ext uri="{FF2B5EF4-FFF2-40B4-BE49-F238E27FC236}">
                <a16:creationId xmlns:a16="http://schemas.microsoft.com/office/drawing/2014/main" id="{FF8DE3E4-189C-4547-94A8-BB9278F537C0}"/>
              </a:ext>
            </a:extLst>
          </p:cNvPr>
          <p:cNvGrpSpPr/>
          <p:nvPr/>
        </p:nvGrpSpPr>
        <p:grpSpPr>
          <a:xfrm>
            <a:off x="4392077" y="2244787"/>
            <a:ext cx="2431774" cy="1153024"/>
            <a:chOff x="4392077" y="2244787"/>
            <a:chExt cx="2431774" cy="1153024"/>
          </a:xfrm>
        </p:grpSpPr>
        <p:sp>
          <p:nvSpPr>
            <p:cNvPr id="71" name="Speech Bubble: Rectangle 28">
              <a:extLst>
                <a:ext uri="{FF2B5EF4-FFF2-40B4-BE49-F238E27FC236}">
                  <a16:creationId xmlns:a16="http://schemas.microsoft.com/office/drawing/2014/main" id="{ECC7D94D-0C2A-4F17-B078-019ECDB067EE}"/>
                </a:ext>
              </a:extLst>
            </p:cNvPr>
            <p:cNvSpPr/>
            <p:nvPr/>
          </p:nvSpPr>
          <p:spPr bwMode="auto">
            <a:xfrm>
              <a:off x="4437511" y="2474533"/>
              <a:ext cx="2386340" cy="923278"/>
            </a:xfrm>
            <a:prstGeom prst="wedgeRectCallout">
              <a:avLst>
                <a:gd name="adj1" fmla="val -61287"/>
                <a:gd name="adj2" fmla="val 31748"/>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endParaRPr lang="en-GB" sz="1100">
                <a:solidFill>
                  <a:schemeClr val="tx2"/>
                </a:solidFill>
                <a:latin typeface="Trebuchet MS" panose="020B0603020202020204" pitchFamily="34" charset="0"/>
              </a:endParaRPr>
            </a:p>
          </p:txBody>
        </p:sp>
        <p:sp>
          <p:nvSpPr>
            <p:cNvPr id="72" name="Rectangle 71">
              <a:extLst>
                <a:ext uri="{FF2B5EF4-FFF2-40B4-BE49-F238E27FC236}">
                  <a16:creationId xmlns:a16="http://schemas.microsoft.com/office/drawing/2014/main" id="{53C54B8D-BE68-4D37-A999-4A69EAE72C27}"/>
                </a:ext>
              </a:extLst>
            </p:cNvPr>
            <p:cNvSpPr/>
            <p:nvPr/>
          </p:nvSpPr>
          <p:spPr bwMode="auto">
            <a:xfrm>
              <a:off x="5482669" y="2568836"/>
              <a:ext cx="1226974"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50m</a:t>
              </a:r>
            </a:p>
            <a:p>
              <a:pPr marR="0" algn="ctr" defTabSz="361950" rtl="0" eaLnBrk="1" fontAlgn="base" latinLnBrk="0" hangingPunct="1">
                <a:lnSpc>
                  <a:spcPts val="1100"/>
                </a:lnSpc>
                <a:spcBef>
                  <a:spcPct val="0"/>
                </a:spcBef>
                <a:spcAft>
                  <a:spcPct val="0"/>
                </a:spcAft>
                <a:buClrTx/>
                <a:buSzTx/>
                <a:tabLst/>
              </a:pPr>
              <a:endParaRPr lang="en-GB" sz="1050">
                <a:latin typeface="Trebuchet MS" pitchFamily="34" charset="0"/>
              </a:endParaRP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7m</a:t>
              </a: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4%</a:t>
              </a:r>
            </a:p>
          </p:txBody>
        </p:sp>
        <p:sp>
          <p:nvSpPr>
            <p:cNvPr id="73" name="Rectangle 72">
              <a:extLst>
                <a:ext uri="{FF2B5EF4-FFF2-40B4-BE49-F238E27FC236}">
                  <a16:creationId xmlns:a16="http://schemas.microsoft.com/office/drawing/2014/main" id="{33EC2CA9-E55A-42EF-AE84-8E6F3F8A905F}"/>
                </a:ext>
              </a:extLst>
            </p:cNvPr>
            <p:cNvSpPr/>
            <p:nvPr/>
          </p:nvSpPr>
          <p:spPr bwMode="auto">
            <a:xfrm>
              <a:off x="4556957" y="2566988"/>
              <a:ext cx="811503" cy="736521"/>
            </a:xfrm>
            <a:prstGeom prst="rect">
              <a:avLst/>
            </a:prstGeom>
            <a:solidFill>
              <a:srgbClr val="E2E2E2"/>
            </a:solid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Market size:</a:t>
              </a:r>
            </a:p>
            <a:p>
              <a:pPr marR="0" defTabSz="361950" rtl="0" eaLnBrk="1" fontAlgn="base" latinLnBrk="0" hangingPunct="1">
                <a:lnSpc>
                  <a:spcPts val="1100"/>
                </a:lnSpc>
                <a:spcBef>
                  <a:spcPct val="0"/>
                </a:spcBef>
                <a:spcAft>
                  <a:spcPct val="0"/>
                </a:spcAft>
                <a:buClrTx/>
                <a:buSzTx/>
                <a:tabLst/>
              </a:pPr>
              <a:endParaRPr lang="en-GB" sz="700" i="1">
                <a:latin typeface="Trebuchet MS" pitchFamily="34" charset="0"/>
              </a:endParaRPr>
            </a:p>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Altares' mkt share (2019 rev.)²:</a:t>
              </a:r>
            </a:p>
          </p:txBody>
        </p:sp>
        <p:pic>
          <p:nvPicPr>
            <p:cNvPr id="74" name="Picture 2" descr="5 ft x 3 ft 150 x 90 cm-DRAPEAU BELGE Belgique 100% Polyester ...">
              <a:extLst>
                <a:ext uri="{FF2B5EF4-FFF2-40B4-BE49-F238E27FC236}">
                  <a16:creationId xmlns:a16="http://schemas.microsoft.com/office/drawing/2014/main" id="{94AC2F7C-8999-4161-A05D-0DA384EF3307}"/>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4431717" y="2282953"/>
              <a:ext cx="238896"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75" name="Rectangle: Rounded Corners 4">
              <a:extLst>
                <a:ext uri="{FF2B5EF4-FFF2-40B4-BE49-F238E27FC236}">
                  <a16:creationId xmlns:a16="http://schemas.microsoft.com/office/drawing/2014/main" id="{16D16546-4134-4651-99F2-573467EF2354}"/>
                </a:ext>
              </a:extLst>
            </p:cNvPr>
            <p:cNvSpPr/>
            <p:nvPr/>
          </p:nvSpPr>
          <p:spPr bwMode="auto">
            <a:xfrm>
              <a:off x="4392077" y="2244787"/>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Belgium</a:t>
              </a:r>
            </a:p>
          </p:txBody>
        </p:sp>
      </p:grpSp>
    </p:spTree>
    <p:extLst>
      <p:ext uri="{BB962C8B-B14F-4D97-AF65-F5344CB8AC3E}">
        <p14:creationId xmlns:p14="http://schemas.microsoft.com/office/powerpoint/2010/main" val="1770045098"/>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89E4092-BD45-4A75-BD4C-7EB5C9178A1D}"/>
              </a:ext>
            </a:extLst>
          </p:cNvPr>
          <p:cNvGraphicFramePr>
            <a:graphicFrameLocks noChangeAspect="1"/>
          </p:cNvGraphicFramePr>
          <p:nvPr>
            <p:custDataLst>
              <p:tags r:id="rId1"/>
            </p:custDataLst>
            <p:extLst>
              <p:ext uri="{D42A27DB-BD31-4B8C-83A1-F6EECF244321}">
                <p14:modId xmlns:p14="http://schemas.microsoft.com/office/powerpoint/2010/main" val="141261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6" name="Objet 5" hidden="1">
                        <a:extLst>
                          <a:ext uri="{FF2B5EF4-FFF2-40B4-BE49-F238E27FC236}">
                            <a16:creationId xmlns:a16="http://schemas.microsoft.com/office/drawing/2014/main" id="{689E4092-BD45-4A75-BD4C-7EB5C9178A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BC8B357-48EA-405E-A073-E8A1FDBAD5B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7D7E6DAC-9585-4765-BAA6-94FE40B43AD2}"/>
              </a:ext>
            </a:extLst>
          </p:cNvPr>
          <p:cNvSpPr>
            <a:spLocks noGrp="1"/>
          </p:cNvSpPr>
          <p:nvPr>
            <p:ph type="title"/>
          </p:nvPr>
        </p:nvSpPr>
        <p:spPr>
          <a:xfrm>
            <a:off x="165599" y="147600"/>
            <a:ext cx="8303697" cy="684000"/>
          </a:xfrm>
        </p:spPr>
        <p:txBody>
          <a:bodyPr/>
          <a:lstStyle/>
          <a:p>
            <a:r>
              <a:rPr lang="en-GB">
                <a:latin typeface="Trebuchet MS" panose="020B0603020202020204" pitchFamily="34" charset="0"/>
              </a:rPr>
              <a:t>Credit &amp; financial risk information acts as a </a:t>
            </a:r>
            <a:r>
              <a:rPr lang="en-GB">
                <a:solidFill>
                  <a:schemeClr val="tx2"/>
                </a:solidFill>
                <a:latin typeface="Trebuchet MS" panose="020B0603020202020204" pitchFamily="34" charset="0"/>
              </a:rPr>
              <a:t>key risk prevention solution </a:t>
            </a:r>
            <a:r>
              <a:rPr lang="en-GB">
                <a:latin typeface="Trebuchet MS" panose="020B0603020202020204" pitchFamily="34" charset="0"/>
              </a:rPr>
              <a:t>among the </a:t>
            </a:r>
            <a:r>
              <a:rPr lang="en-GB">
                <a:solidFill>
                  <a:schemeClr val="tx2"/>
                </a:solidFill>
                <a:latin typeface="Trebuchet MS" panose="020B0603020202020204" pitchFamily="34" charset="0"/>
              </a:rPr>
              <a:t>risk management </a:t>
            </a:r>
            <a:r>
              <a:rPr lang="en-GB">
                <a:latin typeface="Trebuchet MS" panose="020B0603020202020204" pitchFamily="34" charset="0"/>
              </a:rPr>
              <a:t>toolkit, which gathers several complementary solutions (e.g. insurance, factoring, debt recovery…) to help companies </a:t>
            </a:r>
            <a:r>
              <a:rPr lang="en-GB">
                <a:solidFill>
                  <a:schemeClr val="tx2"/>
                </a:solidFill>
                <a:latin typeface="Trebuchet MS" panose="020B0603020202020204" pitchFamily="34" charset="0"/>
              </a:rPr>
              <a:t>manage</a:t>
            </a:r>
            <a:r>
              <a:rPr lang="en-GB">
                <a:latin typeface="Trebuchet MS" panose="020B0603020202020204" pitchFamily="34" charset="0"/>
              </a:rPr>
              <a:t> and </a:t>
            </a:r>
            <a:r>
              <a:rPr lang="en-GB">
                <a:solidFill>
                  <a:schemeClr val="tx2"/>
                </a:solidFill>
                <a:latin typeface="Trebuchet MS" panose="020B0603020202020204" pitchFamily="34" charset="0"/>
              </a:rPr>
              <a:t>mitigate</a:t>
            </a:r>
            <a:r>
              <a:rPr lang="en-GB">
                <a:latin typeface="Trebuchet MS" panose="020B0603020202020204" pitchFamily="34" charset="0"/>
              </a:rPr>
              <a:t> </a:t>
            </a:r>
            <a:r>
              <a:rPr lang="en-GB">
                <a:solidFill>
                  <a:schemeClr val="tx2"/>
                </a:solidFill>
                <a:latin typeface="Trebuchet MS" panose="020B0603020202020204" pitchFamily="34" charset="0"/>
              </a:rPr>
              <a:t>risk</a:t>
            </a:r>
            <a:endParaRPr lang="en-GB">
              <a:solidFill>
                <a:schemeClr val="tx2"/>
              </a:solidFill>
              <a:highlight>
                <a:srgbClr val="FFFF00"/>
              </a:highlight>
              <a:latin typeface="Trebuchet MS" panose="020B0603020202020204" pitchFamily="34" charset="0"/>
            </a:endParaRPr>
          </a:p>
        </p:txBody>
      </p:sp>
      <p:cxnSp>
        <p:nvCxnSpPr>
          <p:cNvPr id="7" name="Connecteur droit 4">
            <a:extLst>
              <a:ext uri="{FF2B5EF4-FFF2-40B4-BE49-F238E27FC236}">
                <a16:creationId xmlns:a16="http://schemas.microsoft.com/office/drawing/2014/main" id="{F4AD23CA-B22C-4DDE-948C-CD956E6546D8}"/>
              </a:ext>
            </a:extLst>
          </p:cNvPr>
          <p:cNvCxnSpPr>
            <a:cxnSpLocks/>
          </p:cNvCxnSpPr>
          <p:nvPr/>
        </p:nvCxnSpPr>
        <p:spPr bwMode="auto">
          <a:xfrm>
            <a:off x="153380" y="1276433"/>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ZoneTexte 6">
            <a:extLst>
              <a:ext uri="{FF2B5EF4-FFF2-40B4-BE49-F238E27FC236}">
                <a16:creationId xmlns:a16="http://schemas.microsoft.com/office/drawing/2014/main" id="{03651272-1EA7-4138-B4BF-6E1A2FA873DD}"/>
              </a:ext>
            </a:extLst>
          </p:cNvPr>
          <p:cNvSpPr txBox="1"/>
          <p:nvPr/>
        </p:nvSpPr>
        <p:spPr>
          <a:xfrm>
            <a:off x="2753030" y="1150525"/>
            <a:ext cx="4515367" cy="251817"/>
          </a:xfrm>
          <a:prstGeom prst="rect">
            <a:avLst/>
          </a:prstGeom>
          <a:solidFill>
            <a:schemeClr val="bg1"/>
          </a:solidFill>
          <a:ln>
            <a:noFill/>
          </a:ln>
        </p:spPr>
        <p:txBody>
          <a:bodyPr wrap="square" rtlCol="0">
            <a:noAutofit/>
          </a:bodyPr>
          <a:lstStyle/>
          <a:p>
            <a:pPr algn="ctr"/>
            <a:r>
              <a:rPr lang="en-GB" sz="1100">
                <a:latin typeface="Trebuchet MS" panose="020B0603020202020204" pitchFamily="34" charset="0"/>
              </a:rPr>
              <a:t>Overview of existing risk management solutions for clients</a:t>
            </a:r>
          </a:p>
        </p:txBody>
      </p:sp>
      <p:sp>
        <p:nvSpPr>
          <p:cNvPr id="71" name="Rectangle 70">
            <a:extLst>
              <a:ext uri="{FF2B5EF4-FFF2-40B4-BE49-F238E27FC236}">
                <a16:creationId xmlns:a16="http://schemas.microsoft.com/office/drawing/2014/main" id="{11230721-AC4A-45E7-83F0-9D5527D4D7EB}"/>
              </a:ext>
            </a:extLst>
          </p:cNvPr>
          <p:cNvSpPr/>
          <p:nvPr/>
        </p:nvSpPr>
        <p:spPr bwMode="auto">
          <a:xfrm>
            <a:off x="7648206" y="6603220"/>
            <a:ext cx="247844" cy="138300"/>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000">
              <a:latin typeface="Trebuchet MS" pitchFamily="34" charset="0"/>
            </a:endParaRPr>
          </a:p>
        </p:txBody>
      </p:sp>
      <p:sp>
        <p:nvSpPr>
          <p:cNvPr id="72" name="Rectangle 71">
            <a:extLst>
              <a:ext uri="{FF2B5EF4-FFF2-40B4-BE49-F238E27FC236}">
                <a16:creationId xmlns:a16="http://schemas.microsoft.com/office/drawing/2014/main" id="{49D2F766-46E9-4BB4-B280-F81C8BBBF4E3}"/>
              </a:ext>
            </a:extLst>
          </p:cNvPr>
          <p:cNvSpPr/>
          <p:nvPr/>
        </p:nvSpPr>
        <p:spPr bwMode="auto">
          <a:xfrm>
            <a:off x="6736765" y="6603220"/>
            <a:ext cx="893623" cy="138300"/>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600">
                <a:latin typeface="Trebuchet MS" panose="020B0603020202020204" pitchFamily="34" charset="0"/>
              </a:rPr>
              <a:t>Addressed by </a:t>
            </a:r>
            <a:r>
              <a:rPr lang="en-GB" sz="600" err="1">
                <a:latin typeface="Trebuchet MS" panose="020B0603020202020204" pitchFamily="34" charset="0"/>
              </a:rPr>
              <a:t>Altares</a:t>
            </a:r>
            <a:endParaRPr lang="en-GB" sz="600">
              <a:latin typeface="Trebuchet MS" panose="020B0603020202020204" pitchFamily="34" charset="0"/>
            </a:endParaRPr>
          </a:p>
        </p:txBody>
      </p:sp>
      <p:sp>
        <p:nvSpPr>
          <p:cNvPr id="78" name="Text Placeholder 2">
            <a:extLst>
              <a:ext uri="{FF2B5EF4-FFF2-40B4-BE49-F238E27FC236}">
                <a16:creationId xmlns:a16="http://schemas.microsoft.com/office/drawing/2014/main" id="{4E5570E4-33AB-4E75-A8D9-2654C6127B34}"/>
              </a:ext>
            </a:extLst>
          </p:cNvPr>
          <p:cNvSpPr>
            <a:spLocks noGrp="1"/>
          </p:cNvSpPr>
          <p:nvPr>
            <p:ph type="body" sz="quarter" idx="10"/>
          </p:nvPr>
        </p:nvSpPr>
        <p:spPr>
          <a:xfrm>
            <a:off x="1316038" y="6580188"/>
            <a:ext cx="4360862" cy="244475"/>
          </a:xfrm>
        </p:spPr>
        <p:txBody>
          <a:bodyPr/>
          <a:lstStyle/>
          <a:p>
            <a:r>
              <a:rPr lang="en-GB"/>
              <a:t>Sources: eleven research &amp; analysis, expert calls, </a:t>
            </a:r>
            <a:r>
              <a:rPr lang="en-GB" err="1"/>
              <a:t>investopedia</a:t>
            </a:r>
            <a:endParaRPr lang="en-GB"/>
          </a:p>
          <a:p>
            <a:endParaRPr lang="en-GB"/>
          </a:p>
        </p:txBody>
      </p:sp>
      <p:sp>
        <p:nvSpPr>
          <p:cNvPr id="9" name="Isosceles Triangle 8">
            <a:extLst>
              <a:ext uri="{FF2B5EF4-FFF2-40B4-BE49-F238E27FC236}">
                <a16:creationId xmlns:a16="http://schemas.microsoft.com/office/drawing/2014/main" id="{51EE08BF-5FDC-49EF-94A3-4996218622E3}"/>
              </a:ext>
            </a:extLst>
          </p:cNvPr>
          <p:cNvSpPr/>
          <p:nvPr/>
        </p:nvSpPr>
        <p:spPr bwMode="auto">
          <a:xfrm rot="5400000">
            <a:off x="66301" y="3656848"/>
            <a:ext cx="3005222" cy="245791"/>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32" name="Rectangle 31">
            <a:extLst>
              <a:ext uri="{FF2B5EF4-FFF2-40B4-BE49-F238E27FC236}">
                <a16:creationId xmlns:a16="http://schemas.microsoft.com/office/drawing/2014/main" id="{331109C5-3C72-46B5-B709-99A63A0B8123}"/>
              </a:ext>
            </a:extLst>
          </p:cNvPr>
          <p:cNvSpPr/>
          <p:nvPr/>
        </p:nvSpPr>
        <p:spPr bwMode="auto">
          <a:xfrm>
            <a:off x="1568912" y="1612078"/>
            <a:ext cx="2830203" cy="334318"/>
          </a:xfrm>
          <a:prstGeom prst="rect">
            <a:avLst/>
          </a:prstGeom>
          <a:solidFill>
            <a:schemeClr val="bg1"/>
          </a:solidFill>
          <a:ln w="9525" cap="flat" cmpd="sng" algn="ctr">
            <a:noFill/>
            <a:prstDash val="solid"/>
            <a:round/>
            <a:headEnd type="none" w="med" len="med"/>
            <a:tailEnd type="none" w="med" len="med"/>
          </a:ln>
          <a:effectLst/>
        </p:spPr>
        <p:txBody>
          <a:bodyPr vert="horz" wrap="square" lIns="252000" tIns="45720" rIns="72000" bIns="45720" numCol="1" rtlCol="0" anchor="ctr" anchorCtr="0" compatLnSpc="1">
            <a:prstTxWarp prst="textNoShape">
              <a:avLst/>
            </a:prstTxWarp>
          </a:bodyPr>
          <a:lstStyle/>
          <a:p>
            <a:pPr algn="ctr"/>
            <a:r>
              <a:rPr lang="en-GB" sz="1100" i="1">
                <a:solidFill>
                  <a:schemeClr val="tx2"/>
                </a:solidFill>
                <a:latin typeface="Trebuchet MS" panose="020B0603020202020204" pitchFamily="34" charset="0"/>
              </a:rPr>
              <a:t>Available risk management solutions</a:t>
            </a:r>
          </a:p>
        </p:txBody>
      </p:sp>
      <p:sp>
        <p:nvSpPr>
          <p:cNvPr id="75" name="Rectangle 74">
            <a:extLst>
              <a:ext uri="{FF2B5EF4-FFF2-40B4-BE49-F238E27FC236}">
                <a16:creationId xmlns:a16="http://schemas.microsoft.com/office/drawing/2014/main" id="{8859AB88-C464-49E6-B7DF-3DD8B7F59FE2}"/>
              </a:ext>
            </a:extLst>
          </p:cNvPr>
          <p:cNvSpPr/>
          <p:nvPr>
            <p:custDataLst>
              <p:tags r:id="rId3"/>
            </p:custDataLst>
          </p:nvPr>
        </p:nvSpPr>
        <p:spPr bwMode="auto">
          <a:xfrm>
            <a:off x="426879" y="5780389"/>
            <a:ext cx="9121885" cy="604419"/>
          </a:xfrm>
          <a:prstGeom prst="rect">
            <a:avLst/>
          </a:prstGeom>
          <a:solidFill>
            <a:schemeClr val="bg2">
              <a:lumMod val="20000"/>
              <a:lumOff val="80000"/>
            </a:schemeClr>
          </a:solidFill>
          <a:ln w="9525"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square" lIns="36000" tIns="45720" rIns="36000" bIns="45720" numCol="1" rtlCol="0" anchor="ctr" anchorCtr="0" compatLnSpc="1">
            <a:prstTxWarp prst="textNoShape">
              <a:avLst/>
            </a:prstTxWarp>
          </a:bodyPr>
          <a:lstStyle/>
          <a:p>
            <a:pPr marL="182563">
              <a:spcBef>
                <a:spcPts val="600"/>
              </a:spcBef>
            </a:pPr>
            <a:r>
              <a:rPr lang="en-GB" sz="1050" i="1">
                <a:solidFill>
                  <a:schemeClr val="tx2"/>
                </a:solidFill>
                <a:latin typeface="Trebuchet MS" panose="020B0603020202020204" pitchFamily="34" charset="0"/>
              </a:rPr>
              <a:t>Illustrative example: </a:t>
            </a:r>
            <a:r>
              <a:rPr lang="en-GB" sz="1050">
                <a:latin typeface="Trebuchet MS" panose="020B0603020202020204" pitchFamily="34" charset="0"/>
              </a:rPr>
              <a:t>Companies of temporary workers pay salaries in advance before being paid by their clients. In case of non-payment, these companies lose the advanced salaries as well as their commissions (a fraction of the salaries), which represent very large risks. Therefore, these type of companies uses various risk management solutions to protect themselves against the risk of non-payment</a:t>
            </a:r>
          </a:p>
        </p:txBody>
      </p:sp>
      <p:grpSp>
        <p:nvGrpSpPr>
          <p:cNvPr id="128" name="Group 127">
            <a:extLst>
              <a:ext uri="{FF2B5EF4-FFF2-40B4-BE49-F238E27FC236}">
                <a16:creationId xmlns:a16="http://schemas.microsoft.com/office/drawing/2014/main" id="{5F349357-07EC-45BC-9DED-E202B83724E9}"/>
              </a:ext>
            </a:extLst>
          </p:cNvPr>
          <p:cNvGrpSpPr/>
          <p:nvPr/>
        </p:nvGrpSpPr>
        <p:grpSpPr>
          <a:xfrm>
            <a:off x="1889812" y="2262392"/>
            <a:ext cx="7710246" cy="3034702"/>
            <a:chOff x="1980805" y="2463557"/>
            <a:chExt cx="7710246" cy="3034702"/>
          </a:xfrm>
        </p:grpSpPr>
        <p:sp>
          <p:nvSpPr>
            <p:cNvPr id="33" name="Rectangle 32">
              <a:extLst>
                <a:ext uri="{FF2B5EF4-FFF2-40B4-BE49-F238E27FC236}">
                  <a16:creationId xmlns:a16="http://schemas.microsoft.com/office/drawing/2014/main" id="{F6710FAA-60AB-4349-B63B-A90EE8BD584E}"/>
                </a:ext>
              </a:extLst>
            </p:cNvPr>
            <p:cNvSpPr/>
            <p:nvPr/>
          </p:nvSpPr>
          <p:spPr bwMode="auto">
            <a:xfrm>
              <a:off x="1980805" y="2463557"/>
              <a:ext cx="2441196" cy="525195"/>
            </a:xfrm>
            <a:prstGeom prst="rect">
              <a:avLst/>
            </a:prstGeom>
            <a:solidFill>
              <a:schemeClr val="bg2">
                <a:lumMod val="20000"/>
                <a:lumOff val="80000"/>
              </a:schemeClr>
            </a:solid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itchFamily="34" charset="0"/>
                </a:rPr>
                <a:t>Credit &amp; financial risk </a:t>
              </a:r>
              <a:br>
                <a:rPr lang="en-GB" sz="1000">
                  <a:solidFill>
                    <a:schemeClr val="tx2"/>
                  </a:solidFill>
                  <a:latin typeface="Trebuchet MS" pitchFamily="34" charset="0"/>
                </a:rPr>
              </a:br>
              <a:r>
                <a:rPr lang="en-GB" sz="1000">
                  <a:solidFill>
                    <a:schemeClr val="tx2"/>
                  </a:solidFill>
                  <a:latin typeface="Trebuchet MS" pitchFamily="34" charset="0"/>
                </a:rPr>
                <a:t>    information (“self-insurance”)</a:t>
              </a:r>
            </a:p>
          </p:txBody>
        </p:sp>
        <p:sp>
          <p:nvSpPr>
            <p:cNvPr id="34" name="Rectangle 33">
              <a:extLst>
                <a:ext uri="{FF2B5EF4-FFF2-40B4-BE49-F238E27FC236}">
                  <a16:creationId xmlns:a16="http://schemas.microsoft.com/office/drawing/2014/main" id="{52257FE4-0BC0-4DFA-9606-9B0FC6E960AF}"/>
                </a:ext>
              </a:extLst>
            </p:cNvPr>
            <p:cNvSpPr/>
            <p:nvPr/>
          </p:nvSpPr>
          <p:spPr bwMode="auto">
            <a:xfrm>
              <a:off x="1980805" y="4136561"/>
              <a:ext cx="2441196" cy="525195"/>
            </a:xfrm>
            <a:prstGeom prst="rect">
              <a:avLst/>
            </a:prstGeom>
            <a:solidFill>
              <a:schemeClr val="bg1"/>
            </a:solidFill>
            <a:ln w="9525" cap="flat" cmpd="sng" algn="ctr">
              <a:solidFill>
                <a:srgbClr val="E2E2E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itchFamily="34" charset="0"/>
                </a:rPr>
                <a:t>Factoring</a:t>
              </a:r>
            </a:p>
          </p:txBody>
        </p:sp>
        <p:sp>
          <p:nvSpPr>
            <p:cNvPr id="35" name="Rectangle 34">
              <a:extLst>
                <a:ext uri="{FF2B5EF4-FFF2-40B4-BE49-F238E27FC236}">
                  <a16:creationId xmlns:a16="http://schemas.microsoft.com/office/drawing/2014/main" id="{1D2DA5D0-4070-4D53-95DC-FBE373A9CA67}"/>
                </a:ext>
              </a:extLst>
            </p:cNvPr>
            <p:cNvSpPr/>
            <p:nvPr/>
          </p:nvSpPr>
          <p:spPr bwMode="auto">
            <a:xfrm>
              <a:off x="1980805" y="4973064"/>
              <a:ext cx="2441196" cy="525195"/>
            </a:xfrm>
            <a:prstGeom prst="rect">
              <a:avLst/>
            </a:prstGeom>
            <a:solidFill>
              <a:schemeClr val="bg1"/>
            </a:solidFill>
            <a:ln w="9525" cap="flat" cmpd="sng" algn="ctr">
              <a:solidFill>
                <a:srgbClr val="E2E2E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itchFamily="34" charset="0"/>
                </a:rPr>
                <a:t>Debt recovery</a:t>
              </a:r>
            </a:p>
          </p:txBody>
        </p:sp>
        <p:sp>
          <p:nvSpPr>
            <p:cNvPr id="44" name="Rectangle 43">
              <a:extLst>
                <a:ext uri="{FF2B5EF4-FFF2-40B4-BE49-F238E27FC236}">
                  <a16:creationId xmlns:a16="http://schemas.microsoft.com/office/drawing/2014/main" id="{7B37FB61-4B84-4909-8363-B836B1A17DBA}"/>
                </a:ext>
              </a:extLst>
            </p:cNvPr>
            <p:cNvSpPr/>
            <p:nvPr/>
          </p:nvSpPr>
          <p:spPr bwMode="auto">
            <a:xfrm>
              <a:off x="1980805" y="3300059"/>
              <a:ext cx="2441196" cy="525195"/>
            </a:xfrm>
            <a:prstGeom prst="rect">
              <a:avLst/>
            </a:prstGeom>
            <a:solidFill>
              <a:schemeClr val="bg1"/>
            </a:solidFill>
            <a:ln w="9525" cap="flat" cmpd="sng" algn="ctr">
              <a:solidFill>
                <a:srgbClr val="E2E2E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itchFamily="34" charset="0"/>
                </a:rPr>
                <a:t>Credit Insurance</a:t>
              </a:r>
            </a:p>
          </p:txBody>
        </p:sp>
        <p:pic>
          <p:nvPicPr>
            <p:cNvPr id="64" name="Graphic 63">
              <a:extLst>
                <a:ext uri="{FF2B5EF4-FFF2-40B4-BE49-F238E27FC236}">
                  <a16:creationId xmlns:a16="http://schemas.microsoft.com/office/drawing/2014/main" id="{630C7556-C617-48B5-BC02-A2575C91CE4B}"/>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8629"/>
            <a:stretch/>
          </p:blipFill>
          <p:spPr>
            <a:xfrm>
              <a:off x="2135131" y="2643483"/>
              <a:ext cx="228021" cy="231927"/>
            </a:xfrm>
            <a:prstGeom prst="rect">
              <a:avLst/>
            </a:prstGeom>
          </p:spPr>
        </p:pic>
        <p:pic>
          <p:nvPicPr>
            <p:cNvPr id="66" name="Graphic 65">
              <a:extLst>
                <a:ext uri="{FF2B5EF4-FFF2-40B4-BE49-F238E27FC236}">
                  <a16:creationId xmlns:a16="http://schemas.microsoft.com/office/drawing/2014/main" id="{7893517A-B10B-42A8-95B2-C4058AEDC184}"/>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24050"/>
            <a:stretch/>
          </p:blipFill>
          <p:spPr>
            <a:xfrm>
              <a:off x="2106949" y="3428802"/>
              <a:ext cx="284384" cy="269984"/>
            </a:xfrm>
            <a:prstGeom prst="rect">
              <a:avLst/>
            </a:prstGeom>
          </p:spPr>
        </p:pic>
        <p:pic>
          <p:nvPicPr>
            <p:cNvPr id="68" name="Graphic 67">
              <a:extLst>
                <a:ext uri="{FF2B5EF4-FFF2-40B4-BE49-F238E27FC236}">
                  <a16:creationId xmlns:a16="http://schemas.microsoft.com/office/drawing/2014/main" id="{556DB1B2-0606-4232-B899-156F2B974514}"/>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b="18148"/>
            <a:stretch/>
          </p:blipFill>
          <p:spPr>
            <a:xfrm>
              <a:off x="2092730" y="4261377"/>
              <a:ext cx="312822" cy="320060"/>
            </a:xfrm>
            <a:prstGeom prst="rect">
              <a:avLst/>
            </a:prstGeom>
          </p:spPr>
        </p:pic>
        <p:pic>
          <p:nvPicPr>
            <p:cNvPr id="70" name="Graphic 69">
              <a:extLst>
                <a:ext uri="{FF2B5EF4-FFF2-40B4-BE49-F238E27FC236}">
                  <a16:creationId xmlns:a16="http://schemas.microsoft.com/office/drawing/2014/main" id="{CF9FA3E9-46DC-4462-B7BB-BCA608C0D738}"/>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b="19300"/>
            <a:stretch/>
          </p:blipFill>
          <p:spPr>
            <a:xfrm>
              <a:off x="2127956" y="5103905"/>
              <a:ext cx="242371" cy="245977"/>
            </a:xfrm>
            <a:prstGeom prst="rect">
              <a:avLst/>
            </a:prstGeom>
          </p:spPr>
        </p:pic>
        <p:grpSp>
          <p:nvGrpSpPr>
            <p:cNvPr id="126" name="Group 125">
              <a:extLst>
                <a:ext uri="{FF2B5EF4-FFF2-40B4-BE49-F238E27FC236}">
                  <a16:creationId xmlns:a16="http://schemas.microsoft.com/office/drawing/2014/main" id="{7F85F271-68D2-4073-A1BE-8EDFA080893F}"/>
                </a:ext>
              </a:extLst>
            </p:cNvPr>
            <p:cNvGrpSpPr/>
            <p:nvPr/>
          </p:nvGrpSpPr>
          <p:grpSpPr>
            <a:xfrm>
              <a:off x="4663718" y="2519229"/>
              <a:ext cx="147289" cy="2917162"/>
              <a:chOff x="4877700" y="2519229"/>
              <a:chExt cx="147289" cy="2917162"/>
            </a:xfrm>
          </p:grpSpPr>
          <p:sp>
            <p:nvSpPr>
              <p:cNvPr id="104" name="Isosceles Triangle 103">
                <a:extLst>
                  <a:ext uri="{FF2B5EF4-FFF2-40B4-BE49-F238E27FC236}">
                    <a16:creationId xmlns:a16="http://schemas.microsoft.com/office/drawing/2014/main" id="{A6699241-E616-4E2F-B293-C04E861B82D9}"/>
                  </a:ext>
                </a:extLst>
              </p:cNvPr>
              <p:cNvSpPr/>
              <p:nvPr/>
            </p:nvSpPr>
            <p:spPr bwMode="auto">
              <a:xfrm rot="5400000">
                <a:off x="4744419" y="2652510"/>
                <a:ext cx="413852" cy="147289"/>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05" name="Isosceles Triangle 104">
                <a:extLst>
                  <a:ext uri="{FF2B5EF4-FFF2-40B4-BE49-F238E27FC236}">
                    <a16:creationId xmlns:a16="http://schemas.microsoft.com/office/drawing/2014/main" id="{90820A45-F5DC-4090-86E0-B644FEFA3265}"/>
                  </a:ext>
                </a:extLst>
              </p:cNvPr>
              <p:cNvSpPr/>
              <p:nvPr/>
            </p:nvSpPr>
            <p:spPr bwMode="auto">
              <a:xfrm rot="5400000">
                <a:off x="4744419" y="3489012"/>
                <a:ext cx="413852" cy="147289"/>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06" name="Isosceles Triangle 105">
                <a:extLst>
                  <a:ext uri="{FF2B5EF4-FFF2-40B4-BE49-F238E27FC236}">
                    <a16:creationId xmlns:a16="http://schemas.microsoft.com/office/drawing/2014/main" id="{CFD5DFCC-233B-46D1-B1BF-DABF09218374}"/>
                  </a:ext>
                </a:extLst>
              </p:cNvPr>
              <p:cNvSpPr/>
              <p:nvPr/>
            </p:nvSpPr>
            <p:spPr bwMode="auto">
              <a:xfrm rot="5400000">
                <a:off x="4744419" y="4347986"/>
                <a:ext cx="413852" cy="147289"/>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07" name="Isosceles Triangle 106">
                <a:extLst>
                  <a:ext uri="{FF2B5EF4-FFF2-40B4-BE49-F238E27FC236}">
                    <a16:creationId xmlns:a16="http://schemas.microsoft.com/office/drawing/2014/main" id="{31626741-5C83-4054-A689-0BDEA51B3CBB}"/>
                  </a:ext>
                </a:extLst>
              </p:cNvPr>
              <p:cNvSpPr/>
              <p:nvPr/>
            </p:nvSpPr>
            <p:spPr bwMode="auto">
              <a:xfrm rot="5400000">
                <a:off x="4744419" y="5155820"/>
                <a:ext cx="413852" cy="147289"/>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grpSp>
          <p:nvGrpSpPr>
            <p:cNvPr id="127" name="Group 126">
              <a:extLst>
                <a:ext uri="{FF2B5EF4-FFF2-40B4-BE49-F238E27FC236}">
                  <a16:creationId xmlns:a16="http://schemas.microsoft.com/office/drawing/2014/main" id="{DCFA8D23-B1EF-4DF5-8A4C-015193F00D8D}"/>
                </a:ext>
              </a:extLst>
            </p:cNvPr>
            <p:cNvGrpSpPr/>
            <p:nvPr/>
          </p:nvGrpSpPr>
          <p:grpSpPr>
            <a:xfrm>
              <a:off x="5009012" y="2463558"/>
              <a:ext cx="2441196" cy="3034701"/>
              <a:chOff x="5242360" y="2463558"/>
              <a:chExt cx="2441196" cy="3034701"/>
            </a:xfrm>
          </p:grpSpPr>
          <p:sp>
            <p:nvSpPr>
              <p:cNvPr id="109" name="Rectangle 108">
                <a:extLst>
                  <a:ext uri="{FF2B5EF4-FFF2-40B4-BE49-F238E27FC236}">
                    <a16:creationId xmlns:a16="http://schemas.microsoft.com/office/drawing/2014/main" id="{4FC2B732-176C-4685-BD92-03362DF1C396}"/>
                  </a:ext>
                </a:extLst>
              </p:cNvPr>
              <p:cNvSpPr/>
              <p:nvPr/>
            </p:nvSpPr>
            <p:spPr bwMode="auto">
              <a:xfrm>
                <a:off x="5242360" y="2463558"/>
                <a:ext cx="2441196" cy="52519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Set of information to assess the creditworthiness of an individual or companies (e.g. credit score…)</a:t>
                </a:r>
              </a:p>
            </p:txBody>
          </p:sp>
          <p:sp>
            <p:nvSpPr>
              <p:cNvPr id="111" name="Rectangle 110">
                <a:extLst>
                  <a:ext uri="{FF2B5EF4-FFF2-40B4-BE49-F238E27FC236}">
                    <a16:creationId xmlns:a16="http://schemas.microsoft.com/office/drawing/2014/main" id="{BD606428-C27B-4586-B5F1-1CBB7A29510F}"/>
                  </a:ext>
                </a:extLst>
              </p:cNvPr>
              <p:cNvSpPr/>
              <p:nvPr/>
            </p:nvSpPr>
            <p:spPr bwMode="auto">
              <a:xfrm>
                <a:off x="5242360" y="3297166"/>
                <a:ext cx="2441196" cy="52519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Type of insurance policy purchased by a borrower to pay off existing debt in cases of insolvency</a:t>
                </a:r>
              </a:p>
            </p:txBody>
          </p:sp>
          <p:sp>
            <p:nvSpPr>
              <p:cNvPr id="112" name="Rectangle 111">
                <a:extLst>
                  <a:ext uri="{FF2B5EF4-FFF2-40B4-BE49-F238E27FC236}">
                    <a16:creationId xmlns:a16="http://schemas.microsoft.com/office/drawing/2014/main" id="{01FF2583-B93D-471E-ACBA-02CE7993E741}"/>
                  </a:ext>
                </a:extLst>
              </p:cNvPr>
              <p:cNvSpPr/>
              <p:nvPr/>
            </p:nvSpPr>
            <p:spPr bwMode="auto">
              <a:xfrm>
                <a:off x="5242360" y="4043855"/>
                <a:ext cx="2441196" cy="69903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Funding source that pays the company the value of an invoice less a discount for commission and fees (cash management tool)</a:t>
                </a:r>
              </a:p>
            </p:txBody>
          </p:sp>
          <p:sp>
            <p:nvSpPr>
              <p:cNvPr id="113" name="Rectangle 112">
                <a:extLst>
                  <a:ext uri="{FF2B5EF4-FFF2-40B4-BE49-F238E27FC236}">
                    <a16:creationId xmlns:a16="http://schemas.microsoft.com/office/drawing/2014/main" id="{481C9C55-27A9-4C32-AEBC-C14564338D64}"/>
                  </a:ext>
                </a:extLst>
              </p:cNvPr>
              <p:cNvSpPr/>
              <p:nvPr/>
            </p:nvSpPr>
            <p:spPr bwMode="auto">
              <a:xfrm>
                <a:off x="5242360" y="4973065"/>
                <a:ext cx="2441196" cy="52519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Recovering of past due debts owed to creditors </a:t>
                </a:r>
              </a:p>
            </p:txBody>
          </p:sp>
        </p:grpSp>
        <p:sp>
          <p:nvSpPr>
            <p:cNvPr id="121" name="Right Brace 120">
              <a:extLst>
                <a:ext uri="{FF2B5EF4-FFF2-40B4-BE49-F238E27FC236}">
                  <a16:creationId xmlns:a16="http://schemas.microsoft.com/office/drawing/2014/main" id="{FF66944B-643B-4150-860B-2608DD561BFA}"/>
                </a:ext>
              </a:extLst>
            </p:cNvPr>
            <p:cNvSpPr/>
            <p:nvPr/>
          </p:nvSpPr>
          <p:spPr bwMode="auto">
            <a:xfrm>
              <a:off x="7648214" y="2463557"/>
              <a:ext cx="361350" cy="3034696"/>
            </a:xfrm>
            <a:prstGeom prst="rightBrace">
              <a:avLst>
                <a:gd name="adj1" fmla="val 70937"/>
                <a:gd name="adj2" fmla="val 50000"/>
              </a:avLst>
            </a:prstGeom>
            <a:solidFill>
              <a:schemeClr val="bg1"/>
            </a:solid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122" name="Rectangle 121">
              <a:extLst>
                <a:ext uri="{FF2B5EF4-FFF2-40B4-BE49-F238E27FC236}">
                  <a16:creationId xmlns:a16="http://schemas.microsoft.com/office/drawing/2014/main" id="{76DEC65D-369B-4524-9588-17618DA513AC}"/>
                </a:ext>
              </a:extLst>
            </p:cNvPr>
            <p:cNvSpPr/>
            <p:nvPr/>
          </p:nvSpPr>
          <p:spPr bwMode="auto">
            <a:xfrm>
              <a:off x="8207570" y="2463557"/>
              <a:ext cx="1483481" cy="30331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All these </a:t>
              </a:r>
              <a:r>
                <a:rPr lang="en-GB" sz="1000">
                  <a:solidFill>
                    <a:schemeClr val="tx2"/>
                  </a:solidFill>
                  <a:latin typeface="Trebuchet MS" panose="020B0603020202020204" pitchFamily="34" charset="0"/>
                </a:rPr>
                <a:t>solutions</a:t>
              </a:r>
              <a:r>
                <a:rPr lang="en-GB" sz="1000">
                  <a:latin typeface="Trebuchet MS" panose="020B0603020202020204" pitchFamily="34" charset="0"/>
                </a:rPr>
                <a:t> are not exclusive and are used in a </a:t>
              </a:r>
              <a:r>
                <a:rPr lang="en-GB" sz="1000">
                  <a:solidFill>
                    <a:schemeClr val="tx2"/>
                  </a:solidFill>
                  <a:latin typeface="Trebuchet MS" panose="020B0603020202020204" pitchFamily="34" charset="0"/>
                </a:rPr>
                <a:t>complementary</a:t>
              </a:r>
              <a:r>
                <a:rPr lang="en-GB" sz="1000">
                  <a:latin typeface="Trebuchet MS" panose="020B0603020202020204" pitchFamily="34" charset="0"/>
                </a:rPr>
                <a:t> way at any moment of the client/supplier life cycle to </a:t>
              </a:r>
              <a:r>
                <a:rPr lang="en-GB" sz="1000">
                  <a:solidFill>
                    <a:schemeClr val="tx2"/>
                  </a:solidFill>
                  <a:latin typeface="Trebuchet MS" panose="020B0603020202020204" pitchFamily="34" charset="0"/>
                </a:rPr>
                <a:t>reduce</a:t>
              </a:r>
              <a:r>
                <a:rPr lang="en-GB" sz="1000">
                  <a:latin typeface="Trebuchet MS" panose="020B0603020202020204" pitchFamily="34" charset="0"/>
                </a:rPr>
                <a:t> the </a:t>
              </a:r>
              <a:r>
                <a:rPr lang="en-GB" sz="1000">
                  <a:solidFill>
                    <a:schemeClr val="tx2"/>
                  </a:solidFill>
                  <a:latin typeface="Trebuchet MS" panose="020B0603020202020204" pitchFamily="34" charset="0"/>
                </a:rPr>
                <a:t>risks</a:t>
              </a:r>
              <a:r>
                <a:rPr lang="en-GB" sz="1000">
                  <a:latin typeface="Trebuchet MS" panose="020B0603020202020204" pitchFamily="34" charset="0"/>
                </a:rPr>
                <a:t> companies face</a:t>
              </a:r>
            </a:p>
          </p:txBody>
        </p:sp>
      </p:grpSp>
      <p:grpSp>
        <p:nvGrpSpPr>
          <p:cNvPr id="88" name="Groupe 87">
            <a:extLst>
              <a:ext uri="{FF2B5EF4-FFF2-40B4-BE49-F238E27FC236}">
                <a16:creationId xmlns:a16="http://schemas.microsoft.com/office/drawing/2014/main" id="{B3A9C0B0-0B1C-4CC3-A2A5-D1AE91D64F44}"/>
              </a:ext>
            </a:extLst>
          </p:cNvPr>
          <p:cNvGrpSpPr/>
          <p:nvPr/>
        </p:nvGrpSpPr>
        <p:grpSpPr>
          <a:xfrm>
            <a:off x="305942" y="1552954"/>
            <a:ext cx="1071038" cy="4130023"/>
            <a:chOff x="42279" y="1388247"/>
            <a:chExt cx="1071038" cy="4997327"/>
          </a:xfrm>
        </p:grpSpPr>
        <p:sp>
          <p:nvSpPr>
            <p:cNvPr id="79" name="Rectangle 78">
              <a:extLst>
                <a:ext uri="{FF2B5EF4-FFF2-40B4-BE49-F238E27FC236}">
                  <a16:creationId xmlns:a16="http://schemas.microsoft.com/office/drawing/2014/main" id="{66F8EA3F-A1C6-434C-B83A-7F8470B39F6E}"/>
                </a:ext>
              </a:extLst>
            </p:cNvPr>
            <p:cNvSpPr/>
            <p:nvPr/>
          </p:nvSpPr>
          <p:spPr bwMode="auto">
            <a:xfrm>
              <a:off x="163216" y="1838930"/>
              <a:ext cx="807919" cy="1044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endParaRPr lang="en-GB" sz="1050" b="1">
                <a:solidFill>
                  <a:schemeClr val="accent1">
                    <a:lumMod val="75000"/>
                  </a:schemeClr>
                </a:solidFill>
                <a:latin typeface="Trebuchet MS" pitchFamily="34" charset="0"/>
              </a:endParaRPr>
            </a:p>
            <a:p>
              <a:pPr marR="0" algn="ctr" defTabSz="914400" rtl="0" eaLnBrk="1" fontAlgn="base" latinLnBrk="0" hangingPunct="1">
                <a:lnSpc>
                  <a:spcPct val="100000"/>
                </a:lnSpc>
                <a:spcBef>
                  <a:spcPct val="0"/>
                </a:spcBef>
                <a:spcAft>
                  <a:spcPct val="0"/>
                </a:spcAft>
                <a:buClrTx/>
                <a:buSzTx/>
                <a:tabLst/>
              </a:pPr>
              <a:r>
                <a:rPr lang="en-GB" sz="1050" b="1">
                  <a:solidFill>
                    <a:schemeClr val="accent1">
                      <a:lumMod val="75000"/>
                    </a:schemeClr>
                  </a:solidFill>
                  <a:latin typeface="Trebuchet MS" pitchFamily="34" charset="0"/>
                </a:rPr>
                <a:t>Key accounts</a:t>
              </a:r>
              <a:endParaRPr kumimoji="0" lang="en-GB" sz="1050" i="0" u="none" strike="noStrike" cap="none" normalizeH="0" baseline="0">
                <a:ln>
                  <a:noFill/>
                </a:ln>
                <a:solidFill>
                  <a:schemeClr val="accent1">
                    <a:lumMod val="75000"/>
                  </a:schemeClr>
                </a:solidFill>
                <a:effectLst/>
                <a:latin typeface="Trebuchet MS" pitchFamily="34" charset="0"/>
              </a:endParaRPr>
            </a:p>
          </p:txBody>
        </p:sp>
        <p:pic>
          <p:nvPicPr>
            <p:cNvPr id="80" name="Graphique 62">
              <a:extLst>
                <a:ext uri="{FF2B5EF4-FFF2-40B4-BE49-F238E27FC236}">
                  <a16:creationId xmlns:a16="http://schemas.microsoft.com/office/drawing/2014/main" id="{300F523E-7385-40A0-B214-A9E7F4EB0FA3}"/>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b="19795"/>
            <a:stretch/>
          </p:blipFill>
          <p:spPr>
            <a:xfrm>
              <a:off x="433913" y="1885225"/>
              <a:ext cx="266524" cy="267203"/>
            </a:xfrm>
            <a:prstGeom prst="rect">
              <a:avLst/>
            </a:prstGeom>
            <a:effectLst/>
          </p:spPr>
        </p:pic>
        <p:sp>
          <p:nvSpPr>
            <p:cNvPr id="81" name="Rectangle 80">
              <a:extLst>
                <a:ext uri="{FF2B5EF4-FFF2-40B4-BE49-F238E27FC236}">
                  <a16:creationId xmlns:a16="http://schemas.microsoft.com/office/drawing/2014/main" id="{52892F92-F7E5-4B57-A6C9-A6A7F779929C}"/>
                </a:ext>
              </a:extLst>
            </p:cNvPr>
            <p:cNvSpPr/>
            <p:nvPr/>
          </p:nvSpPr>
          <p:spPr bwMode="auto">
            <a:xfrm>
              <a:off x="163216" y="4179706"/>
              <a:ext cx="807919" cy="1044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50" b="1">
                <a:solidFill>
                  <a:schemeClr val="accent1">
                    <a:lumMod val="75000"/>
                  </a:schemeClr>
                </a:solidFill>
                <a:latin typeface="Trebuchet MS" pitchFamily="34" charset="0"/>
              </a:endParaRPr>
            </a:p>
            <a:p>
              <a:pPr algn="ctr"/>
              <a:r>
                <a:rPr lang="en-GB" sz="1050" b="1">
                  <a:solidFill>
                    <a:schemeClr val="accent1">
                      <a:lumMod val="75000"/>
                    </a:schemeClr>
                  </a:solidFill>
                  <a:latin typeface="Trebuchet MS" pitchFamily="34" charset="0"/>
                </a:rPr>
                <a:t>Mid market</a:t>
              </a:r>
            </a:p>
          </p:txBody>
        </p:sp>
        <p:pic>
          <p:nvPicPr>
            <p:cNvPr id="82" name="Graphique 63">
              <a:extLst>
                <a:ext uri="{FF2B5EF4-FFF2-40B4-BE49-F238E27FC236}">
                  <a16:creationId xmlns:a16="http://schemas.microsoft.com/office/drawing/2014/main" id="{EF302793-FE91-46F6-A43B-0E35D41FD76F}"/>
                </a:ext>
              </a:extLst>
            </p:cNvPr>
            <p:cNvPicPr>
              <a:picLocks noChangeAspect="1"/>
            </p:cNvPicPr>
            <p:nvPr/>
          </p:nvPicPr>
          <p:blipFill rotWithShape="1">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b="28139"/>
            <a:stretch/>
          </p:blipFill>
          <p:spPr>
            <a:xfrm>
              <a:off x="409353" y="4233206"/>
              <a:ext cx="315644" cy="283523"/>
            </a:xfrm>
            <a:prstGeom prst="rect">
              <a:avLst/>
            </a:prstGeom>
            <a:effectLst/>
          </p:spPr>
        </p:pic>
        <p:sp>
          <p:nvSpPr>
            <p:cNvPr id="83" name="Rectangle 82">
              <a:extLst>
                <a:ext uri="{FF2B5EF4-FFF2-40B4-BE49-F238E27FC236}">
                  <a16:creationId xmlns:a16="http://schemas.microsoft.com/office/drawing/2014/main" id="{FB632D86-F65E-4A88-9E68-4D653E892C15}"/>
                </a:ext>
              </a:extLst>
            </p:cNvPr>
            <p:cNvSpPr/>
            <p:nvPr/>
          </p:nvSpPr>
          <p:spPr bwMode="auto">
            <a:xfrm>
              <a:off x="163216" y="5341574"/>
              <a:ext cx="807919" cy="1044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050" b="1">
                  <a:solidFill>
                    <a:schemeClr val="accent1">
                      <a:lumMod val="75000"/>
                    </a:schemeClr>
                  </a:solidFill>
                  <a:latin typeface="Trebuchet MS" pitchFamily="34" charset="0"/>
                </a:rPr>
                <a:t>Mass market</a:t>
              </a:r>
            </a:p>
          </p:txBody>
        </p:sp>
        <p:pic>
          <p:nvPicPr>
            <p:cNvPr id="84" name="Graphique 64">
              <a:extLst>
                <a:ext uri="{FF2B5EF4-FFF2-40B4-BE49-F238E27FC236}">
                  <a16:creationId xmlns:a16="http://schemas.microsoft.com/office/drawing/2014/main" id="{C6161757-F44C-4FC6-A7AF-FEC72F04D6FC}"/>
                </a:ext>
              </a:extLst>
            </p:cNvPr>
            <p:cNvPicPr>
              <a:picLocks noChangeAspect="1"/>
            </p:cNvPicPr>
            <p:nvPr/>
          </p:nvPicPr>
          <p:blipFill rotWithShape="1">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r="-3601" b="22797"/>
            <a:stretch/>
          </p:blipFill>
          <p:spPr>
            <a:xfrm>
              <a:off x="419789" y="5388803"/>
              <a:ext cx="294773" cy="274579"/>
            </a:xfrm>
            <a:prstGeom prst="rect">
              <a:avLst/>
            </a:prstGeom>
            <a:effectLst/>
          </p:spPr>
        </p:pic>
        <p:sp>
          <p:nvSpPr>
            <p:cNvPr id="85" name="Rectangle 84">
              <a:extLst>
                <a:ext uri="{FF2B5EF4-FFF2-40B4-BE49-F238E27FC236}">
                  <a16:creationId xmlns:a16="http://schemas.microsoft.com/office/drawing/2014/main" id="{1735B153-730A-4768-977D-3DC3861FD09E}"/>
                </a:ext>
              </a:extLst>
            </p:cNvPr>
            <p:cNvSpPr/>
            <p:nvPr/>
          </p:nvSpPr>
          <p:spPr bwMode="auto">
            <a:xfrm>
              <a:off x="163216" y="2997271"/>
              <a:ext cx="807919" cy="1044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050" b="1">
                  <a:solidFill>
                    <a:schemeClr val="accent1">
                      <a:lumMod val="75000"/>
                    </a:schemeClr>
                  </a:solidFill>
                  <a:latin typeface="Trebuchet MS" pitchFamily="34" charset="0"/>
                </a:rPr>
                <a:t>Public institutions</a:t>
              </a:r>
            </a:p>
          </p:txBody>
        </p:sp>
        <p:sp>
          <p:nvSpPr>
            <p:cNvPr id="86" name="Forme libre : forme 85">
              <a:extLst>
                <a:ext uri="{FF2B5EF4-FFF2-40B4-BE49-F238E27FC236}">
                  <a16:creationId xmlns:a16="http://schemas.microsoft.com/office/drawing/2014/main" id="{365B24F1-90E0-4431-8A69-91915808E235}"/>
                </a:ext>
              </a:extLst>
            </p:cNvPr>
            <p:cNvSpPr/>
            <p:nvPr/>
          </p:nvSpPr>
          <p:spPr>
            <a:xfrm>
              <a:off x="419789" y="3061659"/>
              <a:ext cx="267627" cy="267629"/>
            </a:xfrm>
            <a:custGeom>
              <a:avLst/>
              <a:gdLst>
                <a:gd name="connsiteX0" fmla="*/ 262662 w 267627"/>
                <a:gd name="connsiteY0" fmla="*/ 146506 h 267629"/>
                <a:gd name="connsiteX1" fmla="*/ 204446 w 267627"/>
                <a:gd name="connsiteY1" fmla="*/ 146506 h 267629"/>
                <a:gd name="connsiteX2" fmla="*/ 204446 w 267627"/>
                <a:gd name="connsiteY2" fmla="*/ 140161 h 267629"/>
                <a:gd name="connsiteX3" fmla="*/ 208860 w 267627"/>
                <a:gd name="connsiteY3" fmla="*/ 140161 h 267629"/>
                <a:gd name="connsiteX4" fmla="*/ 213275 w 267627"/>
                <a:gd name="connsiteY4" fmla="*/ 135746 h 267629"/>
                <a:gd name="connsiteX5" fmla="*/ 213275 w 267627"/>
                <a:gd name="connsiteY5" fmla="*/ 127193 h 267629"/>
                <a:gd name="connsiteX6" fmla="*/ 215482 w 267627"/>
                <a:gd name="connsiteY6" fmla="*/ 127193 h 267629"/>
                <a:gd name="connsiteX7" fmla="*/ 219896 w 267627"/>
                <a:gd name="connsiteY7" fmla="*/ 122779 h 267629"/>
                <a:gd name="connsiteX8" fmla="*/ 219896 w 267627"/>
                <a:gd name="connsiteY8" fmla="*/ 107604 h 267629"/>
                <a:gd name="connsiteX9" fmla="*/ 215482 w 267627"/>
                <a:gd name="connsiteY9" fmla="*/ 103189 h 267629"/>
                <a:gd name="connsiteX10" fmla="*/ 198652 w 267627"/>
                <a:gd name="connsiteY10" fmla="*/ 103189 h 267629"/>
                <a:gd name="connsiteX11" fmla="*/ 150920 w 267627"/>
                <a:gd name="connsiteY11" fmla="*/ 41110 h 267629"/>
                <a:gd name="connsiteX12" fmla="*/ 150920 w 267627"/>
                <a:gd name="connsiteY12" fmla="*/ 32281 h 267629"/>
                <a:gd name="connsiteX13" fmla="*/ 146506 w 267627"/>
                <a:gd name="connsiteY13" fmla="*/ 27867 h 267629"/>
                <a:gd name="connsiteX14" fmla="*/ 137953 w 267627"/>
                <a:gd name="connsiteY14" fmla="*/ 27867 h 267629"/>
                <a:gd name="connsiteX15" fmla="*/ 137953 w 267627"/>
                <a:gd name="connsiteY15" fmla="*/ 23452 h 267629"/>
                <a:gd name="connsiteX16" fmla="*/ 159473 w 267627"/>
                <a:gd name="connsiteY16" fmla="*/ 23452 h 267629"/>
                <a:gd name="connsiteX17" fmla="*/ 163888 w 267627"/>
                <a:gd name="connsiteY17" fmla="*/ 19038 h 267629"/>
                <a:gd name="connsiteX18" fmla="*/ 163888 w 267627"/>
                <a:gd name="connsiteY18" fmla="*/ 4415 h 267629"/>
                <a:gd name="connsiteX19" fmla="*/ 159473 w 267627"/>
                <a:gd name="connsiteY19" fmla="*/ 0 h 267629"/>
                <a:gd name="connsiteX20" fmla="*/ 133538 w 267627"/>
                <a:gd name="connsiteY20" fmla="*/ 0 h 267629"/>
                <a:gd name="connsiteX21" fmla="*/ 129124 w 267627"/>
                <a:gd name="connsiteY21" fmla="*/ 4415 h 267629"/>
                <a:gd name="connsiteX22" fmla="*/ 129124 w 267627"/>
                <a:gd name="connsiteY22" fmla="*/ 28142 h 267629"/>
                <a:gd name="connsiteX23" fmla="*/ 120570 w 267627"/>
                <a:gd name="connsiteY23" fmla="*/ 28142 h 267629"/>
                <a:gd name="connsiteX24" fmla="*/ 116156 w 267627"/>
                <a:gd name="connsiteY24" fmla="*/ 32557 h 267629"/>
                <a:gd name="connsiteX25" fmla="*/ 116156 w 267627"/>
                <a:gd name="connsiteY25" fmla="*/ 41386 h 267629"/>
                <a:gd name="connsiteX26" fmla="*/ 67045 w 267627"/>
                <a:gd name="connsiteY26" fmla="*/ 103465 h 267629"/>
                <a:gd name="connsiteX27" fmla="*/ 51594 w 267627"/>
                <a:gd name="connsiteY27" fmla="*/ 103465 h 267629"/>
                <a:gd name="connsiteX28" fmla="*/ 47180 w 267627"/>
                <a:gd name="connsiteY28" fmla="*/ 107880 h 267629"/>
                <a:gd name="connsiteX29" fmla="*/ 47180 w 267627"/>
                <a:gd name="connsiteY29" fmla="*/ 123054 h 267629"/>
                <a:gd name="connsiteX30" fmla="*/ 51594 w 267627"/>
                <a:gd name="connsiteY30" fmla="*/ 127469 h 267629"/>
                <a:gd name="connsiteX31" fmla="*/ 53801 w 267627"/>
                <a:gd name="connsiteY31" fmla="*/ 127469 h 267629"/>
                <a:gd name="connsiteX32" fmla="*/ 53801 w 267627"/>
                <a:gd name="connsiteY32" fmla="*/ 136022 h 267629"/>
                <a:gd name="connsiteX33" fmla="*/ 58216 w 267627"/>
                <a:gd name="connsiteY33" fmla="*/ 140437 h 267629"/>
                <a:gd name="connsiteX34" fmla="*/ 62630 w 267627"/>
                <a:gd name="connsiteY34" fmla="*/ 140437 h 267629"/>
                <a:gd name="connsiteX35" fmla="*/ 62630 w 267627"/>
                <a:gd name="connsiteY35" fmla="*/ 146782 h 267629"/>
                <a:gd name="connsiteX36" fmla="*/ 4414 w 267627"/>
                <a:gd name="connsiteY36" fmla="*/ 146782 h 267629"/>
                <a:gd name="connsiteX37" fmla="*/ 0 w 267627"/>
                <a:gd name="connsiteY37" fmla="*/ 151197 h 267629"/>
                <a:gd name="connsiteX38" fmla="*/ 0 w 267627"/>
                <a:gd name="connsiteY38" fmla="*/ 166372 h 267629"/>
                <a:gd name="connsiteX39" fmla="*/ 4414 w 267627"/>
                <a:gd name="connsiteY39" fmla="*/ 170786 h 267629"/>
                <a:gd name="connsiteX40" fmla="*/ 8829 w 267627"/>
                <a:gd name="connsiteY40" fmla="*/ 170786 h 267629"/>
                <a:gd name="connsiteX41" fmla="*/ 8829 w 267627"/>
                <a:gd name="connsiteY41" fmla="*/ 263215 h 267629"/>
                <a:gd name="connsiteX42" fmla="*/ 13243 w 267627"/>
                <a:gd name="connsiteY42" fmla="*/ 267630 h 267629"/>
                <a:gd name="connsiteX43" fmla="*/ 254384 w 267627"/>
                <a:gd name="connsiteY43" fmla="*/ 267630 h 267629"/>
                <a:gd name="connsiteX44" fmla="*/ 258799 w 267627"/>
                <a:gd name="connsiteY44" fmla="*/ 263215 h 267629"/>
                <a:gd name="connsiteX45" fmla="*/ 258799 w 267627"/>
                <a:gd name="connsiteY45" fmla="*/ 250247 h 267629"/>
                <a:gd name="connsiteX46" fmla="*/ 258799 w 267627"/>
                <a:gd name="connsiteY46" fmla="*/ 170234 h 267629"/>
                <a:gd name="connsiteX47" fmla="*/ 263213 w 267627"/>
                <a:gd name="connsiteY47" fmla="*/ 170234 h 267629"/>
                <a:gd name="connsiteX48" fmla="*/ 267628 w 267627"/>
                <a:gd name="connsiteY48" fmla="*/ 165820 h 267629"/>
                <a:gd name="connsiteX49" fmla="*/ 267628 w 267627"/>
                <a:gd name="connsiteY49" fmla="*/ 150645 h 267629"/>
                <a:gd name="connsiteX50" fmla="*/ 262662 w 267627"/>
                <a:gd name="connsiteY50" fmla="*/ 146506 h 267629"/>
                <a:gd name="connsiteX51" fmla="*/ 155059 w 267627"/>
                <a:gd name="connsiteY51" fmla="*/ 15175 h 267629"/>
                <a:gd name="connsiteX52" fmla="*/ 137953 w 267627"/>
                <a:gd name="connsiteY52" fmla="*/ 15175 h 267629"/>
                <a:gd name="connsiteX53" fmla="*/ 137953 w 267627"/>
                <a:gd name="connsiteY53" fmla="*/ 8829 h 267629"/>
                <a:gd name="connsiteX54" fmla="*/ 155059 w 267627"/>
                <a:gd name="connsiteY54" fmla="*/ 8829 h 267629"/>
                <a:gd name="connsiteX55" fmla="*/ 155059 w 267627"/>
                <a:gd name="connsiteY55" fmla="*/ 15175 h 267629"/>
                <a:gd name="connsiteX56" fmla="*/ 232588 w 267627"/>
                <a:gd name="connsiteY56" fmla="*/ 245557 h 267629"/>
                <a:gd name="connsiteX57" fmla="*/ 34488 w 267627"/>
                <a:gd name="connsiteY57" fmla="*/ 245557 h 267629"/>
                <a:gd name="connsiteX58" fmla="*/ 34488 w 267627"/>
                <a:gd name="connsiteY58" fmla="*/ 241143 h 267629"/>
                <a:gd name="connsiteX59" fmla="*/ 232588 w 267627"/>
                <a:gd name="connsiteY59" fmla="*/ 241143 h 267629"/>
                <a:gd name="connsiteX60" fmla="*/ 232588 w 267627"/>
                <a:gd name="connsiteY60" fmla="*/ 245557 h 267629"/>
                <a:gd name="connsiteX61" fmla="*/ 101257 w 267627"/>
                <a:gd name="connsiteY61" fmla="*/ 139885 h 267629"/>
                <a:gd name="connsiteX62" fmla="*/ 105672 w 267627"/>
                <a:gd name="connsiteY62" fmla="*/ 135470 h 267629"/>
                <a:gd name="connsiteX63" fmla="*/ 105672 w 267627"/>
                <a:gd name="connsiteY63" fmla="*/ 126917 h 267629"/>
                <a:gd name="connsiteX64" fmla="*/ 161680 w 267627"/>
                <a:gd name="connsiteY64" fmla="*/ 126917 h 267629"/>
                <a:gd name="connsiteX65" fmla="*/ 161680 w 267627"/>
                <a:gd name="connsiteY65" fmla="*/ 135470 h 267629"/>
                <a:gd name="connsiteX66" fmla="*/ 166095 w 267627"/>
                <a:gd name="connsiteY66" fmla="*/ 139885 h 267629"/>
                <a:gd name="connsiteX67" fmla="*/ 170509 w 267627"/>
                <a:gd name="connsiteY67" fmla="*/ 139885 h 267629"/>
                <a:gd name="connsiteX68" fmla="*/ 170509 w 267627"/>
                <a:gd name="connsiteY68" fmla="*/ 232313 h 267629"/>
                <a:gd name="connsiteX69" fmla="*/ 159749 w 267627"/>
                <a:gd name="connsiteY69" fmla="*/ 232313 h 267629"/>
                <a:gd name="connsiteX70" fmla="*/ 159749 w 267627"/>
                <a:gd name="connsiteY70" fmla="*/ 182374 h 267629"/>
                <a:gd name="connsiteX71" fmla="*/ 133814 w 267627"/>
                <a:gd name="connsiteY71" fmla="*/ 156991 h 267629"/>
                <a:gd name="connsiteX72" fmla="*/ 107879 w 267627"/>
                <a:gd name="connsiteY72" fmla="*/ 182374 h 267629"/>
                <a:gd name="connsiteX73" fmla="*/ 107879 w 267627"/>
                <a:gd name="connsiteY73" fmla="*/ 232313 h 267629"/>
                <a:gd name="connsiteX74" fmla="*/ 97119 w 267627"/>
                <a:gd name="connsiteY74" fmla="*/ 232313 h 267629"/>
                <a:gd name="connsiteX75" fmla="*/ 97119 w 267627"/>
                <a:gd name="connsiteY75" fmla="*/ 139885 h 267629"/>
                <a:gd name="connsiteX76" fmla="*/ 101257 w 267627"/>
                <a:gd name="connsiteY76" fmla="*/ 139885 h 267629"/>
                <a:gd name="connsiteX77" fmla="*/ 150644 w 267627"/>
                <a:gd name="connsiteY77" fmla="*/ 232589 h 267629"/>
                <a:gd name="connsiteX78" fmla="*/ 116432 w 267627"/>
                <a:gd name="connsiteY78" fmla="*/ 232589 h 267629"/>
                <a:gd name="connsiteX79" fmla="*/ 116432 w 267627"/>
                <a:gd name="connsiteY79" fmla="*/ 182374 h 267629"/>
                <a:gd name="connsiteX80" fmla="*/ 133538 w 267627"/>
                <a:gd name="connsiteY80" fmla="*/ 165820 h 267629"/>
                <a:gd name="connsiteX81" fmla="*/ 150644 w 267627"/>
                <a:gd name="connsiteY81" fmla="*/ 182374 h 267629"/>
                <a:gd name="connsiteX82" fmla="*/ 150644 w 267627"/>
                <a:gd name="connsiteY82" fmla="*/ 232589 h 267629"/>
                <a:gd name="connsiteX83" fmla="*/ 195893 w 267627"/>
                <a:gd name="connsiteY83" fmla="*/ 232589 h 267629"/>
                <a:gd name="connsiteX84" fmla="*/ 178786 w 267627"/>
                <a:gd name="connsiteY84" fmla="*/ 232589 h 267629"/>
                <a:gd name="connsiteX85" fmla="*/ 178786 w 267627"/>
                <a:gd name="connsiteY85" fmla="*/ 139885 h 267629"/>
                <a:gd name="connsiteX86" fmla="*/ 195893 w 267627"/>
                <a:gd name="connsiteY86" fmla="*/ 139885 h 267629"/>
                <a:gd name="connsiteX87" fmla="*/ 195893 w 267627"/>
                <a:gd name="connsiteY87" fmla="*/ 232589 h 267629"/>
                <a:gd name="connsiteX88" fmla="*/ 204446 w 267627"/>
                <a:gd name="connsiteY88" fmla="*/ 131332 h 267629"/>
                <a:gd name="connsiteX89" fmla="*/ 169957 w 267627"/>
                <a:gd name="connsiteY89" fmla="*/ 131332 h 267629"/>
                <a:gd name="connsiteX90" fmla="*/ 169957 w 267627"/>
                <a:gd name="connsiteY90" fmla="*/ 126917 h 267629"/>
                <a:gd name="connsiteX91" fmla="*/ 204446 w 267627"/>
                <a:gd name="connsiteY91" fmla="*/ 126917 h 267629"/>
                <a:gd name="connsiteX92" fmla="*/ 204446 w 267627"/>
                <a:gd name="connsiteY92" fmla="*/ 131332 h 267629"/>
                <a:gd name="connsiteX93" fmla="*/ 124985 w 267627"/>
                <a:gd name="connsiteY93" fmla="*/ 36696 h 267629"/>
                <a:gd name="connsiteX94" fmla="*/ 142091 w 267627"/>
                <a:gd name="connsiteY94" fmla="*/ 36696 h 267629"/>
                <a:gd name="connsiteX95" fmla="*/ 142091 w 267627"/>
                <a:gd name="connsiteY95" fmla="*/ 39455 h 267629"/>
                <a:gd name="connsiteX96" fmla="*/ 124985 w 267627"/>
                <a:gd name="connsiteY96" fmla="*/ 39455 h 267629"/>
                <a:gd name="connsiteX97" fmla="*/ 124985 w 267627"/>
                <a:gd name="connsiteY97" fmla="*/ 36696 h 267629"/>
                <a:gd name="connsiteX98" fmla="*/ 133538 w 267627"/>
                <a:gd name="connsiteY98" fmla="*/ 47456 h 267629"/>
                <a:gd name="connsiteX99" fmla="*/ 189823 w 267627"/>
                <a:gd name="connsiteY99" fmla="*/ 103465 h 267629"/>
                <a:gd name="connsiteX100" fmla="*/ 75874 w 267627"/>
                <a:gd name="connsiteY100" fmla="*/ 103465 h 267629"/>
                <a:gd name="connsiteX101" fmla="*/ 133538 w 267627"/>
                <a:gd name="connsiteY101" fmla="*/ 47456 h 267629"/>
                <a:gd name="connsiteX102" fmla="*/ 56009 w 267627"/>
                <a:gd name="connsiteY102" fmla="*/ 112018 h 267629"/>
                <a:gd name="connsiteX103" fmla="*/ 211067 w 267627"/>
                <a:gd name="connsiteY103" fmla="*/ 112018 h 267629"/>
                <a:gd name="connsiteX104" fmla="*/ 211067 w 267627"/>
                <a:gd name="connsiteY104" fmla="*/ 118364 h 267629"/>
                <a:gd name="connsiteX105" fmla="*/ 58216 w 267627"/>
                <a:gd name="connsiteY105" fmla="*/ 118364 h 267629"/>
                <a:gd name="connsiteX106" fmla="*/ 56009 w 267627"/>
                <a:gd name="connsiteY106" fmla="*/ 118364 h 267629"/>
                <a:gd name="connsiteX107" fmla="*/ 56009 w 267627"/>
                <a:gd name="connsiteY107" fmla="*/ 112018 h 267629"/>
                <a:gd name="connsiteX108" fmla="*/ 96843 w 267627"/>
                <a:gd name="connsiteY108" fmla="*/ 127193 h 267629"/>
                <a:gd name="connsiteX109" fmla="*/ 96843 w 267627"/>
                <a:gd name="connsiteY109" fmla="*/ 131608 h 267629"/>
                <a:gd name="connsiteX110" fmla="*/ 62355 w 267627"/>
                <a:gd name="connsiteY110" fmla="*/ 131608 h 267629"/>
                <a:gd name="connsiteX111" fmla="*/ 62355 w 267627"/>
                <a:gd name="connsiteY111" fmla="*/ 127193 h 267629"/>
                <a:gd name="connsiteX112" fmla="*/ 96843 w 267627"/>
                <a:gd name="connsiteY112" fmla="*/ 127193 h 267629"/>
                <a:gd name="connsiteX113" fmla="*/ 88290 w 267627"/>
                <a:gd name="connsiteY113" fmla="*/ 139885 h 267629"/>
                <a:gd name="connsiteX114" fmla="*/ 88290 w 267627"/>
                <a:gd name="connsiteY114" fmla="*/ 232313 h 267629"/>
                <a:gd name="connsiteX115" fmla="*/ 71183 w 267627"/>
                <a:gd name="connsiteY115" fmla="*/ 232313 h 267629"/>
                <a:gd name="connsiteX116" fmla="*/ 71183 w 267627"/>
                <a:gd name="connsiteY116" fmla="*/ 139885 h 267629"/>
                <a:gd name="connsiteX117" fmla="*/ 88290 w 267627"/>
                <a:gd name="connsiteY117" fmla="*/ 139885 h 267629"/>
                <a:gd name="connsiteX118" fmla="*/ 8829 w 267627"/>
                <a:gd name="connsiteY118" fmla="*/ 155060 h 267629"/>
                <a:gd name="connsiteX119" fmla="*/ 62630 w 267627"/>
                <a:gd name="connsiteY119" fmla="*/ 155060 h 267629"/>
                <a:gd name="connsiteX120" fmla="*/ 62630 w 267627"/>
                <a:gd name="connsiteY120" fmla="*/ 161405 h 267629"/>
                <a:gd name="connsiteX121" fmla="*/ 8829 w 267627"/>
                <a:gd name="connsiteY121" fmla="*/ 161405 h 267629"/>
                <a:gd name="connsiteX122" fmla="*/ 8829 w 267627"/>
                <a:gd name="connsiteY122" fmla="*/ 155060 h 267629"/>
                <a:gd name="connsiteX123" fmla="*/ 62630 w 267627"/>
                <a:gd name="connsiteY123" fmla="*/ 170234 h 267629"/>
                <a:gd name="connsiteX124" fmla="*/ 62630 w 267627"/>
                <a:gd name="connsiteY124" fmla="*/ 232589 h 267629"/>
                <a:gd name="connsiteX125" fmla="*/ 30350 w 267627"/>
                <a:gd name="connsiteY125" fmla="*/ 232589 h 267629"/>
                <a:gd name="connsiteX126" fmla="*/ 25935 w 267627"/>
                <a:gd name="connsiteY126" fmla="*/ 237004 h 267629"/>
                <a:gd name="connsiteX127" fmla="*/ 25935 w 267627"/>
                <a:gd name="connsiteY127" fmla="*/ 245557 h 267629"/>
                <a:gd name="connsiteX128" fmla="*/ 17382 w 267627"/>
                <a:gd name="connsiteY128" fmla="*/ 245557 h 267629"/>
                <a:gd name="connsiteX129" fmla="*/ 17382 w 267627"/>
                <a:gd name="connsiteY129" fmla="*/ 170234 h 267629"/>
                <a:gd name="connsiteX130" fmla="*/ 62630 w 267627"/>
                <a:gd name="connsiteY130" fmla="*/ 170234 h 267629"/>
                <a:gd name="connsiteX131" fmla="*/ 249694 w 267627"/>
                <a:gd name="connsiteY131" fmla="*/ 258249 h 267629"/>
                <a:gd name="connsiteX132" fmla="*/ 17382 w 267627"/>
                <a:gd name="connsiteY132" fmla="*/ 258249 h 267629"/>
                <a:gd name="connsiteX133" fmla="*/ 17382 w 267627"/>
                <a:gd name="connsiteY133" fmla="*/ 253834 h 267629"/>
                <a:gd name="connsiteX134" fmla="*/ 249694 w 267627"/>
                <a:gd name="connsiteY134" fmla="*/ 253834 h 267629"/>
                <a:gd name="connsiteX135" fmla="*/ 249694 w 267627"/>
                <a:gd name="connsiteY135" fmla="*/ 258249 h 267629"/>
                <a:gd name="connsiteX136" fmla="*/ 249694 w 267627"/>
                <a:gd name="connsiteY136" fmla="*/ 245557 h 267629"/>
                <a:gd name="connsiteX137" fmla="*/ 241141 w 267627"/>
                <a:gd name="connsiteY137" fmla="*/ 245557 h 267629"/>
                <a:gd name="connsiteX138" fmla="*/ 241141 w 267627"/>
                <a:gd name="connsiteY138" fmla="*/ 237004 h 267629"/>
                <a:gd name="connsiteX139" fmla="*/ 236727 w 267627"/>
                <a:gd name="connsiteY139" fmla="*/ 232589 h 267629"/>
                <a:gd name="connsiteX140" fmla="*/ 204446 w 267627"/>
                <a:gd name="connsiteY140" fmla="*/ 232589 h 267629"/>
                <a:gd name="connsiteX141" fmla="*/ 204446 w 267627"/>
                <a:gd name="connsiteY141" fmla="*/ 170234 h 267629"/>
                <a:gd name="connsiteX142" fmla="*/ 249694 w 267627"/>
                <a:gd name="connsiteY142" fmla="*/ 170234 h 267629"/>
                <a:gd name="connsiteX143" fmla="*/ 249694 w 267627"/>
                <a:gd name="connsiteY143" fmla="*/ 245557 h 267629"/>
                <a:gd name="connsiteX144" fmla="*/ 258247 w 267627"/>
                <a:gd name="connsiteY144" fmla="*/ 161405 h 267629"/>
                <a:gd name="connsiteX145" fmla="*/ 204446 w 267627"/>
                <a:gd name="connsiteY145" fmla="*/ 161405 h 267629"/>
                <a:gd name="connsiteX146" fmla="*/ 204446 w 267627"/>
                <a:gd name="connsiteY146" fmla="*/ 155060 h 267629"/>
                <a:gd name="connsiteX147" fmla="*/ 258247 w 267627"/>
                <a:gd name="connsiteY147" fmla="*/ 155060 h 267629"/>
                <a:gd name="connsiteX148" fmla="*/ 258247 w 267627"/>
                <a:gd name="connsiteY148" fmla="*/ 161405 h 267629"/>
                <a:gd name="connsiteX149" fmla="*/ 28142 w 267627"/>
                <a:gd name="connsiteY149" fmla="*/ 224036 h 267629"/>
                <a:gd name="connsiteX150" fmla="*/ 51870 w 267627"/>
                <a:gd name="connsiteY150" fmla="*/ 224036 h 267629"/>
                <a:gd name="connsiteX151" fmla="*/ 56285 w 267627"/>
                <a:gd name="connsiteY151" fmla="*/ 219622 h 267629"/>
                <a:gd name="connsiteX152" fmla="*/ 56285 w 267627"/>
                <a:gd name="connsiteY152" fmla="*/ 182926 h 267629"/>
                <a:gd name="connsiteX153" fmla="*/ 51870 w 267627"/>
                <a:gd name="connsiteY153" fmla="*/ 178512 h 267629"/>
                <a:gd name="connsiteX154" fmla="*/ 28142 w 267627"/>
                <a:gd name="connsiteY154" fmla="*/ 178512 h 267629"/>
                <a:gd name="connsiteX155" fmla="*/ 23728 w 267627"/>
                <a:gd name="connsiteY155" fmla="*/ 182926 h 267629"/>
                <a:gd name="connsiteX156" fmla="*/ 23728 w 267627"/>
                <a:gd name="connsiteY156" fmla="*/ 219622 h 267629"/>
                <a:gd name="connsiteX157" fmla="*/ 28142 w 267627"/>
                <a:gd name="connsiteY157" fmla="*/ 224036 h 267629"/>
                <a:gd name="connsiteX158" fmla="*/ 32281 w 267627"/>
                <a:gd name="connsiteY158" fmla="*/ 187341 h 267629"/>
                <a:gd name="connsiteX159" fmla="*/ 47456 w 267627"/>
                <a:gd name="connsiteY159" fmla="*/ 187341 h 267629"/>
                <a:gd name="connsiteX160" fmla="*/ 47456 w 267627"/>
                <a:gd name="connsiteY160" fmla="*/ 215207 h 267629"/>
                <a:gd name="connsiteX161" fmla="*/ 32281 w 267627"/>
                <a:gd name="connsiteY161" fmla="*/ 215207 h 267629"/>
                <a:gd name="connsiteX162" fmla="*/ 32281 w 267627"/>
                <a:gd name="connsiteY162" fmla="*/ 187341 h 267629"/>
                <a:gd name="connsiteX163" fmla="*/ 215206 w 267627"/>
                <a:gd name="connsiteY163" fmla="*/ 224036 h 267629"/>
                <a:gd name="connsiteX164" fmla="*/ 238934 w 267627"/>
                <a:gd name="connsiteY164" fmla="*/ 224036 h 267629"/>
                <a:gd name="connsiteX165" fmla="*/ 243348 w 267627"/>
                <a:gd name="connsiteY165" fmla="*/ 219622 h 267629"/>
                <a:gd name="connsiteX166" fmla="*/ 243348 w 267627"/>
                <a:gd name="connsiteY166" fmla="*/ 182926 h 267629"/>
                <a:gd name="connsiteX167" fmla="*/ 238934 w 267627"/>
                <a:gd name="connsiteY167" fmla="*/ 178512 h 267629"/>
                <a:gd name="connsiteX168" fmla="*/ 215206 w 267627"/>
                <a:gd name="connsiteY168" fmla="*/ 178512 h 267629"/>
                <a:gd name="connsiteX169" fmla="*/ 210791 w 267627"/>
                <a:gd name="connsiteY169" fmla="*/ 182926 h 267629"/>
                <a:gd name="connsiteX170" fmla="*/ 210791 w 267627"/>
                <a:gd name="connsiteY170" fmla="*/ 219622 h 267629"/>
                <a:gd name="connsiteX171" fmla="*/ 215206 w 267627"/>
                <a:gd name="connsiteY171" fmla="*/ 224036 h 267629"/>
                <a:gd name="connsiteX172" fmla="*/ 219620 w 267627"/>
                <a:gd name="connsiteY172" fmla="*/ 187341 h 267629"/>
                <a:gd name="connsiteX173" fmla="*/ 234795 w 267627"/>
                <a:gd name="connsiteY173" fmla="*/ 187341 h 267629"/>
                <a:gd name="connsiteX174" fmla="*/ 234795 w 267627"/>
                <a:gd name="connsiteY174" fmla="*/ 215207 h 267629"/>
                <a:gd name="connsiteX175" fmla="*/ 219620 w 267627"/>
                <a:gd name="connsiteY175" fmla="*/ 215207 h 267629"/>
                <a:gd name="connsiteX176" fmla="*/ 219620 w 267627"/>
                <a:gd name="connsiteY176" fmla="*/ 187341 h 26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67627" h="267629">
                  <a:moveTo>
                    <a:pt x="262662" y="146506"/>
                  </a:moveTo>
                  <a:lnTo>
                    <a:pt x="204446" y="146506"/>
                  </a:lnTo>
                  <a:lnTo>
                    <a:pt x="204446" y="140161"/>
                  </a:lnTo>
                  <a:lnTo>
                    <a:pt x="208860" y="140161"/>
                  </a:lnTo>
                  <a:cubicBezTo>
                    <a:pt x="211343" y="140161"/>
                    <a:pt x="213275" y="138229"/>
                    <a:pt x="213275" y="135746"/>
                  </a:cubicBezTo>
                  <a:lnTo>
                    <a:pt x="213275" y="127193"/>
                  </a:lnTo>
                  <a:lnTo>
                    <a:pt x="215482" y="127193"/>
                  </a:lnTo>
                  <a:cubicBezTo>
                    <a:pt x="217965" y="127193"/>
                    <a:pt x="219896" y="125262"/>
                    <a:pt x="219896" y="122779"/>
                  </a:cubicBezTo>
                  <a:lnTo>
                    <a:pt x="219896" y="107604"/>
                  </a:lnTo>
                  <a:cubicBezTo>
                    <a:pt x="219896" y="105120"/>
                    <a:pt x="217965" y="103189"/>
                    <a:pt x="215482" y="103189"/>
                  </a:cubicBezTo>
                  <a:lnTo>
                    <a:pt x="198652" y="103189"/>
                  </a:lnTo>
                  <a:cubicBezTo>
                    <a:pt x="197548" y="73391"/>
                    <a:pt x="177683" y="48560"/>
                    <a:pt x="150920" y="41110"/>
                  </a:cubicBezTo>
                  <a:lnTo>
                    <a:pt x="150920" y="32281"/>
                  </a:lnTo>
                  <a:cubicBezTo>
                    <a:pt x="150920" y="29798"/>
                    <a:pt x="148989" y="27867"/>
                    <a:pt x="146506" y="27867"/>
                  </a:cubicBezTo>
                  <a:lnTo>
                    <a:pt x="137953" y="27867"/>
                  </a:lnTo>
                  <a:lnTo>
                    <a:pt x="137953" y="23452"/>
                  </a:lnTo>
                  <a:lnTo>
                    <a:pt x="159473" y="23452"/>
                  </a:lnTo>
                  <a:cubicBezTo>
                    <a:pt x="161956" y="23452"/>
                    <a:pt x="163888" y="21521"/>
                    <a:pt x="163888" y="19038"/>
                  </a:cubicBezTo>
                  <a:lnTo>
                    <a:pt x="163888" y="4415"/>
                  </a:lnTo>
                  <a:cubicBezTo>
                    <a:pt x="163888" y="1931"/>
                    <a:pt x="161956" y="0"/>
                    <a:pt x="159473" y="0"/>
                  </a:cubicBezTo>
                  <a:lnTo>
                    <a:pt x="133538" y="0"/>
                  </a:lnTo>
                  <a:cubicBezTo>
                    <a:pt x="131055" y="0"/>
                    <a:pt x="129124" y="1931"/>
                    <a:pt x="129124" y="4415"/>
                  </a:cubicBezTo>
                  <a:cubicBezTo>
                    <a:pt x="129124" y="12968"/>
                    <a:pt x="129124" y="19589"/>
                    <a:pt x="129124" y="28142"/>
                  </a:cubicBezTo>
                  <a:lnTo>
                    <a:pt x="120570" y="28142"/>
                  </a:lnTo>
                  <a:cubicBezTo>
                    <a:pt x="118087" y="28142"/>
                    <a:pt x="116156" y="30074"/>
                    <a:pt x="116156" y="32557"/>
                  </a:cubicBezTo>
                  <a:lnTo>
                    <a:pt x="116156" y="41386"/>
                  </a:lnTo>
                  <a:cubicBezTo>
                    <a:pt x="89117" y="49111"/>
                    <a:pt x="68149" y="74219"/>
                    <a:pt x="67045" y="103465"/>
                  </a:cubicBezTo>
                  <a:lnTo>
                    <a:pt x="51594" y="103465"/>
                  </a:lnTo>
                  <a:cubicBezTo>
                    <a:pt x="49111" y="103465"/>
                    <a:pt x="47180" y="105396"/>
                    <a:pt x="47180" y="107880"/>
                  </a:cubicBezTo>
                  <a:lnTo>
                    <a:pt x="47180" y="123054"/>
                  </a:lnTo>
                  <a:cubicBezTo>
                    <a:pt x="47180" y="125538"/>
                    <a:pt x="49111" y="127469"/>
                    <a:pt x="51594" y="127469"/>
                  </a:cubicBezTo>
                  <a:lnTo>
                    <a:pt x="53801" y="127469"/>
                  </a:lnTo>
                  <a:lnTo>
                    <a:pt x="53801" y="136022"/>
                  </a:lnTo>
                  <a:cubicBezTo>
                    <a:pt x="53801" y="138505"/>
                    <a:pt x="55733" y="140437"/>
                    <a:pt x="58216" y="140437"/>
                  </a:cubicBezTo>
                  <a:lnTo>
                    <a:pt x="62630" y="140437"/>
                  </a:lnTo>
                  <a:lnTo>
                    <a:pt x="62630" y="146782"/>
                  </a:lnTo>
                  <a:lnTo>
                    <a:pt x="4414" y="146782"/>
                  </a:lnTo>
                  <a:cubicBezTo>
                    <a:pt x="1931" y="146782"/>
                    <a:pt x="0" y="148714"/>
                    <a:pt x="0" y="151197"/>
                  </a:cubicBezTo>
                  <a:lnTo>
                    <a:pt x="0" y="166372"/>
                  </a:lnTo>
                  <a:cubicBezTo>
                    <a:pt x="0" y="168855"/>
                    <a:pt x="1931" y="170786"/>
                    <a:pt x="4414" y="170786"/>
                  </a:cubicBezTo>
                  <a:lnTo>
                    <a:pt x="8829" y="170786"/>
                  </a:lnTo>
                  <a:cubicBezTo>
                    <a:pt x="8829" y="206378"/>
                    <a:pt x="8829" y="229003"/>
                    <a:pt x="8829" y="263215"/>
                  </a:cubicBezTo>
                  <a:cubicBezTo>
                    <a:pt x="8829" y="265698"/>
                    <a:pt x="10760" y="267630"/>
                    <a:pt x="13243" y="267630"/>
                  </a:cubicBezTo>
                  <a:lnTo>
                    <a:pt x="254384" y="267630"/>
                  </a:lnTo>
                  <a:cubicBezTo>
                    <a:pt x="256868" y="267630"/>
                    <a:pt x="258799" y="265698"/>
                    <a:pt x="258799" y="263215"/>
                  </a:cubicBezTo>
                  <a:lnTo>
                    <a:pt x="258799" y="250247"/>
                  </a:lnTo>
                  <a:lnTo>
                    <a:pt x="258799" y="170234"/>
                  </a:lnTo>
                  <a:lnTo>
                    <a:pt x="263213" y="170234"/>
                  </a:lnTo>
                  <a:cubicBezTo>
                    <a:pt x="265697" y="170234"/>
                    <a:pt x="267628" y="168303"/>
                    <a:pt x="267628" y="165820"/>
                  </a:cubicBezTo>
                  <a:lnTo>
                    <a:pt x="267628" y="150645"/>
                  </a:lnTo>
                  <a:cubicBezTo>
                    <a:pt x="267076" y="148438"/>
                    <a:pt x="265145" y="146506"/>
                    <a:pt x="262662" y="146506"/>
                  </a:cubicBezTo>
                  <a:close/>
                  <a:moveTo>
                    <a:pt x="155059" y="15175"/>
                  </a:moveTo>
                  <a:lnTo>
                    <a:pt x="137953" y="15175"/>
                  </a:lnTo>
                  <a:lnTo>
                    <a:pt x="137953" y="8829"/>
                  </a:lnTo>
                  <a:lnTo>
                    <a:pt x="155059" y="8829"/>
                  </a:lnTo>
                  <a:lnTo>
                    <a:pt x="155059" y="15175"/>
                  </a:lnTo>
                  <a:close/>
                  <a:moveTo>
                    <a:pt x="232588" y="245557"/>
                  </a:moveTo>
                  <a:lnTo>
                    <a:pt x="34488" y="245557"/>
                  </a:lnTo>
                  <a:lnTo>
                    <a:pt x="34488" y="241143"/>
                  </a:lnTo>
                  <a:cubicBezTo>
                    <a:pt x="74770" y="241143"/>
                    <a:pt x="190374" y="241143"/>
                    <a:pt x="232588" y="241143"/>
                  </a:cubicBezTo>
                  <a:lnTo>
                    <a:pt x="232588" y="245557"/>
                  </a:lnTo>
                  <a:close/>
                  <a:moveTo>
                    <a:pt x="101257" y="139885"/>
                  </a:moveTo>
                  <a:cubicBezTo>
                    <a:pt x="103740" y="139885"/>
                    <a:pt x="105672" y="137953"/>
                    <a:pt x="105672" y="135470"/>
                  </a:cubicBezTo>
                  <a:lnTo>
                    <a:pt x="105672" y="126917"/>
                  </a:lnTo>
                  <a:lnTo>
                    <a:pt x="161680" y="126917"/>
                  </a:lnTo>
                  <a:lnTo>
                    <a:pt x="161680" y="135470"/>
                  </a:lnTo>
                  <a:cubicBezTo>
                    <a:pt x="161680" y="137953"/>
                    <a:pt x="163612" y="139885"/>
                    <a:pt x="166095" y="139885"/>
                  </a:cubicBezTo>
                  <a:lnTo>
                    <a:pt x="170509" y="139885"/>
                  </a:lnTo>
                  <a:lnTo>
                    <a:pt x="170509" y="232313"/>
                  </a:lnTo>
                  <a:lnTo>
                    <a:pt x="159749" y="232313"/>
                  </a:lnTo>
                  <a:lnTo>
                    <a:pt x="159749" y="182374"/>
                  </a:lnTo>
                  <a:cubicBezTo>
                    <a:pt x="159749" y="169131"/>
                    <a:pt x="149265" y="156991"/>
                    <a:pt x="133814" y="156991"/>
                  </a:cubicBezTo>
                  <a:cubicBezTo>
                    <a:pt x="118639" y="156991"/>
                    <a:pt x="107879" y="168855"/>
                    <a:pt x="107879" y="182374"/>
                  </a:cubicBezTo>
                  <a:lnTo>
                    <a:pt x="107879" y="232313"/>
                  </a:lnTo>
                  <a:lnTo>
                    <a:pt x="97119" y="232313"/>
                  </a:lnTo>
                  <a:lnTo>
                    <a:pt x="97119" y="139885"/>
                  </a:lnTo>
                  <a:lnTo>
                    <a:pt x="101257" y="139885"/>
                  </a:lnTo>
                  <a:close/>
                  <a:moveTo>
                    <a:pt x="150644" y="232589"/>
                  </a:moveTo>
                  <a:lnTo>
                    <a:pt x="116432" y="232589"/>
                  </a:lnTo>
                  <a:lnTo>
                    <a:pt x="116432" y="182374"/>
                  </a:lnTo>
                  <a:cubicBezTo>
                    <a:pt x="116432" y="173545"/>
                    <a:pt x="123330" y="165820"/>
                    <a:pt x="133538" y="165820"/>
                  </a:cubicBezTo>
                  <a:cubicBezTo>
                    <a:pt x="144022" y="165820"/>
                    <a:pt x="150644" y="173821"/>
                    <a:pt x="150644" y="182374"/>
                  </a:cubicBezTo>
                  <a:lnTo>
                    <a:pt x="150644" y="232589"/>
                  </a:lnTo>
                  <a:close/>
                  <a:moveTo>
                    <a:pt x="195893" y="232589"/>
                  </a:moveTo>
                  <a:lnTo>
                    <a:pt x="178786" y="232589"/>
                  </a:lnTo>
                  <a:lnTo>
                    <a:pt x="178786" y="139885"/>
                  </a:lnTo>
                  <a:lnTo>
                    <a:pt x="195893" y="139885"/>
                  </a:lnTo>
                  <a:cubicBezTo>
                    <a:pt x="195893" y="178788"/>
                    <a:pt x="195893" y="169683"/>
                    <a:pt x="195893" y="232589"/>
                  </a:cubicBezTo>
                  <a:close/>
                  <a:moveTo>
                    <a:pt x="204446" y="131332"/>
                  </a:moveTo>
                  <a:cubicBezTo>
                    <a:pt x="196996" y="131332"/>
                    <a:pt x="176855" y="131332"/>
                    <a:pt x="169957" y="131332"/>
                  </a:cubicBezTo>
                  <a:lnTo>
                    <a:pt x="169957" y="126917"/>
                  </a:lnTo>
                  <a:lnTo>
                    <a:pt x="204446" y="126917"/>
                  </a:lnTo>
                  <a:lnTo>
                    <a:pt x="204446" y="131332"/>
                  </a:lnTo>
                  <a:close/>
                  <a:moveTo>
                    <a:pt x="124985" y="36696"/>
                  </a:moveTo>
                  <a:lnTo>
                    <a:pt x="142091" y="36696"/>
                  </a:lnTo>
                  <a:lnTo>
                    <a:pt x="142091" y="39455"/>
                  </a:lnTo>
                  <a:cubicBezTo>
                    <a:pt x="136021" y="38627"/>
                    <a:pt x="130779" y="38627"/>
                    <a:pt x="124985" y="39455"/>
                  </a:cubicBezTo>
                  <a:lnTo>
                    <a:pt x="124985" y="36696"/>
                  </a:lnTo>
                  <a:close/>
                  <a:moveTo>
                    <a:pt x="133538" y="47456"/>
                  </a:moveTo>
                  <a:cubicBezTo>
                    <a:pt x="163888" y="47456"/>
                    <a:pt x="188443" y="72288"/>
                    <a:pt x="189823" y="103465"/>
                  </a:cubicBezTo>
                  <a:lnTo>
                    <a:pt x="75874" y="103465"/>
                  </a:lnTo>
                  <a:cubicBezTo>
                    <a:pt x="77253" y="72839"/>
                    <a:pt x="103188" y="47456"/>
                    <a:pt x="133538" y="47456"/>
                  </a:cubicBezTo>
                  <a:close/>
                  <a:moveTo>
                    <a:pt x="56009" y="112018"/>
                  </a:moveTo>
                  <a:lnTo>
                    <a:pt x="211067" y="112018"/>
                  </a:lnTo>
                  <a:lnTo>
                    <a:pt x="211067" y="118364"/>
                  </a:lnTo>
                  <a:cubicBezTo>
                    <a:pt x="34764" y="118364"/>
                    <a:pt x="216585" y="118364"/>
                    <a:pt x="58216" y="118364"/>
                  </a:cubicBezTo>
                  <a:lnTo>
                    <a:pt x="56009" y="118364"/>
                  </a:lnTo>
                  <a:lnTo>
                    <a:pt x="56009" y="112018"/>
                  </a:lnTo>
                  <a:close/>
                  <a:moveTo>
                    <a:pt x="96843" y="127193"/>
                  </a:moveTo>
                  <a:lnTo>
                    <a:pt x="96843" y="131608"/>
                  </a:lnTo>
                  <a:cubicBezTo>
                    <a:pt x="89393" y="131608"/>
                    <a:pt x="69252" y="131608"/>
                    <a:pt x="62355" y="131608"/>
                  </a:cubicBezTo>
                  <a:lnTo>
                    <a:pt x="62355" y="127193"/>
                  </a:lnTo>
                  <a:lnTo>
                    <a:pt x="96843" y="127193"/>
                  </a:lnTo>
                  <a:close/>
                  <a:moveTo>
                    <a:pt x="88290" y="139885"/>
                  </a:moveTo>
                  <a:lnTo>
                    <a:pt x="88290" y="232313"/>
                  </a:lnTo>
                  <a:lnTo>
                    <a:pt x="71183" y="232313"/>
                  </a:lnTo>
                  <a:cubicBezTo>
                    <a:pt x="71183" y="145403"/>
                    <a:pt x="71183" y="241418"/>
                    <a:pt x="71183" y="139885"/>
                  </a:cubicBezTo>
                  <a:lnTo>
                    <a:pt x="88290" y="139885"/>
                  </a:lnTo>
                  <a:close/>
                  <a:moveTo>
                    <a:pt x="8829" y="155060"/>
                  </a:moveTo>
                  <a:lnTo>
                    <a:pt x="62630" y="155060"/>
                  </a:lnTo>
                  <a:lnTo>
                    <a:pt x="62630" y="161405"/>
                  </a:lnTo>
                  <a:cubicBezTo>
                    <a:pt x="41386" y="161405"/>
                    <a:pt x="29798" y="161405"/>
                    <a:pt x="8829" y="161405"/>
                  </a:cubicBezTo>
                  <a:lnTo>
                    <a:pt x="8829" y="155060"/>
                  </a:lnTo>
                  <a:close/>
                  <a:moveTo>
                    <a:pt x="62630" y="170234"/>
                  </a:moveTo>
                  <a:lnTo>
                    <a:pt x="62630" y="232589"/>
                  </a:lnTo>
                  <a:lnTo>
                    <a:pt x="30350" y="232589"/>
                  </a:lnTo>
                  <a:cubicBezTo>
                    <a:pt x="27866" y="232589"/>
                    <a:pt x="25935" y="234521"/>
                    <a:pt x="25935" y="237004"/>
                  </a:cubicBezTo>
                  <a:lnTo>
                    <a:pt x="25935" y="245557"/>
                  </a:lnTo>
                  <a:lnTo>
                    <a:pt x="17382" y="245557"/>
                  </a:lnTo>
                  <a:lnTo>
                    <a:pt x="17382" y="170234"/>
                  </a:lnTo>
                  <a:lnTo>
                    <a:pt x="62630" y="170234"/>
                  </a:lnTo>
                  <a:close/>
                  <a:moveTo>
                    <a:pt x="249694" y="258249"/>
                  </a:moveTo>
                  <a:lnTo>
                    <a:pt x="17382" y="258249"/>
                  </a:lnTo>
                  <a:lnTo>
                    <a:pt x="17382" y="253834"/>
                  </a:lnTo>
                  <a:cubicBezTo>
                    <a:pt x="41110" y="253834"/>
                    <a:pt x="224863" y="253834"/>
                    <a:pt x="249694" y="253834"/>
                  </a:cubicBezTo>
                  <a:lnTo>
                    <a:pt x="249694" y="258249"/>
                  </a:lnTo>
                  <a:close/>
                  <a:moveTo>
                    <a:pt x="249694" y="245557"/>
                  </a:moveTo>
                  <a:lnTo>
                    <a:pt x="241141" y="245557"/>
                  </a:lnTo>
                  <a:lnTo>
                    <a:pt x="241141" y="237004"/>
                  </a:lnTo>
                  <a:cubicBezTo>
                    <a:pt x="241141" y="234521"/>
                    <a:pt x="239210" y="232589"/>
                    <a:pt x="236727" y="232589"/>
                  </a:cubicBezTo>
                  <a:lnTo>
                    <a:pt x="204446" y="232589"/>
                  </a:lnTo>
                  <a:lnTo>
                    <a:pt x="204446" y="170234"/>
                  </a:lnTo>
                  <a:lnTo>
                    <a:pt x="249694" y="170234"/>
                  </a:lnTo>
                  <a:lnTo>
                    <a:pt x="249694" y="245557"/>
                  </a:lnTo>
                  <a:close/>
                  <a:moveTo>
                    <a:pt x="258247" y="161405"/>
                  </a:moveTo>
                  <a:cubicBezTo>
                    <a:pt x="237278" y="161405"/>
                    <a:pt x="225690" y="161405"/>
                    <a:pt x="204446" y="161405"/>
                  </a:cubicBezTo>
                  <a:lnTo>
                    <a:pt x="204446" y="155060"/>
                  </a:lnTo>
                  <a:lnTo>
                    <a:pt x="258247" y="155060"/>
                  </a:lnTo>
                  <a:lnTo>
                    <a:pt x="258247" y="161405"/>
                  </a:lnTo>
                  <a:close/>
                  <a:moveTo>
                    <a:pt x="28142" y="224036"/>
                  </a:moveTo>
                  <a:lnTo>
                    <a:pt x="51870" y="224036"/>
                  </a:lnTo>
                  <a:cubicBezTo>
                    <a:pt x="54353" y="224036"/>
                    <a:pt x="56285" y="222105"/>
                    <a:pt x="56285" y="219622"/>
                  </a:cubicBezTo>
                  <a:lnTo>
                    <a:pt x="56285" y="182926"/>
                  </a:lnTo>
                  <a:cubicBezTo>
                    <a:pt x="56285" y="180443"/>
                    <a:pt x="54353" y="178512"/>
                    <a:pt x="51870" y="178512"/>
                  </a:cubicBezTo>
                  <a:lnTo>
                    <a:pt x="28142" y="178512"/>
                  </a:lnTo>
                  <a:cubicBezTo>
                    <a:pt x="25659" y="178512"/>
                    <a:pt x="23728" y="180443"/>
                    <a:pt x="23728" y="182926"/>
                  </a:cubicBezTo>
                  <a:lnTo>
                    <a:pt x="23728" y="219622"/>
                  </a:lnTo>
                  <a:cubicBezTo>
                    <a:pt x="23728" y="222105"/>
                    <a:pt x="25659" y="224036"/>
                    <a:pt x="28142" y="224036"/>
                  </a:cubicBezTo>
                  <a:close/>
                  <a:moveTo>
                    <a:pt x="32281" y="187341"/>
                  </a:moveTo>
                  <a:lnTo>
                    <a:pt x="47456" y="187341"/>
                  </a:lnTo>
                  <a:lnTo>
                    <a:pt x="47456" y="215207"/>
                  </a:lnTo>
                  <a:lnTo>
                    <a:pt x="32281" y="215207"/>
                  </a:lnTo>
                  <a:lnTo>
                    <a:pt x="32281" y="187341"/>
                  </a:lnTo>
                  <a:close/>
                  <a:moveTo>
                    <a:pt x="215206" y="224036"/>
                  </a:moveTo>
                  <a:lnTo>
                    <a:pt x="238934" y="224036"/>
                  </a:lnTo>
                  <a:cubicBezTo>
                    <a:pt x="241417" y="224036"/>
                    <a:pt x="243348" y="222105"/>
                    <a:pt x="243348" y="219622"/>
                  </a:cubicBezTo>
                  <a:lnTo>
                    <a:pt x="243348" y="182926"/>
                  </a:lnTo>
                  <a:cubicBezTo>
                    <a:pt x="243348" y="180443"/>
                    <a:pt x="241417" y="178512"/>
                    <a:pt x="238934" y="178512"/>
                  </a:cubicBezTo>
                  <a:lnTo>
                    <a:pt x="215206" y="178512"/>
                  </a:lnTo>
                  <a:cubicBezTo>
                    <a:pt x="212723" y="178512"/>
                    <a:pt x="210791" y="180443"/>
                    <a:pt x="210791" y="182926"/>
                  </a:cubicBezTo>
                  <a:lnTo>
                    <a:pt x="210791" y="219622"/>
                  </a:lnTo>
                  <a:cubicBezTo>
                    <a:pt x="211067" y="222105"/>
                    <a:pt x="212999" y="224036"/>
                    <a:pt x="215206" y="224036"/>
                  </a:cubicBezTo>
                  <a:close/>
                  <a:moveTo>
                    <a:pt x="219620" y="187341"/>
                  </a:moveTo>
                  <a:lnTo>
                    <a:pt x="234795" y="187341"/>
                  </a:lnTo>
                  <a:lnTo>
                    <a:pt x="234795" y="215207"/>
                  </a:lnTo>
                  <a:lnTo>
                    <a:pt x="219620" y="215207"/>
                  </a:lnTo>
                  <a:lnTo>
                    <a:pt x="219620" y="187341"/>
                  </a:lnTo>
                  <a:close/>
                </a:path>
              </a:pathLst>
            </a:custGeom>
            <a:solidFill>
              <a:schemeClr val="accent1">
                <a:lumMod val="75000"/>
              </a:schemeClr>
            </a:solidFill>
            <a:ln w="2667" cap="flat">
              <a:noFill/>
              <a:prstDash val="solid"/>
              <a:miter/>
            </a:ln>
          </p:spPr>
          <p:txBody>
            <a:bodyPr rtlCol="0" anchor="ctr"/>
            <a:lstStyle/>
            <a:p>
              <a:endParaRPr lang="en-GB"/>
            </a:p>
          </p:txBody>
        </p:sp>
        <p:sp>
          <p:nvSpPr>
            <p:cNvPr id="87" name="ZoneTexte 86">
              <a:extLst>
                <a:ext uri="{FF2B5EF4-FFF2-40B4-BE49-F238E27FC236}">
                  <a16:creationId xmlns:a16="http://schemas.microsoft.com/office/drawing/2014/main" id="{A0563A38-7AC2-4482-BEFA-5B79C50513A9}"/>
                </a:ext>
              </a:extLst>
            </p:cNvPr>
            <p:cNvSpPr txBox="1"/>
            <p:nvPr/>
          </p:nvSpPr>
          <p:spPr>
            <a:xfrm>
              <a:off x="42279" y="1388247"/>
              <a:ext cx="1071038" cy="484133"/>
            </a:xfrm>
            <a:prstGeom prst="rect">
              <a:avLst/>
            </a:prstGeom>
            <a:noFill/>
            <a:effectLst/>
          </p:spPr>
          <p:txBody>
            <a:bodyPr wrap="square" rtlCol="0">
              <a:spAutoFit/>
            </a:bodyPr>
            <a:lstStyle/>
            <a:p>
              <a:pPr algn="ctr"/>
              <a:r>
                <a:rPr lang="en-GB" sz="1000" i="1">
                  <a:latin typeface="Trebuchet MS" panose="020B0603020202020204" pitchFamily="34" charset="0"/>
                </a:rPr>
                <a:t>Client segmentation</a:t>
              </a:r>
            </a:p>
          </p:txBody>
        </p:sp>
      </p:grpSp>
      <p:pic>
        <p:nvPicPr>
          <p:cNvPr id="5" name="Graphic 4">
            <a:extLst>
              <a:ext uri="{FF2B5EF4-FFF2-40B4-BE49-F238E27FC236}">
                <a16:creationId xmlns:a16="http://schemas.microsoft.com/office/drawing/2014/main" id="{9A45D1A9-1765-4984-B5E8-6F109A8B8F8C}"/>
              </a:ext>
            </a:extLst>
          </p:cNvPr>
          <p:cNvPicPr>
            <a:picLocks noChangeAspect="1"/>
          </p:cNvPicPr>
          <p:nvPr/>
        </p:nvPicPr>
        <p:blipFill rotWithShape="1">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b="17812"/>
          <a:stretch/>
        </p:blipFill>
        <p:spPr>
          <a:xfrm>
            <a:off x="8650135" y="2357023"/>
            <a:ext cx="416365" cy="427750"/>
          </a:xfrm>
          <a:prstGeom prst="rect">
            <a:avLst/>
          </a:prstGeom>
        </p:spPr>
      </p:pic>
      <p:grpSp>
        <p:nvGrpSpPr>
          <p:cNvPr id="52" name="Groupe 51">
            <a:extLst>
              <a:ext uri="{FF2B5EF4-FFF2-40B4-BE49-F238E27FC236}">
                <a16:creationId xmlns:a16="http://schemas.microsoft.com/office/drawing/2014/main" id="{2C033514-3EFA-4BD5-B484-B17BC5F9960D}"/>
              </a:ext>
            </a:extLst>
          </p:cNvPr>
          <p:cNvGrpSpPr/>
          <p:nvPr/>
        </p:nvGrpSpPr>
        <p:grpSpPr>
          <a:xfrm>
            <a:off x="8448150" y="-11528"/>
            <a:ext cx="1435548" cy="588143"/>
            <a:chOff x="8448150" y="-11528"/>
            <a:chExt cx="1435548" cy="588143"/>
          </a:xfrm>
        </p:grpSpPr>
        <p:grpSp>
          <p:nvGrpSpPr>
            <p:cNvPr id="53" name="Groupe 52">
              <a:extLst>
                <a:ext uri="{FF2B5EF4-FFF2-40B4-BE49-F238E27FC236}">
                  <a16:creationId xmlns:a16="http://schemas.microsoft.com/office/drawing/2014/main" id="{EF99E12B-45A0-418C-B507-1C1BA16119F4}"/>
                </a:ext>
              </a:extLst>
            </p:cNvPr>
            <p:cNvGrpSpPr/>
            <p:nvPr/>
          </p:nvGrpSpPr>
          <p:grpSpPr>
            <a:xfrm>
              <a:off x="8448150" y="-11528"/>
              <a:ext cx="1435548" cy="555653"/>
              <a:chOff x="8448150" y="-11528"/>
              <a:chExt cx="1435548" cy="555653"/>
            </a:xfrm>
          </p:grpSpPr>
          <p:sp>
            <p:nvSpPr>
              <p:cNvPr id="55" name="Rectangle : coins arrondis 199">
                <a:extLst>
                  <a:ext uri="{FF2B5EF4-FFF2-40B4-BE49-F238E27FC236}">
                    <a16:creationId xmlns:a16="http://schemas.microsoft.com/office/drawing/2014/main" id="{2372B4FA-0E2F-4028-BBA0-DF862C230085}"/>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6" name="Rectangle : coins arrondis 200">
                <a:extLst>
                  <a:ext uri="{FF2B5EF4-FFF2-40B4-BE49-F238E27FC236}">
                    <a16:creationId xmlns:a16="http://schemas.microsoft.com/office/drawing/2014/main" id="{F6FAC7EE-A18A-4BDE-B9C6-C13F878F1050}"/>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7" name="Rectangle : coins arrondis 201">
                <a:extLst>
                  <a:ext uri="{FF2B5EF4-FFF2-40B4-BE49-F238E27FC236}">
                    <a16:creationId xmlns:a16="http://schemas.microsoft.com/office/drawing/2014/main" id="{6BF25721-FC30-4EB0-B252-3EAD871AFD91}"/>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8" name="ZoneTexte 18">
                <a:extLst>
                  <a:ext uri="{FF2B5EF4-FFF2-40B4-BE49-F238E27FC236}">
                    <a16:creationId xmlns:a16="http://schemas.microsoft.com/office/drawing/2014/main" id="{E79A0D92-7BDF-444C-A928-788F6C59EB44}"/>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59" name="Graphique 128" descr="Jauge">
                <a:extLst>
                  <a:ext uri="{FF2B5EF4-FFF2-40B4-BE49-F238E27FC236}">
                    <a16:creationId xmlns:a16="http://schemas.microsoft.com/office/drawing/2014/main" id="{C648DB2F-1FAA-44CD-9093-D497405EB4A8}"/>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553764" y="187516"/>
                <a:ext cx="234953" cy="218224"/>
              </a:xfrm>
              <a:prstGeom prst="rect">
                <a:avLst/>
              </a:prstGeom>
              <a:effectLst/>
            </p:spPr>
          </p:pic>
          <p:pic>
            <p:nvPicPr>
              <p:cNvPr id="60" name="Graphique 90" descr="Poignée de main">
                <a:extLst>
                  <a:ext uri="{FF2B5EF4-FFF2-40B4-BE49-F238E27FC236}">
                    <a16:creationId xmlns:a16="http://schemas.microsoft.com/office/drawing/2014/main" id="{EC2E5720-14A1-4FF5-8F3C-AB7C04E11C2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960868" y="152880"/>
                <a:ext cx="256313" cy="287496"/>
              </a:xfrm>
              <a:prstGeom prst="rect">
                <a:avLst/>
              </a:prstGeom>
              <a:effectLst/>
            </p:spPr>
          </p:pic>
          <p:pic>
            <p:nvPicPr>
              <p:cNvPr id="61" name="Graphique 74" descr="Mégaphone">
                <a:extLst>
                  <a:ext uri="{FF2B5EF4-FFF2-40B4-BE49-F238E27FC236}">
                    <a16:creationId xmlns:a16="http://schemas.microsoft.com/office/drawing/2014/main" id="{F07708FF-75EF-4668-BC6F-91A740518BB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9389331" y="181519"/>
                <a:ext cx="233011" cy="216420"/>
              </a:xfrm>
              <a:prstGeom prst="rect">
                <a:avLst/>
              </a:prstGeom>
              <a:effectLst/>
            </p:spPr>
          </p:pic>
          <p:pic>
            <p:nvPicPr>
              <p:cNvPr id="62" name="Picture 2" descr="Drapeau France">
                <a:extLst>
                  <a:ext uri="{FF2B5EF4-FFF2-40B4-BE49-F238E27FC236}">
                    <a16:creationId xmlns:a16="http://schemas.microsoft.com/office/drawing/2014/main" id="{1A1B9517-E279-495D-BD25-24AFD5726CB8}"/>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3" name="Picture 2" descr="5 ft x 3 ft 150 x 90 cm-DRAPEAU BELGE Belgique 100% Polyester ...">
                <a:extLst>
                  <a:ext uri="{FF2B5EF4-FFF2-40B4-BE49-F238E27FC236}">
                    <a16:creationId xmlns:a16="http://schemas.microsoft.com/office/drawing/2014/main" id="{27665123-88A8-42D9-943B-0D6E88CE8DB6}"/>
                  </a:ext>
                </a:extLst>
              </p:cNvPr>
              <p:cNvPicPr>
                <a:picLocks noChangeAspect="1" noChangeArrowheads="1"/>
              </p:cNvPicPr>
              <p:nvPr/>
            </p:nvPicPr>
            <p:blipFill rotWithShape="1">
              <a:blip r:embed="rId30">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5" name="Picture 2 - 1" descr="Drapeau des Pays-Bas — Wikipédia">
                <a:extLst>
                  <a:ext uri="{FF2B5EF4-FFF2-40B4-BE49-F238E27FC236}">
                    <a16:creationId xmlns:a16="http://schemas.microsoft.com/office/drawing/2014/main" id="{CBC03202-2E72-4A12-B81F-DB32F9C9A7C4}"/>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7" name="Picture 2 - 2" descr="Drapeau du Luxembourg">
                <a:extLst>
                  <a:ext uri="{FF2B5EF4-FFF2-40B4-BE49-F238E27FC236}">
                    <a16:creationId xmlns:a16="http://schemas.microsoft.com/office/drawing/2014/main" id="{B54B07C7-3399-4291-A9D5-E5514343B7C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54" name="ZoneTexte 18">
              <a:extLst>
                <a:ext uri="{FF2B5EF4-FFF2-40B4-BE49-F238E27FC236}">
                  <a16:creationId xmlns:a16="http://schemas.microsoft.com/office/drawing/2014/main" id="{1CAF0848-A474-4030-B880-0C02F74BB61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redit &amp; financial risk</a:t>
              </a:r>
            </a:p>
          </p:txBody>
        </p:sp>
      </p:grpSp>
    </p:spTree>
    <p:extLst>
      <p:ext uri="{BB962C8B-B14F-4D97-AF65-F5344CB8AC3E}">
        <p14:creationId xmlns:p14="http://schemas.microsoft.com/office/powerpoint/2010/main" val="294017909"/>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0944F39-7C9D-46A4-9460-7725FFCBEE94}"/>
              </a:ext>
            </a:extLst>
          </p:cNvPr>
          <p:cNvGraphicFramePr>
            <a:graphicFrameLocks noChangeAspect="1"/>
          </p:cNvGraphicFramePr>
          <p:nvPr>
            <p:custDataLst>
              <p:tags r:id="rId1"/>
            </p:custDataLst>
            <p:extLst>
              <p:ext uri="{D42A27DB-BD31-4B8C-83A1-F6EECF244321}">
                <p14:modId xmlns:p14="http://schemas.microsoft.com/office/powerpoint/2010/main" val="2213998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15" imgH="416" progId="TCLayout.ActiveDocument.1">
                  <p:embed/>
                </p:oleObj>
              </mc:Choice>
              <mc:Fallback>
                <p:oleObj name="think-cell Slide" r:id="rId13" imgW="415" imgH="416" progId="TCLayout.ActiveDocument.1">
                  <p:embed/>
                  <p:pic>
                    <p:nvPicPr>
                      <p:cNvPr id="6" name="Object 5" hidden="1">
                        <a:extLst>
                          <a:ext uri="{FF2B5EF4-FFF2-40B4-BE49-F238E27FC236}">
                            <a16:creationId xmlns:a16="http://schemas.microsoft.com/office/drawing/2014/main" id="{90944F39-7C9D-46A4-9460-7725FFCBEE94}"/>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FCCB61A9-18E3-4D56-9AF8-2A82AF56EF7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11" name="Rectangle 110">
            <a:extLst>
              <a:ext uri="{FF2B5EF4-FFF2-40B4-BE49-F238E27FC236}">
                <a16:creationId xmlns:a16="http://schemas.microsoft.com/office/drawing/2014/main" id="{BC2BBFB2-B38F-4036-992E-F1ACB52FEC45}"/>
              </a:ext>
            </a:extLst>
          </p:cNvPr>
          <p:cNvSpPr/>
          <p:nvPr/>
        </p:nvSpPr>
        <p:spPr bwMode="auto">
          <a:xfrm>
            <a:off x="243295" y="1787810"/>
            <a:ext cx="3226736" cy="468000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marL="171450" indent="-171450" fontAlgn="ctr">
              <a:buFont typeface="Arial" panose="020B0604020202020204" pitchFamily="34" charset="0"/>
              <a:buChar char="•"/>
            </a:pPr>
            <a:r>
              <a:rPr lang="en-GB" sz="1000" dirty="0">
                <a:latin typeface="Trebuchet MS" panose="020B0603020202020204" pitchFamily="34" charset="0"/>
              </a:rPr>
              <a:t>Cumulated turnover of the players operating in the Credit risk market in the four geographies accounts for €341m</a:t>
            </a:r>
          </a:p>
          <a:p>
            <a:pPr marL="171450" indent="-171450" fontAlgn="ctr">
              <a:buFont typeface="Arial" panose="020B0604020202020204" pitchFamily="34" charset="0"/>
              <a:buChar char="•"/>
            </a:pPr>
            <a:r>
              <a:rPr lang="en-GB" sz="1000" dirty="0">
                <a:latin typeface="Trebuchet MS" panose="020B0603020202020204" pitchFamily="34" charset="0"/>
              </a:rPr>
              <a:t>Due to the Covid-19 crisis, </a:t>
            </a:r>
            <a:r>
              <a:rPr lang="en-GB" sz="1000" dirty="0">
                <a:solidFill>
                  <a:schemeClr val="tx2"/>
                </a:solidFill>
                <a:latin typeface="Trebuchet MS" panose="020B0603020202020204" pitchFamily="34" charset="0"/>
              </a:rPr>
              <a:t>2020 will be a blank year </a:t>
            </a:r>
            <a:r>
              <a:rPr lang="en-GB" sz="1000" dirty="0">
                <a:latin typeface="Trebuchet MS" panose="020B0603020202020204" pitchFamily="34" charset="0"/>
              </a:rPr>
              <a:t>in terms of growth</a:t>
            </a:r>
          </a:p>
          <a:p>
            <a:pPr marL="171450" indent="-171450" fontAlgn="ctr">
              <a:buFont typeface="Arial" panose="020B0604020202020204" pitchFamily="34" charset="0"/>
              <a:buChar char="•"/>
            </a:pPr>
            <a:r>
              <a:rPr lang="en-GB" sz="1000" dirty="0">
                <a:latin typeface="Trebuchet MS" panose="020B0603020202020204" pitchFamily="34" charset="0"/>
              </a:rPr>
              <a:t>While the </a:t>
            </a:r>
            <a:r>
              <a:rPr lang="en-GB" sz="1000" dirty="0">
                <a:solidFill>
                  <a:schemeClr val="tx2"/>
                </a:solidFill>
                <a:latin typeface="Trebuchet MS" panose="020B0603020202020204" pitchFamily="34" charset="0"/>
              </a:rPr>
              <a:t>French</a:t>
            </a:r>
            <a:r>
              <a:rPr lang="en-GB" sz="1000" dirty="0">
                <a:latin typeface="Trebuchet MS" panose="020B0603020202020204" pitchFamily="34" charset="0"/>
              </a:rPr>
              <a:t> market is expected to </a:t>
            </a:r>
            <a:r>
              <a:rPr lang="en-GB" sz="1000" dirty="0">
                <a:solidFill>
                  <a:schemeClr val="tx2"/>
                </a:solidFill>
                <a:latin typeface="Trebuchet MS" panose="020B0603020202020204" pitchFamily="34" charset="0"/>
              </a:rPr>
              <a:t>decrease</a:t>
            </a:r>
            <a:r>
              <a:rPr lang="en-GB" sz="1000" dirty="0">
                <a:latin typeface="Trebuchet MS" panose="020B0603020202020204" pitchFamily="34" charset="0"/>
              </a:rPr>
              <a:t> at a 0.01% rate per year(CAGR21-25), the </a:t>
            </a:r>
            <a:r>
              <a:rPr lang="en-GB" sz="1000" dirty="0">
                <a:solidFill>
                  <a:schemeClr val="tx2"/>
                </a:solidFill>
                <a:latin typeface="Trebuchet MS" panose="020B0603020202020204" pitchFamily="34" charset="0"/>
              </a:rPr>
              <a:t>Benelux</a:t>
            </a:r>
            <a:r>
              <a:rPr lang="en-GB" sz="1000" dirty="0">
                <a:latin typeface="Trebuchet MS" panose="020B0603020202020204" pitchFamily="34" charset="0"/>
              </a:rPr>
              <a:t> market is still expected to </a:t>
            </a:r>
            <a:r>
              <a:rPr lang="en-GB" sz="1000" dirty="0">
                <a:solidFill>
                  <a:schemeClr val="tx2"/>
                </a:solidFill>
                <a:latin typeface="Trebuchet MS" panose="020B0603020202020204" pitchFamily="34" charset="0"/>
              </a:rPr>
              <a:t>grow</a:t>
            </a:r>
            <a:r>
              <a:rPr lang="en-GB" sz="1000" dirty="0">
                <a:latin typeface="Trebuchet MS" panose="020B0603020202020204" pitchFamily="34" charset="0"/>
              </a:rPr>
              <a:t> (CAGR21-25 of +0.13%), thanks to the </a:t>
            </a:r>
            <a:r>
              <a:rPr lang="en-GB" sz="1000" dirty="0">
                <a:solidFill>
                  <a:schemeClr val="tx2"/>
                </a:solidFill>
                <a:latin typeface="Trebuchet MS" panose="020B0603020202020204" pitchFamily="34" charset="0"/>
              </a:rPr>
              <a:t>high level of exports and account receivables</a:t>
            </a:r>
          </a:p>
        </p:txBody>
      </p:sp>
      <p:graphicFrame>
        <p:nvGraphicFramePr>
          <p:cNvPr id="114" name="Chart 18">
            <a:extLst>
              <a:ext uri="{FF2B5EF4-FFF2-40B4-BE49-F238E27FC236}">
                <a16:creationId xmlns:a16="http://schemas.microsoft.com/office/drawing/2014/main" id="{DCBAA407-262C-4D00-B639-BBAABF09ADBA}"/>
              </a:ext>
            </a:extLst>
          </p:cNvPr>
          <p:cNvGraphicFramePr/>
          <p:nvPr>
            <p:extLst>
              <p:ext uri="{D42A27DB-BD31-4B8C-83A1-F6EECF244321}">
                <p14:modId xmlns:p14="http://schemas.microsoft.com/office/powerpoint/2010/main" val="2471606328"/>
              </p:ext>
            </p:extLst>
          </p:nvPr>
        </p:nvGraphicFramePr>
        <p:xfrm>
          <a:off x="145824" y="2319224"/>
          <a:ext cx="3535211" cy="2244286"/>
        </p:xfrm>
        <a:graphic>
          <a:graphicData uri="http://schemas.openxmlformats.org/drawingml/2006/chart">
            <c:chart xmlns:c="http://schemas.openxmlformats.org/drawingml/2006/chart" xmlns:r="http://schemas.openxmlformats.org/officeDocument/2006/relationships" r:id="rId15"/>
          </a:graphicData>
        </a:graphic>
      </p:graphicFrame>
      <p:sp>
        <p:nvSpPr>
          <p:cNvPr id="4" name="Title 3">
            <a:extLst>
              <a:ext uri="{FF2B5EF4-FFF2-40B4-BE49-F238E27FC236}">
                <a16:creationId xmlns:a16="http://schemas.microsoft.com/office/drawing/2014/main" id="{4743645F-F1B2-4106-A826-D519F9D9D826}"/>
              </a:ext>
            </a:extLst>
          </p:cNvPr>
          <p:cNvSpPr>
            <a:spLocks noGrp="1"/>
          </p:cNvSpPr>
          <p:nvPr>
            <p:ph type="title"/>
          </p:nvPr>
        </p:nvSpPr>
        <p:spPr>
          <a:xfrm>
            <a:off x="165599" y="147600"/>
            <a:ext cx="8233175" cy="684000"/>
          </a:xfrm>
        </p:spPr>
        <p:txBody>
          <a:bodyPr/>
          <a:lstStyle/>
          <a:p>
            <a:r>
              <a:rPr lang="en-GB">
                <a:latin typeface="Trebuchet MS" panose="020B0603020202020204" pitchFamily="34" charset="0"/>
              </a:rPr>
              <a:t>Credit risk represents a large market with moderate growth (CAGR</a:t>
            </a:r>
            <a:r>
              <a:rPr lang="en-GB" baseline="-25000">
                <a:latin typeface="Trebuchet MS" panose="020B0603020202020204" pitchFamily="34" charset="0"/>
              </a:rPr>
              <a:t>21-25</a:t>
            </a:r>
            <a:r>
              <a:rPr lang="en-GB">
                <a:latin typeface="Trebuchet MS" panose="020B0603020202020204" pitchFamily="34" charset="0"/>
              </a:rPr>
              <a:t> of +0.01%) driven by increasing needs for hedging solutions against perceived macro-risk, especially in Benelux</a:t>
            </a:r>
            <a:endParaRPr lang="en-GB">
              <a:solidFill>
                <a:schemeClr val="tx2"/>
              </a:solidFill>
              <a:latin typeface="Trebuchet MS" panose="020B0603020202020204" pitchFamily="34" charset="0"/>
            </a:endParaRPr>
          </a:p>
        </p:txBody>
      </p:sp>
      <p:cxnSp>
        <p:nvCxnSpPr>
          <p:cNvPr id="20" name="Connecteur droit 13">
            <a:extLst>
              <a:ext uri="{FF2B5EF4-FFF2-40B4-BE49-F238E27FC236}">
                <a16:creationId xmlns:a16="http://schemas.microsoft.com/office/drawing/2014/main" id="{898A5B49-149D-48DB-B985-FBB22477DBA4}"/>
              </a:ext>
            </a:extLst>
          </p:cNvPr>
          <p:cNvCxnSpPr>
            <a:cxnSpLocks/>
          </p:cNvCxnSpPr>
          <p:nvPr/>
        </p:nvCxnSpPr>
        <p:spPr bwMode="auto">
          <a:xfrm>
            <a:off x="243295" y="980156"/>
            <a:ext cx="9403213"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2" name="Rectangle 81">
            <a:extLst>
              <a:ext uri="{FF2B5EF4-FFF2-40B4-BE49-F238E27FC236}">
                <a16:creationId xmlns:a16="http://schemas.microsoft.com/office/drawing/2014/main" id="{D93C9900-9BE6-4E29-87E9-5D8478F68462}"/>
              </a:ext>
            </a:extLst>
          </p:cNvPr>
          <p:cNvSpPr>
            <a:spLocks/>
          </p:cNvSpPr>
          <p:nvPr/>
        </p:nvSpPr>
        <p:spPr bwMode="auto">
          <a:xfrm>
            <a:off x="236505" y="1154545"/>
            <a:ext cx="3233526" cy="461820"/>
          </a:xfrm>
          <a:prstGeom prst="rect">
            <a:avLst/>
          </a:prstGeom>
          <a:solidFill>
            <a:schemeClr val="bg1"/>
          </a:solid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solidFill>
                  <a:schemeClr val="tx2"/>
                </a:solidFill>
                <a:latin typeface="Trebuchet MS" panose="020B0603020202020204" pitchFamily="34" charset="0"/>
              </a:rPr>
              <a:t>Market sizing</a:t>
            </a:r>
          </a:p>
        </p:txBody>
      </p:sp>
      <p:sp>
        <p:nvSpPr>
          <p:cNvPr id="84" name="Rectangle 83">
            <a:extLst>
              <a:ext uri="{FF2B5EF4-FFF2-40B4-BE49-F238E27FC236}">
                <a16:creationId xmlns:a16="http://schemas.microsoft.com/office/drawing/2014/main" id="{CE9C423A-F283-4424-AAEA-854F5F7D50BA}"/>
              </a:ext>
            </a:extLst>
          </p:cNvPr>
          <p:cNvSpPr>
            <a:spLocks/>
          </p:cNvSpPr>
          <p:nvPr/>
        </p:nvSpPr>
        <p:spPr bwMode="auto">
          <a:xfrm>
            <a:off x="3628780" y="1154545"/>
            <a:ext cx="6017659" cy="461820"/>
          </a:xfrm>
          <a:prstGeom prst="rect">
            <a:avLst/>
          </a:prstGeom>
          <a:solidFill>
            <a:schemeClr val="bg1"/>
          </a:solid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solidFill>
                  <a:schemeClr val="tx2"/>
                </a:solidFill>
                <a:latin typeface="Trebuchet MS" panose="020B0603020202020204" pitchFamily="34" charset="0"/>
              </a:rPr>
              <a:t>Market drivers</a:t>
            </a:r>
          </a:p>
        </p:txBody>
      </p:sp>
      <p:pic>
        <p:nvPicPr>
          <p:cNvPr id="85" name="Graphique 84">
            <a:extLst>
              <a:ext uri="{FF2B5EF4-FFF2-40B4-BE49-F238E27FC236}">
                <a16:creationId xmlns:a16="http://schemas.microsoft.com/office/drawing/2014/main" id="{691A14B7-6EEF-4E39-9A48-59B6BE05DEF4}"/>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18500"/>
          <a:stretch/>
        </p:blipFill>
        <p:spPr>
          <a:xfrm>
            <a:off x="5760429" y="1212124"/>
            <a:ext cx="335280" cy="341567"/>
          </a:xfrm>
          <a:prstGeom prst="rect">
            <a:avLst/>
          </a:prstGeom>
        </p:spPr>
      </p:pic>
      <p:cxnSp>
        <p:nvCxnSpPr>
          <p:cNvPr id="87" name="Connecteur droit 25">
            <a:extLst>
              <a:ext uri="{FF2B5EF4-FFF2-40B4-BE49-F238E27FC236}">
                <a16:creationId xmlns:a16="http://schemas.microsoft.com/office/drawing/2014/main" id="{BBE98529-5FAA-4B1F-AA34-DD22811FC433}"/>
              </a:ext>
            </a:extLst>
          </p:cNvPr>
          <p:cNvCxnSpPr>
            <a:cxnSpLocks/>
          </p:cNvCxnSpPr>
          <p:nvPr/>
        </p:nvCxnSpPr>
        <p:spPr bwMode="auto">
          <a:xfrm>
            <a:off x="3718987" y="1787811"/>
            <a:ext cx="1231175"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8" name="Rectangle 87">
            <a:extLst>
              <a:ext uri="{FF2B5EF4-FFF2-40B4-BE49-F238E27FC236}">
                <a16:creationId xmlns:a16="http://schemas.microsoft.com/office/drawing/2014/main" id="{FB77F827-84EE-458E-9113-D38AF5BE9BF6}"/>
              </a:ext>
            </a:extLst>
          </p:cNvPr>
          <p:cNvSpPr/>
          <p:nvPr/>
        </p:nvSpPr>
        <p:spPr bwMode="auto">
          <a:xfrm>
            <a:off x="4083206" y="1665411"/>
            <a:ext cx="472766" cy="244800"/>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r>
              <a:rPr lang="en-GB" sz="1100">
                <a:solidFill>
                  <a:schemeClr val="tx2"/>
                </a:solidFill>
                <a:latin typeface="Trebuchet MS" panose="020B0603020202020204" pitchFamily="34" charset="0"/>
              </a:rPr>
              <a:t>Trend</a:t>
            </a:r>
          </a:p>
        </p:txBody>
      </p:sp>
      <p:cxnSp>
        <p:nvCxnSpPr>
          <p:cNvPr id="90" name="Connecteur droit 25">
            <a:extLst>
              <a:ext uri="{FF2B5EF4-FFF2-40B4-BE49-F238E27FC236}">
                <a16:creationId xmlns:a16="http://schemas.microsoft.com/office/drawing/2014/main" id="{35B63197-631E-4D3A-9BBC-58DB57A18B01}"/>
              </a:ext>
            </a:extLst>
          </p:cNvPr>
          <p:cNvCxnSpPr>
            <a:cxnSpLocks/>
          </p:cNvCxnSpPr>
          <p:nvPr/>
        </p:nvCxnSpPr>
        <p:spPr bwMode="auto">
          <a:xfrm>
            <a:off x="5065314" y="1787811"/>
            <a:ext cx="332611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91" name="Rectangle 90">
            <a:extLst>
              <a:ext uri="{FF2B5EF4-FFF2-40B4-BE49-F238E27FC236}">
                <a16:creationId xmlns:a16="http://schemas.microsoft.com/office/drawing/2014/main" id="{B4506B81-4B13-477E-93E3-E5DD8E4539BB}"/>
              </a:ext>
            </a:extLst>
          </p:cNvPr>
          <p:cNvSpPr/>
          <p:nvPr/>
        </p:nvSpPr>
        <p:spPr bwMode="auto">
          <a:xfrm>
            <a:off x="6181337" y="1665411"/>
            <a:ext cx="1013418" cy="244800"/>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r>
              <a:rPr lang="en-GB" sz="1100">
                <a:solidFill>
                  <a:schemeClr val="tx2"/>
                </a:solidFill>
                <a:latin typeface="Trebuchet MS" panose="020B0603020202020204" pitchFamily="34" charset="0"/>
              </a:rPr>
              <a:t>Description</a:t>
            </a:r>
          </a:p>
        </p:txBody>
      </p:sp>
      <p:cxnSp>
        <p:nvCxnSpPr>
          <p:cNvPr id="92" name="Connecteur droit 25">
            <a:extLst>
              <a:ext uri="{FF2B5EF4-FFF2-40B4-BE49-F238E27FC236}">
                <a16:creationId xmlns:a16="http://schemas.microsoft.com/office/drawing/2014/main" id="{39C9942E-5825-42D1-A231-E808979D58FD}"/>
              </a:ext>
            </a:extLst>
          </p:cNvPr>
          <p:cNvCxnSpPr>
            <a:cxnSpLocks/>
          </p:cNvCxnSpPr>
          <p:nvPr/>
        </p:nvCxnSpPr>
        <p:spPr bwMode="auto">
          <a:xfrm>
            <a:off x="8506580" y="1787811"/>
            <a:ext cx="1192767"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93" name="Rectangle 92">
            <a:extLst>
              <a:ext uri="{FF2B5EF4-FFF2-40B4-BE49-F238E27FC236}">
                <a16:creationId xmlns:a16="http://schemas.microsoft.com/office/drawing/2014/main" id="{0F6A2972-04FF-4D26-B412-E79A79495A6F}"/>
              </a:ext>
            </a:extLst>
          </p:cNvPr>
          <p:cNvSpPr/>
          <p:nvPr/>
        </p:nvSpPr>
        <p:spPr bwMode="auto">
          <a:xfrm>
            <a:off x="8630949" y="1665411"/>
            <a:ext cx="944028" cy="2448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a:r>
              <a:rPr lang="en-GB" sz="1100">
                <a:solidFill>
                  <a:schemeClr val="tx2"/>
                </a:solidFill>
                <a:latin typeface="Trebuchet MS" panose="020B0603020202020204" pitchFamily="34" charset="0"/>
              </a:rPr>
              <a:t>Market impact</a:t>
            </a:r>
          </a:p>
        </p:txBody>
      </p:sp>
      <p:grpSp>
        <p:nvGrpSpPr>
          <p:cNvPr id="10" name="Group 4">
            <a:extLst>
              <a:ext uri="{FF2B5EF4-FFF2-40B4-BE49-F238E27FC236}">
                <a16:creationId xmlns:a16="http://schemas.microsoft.com/office/drawing/2014/main" id="{A58E60D5-631B-4D09-A58F-882505DC918C}"/>
              </a:ext>
            </a:extLst>
          </p:cNvPr>
          <p:cNvGrpSpPr>
            <a:grpSpLocks noChangeAspect="1"/>
          </p:cNvGrpSpPr>
          <p:nvPr/>
        </p:nvGrpSpPr>
        <p:grpSpPr bwMode="auto">
          <a:xfrm>
            <a:off x="1015652" y="1269654"/>
            <a:ext cx="244470" cy="244800"/>
            <a:chOff x="788" y="800"/>
            <a:chExt cx="741" cy="742"/>
          </a:xfrm>
          <a:solidFill>
            <a:schemeClr val="tx2"/>
          </a:solidFill>
        </p:grpSpPr>
        <p:sp>
          <p:nvSpPr>
            <p:cNvPr id="12" name="Freeform 5">
              <a:extLst>
                <a:ext uri="{FF2B5EF4-FFF2-40B4-BE49-F238E27FC236}">
                  <a16:creationId xmlns:a16="http://schemas.microsoft.com/office/drawing/2014/main" id="{2EE6896E-7154-49F6-B477-40241F989B46}"/>
                </a:ext>
              </a:extLst>
            </p:cNvPr>
            <p:cNvSpPr>
              <a:spLocks/>
            </p:cNvSpPr>
            <p:nvPr/>
          </p:nvSpPr>
          <p:spPr bwMode="auto">
            <a:xfrm>
              <a:off x="788" y="974"/>
              <a:ext cx="533" cy="568"/>
            </a:xfrm>
            <a:custGeom>
              <a:avLst/>
              <a:gdLst>
                <a:gd name="T0" fmla="*/ 18 w 46"/>
                <a:gd name="T1" fmla="*/ 0 h 49"/>
                <a:gd name="T2" fmla="*/ 0 w 46"/>
                <a:gd name="T3" fmla="*/ 24 h 49"/>
                <a:gd name="T4" fmla="*/ 26 w 46"/>
                <a:gd name="T5" fmla="*/ 49 h 49"/>
                <a:gd name="T6" fmla="*/ 46 w 46"/>
                <a:gd name="T7" fmla="*/ 39 h 49"/>
                <a:gd name="T8" fmla="*/ 24 w 46"/>
                <a:gd name="T9" fmla="*/ 26 h 49"/>
                <a:gd name="T10" fmla="*/ 18 w 46"/>
                <a:gd name="T11" fmla="*/ 0 h 49"/>
              </a:gdLst>
              <a:ahLst/>
              <a:cxnLst>
                <a:cxn ang="0">
                  <a:pos x="T0" y="T1"/>
                </a:cxn>
                <a:cxn ang="0">
                  <a:pos x="T2" y="T3"/>
                </a:cxn>
                <a:cxn ang="0">
                  <a:pos x="T4" y="T5"/>
                </a:cxn>
                <a:cxn ang="0">
                  <a:pos x="T6" y="T7"/>
                </a:cxn>
                <a:cxn ang="0">
                  <a:pos x="T8" y="T9"/>
                </a:cxn>
                <a:cxn ang="0">
                  <a:pos x="T10" y="T11"/>
                </a:cxn>
              </a:cxnLst>
              <a:rect l="0" t="0" r="r" b="b"/>
              <a:pathLst>
                <a:path w="46" h="49">
                  <a:moveTo>
                    <a:pt x="18" y="0"/>
                  </a:moveTo>
                  <a:cubicBezTo>
                    <a:pt x="8" y="3"/>
                    <a:pt x="0" y="13"/>
                    <a:pt x="0" y="24"/>
                  </a:cubicBezTo>
                  <a:cubicBezTo>
                    <a:pt x="0" y="38"/>
                    <a:pt x="12" y="49"/>
                    <a:pt x="26" y="49"/>
                  </a:cubicBezTo>
                  <a:cubicBezTo>
                    <a:pt x="34" y="49"/>
                    <a:pt x="41" y="45"/>
                    <a:pt x="46" y="39"/>
                  </a:cubicBezTo>
                  <a:cubicBezTo>
                    <a:pt x="24" y="26"/>
                    <a:pt x="24" y="26"/>
                    <a:pt x="24" y="26"/>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6">
              <a:extLst>
                <a:ext uri="{FF2B5EF4-FFF2-40B4-BE49-F238E27FC236}">
                  <a16:creationId xmlns:a16="http://schemas.microsoft.com/office/drawing/2014/main" id="{C51F3311-8A4E-4B7F-BB0F-80D2ADEE1A13}"/>
                </a:ext>
              </a:extLst>
            </p:cNvPr>
            <p:cNvSpPr>
              <a:spLocks/>
            </p:cNvSpPr>
            <p:nvPr/>
          </p:nvSpPr>
          <p:spPr bwMode="auto">
            <a:xfrm>
              <a:off x="1066" y="800"/>
              <a:ext cx="220" cy="347"/>
            </a:xfrm>
            <a:custGeom>
              <a:avLst/>
              <a:gdLst>
                <a:gd name="T0" fmla="*/ 19 w 19"/>
                <a:gd name="T1" fmla="*/ 2 h 30"/>
                <a:gd name="T2" fmla="*/ 9 w 19"/>
                <a:gd name="T3" fmla="*/ 0 h 30"/>
                <a:gd name="T4" fmla="*/ 0 w 19"/>
                <a:gd name="T5" fmla="*/ 1 h 30"/>
                <a:gd name="T6" fmla="*/ 6 w 19"/>
                <a:gd name="T7" fmla="*/ 30 h 30"/>
                <a:gd name="T8" fmla="*/ 19 w 19"/>
                <a:gd name="T9" fmla="*/ 2 h 30"/>
              </a:gdLst>
              <a:ahLst/>
              <a:cxnLst>
                <a:cxn ang="0">
                  <a:pos x="T0" y="T1"/>
                </a:cxn>
                <a:cxn ang="0">
                  <a:pos x="T2" y="T3"/>
                </a:cxn>
                <a:cxn ang="0">
                  <a:pos x="T4" y="T5"/>
                </a:cxn>
                <a:cxn ang="0">
                  <a:pos x="T6" y="T7"/>
                </a:cxn>
                <a:cxn ang="0">
                  <a:pos x="T8" y="T9"/>
                </a:cxn>
              </a:cxnLst>
              <a:rect l="0" t="0" r="r" b="b"/>
              <a:pathLst>
                <a:path w="19" h="30">
                  <a:moveTo>
                    <a:pt x="19" y="2"/>
                  </a:moveTo>
                  <a:cubicBezTo>
                    <a:pt x="15" y="1"/>
                    <a:pt x="12" y="0"/>
                    <a:pt x="9" y="0"/>
                  </a:cubicBezTo>
                  <a:cubicBezTo>
                    <a:pt x="6" y="0"/>
                    <a:pt x="3" y="1"/>
                    <a:pt x="0" y="1"/>
                  </a:cubicBezTo>
                  <a:cubicBezTo>
                    <a:pt x="6" y="30"/>
                    <a:pt x="6" y="30"/>
                    <a:pt x="6" y="30"/>
                  </a:cubicBezTo>
                  <a:lnTo>
                    <a:pt x="19"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7">
              <a:extLst>
                <a:ext uri="{FF2B5EF4-FFF2-40B4-BE49-F238E27FC236}">
                  <a16:creationId xmlns:a16="http://schemas.microsoft.com/office/drawing/2014/main" id="{31053638-D8AB-4915-B82B-68CA47BC12B8}"/>
                </a:ext>
              </a:extLst>
            </p:cNvPr>
            <p:cNvSpPr>
              <a:spLocks/>
            </p:cNvSpPr>
            <p:nvPr/>
          </p:nvSpPr>
          <p:spPr bwMode="auto">
            <a:xfrm>
              <a:off x="1182" y="904"/>
              <a:ext cx="347" cy="487"/>
            </a:xfrm>
            <a:custGeom>
              <a:avLst/>
              <a:gdLst>
                <a:gd name="T0" fmla="*/ 13 w 30"/>
                <a:gd name="T1" fmla="*/ 0 h 42"/>
                <a:gd name="T2" fmla="*/ 0 w 30"/>
                <a:gd name="T3" fmla="*/ 28 h 42"/>
                <a:gd name="T4" fmla="*/ 25 w 30"/>
                <a:gd name="T5" fmla="*/ 42 h 42"/>
                <a:gd name="T6" fmla="*/ 30 w 30"/>
                <a:gd name="T7" fmla="*/ 26 h 42"/>
                <a:gd name="T8" fmla="*/ 13 w 30"/>
                <a:gd name="T9" fmla="*/ 0 h 42"/>
              </a:gdLst>
              <a:ahLst/>
              <a:cxnLst>
                <a:cxn ang="0">
                  <a:pos x="T0" y="T1"/>
                </a:cxn>
                <a:cxn ang="0">
                  <a:pos x="T2" y="T3"/>
                </a:cxn>
                <a:cxn ang="0">
                  <a:pos x="T4" y="T5"/>
                </a:cxn>
                <a:cxn ang="0">
                  <a:pos x="T6" y="T7"/>
                </a:cxn>
                <a:cxn ang="0">
                  <a:pos x="T8" y="T9"/>
                </a:cxn>
              </a:cxnLst>
              <a:rect l="0" t="0" r="r" b="b"/>
              <a:pathLst>
                <a:path w="30" h="42">
                  <a:moveTo>
                    <a:pt x="13" y="0"/>
                  </a:moveTo>
                  <a:cubicBezTo>
                    <a:pt x="0" y="28"/>
                    <a:pt x="0" y="28"/>
                    <a:pt x="0" y="28"/>
                  </a:cubicBezTo>
                  <a:cubicBezTo>
                    <a:pt x="25" y="42"/>
                    <a:pt x="25" y="42"/>
                    <a:pt x="25" y="42"/>
                  </a:cubicBezTo>
                  <a:cubicBezTo>
                    <a:pt x="28" y="38"/>
                    <a:pt x="30" y="32"/>
                    <a:pt x="30" y="26"/>
                  </a:cubicBezTo>
                  <a:cubicBezTo>
                    <a:pt x="30" y="14"/>
                    <a:pt x="23" y="4"/>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3" name="Rectangle 102">
            <a:extLst>
              <a:ext uri="{FF2B5EF4-FFF2-40B4-BE49-F238E27FC236}">
                <a16:creationId xmlns:a16="http://schemas.microsoft.com/office/drawing/2014/main" id="{45AF2547-1F16-40A0-B1B6-CDA03FBEB8A0}"/>
              </a:ext>
            </a:extLst>
          </p:cNvPr>
          <p:cNvSpPr/>
          <p:nvPr/>
        </p:nvSpPr>
        <p:spPr bwMode="auto">
          <a:xfrm>
            <a:off x="3718987" y="2088757"/>
            <a:ext cx="1231175" cy="1522716"/>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a:solidFill>
                  <a:schemeClr val="bg1"/>
                </a:solidFill>
                <a:latin typeface="Trebuchet MS" panose="020B0603020202020204" pitchFamily="34" charset="0"/>
              </a:rPr>
              <a:t>Moderate increase in the need for risk hedging solutions driven by macro-risk perception</a:t>
            </a:r>
          </a:p>
        </p:txBody>
      </p:sp>
      <p:sp>
        <p:nvSpPr>
          <p:cNvPr id="104" name="Rectangle 103">
            <a:extLst>
              <a:ext uri="{FF2B5EF4-FFF2-40B4-BE49-F238E27FC236}">
                <a16:creationId xmlns:a16="http://schemas.microsoft.com/office/drawing/2014/main" id="{2BA35B89-2557-4589-8332-7ACD7829375B}"/>
              </a:ext>
            </a:extLst>
          </p:cNvPr>
          <p:cNvSpPr/>
          <p:nvPr/>
        </p:nvSpPr>
        <p:spPr bwMode="auto">
          <a:xfrm>
            <a:off x="5065314" y="2084138"/>
            <a:ext cx="3326114" cy="22655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spcBef>
                <a:spcPts val="600"/>
              </a:spcBef>
            </a:pPr>
            <a:r>
              <a:rPr lang="en-GB" sz="1000">
                <a:latin typeface="Trebuchet MS" panose="020B0603020202020204" pitchFamily="34" charset="0"/>
              </a:rPr>
              <a:t>Increase in </a:t>
            </a:r>
            <a:r>
              <a:rPr lang="en-GB" sz="1000">
                <a:solidFill>
                  <a:schemeClr val="tx2"/>
                </a:solidFill>
                <a:latin typeface="Trebuchet MS" panose="020B0603020202020204" pitchFamily="34" charset="0"/>
              </a:rPr>
              <a:t>accounts receivable</a:t>
            </a:r>
            <a:endParaRPr lang="en-GB" sz="1000" spc="-10">
              <a:solidFill>
                <a:schemeClr val="dk1"/>
              </a:solidFill>
              <a:latin typeface="Trebuchet MS" panose="020B0603020202020204" pitchFamily="34" charset="0"/>
            </a:endParaRPr>
          </a:p>
        </p:txBody>
      </p:sp>
      <p:grpSp>
        <p:nvGrpSpPr>
          <p:cNvPr id="128" name="Groupe 127">
            <a:extLst>
              <a:ext uri="{FF2B5EF4-FFF2-40B4-BE49-F238E27FC236}">
                <a16:creationId xmlns:a16="http://schemas.microsoft.com/office/drawing/2014/main" id="{9295168E-7501-4FAE-94BB-547CB1423F96}"/>
              </a:ext>
            </a:extLst>
          </p:cNvPr>
          <p:cNvGrpSpPr/>
          <p:nvPr/>
        </p:nvGrpSpPr>
        <p:grpSpPr>
          <a:xfrm>
            <a:off x="3844569" y="6309754"/>
            <a:ext cx="1302227" cy="205807"/>
            <a:chOff x="5530373" y="6577015"/>
            <a:chExt cx="1302227" cy="249026"/>
          </a:xfrm>
        </p:grpSpPr>
        <p:sp>
          <p:nvSpPr>
            <p:cNvPr id="129" name="Rectangle 128">
              <a:extLst>
                <a:ext uri="{FF2B5EF4-FFF2-40B4-BE49-F238E27FC236}">
                  <a16:creationId xmlns:a16="http://schemas.microsoft.com/office/drawing/2014/main" id="{79A121AC-461C-463D-B0C3-A593098D1F45}"/>
                </a:ext>
              </a:extLst>
            </p:cNvPr>
            <p:cNvSpPr/>
            <p:nvPr/>
          </p:nvSpPr>
          <p:spPr bwMode="auto">
            <a:xfrm>
              <a:off x="5530373" y="6729644"/>
              <a:ext cx="147021" cy="96397"/>
            </a:xfrm>
            <a:prstGeom prst="rect">
              <a:avLst/>
            </a:prstGeom>
            <a:solidFill>
              <a:schemeClr val="bg2"/>
            </a:solidFill>
            <a:ln w="9525" cap="flat" cmpd="sng" algn="ctr">
              <a:solidFill>
                <a:schemeClr val="tx1">
                  <a:lumMod val="60000"/>
                  <a:lumOff val="4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endParaRPr lang="en-GB" sz="1200" cap="small">
                <a:solidFill>
                  <a:schemeClr val="bg1"/>
                </a:solidFill>
                <a:latin typeface="Trebuchet MS" panose="020B0603020202020204" pitchFamily="34" charset="0"/>
              </a:endParaRPr>
            </a:p>
          </p:txBody>
        </p:sp>
        <p:sp>
          <p:nvSpPr>
            <p:cNvPr id="130" name="Rectangle 129">
              <a:extLst>
                <a:ext uri="{FF2B5EF4-FFF2-40B4-BE49-F238E27FC236}">
                  <a16:creationId xmlns:a16="http://schemas.microsoft.com/office/drawing/2014/main" id="{3477C078-C791-49E5-88CF-E33A886BAE61}"/>
                </a:ext>
              </a:extLst>
            </p:cNvPr>
            <p:cNvSpPr/>
            <p:nvPr/>
          </p:nvSpPr>
          <p:spPr bwMode="auto">
            <a:xfrm>
              <a:off x="5530373" y="6577015"/>
              <a:ext cx="147021" cy="96397"/>
            </a:xfrm>
            <a:prstGeom prst="rect">
              <a:avLst/>
            </a:prstGeom>
            <a:solidFill>
              <a:schemeClr val="tx2">
                <a:lumMod val="75000"/>
              </a:schemeClr>
            </a:solidFill>
            <a:ln w="9525" cap="flat" cmpd="sng" algn="ctr">
              <a:solidFill>
                <a:schemeClr val="tx1">
                  <a:lumMod val="60000"/>
                  <a:lumOff val="4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endParaRPr lang="en-GB" sz="1200" cap="small">
                <a:solidFill>
                  <a:schemeClr val="bg1"/>
                </a:solidFill>
                <a:latin typeface="Trebuchet MS" panose="020B0603020202020204" pitchFamily="34" charset="0"/>
              </a:endParaRPr>
            </a:p>
          </p:txBody>
        </p:sp>
        <p:sp>
          <p:nvSpPr>
            <p:cNvPr id="131" name="Rectangle 130">
              <a:extLst>
                <a:ext uri="{FF2B5EF4-FFF2-40B4-BE49-F238E27FC236}">
                  <a16:creationId xmlns:a16="http://schemas.microsoft.com/office/drawing/2014/main" id="{8A79215D-76E8-48EF-8775-9CEF6A591E74}"/>
                </a:ext>
              </a:extLst>
            </p:cNvPr>
            <p:cNvSpPr/>
            <p:nvPr/>
          </p:nvSpPr>
          <p:spPr bwMode="auto">
            <a:xfrm>
              <a:off x="5788363" y="6585672"/>
              <a:ext cx="1044237" cy="86534"/>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r>
                <a:rPr lang="en-GB" sz="800">
                  <a:latin typeface="Trebuchet MS" panose="020B0603020202020204" pitchFamily="34" charset="0"/>
                </a:rPr>
                <a:t>Volume effect</a:t>
              </a:r>
            </a:p>
          </p:txBody>
        </p:sp>
        <p:sp>
          <p:nvSpPr>
            <p:cNvPr id="132" name="Rectangle 131">
              <a:extLst>
                <a:ext uri="{FF2B5EF4-FFF2-40B4-BE49-F238E27FC236}">
                  <a16:creationId xmlns:a16="http://schemas.microsoft.com/office/drawing/2014/main" id="{57F187F0-D281-4816-972F-839D55C0124F}"/>
                </a:ext>
              </a:extLst>
            </p:cNvPr>
            <p:cNvSpPr/>
            <p:nvPr/>
          </p:nvSpPr>
          <p:spPr bwMode="auto">
            <a:xfrm>
              <a:off x="5788363" y="6732402"/>
              <a:ext cx="1044237" cy="86534"/>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r>
                <a:rPr lang="en-GB" sz="800">
                  <a:latin typeface="Trebuchet MS" panose="020B0603020202020204" pitchFamily="34" charset="0"/>
                </a:rPr>
                <a:t>Price effect</a:t>
              </a:r>
            </a:p>
          </p:txBody>
        </p:sp>
      </p:grpSp>
      <p:sp>
        <p:nvSpPr>
          <p:cNvPr id="133" name="Rectangle 132">
            <a:extLst>
              <a:ext uri="{FF2B5EF4-FFF2-40B4-BE49-F238E27FC236}">
                <a16:creationId xmlns:a16="http://schemas.microsoft.com/office/drawing/2014/main" id="{E122487B-7655-4EFA-9ECC-28C77CE3210B}"/>
              </a:ext>
            </a:extLst>
          </p:cNvPr>
          <p:cNvSpPr/>
          <p:nvPr/>
        </p:nvSpPr>
        <p:spPr bwMode="auto">
          <a:xfrm>
            <a:off x="3718987" y="3690724"/>
            <a:ext cx="1231175" cy="1349373"/>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a:solidFill>
                  <a:schemeClr val="bg1"/>
                </a:solidFill>
                <a:latin typeface="Trebuchet MS" panose="020B0603020202020204" pitchFamily="34" charset="0"/>
              </a:rPr>
              <a:t>Moderate increase in volume of Credit risk solution users </a:t>
            </a:r>
          </a:p>
        </p:txBody>
      </p:sp>
      <p:sp>
        <p:nvSpPr>
          <p:cNvPr id="136" name="Rectangle 135">
            <a:extLst>
              <a:ext uri="{FF2B5EF4-FFF2-40B4-BE49-F238E27FC236}">
                <a16:creationId xmlns:a16="http://schemas.microsoft.com/office/drawing/2014/main" id="{04FFC4CC-468D-48DC-AAC9-A15E620A0198}"/>
              </a:ext>
            </a:extLst>
          </p:cNvPr>
          <p:cNvSpPr/>
          <p:nvPr/>
        </p:nvSpPr>
        <p:spPr bwMode="auto">
          <a:xfrm>
            <a:off x="3718987" y="5121400"/>
            <a:ext cx="1231175" cy="1161938"/>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a:solidFill>
                  <a:schemeClr val="bg1"/>
                </a:solidFill>
                <a:latin typeface="Trebuchet MS" panose="020B0603020202020204" pitchFamily="34" charset="0"/>
              </a:rPr>
              <a:t>Probable price stabilization &amp; possible upsell opportunities</a:t>
            </a:r>
          </a:p>
        </p:txBody>
      </p:sp>
      <p:sp>
        <p:nvSpPr>
          <p:cNvPr id="137" name="Rectangle 136">
            <a:extLst>
              <a:ext uri="{FF2B5EF4-FFF2-40B4-BE49-F238E27FC236}">
                <a16:creationId xmlns:a16="http://schemas.microsoft.com/office/drawing/2014/main" id="{477054D5-6280-4D1E-99A9-1C29A94CFE48}"/>
              </a:ext>
            </a:extLst>
          </p:cNvPr>
          <p:cNvSpPr/>
          <p:nvPr/>
        </p:nvSpPr>
        <p:spPr bwMode="auto">
          <a:xfrm>
            <a:off x="5065314" y="5121400"/>
            <a:ext cx="3326114" cy="32400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spcBef>
                <a:spcPts val="600"/>
              </a:spcBef>
            </a:pPr>
            <a:r>
              <a:rPr lang="en-GB" sz="1000">
                <a:latin typeface="Trebuchet MS" panose="020B0603020202020204" pitchFamily="34" charset="0"/>
              </a:rPr>
              <a:t>Probable </a:t>
            </a:r>
            <a:r>
              <a:rPr lang="en-GB" sz="1000">
                <a:solidFill>
                  <a:schemeClr val="tx2"/>
                </a:solidFill>
                <a:latin typeface="Trebuchet MS" panose="020B0603020202020204" pitchFamily="34" charset="0"/>
              </a:rPr>
              <a:t>price stabilization </a:t>
            </a:r>
            <a:r>
              <a:rPr lang="en-GB" sz="1000">
                <a:latin typeface="Trebuchet MS" panose="020B0603020202020204" pitchFamily="34" charset="0"/>
              </a:rPr>
              <a:t>due to the likelihood for </a:t>
            </a:r>
            <a:r>
              <a:rPr lang="en-GB" sz="1000">
                <a:solidFill>
                  <a:schemeClr val="tx2"/>
                </a:solidFill>
                <a:latin typeface="Trebuchet MS" panose="020B0603020202020204" pitchFamily="34" charset="0"/>
              </a:rPr>
              <a:t>Credit Safe </a:t>
            </a:r>
            <a:r>
              <a:rPr lang="en-GB" sz="1000">
                <a:latin typeface="Trebuchet MS" panose="020B0603020202020204" pitchFamily="34" charset="0"/>
              </a:rPr>
              <a:t>to </a:t>
            </a:r>
            <a:r>
              <a:rPr lang="en-GB" sz="1000">
                <a:solidFill>
                  <a:schemeClr val="tx2"/>
                </a:solidFill>
                <a:latin typeface="Trebuchet MS" panose="020B0603020202020204" pitchFamily="34" charset="0"/>
              </a:rPr>
              <a:t>stop its pricing war</a:t>
            </a:r>
            <a:endParaRPr lang="en-GB" sz="1000">
              <a:latin typeface="Trebuchet MS" panose="020B0603020202020204" pitchFamily="34" charset="0"/>
            </a:endParaRPr>
          </a:p>
        </p:txBody>
      </p:sp>
      <p:sp>
        <p:nvSpPr>
          <p:cNvPr id="138" name="Rectangle 137">
            <a:extLst>
              <a:ext uri="{FF2B5EF4-FFF2-40B4-BE49-F238E27FC236}">
                <a16:creationId xmlns:a16="http://schemas.microsoft.com/office/drawing/2014/main" id="{8153BA83-0A70-4119-A50D-A1C1E3D93403}"/>
              </a:ext>
            </a:extLst>
          </p:cNvPr>
          <p:cNvSpPr/>
          <p:nvPr/>
        </p:nvSpPr>
        <p:spPr bwMode="auto">
          <a:xfrm>
            <a:off x="8506580" y="5121400"/>
            <a:ext cx="281907" cy="32400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latin typeface="Trebuchet MS" panose="020B0603020202020204" pitchFamily="34" charset="0"/>
              </a:rPr>
              <a:t>=</a:t>
            </a:r>
          </a:p>
        </p:txBody>
      </p:sp>
      <p:sp>
        <p:nvSpPr>
          <p:cNvPr id="215" name="ZoneTexte 88">
            <a:extLst>
              <a:ext uri="{FF2B5EF4-FFF2-40B4-BE49-F238E27FC236}">
                <a16:creationId xmlns:a16="http://schemas.microsoft.com/office/drawing/2014/main" id="{2D3C648A-3E61-4DF7-A2F2-90E1C27C1457}"/>
              </a:ext>
            </a:extLst>
          </p:cNvPr>
          <p:cNvSpPr txBox="1"/>
          <p:nvPr/>
        </p:nvSpPr>
        <p:spPr>
          <a:xfrm>
            <a:off x="243296" y="1804426"/>
            <a:ext cx="3271858" cy="400110"/>
          </a:xfrm>
          <a:prstGeom prst="rect">
            <a:avLst/>
          </a:prstGeom>
          <a:noFill/>
        </p:spPr>
        <p:txBody>
          <a:bodyPr wrap="square" rtlCol="0">
            <a:spAutoFit/>
          </a:bodyPr>
          <a:lstStyle/>
          <a:p>
            <a:r>
              <a:rPr lang="en-GB" sz="1000" b="1" dirty="0">
                <a:latin typeface="Trebuchet MS" panose="020B0603020202020204" pitchFamily="34" charset="0"/>
              </a:rPr>
              <a:t>Credit risk estimated revenue in France &amp; Benelux, €m, 2017-2025F</a:t>
            </a:r>
            <a:endParaRPr lang="en-GB" sz="1000" b="1" baseline="30000" dirty="0">
              <a:latin typeface="Trebuchet MS" panose="020B0603020202020204" pitchFamily="34" charset="0"/>
            </a:endParaRPr>
          </a:p>
        </p:txBody>
      </p:sp>
      <p:sp>
        <p:nvSpPr>
          <p:cNvPr id="72" name="Rectangle 71">
            <a:extLst>
              <a:ext uri="{FF2B5EF4-FFF2-40B4-BE49-F238E27FC236}">
                <a16:creationId xmlns:a16="http://schemas.microsoft.com/office/drawing/2014/main" id="{A99BC1F1-AF35-4A16-A48F-CC37CD22DAB8}"/>
              </a:ext>
            </a:extLst>
          </p:cNvPr>
          <p:cNvSpPr/>
          <p:nvPr/>
        </p:nvSpPr>
        <p:spPr bwMode="auto">
          <a:xfrm>
            <a:off x="8506580" y="2088756"/>
            <a:ext cx="281907" cy="23120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endParaRPr lang="en-GB" sz="3600">
              <a:latin typeface="Trebuchet MS" panose="020B0603020202020204" pitchFamily="34" charset="0"/>
            </a:endParaRPr>
          </a:p>
        </p:txBody>
      </p:sp>
      <p:sp>
        <p:nvSpPr>
          <p:cNvPr id="229" name="Rectangle 228">
            <a:extLst>
              <a:ext uri="{FF2B5EF4-FFF2-40B4-BE49-F238E27FC236}">
                <a16:creationId xmlns:a16="http://schemas.microsoft.com/office/drawing/2014/main" id="{CEA44C4E-0506-4DDA-972C-8BFA5E5E05D2}"/>
              </a:ext>
            </a:extLst>
          </p:cNvPr>
          <p:cNvSpPr/>
          <p:nvPr/>
        </p:nvSpPr>
        <p:spPr bwMode="auto">
          <a:xfrm>
            <a:off x="5065314" y="4203510"/>
            <a:ext cx="3326114" cy="36000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spcBef>
                <a:spcPts val="600"/>
              </a:spcBef>
            </a:pPr>
            <a:r>
              <a:rPr lang="en-GB" sz="1000">
                <a:latin typeface="Trebuchet MS" panose="020B0603020202020204" pitchFamily="34" charset="0"/>
              </a:rPr>
              <a:t>Popularity of </a:t>
            </a:r>
            <a:r>
              <a:rPr lang="en-GB" sz="1000">
                <a:solidFill>
                  <a:schemeClr val="tx2"/>
                </a:solidFill>
                <a:latin typeface="Trebuchet MS" panose="020B0603020202020204" pitchFamily="34" charset="0"/>
              </a:rPr>
              <a:t>hedging instruments </a:t>
            </a:r>
            <a:r>
              <a:rPr lang="en-GB" sz="1000">
                <a:latin typeface="Trebuchet MS" panose="020B0603020202020204" pitchFamily="34" charset="0"/>
              </a:rPr>
              <a:t>such as </a:t>
            </a:r>
            <a:r>
              <a:rPr lang="en-GB" sz="1000">
                <a:solidFill>
                  <a:schemeClr val="tx2"/>
                </a:solidFill>
                <a:latin typeface="Trebuchet MS" panose="020B0603020202020204" pitchFamily="34" charset="0"/>
              </a:rPr>
              <a:t>factoring</a:t>
            </a:r>
            <a:r>
              <a:rPr lang="en-GB" sz="1000">
                <a:latin typeface="Trebuchet MS" panose="020B0603020202020204" pitchFamily="34" charset="0"/>
              </a:rPr>
              <a:t>, could constitute </a:t>
            </a:r>
            <a:r>
              <a:rPr lang="en-GB" sz="1000">
                <a:solidFill>
                  <a:schemeClr val="tx2"/>
                </a:solidFill>
                <a:latin typeface="Trebuchet MS" panose="020B0603020202020204" pitchFamily="34" charset="0"/>
              </a:rPr>
              <a:t>substitute solutions</a:t>
            </a:r>
          </a:p>
        </p:txBody>
      </p:sp>
      <p:sp>
        <p:nvSpPr>
          <p:cNvPr id="230" name="Rectangle 229">
            <a:extLst>
              <a:ext uri="{FF2B5EF4-FFF2-40B4-BE49-F238E27FC236}">
                <a16:creationId xmlns:a16="http://schemas.microsoft.com/office/drawing/2014/main" id="{8C5B8CBE-2A41-422F-B339-B61DDB138281}"/>
              </a:ext>
            </a:extLst>
          </p:cNvPr>
          <p:cNvSpPr/>
          <p:nvPr/>
        </p:nvSpPr>
        <p:spPr bwMode="auto">
          <a:xfrm>
            <a:off x="8506580" y="4203510"/>
            <a:ext cx="281907" cy="361789"/>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latin typeface="Trebuchet MS" panose="020B0603020202020204" pitchFamily="34" charset="0"/>
              </a:rPr>
              <a:t>=</a:t>
            </a:r>
          </a:p>
        </p:txBody>
      </p:sp>
      <p:sp>
        <p:nvSpPr>
          <p:cNvPr id="235" name="Rectangle 234">
            <a:extLst>
              <a:ext uri="{FF2B5EF4-FFF2-40B4-BE49-F238E27FC236}">
                <a16:creationId xmlns:a16="http://schemas.microsoft.com/office/drawing/2014/main" id="{490AF7AF-F200-45B0-B053-E14D7136DFBD}"/>
              </a:ext>
            </a:extLst>
          </p:cNvPr>
          <p:cNvSpPr/>
          <p:nvPr/>
        </p:nvSpPr>
        <p:spPr bwMode="auto">
          <a:xfrm>
            <a:off x="5065314" y="2613806"/>
            <a:ext cx="3326114" cy="387976"/>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fontAlgn="ctr">
              <a:spcBef>
                <a:spcPts val="600"/>
              </a:spcBef>
              <a:buClr>
                <a:schemeClr val="tx1"/>
              </a:buClr>
            </a:pPr>
            <a:r>
              <a:rPr lang="en-GB" sz="1000" spc="-10">
                <a:solidFill>
                  <a:schemeClr val="tx2"/>
                </a:solidFill>
                <a:latin typeface="Trebuchet MS" panose="020B0603020202020204" pitchFamily="34" charset="0"/>
              </a:rPr>
              <a:t>Reduction in payments delays </a:t>
            </a:r>
            <a:r>
              <a:rPr lang="en-GB" sz="1000" spc="-10">
                <a:solidFill>
                  <a:schemeClr val="dk1"/>
                </a:solidFill>
                <a:latin typeface="Trebuchet MS" panose="020B0603020202020204" pitchFamily="34" charset="0"/>
              </a:rPr>
              <a:t>are now </a:t>
            </a:r>
            <a:r>
              <a:rPr lang="en-GB" sz="1000" spc="-10">
                <a:solidFill>
                  <a:schemeClr val="tx2"/>
                </a:solidFill>
                <a:latin typeface="Trebuchet MS" panose="020B0603020202020204" pitchFamily="34" charset="0"/>
              </a:rPr>
              <a:t>absorbed </a:t>
            </a:r>
            <a:r>
              <a:rPr lang="en-GB" sz="1000" spc="-10">
                <a:solidFill>
                  <a:schemeClr val="dk1"/>
                </a:solidFill>
                <a:latin typeface="Trebuchet MS" panose="020B0603020202020204" pitchFamily="34" charset="0"/>
              </a:rPr>
              <a:t>by the markets</a:t>
            </a:r>
          </a:p>
        </p:txBody>
      </p:sp>
      <p:sp>
        <p:nvSpPr>
          <p:cNvPr id="236" name="Rectangle 235">
            <a:extLst>
              <a:ext uri="{FF2B5EF4-FFF2-40B4-BE49-F238E27FC236}">
                <a16:creationId xmlns:a16="http://schemas.microsoft.com/office/drawing/2014/main" id="{7036E7F9-9BD0-4D80-83B1-4579C9039F18}"/>
              </a:ext>
            </a:extLst>
          </p:cNvPr>
          <p:cNvSpPr/>
          <p:nvPr/>
        </p:nvSpPr>
        <p:spPr bwMode="auto">
          <a:xfrm>
            <a:off x="8506580" y="2613806"/>
            <a:ext cx="281907" cy="387976"/>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latin typeface="Trebuchet MS" panose="020B0603020202020204" pitchFamily="34" charset="0"/>
              </a:rPr>
              <a:t>=</a:t>
            </a:r>
          </a:p>
        </p:txBody>
      </p:sp>
      <p:sp>
        <p:nvSpPr>
          <p:cNvPr id="237" name="Rectangle 236">
            <a:extLst>
              <a:ext uri="{FF2B5EF4-FFF2-40B4-BE49-F238E27FC236}">
                <a16:creationId xmlns:a16="http://schemas.microsoft.com/office/drawing/2014/main" id="{AFE619C4-7B43-4A08-B857-9C70C4460D13}"/>
              </a:ext>
            </a:extLst>
          </p:cNvPr>
          <p:cNvSpPr/>
          <p:nvPr/>
        </p:nvSpPr>
        <p:spPr bwMode="auto">
          <a:xfrm>
            <a:off x="5065314" y="3073843"/>
            <a:ext cx="3326114" cy="533572"/>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lnSpc>
                <a:spcPts val="1100"/>
              </a:lnSpc>
              <a:spcBef>
                <a:spcPts val="0"/>
              </a:spcBef>
            </a:pPr>
            <a:r>
              <a:rPr lang="en-GB" sz="1000">
                <a:latin typeface="Trebuchet MS" panose="020B0603020202020204" pitchFamily="34" charset="0"/>
              </a:rPr>
              <a:t>The </a:t>
            </a:r>
            <a:r>
              <a:rPr lang="en-GB" sz="1000" spc="-10">
                <a:solidFill>
                  <a:schemeClr val="tx2"/>
                </a:solidFill>
                <a:latin typeface="Trebuchet MS" panose="020B0603020202020204" pitchFamily="34" charset="0"/>
              </a:rPr>
              <a:t>Covid-19</a:t>
            </a:r>
            <a:r>
              <a:rPr lang="en-GB" sz="1000">
                <a:latin typeface="Trebuchet MS" panose="020B0603020202020204" pitchFamily="34" charset="0"/>
              </a:rPr>
              <a:t> </a:t>
            </a:r>
            <a:r>
              <a:rPr lang="en-GB" sz="1000" spc="-10">
                <a:solidFill>
                  <a:schemeClr val="tx2"/>
                </a:solidFill>
                <a:latin typeface="Trebuchet MS" panose="020B0603020202020204" pitchFamily="34" charset="0"/>
              </a:rPr>
              <a:t>crisis</a:t>
            </a:r>
            <a:r>
              <a:rPr lang="en-GB" sz="1000">
                <a:latin typeface="Trebuchet MS" panose="020B0603020202020204" pitchFamily="34" charset="0"/>
              </a:rPr>
              <a:t>, like any period of crisis, </a:t>
            </a:r>
          </a:p>
          <a:p>
            <a:pPr algn="ctr" fontAlgn="ctr">
              <a:lnSpc>
                <a:spcPts val="1100"/>
              </a:lnSpc>
              <a:spcBef>
                <a:spcPts val="0"/>
              </a:spcBef>
            </a:pPr>
            <a:r>
              <a:rPr lang="en-GB" sz="1000">
                <a:latin typeface="Trebuchet MS" panose="020B0603020202020204" pitchFamily="34" charset="0"/>
              </a:rPr>
              <a:t>results in an </a:t>
            </a:r>
            <a:r>
              <a:rPr lang="en-GB" sz="1000" spc="-10">
                <a:solidFill>
                  <a:schemeClr val="tx2"/>
                </a:solidFill>
                <a:latin typeface="Trebuchet MS" panose="020B0603020202020204" pitchFamily="34" charset="0"/>
              </a:rPr>
              <a:t>increased</a:t>
            </a:r>
            <a:r>
              <a:rPr lang="en-GB" sz="1000">
                <a:latin typeface="Trebuchet MS" panose="020B0603020202020204" pitchFamily="34" charset="0"/>
              </a:rPr>
              <a:t> </a:t>
            </a:r>
            <a:r>
              <a:rPr lang="en-GB" sz="1000" spc="-10">
                <a:solidFill>
                  <a:schemeClr val="tx2"/>
                </a:solidFill>
                <a:latin typeface="Trebuchet MS" panose="020B0603020202020204" pitchFamily="34" charset="0"/>
              </a:rPr>
              <a:t>demand</a:t>
            </a:r>
            <a:r>
              <a:rPr lang="en-GB" sz="1000">
                <a:latin typeface="Trebuchet MS" panose="020B0603020202020204" pitchFamily="34" charset="0"/>
              </a:rPr>
              <a:t> for </a:t>
            </a:r>
            <a:r>
              <a:rPr lang="en-GB" sz="1000" spc="-10">
                <a:solidFill>
                  <a:schemeClr val="tx2"/>
                </a:solidFill>
                <a:latin typeface="Trebuchet MS" panose="020B0603020202020204" pitchFamily="34" charset="0"/>
              </a:rPr>
              <a:t>risk</a:t>
            </a:r>
            <a:r>
              <a:rPr lang="en-GB" sz="1000">
                <a:latin typeface="Trebuchet MS" panose="020B0603020202020204" pitchFamily="34" charset="0"/>
              </a:rPr>
              <a:t> </a:t>
            </a:r>
            <a:r>
              <a:rPr lang="en-GB" sz="1000" spc="-10">
                <a:solidFill>
                  <a:schemeClr val="tx2"/>
                </a:solidFill>
                <a:latin typeface="Trebuchet MS" panose="020B0603020202020204" pitchFamily="34" charset="0"/>
              </a:rPr>
              <a:t>information</a:t>
            </a:r>
            <a:r>
              <a:rPr lang="en-GB" sz="1000">
                <a:latin typeface="Trebuchet MS" panose="020B0603020202020204" pitchFamily="34" charset="0"/>
              </a:rPr>
              <a:t> for large companies in the short-term, as well as an increase in the volume of bankruptcies</a:t>
            </a:r>
            <a:endParaRPr lang="en-GB" sz="1000">
              <a:solidFill>
                <a:schemeClr val="tx2"/>
              </a:solidFill>
              <a:latin typeface="Trebuchet MS" panose="020B0603020202020204" pitchFamily="34" charset="0"/>
            </a:endParaRPr>
          </a:p>
        </p:txBody>
      </p:sp>
      <p:sp>
        <p:nvSpPr>
          <p:cNvPr id="238" name="Rectangle 237">
            <a:extLst>
              <a:ext uri="{FF2B5EF4-FFF2-40B4-BE49-F238E27FC236}">
                <a16:creationId xmlns:a16="http://schemas.microsoft.com/office/drawing/2014/main" id="{85FE30EF-59A1-4251-B546-EBD92D317DA8}"/>
              </a:ext>
            </a:extLst>
          </p:cNvPr>
          <p:cNvSpPr/>
          <p:nvPr/>
        </p:nvSpPr>
        <p:spPr bwMode="auto">
          <a:xfrm>
            <a:off x="8506580" y="3073843"/>
            <a:ext cx="281907" cy="533572"/>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endParaRPr lang="en-GB" sz="3600">
              <a:latin typeface="Trebuchet MS" panose="020B0603020202020204" pitchFamily="34" charset="0"/>
            </a:endParaRPr>
          </a:p>
        </p:txBody>
      </p:sp>
      <p:sp>
        <p:nvSpPr>
          <p:cNvPr id="239" name="Rectangle 238">
            <a:extLst>
              <a:ext uri="{FF2B5EF4-FFF2-40B4-BE49-F238E27FC236}">
                <a16:creationId xmlns:a16="http://schemas.microsoft.com/office/drawing/2014/main" id="{A61DC63A-96C5-4786-AC08-36DB7E678FF3}"/>
              </a:ext>
            </a:extLst>
          </p:cNvPr>
          <p:cNvSpPr/>
          <p:nvPr/>
        </p:nvSpPr>
        <p:spPr bwMode="auto">
          <a:xfrm>
            <a:off x="5065314" y="5956618"/>
            <a:ext cx="3326114" cy="32400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spcBef>
                <a:spcPts val="600"/>
              </a:spcBef>
            </a:pPr>
            <a:r>
              <a:rPr lang="en-GB" sz="1000">
                <a:solidFill>
                  <a:schemeClr val="tx2"/>
                </a:solidFill>
                <a:latin typeface="Trebuchet MS" panose="020B0603020202020204" pitchFamily="34" charset="0"/>
              </a:rPr>
              <a:t>Innovation</a:t>
            </a:r>
            <a:r>
              <a:rPr lang="en-GB" sz="1000">
                <a:latin typeface="Trebuchet MS" panose="020B0603020202020204" pitchFamily="34" charset="0"/>
              </a:rPr>
              <a:t> in Credit risk solutions with higher intelligence could foster higher prices</a:t>
            </a:r>
          </a:p>
        </p:txBody>
      </p:sp>
      <p:sp>
        <p:nvSpPr>
          <p:cNvPr id="240" name="Rectangle 239">
            <a:extLst>
              <a:ext uri="{FF2B5EF4-FFF2-40B4-BE49-F238E27FC236}">
                <a16:creationId xmlns:a16="http://schemas.microsoft.com/office/drawing/2014/main" id="{906BF611-16A5-4A32-87A7-01BA1D4E10B3}"/>
              </a:ext>
            </a:extLst>
          </p:cNvPr>
          <p:cNvSpPr/>
          <p:nvPr/>
        </p:nvSpPr>
        <p:spPr bwMode="auto">
          <a:xfrm>
            <a:off x="8506580" y="5954044"/>
            <a:ext cx="281907" cy="32929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p>
        </p:txBody>
      </p:sp>
      <p:sp>
        <p:nvSpPr>
          <p:cNvPr id="252" name="Rectangle 251">
            <a:extLst>
              <a:ext uri="{FF2B5EF4-FFF2-40B4-BE49-F238E27FC236}">
                <a16:creationId xmlns:a16="http://schemas.microsoft.com/office/drawing/2014/main" id="{6006DA02-EACE-4162-8242-A87AAEEBB64F}"/>
              </a:ext>
            </a:extLst>
          </p:cNvPr>
          <p:cNvSpPr/>
          <p:nvPr/>
        </p:nvSpPr>
        <p:spPr bwMode="auto">
          <a:xfrm>
            <a:off x="5151193" y="6378488"/>
            <a:ext cx="974341" cy="8653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a:ln>
                  <a:noFill/>
                </a:ln>
                <a:solidFill>
                  <a:schemeClr val="tx1"/>
                </a:solidFill>
                <a:effectLst/>
                <a:latin typeface="Trebuchet MS" panose="020B0603020202020204" pitchFamily="34" charset="0"/>
              </a:rPr>
              <a:t>Positive impact</a:t>
            </a:r>
          </a:p>
        </p:txBody>
      </p:sp>
      <p:sp>
        <p:nvSpPr>
          <p:cNvPr id="253" name="Plus Sign 207">
            <a:extLst>
              <a:ext uri="{FF2B5EF4-FFF2-40B4-BE49-F238E27FC236}">
                <a16:creationId xmlns:a16="http://schemas.microsoft.com/office/drawing/2014/main" id="{62A843D8-5C60-4B41-8D5A-2748DF4740D0}"/>
              </a:ext>
            </a:extLst>
          </p:cNvPr>
          <p:cNvSpPr/>
          <p:nvPr/>
        </p:nvSpPr>
        <p:spPr bwMode="auto">
          <a:xfrm>
            <a:off x="5040091" y="6338985"/>
            <a:ext cx="163070" cy="157595"/>
          </a:xfrm>
          <a:prstGeom prst="mathPlus">
            <a:avLst/>
          </a:prstGeom>
          <a:solidFill>
            <a:srgbClr val="289B3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54" name="Rectangle 253">
            <a:extLst>
              <a:ext uri="{FF2B5EF4-FFF2-40B4-BE49-F238E27FC236}">
                <a16:creationId xmlns:a16="http://schemas.microsoft.com/office/drawing/2014/main" id="{746E1A56-1030-450A-998A-6CAC531C1FE1}"/>
              </a:ext>
            </a:extLst>
          </p:cNvPr>
          <p:cNvSpPr/>
          <p:nvPr/>
        </p:nvSpPr>
        <p:spPr bwMode="auto">
          <a:xfrm>
            <a:off x="6333695" y="6378488"/>
            <a:ext cx="885765" cy="8653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a:ln>
                  <a:noFill/>
                </a:ln>
                <a:solidFill>
                  <a:schemeClr val="tx1"/>
                </a:solidFill>
                <a:effectLst/>
                <a:latin typeface="Trebuchet MS" panose="020B0603020202020204" pitchFamily="34" charset="0"/>
              </a:rPr>
              <a:t>Neutral impact</a:t>
            </a:r>
          </a:p>
        </p:txBody>
      </p:sp>
      <p:sp>
        <p:nvSpPr>
          <p:cNvPr id="255" name="Plus Sign 209">
            <a:extLst>
              <a:ext uri="{FF2B5EF4-FFF2-40B4-BE49-F238E27FC236}">
                <a16:creationId xmlns:a16="http://schemas.microsoft.com/office/drawing/2014/main" id="{B7B7FCC7-8F54-4AE8-A5C0-21402CC5E05C}"/>
              </a:ext>
            </a:extLst>
          </p:cNvPr>
          <p:cNvSpPr/>
          <p:nvPr/>
        </p:nvSpPr>
        <p:spPr bwMode="auto">
          <a:xfrm>
            <a:off x="6181337" y="6345334"/>
            <a:ext cx="177619" cy="155440"/>
          </a:xfrm>
          <a:prstGeom prst="mathEqual">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56" name="Rectangle 255">
            <a:extLst>
              <a:ext uri="{FF2B5EF4-FFF2-40B4-BE49-F238E27FC236}">
                <a16:creationId xmlns:a16="http://schemas.microsoft.com/office/drawing/2014/main" id="{F1B9D9DC-5E12-47B2-B975-A0A6435C06F9}"/>
              </a:ext>
            </a:extLst>
          </p:cNvPr>
          <p:cNvSpPr/>
          <p:nvPr/>
        </p:nvSpPr>
        <p:spPr bwMode="auto">
          <a:xfrm>
            <a:off x="7542944" y="6378488"/>
            <a:ext cx="974342" cy="8653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a:ln>
                  <a:noFill/>
                </a:ln>
                <a:solidFill>
                  <a:schemeClr val="tx1"/>
                </a:solidFill>
                <a:effectLst/>
                <a:latin typeface="Trebuchet MS" panose="020B0603020202020204" pitchFamily="34" charset="0"/>
              </a:rPr>
              <a:t>Negative impact</a:t>
            </a:r>
          </a:p>
        </p:txBody>
      </p:sp>
      <p:sp>
        <p:nvSpPr>
          <p:cNvPr id="257" name="Plus Sign 29">
            <a:extLst>
              <a:ext uri="{FF2B5EF4-FFF2-40B4-BE49-F238E27FC236}">
                <a16:creationId xmlns:a16="http://schemas.microsoft.com/office/drawing/2014/main" id="{5F34A9EA-1318-49BC-8C02-57EF1A1A7318}"/>
              </a:ext>
            </a:extLst>
          </p:cNvPr>
          <p:cNvSpPr/>
          <p:nvPr/>
        </p:nvSpPr>
        <p:spPr bwMode="auto">
          <a:xfrm>
            <a:off x="7411432" y="6342956"/>
            <a:ext cx="163070" cy="157595"/>
          </a:xfrm>
          <a:prstGeom prst="mathMinus">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 name="ZoneTexte 6">
            <a:extLst>
              <a:ext uri="{FF2B5EF4-FFF2-40B4-BE49-F238E27FC236}">
                <a16:creationId xmlns:a16="http://schemas.microsoft.com/office/drawing/2014/main" id="{6CFD1A95-2E4A-4C0F-9642-9951468ADF0F}"/>
              </a:ext>
            </a:extLst>
          </p:cNvPr>
          <p:cNvSpPr txBox="1"/>
          <p:nvPr/>
        </p:nvSpPr>
        <p:spPr>
          <a:xfrm>
            <a:off x="3270770" y="849144"/>
            <a:ext cx="3392462" cy="251817"/>
          </a:xfrm>
          <a:prstGeom prst="rect">
            <a:avLst/>
          </a:prstGeom>
          <a:solidFill>
            <a:schemeClr val="bg1"/>
          </a:solidFill>
        </p:spPr>
        <p:txBody>
          <a:bodyPr wrap="square" rtlCol="0">
            <a:noAutofit/>
          </a:bodyPr>
          <a:lstStyle/>
          <a:p>
            <a:pPr algn="ctr"/>
            <a:r>
              <a:rPr lang="en-GB" sz="1100">
                <a:latin typeface="Trebuchet MS" panose="020B0603020202020204" pitchFamily="34" charset="0"/>
              </a:rPr>
              <a:t>Credit risk market size estimation</a:t>
            </a:r>
          </a:p>
        </p:txBody>
      </p:sp>
      <p:pic>
        <p:nvPicPr>
          <p:cNvPr id="27" name="Picture 2" descr="Drapeau France">
            <a:extLst>
              <a:ext uri="{FF2B5EF4-FFF2-40B4-BE49-F238E27FC236}">
                <a16:creationId xmlns:a16="http://schemas.microsoft.com/office/drawing/2014/main" id="{9F6ABD28-6BCD-41FB-B1E5-01051A68DE1B}"/>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t="17006" b="16757"/>
          <a:stretch/>
        </p:blipFill>
        <p:spPr bwMode="auto">
          <a:xfrm>
            <a:off x="9491676" y="1929838"/>
            <a:ext cx="166602" cy="110353"/>
          </a:xfrm>
          <a:prstGeom prst="roundRect">
            <a:avLst/>
          </a:prstGeom>
          <a:solidFill>
            <a:schemeClr val="bg1"/>
          </a:solidFill>
          <a:ln w="9525" cap="flat" cmpd="sng" algn="ctr">
            <a:noFill/>
            <a:prstDash val="solid"/>
            <a:round/>
            <a:headEnd type="none" w="med" len="med"/>
            <a:tailEnd type="none" w="med" len="med"/>
          </a:ln>
          <a:effectLst/>
        </p:spPr>
      </p:pic>
      <p:pic>
        <p:nvPicPr>
          <p:cNvPr id="28" name="Picture 2" descr="5 ft x 3 ft 150 x 90 cm-DRAPEAU BELGE Belgique 100% Polyester ...">
            <a:extLst>
              <a:ext uri="{FF2B5EF4-FFF2-40B4-BE49-F238E27FC236}">
                <a16:creationId xmlns:a16="http://schemas.microsoft.com/office/drawing/2014/main" id="{0EFEBEDB-27ED-47C7-8C3B-10408ECE8544}"/>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3973"/>
          <a:stretch/>
        </p:blipFill>
        <p:spPr bwMode="auto">
          <a:xfrm>
            <a:off x="8560413" y="1935406"/>
            <a:ext cx="174240" cy="105027"/>
          </a:xfrm>
          <a:prstGeom prst="roundRect">
            <a:avLst/>
          </a:prstGeom>
          <a:solidFill>
            <a:schemeClr val="bg1"/>
          </a:solidFill>
          <a:ln w="9525" cap="flat" cmpd="sng" algn="ctr">
            <a:noFill/>
            <a:prstDash val="solid"/>
            <a:round/>
            <a:headEnd type="none" w="med" len="med"/>
            <a:tailEnd type="none" w="med" len="med"/>
          </a:ln>
          <a:effectLst/>
        </p:spPr>
      </p:pic>
      <p:pic>
        <p:nvPicPr>
          <p:cNvPr id="29" name="Picture 2 - 1" descr="Drapeau des Pays-Bas — Wikipédia">
            <a:extLst>
              <a:ext uri="{FF2B5EF4-FFF2-40B4-BE49-F238E27FC236}">
                <a16:creationId xmlns:a16="http://schemas.microsoft.com/office/drawing/2014/main" id="{32D6F750-207F-41C1-B602-DC5523A82F9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015843" y="1935406"/>
            <a:ext cx="174240" cy="105028"/>
          </a:xfrm>
          <a:prstGeom prst="roundRect">
            <a:avLst/>
          </a:prstGeom>
          <a:solidFill>
            <a:schemeClr val="bg1"/>
          </a:solidFill>
          <a:ln w="9525" cap="flat" cmpd="sng" algn="ctr">
            <a:noFill/>
            <a:prstDash val="solid"/>
            <a:round/>
            <a:headEnd type="none" w="med" len="med"/>
            <a:tailEnd type="none" w="med" len="med"/>
          </a:ln>
          <a:effectLst/>
        </p:spPr>
      </p:pic>
      <p:sp>
        <p:nvSpPr>
          <p:cNvPr id="94" name="Rectangle 93">
            <a:extLst>
              <a:ext uri="{FF2B5EF4-FFF2-40B4-BE49-F238E27FC236}">
                <a16:creationId xmlns:a16="http://schemas.microsoft.com/office/drawing/2014/main" id="{3FDBE8C2-1FF5-4907-912D-EAF338F40993}"/>
              </a:ext>
            </a:extLst>
          </p:cNvPr>
          <p:cNvSpPr/>
          <p:nvPr/>
        </p:nvSpPr>
        <p:spPr bwMode="auto">
          <a:xfrm>
            <a:off x="5065314" y="5539009"/>
            <a:ext cx="3326114" cy="32400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spcBef>
                <a:spcPts val="600"/>
              </a:spcBef>
            </a:pPr>
            <a:r>
              <a:rPr lang="en-GB" sz="1000">
                <a:solidFill>
                  <a:schemeClr val="tx2"/>
                </a:solidFill>
                <a:latin typeface="Trebuchet MS" panose="020B0603020202020204" pitchFamily="34" charset="0"/>
              </a:rPr>
              <a:t>Open</a:t>
            </a:r>
            <a:r>
              <a:rPr lang="en-GB" sz="1000">
                <a:latin typeface="Trebuchet MS" panose="020B0603020202020204" pitchFamily="34" charset="0"/>
              </a:rPr>
              <a:t> </a:t>
            </a:r>
            <a:r>
              <a:rPr lang="en-GB" sz="1000">
                <a:solidFill>
                  <a:schemeClr val="tx2"/>
                </a:solidFill>
                <a:latin typeface="Trebuchet MS" panose="020B0603020202020204" pitchFamily="34" charset="0"/>
              </a:rPr>
              <a:t>data</a:t>
            </a:r>
            <a:r>
              <a:rPr lang="en-GB" sz="1000">
                <a:latin typeface="Trebuchet MS" panose="020B0603020202020204" pitchFamily="34" charset="0"/>
              </a:rPr>
              <a:t> and </a:t>
            </a:r>
            <a:r>
              <a:rPr lang="en-GB" sz="1000">
                <a:solidFill>
                  <a:schemeClr val="tx2"/>
                </a:solidFill>
                <a:latin typeface="Trebuchet MS" panose="020B0603020202020204" pitchFamily="34" charset="0"/>
              </a:rPr>
              <a:t>low</a:t>
            </a:r>
            <a:r>
              <a:rPr lang="en-GB" sz="1000">
                <a:latin typeface="Trebuchet MS" panose="020B0603020202020204" pitchFamily="34" charset="0"/>
              </a:rPr>
              <a:t> </a:t>
            </a:r>
            <a:r>
              <a:rPr lang="en-GB" sz="1000">
                <a:solidFill>
                  <a:schemeClr val="tx2"/>
                </a:solidFill>
                <a:latin typeface="Trebuchet MS" panose="020B0603020202020204" pitchFamily="34" charset="0"/>
              </a:rPr>
              <a:t>consumer</a:t>
            </a:r>
            <a:r>
              <a:rPr lang="en-GB" sz="1000">
                <a:latin typeface="Trebuchet MS" panose="020B0603020202020204" pitchFamily="34" charset="0"/>
              </a:rPr>
              <a:t> </a:t>
            </a:r>
            <a:r>
              <a:rPr lang="en-GB" sz="1000">
                <a:solidFill>
                  <a:schemeClr val="tx2"/>
                </a:solidFill>
                <a:latin typeface="Trebuchet MS" panose="020B0603020202020204" pitchFamily="34" charset="0"/>
              </a:rPr>
              <a:t>perception</a:t>
            </a:r>
            <a:r>
              <a:rPr lang="en-GB" sz="1000">
                <a:latin typeface="Trebuchet MS" panose="020B0603020202020204" pitchFamily="34" charset="0"/>
              </a:rPr>
              <a:t> of </a:t>
            </a:r>
            <a:r>
              <a:rPr lang="en-GB" sz="1000">
                <a:solidFill>
                  <a:schemeClr val="tx2"/>
                </a:solidFill>
                <a:latin typeface="Trebuchet MS" panose="020B0603020202020204" pitchFamily="34" charset="0"/>
              </a:rPr>
              <a:t>data</a:t>
            </a:r>
            <a:r>
              <a:rPr lang="en-GB" sz="1000">
                <a:latin typeface="Trebuchet MS" panose="020B0603020202020204" pitchFamily="34" charset="0"/>
              </a:rPr>
              <a:t> quality could drive prices down</a:t>
            </a:r>
          </a:p>
        </p:txBody>
      </p:sp>
      <p:sp>
        <p:nvSpPr>
          <p:cNvPr id="97" name="Rectangle 96">
            <a:extLst>
              <a:ext uri="{FF2B5EF4-FFF2-40B4-BE49-F238E27FC236}">
                <a16:creationId xmlns:a16="http://schemas.microsoft.com/office/drawing/2014/main" id="{002BCE02-F6E7-4AB0-995B-98E7FB373E20}"/>
              </a:ext>
            </a:extLst>
          </p:cNvPr>
          <p:cNvSpPr/>
          <p:nvPr/>
        </p:nvSpPr>
        <p:spPr bwMode="auto">
          <a:xfrm>
            <a:off x="8506580" y="5537722"/>
            <a:ext cx="281907" cy="32400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accent4"/>
                </a:solidFill>
                <a:latin typeface="Trebuchet MS" panose="020B0603020202020204" pitchFamily="34" charset="0"/>
              </a:rPr>
              <a:t>-</a:t>
            </a:r>
            <a:endParaRPr lang="en-GB" sz="3600">
              <a:latin typeface="Trebuchet MS" panose="020B0603020202020204" pitchFamily="34" charset="0"/>
            </a:endParaRPr>
          </a:p>
        </p:txBody>
      </p:sp>
      <p:sp>
        <p:nvSpPr>
          <p:cNvPr id="99" name="Espace réservé du texte 2">
            <a:extLst>
              <a:ext uri="{FF2B5EF4-FFF2-40B4-BE49-F238E27FC236}">
                <a16:creationId xmlns:a16="http://schemas.microsoft.com/office/drawing/2014/main" id="{BC510C44-FB07-4E9B-917B-8032CB50FC5D}"/>
              </a:ext>
            </a:extLst>
          </p:cNvPr>
          <p:cNvSpPr>
            <a:spLocks noGrp="1"/>
          </p:cNvSpPr>
          <p:nvPr>
            <p:custDataLst>
              <p:tags r:id="rId3"/>
            </p:custDataLst>
          </p:nvPr>
        </p:nvSpPr>
        <p:spPr bwMode="auto">
          <a:xfrm>
            <a:off x="218817" y="2427006"/>
            <a:ext cx="393415" cy="17829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340</a:t>
            </a:r>
            <a:endParaRPr lang="en-GB" sz="800">
              <a:latin typeface="Trebuchet MS" panose="020B0603020202020204" pitchFamily="34" charset="0"/>
              <a:sym typeface="+mn-lt"/>
            </a:endParaRPr>
          </a:p>
        </p:txBody>
      </p:sp>
      <p:sp>
        <p:nvSpPr>
          <p:cNvPr id="100" name="Espace réservé du texte 2">
            <a:extLst>
              <a:ext uri="{FF2B5EF4-FFF2-40B4-BE49-F238E27FC236}">
                <a16:creationId xmlns:a16="http://schemas.microsoft.com/office/drawing/2014/main" id="{FD26DF76-45F5-4026-88A3-E4D8A7980C2F}"/>
              </a:ext>
            </a:extLst>
          </p:cNvPr>
          <p:cNvSpPr>
            <a:spLocks noGrp="1"/>
          </p:cNvSpPr>
          <p:nvPr>
            <p:custDataLst>
              <p:tags r:id="rId4"/>
            </p:custDataLst>
          </p:nvPr>
        </p:nvSpPr>
        <p:spPr bwMode="auto">
          <a:xfrm>
            <a:off x="3095591" y="2427006"/>
            <a:ext cx="393415" cy="17829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339.8</a:t>
            </a:r>
          </a:p>
        </p:txBody>
      </p:sp>
      <p:sp>
        <p:nvSpPr>
          <p:cNvPr id="81" name="Rectangle 80">
            <a:extLst>
              <a:ext uri="{FF2B5EF4-FFF2-40B4-BE49-F238E27FC236}">
                <a16:creationId xmlns:a16="http://schemas.microsoft.com/office/drawing/2014/main" id="{2FC1CE5F-52F7-4110-8626-325559035893}"/>
              </a:ext>
            </a:extLst>
          </p:cNvPr>
          <p:cNvSpPr/>
          <p:nvPr/>
        </p:nvSpPr>
        <p:spPr bwMode="auto">
          <a:xfrm>
            <a:off x="9417440" y="5121400"/>
            <a:ext cx="281907" cy="32400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latin typeface="Trebuchet MS" panose="020B0603020202020204" pitchFamily="34" charset="0"/>
              </a:rPr>
              <a:t>=</a:t>
            </a:r>
          </a:p>
        </p:txBody>
      </p:sp>
      <p:sp>
        <p:nvSpPr>
          <p:cNvPr id="83" name="Rectangle 82">
            <a:extLst>
              <a:ext uri="{FF2B5EF4-FFF2-40B4-BE49-F238E27FC236}">
                <a16:creationId xmlns:a16="http://schemas.microsoft.com/office/drawing/2014/main" id="{F4AF28FD-C720-4E89-A767-74B29C12CEE1}"/>
              </a:ext>
            </a:extLst>
          </p:cNvPr>
          <p:cNvSpPr/>
          <p:nvPr/>
        </p:nvSpPr>
        <p:spPr bwMode="auto">
          <a:xfrm>
            <a:off x="9417440" y="2088756"/>
            <a:ext cx="281907" cy="23120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endParaRPr lang="en-GB" sz="3600">
              <a:latin typeface="Trebuchet MS" panose="020B0603020202020204" pitchFamily="34" charset="0"/>
            </a:endParaRPr>
          </a:p>
        </p:txBody>
      </p:sp>
      <p:sp>
        <p:nvSpPr>
          <p:cNvPr id="86" name="Rectangle 85">
            <a:extLst>
              <a:ext uri="{FF2B5EF4-FFF2-40B4-BE49-F238E27FC236}">
                <a16:creationId xmlns:a16="http://schemas.microsoft.com/office/drawing/2014/main" id="{DC28150C-5FE8-441E-B296-0A2254DE0B84}"/>
              </a:ext>
            </a:extLst>
          </p:cNvPr>
          <p:cNvSpPr/>
          <p:nvPr/>
        </p:nvSpPr>
        <p:spPr bwMode="auto">
          <a:xfrm>
            <a:off x="9417440" y="4203510"/>
            <a:ext cx="281907" cy="361789"/>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latin typeface="Trebuchet MS" panose="020B0603020202020204" pitchFamily="34" charset="0"/>
              </a:rPr>
              <a:t>=</a:t>
            </a:r>
          </a:p>
        </p:txBody>
      </p:sp>
      <p:sp>
        <p:nvSpPr>
          <p:cNvPr id="89" name="Rectangle 88">
            <a:extLst>
              <a:ext uri="{FF2B5EF4-FFF2-40B4-BE49-F238E27FC236}">
                <a16:creationId xmlns:a16="http://schemas.microsoft.com/office/drawing/2014/main" id="{D2C1D80F-60DC-4BE3-A7C0-0D88472F370D}"/>
              </a:ext>
            </a:extLst>
          </p:cNvPr>
          <p:cNvSpPr/>
          <p:nvPr/>
        </p:nvSpPr>
        <p:spPr bwMode="auto">
          <a:xfrm>
            <a:off x="9417440" y="2613806"/>
            <a:ext cx="281907" cy="387976"/>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latin typeface="Trebuchet MS" panose="020B0603020202020204" pitchFamily="34" charset="0"/>
              </a:rPr>
              <a:t>=</a:t>
            </a:r>
          </a:p>
        </p:txBody>
      </p:sp>
      <p:sp>
        <p:nvSpPr>
          <p:cNvPr id="101" name="Rectangle 100">
            <a:extLst>
              <a:ext uri="{FF2B5EF4-FFF2-40B4-BE49-F238E27FC236}">
                <a16:creationId xmlns:a16="http://schemas.microsoft.com/office/drawing/2014/main" id="{E4AC5629-90F0-4684-8CF5-C3562DA0686F}"/>
              </a:ext>
            </a:extLst>
          </p:cNvPr>
          <p:cNvSpPr/>
          <p:nvPr/>
        </p:nvSpPr>
        <p:spPr bwMode="auto">
          <a:xfrm>
            <a:off x="9417440" y="3073843"/>
            <a:ext cx="281907" cy="533572"/>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endParaRPr lang="en-GB" sz="3600">
              <a:latin typeface="Trebuchet MS" panose="020B0603020202020204" pitchFamily="34" charset="0"/>
            </a:endParaRPr>
          </a:p>
        </p:txBody>
      </p:sp>
      <p:sp>
        <p:nvSpPr>
          <p:cNvPr id="108" name="Rectangle 107">
            <a:extLst>
              <a:ext uri="{FF2B5EF4-FFF2-40B4-BE49-F238E27FC236}">
                <a16:creationId xmlns:a16="http://schemas.microsoft.com/office/drawing/2014/main" id="{7E32BB08-617D-432D-ACE6-61851C1107E9}"/>
              </a:ext>
            </a:extLst>
          </p:cNvPr>
          <p:cNvSpPr/>
          <p:nvPr/>
        </p:nvSpPr>
        <p:spPr bwMode="auto">
          <a:xfrm>
            <a:off x="9417440" y="5954044"/>
            <a:ext cx="281907" cy="32929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p>
        </p:txBody>
      </p:sp>
      <p:sp>
        <p:nvSpPr>
          <p:cNvPr id="110" name="Rectangle 109">
            <a:extLst>
              <a:ext uri="{FF2B5EF4-FFF2-40B4-BE49-F238E27FC236}">
                <a16:creationId xmlns:a16="http://schemas.microsoft.com/office/drawing/2014/main" id="{F2D5850E-CAEE-4554-983D-951449BB8A04}"/>
              </a:ext>
            </a:extLst>
          </p:cNvPr>
          <p:cNvSpPr/>
          <p:nvPr/>
        </p:nvSpPr>
        <p:spPr bwMode="auto">
          <a:xfrm>
            <a:off x="9417440" y="5537722"/>
            <a:ext cx="281907" cy="32400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accent4"/>
                </a:solidFill>
                <a:latin typeface="Trebuchet MS" panose="020B0603020202020204" pitchFamily="34" charset="0"/>
              </a:rPr>
              <a:t>-</a:t>
            </a:r>
            <a:endParaRPr lang="en-GB" sz="3600">
              <a:latin typeface="Trebuchet MS" panose="020B0603020202020204" pitchFamily="34" charset="0"/>
            </a:endParaRPr>
          </a:p>
        </p:txBody>
      </p:sp>
      <p:sp>
        <p:nvSpPr>
          <p:cNvPr id="118" name="Rectangle 117">
            <a:extLst>
              <a:ext uri="{FF2B5EF4-FFF2-40B4-BE49-F238E27FC236}">
                <a16:creationId xmlns:a16="http://schemas.microsoft.com/office/drawing/2014/main" id="{07486C33-77B1-42F5-BB8D-3C41600BCC19}"/>
              </a:ext>
            </a:extLst>
          </p:cNvPr>
          <p:cNvSpPr/>
          <p:nvPr/>
        </p:nvSpPr>
        <p:spPr bwMode="auto">
          <a:xfrm>
            <a:off x="8962010" y="5121400"/>
            <a:ext cx="281907" cy="32400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latin typeface="Trebuchet MS" panose="020B0603020202020204" pitchFamily="34" charset="0"/>
              </a:rPr>
              <a:t>=</a:t>
            </a:r>
          </a:p>
        </p:txBody>
      </p:sp>
      <p:sp>
        <p:nvSpPr>
          <p:cNvPr id="119" name="Rectangle 118">
            <a:extLst>
              <a:ext uri="{FF2B5EF4-FFF2-40B4-BE49-F238E27FC236}">
                <a16:creationId xmlns:a16="http://schemas.microsoft.com/office/drawing/2014/main" id="{64400791-A413-425D-9919-762956742085}"/>
              </a:ext>
            </a:extLst>
          </p:cNvPr>
          <p:cNvSpPr/>
          <p:nvPr/>
        </p:nvSpPr>
        <p:spPr bwMode="auto">
          <a:xfrm>
            <a:off x="8962010" y="2088756"/>
            <a:ext cx="281907" cy="23120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endParaRPr lang="en-GB" sz="3600">
              <a:latin typeface="Trebuchet MS" panose="020B0603020202020204" pitchFamily="34" charset="0"/>
            </a:endParaRPr>
          </a:p>
        </p:txBody>
      </p:sp>
      <p:sp>
        <p:nvSpPr>
          <p:cNvPr id="121" name="Rectangle 120">
            <a:extLst>
              <a:ext uri="{FF2B5EF4-FFF2-40B4-BE49-F238E27FC236}">
                <a16:creationId xmlns:a16="http://schemas.microsoft.com/office/drawing/2014/main" id="{1305C2DB-F854-4BCF-B473-42E81B7586AA}"/>
              </a:ext>
            </a:extLst>
          </p:cNvPr>
          <p:cNvSpPr/>
          <p:nvPr/>
        </p:nvSpPr>
        <p:spPr bwMode="auto">
          <a:xfrm>
            <a:off x="8962010" y="4203510"/>
            <a:ext cx="281907" cy="361789"/>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latin typeface="Trebuchet MS" panose="020B0603020202020204" pitchFamily="34" charset="0"/>
              </a:rPr>
              <a:t>=</a:t>
            </a:r>
          </a:p>
        </p:txBody>
      </p:sp>
      <p:sp>
        <p:nvSpPr>
          <p:cNvPr id="123" name="Rectangle 122">
            <a:extLst>
              <a:ext uri="{FF2B5EF4-FFF2-40B4-BE49-F238E27FC236}">
                <a16:creationId xmlns:a16="http://schemas.microsoft.com/office/drawing/2014/main" id="{8B034D47-E445-457B-B536-703DA28B5986}"/>
              </a:ext>
            </a:extLst>
          </p:cNvPr>
          <p:cNvSpPr/>
          <p:nvPr/>
        </p:nvSpPr>
        <p:spPr bwMode="auto">
          <a:xfrm>
            <a:off x="8962010" y="2613806"/>
            <a:ext cx="281907" cy="387976"/>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latin typeface="Trebuchet MS" panose="020B0603020202020204" pitchFamily="34" charset="0"/>
              </a:rPr>
              <a:t>=</a:t>
            </a:r>
          </a:p>
        </p:txBody>
      </p:sp>
      <p:sp>
        <p:nvSpPr>
          <p:cNvPr id="125" name="Rectangle 124">
            <a:extLst>
              <a:ext uri="{FF2B5EF4-FFF2-40B4-BE49-F238E27FC236}">
                <a16:creationId xmlns:a16="http://schemas.microsoft.com/office/drawing/2014/main" id="{F82E2E93-8D81-44BE-BEE8-19E0AA1F6A6D}"/>
              </a:ext>
            </a:extLst>
          </p:cNvPr>
          <p:cNvSpPr/>
          <p:nvPr/>
        </p:nvSpPr>
        <p:spPr bwMode="auto">
          <a:xfrm>
            <a:off x="8962010" y="3073843"/>
            <a:ext cx="281907" cy="533572"/>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endParaRPr lang="en-GB" sz="3600">
              <a:latin typeface="Trebuchet MS" panose="020B0603020202020204" pitchFamily="34" charset="0"/>
            </a:endParaRPr>
          </a:p>
        </p:txBody>
      </p:sp>
      <p:sp>
        <p:nvSpPr>
          <p:cNvPr id="126" name="Rectangle 125">
            <a:extLst>
              <a:ext uri="{FF2B5EF4-FFF2-40B4-BE49-F238E27FC236}">
                <a16:creationId xmlns:a16="http://schemas.microsoft.com/office/drawing/2014/main" id="{6987FA02-A0AC-4DCB-BF43-D1F571073B9F}"/>
              </a:ext>
            </a:extLst>
          </p:cNvPr>
          <p:cNvSpPr/>
          <p:nvPr/>
        </p:nvSpPr>
        <p:spPr bwMode="auto">
          <a:xfrm>
            <a:off x="8962010" y="5954044"/>
            <a:ext cx="281907" cy="32929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p>
        </p:txBody>
      </p:sp>
      <p:sp>
        <p:nvSpPr>
          <p:cNvPr id="139" name="Rectangle 138">
            <a:extLst>
              <a:ext uri="{FF2B5EF4-FFF2-40B4-BE49-F238E27FC236}">
                <a16:creationId xmlns:a16="http://schemas.microsoft.com/office/drawing/2014/main" id="{5B45E862-D3DC-4F49-9A69-C89E099B6EE8}"/>
              </a:ext>
            </a:extLst>
          </p:cNvPr>
          <p:cNvSpPr/>
          <p:nvPr/>
        </p:nvSpPr>
        <p:spPr bwMode="auto">
          <a:xfrm>
            <a:off x="8962010" y="5537722"/>
            <a:ext cx="281907" cy="32400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endParaRPr lang="en-GB" sz="3600">
              <a:latin typeface="Trebuchet MS" panose="020B0603020202020204" pitchFamily="34" charset="0"/>
            </a:endParaRPr>
          </a:p>
        </p:txBody>
      </p:sp>
      <p:sp>
        <p:nvSpPr>
          <p:cNvPr id="115" name="Rectangle 114">
            <a:extLst>
              <a:ext uri="{FF2B5EF4-FFF2-40B4-BE49-F238E27FC236}">
                <a16:creationId xmlns:a16="http://schemas.microsoft.com/office/drawing/2014/main" id="{6CA9B4A7-4C4E-426D-A90D-58BB8DFB9DBA}"/>
              </a:ext>
            </a:extLst>
          </p:cNvPr>
          <p:cNvSpPr/>
          <p:nvPr/>
        </p:nvSpPr>
        <p:spPr bwMode="auto">
          <a:xfrm>
            <a:off x="5065314" y="3677913"/>
            <a:ext cx="3326114" cy="46948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spcBef>
                <a:spcPts val="0"/>
              </a:spcBef>
              <a:buClr>
                <a:schemeClr val="tx1"/>
              </a:buClr>
            </a:pPr>
            <a:r>
              <a:rPr lang="en-GB" sz="1000" spc="-10">
                <a:solidFill>
                  <a:schemeClr val="tx2"/>
                </a:solidFill>
                <a:latin typeface="Trebuchet MS" panose="020B0603020202020204" pitchFamily="34" charset="0"/>
              </a:rPr>
              <a:t>Financial</a:t>
            </a:r>
            <a:r>
              <a:rPr lang="en-GB" sz="1000">
                <a:latin typeface="Trebuchet MS" panose="020B0603020202020204" pitchFamily="34" charset="0"/>
              </a:rPr>
              <a:t> </a:t>
            </a:r>
            <a:r>
              <a:rPr lang="en-GB" sz="1000" spc="-10">
                <a:solidFill>
                  <a:schemeClr val="tx2"/>
                </a:solidFill>
                <a:latin typeface="Trebuchet MS" panose="020B0603020202020204" pitchFamily="34" charset="0"/>
              </a:rPr>
              <a:t>difficulties</a:t>
            </a:r>
            <a:r>
              <a:rPr lang="en-GB" sz="1000">
                <a:latin typeface="Trebuchet MS" panose="020B0603020202020204" pitchFamily="34" charset="0"/>
              </a:rPr>
              <a:t> due to the </a:t>
            </a:r>
            <a:r>
              <a:rPr lang="en-GB" sz="1000" spc="-10">
                <a:solidFill>
                  <a:schemeClr val="tx2"/>
                </a:solidFill>
                <a:latin typeface="Trebuchet MS" panose="020B0603020202020204" pitchFamily="34" charset="0"/>
              </a:rPr>
              <a:t>Covid-19</a:t>
            </a:r>
            <a:r>
              <a:rPr lang="en-GB" sz="1000">
                <a:latin typeface="Trebuchet MS" panose="020B0603020202020204" pitchFamily="34" charset="0"/>
              </a:rPr>
              <a:t> crisis </a:t>
            </a:r>
          </a:p>
          <a:p>
            <a:pPr algn="ctr" fontAlgn="ctr">
              <a:spcBef>
                <a:spcPts val="0"/>
              </a:spcBef>
              <a:buClr>
                <a:schemeClr val="tx1"/>
              </a:buClr>
            </a:pPr>
            <a:r>
              <a:rPr lang="en-GB" sz="1000">
                <a:latin typeface="Trebuchet MS" panose="020B0603020202020204" pitchFamily="34" charset="0"/>
              </a:rPr>
              <a:t>could lead to a light </a:t>
            </a:r>
            <a:r>
              <a:rPr lang="en-GB" sz="1000" spc="-10">
                <a:solidFill>
                  <a:schemeClr val="tx2"/>
                </a:solidFill>
                <a:latin typeface="Trebuchet MS" panose="020B0603020202020204" pitchFamily="34" charset="0"/>
              </a:rPr>
              <a:t>contraction</a:t>
            </a:r>
            <a:r>
              <a:rPr lang="en-GB" sz="1000">
                <a:latin typeface="Trebuchet MS" panose="020B0603020202020204" pitchFamily="34" charset="0"/>
              </a:rPr>
              <a:t> of </a:t>
            </a:r>
            <a:r>
              <a:rPr lang="en-GB" sz="1000" spc="-10">
                <a:solidFill>
                  <a:schemeClr val="tx2"/>
                </a:solidFill>
                <a:latin typeface="Trebuchet MS" panose="020B0603020202020204" pitchFamily="34" charset="0"/>
              </a:rPr>
              <a:t>demand</a:t>
            </a:r>
            <a:r>
              <a:rPr lang="en-GB" sz="1000">
                <a:latin typeface="Trebuchet MS" panose="020B0603020202020204" pitchFamily="34" charset="0"/>
              </a:rPr>
              <a:t> on the </a:t>
            </a:r>
            <a:r>
              <a:rPr lang="en-GB" sz="1000">
                <a:solidFill>
                  <a:schemeClr val="tx2"/>
                </a:solidFill>
                <a:latin typeface="Trebuchet MS" panose="020B0603020202020204" pitchFamily="34" charset="0"/>
              </a:rPr>
              <a:t>mass</a:t>
            </a:r>
            <a:r>
              <a:rPr lang="en-GB" sz="1000">
                <a:latin typeface="Trebuchet MS" panose="020B0603020202020204" pitchFamily="34" charset="0"/>
              </a:rPr>
              <a:t> </a:t>
            </a:r>
            <a:r>
              <a:rPr lang="en-GB" sz="1000">
                <a:solidFill>
                  <a:schemeClr val="tx2"/>
                </a:solidFill>
                <a:latin typeface="Trebuchet MS" panose="020B0603020202020204" pitchFamily="34" charset="0"/>
              </a:rPr>
              <a:t>market</a:t>
            </a:r>
            <a:r>
              <a:rPr lang="en-GB" sz="1000">
                <a:latin typeface="Trebuchet MS" panose="020B0603020202020204" pitchFamily="34" charset="0"/>
              </a:rPr>
              <a:t> in the short-term </a:t>
            </a:r>
          </a:p>
        </p:txBody>
      </p:sp>
      <p:sp>
        <p:nvSpPr>
          <p:cNvPr id="116" name="Rectangle 115">
            <a:extLst>
              <a:ext uri="{FF2B5EF4-FFF2-40B4-BE49-F238E27FC236}">
                <a16:creationId xmlns:a16="http://schemas.microsoft.com/office/drawing/2014/main" id="{56A6D388-C6A0-473B-8400-2B988FD4FD96}"/>
              </a:ext>
            </a:extLst>
          </p:cNvPr>
          <p:cNvSpPr/>
          <p:nvPr/>
        </p:nvSpPr>
        <p:spPr bwMode="auto">
          <a:xfrm>
            <a:off x="8506580" y="3696779"/>
            <a:ext cx="281907" cy="44836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accent4"/>
                </a:solidFill>
                <a:latin typeface="Trebuchet MS" panose="020B0603020202020204" pitchFamily="34" charset="0"/>
              </a:rPr>
              <a:t>-</a:t>
            </a:r>
          </a:p>
        </p:txBody>
      </p:sp>
      <p:sp>
        <p:nvSpPr>
          <p:cNvPr id="122" name="Rectangle 121">
            <a:extLst>
              <a:ext uri="{FF2B5EF4-FFF2-40B4-BE49-F238E27FC236}">
                <a16:creationId xmlns:a16="http://schemas.microsoft.com/office/drawing/2014/main" id="{82236AAD-63F2-416A-94B0-E8E2DEA7546E}"/>
              </a:ext>
            </a:extLst>
          </p:cNvPr>
          <p:cNvSpPr/>
          <p:nvPr/>
        </p:nvSpPr>
        <p:spPr bwMode="auto">
          <a:xfrm>
            <a:off x="9417440" y="3696779"/>
            <a:ext cx="281907" cy="44836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accent4"/>
                </a:solidFill>
                <a:latin typeface="Trebuchet MS" panose="020B0603020202020204" pitchFamily="34" charset="0"/>
              </a:rPr>
              <a:t>-</a:t>
            </a:r>
          </a:p>
        </p:txBody>
      </p:sp>
      <p:sp>
        <p:nvSpPr>
          <p:cNvPr id="124" name="Rectangle 123">
            <a:extLst>
              <a:ext uri="{FF2B5EF4-FFF2-40B4-BE49-F238E27FC236}">
                <a16:creationId xmlns:a16="http://schemas.microsoft.com/office/drawing/2014/main" id="{0444DC47-D03C-447A-9D06-1238B5050A08}"/>
              </a:ext>
            </a:extLst>
          </p:cNvPr>
          <p:cNvSpPr/>
          <p:nvPr/>
        </p:nvSpPr>
        <p:spPr bwMode="auto">
          <a:xfrm>
            <a:off x="8962010" y="3696779"/>
            <a:ext cx="281907" cy="44836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accent4"/>
                </a:solidFill>
                <a:latin typeface="Trebuchet MS" panose="020B0603020202020204" pitchFamily="34" charset="0"/>
              </a:rPr>
              <a:t>-</a:t>
            </a:r>
          </a:p>
        </p:txBody>
      </p:sp>
      <p:sp>
        <p:nvSpPr>
          <p:cNvPr id="95" name="Espace réservé du texte 2">
            <a:extLst>
              <a:ext uri="{FF2B5EF4-FFF2-40B4-BE49-F238E27FC236}">
                <a16:creationId xmlns:a16="http://schemas.microsoft.com/office/drawing/2014/main" id="{459E3260-D237-493A-943F-9F5BA4D76890}"/>
              </a:ext>
            </a:extLst>
          </p:cNvPr>
          <p:cNvSpPr>
            <a:spLocks noGrp="1"/>
          </p:cNvSpPr>
          <p:nvPr>
            <p:custDataLst>
              <p:tags r:id="rId5"/>
            </p:custDataLst>
          </p:nvPr>
        </p:nvSpPr>
        <p:spPr bwMode="auto">
          <a:xfrm>
            <a:off x="930743" y="2430937"/>
            <a:ext cx="393415" cy="17829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341</a:t>
            </a:r>
            <a:endParaRPr lang="en-GB" sz="800">
              <a:latin typeface="Trebuchet MS" panose="020B0603020202020204" pitchFamily="34" charset="0"/>
              <a:sym typeface="+mn-lt"/>
            </a:endParaRPr>
          </a:p>
        </p:txBody>
      </p:sp>
      <p:grpSp>
        <p:nvGrpSpPr>
          <p:cNvPr id="11" name="Groupe 10">
            <a:extLst>
              <a:ext uri="{FF2B5EF4-FFF2-40B4-BE49-F238E27FC236}">
                <a16:creationId xmlns:a16="http://schemas.microsoft.com/office/drawing/2014/main" id="{F7E99877-78CC-4CDA-BC5C-F61081C8C186}"/>
              </a:ext>
            </a:extLst>
          </p:cNvPr>
          <p:cNvGrpSpPr/>
          <p:nvPr/>
        </p:nvGrpSpPr>
        <p:grpSpPr>
          <a:xfrm>
            <a:off x="372537" y="4538777"/>
            <a:ext cx="2320438" cy="171907"/>
            <a:chOff x="372537" y="4567352"/>
            <a:chExt cx="2320438" cy="171907"/>
          </a:xfrm>
        </p:grpSpPr>
        <p:sp>
          <p:nvSpPr>
            <p:cNvPr id="127" name="Rectangle 126">
              <a:extLst>
                <a:ext uri="{FF2B5EF4-FFF2-40B4-BE49-F238E27FC236}">
                  <a16:creationId xmlns:a16="http://schemas.microsoft.com/office/drawing/2014/main" id="{9A204EA8-BE28-4B75-8D9E-FC16C388D5C2}"/>
                </a:ext>
              </a:extLst>
            </p:cNvPr>
            <p:cNvSpPr/>
            <p:nvPr/>
          </p:nvSpPr>
          <p:spPr bwMode="auto">
            <a:xfrm>
              <a:off x="372537" y="4567352"/>
              <a:ext cx="683826" cy="17190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a:solidFill>
                    <a:schemeClr val="tx2"/>
                  </a:solidFill>
                  <a:latin typeface="Trebuchet MS" panose="020B0603020202020204" pitchFamily="34" charset="0"/>
                </a:rPr>
                <a:t>CAGR</a:t>
              </a:r>
              <a:r>
                <a:rPr lang="en-GB" sz="900" b="1" baseline="-25000">
                  <a:solidFill>
                    <a:schemeClr val="tx2"/>
                  </a:solidFill>
                  <a:latin typeface="Trebuchet MS" panose="020B0603020202020204" pitchFamily="34" charset="0"/>
                </a:rPr>
                <a:t>21-25</a:t>
              </a:r>
              <a:endParaRPr kumimoji="0" lang="en-GB" sz="900" b="1" i="0" u="none" strike="noStrike" cap="none" normalizeH="0" baseline="0">
                <a:ln>
                  <a:noFill/>
                </a:ln>
                <a:solidFill>
                  <a:schemeClr val="tx2"/>
                </a:solidFill>
                <a:effectLst/>
                <a:latin typeface="Trebuchet MS" panose="020B0603020202020204" pitchFamily="34" charset="0"/>
              </a:endParaRPr>
            </a:p>
          </p:txBody>
        </p:sp>
        <p:sp>
          <p:nvSpPr>
            <p:cNvPr id="140" name="Rectangle 139">
              <a:extLst>
                <a:ext uri="{FF2B5EF4-FFF2-40B4-BE49-F238E27FC236}">
                  <a16:creationId xmlns:a16="http://schemas.microsoft.com/office/drawing/2014/main" id="{E83FB70B-D279-4E44-BA9D-F3B8075A63C0}"/>
                </a:ext>
              </a:extLst>
            </p:cNvPr>
            <p:cNvSpPr/>
            <p:nvPr/>
          </p:nvSpPr>
          <p:spPr bwMode="auto">
            <a:xfrm>
              <a:off x="914835" y="4567352"/>
              <a:ext cx="683826" cy="17190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a:latin typeface="Trebuchet MS" panose="020B0603020202020204" pitchFamily="34" charset="0"/>
                </a:rPr>
                <a:t>-1%</a:t>
              </a:r>
              <a:endParaRPr kumimoji="0" lang="en-GB" sz="900" b="1" i="0" u="none" strike="noStrike" cap="none" normalizeH="0" baseline="0">
                <a:ln>
                  <a:noFill/>
                </a:ln>
                <a:effectLst/>
                <a:latin typeface="Trebuchet MS" panose="020B0603020202020204" pitchFamily="34" charset="0"/>
              </a:endParaRPr>
            </a:p>
          </p:txBody>
        </p:sp>
        <p:sp>
          <p:nvSpPr>
            <p:cNvPr id="141" name="Rectangle 140">
              <a:extLst>
                <a:ext uri="{FF2B5EF4-FFF2-40B4-BE49-F238E27FC236}">
                  <a16:creationId xmlns:a16="http://schemas.microsoft.com/office/drawing/2014/main" id="{38DF7CAA-976A-4926-A3D8-9BC7760757F0}"/>
                </a:ext>
              </a:extLst>
            </p:cNvPr>
            <p:cNvSpPr/>
            <p:nvPr/>
          </p:nvSpPr>
          <p:spPr bwMode="auto">
            <a:xfrm>
              <a:off x="1279310" y="4567352"/>
              <a:ext cx="683826" cy="17190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a:latin typeface="Trebuchet MS" panose="020B0603020202020204" pitchFamily="34" charset="0"/>
                </a:rPr>
                <a:t>+2%</a:t>
              </a:r>
              <a:endParaRPr kumimoji="0" lang="en-GB" sz="900" b="1" i="0" u="none" strike="noStrike" cap="none" normalizeH="0" baseline="0">
                <a:ln>
                  <a:noFill/>
                </a:ln>
                <a:effectLst/>
                <a:latin typeface="Trebuchet MS" panose="020B0603020202020204" pitchFamily="34" charset="0"/>
              </a:endParaRPr>
            </a:p>
          </p:txBody>
        </p:sp>
        <p:sp>
          <p:nvSpPr>
            <p:cNvPr id="142" name="Rectangle 141">
              <a:extLst>
                <a:ext uri="{FF2B5EF4-FFF2-40B4-BE49-F238E27FC236}">
                  <a16:creationId xmlns:a16="http://schemas.microsoft.com/office/drawing/2014/main" id="{AD60C119-EF0A-4433-998C-A5F951943340}"/>
                </a:ext>
              </a:extLst>
            </p:cNvPr>
            <p:cNvSpPr/>
            <p:nvPr/>
          </p:nvSpPr>
          <p:spPr bwMode="auto">
            <a:xfrm>
              <a:off x="1620990" y="4567352"/>
              <a:ext cx="683826" cy="17190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a:latin typeface="Trebuchet MS" panose="020B0603020202020204" pitchFamily="34" charset="0"/>
                </a:rPr>
                <a:t>+0,5%</a:t>
              </a:r>
              <a:endParaRPr kumimoji="0" lang="en-GB" sz="900" b="1" i="0" u="none" strike="noStrike" cap="none" normalizeH="0" baseline="0">
                <a:ln>
                  <a:noFill/>
                </a:ln>
                <a:effectLst/>
                <a:latin typeface="Trebuchet MS" panose="020B0603020202020204" pitchFamily="34" charset="0"/>
              </a:endParaRPr>
            </a:p>
          </p:txBody>
        </p:sp>
        <p:sp>
          <p:nvSpPr>
            <p:cNvPr id="143" name="Rectangle 142">
              <a:extLst>
                <a:ext uri="{FF2B5EF4-FFF2-40B4-BE49-F238E27FC236}">
                  <a16:creationId xmlns:a16="http://schemas.microsoft.com/office/drawing/2014/main" id="{802F6DFD-6B48-4A82-9194-58CC770DBB80}"/>
                </a:ext>
              </a:extLst>
            </p:cNvPr>
            <p:cNvSpPr/>
            <p:nvPr/>
          </p:nvSpPr>
          <p:spPr bwMode="auto">
            <a:xfrm>
              <a:off x="2009149" y="4567352"/>
              <a:ext cx="683826" cy="17190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a:latin typeface="Trebuchet MS" panose="020B0603020202020204" pitchFamily="34" charset="0"/>
                </a:rPr>
                <a:t>+0%</a:t>
              </a:r>
              <a:endParaRPr kumimoji="0" lang="en-GB" sz="900" b="1" i="0" u="none" strike="noStrike" cap="none" normalizeH="0" baseline="0">
                <a:ln>
                  <a:noFill/>
                </a:ln>
                <a:effectLst/>
                <a:latin typeface="Trebuchet MS" panose="020B0603020202020204" pitchFamily="34" charset="0"/>
              </a:endParaRPr>
            </a:p>
          </p:txBody>
        </p:sp>
      </p:grpSp>
      <p:sp>
        <p:nvSpPr>
          <p:cNvPr id="144" name="Espace réservé du texte 2">
            <a:extLst>
              <a:ext uri="{FF2B5EF4-FFF2-40B4-BE49-F238E27FC236}">
                <a16:creationId xmlns:a16="http://schemas.microsoft.com/office/drawing/2014/main" id="{2BF93C07-39D3-4A91-83C5-E5FAB85F17EA}"/>
              </a:ext>
            </a:extLst>
          </p:cNvPr>
          <p:cNvSpPr>
            <a:spLocks noGrp="1"/>
          </p:cNvSpPr>
          <p:nvPr>
            <p:custDataLst>
              <p:tags r:id="rId6"/>
            </p:custDataLst>
          </p:nvPr>
        </p:nvSpPr>
        <p:spPr bwMode="auto">
          <a:xfrm>
            <a:off x="1300973" y="2434015"/>
            <a:ext cx="393415" cy="17829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337</a:t>
            </a:r>
            <a:endParaRPr lang="en-GB" sz="800">
              <a:latin typeface="Trebuchet MS" panose="020B0603020202020204" pitchFamily="34" charset="0"/>
              <a:sym typeface="+mn-lt"/>
            </a:endParaRPr>
          </a:p>
        </p:txBody>
      </p:sp>
      <p:sp>
        <p:nvSpPr>
          <p:cNvPr id="21" name="Ellipse 20">
            <a:extLst>
              <a:ext uri="{FF2B5EF4-FFF2-40B4-BE49-F238E27FC236}">
                <a16:creationId xmlns:a16="http://schemas.microsoft.com/office/drawing/2014/main" id="{5E68B851-6921-4104-A654-4A33B628591D}"/>
              </a:ext>
            </a:extLst>
          </p:cNvPr>
          <p:cNvSpPr/>
          <p:nvPr/>
        </p:nvSpPr>
        <p:spPr bwMode="auto">
          <a:xfrm>
            <a:off x="4988113" y="2020472"/>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1</a:t>
            </a:r>
          </a:p>
        </p:txBody>
      </p:sp>
      <p:sp>
        <p:nvSpPr>
          <p:cNvPr id="146" name="Ellipse 145">
            <a:extLst>
              <a:ext uri="{FF2B5EF4-FFF2-40B4-BE49-F238E27FC236}">
                <a16:creationId xmlns:a16="http://schemas.microsoft.com/office/drawing/2014/main" id="{FBA4B9A1-C8FE-47A3-9A90-A2A4CFF40C6B}"/>
              </a:ext>
            </a:extLst>
          </p:cNvPr>
          <p:cNvSpPr/>
          <p:nvPr/>
        </p:nvSpPr>
        <p:spPr bwMode="auto">
          <a:xfrm>
            <a:off x="4950162" y="3047155"/>
            <a:ext cx="320596" cy="125846"/>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700" err="1">
                <a:solidFill>
                  <a:schemeClr val="bg1"/>
                </a:solidFill>
                <a:latin typeface="Trebuchet MS" panose="020B0603020202020204" pitchFamily="34" charset="0"/>
              </a:rPr>
              <a:t>Covid</a:t>
            </a:r>
            <a:endParaRPr kumimoji="0" lang="en-GB" sz="700" b="0" i="0" u="none" strike="noStrike" cap="none" normalizeH="0" baseline="0">
              <a:ln>
                <a:noFill/>
              </a:ln>
              <a:solidFill>
                <a:schemeClr val="bg1"/>
              </a:solidFill>
              <a:effectLst/>
              <a:latin typeface="Trebuchet MS" panose="020B0603020202020204" pitchFamily="34" charset="0"/>
            </a:endParaRPr>
          </a:p>
        </p:txBody>
      </p:sp>
      <p:sp>
        <p:nvSpPr>
          <p:cNvPr id="150" name="Ellipse 149">
            <a:extLst>
              <a:ext uri="{FF2B5EF4-FFF2-40B4-BE49-F238E27FC236}">
                <a16:creationId xmlns:a16="http://schemas.microsoft.com/office/drawing/2014/main" id="{60CEE16E-7296-4E23-BE62-44A09185CC9C}"/>
              </a:ext>
            </a:extLst>
          </p:cNvPr>
          <p:cNvSpPr/>
          <p:nvPr/>
        </p:nvSpPr>
        <p:spPr bwMode="auto">
          <a:xfrm>
            <a:off x="4988113" y="5104449"/>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bg1"/>
                </a:solidFill>
                <a:latin typeface="Trebuchet MS" panose="020B0603020202020204" pitchFamily="34" charset="0"/>
              </a:rPr>
              <a:t>6</a:t>
            </a:r>
            <a:endParaRPr kumimoji="0" lang="en-GB" sz="1200" b="0" i="0" u="none" strike="noStrike" cap="none" normalizeH="0" baseline="0">
              <a:ln>
                <a:noFill/>
              </a:ln>
              <a:solidFill>
                <a:schemeClr val="bg1"/>
              </a:solidFill>
              <a:effectLst/>
              <a:latin typeface="Trebuchet MS" panose="020B0603020202020204" pitchFamily="34" charset="0"/>
            </a:endParaRPr>
          </a:p>
        </p:txBody>
      </p:sp>
      <p:sp>
        <p:nvSpPr>
          <p:cNvPr id="151" name="Ellipse 150">
            <a:extLst>
              <a:ext uri="{FF2B5EF4-FFF2-40B4-BE49-F238E27FC236}">
                <a16:creationId xmlns:a16="http://schemas.microsoft.com/office/drawing/2014/main" id="{7C773B56-07BE-4E19-88F7-E84DEC750587}"/>
              </a:ext>
            </a:extLst>
          </p:cNvPr>
          <p:cNvSpPr/>
          <p:nvPr/>
        </p:nvSpPr>
        <p:spPr bwMode="auto">
          <a:xfrm>
            <a:off x="4988113" y="5524004"/>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bg1"/>
                </a:solidFill>
                <a:latin typeface="Trebuchet MS" panose="020B0603020202020204" pitchFamily="34" charset="0"/>
              </a:rPr>
              <a:t>7</a:t>
            </a:r>
            <a:endParaRPr kumimoji="0" lang="en-GB" sz="1200" b="0" i="0" u="none" strike="noStrike" cap="none" normalizeH="0" baseline="0">
              <a:ln>
                <a:noFill/>
              </a:ln>
              <a:solidFill>
                <a:schemeClr val="bg1"/>
              </a:solidFill>
              <a:effectLst/>
              <a:latin typeface="Trebuchet MS" panose="020B0603020202020204" pitchFamily="34" charset="0"/>
            </a:endParaRPr>
          </a:p>
        </p:txBody>
      </p:sp>
      <p:sp>
        <p:nvSpPr>
          <p:cNvPr id="152" name="Ellipse 151">
            <a:extLst>
              <a:ext uri="{FF2B5EF4-FFF2-40B4-BE49-F238E27FC236}">
                <a16:creationId xmlns:a16="http://schemas.microsoft.com/office/drawing/2014/main" id="{3A163951-9040-4B98-B91C-5AF389F338FE}"/>
              </a:ext>
            </a:extLst>
          </p:cNvPr>
          <p:cNvSpPr/>
          <p:nvPr/>
        </p:nvSpPr>
        <p:spPr bwMode="auto">
          <a:xfrm>
            <a:off x="4988113" y="5936248"/>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bg1"/>
                </a:solidFill>
                <a:latin typeface="Trebuchet MS" panose="020B0603020202020204" pitchFamily="34" charset="0"/>
              </a:rPr>
              <a:t>8</a:t>
            </a:r>
            <a:endParaRPr kumimoji="0" lang="en-GB" sz="1200" b="0" i="0" u="none" strike="noStrike" cap="none" normalizeH="0" baseline="0">
              <a:ln>
                <a:noFill/>
              </a:ln>
              <a:solidFill>
                <a:schemeClr val="bg1"/>
              </a:solidFill>
              <a:effectLst/>
              <a:latin typeface="Trebuchet MS" panose="020B0603020202020204" pitchFamily="34" charset="0"/>
            </a:endParaRPr>
          </a:p>
        </p:txBody>
      </p:sp>
      <p:sp>
        <p:nvSpPr>
          <p:cNvPr id="153" name="Ellipse 152">
            <a:extLst>
              <a:ext uri="{FF2B5EF4-FFF2-40B4-BE49-F238E27FC236}">
                <a16:creationId xmlns:a16="http://schemas.microsoft.com/office/drawing/2014/main" id="{8A94ACD3-00F7-4E6E-AE52-62393C248729}"/>
              </a:ext>
            </a:extLst>
          </p:cNvPr>
          <p:cNvSpPr/>
          <p:nvPr/>
        </p:nvSpPr>
        <p:spPr bwMode="auto">
          <a:xfrm>
            <a:off x="4950162" y="3680654"/>
            <a:ext cx="320596" cy="125846"/>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700" err="1">
                <a:solidFill>
                  <a:schemeClr val="bg1"/>
                </a:solidFill>
                <a:latin typeface="Trebuchet MS" panose="020B0603020202020204" pitchFamily="34" charset="0"/>
              </a:rPr>
              <a:t>Covid</a:t>
            </a:r>
            <a:endParaRPr kumimoji="0" lang="en-GB" sz="700" b="0" i="0" u="none" strike="noStrike" cap="none" normalizeH="0" baseline="0">
              <a:ln>
                <a:noFill/>
              </a:ln>
              <a:solidFill>
                <a:schemeClr val="bg1"/>
              </a:solidFill>
              <a:effectLst/>
              <a:latin typeface="Trebuchet MS" panose="020B0603020202020204" pitchFamily="34" charset="0"/>
            </a:endParaRPr>
          </a:p>
        </p:txBody>
      </p:sp>
      <p:sp>
        <p:nvSpPr>
          <p:cNvPr id="154" name="Ellipse 153">
            <a:extLst>
              <a:ext uri="{FF2B5EF4-FFF2-40B4-BE49-F238E27FC236}">
                <a16:creationId xmlns:a16="http://schemas.microsoft.com/office/drawing/2014/main" id="{276D0208-D5B8-407E-80F8-C6D438AD344A}"/>
              </a:ext>
            </a:extLst>
          </p:cNvPr>
          <p:cNvSpPr/>
          <p:nvPr/>
        </p:nvSpPr>
        <p:spPr bwMode="auto">
          <a:xfrm>
            <a:off x="4988113" y="2633669"/>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3</a:t>
            </a:r>
          </a:p>
        </p:txBody>
      </p:sp>
      <p:sp>
        <p:nvSpPr>
          <p:cNvPr id="156" name="Rectangle 155">
            <a:extLst>
              <a:ext uri="{FF2B5EF4-FFF2-40B4-BE49-F238E27FC236}">
                <a16:creationId xmlns:a16="http://schemas.microsoft.com/office/drawing/2014/main" id="{B01A0505-B416-45DA-B71B-89F904E9E778}"/>
              </a:ext>
            </a:extLst>
          </p:cNvPr>
          <p:cNvSpPr/>
          <p:nvPr/>
        </p:nvSpPr>
        <p:spPr bwMode="auto">
          <a:xfrm>
            <a:off x="5065314" y="2345532"/>
            <a:ext cx="3326114" cy="22655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spcBef>
                <a:spcPts val="600"/>
              </a:spcBef>
            </a:pPr>
            <a:r>
              <a:rPr lang="en-GB" sz="1000">
                <a:latin typeface="Trebuchet MS" panose="020B0603020202020204" pitchFamily="34" charset="0"/>
              </a:rPr>
              <a:t>Increase in </a:t>
            </a:r>
            <a:r>
              <a:rPr lang="en-GB" sz="1000">
                <a:solidFill>
                  <a:schemeClr val="tx2"/>
                </a:solidFill>
                <a:latin typeface="Trebuchet MS" panose="020B0603020202020204" pitchFamily="34" charset="0"/>
              </a:rPr>
              <a:t>exports</a:t>
            </a:r>
            <a:endParaRPr lang="en-GB" sz="1000" spc="-10">
              <a:solidFill>
                <a:schemeClr val="dk1"/>
              </a:solidFill>
              <a:latin typeface="Trebuchet MS" panose="020B0603020202020204" pitchFamily="34" charset="0"/>
            </a:endParaRPr>
          </a:p>
        </p:txBody>
      </p:sp>
      <p:sp>
        <p:nvSpPr>
          <p:cNvPr id="157" name="Rectangle 156">
            <a:extLst>
              <a:ext uri="{FF2B5EF4-FFF2-40B4-BE49-F238E27FC236}">
                <a16:creationId xmlns:a16="http://schemas.microsoft.com/office/drawing/2014/main" id="{67CB16E7-E239-4F82-8C30-C112B3E562E5}"/>
              </a:ext>
            </a:extLst>
          </p:cNvPr>
          <p:cNvSpPr/>
          <p:nvPr/>
        </p:nvSpPr>
        <p:spPr bwMode="auto">
          <a:xfrm>
            <a:off x="8506580" y="2340880"/>
            <a:ext cx="281907" cy="23120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endParaRPr lang="en-GB" sz="3600">
              <a:latin typeface="Trebuchet MS" panose="020B0603020202020204" pitchFamily="34" charset="0"/>
            </a:endParaRPr>
          </a:p>
        </p:txBody>
      </p:sp>
      <p:sp>
        <p:nvSpPr>
          <p:cNvPr id="158" name="Rectangle 157">
            <a:extLst>
              <a:ext uri="{FF2B5EF4-FFF2-40B4-BE49-F238E27FC236}">
                <a16:creationId xmlns:a16="http://schemas.microsoft.com/office/drawing/2014/main" id="{5E7EBB2C-FD51-42BC-ABDC-6E8DA522477A}"/>
              </a:ext>
            </a:extLst>
          </p:cNvPr>
          <p:cNvSpPr/>
          <p:nvPr/>
        </p:nvSpPr>
        <p:spPr bwMode="auto">
          <a:xfrm>
            <a:off x="9417440" y="2340880"/>
            <a:ext cx="281907" cy="23120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endParaRPr lang="en-GB" sz="3600">
              <a:latin typeface="Trebuchet MS" panose="020B0603020202020204" pitchFamily="34" charset="0"/>
            </a:endParaRPr>
          </a:p>
        </p:txBody>
      </p:sp>
      <p:sp>
        <p:nvSpPr>
          <p:cNvPr id="159" name="Rectangle 158">
            <a:extLst>
              <a:ext uri="{FF2B5EF4-FFF2-40B4-BE49-F238E27FC236}">
                <a16:creationId xmlns:a16="http://schemas.microsoft.com/office/drawing/2014/main" id="{26098FD0-E919-44EC-AB19-FC93B3A9F9F7}"/>
              </a:ext>
            </a:extLst>
          </p:cNvPr>
          <p:cNvSpPr/>
          <p:nvPr/>
        </p:nvSpPr>
        <p:spPr bwMode="auto">
          <a:xfrm>
            <a:off x="8962010" y="2340880"/>
            <a:ext cx="281907" cy="23120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endParaRPr lang="en-GB" sz="3600">
              <a:latin typeface="Trebuchet MS" panose="020B0603020202020204" pitchFamily="34" charset="0"/>
            </a:endParaRPr>
          </a:p>
        </p:txBody>
      </p:sp>
      <p:sp>
        <p:nvSpPr>
          <p:cNvPr id="145" name="Ellipse 144">
            <a:extLst>
              <a:ext uri="{FF2B5EF4-FFF2-40B4-BE49-F238E27FC236}">
                <a16:creationId xmlns:a16="http://schemas.microsoft.com/office/drawing/2014/main" id="{CA75DBFD-C1AF-41E0-A35E-511B8980AD09}"/>
              </a:ext>
            </a:extLst>
          </p:cNvPr>
          <p:cNvSpPr/>
          <p:nvPr/>
        </p:nvSpPr>
        <p:spPr bwMode="auto">
          <a:xfrm>
            <a:off x="4988113" y="2354951"/>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2</a:t>
            </a:r>
          </a:p>
        </p:txBody>
      </p:sp>
      <p:sp>
        <p:nvSpPr>
          <p:cNvPr id="22" name="Rectangle 21">
            <a:extLst>
              <a:ext uri="{FF2B5EF4-FFF2-40B4-BE49-F238E27FC236}">
                <a16:creationId xmlns:a16="http://schemas.microsoft.com/office/drawing/2014/main" id="{44B99EF0-EF27-45A5-B160-16DC3200743E}"/>
              </a:ext>
            </a:extLst>
          </p:cNvPr>
          <p:cNvSpPr/>
          <p:nvPr/>
        </p:nvSpPr>
        <p:spPr bwMode="auto">
          <a:xfrm>
            <a:off x="5065314" y="4656051"/>
            <a:ext cx="3326114" cy="36000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spcBef>
                <a:spcPts val="600"/>
              </a:spcBef>
            </a:pPr>
            <a:r>
              <a:rPr lang="en-GB" sz="1000">
                <a:latin typeface="Trebuchet MS" panose="020B0603020202020204" pitchFamily="34" charset="0"/>
              </a:rPr>
              <a:t>Increase in Credit risk solutions’ </a:t>
            </a:r>
            <a:r>
              <a:rPr lang="en-GB" sz="1000">
                <a:solidFill>
                  <a:schemeClr val="tx2"/>
                </a:solidFill>
                <a:latin typeface="Trebuchet MS" panose="020B0603020202020204" pitchFamily="34" charset="0"/>
              </a:rPr>
              <a:t>consumption by SMEs </a:t>
            </a:r>
            <a:r>
              <a:rPr lang="en-GB" sz="1000">
                <a:latin typeface="Trebuchet MS" panose="020B0603020202020204" pitchFamily="34" charset="0"/>
              </a:rPr>
              <a:t>due to evangelization</a:t>
            </a:r>
          </a:p>
        </p:txBody>
      </p:sp>
      <p:sp>
        <p:nvSpPr>
          <p:cNvPr id="23" name="Rectangle 22">
            <a:extLst>
              <a:ext uri="{FF2B5EF4-FFF2-40B4-BE49-F238E27FC236}">
                <a16:creationId xmlns:a16="http://schemas.microsoft.com/office/drawing/2014/main" id="{9A3C5A60-13A9-4633-AD63-8A11023CFC1F}"/>
              </a:ext>
            </a:extLst>
          </p:cNvPr>
          <p:cNvSpPr/>
          <p:nvPr/>
        </p:nvSpPr>
        <p:spPr bwMode="auto">
          <a:xfrm>
            <a:off x="8506580" y="4656050"/>
            <a:ext cx="281907" cy="35774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p>
        </p:txBody>
      </p:sp>
      <p:sp>
        <p:nvSpPr>
          <p:cNvPr id="24" name="Rectangle 23">
            <a:extLst>
              <a:ext uri="{FF2B5EF4-FFF2-40B4-BE49-F238E27FC236}">
                <a16:creationId xmlns:a16="http://schemas.microsoft.com/office/drawing/2014/main" id="{EFEF9CD4-C98A-42EC-AC8C-2CC17B8E552A}"/>
              </a:ext>
            </a:extLst>
          </p:cNvPr>
          <p:cNvSpPr/>
          <p:nvPr/>
        </p:nvSpPr>
        <p:spPr bwMode="auto">
          <a:xfrm>
            <a:off x="9417440" y="4656050"/>
            <a:ext cx="281907" cy="35774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p>
        </p:txBody>
      </p:sp>
      <p:sp>
        <p:nvSpPr>
          <p:cNvPr id="25" name="Rectangle 24">
            <a:extLst>
              <a:ext uri="{FF2B5EF4-FFF2-40B4-BE49-F238E27FC236}">
                <a16:creationId xmlns:a16="http://schemas.microsoft.com/office/drawing/2014/main" id="{B996EBCB-F8BA-49BB-B550-D83FDE90F6DF}"/>
              </a:ext>
            </a:extLst>
          </p:cNvPr>
          <p:cNvSpPr/>
          <p:nvPr/>
        </p:nvSpPr>
        <p:spPr bwMode="auto">
          <a:xfrm>
            <a:off x="8962010" y="4656050"/>
            <a:ext cx="281907" cy="35774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p>
        </p:txBody>
      </p:sp>
      <p:sp>
        <p:nvSpPr>
          <p:cNvPr id="26" name="Ellipse 25">
            <a:extLst>
              <a:ext uri="{FF2B5EF4-FFF2-40B4-BE49-F238E27FC236}">
                <a16:creationId xmlns:a16="http://schemas.microsoft.com/office/drawing/2014/main" id="{4D8964C7-8D8B-4950-A642-7D990CC24B6A}"/>
              </a:ext>
            </a:extLst>
          </p:cNvPr>
          <p:cNvSpPr/>
          <p:nvPr/>
        </p:nvSpPr>
        <p:spPr bwMode="auto">
          <a:xfrm>
            <a:off x="4988113" y="4645987"/>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5</a:t>
            </a:r>
          </a:p>
        </p:txBody>
      </p:sp>
      <p:sp>
        <p:nvSpPr>
          <p:cNvPr id="165" name="Ellipse 164">
            <a:extLst>
              <a:ext uri="{FF2B5EF4-FFF2-40B4-BE49-F238E27FC236}">
                <a16:creationId xmlns:a16="http://schemas.microsoft.com/office/drawing/2014/main" id="{74A1558D-F695-4DEE-9C4D-51B156F3CA23}"/>
              </a:ext>
            </a:extLst>
          </p:cNvPr>
          <p:cNvSpPr/>
          <p:nvPr/>
        </p:nvSpPr>
        <p:spPr bwMode="auto">
          <a:xfrm>
            <a:off x="4988113" y="4204750"/>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4</a:t>
            </a:r>
          </a:p>
        </p:txBody>
      </p:sp>
      <p:grpSp>
        <p:nvGrpSpPr>
          <p:cNvPr id="113" name="Groupe 112">
            <a:extLst>
              <a:ext uri="{FF2B5EF4-FFF2-40B4-BE49-F238E27FC236}">
                <a16:creationId xmlns:a16="http://schemas.microsoft.com/office/drawing/2014/main" id="{F5465E29-AC00-427E-A95B-ACF66C79AF79}"/>
              </a:ext>
            </a:extLst>
          </p:cNvPr>
          <p:cNvGrpSpPr/>
          <p:nvPr/>
        </p:nvGrpSpPr>
        <p:grpSpPr>
          <a:xfrm>
            <a:off x="8448150" y="-11528"/>
            <a:ext cx="1435548" cy="588143"/>
            <a:chOff x="8448150" y="-11528"/>
            <a:chExt cx="1435548" cy="588143"/>
          </a:xfrm>
        </p:grpSpPr>
        <p:grpSp>
          <p:nvGrpSpPr>
            <p:cNvPr id="134" name="Groupe 133">
              <a:extLst>
                <a:ext uri="{FF2B5EF4-FFF2-40B4-BE49-F238E27FC236}">
                  <a16:creationId xmlns:a16="http://schemas.microsoft.com/office/drawing/2014/main" id="{FA5BAC18-FA5E-4BD6-90AB-D10E7B7F1868}"/>
                </a:ext>
              </a:extLst>
            </p:cNvPr>
            <p:cNvGrpSpPr/>
            <p:nvPr/>
          </p:nvGrpSpPr>
          <p:grpSpPr>
            <a:xfrm>
              <a:off x="8448150" y="-11528"/>
              <a:ext cx="1435548" cy="555653"/>
              <a:chOff x="8448150" y="-11528"/>
              <a:chExt cx="1435548" cy="555653"/>
            </a:xfrm>
          </p:grpSpPr>
          <p:sp>
            <p:nvSpPr>
              <p:cNvPr id="147" name="Rectangle : coins arrondis 199">
                <a:extLst>
                  <a:ext uri="{FF2B5EF4-FFF2-40B4-BE49-F238E27FC236}">
                    <a16:creationId xmlns:a16="http://schemas.microsoft.com/office/drawing/2014/main" id="{AFC7D888-515B-4436-8F76-22A1DF92BD02}"/>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9" name="Rectangle : coins arrondis 200">
                <a:extLst>
                  <a:ext uri="{FF2B5EF4-FFF2-40B4-BE49-F238E27FC236}">
                    <a16:creationId xmlns:a16="http://schemas.microsoft.com/office/drawing/2014/main" id="{8BAFB600-BCD0-4864-A805-5F736E476B3F}"/>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55" name="Rectangle : coins arrondis 201">
                <a:extLst>
                  <a:ext uri="{FF2B5EF4-FFF2-40B4-BE49-F238E27FC236}">
                    <a16:creationId xmlns:a16="http://schemas.microsoft.com/office/drawing/2014/main" id="{E8194588-177C-445D-89FE-B6D1244F2437}"/>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60" name="ZoneTexte 18">
                <a:extLst>
                  <a:ext uri="{FF2B5EF4-FFF2-40B4-BE49-F238E27FC236}">
                    <a16:creationId xmlns:a16="http://schemas.microsoft.com/office/drawing/2014/main" id="{D695FC0E-6469-438C-BE45-FC8908DCD73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61" name="Graphique 128" descr="Jauge">
                <a:extLst>
                  <a:ext uri="{FF2B5EF4-FFF2-40B4-BE49-F238E27FC236}">
                    <a16:creationId xmlns:a16="http://schemas.microsoft.com/office/drawing/2014/main" id="{A5DD8C88-FF38-4BCC-921E-7321CB6F055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553764" y="187516"/>
                <a:ext cx="234953" cy="218224"/>
              </a:xfrm>
              <a:prstGeom prst="rect">
                <a:avLst/>
              </a:prstGeom>
              <a:effectLst/>
            </p:spPr>
          </p:pic>
          <p:pic>
            <p:nvPicPr>
              <p:cNvPr id="162" name="Graphique 90" descr="Poignée de main">
                <a:extLst>
                  <a:ext uri="{FF2B5EF4-FFF2-40B4-BE49-F238E27FC236}">
                    <a16:creationId xmlns:a16="http://schemas.microsoft.com/office/drawing/2014/main" id="{C623A5A0-584E-4BAB-8A07-68EB5265262F}"/>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960868" y="152880"/>
                <a:ext cx="256313" cy="287496"/>
              </a:xfrm>
              <a:prstGeom prst="rect">
                <a:avLst/>
              </a:prstGeom>
              <a:effectLst/>
            </p:spPr>
          </p:pic>
          <p:pic>
            <p:nvPicPr>
              <p:cNvPr id="163" name="Graphique 74" descr="Mégaphone">
                <a:extLst>
                  <a:ext uri="{FF2B5EF4-FFF2-40B4-BE49-F238E27FC236}">
                    <a16:creationId xmlns:a16="http://schemas.microsoft.com/office/drawing/2014/main" id="{61583379-F0AB-4A3D-8F56-70ADE587824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9389331" y="181519"/>
                <a:ext cx="233011" cy="216420"/>
              </a:xfrm>
              <a:prstGeom prst="rect">
                <a:avLst/>
              </a:prstGeom>
              <a:effectLst/>
            </p:spPr>
          </p:pic>
          <p:pic>
            <p:nvPicPr>
              <p:cNvPr id="164" name="Picture 2" descr="Drapeau France">
                <a:extLst>
                  <a:ext uri="{FF2B5EF4-FFF2-40B4-BE49-F238E27FC236}">
                    <a16:creationId xmlns:a16="http://schemas.microsoft.com/office/drawing/2014/main" id="{354A3AE2-A690-4663-98FA-34FF58825F04}"/>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66" name="Picture 2" descr="5 ft x 3 ft 150 x 90 cm-DRAPEAU BELGE Belgique 100% Polyester ...">
                <a:extLst>
                  <a:ext uri="{FF2B5EF4-FFF2-40B4-BE49-F238E27FC236}">
                    <a16:creationId xmlns:a16="http://schemas.microsoft.com/office/drawing/2014/main" id="{9559CDAF-BD30-4685-8C1E-F585E76A128A}"/>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67" name="Picture 2 - 1" descr="Drapeau des Pays-Bas — Wikipédia">
                <a:extLst>
                  <a:ext uri="{FF2B5EF4-FFF2-40B4-BE49-F238E27FC236}">
                    <a16:creationId xmlns:a16="http://schemas.microsoft.com/office/drawing/2014/main" id="{F4326CC9-2F9F-4873-B002-85F90CCBE540}"/>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68" name="Picture 2 - 2" descr="Drapeau du Luxembourg">
                <a:extLst>
                  <a:ext uri="{FF2B5EF4-FFF2-40B4-BE49-F238E27FC236}">
                    <a16:creationId xmlns:a16="http://schemas.microsoft.com/office/drawing/2014/main" id="{E061CE38-8336-4C74-9D16-987D0AC5CB1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135" name="ZoneTexte 18">
              <a:extLst>
                <a:ext uri="{FF2B5EF4-FFF2-40B4-BE49-F238E27FC236}">
                  <a16:creationId xmlns:a16="http://schemas.microsoft.com/office/drawing/2014/main" id="{44724728-6920-4C6F-87D5-5B7A864536A2}"/>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redit &amp; financial risk</a:t>
              </a:r>
            </a:p>
          </p:txBody>
        </p:sp>
      </p:grpSp>
      <p:sp>
        <p:nvSpPr>
          <p:cNvPr id="170" name="Espace réservé du texte 2">
            <a:extLst>
              <a:ext uri="{FF2B5EF4-FFF2-40B4-BE49-F238E27FC236}">
                <a16:creationId xmlns:a16="http://schemas.microsoft.com/office/drawing/2014/main" id="{E7129DE2-6A01-433D-A9F1-60A2586F48F0}"/>
              </a:ext>
            </a:extLst>
          </p:cNvPr>
          <p:cNvSpPr>
            <a:spLocks noGrp="1"/>
          </p:cNvSpPr>
          <p:nvPr>
            <p:custDataLst>
              <p:tags r:id="rId7"/>
            </p:custDataLst>
          </p:nvPr>
        </p:nvSpPr>
        <p:spPr bwMode="auto">
          <a:xfrm>
            <a:off x="1663759" y="2434015"/>
            <a:ext cx="393415" cy="17829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339</a:t>
            </a:r>
            <a:endParaRPr lang="en-GB" sz="800">
              <a:latin typeface="Trebuchet MS" panose="020B0603020202020204" pitchFamily="34" charset="0"/>
              <a:sym typeface="+mn-lt"/>
            </a:endParaRPr>
          </a:p>
        </p:txBody>
      </p:sp>
      <p:sp>
        <p:nvSpPr>
          <p:cNvPr id="171" name="Rectangle 170">
            <a:extLst>
              <a:ext uri="{FF2B5EF4-FFF2-40B4-BE49-F238E27FC236}">
                <a16:creationId xmlns:a16="http://schemas.microsoft.com/office/drawing/2014/main" id="{B6869902-9C2A-4A52-AFFA-AA0B9EFD0169}"/>
              </a:ext>
            </a:extLst>
          </p:cNvPr>
          <p:cNvSpPr/>
          <p:nvPr/>
        </p:nvSpPr>
        <p:spPr bwMode="auto">
          <a:xfrm>
            <a:off x="188665" y="2165688"/>
            <a:ext cx="100652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17-19</a:t>
            </a:r>
            <a:r>
              <a:rPr lang="en-GB" sz="900">
                <a:latin typeface="Trebuchet MS" panose="020B0603020202020204" pitchFamily="34" charset="0"/>
              </a:rPr>
              <a:t>: +0.16% </a:t>
            </a:r>
            <a:endParaRPr kumimoji="0" lang="en-GB" sz="900" b="0" i="0" u="none" strike="noStrike" cap="none" normalizeH="0" baseline="0">
              <a:ln>
                <a:noFill/>
              </a:ln>
              <a:effectLst/>
              <a:latin typeface="Trebuchet MS" panose="020B0603020202020204" pitchFamily="34" charset="0"/>
            </a:endParaRPr>
          </a:p>
        </p:txBody>
      </p:sp>
      <p:cxnSp>
        <p:nvCxnSpPr>
          <p:cNvPr id="172" name="Straight Connector 190">
            <a:extLst>
              <a:ext uri="{FF2B5EF4-FFF2-40B4-BE49-F238E27FC236}">
                <a16:creationId xmlns:a16="http://schemas.microsoft.com/office/drawing/2014/main" id="{62193CDB-CD46-4166-9E7B-C14CA9A4F9FC}"/>
              </a:ext>
            </a:extLst>
          </p:cNvPr>
          <p:cNvCxnSpPr>
            <a:cxnSpLocks/>
          </p:cNvCxnSpPr>
          <p:nvPr>
            <p:custDataLst>
              <p:tags r:id="rId8"/>
            </p:custDataLst>
          </p:nvPr>
        </p:nvCxnSpPr>
        <p:spPr bwMode="auto">
          <a:xfrm flipV="1">
            <a:off x="320040" y="2371999"/>
            <a:ext cx="852870" cy="27295"/>
          </a:xfrm>
          <a:prstGeom prst="line">
            <a:avLst/>
          </a:prstGeom>
          <a:solidFill>
            <a:schemeClr val="accent1"/>
          </a:solidFill>
          <a:ln w="9525" cap="flat" cmpd="sng" algn="ctr">
            <a:solidFill>
              <a:schemeClr val="tx1"/>
            </a:solidFill>
            <a:prstDash val="dash"/>
            <a:round/>
            <a:headEnd type="none" w="med" len="med"/>
            <a:tailEnd type="triangle"/>
          </a:ln>
          <a:effectLst/>
        </p:spPr>
      </p:cxnSp>
      <p:cxnSp>
        <p:nvCxnSpPr>
          <p:cNvPr id="173" name="Straight Connector 190">
            <a:extLst>
              <a:ext uri="{FF2B5EF4-FFF2-40B4-BE49-F238E27FC236}">
                <a16:creationId xmlns:a16="http://schemas.microsoft.com/office/drawing/2014/main" id="{98E532A1-8F79-4966-AE3C-85ACF87B7F7F}"/>
              </a:ext>
            </a:extLst>
          </p:cNvPr>
          <p:cNvCxnSpPr>
            <a:cxnSpLocks/>
          </p:cNvCxnSpPr>
          <p:nvPr>
            <p:custDataLst>
              <p:tags r:id="rId9"/>
            </p:custDataLst>
          </p:nvPr>
        </p:nvCxnSpPr>
        <p:spPr bwMode="auto">
          <a:xfrm>
            <a:off x="1200556" y="2352161"/>
            <a:ext cx="312365" cy="43754"/>
          </a:xfrm>
          <a:prstGeom prst="line">
            <a:avLst/>
          </a:prstGeom>
          <a:solidFill>
            <a:schemeClr val="accent1"/>
          </a:solidFill>
          <a:ln w="9525" cap="flat" cmpd="sng" algn="ctr">
            <a:solidFill>
              <a:schemeClr val="tx1"/>
            </a:solidFill>
            <a:prstDash val="dash"/>
            <a:round/>
            <a:headEnd type="none" w="med" len="med"/>
            <a:tailEnd type="triangle"/>
          </a:ln>
          <a:effectLst/>
        </p:spPr>
      </p:cxnSp>
      <p:cxnSp>
        <p:nvCxnSpPr>
          <p:cNvPr id="174" name="Straight Connector 190">
            <a:extLst>
              <a:ext uri="{FF2B5EF4-FFF2-40B4-BE49-F238E27FC236}">
                <a16:creationId xmlns:a16="http://schemas.microsoft.com/office/drawing/2014/main" id="{97DDCB24-339F-4C85-A49C-204994CC0E01}"/>
              </a:ext>
            </a:extLst>
          </p:cNvPr>
          <p:cNvCxnSpPr>
            <a:cxnSpLocks/>
          </p:cNvCxnSpPr>
          <p:nvPr>
            <p:custDataLst>
              <p:tags r:id="rId10"/>
            </p:custDataLst>
          </p:nvPr>
        </p:nvCxnSpPr>
        <p:spPr bwMode="auto">
          <a:xfrm flipV="1">
            <a:off x="2057045" y="2351842"/>
            <a:ext cx="1319312" cy="88029"/>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75" name="Rectangle 174">
            <a:extLst>
              <a:ext uri="{FF2B5EF4-FFF2-40B4-BE49-F238E27FC236}">
                <a16:creationId xmlns:a16="http://schemas.microsoft.com/office/drawing/2014/main" id="{94215B28-B591-4F3F-BE33-0A61EEC7CAA1}"/>
              </a:ext>
            </a:extLst>
          </p:cNvPr>
          <p:cNvSpPr/>
          <p:nvPr/>
        </p:nvSpPr>
        <p:spPr bwMode="auto">
          <a:xfrm>
            <a:off x="2225087" y="2161164"/>
            <a:ext cx="100652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21-25</a:t>
            </a:r>
            <a:r>
              <a:rPr lang="en-GB" sz="900">
                <a:latin typeface="Trebuchet MS" panose="020B0603020202020204" pitchFamily="34" charset="0"/>
              </a:rPr>
              <a:t>: +0.01% </a:t>
            </a:r>
            <a:endParaRPr kumimoji="0" lang="en-GB" sz="900" b="0" i="0" u="none" strike="noStrike" cap="none" normalizeH="0" baseline="0">
              <a:ln>
                <a:noFill/>
              </a:ln>
              <a:effectLst/>
              <a:latin typeface="Trebuchet MS" panose="020B0603020202020204" pitchFamily="34" charset="0"/>
            </a:endParaRPr>
          </a:p>
        </p:txBody>
      </p:sp>
      <p:sp>
        <p:nvSpPr>
          <p:cNvPr id="176" name="Rectangle 175">
            <a:extLst>
              <a:ext uri="{FF2B5EF4-FFF2-40B4-BE49-F238E27FC236}">
                <a16:creationId xmlns:a16="http://schemas.microsoft.com/office/drawing/2014/main" id="{9F0A0E7D-7BC6-46C6-9327-B98B4B007A9F}"/>
              </a:ext>
            </a:extLst>
          </p:cNvPr>
          <p:cNvSpPr/>
          <p:nvPr/>
        </p:nvSpPr>
        <p:spPr bwMode="auto">
          <a:xfrm>
            <a:off x="1092452" y="2172982"/>
            <a:ext cx="537144"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1.1%</a:t>
            </a:r>
            <a:endParaRPr kumimoji="0" lang="en-GB" sz="900" b="0" i="0" u="none" strike="noStrike" cap="none" normalizeH="0" baseline="0">
              <a:ln>
                <a:noFill/>
              </a:ln>
              <a:effectLst/>
              <a:latin typeface="Trebuchet MS" panose="020B0603020202020204" pitchFamily="34" charset="0"/>
            </a:endParaRPr>
          </a:p>
        </p:txBody>
      </p:sp>
      <p:cxnSp>
        <p:nvCxnSpPr>
          <p:cNvPr id="177" name="Straight Connector 190">
            <a:extLst>
              <a:ext uri="{FF2B5EF4-FFF2-40B4-BE49-F238E27FC236}">
                <a16:creationId xmlns:a16="http://schemas.microsoft.com/office/drawing/2014/main" id="{96A4A053-A395-40EF-B080-E2C4FFB742E0}"/>
              </a:ext>
            </a:extLst>
          </p:cNvPr>
          <p:cNvCxnSpPr>
            <a:cxnSpLocks/>
          </p:cNvCxnSpPr>
          <p:nvPr>
            <p:custDataLst>
              <p:tags r:id="rId11"/>
            </p:custDataLst>
          </p:nvPr>
        </p:nvCxnSpPr>
        <p:spPr bwMode="auto">
          <a:xfrm flipV="1">
            <a:off x="1612618" y="2378501"/>
            <a:ext cx="237666" cy="28351"/>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78" name="Rectangle 177">
            <a:extLst>
              <a:ext uri="{FF2B5EF4-FFF2-40B4-BE49-F238E27FC236}">
                <a16:creationId xmlns:a16="http://schemas.microsoft.com/office/drawing/2014/main" id="{8D47EC39-72E1-4009-B708-DC439E24A2F1}"/>
              </a:ext>
            </a:extLst>
          </p:cNvPr>
          <p:cNvSpPr/>
          <p:nvPr/>
        </p:nvSpPr>
        <p:spPr bwMode="auto">
          <a:xfrm>
            <a:off x="1472582" y="2193095"/>
            <a:ext cx="537144"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1.1%</a:t>
            </a:r>
            <a:endParaRPr kumimoji="0" lang="en-GB" sz="900" b="0" i="0" u="none" strike="noStrike" cap="none" normalizeH="0" baseline="0">
              <a:ln>
                <a:noFill/>
              </a:ln>
              <a:effectLst/>
              <a:latin typeface="Trebuchet MS" panose="020B0603020202020204" pitchFamily="34" charset="0"/>
            </a:endParaRPr>
          </a:p>
        </p:txBody>
      </p:sp>
      <p:sp>
        <p:nvSpPr>
          <p:cNvPr id="148" name="Text Placeholder 2">
            <a:extLst>
              <a:ext uri="{FF2B5EF4-FFF2-40B4-BE49-F238E27FC236}">
                <a16:creationId xmlns:a16="http://schemas.microsoft.com/office/drawing/2014/main" id="{2CF9A741-260B-4522-8747-ADFB4A26B2FB}"/>
              </a:ext>
            </a:extLst>
          </p:cNvPr>
          <p:cNvSpPr txBox="1">
            <a:spLocks/>
          </p:cNvSpPr>
          <p:nvPr/>
        </p:nvSpPr>
        <p:spPr>
          <a:xfrm>
            <a:off x="1316038" y="6580188"/>
            <a:ext cx="4360862" cy="244475"/>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GB"/>
              <a:t>Sources: eleven research &amp; analysis, expert calls</a:t>
            </a:r>
          </a:p>
          <a:p>
            <a:endParaRPr lang="en-GB"/>
          </a:p>
        </p:txBody>
      </p:sp>
    </p:spTree>
    <p:extLst>
      <p:ext uri="{BB962C8B-B14F-4D97-AF65-F5344CB8AC3E}">
        <p14:creationId xmlns:p14="http://schemas.microsoft.com/office/powerpoint/2010/main" val="3163263851"/>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0944F39-7C9D-46A4-9460-7725FFCBEE94}"/>
              </a:ext>
            </a:extLst>
          </p:cNvPr>
          <p:cNvGraphicFramePr>
            <a:graphicFrameLocks noChangeAspect="1"/>
          </p:cNvGraphicFramePr>
          <p:nvPr>
            <p:custDataLst>
              <p:tags r:id="rId1"/>
            </p:custDataLst>
            <p:extLst>
              <p:ext uri="{D42A27DB-BD31-4B8C-83A1-F6EECF244321}">
                <p14:modId xmlns:p14="http://schemas.microsoft.com/office/powerpoint/2010/main" val="3551262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90944F39-7C9D-46A4-9460-7725FFCBEE9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FCCB61A9-18E3-4D56-9AF8-2A82AF56EF7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cxnSp>
        <p:nvCxnSpPr>
          <p:cNvPr id="70" name="Connecteur droit 4">
            <a:extLst>
              <a:ext uri="{FF2B5EF4-FFF2-40B4-BE49-F238E27FC236}">
                <a16:creationId xmlns:a16="http://schemas.microsoft.com/office/drawing/2014/main" id="{10825191-37CE-4900-BC60-226DB1D33A69}"/>
              </a:ext>
            </a:extLst>
          </p:cNvPr>
          <p:cNvCxnSpPr>
            <a:cxnSpLocks/>
          </p:cNvCxnSpPr>
          <p:nvPr/>
        </p:nvCxnSpPr>
        <p:spPr bwMode="auto">
          <a:xfrm>
            <a:off x="351604" y="3466568"/>
            <a:ext cx="432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0" name="Rectangle 9">
            <a:extLst>
              <a:ext uri="{FF2B5EF4-FFF2-40B4-BE49-F238E27FC236}">
                <a16:creationId xmlns:a16="http://schemas.microsoft.com/office/drawing/2014/main" id="{B281D5E6-D027-4CBC-9B48-6F2B953BFC13}"/>
              </a:ext>
            </a:extLst>
          </p:cNvPr>
          <p:cNvSpPr/>
          <p:nvPr/>
        </p:nvSpPr>
        <p:spPr bwMode="auto">
          <a:xfrm>
            <a:off x="5036464" y="1243936"/>
            <a:ext cx="4725821" cy="2412408"/>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 name="Title 3">
            <a:extLst>
              <a:ext uri="{FF2B5EF4-FFF2-40B4-BE49-F238E27FC236}">
                <a16:creationId xmlns:a16="http://schemas.microsoft.com/office/drawing/2014/main" id="{4743645F-F1B2-4106-A826-D519F9D9D826}"/>
              </a:ext>
            </a:extLst>
          </p:cNvPr>
          <p:cNvSpPr>
            <a:spLocks noGrp="1"/>
          </p:cNvSpPr>
          <p:nvPr>
            <p:ph type="title"/>
          </p:nvPr>
        </p:nvSpPr>
        <p:spPr>
          <a:xfrm>
            <a:off x="165600" y="147600"/>
            <a:ext cx="8282501" cy="684000"/>
          </a:xfrm>
        </p:spPr>
        <p:txBody>
          <a:bodyPr/>
          <a:lstStyle/>
          <a:p>
            <a:r>
              <a:rPr lang="en-GB">
                <a:latin typeface="Trebuchet MS" panose="020B0603020202020204" pitchFamily="34" charset="0"/>
              </a:rPr>
              <a:t>With the </a:t>
            </a:r>
            <a:r>
              <a:rPr lang="en-GB">
                <a:solidFill>
                  <a:schemeClr val="tx2"/>
                </a:solidFill>
                <a:latin typeface="Trebuchet MS" panose="020B0603020202020204" pitchFamily="34" charset="0"/>
              </a:rPr>
              <a:t>Covid-19 crisis</a:t>
            </a:r>
            <a:r>
              <a:rPr lang="en-GB">
                <a:latin typeface="Trebuchet MS" panose="020B0603020202020204" pitchFamily="34" charset="0"/>
              </a:rPr>
              <a:t>, companies will have a </a:t>
            </a:r>
            <a:r>
              <a:rPr lang="en-GB">
                <a:solidFill>
                  <a:schemeClr val="tx2"/>
                </a:solidFill>
                <a:latin typeface="Trebuchet MS" panose="020B0603020202020204" pitchFamily="34" charset="0"/>
              </a:rPr>
              <a:t>greater</a:t>
            </a:r>
            <a:r>
              <a:rPr lang="en-GB">
                <a:latin typeface="Trebuchet MS" panose="020B0603020202020204" pitchFamily="34" charset="0"/>
              </a:rPr>
              <a:t> </a:t>
            </a:r>
            <a:r>
              <a:rPr lang="en-GB">
                <a:solidFill>
                  <a:schemeClr val="tx2"/>
                </a:solidFill>
                <a:latin typeface="Trebuchet MS" panose="020B0603020202020204" pitchFamily="34" charset="0"/>
              </a:rPr>
              <a:t>need</a:t>
            </a:r>
            <a:r>
              <a:rPr lang="en-GB">
                <a:latin typeface="Trebuchet MS" panose="020B0603020202020204" pitchFamily="34" charset="0"/>
              </a:rPr>
              <a:t> for </a:t>
            </a:r>
            <a:r>
              <a:rPr lang="en-GB">
                <a:solidFill>
                  <a:schemeClr val="tx2"/>
                </a:solidFill>
                <a:latin typeface="Trebuchet MS" panose="020B0603020202020204" pitchFamily="34" charset="0"/>
              </a:rPr>
              <a:t>risk information</a:t>
            </a:r>
            <a:r>
              <a:rPr lang="en-GB">
                <a:latin typeface="Trebuchet MS" panose="020B0603020202020204" pitchFamily="34" charset="0"/>
              </a:rPr>
              <a:t> about their stakeholders due to the raise of </a:t>
            </a:r>
            <a:r>
              <a:rPr lang="en-GB">
                <a:solidFill>
                  <a:schemeClr val="tx2"/>
                </a:solidFill>
                <a:latin typeface="Trebuchet MS" panose="020B0603020202020204" pitchFamily="34" charset="0"/>
              </a:rPr>
              <a:t>financial</a:t>
            </a:r>
            <a:r>
              <a:rPr lang="en-GB">
                <a:latin typeface="Trebuchet MS" panose="020B0603020202020204" pitchFamily="34" charset="0"/>
              </a:rPr>
              <a:t> </a:t>
            </a:r>
            <a:r>
              <a:rPr lang="en-GB">
                <a:solidFill>
                  <a:schemeClr val="tx2"/>
                </a:solidFill>
                <a:latin typeface="Trebuchet MS" panose="020B0603020202020204" pitchFamily="34" charset="0"/>
              </a:rPr>
              <a:t>stress</a:t>
            </a:r>
            <a:r>
              <a:rPr lang="en-GB">
                <a:latin typeface="Trebuchet MS" panose="020B0603020202020204" pitchFamily="34" charset="0"/>
              </a:rPr>
              <a:t> and </a:t>
            </a:r>
            <a:r>
              <a:rPr lang="en-GB">
                <a:solidFill>
                  <a:schemeClr val="tx2"/>
                </a:solidFill>
                <a:latin typeface="Trebuchet MS" panose="020B0603020202020204" pitchFamily="34" charset="0"/>
              </a:rPr>
              <a:t>uncertainty</a:t>
            </a:r>
          </a:p>
        </p:txBody>
      </p:sp>
      <p:sp>
        <p:nvSpPr>
          <p:cNvPr id="5" name="Text Placeholder 4">
            <a:extLst>
              <a:ext uri="{FF2B5EF4-FFF2-40B4-BE49-F238E27FC236}">
                <a16:creationId xmlns:a16="http://schemas.microsoft.com/office/drawing/2014/main" id="{93ADD323-887F-4F55-BF74-62340490DDC0}"/>
              </a:ext>
            </a:extLst>
          </p:cNvPr>
          <p:cNvSpPr>
            <a:spLocks noGrp="1"/>
          </p:cNvSpPr>
          <p:nvPr>
            <p:ph type="body" sz="quarter" idx="10"/>
          </p:nvPr>
        </p:nvSpPr>
        <p:spPr/>
        <p:txBody>
          <a:bodyPr/>
          <a:lstStyle/>
          <a:p>
            <a:r>
              <a:rPr lang="en-GB"/>
              <a:t>Sources: eleven research &amp; analysis, expert calls, XERFI </a:t>
            </a:r>
            <a:r>
              <a:rPr lang="en-GB" err="1"/>
              <a:t>Enquête</a:t>
            </a:r>
            <a:r>
              <a:rPr lang="en-GB"/>
              <a:t> </a:t>
            </a:r>
            <a:r>
              <a:rPr lang="en-GB" err="1"/>
              <a:t>Juin</a:t>
            </a:r>
            <a:r>
              <a:rPr lang="en-GB"/>
              <a:t> 2020, Euler Hermes </a:t>
            </a:r>
            <a:r>
              <a:rPr lang="en-GB" err="1"/>
              <a:t>Défaillance</a:t>
            </a:r>
            <a:r>
              <a:rPr lang="en-GB"/>
              <a:t> 2020-2021, Banque de France</a:t>
            </a:r>
          </a:p>
        </p:txBody>
      </p:sp>
      <p:cxnSp>
        <p:nvCxnSpPr>
          <p:cNvPr id="31" name="Connecteur droit 4">
            <a:extLst>
              <a:ext uri="{FF2B5EF4-FFF2-40B4-BE49-F238E27FC236}">
                <a16:creationId xmlns:a16="http://schemas.microsoft.com/office/drawing/2014/main" id="{05503819-3CAF-4FAC-94B8-7B2B18B9E2DB}"/>
              </a:ext>
            </a:extLst>
          </p:cNvPr>
          <p:cNvCxnSpPr>
            <a:cxnSpLocks/>
          </p:cNvCxnSpPr>
          <p:nvPr/>
        </p:nvCxnSpPr>
        <p:spPr bwMode="auto">
          <a:xfrm>
            <a:off x="351604" y="992119"/>
            <a:ext cx="432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1" name="ZoneTexte 6">
            <a:extLst>
              <a:ext uri="{FF2B5EF4-FFF2-40B4-BE49-F238E27FC236}">
                <a16:creationId xmlns:a16="http://schemas.microsoft.com/office/drawing/2014/main" id="{819814FF-BEE0-4499-88F2-F7C9EAAA344B}"/>
              </a:ext>
            </a:extLst>
          </p:cNvPr>
          <p:cNvSpPr txBox="1"/>
          <p:nvPr/>
        </p:nvSpPr>
        <p:spPr>
          <a:xfrm>
            <a:off x="1099265" y="793052"/>
            <a:ext cx="2833054" cy="251817"/>
          </a:xfrm>
          <a:prstGeom prst="rect">
            <a:avLst/>
          </a:prstGeom>
          <a:solidFill>
            <a:schemeClr val="bg1"/>
          </a:solidFill>
        </p:spPr>
        <p:txBody>
          <a:bodyPr wrap="square" rtlCol="0">
            <a:noAutofit/>
          </a:bodyPr>
          <a:lstStyle/>
          <a:p>
            <a:pPr algn="ctr"/>
            <a:r>
              <a:rPr lang="en-GB" sz="1050">
                <a:latin typeface="Trebuchet MS" panose="020B0603020202020204" pitchFamily="34" charset="0"/>
              </a:rPr>
              <a:t>“Did you notice any lengthening in your payment terms” survey, France</a:t>
            </a:r>
          </a:p>
        </p:txBody>
      </p:sp>
      <p:sp>
        <p:nvSpPr>
          <p:cNvPr id="20" name="Rectangle 19">
            <a:extLst>
              <a:ext uri="{FF2B5EF4-FFF2-40B4-BE49-F238E27FC236}">
                <a16:creationId xmlns:a16="http://schemas.microsoft.com/office/drawing/2014/main" id="{8B1760C2-D8FC-48D6-B702-B88D350EA968}"/>
              </a:ext>
            </a:extLst>
          </p:cNvPr>
          <p:cNvSpPr/>
          <p:nvPr/>
        </p:nvSpPr>
        <p:spPr bwMode="auto">
          <a:xfrm>
            <a:off x="3434136" y="1243936"/>
            <a:ext cx="1388411" cy="2086378"/>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a:spcAft>
                <a:spcPts val="0"/>
              </a:spcAft>
              <a:defRPr/>
            </a:pPr>
            <a:r>
              <a:rPr lang="en-GB" sz="1000">
                <a:latin typeface="Trebuchet MS" panose="020B0603020202020204" pitchFamily="34" charset="0"/>
              </a:rPr>
              <a:t>Since April 2020, </a:t>
            </a:r>
            <a:r>
              <a:rPr lang="en-GB" sz="1000">
                <a:solidFill>
                  <a:schemeClr val="tx2"/>
                </a:solidFill>
                <a:latin typeface="Trebuchet MS" panose="020B0603020202020204" pitchFamily="34" charset="0"/>
              </a:rPr>
              <a:t>nearly</a:t>
            </a:r>
            <a:r>
              <a:rPr lang="en-GB" sz="1000">
                <a:latin typeface="Trebuchet MS" panose="020B0603020202020204" pitchFamily="34" charset="0"/>
              </a:rPr>
              <a:t> </a:t>
            </a:r>
            <a:r>
              <a:rPr lang="en-GB" sz="1000">
                <a:solidFill>
                  <a:schemeClr val="tx2"/>
                </a:solidFill>
                <a:latin typeface="Trebuchet MS" panose="020B0603020202020204" pitchFamily="34" charset="0"/>
              </a:rPr>
              <a:t>half</a:t>
            </a:r>
            <a:r>
              <a:rPr lang="en-GB" sz="1000">
                <a:latin typeface="Trebuchet MS" panose="020B0603020202020204" pitchFamily="34" charset="0"/>
              </a:rPr>
              <a:t> of </a:t>
            </a:r>
            <a:r>
              <a:rPr lang="en-GB" sz="1000">
                <a:solidFill>
                  <a:schemeClr val="tx2"/>
                </a:solidFill>
                <a:latin typeface="Trebuchet MS" panose="020B0603020202020204" pitchFamily="34" charset="0"/>
              </a:rPr>
              <a:t>French</a:t>
            </a:r>
            <a:r>
              <a:rPr lang="en-GB" sz="1000">
                <a:latin typeface="Trebuchet MS" panose="020B0603020202020204" pitchFamily="34" charset="0"/>
              </a:rPr>
              <a:t> </a:t>
            </a:r>
            <a:r>
              <a:rPr lang="en-GB" sz="1000">
                <a:solidFill>
                  <a:schemeClr val="tx2"/>
                </a:solidFill>
                <a:latin typeface="Trebuchet MS" panose="020B0603020202020204" pitchFamily="34" charset="0"/>
              </a:rPr>
              <a:t>companies</a:t>
            </a:r>
            <a:r>
              <a:rPr lang="en-GB" sz="1000">
                <a:latin typeface="Trebuchet MS" panose="020B0603020202020204" pitchFamily="34" charset="0"/>
              </a:rPr>
              <a:t> observed a </a:t>
            </a:r>
            <a:r>
              <a:rPr lang="en-GB" sz="1000">
                <a:solidFill>
                  <a:schemeClr val="tx2"/>
                </a:solidFill>
                <a:latin typeface="Trebuchet MS" panose="020B0603020202020204" pitchFamily="34" charset="0"/>
              </a:rPr>
              <a:t>lengthening</a:t>
            </a:r>
            <a:r>
              <a:rPr lang="en-GB" sz="1000">
                <a:latin typeface="Trebuchet MS" panose="020B0603020202020204" pitchFamily="34" charset="0"/>
              </a:rPr>
              <a:t> of </a:t>
            </a:r>
            <a:r>
              <a:rPr lang="en-GB" sz="1000">
                <a:solidFill>
                  <a:schemeClr val="tx2"/>
                </a:solidFill>
                <a:latin typeface="Trebuchet MS" panose="020B0603020202020204" pitchFamily="34" charset="0"/>
              </a:rPr>
              <a:t>payment</a:t>
            </a:r>
            <a:r>
              <a:rPr lang="en-GB" sz="1000">
                <a:latin typeface="Trebuchet MS" panose="020B0603020202020204" pitchFamily="34" charset="0"/>
              </a:rPr>
              <a:t> </a:t>
            </a:r>
            <a:r>
              <a:rPr lang="en-GB" sz="1000">
                <a:solidFill>
                  <a:schemeClr val="tx2"/>
                </a:solidFill>
                <a:latin typeface="Trebuchet MS" panose="020B0603020202020204" pitchFamily="34" charset="0"/>
              </a:rPr>
              <a:t>terms</a:t>
            </a:r>
            <a:r>
              <a:rPr lang="en-GB" sz="1000">
                <a:latin typeface="Trebuchet MS" panose="020B0603020202020204" pitchFamily="34" charset="0"/>
              </a:rPr>
              <a:t> by their customers, in contrast to the trend that has been improving for several years</a:t>
            </a:r>
          </a:p>
        </p:txBody>
      </p:sp>
      <p:sp>
        <p:nvSpPr>
          <p:cNvPr id="226" name="Rectangle 225">
            <a:extLst>
              <a:ext uri="{FF2B5EF4-FFF2-40B4-BE49-F238E27FC236}">
                <a16:creationId xmlns:a16="http://schemas.microsoft.com/office/drawing/2014/main" id="{0A2A3D9D-1DE1-4BC8-8298-C68D7D643816}"/>
              </a:ext>
            </a:extLst>
          </p:cNvPr>
          <p:cNvSpPr/>
          <p:nvPr/>
        </p:nvSpPr>
        <p:spPr bwMode="auto">
          <a:xfrm>
            <a:off x="244906" y="4568748"/>
            <a:ext cx="4577641" cy="645518"/>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a:spcAft>
                <a:spcPts val="0"/>
              </a:spcAft>
              <a:defRPr/>
            </a:pPr>
            <a:r>
              <a:rPr lang="en-GB" sz="1000">
                <a:latin typeface="Trebuchet MS" panose="020B0603020202020204" pitchFamily="34" charset="0"/>
              </a:rPr>
              <a:t>According to Euler Hermes, France will experience a </a:t>
            </a:r>
            <a:r>
              <a:rPr lang="en-GB" sz="1000">
                <a:solidFill>
                  <a:schemeClr val="tx2"/>
                </a:solidFill>
                <a:latin typeface="Trebuchet MS" panose="020B0603020202020204" pitchFamily="34" charset="0"/>
              </a:rPr>
              <a:t>wave</a:t>
            </a:r>
            <a:r>
              <a:rPr lang="en-GB" sz="1000">
                <a:latin typeface="Trebuchet MS" panose="020B0603020202020204" pitchFamily="34" charset="0"/>
              </a:rPr>
              <a:t> of </a:t>
            </a:r>
            <a:r>
              <a:rPr lang="en-GB" sz="1000">
                <a:solidFill>
                  <a:schemeClr val="tx2"/>
                </a:solidFill>
                <a:latin typeface="Trebuchet MS" panose="020B0603020202020204" pitchFamily="34" charset="0"/>
              </a:rPr>
              <a:t>bankruptcies</a:t>
            </a:r>
            <a:r>
              <a:rPr lang="en-GB" sz="1000">
                <a:latin typeface="Trebuchet MS" panose="020B0603020202020204" pitchFamily="34" charset="0"/>
              </a:rPr>
              <a:t> in the fourth quarter of 2020 (+14% </a:t>
            </a:r>
            <a:r>
              <a:rPr lang="en-GB" sz="1000" err="1">
                <a:latin typeface="Trebuchet MS" panose="020B0603020202020204" pitchFamily="34" charset="0"/>
              </a:rPr>
              <a:t>y.o.y</a:t>
            </a:r>
            <a:r>
              <a:rPr lang="en-GB" sz="1000">
                <a:latin typeface="Trebuchet MS" panose="020B0603020202020204" pitchFamily="34" charset="0"/>
              </a:rPr>
              <a:t>) which will continue into the first half of </a:t>
            </a:r>
            <a:r>
              <a:rPr lang="en-GB" sz="1000">
                <a:solidFill>
                  <a:schemeClr val="tx2"/>
                </a:solidFill>
                <a:latin typeface="Trebuchet MS" panose="020B0603020202020204" pitchFamily="34" charset="0"/>
              </a:rPr>
              <a:t>2021</a:t>
            </a:r>
            <a:r>
              <a:rPr lang="en-GB" sz="1000">
                <a:latin typeface="Trebuchet MS" panose="020B0603020202020204" pitchFamily="34" charset="0"/>
              </a:rPr>
              <a:t> with more than </a:t>
            </a:r>
            <a:r>
              <a:rPr lang="en-GB" sz="1000">
                <a:solidFill>
                  <a:schemeClr val="tx2"/>
                </a:solidFill>
                <a:latin typeface="Trebuchet MS" panose="020B0603020202020204" pitchFamily="34" charset="0"/>
              </a:rPr>
              <a:t>64K</a:t>
            </a:r>
            <a:r>
              <a:rPr lang="en-GB" sz="1000">
                <a:latin typeface="Trebuchet MS" panose="020B0603020202020204" pitchFamily="34" charset="0"/>
              </a:rPr>
              <a:t> </a:t>
            </a:r>
            <a:r>
              <a:rPr lang="en-GB" sz="1000">
                <a:solidFill>
                  <a:schemeClr val="tx2"/>
                </a:solidFill>
                <a:latin typeface="Trebuchet MS" panose="020B0603020202020204" pitchFamily="34" charset="0"/>
              </a:rPr>
              <a:t>bankruptcies</a:t>
            </a:r>
            <a:r>
              <a:rPr lang="en-GB" sz="1000">
                <a:latin typeface="Trebuchet MS" panose="020B0603020202020204" pitchFamily="34" charset="0"/>
              </a:rPr>
              <a:t> </a:t>
            </a:r>
            <a:r>
              <a:rPr lang="en-GB" sz="1000">
                <a:solidFill>
                  <a:schemeClr val="tx2"/>
                </a:solidFill>
                <a:latin typeface="Trebuchet MS" panose="020B0603020202020204" pitchFamily="34" charset="0"/>
              </a:rPr>
              <a:t>expected</a:t>
            </a:r>
            <a:r>
              <a:rPr lang="en-GB" sz="1000">
                <a:latin typeface="Trebuchet MS" panose="020B0603020202020204" pitchFamily="34" charset="0"/>
              </a:rPr>
              <a:t> (+25% </a:t>
            </a:r>
            <a:r>
              <a:rPr lang="en-GB" sz="1000" err="1">
                <a:latin typeface="Trebuchet MS" panose="020B0603020202020204" pitchFamily="34" charset="0"/>
              </a:rPr>
              <a:t>y.o.y</a:t>
            </a:r>
            <a:r>
              <a:rPr lang="en-GB" sz="1000">
                <a:latin typeface="Trebuchet MS" panose="020B0603020202020204" pitchFamily="34" charset="0"/>
              </a:rPr>
              <a:t>) due to the end of the government support measures put in place during the lockdown</a:t>
            </a:r>
          </a:p>
        </p:txBody>
      </p:sp>
      <p:sp>
        <p:nvSpPr>
          <p:cNvPr id="64" name="Speech Bubble: Rectangle 63">
            <a:extLst>
              <a:ext uri="{FF2B5EF4-FFF2-40B4-BE49-F238E27FC236}">
                <a16:creationId xmlns:a16="http://schemas.microsoft.com/office/drawing/2014/main" id="{5D64B579-1196-45DA-B2F5-71D407D910B5}"/>
              </a:ext>
            </a:extLst>
          </p:cNvPr>
          <p:cNvSpPr/>
          <p:nvPr/>
        </p:nvSpPr>
        <p:spPr bwMode="auto">
          <a:xfrm>
            <a:off x="2441093" y="3626428"/>
            <a:ext cx="2335275" cy="849198"/>
          </a:xfrm>
          <a:prstGeom prst="wedgeRectCallout">
            <a:avLst>
              <a:gd name="adj1" fmla="val -59561"/>
              <a:gd name="adj2" fmla="val -21012"/>
            </a:avLst>
          </a:prstGeom>
          <a:noFill/>
          <a:ln w="9525" cap="flat" cmpd="sng" algn="ctr">
            <a:solidFill>
              <a:schemeClr val="bg2"/>
            </a:solid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r>
              <a:rPr lang="en-GB" sz="1000">
                <a:latin typeface="Trebuchet MS" panose="020B0603020202020204" pitchFamily="34" charset="0"/>
              </a:rPr>
              <a:t>According to the Banque de France, the existence of </a:t>
            </a:r>
            <a:r>
              <a:rPr lang="en-GB" sz="1000">
                <a:solidFill>
                  <a:schemeClr val="tx2"/>
                </a:solidFill>
                <a:latin typeface="Trebuchet MS" panose="020B0603020202020204" pitchFamily="34" charset="0"/>
              </a:rPr>
              <a:t>late customer payments </a:t>
            </a:r>
            <a:r>
              <a:rPr lang="en-GB" sz="1000">
                <a:latin typeface="Trebuchet MS" panose="020B0603020202020204" pitchFamily="34" charset="0"/>
              </a:rPr>
              <a:t>raises a company’s </a:t>
            </a:r>
            <a:r>
              <a:rPr lang="en-GB" sz="1000">
                <a:solidFill>
                  <a:schemeClr val="tx2"/>
                </a:solidFill>
                <a:latin typeface="Trebuchet MS" panose="020B0603020202020204" pitchFamily="34" charset="0"/>
              </a:rPr>
              <a:t>probability</a:t>
            </a:r>
            <a:r>
              <a:rPr lang="en-GB" sz="1000">
                <a:latin typeface="Trebuchet MS" panose="020B0603020202020204" pitchFamily="34" charset="0"/>
              </a:rPr>
              <a:t> of </a:t>
            </a:r>
            <a:r>
              <a:rPr lang="en-GB" sz="1000">
                <a:solidFill>
                  <a:schemeClr val="tx2"/>
                </a:solidFill>
                <a:latin typeface="Trebuchet MS" panose="020B0603020202020204" pitchFamily="34" charset="0"/>
              </a:rPr>
              <a:t>default</a:t>
            </a:r>
            <a:r>
              <a:rPr lang="en-GB" sz="1000">
                <a:latin typeface="Trebuchet MS" panose="020B0603020202020204" pitchFamily="34" charset="0"/>
              </a:rPr>
              <a:t> by 25%, and by 40% if payments are over one month late</a:t>
            </a:r>
          </a:p>
        </p:txBody>
      </p:sp>
      <p:pic>
        <p:nvPicPr>
          <p:cNvPr id="7" name="Picture 6">
            <a:extLst>
              <a:ext uri="{FF2B5EF4-FFF2-40B4-BE49-F238E27FC236}">
                <a16:creationId xmlns:a16="http://schemas.microsoft.com/office/drawing/2014/main" id="{8C8B5166-87EB-44FE-8F71-BE201D965824}"/>
              </a:ext>
            </a:extLst>
          </p:cNvPr>
          <p:cNvPicPr>
            <a:picLocks noChangeAspect="1"/>
          </p:cNvPicPr>
          <p:nvPr/>
        </p:nvPicPr>
        <p:blipFill>
          <a:blip r:embed="rId8"/>
          <a:stretch>
            <a:fillRect/>
          </a:stretch>
        </p:blipFill>
        <p:spPr>
          <a:xfrm>
            <a:off x="292000" y="1295037"/>
            <a:ext cx="3069024" cy="1992063"/>
          </a:xfrm>
          <a:prstGeom prst="rect">
            <a:avLst/>
          </a:prstGeom>
          <a:ln w="38100">
            <a:solidFill>
              <a:schemeClr val="tx1">
                <a:lumMod val="20000"/>
                <a:lumOff val="80000"/>
              </a:schemeClr>
            </a:solidFill>
          </a:ln>
        </p:spPr>
      </p:pic>
      <p:cxnSp>
        <p:nvCxnSpPr>
          <p:cNvPr id="22" name="Connecteur droit 31">
            <a:extLst>
              <a:ext uri="{FF2B5EF4-FFF2-40B4-BE49-F238E27FC236}">
                <a16:creationId xmlns:a16="http://schemas.microsoft.com/office/drawing/2014/main" id="{74F8A647-6496-4A1B-8623-BD48A79DF378}"/>
              </a:ext>
            </a:extLst>
          </p:cNvPr>
          <p:cNvCxnSpPr>
            <a:cxnSpLocks/>
          </p:cNvCxnSpPr>
          <p:nvPr/>
        </p:nvCxnSpPr>
        <p:spPr bwMode="auto">
          <a:xfrm flipV="1">
            <a:off x="4945541" y="988299"/>
            <a:ext cx="0" cy="4248000"/>
          </a:xfrm>
          <a:prstGeom prst="line">
            <a:avLst/>
          </a:prstGeom>
          <a:solidFill>
            <a:schemeClr val="accent1"/>
          </a:solidFill>
          <a:ln w="9525" cap="flat" cmpd="sng" algn="ctr">
            <a:solidFill>
              <a:schemeClr val="tx2"/>
            </a:solidFill>
            <a:prstDash val="solid"/>
            <a:round/>
            <a:headEnd type="none" w="med" len="med"/>
            <a:tailEnd type="none" w="med" len="med"/>
          </a:ln>
          <a:effectLst/>
        </p:spPr>
      </p:cxnSp>
      <p:pic>
        <p:nvPicPr>
          <p:cNvPr id="26" name="Picture 2" descr="Drapeau France">
            <a:extLst>
              <a:ext uri="{FF2B5EF4-FFF2-40B4-BE49-F238E27FC236}">
                <a16:creationId xmlns:a16="http://schemas.microsoft.com/office/drawing/2014/main" id="{4D9FD45B-1AAB-4A9C-AC8F-7C3E571990AD}"/>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006" b="16757"/>
          <a:stretch/>
        </p:blipFill>
        <p:spPr bwMode="auto">
          <a:xfrm>
            <a:off x="874457" y="892998"/>
            <a:ext cx="238894" cy="144000"/>
          </a:xfrm>
          <a:prstGeom prst="roundRect">
            <a:avLst/>
          </a:prstGeom>
          <a:noFill/>
          <a:extLst>
            <a:ext uri="{909E8E84-426E-40DD-AFC4-6F175D3DCCD1}">
              <a14:hiddenFill xmlns:a14="http://schemas.microsoft.com/office/drawing/2010/main">
                <a:solidFill>
                  <a:srgbClr val="FFFFFF"/>
                </a:solidFill>
              </a14:hiddenFill>
            </a:ext>
          </a:extLst>
        </p:spPr>
      </p:pic>
      <p:cxnSp>
        <p:nvCxnSpPr>
          <p:cNvPr id="97" name="Connecteur droit 4">
            <a:extLst>
              <a:ext uri="{FF2B5EF4-FFF2-40B4-BE49-F238E27FC236}">
                <a16:creationId xmlns:a16="http://schemas.microsoft.com/office/drawing/2014/main" id="{46E551DA-7723-478C-9F9A-DC9304598108}"/>
              </a:ext>
            </a:extLst>
          </p:cNvPr>
          <p:cNvCxnSpPr>
            <a:cxnSpLocks/>
          </p:cNvCxnSpPr>
          <p:nvPr/>
        </p:nvCxnSpPr>
        <p:spPr bwMode="auto">
          <a:xfrm>
            <a:off x="5248947" y="992119"/>
            <a:ext cx="432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98" name="ZoneTexte 6">
            <a:extLst>
              <a:ext uri="{FF2B5EF4-FFF2-40B4-BE49-F238E27FC236}">
                <a16:creationId xmlns:a16="http://schemas.microsoft.com/office/drawing/2014/main" id="{3AE0A174-8538-40F7-9917-A4C158A618A8}"/>
              </a:ext>
            </a:extLst>
          </p:cNvPr>
          <p:cNvSpPr txBox="1"/>
          <p:nvPr/>
        </p:nvSpPr>
        <p:spPr>
          <a:xfrm>
            <a:off x="6150809" y="793052"/>
            <a:ext cx="2933136" cy="251817"/>
          </a:xfrm>
          <a:prstGeom prst="rect">
            <a:avLst/>
          </a:prstGeom>
          <a:solidFill>
            <a:schemeClr val="bg1"/>
          </a:solidFill>
        </p:spPr>
        <p:txBody>
          <a:bodyPr wrap="square" rtlCol="0">
            <a:noAutofit/>
          </a:bodyPr>
          <a:lstStyle/>
          <a:p>
            <a:pPr algn="ctr"/>
            <a:r>
              <a:rPr lang="en-GB" sz="1050">
                <a:latin typeface="Trebuchet MS" panose="020B0603020202020204" pitchFamily="34" charset="0"/>
              </a:rPr>
              <a:t>Prediction of the probability of failures in Belgium and Netherlands, </a:t>
            </a:r>
            <a:r>
              <a:rPr lang="en-GB" sz="1050" err="1">
                <a:latin typeface="Trebuchet MS" panose="020B0603020202020204" pitchFamily="34" charset="0"/>
              </a:rPr>
              <a:t>Altares</a:t>
            </a:r>
            <a:r>
              <a:rPr lang="en-GB" sz="1050">
                <a:latin typeface="Trebuchet MS" panose="020B0603020202020204" pitchFamily="34" charset="0"/>
              </a:rPr>
              <a:t> model</a:t>
            </a:r>
          </a:p>
        </p:txBody>
      </p:sp>
      <p:sp>
        <p:nvSpPr>
          <p:cNvPr id="53" name="Rectangle 52">
            <a:extLst>
              <a:ext uri="{FF2B5EF4-FFF2-40B4-BE49-F238E27FC236}">
                <a16:creationId xmlns:a16="http://schemas.microsoft.com/office/drawing/2014/main" id="{31F189FE-8C1D-4E28-8B08-FDE37C721A8C}"/>
              </a:ext>
            </a:extLst>
          </p:cNvPr>
          <p:cNvSpPr/>
          <p:nvPr/>
        </p:nvSpPr>
        <p:spPr bwMode="auto">
          <a:xfrm>
            <a:off x="5140719" y="3835075"/>
            <a:ext cx="4606100" cy="61849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spcAft>
                <a:spcPts val="300"/>
              </a:spcAft>
              <a:defRPr/>
            </a:pPr>
            <a:r>
              <a:rPr lang="en-GB" sz="1000" i="1" spc="-30">
                <a:solidFill>
                  <a:srgbClr val="6C6C6C"/>
                </a:solidFill>
                <a:latin typeface="Trebuchet MS" panose="020B0603020202020204" pitchFamily="34" charset="0"/>
              </a:rPr>
              <a:t>“Our model indicates a </a:t>
            </a:r>
            <a:r>
              <a:rPr lang="en-GB" sz="1000" i="1" spc="-30">
                <a:solidFill>
                  <a:schemeClr val="tx2"/>
                </a:solidFill>
                <a:latin typeface="Trebuchet MS" panose="020B0603020202020204" pitchFamily="34" charset="0"/>
              </a:rPr>
              <a:t>strong</a:t>
            </a:r>
            <a:r>
              <a:rPr lang="en-GB" sz="1000" i="1" spc="-30">
                <a:solidFill>
                  <a:srgbClr val="6C6C6C"/>
                </a:solidFill>
                <a:latin typeface="Trebuchet MS" panose="020B0603020202020204" pitchFamily="34" charset="0"/>
              </a:rPr>
              <a:t> </a:t>
            </a:r>
            <a:r>
              <a:rPr lang="en-GB" sz="1000" i="1" spc="-30">
                <a:solidFill>
                  <a:schemeClr val="tx2"/>
                </a:solidFill>
                <a:latin typeface="Trebuchet MS" panose="020B0603020202020204" pitchFamily="34" charset="0"/>
              </a:rPr>
              <a:t>increase</a:t>
            </a:r>
            <a:r>
              <a:rPr lang="en-GB" sz="1000" i="1" spc="-30">
                <a:solidFill>
                  <a:srgbClr val="6C6C6C"/>
                </a:solidFill>
                <a:latin typeface="Trebuchet MS" panose="020B0603020202020204" pitchFamily="34" charset="0"/>
              </a:rPr>
              <a:t> in the </a:t>
            </a:r>
            <a:r>
              <a:rPr lang="en-GB" sz="1000" i="1" spc="-30">
                <a:solidFill>
                  <a:schemeClr val="tx2"/>
                </a:solidFill>
                <a:latin typeface="Trebuchet MS" panose="020B0603020202020204" pitchFamily="34" charset="0"/>
              </a:rPr>
              <a:t>number</a:t>
            </a:r>
            <a:r>
              <a:rPr lang="en-GB" sz="1000" i="1" spc="-30">
                <a:solidFill>
                  <a:srgbClr val="6C6C6C"/>
                </a:solidFill>
                <a:latin typeface="Trebuchet MS" panose="020B0603020202020204" pitchFamily="34" charset="0"/>
              </a:rPr>
              <a:t> of </a:t>
            </a:r>
            <a:r>
              <a:rPr lang="en-GB" sz="1000" i="1" spc="-30">
                <a:solidFill>
                  <a:schemeClr val="tx2"/>
                </a:solidFill>
                <a:latin typeface="Trebuchet MS" panose="020B0603020202020204" pitchFamily="34" charset="0"/>
              </a:rPr>
              <a:t>business</a:t>
            </a:r>
            <a:r>
              <a:rPr lang="en-GB" sz="1000" i="1" spc="-30">
                <a:solidFill>
                  <a:srgbClr val="6C6C6C"/>
                </a:solidFill>
                <a:latin typeface="Trebuchet MS" panose="020B0603020202020204" pitchFamily="34" charset="0"/>
              </a:rPr>
              <a:t> </a:t>
            </a:r>
            <a:r>
              <a:rPr lang="en-GB" sz="1000" i="1" spc="-30">
                <a:solidFill>
                  <a:schemeClr val="tx2"/>
                </a:solidFill>
                <a:latin typeface="Trebuchet MS" panose="020B0603020202020204" pitchFamily="34" charset="0"/>
              </a:rPr>
              <a:t>failures</a:t>
            </a:r>
            <a:r>
              <a:rPr lang="en-GB" sz="1000" i="1" spc="-30">
                <a:solidFill>
                  <a:srgbClr val="6C6C6C"/>
                </a:solidFill>
                <a:latin typeface="Trebuchet MS" panose="020B0603020202020204" pitchFamily="34" charset="0"/>
              </a:rPr>
              <a:t> </a:t>
            </a:r>
            <a:r>
              <a:rPr lang="en-GB" sz="1000" i="1" spc="-30">
                <a:solidFill>
                  <a:schemeClr val="tx2"/>
                </a:solidFill>
                <a:latin typeface="Trebuchet MS" panose="020B0603020202020204" pitchFamily="34" charset="0"/>
              </a:rPr>
              <a:t>within</a:t>
            </a:r>
            <a:r>
              <a:rPr lang="en-GB" sz="1000" i="1" spc="-30">
                <a:solidFill>
                  <a:srgbClr val="6C6C6C"/>
                </a:solidFill>
                <a:latin typeface="Trebuchet MS" panose="020B0603020202020204" pitchFamily="34" charset="0"/>
              </a:rPr>
              <a:t> the </a:t>
            </a:r>
            <a:r>
              <a:rPr lang="en-GB" sz="1000" i="1" spc="-30">
                <a:solidFill>
                  <a:schemeClr val="tx2"/>
                </a:solidFill>
                <a:latin typeface="Trebuchet MS" panose="020B0603020202020204" pitchFamily="34" charset="0"/>
              </a:rPr>
              <a:t>coming</a:t>
            </a:r>
            <a:r>
              <a:rPr lang="en-GB" sz="1000" i="1" spc="-30">
                <a:solidFill>
                  <a:srgbClr val="6C6C6C"/>
                </a:solidFill>
                <a:latin typeface="Trebuchet MS" panose="020B0603020202020204" pitchFamily="34" charset="0"/>
              </a:rPr>
              <a:t> </a:t>
            </a:r>
            <a:r>
              <a:rPr lang="en-GB" sz="1000" i="1" spc="-30">
                <a:solidFill>
                  <a:schemeClr val="tx2"/>
                </a:solidFill>
                <a:latin typeface="Trebuchet MS" panose="020B0603020202020204" pitchFamily="34" charset="0"/>
              </a:rPr>
              <a:t>months</a:t>
            </a:r>
            <a:r>
              <a:rPr lang="en-GB" sz="1000" i="1" spc="-30">
                <a:solidFill>
                  <a:srgbClr val="6C6C6C"/>
                </a:solidFill>
                <a:latin typeface="Trebuchet MS" panose="020B0603020202020204" pitchFamily="34" charset="0"/>
              </a:rPr>
              <a:t> (similar to the level observed in 2009 and 2013)”</a:t>
            </a:r>
          </a:p>
          <a:p>
            <a:pPr>
              <a:defRPr/>
            </a:pPr>
            <a:r>
              <a:rPr lang="en-GB" sz="1000" spc="-50">
                <a:solidFill>
                  <a:srgbClr val="6C6C6C"/>
                </a:solidFill>
                <a:latin typeface="Trebuchet MS" panose="020B0603020202020204" pitchFamily="34" charset="0"/>
              </a:rPr>
              <a:t>Forecasting business Failure Risk Report, Belgium &amp; Netherlands - </a:t>
            </a:r>
            <a:r>
              <a:rPr lang="en-GB" sz="1000" spc="-50" err="1">
                <a:solidFill>
                  <a:srgbClr val="6C6C6C"/>
                </a:solidFill>
                <a:latin typeface="Trebuchet MS" panose="020B0603020202020204" pitchFamily="34" charset="0"/>
              </a:rPr>
              <a:t>Altares</a:t>
            </a:r>
            <a:endParaRPr lang="en-GB" sz="1000" spc="-50">
              <a:solidFill>
                <a:srgbClr val="6C6C6C"/>
              </a:solidFill>
              <a:latin typeface="Trebuchet MS" panose="020B0603020202020204" pitchFamily="34" charset="0"/>
            </a:endParaRPr>
          </a:p>
        </p:txBody>
      </p:sp>
      <p:sp>
        <p:nvSpPr>
          <p:cNvPr id="54" name="Freeform 663">
            <a:extLst>
              <a:ext uri="{FF2B5EF4-FFF2-40B4-BE49-F238E27FC236}">
                <a16:creationId xmlns:a16="http://schemas.microsoft.com/office/drawing/2014/main" id="{3BB02AD8-BD54-4886-B24F-DE526087DD0C}"/>
              </a:ext>
            </a:extLst>
          </p:cNvPr>
          <p:cNvSpPr>
            <a:spLocks noEditPoints="1"/>
          </p:cNvSpPr>
          <p:nvPr/>
        </p:nvSpPr>
        <p:spPr bwMode="auto">
          <a:xfrm>
            <a:off x="5014718" y="4014806"/>
            <a:ext cx="228975"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nvGrpSpPr>
          <p:cNvPr id="3" name="Groupe 2">
            <a:extLst>
              <a:ext uri="{FF2B5EF4-FFF2-40B4-BE49-F238E27FC236}">
                <a16:creationId xmlns:a16="http://schemas.microsoft.com/office/drawing/2014/main" id="{C65FB841-6AA0-4841-BAEC-D0F19B1FA08A}"/>
              </a:ext>
            </a:extLst>
          </p:cNvPr>
          <p:cNvGrpSpPr/>
          <p:nvPr/>
        </p:nvGrpSpPr>
        <p:grpSpPr>
          <a:xfrm>
            <a:off x="5455418" y="889193"/>
            <a:ext cx="766889" cy="150155"/>
            <a:chOff x="5519140" y="841847"/>
            <a:chExt cx="766889" cy="150155"/>
          </a:xfrm>
          <a:solidFill>
            <a:schemeClr val="bg1"/>
          </a:solidFill>
        </p:grpSpPr>
        <p:pic>
          <p:nvPicPr>
            <p:cNvPr id="37" name="Picture 2 - 2" descr="Drapeau du Luxembourg">
              <a:extLst>
                <a:ext uri="{FF2B5EF4-FFF2-40B4-BE49-F238E27FC236}">
                  <a16:creationId xmlns:a16="http://schemas.microsoft.com/office/drawing/2014/main" id="{6CA37D62-A5FD-4D43-B55F-D2BC761D8A5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46026" y="848002"/>
              <a:ext cx="240003" cy="144000"/>
            </a:xfrm>
            <a:prstGeom prst="roundRect">
              <a:avLst/>
            </a:prstGeom>
            <a:grpFill/>
            <a:ln w="9525" cap="flat" cmpd="sng" algn="ctr">
              <a:noFill/>
              <a:prstDash val="solid"/>
              <a:round/>
              <a:headEnd type="none" w="med" len="med"/>
              <a:tailEnd type="none" w="med" len="med"/>
            </a:ln>
            <a:effectLst/>
          </p:spPr>
        </p:pic>
        <p:pic>
          <p:nvPicPr>
            <p:cNvPr id="35" name="Picture 2 - 1" descr="Drapeau des Pays-Bas — Wikipédia">
              <a:extLst>
                <a:ext uri="{FF2B5EF4-FFF2-40B4-BE49-F238E27FC236}">
                  <a16:creationId xmlns:a16="http://schemas.microsoft.com/office/drawing/2014/main" id="{536DA53B-4E53-4F68-AA42-333C992C5F6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519140" y="841847"/>
              <a:ext cx="238894" cy="144000"/>
            </a:xfrm>
            <a:prstGeom prst="roundRect">
              <a:avLst/>
            </a:prstGeom>
            <a:grpFill/>
          </p:spPr>
        </p:pic>
        <p:pic>
          <p:nvPicPr>
            <p:cNvPr id="113" name="Picture 2" descr="5 ft x 3 ft 150 x 90 cm-DRAPEAU BELGE Belgique 100% Polyester ...">
              <a:extLst>
                <a:ext uri="{FF2B5EF4-FFF2-40B4-BE49-F238E27FC236}">
                  <a16:creationId xmlns:a16="http://schemas.microsoft.com/office/drawing/2014/main" id="{F7699348-8F34-4A36-9B70-D83A38F26C43}"/>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973"/>
            <a:stretch/>
          </p:blipFill>
          <p:spPr bwMode="auto">
            <a:xfrm>
              <a:off x="5779917" y="844299"/>
              <a:ext cx="238896" cy="144000"/>
            </a:xfrm>
            <a:prstGeom prst="roundRect">
              <a:avLst/>
            </a:prstGeom>
            <a:grpFill/>
          </p:spPr>
        </p:pic>
      </p:grpSp>
      <p:sp>
        <p:nvSpPr>
          <p:cNvPr id="58" name="Rectangle 57">
            <a:extLst>
              <a:ext uri="{FF2B5EF4-FFF2-40B4-BE49-F238E27FC236}">
                <a16:creationId xmlns:a16="http://schemas.microsoft.com/office/drawing/2014/main" id="{1ACA89DB-1BBE-4115-A750-B1774D330D74}"/>
              </a:ext>
            </a:extLst>
          </p:cNvPr>
          <p:cNvSpPr/>
          <p:nvPr/>
        </p:nvSpPr>
        <p:spPr bwMode="auto">
          <a:xfrm>
            <a:off x="5140719" y="4582261"/>
            <a:ext cx="4606100" cy="61849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spcAft>
                <a:spcPts val="300"/>
              </a:spcAft>
              <a:defRPr/>
            </a:pPr>
            <a:r>
              <a:rPr lang="en-GB" sz="1000" i="1" spc="-30">
                <a:solidFill>
                  <a:srgbClr val="6C6C6C"/>
                </a:solidFill>
                <a:latin typeface="Trebuchet MS" panose="020B0603020202020204" pitchFamily="34" charset="0"/>
              </a:rPr>
              <a:t>“There is a </a:t>
            </a:r>
            <a:r>
              <a:rPr lang="en-GB" sz="1000" i="1" spc="-30">
                <a:solidFill>
                  <a:schemeClr val="tx2"/>
                </a:solidFill>
                <a:latin typeface="Trebuchet MS" panose="020B0603020202020204" pitchFamily="34" charset="0"/>
              </a:rPr>
              <a:t>tsunami</a:t>
            </a:r>
            <a:r>
              <a:rPr lang="en-GB" sz="1000" i="1" spc="-30">
                <a:solidFill>
                  <a:srgbClr val="6C6C6C"/>
                </a:solidFill>
                <a:latin typeface="Trebuchet MS" panose="020B0603020202020204" pitchFamily="34" charset="0"/>
              </a:rPr>
              <a:t> of </a:t>
            </a:r>
            <a:r>
              <a:rPr lang="en-GB" sz="1000" i="1" spc="-30">
                <a:solidFill>
                  <a:schemeClr val="tx2"/>
                </a:solidFill>
                <a:latin typeface="Trebuchet MS" panose="020B0603020202020204" pitchFamily="34" charset="0"/>
              </a:rPr>
              <a:t>failures</a:t>
            </a:r>
            <a:r>
              <a:rPr lang="en-GB" sz="1000" i="1" spc="-30">
                <a:solidFill>
                  <a:srgbClr val="6C6C6C"/>
                </a:solidFill>
                <a:latin typeface="Trebuchet MS" panose="020B0603020202020204" pitchFamily="34" charset="0"/>
              </a:rPr>
              <a:t> to </a:t>
            </a:r>
            <a:r>
              <a:rPr lang="en-GB" sz="1000" i="1" spc="-30">
                <a:solidFill>
                  <a:schemeClr val="tx2"/>
                </a:solidFill>
                <a:latin typeface="Trebuchet MS" panose="020B0603020202020204" pitchFamily="34" charset="0"/>
              </a:rPr>
              <a:t>come</a:t>
            </a:r>
            <a:r>
              <a:rPr lang="en-GB" sz="1000" i="1" spc="-30">
                <a:solidFill>
                  <a:srgbClr val="6C6C6C"/>
                </a:solidFill>
                <a:latin typeface="Trebuchet MS" panose="020B0603020202020204" pitchFamily="34" charset="0"/>
              </a:rPr>
              <a:t>. The last quarter of 2020 is going to be dramatic, and it will continue through the first half of 2021”</a:t>
            </a:r>
          </a:p>
          <a:p>
            <a:pPr>
              <a:defRPr/>
            </a:pPr>
            <a:r>
              <a:rPr lang="en-GB" sz="1000" spc="-50">
                <a:solidFill>
                  <a:srgbClr val="6C6C6C"/>
                </a:solidFill>
                <a:latin typeface="Trebuchet MS" panose="020B0603020202020204" pitchFamily="34" charset="0"/>
              </a:rPr>
              <a:t>Former Managing Director at Graydon</a:t>
            </a:r>
          </a:p>
        </p:txBody>
      </p:sp>
      <p:sp>
        <p:nvSpPr>
          <p:cNvPr id="59" name="Freeform 663">
            <a:extLst>
              <a:ext uri="{FF2B5EF4-FFF2-40B4-BE49-F238E27FC236}">
                <a16:creationId xmlns:a16="http://schemas.microsoft.com/office/drawing/2014/main" id="{E70D0D0E-9518-4059-BC6A-EFE00A6DD6C9}"/>
              </a:ext>
            </a:extLst>
          </p:cNvPr>
          <p:cNvSpPr>
            <a:spLocks noEditPoints="1"/>
          </p:cNvSpPr>
          <p:nvPr/>
        </p:nvSpPr>
        <p:spPr bwMode="auto">
          <a:xfrm>
            <a:off x="5014718" y="4765279"/>
            <a:ext cx="228975"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nvGrpSpPr>
          <p:cNvPr id="9" name="Groupe 8">
            <a:extLst>
              <a:ext uri="{FF2B5EF4-FFF2-40B4-BE49-F238E27FC236}">
                <a16:creationId xmlns:a16="http://schemas.microsoft.com/office/drawing/2014/main" id="{416924E9-5D12-460B-B42C-AD56CED8582B}"/>
              </a:ext>
            </a:extLst>
          </p:cNvPr>
          <p:cNvGrpSpPr/>
          <p:nvPr/>
        </p:nvGrpSpPr>
        <p:grpSpPr>
          <a:xfrm>
            <a:off x="4931692" y="1292862"/>
            <a:ext cx="4759352" cy="2386414"/>
            <a:chOff x="4931694" y="1696458"/>
            <a:chExt cx="4754593" cy="3126731"/>
          </a:xfrm>
        </p:grpSpPr>
        <p:sp>
          <p:nvSpPr>
            <p:cNvPr id="44" name="TextBox 43">
              <a:extLst>
                <a:ext uri="{FF2B5EF4-FFF2-40B4-BE49-F238E27FC236}">
                  <a16:creationId xmlns:a16="http://schemas.microsoft.com/office/drawing/2014/main" id="{6C8CA44F-8D60-4C2F-8B2E-8F02C7EE8B48}"/>
                </a:ext>
              </a:extLst>
            </p:cNvPr>
            <p:cNvSpPr txBox="1"/>
            <p:nvPr/>
          </p:nvSpPr>
          <p:spPr>
            <a:xfrm>
              <a:off x="4980181" y="4119751"/>
              <a:ext cx="346647" cy="322604"/>
            </a:xfrm>
            <a:prstGeom prst="rect">
              <a:avLst/>
            </a:prstGeom>
            <a:noFill/>
          </p:spPr>
          <p:txBody>
            <a:bodyPr wrap="square" rtlCol="0">
              <a:spAutoFit/>
            </a:bodyPr>
            <a:lstStyle/>
            <a:p>
              <a:r>
                <a:rPr lang="en-GB" sz="1000">
                  <a:latin typeface="Trebuchet MS" panose="020B0603020202020204" pitchFamily="34" charset="0"/>
                </a:rPr>
                <a:t>0%</a:t>
              </a:r>
            </a:p>
          </p:txBody>
        </p:sp>
        <p:sp>
          <p:nvSpPr>
            <p:cNvPr id="101" name="TextBox 100">
              <a:extLst>
                <a:ext uri="{FF2B5EF4-FFF2-40B4-BE49-F238E27FC236}">
                  <a16:creationId xmlns:a16="http://schemas.microsoft.com/office/drawing/2014/main" id="{7A0F62B3-9FC1-4EF5-AF8E-DDE73EFD24C5}"/>
                </a:ext>
              </a:extLst>
            </p:cNvPr>
            <p:cNvSpPr txBox="1"/>
            <p:nvPr/>
          </p:nvSpPr>
          <p:spPr>
            <a:xfrm>
              <a:off x="4980181" y="1743553"/>
              <a:ext cx="346647" cy="322604"/>
            </a:xfrm>
            <a:prstGeom prst="rect">
              <a:avLst/>
            </a:prstGeom>
            <a:noFill/>
          </p:spPr>
          <p:txBody>
            <a:bodyPr wrap="square" rtlCol="0">
              <a:spAutoFit/>
            </a:bodyPr>
            <a:lstStyle/>
            <a:p>
              <a:r>
                <a:rPr lang="en-GB" sz="1000">
                  <a:latin typeface="Trebuchet MS" panose="020B0603020202020204" pitchFamily="34" charset="0"/>
                </a:rPr>
                <a:t>1%</a:t>
              </a:r>
            </a:p>
          </p:txBody>
        </p:sp>
        <p:sp>
          <p:nvSpPr>
            <p:cNvPr id="102" name="TextBox 101">
              <a:extLst>
                <a:ext uri="{FF2B5EF4-FFF2-40B4-BE49-F238E27FC236}">
                  <a16:creationId xmlns:a16="http://schemas.microsoft.com/office/drawing/2014/main" id="{697E658C-2B26-4F61-B05D-E80BAF3903D9}"/>
                </a:ext>
              </a:extLst>
            </p:cNvPr>
            <p:cNvSpPr txBox="1"/>
            <p:nvPr/>
          </p:nvSpPr>
          <p:spPr>
            <a:xfrm>
              <a:off x="4931694" y="2931652"/>
              <a:ext cx="443620" cy="322604"/>
            </a:xfrm>
            <a:prstGeom prst="rect">
              <a:avLst/>
            </a:prstGeom>
            <a:noFill/>
          </p:spPr>
          <p:txBody>
            <a:bodyPr wrap="square" rtlCol="0">
              <a:spAutoFit/>
            </a:bodyPr>
            <a:lstStyle/>
            <a:p>
              <a:r>
                <a:rPr lang="en-GB" sz="1000">
                  <a:latin typeface="Trebuchet MS" panose="020B0603020202020204" pitchFamily="34" charset="0"/>
                </a:rPr>
                <a:t>0,5%</a:t>
              </a:r>
            </a:p>
          </p:txBody>
        </p:sp>
        <p:graphicFrame>
          <p:nvGraphicFramePr>
            <p:cNvPr id="16" name="Chart 15">
              <a:extLst>
                <a:ext uri="{FF2B5EF4-FFF2-40B4-BE49-F238E27FC236}">
                  <a16:creationId xmlns:a16="http://schemas.microsoft.com/office/drawing/2014/main" id="{CBD83919-A0A7-4903-8401-1C1521312130}"/>
                </a:ext>
              </a:extLst>
            </p:cNvPr>
            <p:cNvGraphicFramePr/>
            <p:nvPr>
              <p:extLst>
                <p:ext uri="{D42A27DB-BD31-4B8C-83A1-F6EECF244321}">
                  <p14:modId xmlns:p14="http://schemas.microsoft.com/office/powerpoint/2010/main" val="3571947236"/>
                </p:ext>
              </p:extLst>
            </p:nvPr>
          </p:nvGraphicFramePr>
          <p:xfrm>
            <a:off x="5129886" y="1743553"/>
            <a:ext cx="4556401" cy="3079636"/>
          </p:xfrm>
          <a:graphic>
            <a:graphicData uri="http://schemas.openxmlformats.org/drawingml/2006/chart">
              <c:chart xmlns:c="http://schemas.openxmlformats.org/drawingml/2006/chart" xmlns:r="http://schemas.openxmlformats.org/officeDocument/2006/relationships" r:id="rId13"/>
            </a:graphicData>
          </a:graphic>
        </p:graphicFrame>
        <p:cxnSp>
          <p:nvCxnSpPr>
            <p:cNvPr id="61" name="Straight Arrow Connector 60">
              <a:extLst>
                <a:ext uri="{FF2B5EF4-FFF2-40B4-BE49-F238E27FC236}">
                  <a16:creationId xmlns:a16="http://schemas.microsoft.com/office/drawing/2014/main" id="{92854DCE-492F-4AF3-96CD-CA51934B2300}"/>
                </a:ext>
              </a:extLst>
            </p:cNvPr>
            <p:cNvCxnSpPr>
              <a:cxnSpLocks/>
            </p:cNvCxnSpPr>
            <p:nvPr/>
          </p:nvCxnSpPr>
          <p:spPr bwMode="auto">
            <a:xfrm flipV="1">
              <a:off x="5276756" y="1696458"/>
              <a:ext cx="0" cy="255600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62" name="Straight Arrow Connector 61">
              <a:extLst>
                <a:ext uri="{FF2B5EF4-FFF2-40B4-BE49-F238E27FC236}">
                  <a16:creationId xmlns:a16="http://schemas.microsoft.com/office/drawing/2014/main" id="{88ABD689-D7CC-4FFC-875B-05968092AC83}"/>
                </a:ext>
              </a:extLst>
            </p:cNvPr>
            <p:cNvCxnSpPr>
              <a:cxnSpLocks/>
            </p:cNvCxnSpPr>
            <p:nvPr/>
          </p:nvCxnSpPr>
          <p:spPr bwMode="auto">
            <a:xfrm flipV="1">
              <a:off x="5276756" y="4252143"/>
              <a:ext cx="4392000" cy="315"/>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63" name="TextBox 62">
              <a:extLst>
                <a:ext uri="{FF2B5EF4-FFF2-40B4-BE49-F238E27FC236}">
                  <a16:creationId xmlns:a16="http://schemas.microsoft.com/office/drawing/2014/main" id="{29C2344C-8B2D-4783-9C51-6279B1DE7038}"/>
                </a:ext>
              </a:extLst>
            </p:cNvPr>
            <p:cNvSpPr txBox="1"/>
            <p:nvPr/>
          </p:nvSpPr>
          <p:spPr>
            <a:xfrm>
              <a:off x="5268682" y="4282331"/>
              <a:ext cx="517713" cy="524233"/>
            </a:xfrm>
            <a:prstGeom prst="rect">
              <a:avLst/>
            </a:prstGeom>
            <a:noFill/>
          </p:spPr>
          <p:txBody>
            <a:bodyPr wrap="square" rtlCol="0">
              <a:spAutoFit/>
            </a:bodyPr>
            <a:lstStyle/>
            <a:p>
              <a:r>
                <a:rPr lang="en-GB" sz="1000">
                  <a:latin typeface="Trebuchet MS" panose="020B0603020202020204" pitchFamily="34" charset="0"/>
                </a:rPr>
                <a:t>Q1 2018</a:t>
              </a:r>
            </a:p>
          </p:txBody>
        </p:sp>
        <p:sp>
          <p:nvSpPr>
            <p:cNvPr id="65" name="TextBox 64">
              <a:extLst>
                <a:ext uri="{FF2B5EF4-FFF2-40B4-BE49-F238E27FC236}">
                  <a16:creationId xmlns:a16="http://schemas.microsoft.com/office/drawing/2014/main" id="{E784DF17-B14A-4815-922B-094F2BA7DFA0}"/>
                </a:ext>
              </a:extLst>
            </p:cNvPr>
            <p:cNvSpPr txBox="1"/>
            <p:nvPr/>
          </p:nvSpPr>
          <p:spPr>
            <a:xfrm>
              <a:off x="9207544" y="4282331"/>
              <a:ext cx="470648" cy="524233"/>
            </a:xfrm>
            <a:prstGeom prst="rect">
              <a:avLst/>
            </a:prstGeom>
            <a:noFill/>
          </p:spPr>
          <p:txBody>
            <a:bodyPr wrap="square" rtlCol="0">
              <a:spAutoFit/>
            </a:bodyPr>
            <a:lstStyle/>
            <a:p>
              <a:r>
                <a:rPr lang="en-GB" sz="1000">
                  <a:latin typeface="Trebuchet MS" panose="020B0603020202020204" pitchFamily="34" charset="0"/>
                </a:rPr>
                <a:t>Q4 2020</a:t>
              </a:r>
            </a:p>
          </p:txBody>
        </p:sp>
        <p:cxnSp>
          <p:nvCxnSpPr>
            <p:cNvPr id="66" name="Connecteur droit 31">
              <a:extLst>
                <a:ext uri="{FF2B5EF4-FFF2-40B4-BE49-F238E27FC236}">
                  <a16:creationId xmlns:a16="http://schemas.microsoft.com/office/drawing/2014/main" id="{A9A24390-7D28-4007-94D5-183E2561691D}"/>
                </a:ext>
              </a:extLst>
            </p:cNvPr>
            <p:cNvCxnSpPr>
              <a:cxnSpLocks/>
            </p:cNvCxnSpPr>
            <p:nvPr/>
          </p:nvCxnSpPr>
          <p:spPr bwMode="auto">
            <a:xfrm flipV="1">
              <a:off x="8541040" y="2170546"/>
              <a:ext cx="0" cy="2082175"/>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67" name="Speech Bubble: Rectangle 66">
              <a:extLst>
                <a:ext uri="{FF2B5EF4-FFF2-40B4-BE49-F238E27FC236}">
                  <a16:creationId xmlns:a16="http://schemas.microsoft.com/office/drawing/2014/main" id="{FD86D2DE-B9FF-4D00-B753-D02CA232E8E7}"/>
                </a:ext>
              </a:extLst>
            </p:cNvPr>
            <p:cNvSpPr/>
            <p:nvPr/>
          </p:nvSpPr>
          <p:spPr bwMode="auto">
            <a:xfrm>
              <a:off x="5528967" y="1989773"/>
              <a:ext cx="2129162" cy="632331"/>
            </a:xfrm>
            <a:prstGeom prst="wedgeRectCallout">
              <a:avLst>
                <a:gd name="adj1" fmla="val 38283"/>
                <a:gd name="adj2" fmla="val 69958"/>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tx1"/>
                  </a:solidFill>
                  <a:effectLst/>
                  <a:latin typeface="Trebuchet MS" panose="020B0603020202020204" pitchFamily="34" charset="0"/>
                </a:rPr>
                <a:t>The green lines represent the estimation from the model used by Altares to measure business failures</a:t>
              </a:r>
            </a:p>
          </p:txBody>
        </p:sp>
        <p:sp>
          <p:nvSpPr>
            <p:cNvPr id="68" name="TextBox 67">
              <a:extLst>
                <a:ext uri="{FF2B5EF4-FFF2-40B4-BE49-F238E27FC236}">
                  <a16:creationId xmlns:a16="http://schemas.microsoft.com/office/drawing/2014/main" id="{C3B31DFF-15D4-4DA1-9D84-3240AC7DAA6D}"/>
                </a:ext>
              </a:extLst>
            </p:cNvPr>
            <p:cNvSpPr txBox="1"/>
            <p:nvPr/>
          </p:nvSpPr>
          <p:spPr>
            <a:xfrm>
              <a:off x="7904507" y="2797794"/>
              <a:ext cx="1175284" cy="524233"/>
            </a:xfrm>
            <a:prstGeom prst="rect">
              <a:avLst/>
            </a:prstGeom>
            <a:solidFill>
              <a:schemeClr val="bg1"/>
            </a:solidFill>
          </p:spPr>
          <p:txBody>
            <a:bodyPr wrap="square" rtlCol="0">
              <a:spAutoFit/>
            </a:bodyPr>
            <a:lstStyle/>
            <a:p>
              <a:pPr algn="ctr"/>
              <a:r>
                <a:rPr lang="en-GB" sz="1000" i="1">
                  <a:latin typeface="Trebuchet MS" panose="020B0603020202020204" pitchFamily="34" charset="0"/>
                </a:rPr>
                <a:t>Beginning of Covid-19 crisis</a:t>
              </a:r>
            </a:p>
          </p:txBody>
        </p:sp>
      </p:grpSp>
      <p:sp>
        <p:nvSpPr>
          <p:cNvPr id="225" name="ZoneTexte 6">
            <a:extLst>
              <a:ext uri="{FF2B5EF4-FFF2-40B4-BE49-F238E27FC236}">
                <a16:creationId xmlns:a16="http://schemas.microsoft.com/office/drawing/2014/main" id="{6B3C08CE-9240-49AE-AB79-1E77ADFD02DF}"/>
              </a:ext>
            </a:extLst>
          </p:cNvPr>
          <p:cNvSpPr txBox="1"/>
          <p:nvPr/>
        </p:nvSpPr>
        <p:spPr>
          <a:xfrm>
            <a:off x="1148419" y="3327086"/>
            <a:ext cx="2981719" cy="251817"/>
          </a:xfrm>
          <a:prstGeom prst="rect">
            <a:avLst/>
          </a:prstGeom>
          <a:solidFill>
            <a:schemeClr val="bg1"/>
          </a:solidFill>
          <a:ln>
            <a:noFill/>
          </a:ln>
        </p:spPr>
        <p:txBody>
          <a:bodyPr wrap="square" rtlCol="0">
            <a:noAutofit/>
          </a:bodyPr>
          <a:lstStyle/>
          <a:p>
            <a:pPr algn="ctr"/>
            <a:r>
              <a:rPr lang="en-GB" sz="1000">
                <a:latin typeface="Trebuchet MS" panose="020B0603020202020204" pitchFamily="34" charset="0"/>
              </a:rPr>
              <a:t>Forecast of increase of bankruptcies in France</a:t>
            </a:r>
          </a:p>
        </p:txBody>
      </p:sp>
      <p:sp>
        <p:nvSpPr>
          <p:cNvPr id="15" name="Rectangle 14">
            <a:extLst>
              <a:ext uri="{FF2B5EF4-FFF2-40B4-BE49-F238E27FC236}">
                <a16:creationId xmlns:a16="http://schemas.microsoft.com/office/drawing/2014/main" id="{52D0ADFD-3CE2-45CC-A79F-AD4DC7371102}"/>
              </a:ext>
            </a:extLst>
          </p:cNvPr>
          <p:cNvSpPr/>
          <p:nvPr/>
        </p:nvSpPr>
        <p:spPr bwMode="auto">
          <a:xfrm>
            <a:off x="259870" y="5325274"/>
            <a:ext cx="9486948" cy="1163033"/>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9" name="Groupe 18">
            <a:extLst>
              <a:ext uri="{FF2B5EF4-FFF2-40B4-BE49-F238E27FC236}">
                <a16:creationId xmlns:a16="http://schemas.microsoft.com/office/drawing/2014/main" id="{95282A5C-3CB7-4B91-B096-BC8A361088EF}"/>
              </a:ext>
            </a:extLst>
          </p:cNvPr>
          <p:cNvGrpSpPr/>
          <p:nvPr/>
        </p:nvGrpSpPr>
        <p:grpSpPr>
          <a:xfrm>
            <a:off x="214952" y="3528607"/>
            <a:ext cx="1933629" cy="875193"/>
            <a:chOff x="476516" y="3574737"/>
            <a:chExt cx="1933629" cy="875193"/>
          </a:xfrm>
        </p:grpSpPr>
        <p:grpSp>
          <p:nvGrpSpPr>
            <p:cNvPr id="18" name="Groupe 17">
              <a:extLst>
                <a:ext uri="{FF2B5EF4-FFF2-40B4-BE49-F238E27FC236}">
                  <a16:creationId xmlns:a16="http://schemas.microsoft.com/office/drawing/2014/main" id="{27841D59-1836-4EC3-B678-E5AEEB09725F}"/>
                </a:ext>
              </a:extLst>
            </p:cNvPr>
            <p:cNvGrpSpPr/>
            <p:nvPr/>
          </p:nvGrpSpPr>
          <p:grpSpPr>
            <a:xfrm>
              <a:off x="542915" y="3767884"/>
              <a:ext cx="1822354" cy="682046"/>
              <a:chOff x="351604" y="3728735"/>
              <a:chExt cx="2425551" cy="907804"/>
            </a:xfrm>
          </p:grpSpPr>
          <p:sp>
            <p:nvSpPr>
              <p:cNvPr id="235" name="Ellipse 39">
                <a:extLst>
                  <a:ext uri="{FF2B5EF4-FFF2-40B4-BE49-F238E27FC236}">
                    <a16:creationId xmlns:a16="http://schemas.microsoft.com/office/drawing/2014/main" id="{E51FBDC5-D1C8-4FAE-A980-57BF34E11854}"/>
                  </a:ext>
                </a:extLst>
              </p:cNvPr>
              <p:cNvSpPr/>
              <p:nvPr/>
            </p:nvSpPr>
            <p:spPr bwMode="auto">
              <a:xfrm>
                <a:off x="351604" y="4055733"/>
                <a:ext cx="560248" cy="580806"/>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a:solidFill>
                      <a:schemeClr val="bg1"/>
                    </a:solidFill>
                    <a:latin typeface="Trebuchet MS" panose="020B0603020202020204" pitchFamily="34" charset="0"/>
                  </a:rPr>
                  <a:t>5</a:t>
                </a:r>
                <a:r>
                  <a:rPr kumimoji="0" lang="en-GB" sz="1000" b="0" i="0" u="none" strike="noStrike" cap="none" normalizeH="0" baseline="0">
                    <a:ln>
                      <a:noFill/>
                    </a:ln>
                    <a:solidFill>
                      <a:schemeClr val="bg1"/>
                    </a:solidFill>
                    <a:effectLst/>
                    <a:latin typeface="Trebuchet MS" panose="020B0603020202020204" pitchFamily="34" charset="0"/>
                  </a:rPr>
                  <a:t>1K</a:t>
                </a:r>
              </a:p>
            </p:txBody>
          </p:sp>
          <p:sp>
            <p:nvSpPr>
              <p:cNvPr id="236" name="Ellipse 188">
                <a:extLst>
                  <a:ext uri="{FF2B5EF4-FFF2-40B4-BE49-F238E27FC236}">
                    <a16:creationId xmlns:a16="http://schemas.microsoft.com/office/drawing/2014/main" id="{21E61ED8-647B-4DB4-AD62-B137DA63F519}"/>
                  </a:ext>
                </a:extLst>
              </p:cNvPr>
              <p:cNvSpPr/>
              <p:nvPr/>
            </p:nvSpPr>
            <p:spPr bwMode="auto">
              <a:xfrm>
                <a:off x="2099255" y="3728735"/>
                <a:ext cx="677900" cy="702776"/>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bg1"/>
                    </a:solidFill>
                    <a:effectLst/>
                    <a:latin typeface="Trebuchet MS" panose="020B0603020202020204" pitchFamily="34" charset="0"/>
                  </a:rPr>
                  <a:t>64K</a:t>
                </a:r>
              </a:p>
            </p:txBody>
          </p:sp>
          <p:cxnSp>
            <p:nvCxnSpPr>
              <p:cNvPr id="241" name="Straight Connector 240">
                <a:extLst>
                  <a:ext uri="{FF2B5EF4-FFF2-40B4-BE49-F238E27FC236}">
                    <a16:creationId xmlns:a16="http://schemas.microsoft.com/office/drawing/2014/main" id="{15BB61E2-6BDA-44BD-B898-A670968BBD56}"/>
                  </a:ext>
                </a:extLst>
              </p:cNvPr>
              <p:cNvCxnSpPr>
                <a:cxnSpLocks/>
              </p:cNvCxnSpPr>
              <p:nvPr>
                <p:custDataLst>
                  <p:tags r:id="rId3"/>
                </p:custDataLst>
              </p:nvPr>
            </p:nvCxnSpPr>
            <p:spPr bwMode="auto">
              <a:xfrm flipV="1">
                <a:off x="1019777" y="4161947"/>
                <a:ext cx="917089" cy="130718"/>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243" name="Rectangle 242">
                <a:extLst>
                  <a:ext uri="{FF2B5EF4-FFF2-40B4-BE49-F238E27FC236}">
                    <a16:creationId xmlns:a16="http://schemas.microsoft.com/office/drawing/2014/main" id="{D430EBE3-1C72-4DFE-9157-5C441600C890}"/>
                  </a:ext>
                </a:extLst>
              </p:cNvPr>
              <p:cNvSpPr/>
              <p:nvPr/>
            </p:nvSpPr>
            <p:spPr bwMode="auto">
              <a:xfrm>
                <a:off x="1265590" y="3947116"/>
                <a:ext cx="573885" cy="162262"/>
              </a:xfrm>
              <a:prstGeom prst="rect">
                <a:avLst/>
              </a:prstGeom>
              <a:solidFill>
                <a:schemeClr val="tx1"/>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solidFill>
                      <a:schemeClr val="bg1"/>
                    </a:solidFill>
                    <a:latin typeface="Trebuchet MS" panose="020B0603020202020204" pitchFamily="34" charset="0"/>
                  </a:rPr>
                  <a:t>+25</a:t>
                </a:r>
                <a:r>
                  <a:rPr kumimoji="0" lang="en-GB" sz="900" b="0" i="0" u="none" strike="noStrike" cap="none" normalizeH="0" baseline="0">
                    <a:ln>
                      <a:noFill/>
                    </a:ln>
                    <a:solidFill>
                      <a:schemeClr val="bg1"/>
                    </a:solidFill>
                    <a:effectLst/>
                    <a:latin typeface="Trebuchet MS" panose="020B0603020202020204" pitchFamily="34" charset="0"/>
                  </a:rPr>
                  <a:t>%</a:t>
                </a:r>
              </a:p>
            </p:txBody>
          </p:sp>
        </p:grpSp>
        <p:sp>
          <p:nvSpPr>
            <p:cNvPr id="71" name="ZoneTexte 6">
              <a:extLst>
                <a:ext uri="{FF2B5EF4-FFF2-40B4-BE49-F238E27FC236}">
                  <a16:creationId xmlns:a16="http://schemas.microsoft.com/office/drawing/2014/main" id="{EC1A2BCF-40DC-446D-9D67-0F3A00B0192E}"/>
                </a:ext>
              </a:extLst>
            </p:cNvPr>
            <p:cNvSpPr txBox="1"/>
            <p:nvPr/>
          </p:nvSpPr>
          <p:spPr>
            <a:xfrm>
              <a:off x="476516" y="3806769"/>
              <a:ext cx="568407" cy="251817"/>
            </a:xfrm>
            <a:prstGeom prst="rect">
              <a:avLst/>
            </a:prstGeom>
            <a:noFill/>
            <a:ln>
              <a:noFill/>
            </a:ln>
          </p:spPr>
          <p:txBody>
            <a:bodyPr wrap="square" rtlCol="0">
              <a:noAutofit/>
            </a:bodyPr>
            <a:lstStyle/>
            <a:p>
              <a:pPr algn="ctr"/>
              <a:r>
                <a:rPr lang="en-GB" sz="1000">
                  <a:latin typeface="Trebuchet MS" panose="020B0603020202020204" pitchFamily="34" charset="0"/>
                </a:rPr>
                <a:t>2020</a:t>
              </a:r>
            </a:p>
          </p:txBody>
        </p:sp>
        <p:sp>
          <p:nvSpPr>
            <p:cNvPr id="73" name="ZoneTexte 6">
              <a:extLst>
                <a:ext uri="{FF2B5EF4-FFF2-40B4-BE49-F238E27FC236}">
                  <a16:creationId xmlns:a16="http://schemas.microsoft.com/office/drawing/2014/main" id="{D88711E3-D57A-4198-A090-CF0F3E8703F2}"/>
                </a:ext>
              </a:extLst>
            </p:cNvPr>
            <p:cNvSpPr txBox="1"/>
            <p:nvPr/>
          </p:nvSpPr>
          <p:spPr>
            <a:xfrm>
              <a:off x="1841738" y="3574737"/>
              <a:ext cx="568407" cy="251817"/>
            </a:xfrm>
            <a:prstGeom prst="rect">
              <a:avLst/>
            </a:prstGeom>
            <a:noFill/>
            <a:ln>
              <a:noFill/>
            </a:ln>
          </p:spPr>
          <p:txBody>
            <a:bodyPr wrap="square" rtlCol="0">
              <a:noAutofit/>
            </a:bodyPr>
            <a:lstStyle/>
            <a:p>
              <a:pPr algn="ctr"/>
              <a:r>
                <a:rPr lang="en-GB" sz="1000">
                  <a:latin typeface="Trebuchet MS" panose="020B0603020202020204" pitchFamily="34" charset="0"/>
                </a:rPr>
                <a:t>2021</a:t>
              </a:r>
            </a:p>
          </p:txBody>
        </p:sp>
      </p:grpSp>
      <p:sp>
        <p:nvSpPr>
          <p:cNvPr id="76" name="Rectangle 75">
            <a:extLst>
              <a:ext uri="{FF2B5EF4-FFF2-40B4-BE49-F238E27FC236}">
                <a16:creationId xmlns:a16="http://schemas.microsoft.com/office/drawing/2014/main" id="{B67E772B-58FC-4795-88B9-798C5FB0E9BE}"/>
              </a:ext>
            </a:extLst>
          </p:cNvPr>
          <p:cNvSpPr/>
          <p:nvPr/>
        </p:nvSpPr>
        <p:spPr bwMode="auto">
          <a:xfrm>
            <a:off x="7414686" y="5366790"/>
            <a:ext cx="2304000" cy="10800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a:spcAft>
                <a:spcPts val="300"/>
              </a:spcAft>
              <a:defRPr/>
            </a:pPr>
            <a:r>
              <a:rPr lang="en-GB" sz="1000" i="1" spc="-30">
                <a:solidFill>
                  <a:srgbClr val="6C6C6C"/>
                </a:solidFill>
                <a:latin typeface="Trebuchet MS" panose="020B0603020202020204" pitchFamily="34" charset="0"/>
              </a:rPr>
              <a:t>“With the Covid-19, the </a:t>
            </a:r>
            <a:r>
              <a:rPr lang="en-GB" sz="1000" i="1" spc="-30">
                <a:solidFill>
                  <a:schemeClr val="tx2"/>
                </a:solidFill>
                <a:latin typeface="Trebuchet MS" panose="020B0603020202020204" pitchFamily="34" charset="0"/>
              </a:rPr>
              <a:t>price pressure </a:t>
            </a:r>
            <a:r>
              <a:rPr lang="en-GB" sz="1000" i="1" spc="-30">
                <a:solidFill>
                  <a:srgbClr val="6C6C6C"/>
                </a:solidFill>
                <a:latin typeface="Trebuchet MS" panose="020B0603020202020204" pitchFamily="34" charset="0"/>
              </a:rPr>
              <a:t>is very strong as some competitors are trying to "buy" market shares with low prices, but our </a:t>
            </a:r>
            <a:r>
              <a:rPr lang="en-GB" sz="1000" i="1" spc="-30">
                <a:latin typeface="Trebuchet MS" panose="020B0603020202020204" pitchFamily="34" charset="0"/>
              </a:rPr>
              <a:t>data quality </a:t>
            </a:r>
            <a:r>
              <a:rPr lang="en-GB" sz="1000" i="1" spc="-30">
                <a:solidFill>
                  <a:srgbClr val="6C6C6C"/>
                </a:solidFill>
                <a:latin typeface="Trebuchet MS" panose="020B0603020202020204" pitchFamily="34" charset="0"/>
              </a:rPr>
              <a:t>will allow us to keep market shares as </a:t>
            </a:r>
            <a:r>
              <a:rPr lang="en-GB" sz="1000" i="1" spc="-30">
                <a:solidFill>
                  <a:schemeClr val="tx2"/>
                </a:solidFill>
                <a:latin typeface="Trebuchet MS" panose="020B0603020202020204" pitchFamily="34" charset="0"/>
              </a:rPr>
              <a:t>quality is key in times of crisis</a:t>
            </a:r>
            <a:r>
              <a:rPr lang="en-GB" sz="1000" i="1" spc="-30">
                <a:solidFill>
                  <a:srgbClr val="6C6C6C"/>
                </a:solidFill>
                <a:latin typeface="Trebuchet MS" panose="020B0603020202020204" pitchFamily="34" charset="0"/>
              </a:rPr>
              <a:t>”</a:t>
            </a:r>
          </a:p>
          <a:p>
            <a:pPr>
              <a:defRPr/>
            </a:pPr>
            <a:r>
              <a:rPr lang="en-GB" sz="1000" spc="-50">
                <a:solidFill>
                  <a:srgbClr val="6C6C6C"/>
                </a:solidFill>
                <a:latin typeface="Trebuchet MS" panose="020B0603020202020204" pitchFamily="34" charset="0"/>
              </a:rPr>
              <a:t>Sales Director at Altares</a:t>
            </a:r>
          </a:p>
        </p:txBody>
      </p:sp>
      <p:sp>
        <p:nvSpPr>
          <p:cNvPr id="78" name="Freeform 663">
            <a:extLst>
              <a:ext uri="{FF2B5EF4-FFF2-40B4-BE49-F238E27FC236}">
                <a16:creationId xmlns:a16="http://schemas.microsoft.com/office/drawing/2014/main" id="{A390E121-A78A-4DBD-AB41-5F43E9DA34CF}"/>
              </a:ext>
            </a:extLst>
          </p:cNvPr>
          <p:cNvSpPr>
            <a:spLocks noEditPoints="1"/>
          </p:cNvSpPr>
          <p:nvPr/>
        </p:nvSpPr>
        <p:spPr bwMode="auto">
          <a:xfrm>
            <a:off x="7300198" y="5780790"/>
            <a:ext cx="228975"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2" name="Rectangle 1">
            <a:extLst>
              <a:ext uri="{FF2B5EF4-FFF2-40B4-BE49-F238E27FC236}">
                <a16:creationId xmlns:a16="http://schemas.microsoft.com/office/drawing/2014/main" id="{69E79F8A-DE59-427B-AFC0-4710EC22E146}"/>
              </a:ext>
            </a:extLst>
          </p:cNvPr>
          <p:cNvSpPr/>
          <p:nvPr/>
        </p:nvSpPr>
        <p:spPr bwMode="auto">
          <a:xfrm>
            <a:off x="304949" y="5366790"/>
            <a:ext cx="4572000" cy="1080000"/>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GB" sz="1000">
                <a:latin typeface="Trebuchet MS" panose="020B0603020202020204" pitchFamily="34" charset="0"/>
              </a:rPr>
              <a:t>The Covid-19 crisis is creating a </a:t>
            </a:r>
            <a:r>
              <a:rPr lang="en-GB" sz="1000">
                <a:solidFill>
                  <a:schemeClr val="tx2"/>
                </a:solidFill>
                <a:latin typeface="Trebuchet MS" panose="020B0603020202020204" pitchFamily="34" charset="0"/>
              </a:rPr>
              <a:t>scissor effect </a:t>
            </a:r>
            <a:r>
              <a:rPr lang="en-GB" sz="1000">
                <a:latin typeface="Trebuchet MS" panose="020B0603020202020204" pitchFamily="34" charset="0"/>
              </a:rPr>
              <a:t>which should create a </a:t>
            </a:r>
            <a:r>
              <a:rPr lang="en-GB" sz="1000">
                <a:solidFill>
                  <a:schemeClr val="tx2"/>
                </a:solidFill>
                <a:latin typeface="Trebuchet MS" panose="020B0603020202020204" pitchFamily="34" charset="0"/>
              </a:rPr>
              <a:t>positive impact </a:t>
            </a:r>
            <a:r>
              <a:rPr lang="en-GB" sz="1000">
                <a:latin typeface="Trebuchet MS" panose="020B0603020202020204" pitchFamily="34" charset="0"/>
              </a:rPr>
              <a:t>on the Credit &amp; financial risk market both in France and in Benelux: </a:t>
            </a:r>
          </a:p>
          <a:p>
            <a:pPr marL="171450" indent="-171450">
              <a:buFontTx/>
              <a:buChar char="-"/>
            </a:pPr>
            <a:r>
              <a:rPr lang="en-GB" sz="1000">
                <a:latin typeface="Trebuchet MS" panose="020B0603020202020204" pitchFamily="34" charset="0"/>
              </a:rPr>
              <a:t>Increase in Credit risk need as companies are becoming more risk-sensitive and credit insurance potentially less efficient</a:t>
            </a:r>
          </a:p>
          <a:p>
            <a:pPr marL="171450" indent="-171450">
              <a:buFontTx/>
              <a:buChar char="-"/>
            </a:pPr>
            <a:r>
              <a:rPr lang="en-GB" sz="1000">
                <a:latin typeface="Trebuchet MS" panose="020B0603020202020204" pitchFamily="34" charset="0"/>
              </a:rPr>
              <a:t>Increase in price pressure due to higher financial stress</a:t>
            </a:r>
          </a:p>
          <a:p>
            <a:r>
              <a:rPr kumimoji="0" lang="en-GB" sz="1000" b="0"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sym typeface="Wingdings" panose="05000000000000000000" pitchFamily="2" charset="2"/>
              </a:rPr>
              <a:t> </a:t>
            </a:r>
            <a:r>
              <a:rPr kumimoji="0" lang="en-GB" sz="1000" b="0"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Premium players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will benefit from a </a:t>
            </a:r>
            <a:r>
              <a:rPr kumimoji="0" lang="en-GB" sz="1000" b="0"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windfall effect”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s </a:t>
            </a:r>
            <a:r>
              <a:rPr lang="en-GB" sz="1000">
                <a:solidFill>
                  <a:srgbClr val="6C6C6C"/>
                </a:solidFill>
                <a:latin typeface="Trebuchet MS" panose="020B0603020202020204" pitchFamily="34" charset="0"/>
              </a:rPr>
              <a:t>they offer the only </a:t>
            </a:r>
            <a:r>
              <a:rPr lang="en-GB" sz="1000">
                <a:solidFill>
                  <a:schemeClr val="tx2"/>
                </a:solidFill>
                <a:latin typeface="Trebuchet MS" panose="020B0603020202020204" pitchFamily="34" charset="0"/>
              </a:rPr>
              <a:t>reliable</a:t>
            </a:r>
            <a:r>
              <a:rPr lang="en-GB" sz="1000">
                <a:solidFill>
                  <a:srgbClr val="6C6C6C"/>
                </a:solidFill>
                <a:latin typeface="Trebuchet MS" panose="020B0603020202020204" pitchFamily="34" charset="0"/>
              </a:rPr>
              <a:t> risk management tool in times of crisis</a:t>
            </a:r>
            <a:endParaRPr lang="en-GB" sz="1000">
              <a:latin typeface="Trebuchet MS" panose="020B0603020202020204" pitchFamily="34" charset="0"/>
            </a:endParaRPr>
          </a:p>
        </p:txBody>
      </p:sp>
      <p:grpSp>
        <p:nvGrpSpPr>
          <p:cNvPr id="72" name="Groupe 71">
            <a:extLst>
              <a:ext uri="{FF2B5EF4-FFF2-40B4-BE49-F238E27FC236}">
                <a16:creationId xmlns:a16="http://schemas.microsoft.com/office/drawing/2014/main" id="{66FD1887-CE1C-484C-ADEF-86169DAA66D4}"/>
              </a:ext>
            </a:extLst>
          </p:cNvPr>
          <p:cNvGrpSpPr/>
          <p:nvPr/>
        </p:nvGrpSpPr>
        <p:grpSpPr>
          <a:xfrm>
            <a:off x="8448150" y="-11528"/>
            <a:ext cx="1435548" cy="588143"/>
            <a:chOff x="8448150" y="-11528"/>
            <a:chExt cx="1435548" cy="588143"/>
          </a:xfrm>
        </p:grpSpPr>
        <p:grpSp>
          <p:nvGrpSpPr>
            <p:cNvPr id="74" name="Groupe 73">
              <a:extLst>
                <a:ext uri="{FF2B5EF4-FFF2-40B4-BE49-F238E27FC236}">
                  <a16:creationId xmlns:a16="http://schemas.microsoft.com/office/drawing/2014/main" id="{0D37EDD6-46DA-402C-8218-5E0425EAB525}"/>
                </a:ext>
              </a:extLst>
            </p:cNvPr>
            <p:cNvGrpSpPr/>
            <p:nvPr/>
          </p:nvGrpSpPr>
          <p:grpSpPr>
            <a:xfrm>
              <a:off x="8448150" y="-11528"/>
              <a:ext cx="1435548" cy="555653"/>
              <a:chOff x="8448150" y="-11528"/>
              <a:chExt cx="1435548" cy="555653"/>
            </a:xfrm>
          </p:grpSpPr>
          <p:sp>
            <p:nvSpPr>
              <p:cNvPr id="80" name="Rectangle : coins arrondis 199">
                <a:extLst>
                  <a:ext uri="{FF2B5EF4-FFF2-40B4-BE49-F238E27FC236}">
                    <a16:creationId xmlns:a16="http://schemas.microsoft.com/office/drawing/2014/main" id="{10BAED97-DF07-4038-97F8-094E69690C13}"/>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1" name="Rectangle : coins arrondis 200">
                <a:extLst>
                  <a:ext uri="{FF2B5EF4-FFF2-40B4-BE49-F238E27FC236}">
                    <a16:creationId xmlns:a16="http://schemas.microsoft.com/office/drawing/2014/main" id="{B868B943-D7F3-4C8E-AA1D-5C05A917E169}"/>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2" name="Rectangle : coins arrondis 201">
                <a:extLst>
                  <a:ext uri="{FF2B5EF4-FFF2-40B4-BE49-F238E27FC236}">
                    <a16:creationId xmlns:a16="http://schemas.microsoft.com/office/drawing/2014/main" id="{6B8E917B-5B28-41C9-A802-0BDF62A9DFB4}"/>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3" name="ZoneTexte 18">
                <a:extLst>
                  <a:ext uri="{FF2B5EF4-FFF2-40B4-BE49-F238E27FC236}">
                    <a16:creationId xmlns:a16="http://schemas.microsoft.com/office/drawing/2014/main" id="{650A0E87-7BE1-4326-A3A3-143FDA5B3E2E}"/>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84" name="Graphique 128" descr="Jauge">
                <a:extLst>
                  <a:ext uri="{FF2B5EF4-FFF2-40B4-BE49-F238E27FC236}">
                    <a16:creationId xmlns:a16="http://schemas.microsoft.com/office/drawing/2014/main" id="{513A069B-4FC7-48D5-8393-BBB52F4EAC1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553764" y="187516"/>
                <a:ext cx="234953" cy="218224"/>
              </a:xfrm>
              <a:prstGeom prst="rect">
                <a:avLst/>
              </a:prstGeom>
              <a:effectLst/>
            </p:spPr>
          </p:pic>
          <p:pic>
            <p:nvPicPr>
              <p:cNvPr id="85" name="Graphique 90" descr="Poignée de main">
                <a:extLst>
                  <a:ext uri="{FF2B5EF4-FFF2-40B4-BE49-F238E27FC236}">
                    <a16:creationId xmlns:a16="http://schemas.microsoft.com/office/drawing/2014/main" id="{64246F21-7895-43E4-AAD5-645E4BC940A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960868" y="152880"/>
                <a:ext cx="256313" cy="287496"/>
              </a:xfrm>
              <a:prstGeom prst="rect">
                <a:avLst/>
              </a:prstGeom>
              <a:effectLst/>
            </p:spPr>
          </p:pic>
          <p:pic>
            <p:nvPicPr>
              <p:cNvPr id="86" name="Graphique 74" descr="Mégaphone">
                <a:extLst>
                  <a:ext uri="{FF2B5EF4-FFF2-40B4-BE49-F238E27FC236}">
                    <a16:creationId xmlns:a16="http://schemas.microsoft.com/office/drawing/2014/main" id="{CDF8391E-6875-441A-A12D-25760A1C064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389331" y="181519"/>
                <a:ext cx="233011" cy="216420"/>
              </a:xfrm>
              <a:prstGeom prst="rect">
                <a:avLst/>
              </a:prstGeom>
              <a:effectLst/>
            </p:spPr>
          </p:pic>
          <p:pic>
            <p:nvPicPr>
              <p:cNvPr id="87" name="Picture 2" descr="Drapeau France">
                <a:extLst>
                  <a:ext uri="{FF2B5EF4-FFF2-40B4-BE49-F238E27FC236}">
                    <a16:creationId xmlns:a16="http://schemas.microsoft.com/office/drawing/2014/main" id="{C18BAB59-B774-4BA3-A4E0-CC2A0A1F3B1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88" name="Picture 2" descr="5 ft x 3 ft 150 x 90 cm-DRAPEAU BELGE Belgique 100% Polyester ...">
                <a:extLst>
                  <a:ext uri="{FF2B5EF4-FFF2-40B4-BE49-F238E27FC236}">
                    <a16:creationId xmlns:a16="http://schemas.microsoft.com/office/drawing/2014/main" id="{FC375874-0FD4-4775-9031-A3075555047D}"/>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89" name="Picture 2 - 1" descr="Drapeau des Pays-Bas — Wikipédia">
                <a:extLst>
                  <a:ext uri="{FF2B5EF4-FFF2-40B4-BE49-F238E27FC236}">
                    <a16:creationId xmlns:a16="http://schemas.microsoft.com/office/drawing/2014/main" id="{49447650-0853-4841-8DE2-FA7ECD7F544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90" name="Picture 2 - 2" descr="Drapeau du Luxembourg">
                <a:extLst>
                  <a:ext uri="{FF2B5EF4-FFF2-40B4-BE49-F238E27FC236}">
                    <a16:creationId xmlns:a16="http://schemas.microsoft.com/office/drawing/2014/main" id="{EC1707FB-EA47-4F2E-B4F2-8D69716EC68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79" name="ZoneTexte 18">
              <a:extLst>
                <a:ext uri="{FF2B5EF4-FFF2-40B4-BE49-F238E27FC236}">
                  <a16:creationId xmlns:a16="http://schemas.microsoft.com/office/drawing/2014/main" id="{E8A34149-CB57-4F30-86DD-E8379579FFDA}"/>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redit &amp; financial risk</a:t>
              </a:r>
            </a:p>
          </p:txBody>
        </p:sp>
      </p:grpSp>
      <p:sp>
        <p:nvSpPr>
          <p:cNvPr id="69" name="Ellipse 68">
            <a:extLst>
              <a:ext uri="{FF2B5EF4-FFF2-40B4-BE49-F238E27FC236}">
                <a16:creationId xmlns:a16="http://schemas.microsoft.com/office/drawing/2014/main" id="{1A0C2182-C259-4676-8D7F-BF0AD81E8C7A}"/>
              </a:ext>
            </a:extLst>
          </p:cNvPr>
          <p:cNvSpPr/>
          <p:nvPr/>
        </p:nvSpPr>
        <p:spPr bwMode="auto">
          <a:xfrm>
            <a:off x="8735770"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1</a:t>
            </a:r>
          </a:p>
        </p:txBody>
      </p:sp>
      <p:sp>
        <p:nvSpPr>
          <p:cNvPr id="91" name="Ellipse 90">
            <a:extLst>
              <a:ext uri="{FF2B5EF4-FFF2-40B4-BE49-F238E27FC236}">
                <a16:creationId xmlns:a16="http://schemas.microsoft.com/office/drawing/2014/main" id="{B87B86E4-A5B9-4489-9BDE-1014874DB43B}"/>
              </a:ext>
            </a:extLst>
          </p:cNvPr>
          <p:cNvSpPr/>
          <p:nvPr/>
        </p:nvSpPr>
        <p:spPr bwMode="auto">
          <a:xfrm>
            <a:off x="8427012" y="655133"/>
            <a:ext cx="291451" cy="104005"/>
          </a:xfrm>
          <a:prstGeom prst="ellipse">
            <a:avLst/>
          </a:prstGeom>
          <a:solidFill>
            <a:schemeClr val="tx2">
              <a:lumMod val="75000"/>
            </a:schemeClr>
          </a:solidFill>
          <a:ln w="952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b="1" err="1">
                <a:solidFill>
                  <a:schemeClr val="bg1"/>
                </a:solidFill>
                <a:latin typeface="Trebuchet MS" panose="020B0603020202020204" pitchFamily="34" charset="0"/>
              </a:rPr>
              <a:t>Covid</a:t>
            </a:r>
            <a:endParaRPr kumimoji="0" lang="en-GB" sz="600" b="1" i="0" u="none" strike="noStrike" cap="none" normalizeH="0" baseline="0">
              <a:ln>
                <a:noFill/>
              </a:ln>
              <a:solidFill>
                <a:schemeClr val="bg1"/>
              </a:solidFill>
              <a:effectLst/>
              <a:latin typeface="Trebuchet MS" panose="020B0603020202020204" pitchFamily="34" charset="0"/>
            </a:endParaRPr>
          </a:p>
        </p:txBody>
      </p:sp>
      <p:sp>
        <p:nvSpPr>
          <p:cNvPr id="92" name="Ellipse 91">
            <a:extLst>
              <a:ext uri="{FF2B5EF4-FFF2-40B4-BE49-F238E27FC236}">
                <a16:creationId xmlns:a16="http://schemas.microsoft.com/office/drawing/2014/main" id="{B90FA86F-12E3-4980-8A8A-6516A998C73D}"/>
              </a:ext>
            </a:extLst>
          </p:cNvPr>
          <p:cNvSpPr/>
          <p:nvPr/>
        </p:nvSpPr>
        <p:spPr bwMode="auto">
          <a:xfrm>
            <a:off x="9467750"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a:solidFill>
                  <a:schemeClr val="bg1"/>
                </a:solidFill>
                <a:latin typeface="Trebuchet MS" panose="020B0603020202020204" pitchFamily="34" charset="0"/>
              </a:rPr>
              <a:t>6</a:t>
            </a:r>
            <a:endParaRPr kumimoji="0" lang="en-GB" sz="800" b="1" i="0" u="none" strike="noStrike" cap="none" normalizeH="0" baseline="0">
              <a:ln>
                <a:noFill/>
              </a:ln>
              <a:solidFill>
                <a:schemeClr val="bg1"/>
              </a:solidFill>
              <a:effectLst/>
              <a:latin typeface="Trebuchet MS" panose="020B0603020202020204" pitchFamily="34" charset="0"/>
            </a:endParaRPr>
          </a:p>
        </p:txBody>
      </p:sp>
      <p:sp>
        <p:nvSpPr>
          <p:cNvPr id="93" name="Ellipse 92">
            <a:extLst>
              <a:ext uri="{FF2B5EF4-FFF2-40B4-BE49-F238E27FC236}">
                <a16:creationId xmlns:a16="http://schemas.microsoft.com/office/drawing/2014/main" id="{CF46433A-C709-4C25-BE52-412228F0C79C}"/>
              </a:ext>
            </a:extLst>
          </p:cNvPr>
          <p:cNvSpPr/>
          <p:nvPr/>
        </p:nvSpPr>
        <p:spPr bwMode="auto">
          <a:xfrm>
            <a:off x="9614146"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a:solidFill>
                  <a:schemeClr val="bg1"/>
                </a:solidFill>
                <a:latin typeface="Trebuchet MS" panose="020B0603020202020204" pitchFamily="34" charset="0"/>
              </a:rPr>
              <a:t>7</a:t>
            </a:r>
            <a:endParaRPr kumimoji="0" lang="en-GB" sz="800" b="1" i="0" u="none" strike="noStrike" cap="none" normalizeH="0" baseline="0">
              <a:ln>
                <a:noFill/>
              </a:ln>
              <a:solidFill>
                <a:schemeClr val="bg1"/>
              </a:solidFill>
              <a:effectLst/>
              <a:latin typeface="Trebuchet MS" panose="020B0603020202020204" pitchFamily="34" charset="0"/>
            </a:endParaRPr>
          </a:p>
        </p:txBody>
      </p:sp>
      <p:sp>
        <p:nvSpPr>
          <p:cNvPr id="94" name="Ellipse 93">
            <a:extLst>
              <a:ext uri="{FF2B5EF4-FFF2-40B4-BE49-F238E27FC236}">
                <a16:creationId xmlns:a16="http://schemas.microsoft.com/office/drawing/2014/main" id="{1DCA63F5-B307-4F36-9F13-F9D30E1E3001}"/>
              </a:ext>
            </a:extLst>
          </p:cNvPr>
          <p:cNvSpPr/>
          <p:nvPr/>
        </p:nvSpPr>
        <p:spPr bwMode="auto">
          <a:xfrm>
            <a:off x="9760544"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a:solidFill>
                  <a:schemeClr val="bg1"/>
                </a:solidFill>
                <a:latin typeface="Trebuchet MS" panose="020B0603020202020204" pitchFamily="34" charset="0"/>
              </a:rPr>
              <a:t>8</a:t>
            </a:r>
            <a:endParaRPr kumimoji="0" lang="en-GB" sz="800" b="1" i="0" u="none" strike="noStrike" cap="none" normalizeH="0" baseline="0">
              <a:ln>
                <a:noFill/>
              </a:ln>
              <a:solidFill>
                <a:schemeClr val="bg1"/>
              </a:solidFill>
              <a:effectLst/>
              <a:latin typeface="Trebuchet MS" panose="020B0603020202020204" pitchFamily="34" charset="0"/>
            </a:endParaRPr>
          </a:p>
        </p:txBody>
      </p:sp>
      <p:sp>
        <p:nvSpPr>
          <p:cNvPr id="95" name="Ellipse 94">
            <a:extLst>
              <a:ext uri="{FF2B5EF4-FFF2-40B4-BE49-F238E27FC236}">
                <a16:creationId xmlns:a16="http://schemas.microsoft.com/office/drawing/2014/main" id="{C7E594B4-64EE-4544-9EE4-554BDD5C921C}"/>
              </a:ext>
            </a:extLst>
          </p:cNvPr>
          <p:cNvSpPr/>
          <p:nvPr/>
        </p:nvSpPr>
        <p:spPr bwMode="auto">
          <a:xfrm>
            <a:off x="9028562"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3</a:t>
            </a:r>
          </a:p>
        </p:txBody>
      </p:sp>
      <p:sp>
        <p:nvSpPr>
          <p:cNvPr id="96" name="Ellipse 95">
            <a:extLst>
              <a:ext uri="{FF2B5EF4-FFF2-40B4-BE49-F238E27FC236}">
                <a16:creationId xmlns:a16="http://schemas.microsoft.com/office/drawing/2014/main" id="{A0F8043F-55D5-4F82-845A-2F73FFE24F7A}"/>
              </a:ext>
            </a:extLst>
          </p:cNvPr>
          <p:cNvSpPr/>
          <p:nvPr/>
        </p:nvSpPr>
        <p:spPr bwMode="auto">
          <a:xfrm>
            <a:off x="8882166"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2</a:t>
            </a:r>
          </a:p>
        </p:txBody>
      </p:sp>
      <p:sp>
        <p:nvSpPr>
          <p:cNvPr id="99" name="Ellipse 98">
            <a:extLst>
              <a:ext uri="{FF2B5EF4-FFF2-40B4-BE49-F238E27FC236}">
                <a16:creationId xmlns:a16="http://schemas.microsoft.com/office/drawing/2014/main" id="{C767B0B7-193D-4757-A7C3-3D552C2CB614}"/>
              </a:ext>
            </a:extLst>
          </p:cNvPr>
          <p:cNvSpPr/>
          <p:nvPr/>
        </p:nvSpPr>
        <p:spPr bwMode="auto">
          <a:xfrm>
            <a:off x="9321354"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5</a:t>
            </a:r>
          </a:p>
        </p:txBody>
      </p:sp>
      <p:sp>
        <p:nvSpPr>
          <p:cNvPr id="100" name="Ellipse 99">
            <a:extLst>
              <a:ext uri="{FF2B5EF4-FFF2-40B4-BE49-F238E27FC236}">
                <a16:creationId xmlns:a16="http://schemas.microsoft.com/office/drawing/2014/main" id="{492E1D8A-05FC-442D-A55B-01ADF82B54CF}"/>
              </a:ext>
            </a:extLst>
          </p:cNvPr>
          <p:cNvSpPr/>
          <p:nvPr/>
        </p:nvSpPr>
        <p:spPr bwMode="auto">
          <a:xfrm>
            <a:off x="9174958"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4</a:t>
            </a:r>
          </a:p>
        </p:txBody>
      </p:sp>
      <p:sp>
        <p:nvSpPr>
          <p:cNvPr id="103" name="ZoneTexte 102">
            <a:extLst>
              <a:ext uri="{FF2B5EF4-FFF2-40B4-BE49-F238E27FC236}">
                <a16:creationId xmlns:a16="http://schemas.microsoft.com/office/drawing/2014/main" id="{F17E74D3-35DC-47C1-BE43-099B14AEEF17}"/>
              </a:ext>
            </a:extLst>
          </p:cNvPr>
          <p:cNvSpPr txBox="1"/>
          <p:nvPr/>
        </p:nvSpPr>
        <p:spPr>
          <a:xfrm>
            <a:off x="8464937" y="494482"/>
            <a:ext cx="1310675" cy="200055"/>
          </a:xfrm>
          <a:prstGeom prst="rect">
            <a:avLst/>
          </a:prstGeom>
          <a:noFill/>
        </p:spPr>
        <p:txBody>
          <a:bodyPr wrap="square" rtlCol="0">
            <a:spAutoFit/>
          </a:bodyPr>
          <a:lstStyle/>
          <a:p>
            <a:pPr algn="ctr"/>
            <a:r>
              <a:rPr lang="en-GB" sz="700" i="1">
                <a:solidFill>
                  <a:schemeClr val="bg2"/>
                </a:solidFill>
                <a:latin typeface="Trebuchet MS" panose="020B0603020202020204" pitchFamily="34" charset="0"/>
              </a:rPr>
              <a:t>Underlying factors</a:t>
            </a:r>
          </a:p>
        </p:txBody>
      </p:sp>
      <p:sp>
        <p:nvSpPr>
          <p:cNvPr id="75" name="Rectangle 74">
            <a:extLst>
              <a:ext uri="{FF2B5EF4-FFF2-40B4-BE49-F238E27FC236}">
                <a16:creationId xmlns:a16="http://schemas.microsoft.com/office/drawing/2014/main" id="{4E21D7B3-2E52-4B33-A465-48AB814F7219}"/>
              </a:ext>
            </a:extLst>
          </p:cNvPr>
          <p:cNvSpPr/>
          <p:nvPr/>
        </p:nvSpPr>
        <p:spPr bwMode="auto">
          <a:xfrm>
            <a:off x="4930519" y="5366790"/>
            <a:ext cx="2304000" cy="10800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a:spcAft>
                <a:spcPts val="300"/>
              </a:spcAft>
              <a:defRPr/>
            </a:pPr>
            <a:r>
              <a:rPr lang="en-GB" sz="1000" i="1" spc="-30">
                <a:solidFill>
                  <a:srgbClr val="6C6C6C"/>
                </a:solidFill>
                <a:latin typeface="Trebuchet MS" panose="020B0603020202020204" pitchFamily="34" charset="0"/>
              </a:rPr>
              <a:t>“In times of </a:t>
            </a:r>
            <a:r>
              <a:rPr lang="en-GB" sz="1000" i="1" spc="-30">
                <a:solidFill>
                  <a:schemeClr val="tx2"/>
                </a:solidFill>
                <a:latin typeface="Trebuchet MS" panose="020B0603020202020204" pitchFamily="34" charset="0"/>
              </a:rPr>
              <a:t>crisis</a:t>
            </a:r>
            <a:r>
              <a:rPr lang="en-GB" sz="1000" i="1" spc="-30">
                <a:solidFill>
                  <a:srgbClr val="6C6C6C"/>
                </a:solidFill>
                <a:latin typeface="Trebuchet MS" panose="020B0603020202020204" pitchFamily="34" charset="0"/>
              </a:rPr>
              <a:t>, </a:t>
            </a:r>
            <a:r>
              <a:rPr lang="en-GB" sz="1000" i="1" spc="-30">
                <a:solidFill>
                  <a:schemeClr val="tx2"/>
                </a:solidFill>
                <a:latin typeface="Trebuchet MS" panose="020B0603020202020204" pitchFamily="34" charset="0"/>
              </a:rPr>
              <a:t>credit insurance works rather badly </a:t>
            </a:r>
            <a:r>
              <a:rPr lang="en-GB" sz="1000" i="1" spc="-30">
                <a:solidFill>
                  <a:srgbClr val="6C6C6C"/>
                </a:solidFill>
                <a:latin typeface="Trebuchet MS" panose="020B0603020202020204" pitchFamily="34" charset="0"/>
              </a:rPr>
              <a:t>and has bad reputation. The </a:t>
            </a:r>
            <a:r>
              <a:rPr lang="en-GB" sz="1000" i="1" spc="-30">
                <a:solidFill>
                  <a:schemeClr val="tx2"/>
                </a:solidFill>
                <a:latin typeface="Trebuchet MS" panose="020B0603020202020204" pitchFamily="34" charset="0"/>
              </a:rPr>
              <a:t>only answers </a:t>
            </a:r>
            <a:r>
              <a:rPr lang="en-GB" sz="1000" i="1" spc="-30">
                <a:solidFill>
                  <a:srgbClr val="6C6C6C"/>
                </a:solidFill>
                <a:latin typeface="Trebuchet MS" panose="020B0603020202020204" pitchFamily="34" charset="0"/>
              </a:rPr>
              <a:t>for companies are to </a:t>
            </a:r>
            <a:r>
              <a:rPr lang="en-GB" sz="1000" i="1" spc="-30">
                <a:solidFill>
                  <a:schemeClr val="tx2"/>
                </a:solidFill>
                <a:latin typeface="Trebuchet MS" panose="020B0603020202020204" pitchFamily="34" charset="0"/>
              </a:rPr>
              <a:t>get well informed</a:t>
            </a:r>
            <a:r>
              <a:rPr lang="en-GB" sz="1000" i="1" spc="-30">
                <a:solidFill>
                  <a:srgbClr val="6C6C6C"/>
                </a:solidFill>
                <a:latin typeface="Trebuchet MS" panose="020B0603020202020204" pitchFamily="34" charset="0"/>
              </a:rPr>
              <a:t>, to self-insure and to make cash reserves”</a:t>
            </a:r>
          </a:p>
          <a:p>
            <a:pPr>
              <a:spcAft>
                <a:spcPts val="300"/>
              </a:spcAft>
              <a:defRPr/>
            </a:pPr>
            <a:r>
              <a:rPr lang="en-GB" sz="1000" spc="-30">
                <a:solidFill>
                  <a:srgbClr val="6C6C6C"/>
                </a:solidFill>
                <a:latin typeface="Trebuchet MS" panose="020B0603020202020204" pitchFamily="34" charset="0"/>
              </a:rPr>
              <a:t>Former Managing Director at Graydon</a:t>
            </a:r>
            <a:endParaRPr lang="en-GB" sz="1000" spc="-50">
              <a:solidFill>
                <a:srgbClr val="6C6C6C"/>
              </a:solidFill>
              <a:latin typeface="Trebuchet MS" panose="020B0603020202020204" pitchFamily="34" charset="0"/>
            </a:endParaRPr>
          </a:p>
        </p:txBody>
      </p:sp>
      <p:sp>
        <p:nvSpPr>
          <p:cNvPr id="77" name="Freeform 663">
            <a:extLst>
              <a:ext uri="{FF2B5EF4-FFF2-40B4-BE49-F238E27FC236}">
                <a16:creationId xmlns:a16="http://schemas.microsoft.com/office/drawing/2014/main" id="{C02B49D0-2433-421C-810F-98897DFE3E65}"/>
              </a:ext>
            </a:extLst>
          </p:cNvPr>
          <p:cNvSpPr>
            <a:spLocks noEditPoints="1"/>
          </p:cNvSpPr>
          <p:nvPr/>
        </p:nvSpPr>
        <p:spPr bwMode="auto">
          <a:xfrm>
            <a:off x="4816032" y="5780790"/>
            <a:ext cx="228975"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Tree>
    <p:extLst>
      <p:ext uri="{BB962C8B-B14F-4D97-AF65-F5344CB8AC3E}">
        <p14:creationId xmlns:p14="http://schemas.microsoft.com/office/powerpoint/2010/main" val="879390884"/>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0944F39-7C9D-46A4-9460-7725FFCBEE94}"/>
              </a:ext>
            </a:extLst>
          </p:cNvPr>
          <p:cNvGraphicFramePr>
            <a:graphicFrameLocks noChangeAspect="1"/>
          </p:cNvGraphicFramePr>
          <p:nvPr>
            <p:custDataLst>
              <p:tags r:id="rId1"/>
            </p:custDataLst>
            <p:extLst>
              <p:ext uri="{D42A27DB-BD31-4B8C-83A1-F6EECF244321}">
                <p14:modId xmlns:p14="http://schemas.microsoft.com/office/powerpoint/2010/main" val="2483327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6" name="Object 5" hidden="1">
                        <a:extLst>
                          <a:ext uri="{FF2B5EF4-FFF2-40B4-BE49-F238E27FC236}">
                            <a16:creationId xmlns:a16="http://schemas.microsoft.com/office/drawing/2014/main" id="{90944F39-7C9D-46A4-9460-7725FFCBEE9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FCCB61A9-18E3-4D56-9AF8-2A82AF56EF7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4" name="Title 3">
            <a:extLst>
              <a:ext uri="{FF2B5EF4-FFF2-40B4-BE49-F238E27FC236}">
                <a16:creationId xmlns:a16="http://schemas.microsoft.com/office/drawing/2014/main" id="{4743645F-F1B2-4106-A826-D519F9D9D826}"/>
              </a:ext>
            </a:extLst>
          </p:cNvPr>
          <p:cNvSpPr>
            <a:spLocks noGrp="1"/>
          </p:cNvSpPr>
          <p:nvPr>
            <p:ph type="title"/>
          </p:nvPr>
        </p:nvSpPr>
        <p:spPr>
          <a:xfrm>
            <a:off x="165600" y="147600"/>
            <a:ext cx="8282501" cy="684000"/>
          </a:xfrm>
          <a:noFill/>
        </p:spPr>
        <p:txBody>
          <a:bodyPr/>
          <a:lstStyle/>
          <a:p>
            <a:r>
              <a:rPr lang="en-GB">
                <a:solidFill>
                  <a:schemeClr val="tx2"/>
                </a:solidFill>
                <a:latin typeface="Trebuchet MS" panose="020B0603020202020204" pitchFamily="34" charset="0"/>
              </a:rPr>
              <a:t>Increasing</a:t>
            </a:r>
            <a:r>
              <a:rPr lang="en-GB">
                <a:latin typeface="Trebuchet MS" panose="020B0603020202020204" pitchFamily="34" charset="0"/>
              </a:rPr>
              <a:t> </a:t>
            </a:r>
            <a:r>
              <a:rPr lang="en-GB">
                <a:solidFill>
                  <a:schemeClr val="tx2"/>
                </a:solidFill>
                <a:latin typeface="Trebuchet MS" panose="020B0603020202020204" pitchFamily="34" charset="0"/>
              </a:rPr>
              <a:t>account</a:t>
            </a:r>
            <a:r>
              <a:rPr lang="en-GB">
                <a:latin typeface="Trebuchet MS" panose="020B0603020202020204" pitchFamily="34" charset="0"/>
              </a:rPr>
              <a:t> </a:t>
            </a:r>
            <a:r>
              <a:rPr lang="en-GB">
                <a:solidFill>
                  <a:schemeClr val="tx2"/>
                </a:solidFill>
                <a:latin typeface="Trebuchet MS" panose="020B0603020202020204" pitchFamily="34" charset="0"/>
              </a:rPr>
              <a:t>receivable</a:t>
            </a:r>
            <a:r>
              <a:rPr lang="en-GB">
                <a:latin typeface="Trebuchet MS" panose="020B0603020202020204" pitchFamily="34" charset="0"/>
              </a:rPr>
              <a:t> and </a:t>
            </a:r>
            <a:r>
              <a:rPr lang="en-GB">
                <a:solidFill>
                  <a:schemeClr val="tx2"/>
                </a:solidFill>
                <a:latin typeface="Trebuchet MS" panose="020B0603020202020204" pitchFamily="34" charset="0"/>
              </a:rPr>
              <a:t>exports</a:t>
            </a:r>
            <a:r>
              <a:rPr lang="en-GB">
                <a:latin typeface="Trebuchet MS" panose="020B0603020202020204" pitchFamily="34" charset="0"/>
              </a:rPr>
              <a:t> positively </a:t>
            </a:r>
            <a:r>
              <a:rPr lang="en-GB">
                <a:solidFill>
                  <a:schemeClr val="tx2"/>
                </a:solidFill>
                <a:latin typeface="Trebuchet MS" panose="020B0603020202020204" pitchFamily="34" charset="0"/>
              </a:rPr>
              <a:t>drive the need </a:t>
            </a:r>
            <a:r>
              <a:rPr lang="en-GB">
                <a:latin typeface="Trebuchet MS" panose="020B0603020202020204" pitchFamily="34" charset="0"/>
              </a:rPr>
              <a:t>for Credit risk information in all geographies, </a:t>
            </a:r>
            <a:r>
              <a:rPr lang="en-GB">
                <a:solidFill>
                  <a:schemeClr val="tx2"/>
                </a:solidFill>
                <a:latin typeface="Trebuchet MS" panose="020B0603020202020204" pitchFamily="34" charset="0"/>
              </a:rPr>
              <a:t>especially in Benelux </a:t>
            </a:r>
            <a:r>
              <a:rPr lang="en-GB">
                <a:latin typeface="Trebuchet MS" panose="020B0603020202020204" pitchFamily="34" charset="0"/>
              </a:rPr>
              <a:t>where these two parameters are much more important </a:t>
            </a:r>
          </a:p>
        </p:txBody>
      </p:sp>
      <p:sp>
        <p:nvSpPr>
          <p:cNvPr id="5" name="Text Placeholder 4">
            <a:extLst>
              <a:ext uri="{FF2B5EF4-FFF2-40B4-BE49-F238E27FC236}">
                <a16:creationId xmlns:a16="http://schemas.microsoft.com/office/drawing/2014/main" id="{93ADD323-887F-4F55-BF74-62340490DDC0}"/>
              </a:ext>
            </a:extLst>
          </p:cNvPr>
          <p:cNvSpPr>
            <a:spLocks noGrp="1"/>
          </p:cNvSpPr>
          <p:nvPr>
            <p:ph type="body" sz="quarter" idx="10"/>
          </p:nvPr>
        </p:nvSpPr>
        <p:spPr/>
        <p:txBody>
          <a:bodyPr/>
          <a:lstStyle/>
          <a:p>
            <a:r>
              <a:rPr lang="en-GB"/>
              <a:t>Sources: eleven research &amp; analysis, expert calls, FIGEC, Deloitte/</a:t>
            </a:r>
            <a:r>
              <a:rPr lang="en-GB" err="1"/>
              <a:t>Altares</a:t>
            </a:r>
            <a:r>
              <a:rPr lang="en-GB"/>
              <a:t>, </a:t>
            </a:r>
            <a:r>
              <a:rPr lang="en-GB" err="1"/>
              <a:t>Insee</a:t>
            </a:r>
            <a:r>
              <a:rPr lang="en-GB"/>
              <a:t>, Banque de France, Statista</a:t>
            </a:r>
          </a:p>
          <a:p>
            <a:r>
              <a:rPr lang="en-GB"/>
              <a:t>1. LME: </a:t>
            </a:r>
            <a:r>
              <a:rPr lang="en-GB" i="0" err="1"/>
              <a:t>Loi</a:t>
            </a:r>
            <a:r>
              <a:rPr lang="en-GB" i="0"/>
              <a:t> de modernisation de </a:t>
            </a:r>
            <a:r>
              <a:rPr lang="en-GB" i="0" err="1"/>
              <a:t>l’économie</a:t>
            </a:r>
            <a:r>
              <a:rPr lang="en-GB"/>
              <a:t>, French bill defining maximum terms of payment</a:t>
            </a:r>
          </a:p>
        </p:txBody>
      </p:sp>
      <p:sp>
        <p:nvSpPr>
          <p:cNvPr id="188" name="Rectangle 187">
            <a:extLst>
              <a:ext uri="{FF2B5EF4-FFF2-40B4-BE49-F238E27FC236}">
                <a16:creationId xmlns:a16="http://schemas.microsoft.com/office/drawing/2014/main" id="{EF2BEC86-2CF9-4547-B78D-9EA921DEACDF}"/>
              </a:ext>
            </a:extLst>
          </p:cNvPr>
          <p:cNvSpPr/>
          <p:nvPr/>
        </p:nvSpPr>
        <p:spPr bwMode="auto">
          <a:xfrm>
            <a:off x="4279641" y="1403219"/>
            <a:ext cx="2594481" cy="16609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tx1"/>
                </a:solidFill>
                <a:effectLst/>
                <a:latin typeface="Trebuchet MS" panose="020B0603020202020204" pitchFamily="34" charset="0"/>
              </a:rPr>
              <a:t>Evolution of the proportion of total B2B sales made on credit, 2017-2019, FR, NL, BEL </a:t>
            </a:r>
          </a:p>
        </p:txBody>
      </p:sp>
      <p:sp>
        <p:nvSpPr>
          <p:cNvPr id="40" name="Ellipse 39">
            <a:extLst>
              <a:ext uri="{FF2B5EF4-FFF2-40B4-BE49-F238E27FC236}">
                <a16:creationId xmlns:a16="http://schemas.microsoft.com/office/drawing/2014/main" id="{2961D17C-ABE4-4B83-B6CB-79DBD5109392}"/>
              </a:ext>
            </a:extLst>
          </p:cNvPr>
          <p:cNvSpPr/>
          <p:nvPr/>
        </p:nvSpPr>
        <p:spPr bwMode="auto">
          <a:xfrm>
            <a:off x="4984874" y="1892234"/>
            <a:ext cx="393415" cy="400257"/>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bg1"/>
              </a:solidFill>
              <a:effectLst/>
              <a:latin typeface="Trebuchet MS" pitchFamily="34" charset="0"/>
            </a:endParaRPr>
          </a:p>
        </p:txBody>
      </p:sp>
      <p:sp>
        <p:nvSpPr>
          <p:cNvPr id="189" name="Ellipse 188">
            <a:extLst>
              <a:ext uri="{FF2B5EF4-FFF2-40B4-BE49-F238E27FC236}">
                <a16:creationId xmlns:a16="http://schemas.microsoft.com/office/drawing/2014/main" id="{8367B86C-AE9C-4132-95F7-DE3BB84502A9}"/>
              </a:ext>
            </a:extLst>
          </p:cNvPr>
          <p:cNvSpPr/>
          <p:nvPr/>
        </p:nvSpPr>
        <p:spPr bwMode="auto">
          <a:xfrm>
            <a:off x="6272214" y="1759749"/>
            <a:ext cx="523636" cy="532742"/>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solidFill>
                  <a:schemeClr val="bg1"/>
                </a:solidFill>
                <a:latin typeface="Trebuchet MS" panose="020B0603020202020204" pitchFamily="34" charset="0"/>
              </a:rPr>
              <a:t>44.6%</a:t>
            </a:r>
            <a:endParaRPr kumimoji="0" lang="en-GB" sz="900" b="0" i="0" u="none" strike="noStrike" cap="none" normalizeH="0" baseline="0">
              <a:ln>
                <a:noFill/>
              </a:ln>
              <a:solidFill>
                <a:schemeClr val="bg1"/>
              </a:solidFill>
              <a:effectLst/>
              <a:latin typeface="Trebuchet MS" panose="020B0603020202020204" pitchFamily="34" charset="0"/>
            </a:endParaRPr>
          </a:p>
        </p:txBody>
      </p:sp>
      <p:sp>
        <p:nvSpPr>
          <p:cNvPr id="41" name="Flèche : droite 40">
            <a:extLst>
              <a:ext uri="{FF2B5EF4-FFF2-40B4-BE49-F238E27FC236}">
                <a16:creationId xmlns:a16="http://schemas.microsoft.com/office/drawing/2014/main" id="{1127E0C0-7CF4-4D4C-9A94-DCEAFED2F899}"/>
              </a:ext>
            </a:extLst>
          </p:cNvPr>
          <p:cNvSpPr/>
          <p:nvPr/>
        </p:nvSpPr>
        <p:spPr bwMode="auto">
          <a:xfrm rot="20663281">
            <a:off x="5591236" y="1961497"/>
            <a:ext cx="533142" cy="134278"/>
          </a:xfrm>
          <a:prstGeom prst="rightArrow">
            <a:avLst/>
          </a:prstGeom>
          <a:solidFill>
            <a:schemeClr val="bg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282" name="Straight Connector 33">
            <a:extLst>
              <a:ext uri="{FF2B5EF4-FFF2-40B4-BE49-F238E27FC236}">
                <a16:creationId xmlns:a16="http://schemas.microsoft.com/office/drawing/2014/main" id="{5D660140-5379-4303-A860-5C2D611B278B}"/>
              </a:ext>
            </a:extLst>
          </p:cNvPr>
          <p:cNvCxnSpPr>
            <a:cxnSpLocks/>
          </p:cNvCxnSpPr>
          <p:nvPr/>
        </p:nvCxnSpPr>
        <p:spPr bwMode="auto">
          <a:xfrm>
            <a:off x="1652719" y="1418643"/>
            <a:ext cx="221615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83" name="Straight Connector 34">
            <a:extLst>
              <a:ext uri="{FF2B5EF4-FFF2-40B4-BE49-F238E27FC236}">
                <a16:creationId xmlns:a16="http://schemas.microsoft.com/office/drawing/2014/main" id="{3879588C-F57C-42C5-95F1-1DE4AF9DA455}"/>
              </a:ext>
            </a:extLst>
          </p:cNvPr>
          <p:cNvCxnSpPr>
            <a:cxnSpLocks/>
          </p:cNvCxnSpPr>
          <p:nvPr/>
        </p:nvCxnSpPr>
        <p:spPr bwMode="auto">
          <a:xfrm flipV="1">
            <a:off x="3966095" y="1410759"/>
            <a:ext cx="5680413" cy="7884"/>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80" name="Straight Connector 31">
            <a:extLst>
              <a:ext uri="{FF2B5EF4-FFF2-40B4-BE49-F238E27FC236}">
                <a16:creationId xmlns:a16="http://schemas.microsoft.com/office/drawing/2014/main" id="{FBE71478-46E7-453F-88F1-D15B2847C4FF}"/>
              </a:ext>
            </a:extLst>
          </p:cNvPr>
          <p:cNvCxnSpPr>
            <a:cxnSpLocks/>
          </p:cNvCxnSpPr>
          <p:nvPr/>
        </p:nvCxnSpPr>
        <p:spPr bwMode="auto">
          <a:xfrm>
            <a:off x="259493" y="1418643"/>
            <a:ext cx="12960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84" name="Rectangle 283">
            <a:extLst>
              <a:ext uri="{FF2B5EF4-FFF2-40B4-BE49-F238E27FC236}">
                <a16:creationId xmlns:a16="http://schemas.microsoft.com/office/drawing/2014/main" id="{B9A1E142-AD1D-4521-B441-5E6D0A080A0A}"/>
              </a:ext>
            </a:extLst>
          </p:cNvPr>
          <p:cNvSpPr/>
          <p:nvPr/>
        </p:nvSpPr>
        <p:spPr bwMode="auto">
          <a:xfrm>
            <a:off x="360280" y="1137427"/>
            <a:ext cx="1078022" cy="27146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latin typeface="Trebuchet MS" panose="020B0603020202020204" pitchFamily="34" charset="0"/>
              </a:rPr>
              <a:t>Trend</a:t>
            </a:r>
            <a:endParaRPr kumimoji="0" lang="en-GB" sz="1000" b="1" i="0" u="none" strike="noStrike" cap="none" normalizeH="0" baseline="0">
              <a:ln>
                <a:noFill/>
              </a:ln>
              <a:effectLst/>
              <a:latin typeface="Trebuchet MS" panose="020B0603020202020204" pitchFamily="34" charset="0"/>
            </a:endParaRPr>
          </a:p>
        </p:txBody>
      </p:sp>
      <p:sp>
        <p:nvSpPr>
          <p:cNvPr id="286" name="Rectangle 285">
            <a:extLst>
              <a:ext uri="{FF2B5EF4-FFF2-40B4-BE49-F238E27FC236}">
                <a16:creationId xmlns:a16="http://schemas.microsoft.com/office/drawing/2014/main" id="{19F6AC99-CA71-46A3-AEC8-00106C48F85D}"/>
              </a:ext>
            </a:extLst>
          </p:cNvPr>
          <p:cNvSpPr/>
          <p:nvPr/>
        </p:nvSpPr>
        <p:spPr bwMode="auto">
          <a:xfrm>
            <a:off x="2322627" y="1118377"/>
            <a:ext cx="876333" cy="27146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b="1">
                <a:latin typeface="Trebuchet MS" panose="020B0603020202020204" pitchFamily="34" charset="0"/>
              </a:rPr>
              <a:t>Rationale</a:t>
            </a:r>
          </a:p>
        </p:txBody>
      </p:sp>
      <p:sp>
        <p:nvSpPr>
          <p:cNvPr id="287" name="Rectangle 286">
            <a:extLst>
              <a:ext uri="{FF2B5EF4-FFF2-40B4-BE49-F238E27FC236}">
                <a16:creationId xmlns:a16="http://schemas.microsoft.com/office/drawing/2014/main" id="{0EE90A82-AC2B-4003-AEEF-21950B012718}"/>
              </a:ext>
            </a:extLst>
          </p:cNvPr>
          <p:cNvSpPr/>
          <p:nvPr/>
        </p:nvSpPr>
        <p:spPr bwMode="auto">
          <a:xfrm>
            <a:off x="6359328" y="1118377"/>
            <a:ext cx="893947" cy="27146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b="1">
                <a:latin typeface="Trebuchet MS" panose="020B0603020202020204" pitchFamily="34" charset="0"/>
              </a:rPr>
              <a:t>Illustrations</a:t>
            </a:r>
          </a:p>
        </p:txBody>
      </p:sp>
      <p:cxnSp>
        <p:nvCxnSpPr>
          <p:cNvPr id="31" name="Connecteur droit 4">
            <a:extLst>
              <a:ext uri="{FF2B5EF4-FFF2-40B4-BE49-F238E27FC236}">
                <a16:creationId xmlns:a16="http://schemas.microsoft.com/office/drawing/2014/main" id="{05503819-3CAF-4FAC-94B8-7B2B18B9E2DB}"/>
              </a:ext>
            </a:extLst>
          </p:cNvPr>
          <p:cNvCxnSpPr>
            <a:cxnSpLocks/>
          </p:cNvCxnSpPr>
          <p:nvPr/>
        </p:nvCxnSpPr>
        <p:spPr bwMode="auto">
          <a:xfrm>
            <a:off x="273000" y="1047808"/>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43" name="Rectangle 84">
            <a:extLst>
              <a:ext uri="{FF2B5EF4-FFF2-40B4-BE49-F238E27FC236}">
                <a16:creationId xmlns:a16="http://schemas.microsoft.com/office/drawing/2014/main" id="{BBC1F1BA-453C-43F4-9A5C-6E2D66AA1C08}"/>
              </a:ext>
            </a:extLst>
          </p:cNvPr>
          <p:cNvSpPr/>
          <p:nvPr/>
        </p:nvSpPr>
        <p:spPr bwMode="auto">
          <a:xfrm>
            <a:off x="2770388" y="913966"/>
            <a:ext cx="4365225" cy="269427"/>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defRPr/>
            </a:pPr>
            <a:r>
              <a:rPr lang="en-GB" sz="1100">
                <a:latin typeface="Trebuchet MS" panose="020B0603020202020204" pitchFamily="34" charset="0"/>
              </a:rPr>
              <a:t>Trends impacting the Credit &amp; financial risk market</a:t>
            </a:r>
          </a:p>
        </p:txBody>
      </p:sp>
      <p:sp>
        <p:nvSpPr>
          <p:cNvPr id="3" name="Rectangle 2">
            <a:extLst>
              <a:ext uri="{FF2B5EF4-FFF2-40B4-BE49-F238E27FC236}">
                <a16:creationId xmlns:a16="http://schemas.microsoft.com/office/drawing/2014/main" id="{6E5579C7-DA5D-49DA-80F1-7376D7B55876}"/>
              </a:ext>
            </a:extLst>
          </p:cNvPr>
          <p:cNvSpPr/>
          <p:nvPr/>
        </p:nvSpPr>
        <p:spPr bwMode="auto">
          <a:xfrm>
            <a:off x="259493" y="1524056"/>
            <a:ext cx="1296000" cy="2281013"/>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b="0" cap="none" spc="-10" baseline="0" noProof="0">
                <a:solidFill>
                  <a:schemeClr val="tx2"/>
                </a:solidFill>
                <a:latin typeface="Trebuchet MS" panose="020B0603020202020204" pitchFamily="34" charset="0"/>
              </a:rPr>
              <a:t>Increase in account receivable</a:t>
            </a:r>
          </a:p>
        </p:txBody>
      </p:sp>
      <p:pic>
        <p:nvPicPr>
          <p:cNvPr id="20" name="Picture 2" descr="Drapeau France">
            <a:extLst>
              <a:ext uri="{FF2B5EF4-FFF2-40B4-BE49-F238E27FC236}">
                <a16:creationId xmlns:a16="http://schemas.microsoft.com/office/drawing/2014/main" id="{68D661FE-5643-4CCF-8B23-30463E93AD7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006" b="16757"/>
          <a:stretch/>
        </p:blipFill>
        <p:spPr bwMode="auto">
          <a:xfrm>
            <a:off x="4551882" y="2012525"/>
            <a:ext cx="238894"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214" name="Espace réservé du texte 2">
            <a:extLst>
              <a:ext uri="{FF2B5EF4-FFF2-40B4-BE49-F238E27FC236}">
                <a16:creationId xmlns:a16="http://schemas.microsoft.com/office/drawing/2014/main" id="{0C98E080-3AA8-4508-9FF8-2D875A5775DE}"/>
              </a:ext>
            </a:extLst>
          </p:cNvPr>
          <p:cNvSpPr>
            <a:spLocks noGrp="1"/>
          </p:cNvSpPr>
          <p:nvPr/>
        </p:nvSpPr>
        <p:spPr bwMode="auto">
          <a:xfrm>
            <a:off x="5053866" y="2023219"/>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solidFill>
                  <a:schemeClr val="bg1"/>
                </a:solidFill>
                <a:latin typeface="Trebuchet MS" panose="020B0603020202020204" pitchFamily="34" charset="0"/>
                <a:sym typeface="+mn-lt"/>
              </a:rPr>
              <a:t>29.2%</a:t>
            </a:r>
          </a:p>
        </p:txBody>
      </p:sp>
      <p:sp>
        <p:nvSpPr>
          <p:cNvPr id="112" name="Rectangle 111">
            <a:extLst>
              <a:ext uri="{FF2B5EF4-FFF2-40B4-BE49-F238E27FC236}">
                <a16:creationId xmlns:a16="http://schemas.microsoft.com/office/drawing/2014/main" id="{965226A2-86CD-4E17-A81B-2639936559C7}"/>
              </a:ext>
            </a:extLst>
          </p:cNvPr>
          <p:cNvSpPr/>
          <p:nvPr/>
        </p:nvSpPr>
        <p:spPr bwMode="auto">
          <a:xfrm>
            <a:off x="1652719" y="1524066"/>
            <a:ext cx="2216150" cy="2281003"/>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l">
              <a:lnSpc>
                <a:spcPts val="1000"/>
              </a:lnSpc>
              <a:spcBef>
                <a:spcPts val="600"/>
              </a:spcBef>
              <a:buClr>
                <a:schemeClr val="tx1"/>
              </a:buClr>
              <a:buSzPct val="90000"/>
            </a:pPr>
            <a:r>
              <a:rPr lang="en-GB" sz="1000" b="0" kern="1200" spc="-10" noProof="0">
                <a:solidFill>
                  <a:schemeClr val="dk1"/>
                </a:solidFill>
                <a:latin typeface="Trebuchet MS" panose="020B0603020202020204" pitchFamily="34" charset="0"/>
                <a:ea typeface="+mn-ea"/>
                <a:cs typeface="+mn-cs"/>
              </a:rPr>
              <a:t>Both France and Benelux observe the same trend in terms of B2B sales made on credit </a:t>
            </a:r>
          </a:p>
          <a:p>
            <a:pPr algn="l">
              <a:lnSpc>
                <a:spcPts val="1000"/>
              </a:lnSpc>
              <a:spcBef>
                <a:spcPts val="600"/>
              </a:spcBef>
              <a:buClr>
                <a:schemeClr val="tx1"/>
              </a:buClr>
              <a:buSzPct val="90000"/>
            </a:pPr>
            <a:r>
              <a:rPr lang="en-GB" sz="1000" b="0" kern="1200" spc="-10" noProof="0">
                <a:solidFill>
                  <a:schemeClr val="dk1"/>
                </a:solidFill>
                <a:latin typeface="Trebuchet MS" panose="020B0603020202020204" pitchFamily="34" charset="0"/>
                <a:ea typeface="+mn-ea"/>
                <a:cs typeface="+mn-cs"/>
              </a:rPr>
              <a:t>Between 2018 and 2020, the amount of account receivable increased from €672bn to €700bn</a:t>
            </a:r>
            <a:br>
              <a:rPr lang="en-GB" sz="1000" b="0" kern="1200" spc="-10" noProof="0">
                <a:solidFill>
                  <a:schemeClr val="dk1"/>
                </a:solidFill>
                <a:latin typeface="Trebuchet MS" panose="020B0603020202020204" pitchFamily="34" charset="0"/>
                <a:ea typeface="+mn-ea"/>
                <a:cs typeface="+mn-cs"/>
              </a:rPr>
            </a:br>
            <a:r>
              <a:rPr lang="en-GB" sz="1000" b="0" kern="1200" spc="-10" noProof="0">
                <a:solidFill>
                  <a:schemeClr val="dk1"/>
                </a:solidFill>
                <a:latin typeface="Trebuchet MS" panose="020B0603020202020204" pitchFamily="34" charset="0"/>
                <a:ea typeface="+mn-ea"/>
                <a:cs typeface="+mn-cs"/>
              </a:rPr>
              <a:t>(current €) in France</a:t>
            </a:r>
          </a:p>
          <a:p>
            <a:pPr algn="l">
              <a:lnSpc>
                <a:spcPts val="1000"/>
              </a:lnSpc>
              <a:spcBef>
                <a:spcPts val="600"/>
              </a:spcBef>
              <a:buClr>
                <a:schemeClr val="tx1"/>
              </a:buClr>
              <a:buSzPct val="90000"/>
            </a:pPr>
            <a:r>
              <a:rPr lang="en-GB" sz="1000" b="0" kern="1200" spc="-10" noProof="0">
                <a:solidFill>
                  <a:schemeClr val="dk1"/>
                </a:solidFill>
                <a:latin typeface="Trebuchet MS" panose="020B0603020202020204" pitchFamily="34" charset="0"/>
                <a:ea typeface="+mn-ea"/>
                <a:cs typeface="+mn-cs"/>
              </a:rPr>
              <a:t>In Benelux, the growth is even higher (+25.6% in Netherlands, +24.4% in Belgium)</a:t>
            </a:r>
          </a:p>
          <a:p>
            <a:pPr algn="l">
              <a:lnSpc>
                <a:spcPts val="1000"/>
              </a:lnSpc>
              <a:spcBef>
                <a:spcPts val="600"/>
              </a:spcBef>
              <a:buClr>
                <a:schemeClr val="tx1"/>
              </a:buClr>
              <a:buSzPct val="90000"/>
            </a:pPr>
            <a:r>
              <a:rPr lang="en-GB" sz="1000" b="0" kern="1200" spc="-10" noProof="0">
                <a:solidFill>
                  <a:schemeClr val="dk1"/>
                </a:solidFill>
                <a:latin typeface="Trebuchet MS" panose="020B0603020202020204" pitchFamily="34" charset="0"/>
                <a:ea typeface="+mn-ea"/>
                <a:cs typeface="+mn-cs"/>
              </a:rPr>
              <a:t>N.B: this growth was higher than the growth of the GDP in current euros</a:t>
            </a:r>
          </a:p>
          <a:p>
            <a:pPr marR="0" algn="ctr" defTabSz="914400" rtl="0" eaLnBrk="1" fontAlgn="base" latinLnBrk="0" hangingPunct="1">
              <a:lnSpc>
                <a:spcPts val="1000"/>
              </a:lnSpc>
              <a:spcBef>
                <a:spcPct val="0"/>
              </a:spcBef>
              <a:spcAft>
                <a:spcPct val="0"/>
              </a:spcAft>
              <a:buClrTx/>
              <a:buSzTx/>
              <a:tabLst/>
            </a:pPr>
            <a:endParaRPr kumimoji="0" lang="en-GB" sz="1000" b="0" i="0" u="none" strike="noStrike" cap="none" normalizeH="0" baseline="0">
              <a:ln>
                <a:noFill/>
              </a:ln>
              <a:solidFill>
                <a:schemeClr val="tx1"/>
              </a:solidFill>
              <a:effectLst/>
              <a:latin typeface="Trebuchet MS" panose="020B0603020202020204" pitchFamily="34" charset="0"/>
            </a:endParaRPr>
          </a:p>
        </p:txBody>
      </p:sp>
      <p:sp>
        <p:nvSpPr>
          <p:cNvPr id="106" name="Espace réservé du texte 2">
            <a:extLst>
              <a:ext uri="{FF2B5EF4-FFF2-40B4-BE49-F238E27FC236}">
                <a16:creationId xmlns:a16="http://schemas.microsoft.com/office/drawing/2014/main" id="{7311AC93-4D2A-4CF6-8AF3-772E8CAF41E5}"/>
              </a:ext>
            </a:extLst>
          </p:cNvPr>
          <p:cNvSpPr>
            <a:spLocks noGrp="1"/>
          </p:cNvSpPr>
          <p:nvPr/>
        </p:nvSpPr>
        <p:spPr bwMode="auto">
          <a:xfrm>
            <a:off x="5681998" y="2100544"/>
            <a:ext cx="393415" cy="17829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23.5%</a:t>
            </a:r>
          </a:p>
        </p:txBody>
      </p:sp>
      <p:sp>
        <p:nvSpPr>
          <p:cNvPr id="107" name="Ellipse 39">
            <a:extLst>
              <a:ext uri="{FF2B5EF4-FFF2-40B4-BE49-F238E27FC236}">
                <a16:creationId xmlns:a16="http://schemas.microsoft.com/office/drawing/2014/main" id="{CB0BCF16-27D0-416C-A0F1-609963092A78}"/>
              </a:ext>
            </a:extLst>
          </p:cNvPr>
          <p:cNvSpPr/>
          <p:nvPr/>
        </p:nvSpPr>
        <p:spPr bwMode="auto">
          <a:xfrm>
            <a:off x="4965203" y="2548030"/>
            <a:ext cx="432757" cy="440283"/>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bg1"/>
              </a:solidFill>
              <a:effectLst/>
              <a:latin typeface="Trebuchet MS" pitchFamily="34" charset="0"/>
            </a:endParaRPr>
          </a:p>
        </p:txBody>
      </p:sp>
      <p:sp>
        <p:nvSpPr>
          <p:cNvPr id="108" name="Ellipse 188">
            <a:extLst>
              <a:ext uri="{FF2B5EF4-FFF2-40B4-BE49-F238E27FC236}">
                <a16:creationId xmlns:a16="http://schemas.microsoft.com/office/drawing/2014/main" id="{66EC0302-C514-4E92-80CD-8D235AE4BA48}"/>
              </a:ext>
            </a:extLst>
          </p:cNvPr>
          <p:cNvSpPr/>
          <p:nvPr/>
        </p:nvSpPr>
        <p:spPr bwMode="auto">
          <a:xfrm>
            <a:off x="6246032" y="2408921"/>
            <a:ext cx="576000" cy="586016"/>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solidFill>
                  <a:schemeClr val="bg1"/>
                </a:solidFill>
                <a:latin typeface="Trebuchet MS" panose="020B0603020202020204" pitchFamily="34" charset="0"/>
              </a:rPr>
              <a:t>50</a:t>
            </a:r>
            <a:r>
              <a:rPr kumimoji="0" lang="en-GB" sz="900" b="0" i="0" u="none" strike="noStrike" cap="none" normalizeH="0" baseline="0">
                <a:ln>
                  <a:noFill/>
                </a:ln>
                <a:solidFill>
                  <a:schemeClr val="bg1"/>
                </a:solidFill>
                <a:effectLst/>
                <a:latin typeface="Trebuchet MS" panose="020B0603020202020204" pitchFamily="34" charset="0"/>
              </a:rPr>
              <a:t>%</a:t>
            </a:r>
          </a:p>
        </p:txBody>
      </p:sp>
      <p:sp>
        <p:nvSpPr>
          <p:cNvPr id="109" name="Flèche : droite 40">
            <a:extLst>
              <a:ext uri="{FF2B5EF4-FFF2-40B4-BE49-F238E27FC236}">
                <a16:creationId xmlns:a16="http://schemas.microsoft.com/office/drawing/2014/main" id="{C1DA8E01-0BA7-4098-96DB-C7697A2E252C}"/>
              </a:ext>
            </a:extLst>
          </p:cNvPr>
          <p:cNvSpPr/>
          <p:nvPr/>
        </p:nvSpPr>
        <p:spPr bwMode="auto">
          <a:xfrm rot="20663281">
            <a:off x="5591236" y="2637306"/>
            <a:ext cx="533142" cy="134278"/>
          </a:xfrm>
          <a:prstGeom prst="rightArrow">
            <a:avLst/>
          </a:prstGeom>
          <a:solidFill>
            <a:schemeClr val="bg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0" name="Espace réservé du texte 2">
            <a:extLst>
              <a:ext uri="{FF2B5EF4-FFF2-40B4-BE49-F238E27FC236}">
                <a16:creationId xmlns:a16="http://schemas.microsoft.com/office/drawing/2014/main" id="{D976DF1F-1473-489A-9181-C8BE95AFCF69}"/>
              </a:ext>
            </a:extLst>
          </p:cNvPr>
          <p:cNvSpPr>
            <a:spLocks noGrp="1"/>
          </p:cNvSpPr>
          <p:nvPr/>
        </p:nvSpPr>
        <p:spPr bwMode="auto">
          <a:xfrm>
            <a:off x="5053866" y="2699028"/>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solidFill>
                  <a:schemeClr val="bg1"/>
                </a:solidFill>
                <a:latin typeface="Trebuchet MS" panose="020B0603020202020204" pitchFamily="34" charset="0"/>
                <a:sym typeface="+mn-lt"/>
              </a:rPr>
              <a:t>32.3%</a:t>
            </a:r>
          </a:p>
        </p:txBody>
      </p:sp>
      <p:sp>
        <p:nvSpPr>
          <p:cNvPr id="111" name="Espace réservé du texte 2">
            <a:extLst>
              <a:ext uri="{FF2B5EF4-FFF2-40B4-BE49-F238E27FC236}">
                <a16:creationId xmlns:a16="http://schemas.microsoft.com/office/drawing/2014/main" id="{2718AAE2-E24D-4EF7-8658-92CB90AD82BF}"/>
              </a:ext>
            </a:extLst>
          </p:cNvPr>
          <p:cNvSpPr>
            <a:spLocks noGrp="1"/>
          </p:cNvSpPr>
          <p:nvPr/>
        </p:nvSpPr>
        <p:spPr bwMode="auto">
          <a:xfrm>
            <a:off x="5681998" y="2776353"/>
            <a:ext cx="393415" cy="26656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24.4%</a:t>
            </a:r>
          </a:p>
        </p:txBody>
      </p:sp>
      <p:sp>
        <p:nvSpPr>
          <p:cNvPr id="115" name="Ellipse 39">
            <a:extLst>
              <a:ext uri="{FF2B5EF4-FFF2-40B4-BE49-F238E27FC236}">
                <a16:creationId xmlns:a16="http://schemas.microsoft.com/office/drawing/2014/main" id="{45660147-F056-4D93-B822-D5CEF799BE10}"/>
              </a:ext>
            </a:extLst>
          </p:cNvPr>
          <p:cNvSpPr/>
          <p:nvPr/>
        </p:nvSpPr>
        <p:spPr bwMode="auto">
          <a:xfrm>
            <a:off x="4943565" y="3252783"/>
            <a:ext cx="476033" cy="484311"/>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bg1"/>
              </a:solidFill>
              <a:effectLst/>
              <a:latin typeface="Trebuchet MS" pitchFamily="34" charset="0"/>
            </a:endParaRPr>
          </a:p>
        </p:txBody>
      </p:sp>
      <p:sp>
        <p:nvSpPr>
          <p:cNvPr id="116" name="Ellipse 188">
            <a:extLst>
              <a:ext uri="{FF2B5EF4-FFF2-40B4-BE49-F238E27FC236}">
                <a16:creationId xmlns:a16="http://schemas.microsoft.com/office/drawing/2014/main" id="{6BD5CCC0-9F50-42F5-96D2-C0842C9600A6}"/>
              </a:ext>
            </a:extLst>
          </p:cNvPr>
          <p:cNvSpPr/>
          <p:nvPr/>
        </p:nvSpPr>
        <p:spPr bwMode="auto">
          <a:xfrm>
            <a:off x="6217232" y="3106387"/>
            <a:ext cx="633600" cy="644618"/>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solidFill>
                  <a:schemeClr val="bg1"/>
                </a:solidFill>
                <a:latin typeface="Trebuchet MS" panose="020B0603020202020204" pitchFamily="34" charset="0"/>
              </a:rPr>
              <a:t>59.5%</a:t>
            </a:r>
            <a:endParaRPr kumimoji="0" lang="en-GB" sz="900" b="0" i="0" u="none" strike="noStrike" cap="none" normalizeH="0" baseline="0">
              <a:ln>
                <a:noFill/>
              </a:ln>
              <a:solidFill>
                <a:schemeClr val="bg1"/>
              </a:solidFill>
              <a:effectLst/>
              <a:latin typeface="Trebuchet MS" panose="020B0603020202020204" pitchFamily="34" charset="0"/>
            </a:endParaRPr>
          </a:p>
        </p:txBody>
      </p:sp>
      <p:sp>
        <p:nvSpPr>
          <p:cNvPr id="117" name="Flèche : droite 40">
            <a:extLst>
              <a:ext uri="{FF2B5EF4-FFF2-40B4-BE49-F238E27FC236}">
                <a16:creationId xmlns:a16="http://schemas.microsoft.com/office/drawing/2014/main" id="{C96FC47F-6AC7-40B7-8866-33A41FDDDBBD}"/>
              </a:ext>
            </a:extLst>
          </p:cNvPr>
          <p:cNvSpPr/>
          <p:nvPr/>
        </p:nvSpPr>
        <p:spPr bwMode="auto">
          <a:xfrm rot="20663281">
            <a:off x="5591236" y="3364073"/>
            <a:ext cx="533142" cy="134278"/>
          </a:xfrm>
          <a:prstGeom prst="rightArrow">
            <a:avLst/>
          </a:prstGeom>
          <a:solidFill>
            <a:schemeClr val="bg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8" name="Espace réservé du texte 2">
            <a:extLst>
              <a:ext uri="{FF2B5EF4-FFF2-40B4-BE49-F238E27FC236}">
                <a16:creationId xmlns:a16="http://schemas.microsoft.com/office/drawing/2014/main" id="{34381117-8CAD-47DE-8302-ADE3C8257C95}"/>
              </a:ext>
            </a:extLst>
          </p:cNvPr>
          <p:cNvSpPr>
            <a:spLocks noGrp="1"/>
          </p:cNvSpPr>
          <p:nvPr/>
        </p:nvSpPr>
        <p:spPr bwMode="auto">
          <a:xfrm>
            <a:off x="5053866" y="3425795"/>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solidFill>
                  <a:schemeClr val="bg1"/>
                </a:solidFill>
                <a:latin typeface="Trebuchet MS" panose="020B0603020202020204" pitchFamily="34" charset="0"/>
                <a:sym typeface="+mn-lt"/>
              </a:rPr>
              <a:t>37.7%</a:t>
            </a:r>
          </a:p>
        </p:txBody>
      </p:sp>
      <p:sp>
        <p:nvSpPr>
          <p:cNvPr id="119" name="Espace réservé du texte 2">
            <a:extLst>
              <a:ext uri="{FF2B5EF4-FFF2-40B4-BE49-F238E27FC236}">
                <a16:creationId xmlns:a16="http://schemas.microsoft.com/office/drawing/2014/main" id="{8160A52B-0A1A-4323-8DCC-4F44D4365000}"/>
              </a:ext>
            </a:extLst>
          </p:cNvPr>
          <p:cNvSpPr>
            <a:spLocks noGrp="1"/>
          </p:cNvSpPr>
          <p:nvPr/>
        </p:nvSpPr>
        <p:spPr bwMode="auto">
          <a:xfrm>
            <a:off x="5681998" y="3503120"/>
            <a:ext cx="393415" cy="26656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25.6%</a:t>
            </a:r>
          </a:p>
        </p:txBody>
      </p:sp>
      <p:pic>
        <p:nvPicPr>
          <p:cNvPr id="2" name="Picture 2 - 1" descr="Drapeau des Pays-Bas — Wikipédia">
            <a:extLst>
              <a:ext uri="{FF2B5EF4-FFF2-40B4-BE49-F238E27FC236}">
                <a16:creationId xmlns:a16="http://schemas.microsoft.com/office/drawing/2014/main" id="{28E33B11-95B4-430C-BAEC-8E4099B34C8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51882" y="3462555"/>
            <a:ext cx="238894" cy="144000"/>
          </a:xfrm>
          <a:prstGeom prst="roundRect">
            <a:avLst/>
          </a:prstGeom>
          <a:noFill/>
          <a:extLst>
            <a:ext uri="{909E8E84-426E-40DD-AFC4-6F175D3DCCD1}">
              <a14:hiddenFill xmlns:a14="http://schemas.microsoft.com/office/drawing/2010/main">
                <a:solidFill>
                  <a:srgbClr val="FFFFFF"/>
                </a:solidFill>
              </a14:hiddenFill>
            </a:ext>
          </a:extLst>
        </p:spPr>
      </p:pic>
      <p:pic>
        <p:nvPicPr>
          <p:cNvPr id="19" name="Picture 2" descr="5 ft x 3 ft 150 x 90 cm-DRAPEAU BELGE Belgique 100% Polyester ...">
            <a:extLst>
              <a:ext uri="{FF2B5EF4-FFF2-40B4-BE49-F238E27FC236}">
                <a16:creationId xmlns:a16="http://schemas.microsoft.com/office/drawing/2014/main" id="{690AC977-BF37-40CA-A4CA-08830AF5CA8C}"/>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973"/>
          <a:stretch/>
        </p:blipFill>
        <p:spPr bwMode="auto">
          <a:xfrm>
            <a:off x="4551881" y="2705834"/>
            <a:ext cx="238896"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C070191A-70EB-416C-BB55-C461DEBF7420}"/>
              </a:ext>
            </a:extLst>
          </p:cNvPr>
          <p:cNvSpPr/>
          <p:nvPr/>
        </p:nvSpPr>
        <p:spPr bwMode="auto">
          <a:xfrm>
            <a:off x="259493" y="3969768"/>
            <a:ext cx="1296000" cy="2133006"/>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b="0" cap="none" spc="-10" baseline="0" noProof="0">
                <a:solidFill>
                  <a:schemeClr val="tx2"/>
                </a:solidFill>
                <a:latin typeface="Trebuchet MS" panose="020B0603020202020204" pitchFamily="34" charset="0"/>
              </a:rPr>
              <a:t>Increase in exports</a:t>
            </a:r>
          </a:p>
        </p:txBody>
      </p:sp>
      <p:sp>
        <p:nvSpPr>
          <p:cNvPr id="127" name="Rectangle 126">
            <a:extLst>
              <a:ext uri="{FF2B5EF4-FFF2-40B4-BE49-F238E27FC236}">
                <a16:creationId xmlns:a16="http://schemas.microsoft.com/office/drawing/2014/main" id="{23DD4223-AF99-4407-A58F-0A3B2AB20A31}"/>
              </a:ext>
            </a:extLst>
          </p:cNvPr>
          <p:cNvSpPr/>
          <p:nvPr/>
        </p:nvSpPr>
        <p:spPr bwMode="auto">
          <a:xfrm>
            <a:off x="1652719" y="3969769"/>
            <a:ext cx="2216150" cy="2133006"/>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l">
              <a:buClr>
                <a:schemeClr val="tx1"/>
              </a:buClr>
              <a:buSzPct val="90000"/>
            </a:pPr>
            <a:r>
              <a:rPr lang="en-GB" sz="1000" spc="-30" baseline="0" noProof="0">
                <a:latin typeface="Trebuchet MS" panose="020B0603020202020204" pitchFamily="34" charset="0"/>
              </a:rPr>
              <a:t>Though exportations only affect one part of the underlying market (i.e. the companies with export activities), </a:t>
            </a:r>
            <a:r>
              <a:rPr lang="en-GB" sz="1000" spc="-30" baseline="0" noProof="0">
                <a:solidFill>
                  <a:schemeClr val="tx2"/>
                </a:solidFill>
                <a:latin typeface="Trebuchet MS" panose="020B0603020202020204" pitchFamily="34" charset="0"/>
              </a:rPr>
              <a:t>international contracts are perceived as riskier</a:t>
            </a:r>
            <a:r>
              <a:rPr lang="en-GB" sz="1000" spc="-30" baseline="0" noProof="0">
                <a:solidFill>
                  <a:schemeClr val="tx1"/>
                </a:solidFill>
                <a:latin typeface="Trebuchet MS" panose="020B0603020202020204" pitchFamily="34" charset="0"/>
              </a:rPr>
              <a:t>, </a:t>
            </a:r>
            <a:r>
              <a:rPr lang="en-GB" sz="1000" spc="-30" baseline="0" noProof="0">
                <a:latin typeface="Trebuchet MS" panose="020B0603020202020204" pitchFamily="34" charset="0"/>
              </a:rPr>
              <a:t>thus are more likely to drive spending in risk management</a:t>
            </a:r>
          </a:p>
          <a:p>
            <a:pPr marR="0" algn="ctr" defTabSz="914400" rtl="0" eaLnBrk="1" fontAlgn="base" latinLnBrk="0" hangingPunct="1">
              <a:lnSpc>
                <a:spcPts val="1000"/>
              </a:lnSpc>
              <a:spcBef>
                <a:spcPct val="0"/>
              </a:spcBef>
              <a:spcAft>
                <a:spcPct val="0"/>
              </a:spcAft>
              <a:buClrTx/>
              <a:buSzTx/>
              <a:tabLst/>
            </a:pPr>
            <a:endParaRPr kumimoji="0" lang="en-GB" sz="1000" b="0" i="0" u="none" strike="noStrike" cap="none" normalizeH="0" baseline="0">
              <a:ln>
                <a:noFill/>
              </a:ln>
              <a:solidFill>
                <a:schemeClr val="tx1"/>
              </a:solidFill>
              <a:effectLst/>
              <a:latin typeface="Trebuchet MS" panose="020B0603020202020204" pitchFamily="34" charset="0"/>
            </a:endParaRPr>
          </a:p>
        </p:txBody>
      </p:sp>
      <p:sp>
        <p:nvSpPr>
          <p:cNvPr id="181" name="Speech Bubble: Rectangle 180">
            <a:extLst>
              <a:ext uri="{FF2B5EF4-FFF2-40B4-BE49-F238E27FC236}">
                <a16:creationId xmlns:a16="http://schemas.microsoft.com/office/drawing/2014/main" id="{ADED5951-A287-4D21-9903-0CE6222581E0}"/>
              </a:ext>
            </a:extLst>
          </p:cNvPr>
          <p:cNvSpPr/>
          <p:nvPr/>
        </p:nvSpPr>
        <p:spPr bwMode="auto">
          <a:xfrm>
            <a:off x="7123104" y="1867204"/>
            <a:ext cx="1185706" cy="1022456"/>
          </a:xfrm>
          <a:prstGeom prst="wedgeRectCallout">
            <a:avLst>
              <a:gd name="adj1" fmla="val -69298"/>
              <a:gd name="adj2" fmla="val -27221"/>
            </a:avLst>
          </a:prstGeom>
          <a:no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tx1"/>
                </a:solidFill>
                <a:effectLst/>
                <a:latin typeface="Trebuchet MS" panose="020B0603020202020204" pitchFamily="34" charset="0"/>
              </a:rPr>
              <a:t>Reading insight: </a:t>
            </a:r>
          </a:p>
          <a:p>
            <a:pPr marL="0" marR="0" indent="0" defTabSz="914400" rtl="0" eaLnBrk="1" fontAlgn="base" latinLnBrk="0" hangingPunct="1">
              <a:lnSpc>
                <a:spcPct val="100000"/>
              </a:lnSpc>
              <a:spcBef>
                <a:spcPct val="0"/>
              </a:spcBef>
              <a:spcAft>
                <a:spcPct val="0"/>
              </a:spcAft>
              <a:buClrTx/>
              <a:buSzTx/>
              <a:buFontTx/>
              <a:buNone/>
              <a:tabLst/>
            </a:pPr>
            <a:endParaRPr kumimoji="0" lang="en-GB" sz="900" b="0" i="1" u="none" strike="noStrike" cap="none" normalizeH="0" baseline="0">
              <a:ln>
                <a:noFill/>
              </a:ln>
              <a:solidFill>
                <a:schemeClr val="tx1"/>
              </a:solidFill>
              <a:effectLst/>
              <a:latin typeface="Trebuchet MS" panose="020B0603020202020204" pitchFamily="34" charset="0"/>
            </a:endParaRPr>
          </a:p>
          <a:p>
            <a:pPr marL="0" marR="0" indent="0"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tx1"/>
                </a:solidFill>
                <a:effectLst/>
                <a:latin typeface="Trebuchet MS" panose="020B0603020202020204" pitchFamily="34" charset="0"/>
              </a:rPr>
              <a:t>In France, in 2019, 44.6% of the B2B transactions are not paid cash </a:t>
            </a:r>
          </a:p>
        </p:txBody>
      </p:sp>
      <p:cxnSp>
        <p:nvCxnSpPr>
          <p:cNvPr id="32" name="Connecteur droit 31">
            <a:extLst>
              <a:ext uri="{FF2B5EF4-FFF2-40B4-BE49-F238E27FC236}">
                <a16:creationId xmlns:a16="http://schemas.microsoft.com/office/drawing/2014/main" id="{E00A2E57-3617-4575-932F-92A339DBF631}"/>
              </a:ext>
            </a:extLst>
          </p:cNvPr>
          <p:cNvCxnSpPr>
            <a:cxnSpLocks/>
          </p:cNvCxnSpPr>
          <p:nvPr/>
        </p:nvCxnSpPr>
        <p:spPr bwMode="auto">
          <a:xfrm>
            <a:off x="3966095" y="3908018"/>
            <a:ext cx="5783217" cy="0"/>
          </a:xfrm>
          <a:prstGeom prst="line">
            <a:avLst/>
          </a:prstGeom>
          <a:solidFill>
            <a:schemeClr val="accent1"/>
          </a:solidFill>
          <a:ln w="9525" cap="flat" cmpd="sng" algn="ctr">
            <a:solidFill>
              <a:schemeClr val="tx1"/>
            </a:solidFill>
            <a:prstDash val="dash"/>
            <a:round/>
            <a:headEnd type="none" w="med" len="med"/>
            <a:tailEnd type="none" w="med" len="med"/>
          </a:ln>
          <a:effectLst/>
        </p:spPr>
      </p:cxnSp>
      <p:pic>
        <p:nvPicPr>
          <p:cNvPr id="38" name="Graphic 37">
            <a:extLst>
              <a:ext uri="{FF2B5EF4-FFF2-40B4-BE49-F238E27FC236}">
                <a16:creationId xmlns:a16="http://schemas.microsoft.com/office/drawing/2014/main" id="{864C4958-E545-4120-B667-1FB5956768AB}"/>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b="21784"/>
          <a:stretch/>
        </p:blipFill>
        <p:spPr>
          <a:xfrm>
            <a:off x="738406" y="1607113"/>
            <a:ext cx="338174" cy="330632"/>
          </a:xfrm>
          <a:prstGeom prst="rect">
            <a:avLst/>
          </a:prstGeom>
        </p:spPr>
      </p:pic>
      <p:pic>
        <p:nvPicPr>
          <p:cNvPr id="51" name="Graphic 50">
            <a:extLst>
              <a:ext uri="{FF2B5EF4-FFF2-40B4-BE49-F238E27FC236}">
                <a16:creationId xmlns:a16="http://schemas.microsoft.com/office/drawing/2014/main" id="{325E52FE-5B8A-496A-8E45-096894FC0489}"/>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18414"/>
          <a:stretch/>
        </p:blipFill>
        <p:spPr>
          <a:xfrm>
            <a:off x="755746" y="4078393"/>
            <a:ext cx="303495" cy="309513"/>
          </a:xfrm>
          <a:prstGeom prst="rect">
            <a:avLst/>
          </a:prstGeom>
        </p:spPr>
      </p:pic>
      <p:sp>
        <p:nvSpPr>
          <p:cNvPr id="231" name="Rectangle 230">
            <a:extLst>
              <a:ext uri="{FF2B5EF4-FFF2-40B4-BE49-F238E27FC236}">
                <a16:creationId xmlns:a16="http://schemas.microsoft.com/office/drawing/2014/main" id="{C21005FA-6337-4052-90E5-DEC4233298DA}"/>
              </a:ext>
            </a:extLst>
          </p:cNvPr>
          <p:cNvSpPr/>
          <p:nvPr/>
        </p:nvSpPr>
        <p:spPr bwMode="auto">
          <a:xfrm>
            <a:off x="4071008" y="3918787"/>
            <a:ext cx="2779824" cy="16609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tx1"/>
                </a:solidFill>
                <a:effectLst/>
                <a:latin typeface="Trebuchet MS" panose="020B0603020202020204" pitchFamily="34" charset="0"/>
              </a:rPr>
              <a:t>Evolution of the volume of exports by country, 2016-2019, in $bn - IMF</a:t>
            </a:r>
          </a:p>
        </p:txBody>
      </p:sp>
      <p:graphicFrame>
        <p:nvGraphicFramePr>
          <p:cNvPr id="232" name="Chart 231">
            <a:extLst>
              <a:ext uri="{FF2B5EF4-FFF2-40B4-BE49-F238E27FC236}">
                <a16:creationId xmlns:a16="http://schemas.microsoft.com/office/drawing/2014/main" id="{C73E24B9-C45C-4C18-9062-49276F103EA3}"/>
              </a:ext>
            </a:extLst>
          </p:cNvPr>
          <p:cNvGraphicFramePr/>
          <p:nvPr>
            <p:extLst>
              <p:ext uri="{D42A27DB-BD31-4B8C-83A1-F6EECF244321}">
                <p14:modId xmlns:p14="http://schemas.microsoft.com/office/powerpoint/2010/main" val="1061634704"/>
              </p:ext>
            </p:extLst>
          </p:nvPr>
        </p:nvGraphicFramePr>
        <p:xfrm>
          <a:off x="4047719" y="4325950"/>
          <a:ext cx="2826403" cy="2023390"/>
        </p:xfrm>
        <a:graphic>
          <a:graphicData uri="http://schemas.openxmlformats.org/drawingml/2006/chart">
            <c:chart xmlns:c="http://schemas.openxmlformats.org/drawingml/2006/chart" xmlns:r="http://schemas.openxmlformats.org/officeDocument/2006/relationships" r:id="rId16"/>
          </a:graphicData>
        </a:graphic>
      </p:graphicFrame>
      <p:cxnSp>
        <p:nvCxnSpPr>
          <p:cNvPr id="233" name="Straight Connector 232">
            <a:extLst>
              <a:ext uri="{FF2B5EF4-FFF2-40B4-BE49-F238E27FC236}">
                <a16:creationId xmlns:a16="http://schemas.microsoft.com/office/drawing/2014/main" id="{5EF76CFE-9CE8-461C-9B51-C28CF20EED7A}"/>
              </a:ext>
            </a:extLst>
          </p:cNvPr>
          <p:cNvCxnSpPr>
            <a:cxnSpLocks/>
          </p:cNvCxnSpPr>
          <p:nvPr>
            <p:custDataLst>
              <p:tags r:id="rId3"/>
            </p:custDataLst>
          </p:nvPr>
        </p:nvCxnSpPr>
        <p:spPr bwMode="auto">
          <a:xfrm flipV="1">
            <a:off x="4375672" y="4625567"/>
            <a:ext cx="2203121" cy="183350"/>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235" name="Rectangle 234">
            <a:extLst>
              <a:ext uri="{FF2B5EF4-FFF2-40B4-BE49-F238E27FC236}">
                <a16:creationId xmlns:a16="http://schemas.microsoft.com/office/drawing/2014/main" id="{AF670C34-8E78-4C9B-8270-70D7BFC14480}"/>
              </a:ext>
            </a:extLst>
          </p:cNvPr>
          <p:cNvSpPr/>
          <p:nvPr/>
        </p:nvSpPr>
        <p:spPr bwMode="auto">
          <a:xfrm>
            <a:off x="4784248" y="4334391"/>
            <a:ext cx="1061354" cy="178295"/>
          </a:xfrm>
          <a:prstGeom prst="rect">
            <a:avLst/>
          </a:prstGeom>
          <a:solidFill>
            <a:schemeClr val="tx1"/>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1"/>
                </a:solidFill>
                <a:effectLst/>
                <a:latin typeface="Trebuchet MS" panose="020B0603020202020204" pitchFamily="34" charset="0"/>
              </a:rPr>
              <a:t>CAGR</a:t>
            </a:r>
            <a:r>
              <a:rPr kumimoji="0" lang="en-GB" sz="900" b="0" i="0" u="none" strike="noStrike" cap="none" normalizeH="0" baseline="-25000">
                <a:ln>
                  <a:noFill/>
                </a:ln>
                <a:solidFill>
                  <a:schemeClr val="bg1"/>
                </a:solidFill>
                <a:effectLst/>
                <a:latin typeface="Trebuchet MS" panose="020B0603020202020204" pitchFamily="34" charset="0"/>
              </a:rPr>
              <a:t>16-19</a:t>
            </a:r>
            <a:r>
              <a:rPr kumimoji="0" lang="en-GB" sz="900" b="0" i="0" u="none" strike="noStrike" cap="none" normalizeH="0" baseline="0">
                <a:ln>
                  <a:noFill/>
                </a:ln>
                <a:solidFill>
                  <a:schemeClr val="bg1"/>
                </a:solidFill>
                <a:effectLst/>
                <a:latin typeface="Trebuchet MS" panose="020B0603020202020204" pitchFamily="34" charset="0"/>
              </a:rPr>
              <a:t>: +5.8% </a:t>
            </a:r>
          </a:p>
        </p:txBody>
      </p:sp>
      <p:sp>
        <p:nvSpPr>
          <p:cNvPr id="237" name="Espace réservé du texte 2">
            <a:extLst>
              <a:ext uri="{FF2B5EF4-FFF2-40B4-BE49-F238E27FC236}">
                <a16:creationId xmlns:a16="http://schemas.microsoft.com/office/drawing/2014/main" id="{998DD445-360B-4DD9-A4DE-4F45054CF7F0}"/>
              </a:ext>
            </a:extLst>
          </p:cNvPr>
          <p:cNvSpPr>
            <a:spLocks noGrp="1"/>
          </p:cNvSpPr>
          <p:nvPr/>
        </p:nvSpPr>
        <p:spPr bwMode="auto">
          <a:xfrm>
            <a:off x="4306849" y="4630621"/>
            <a:ext cx="393415" cy="17829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1000">
                <a:latin typeface="Trebuchet MS" panose="020B0603020202020204" pitchFamily="34" charset="0"/>
                <a:sym typeface="+mn-lt"/>
              </a:rPr>
              <a:t>1.441</a:t>
            </a:r>
            <a:endParaRPr lang="en-GB" sz="900">
              <a:latin typeface="Trebuchet MS" panose="020B0603020202020204" pitchFamily="34" charset="0"/>
              <a:sym typeface="+mn-lt"/>
            </a:endParaRPr>
          </a:p>
        </p:txBody>
      </p:sp>
      <p:sp>
        <p:nvSpPr>
          <p:cNvPr id="238" name="Espace réservé du texte 2">
            <a:extLst>
              <a:ext uri="{FF2B5EF4-FFF2-40B4-BE49-F238E27FC236}">
                <a16:creationId xmlns:a16="http://schemas.microsoft.com/office/drawing/2014/main" id="{6B604032-2312-4D74-9D49-AAEBFD16781E}"/>
              </a:ext>
            </a:extLst>
          </p:cNvPr>
          <p:cNvSpPr>
            <a:spLocks noGrp="1"/>
          </p:cNvSpPr>
          <p:nvPr>
            <p:custDataLst>
              <p:tags r:id="rId4"/>
            </p:custDataLst>
          </p:nvPr>
        </p:nvSpPr>
        <p:spPr bwMode="auto">
          <a:xfrm>
            <a:off x="6185378" y="4442410"/>
            <a:ext cx="393415" cy="17829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1000">
                <a:latin typeface="Trebuchet MS" panose="020B0603020202020204" pitchFamily="34" charset="0"/>
                <a:sym typeface="+mn-lt"/>
              </a:rPr>
              <a:t>1.707</a:t>
            </a:r>
          </a:p>
        </p:txBody>
      </p:sp>
      <p:sp>
        <p:nvSpPr>
          <p:cNvPr id="239" name="Rectangle 238">
            <a:extLst>
              <a:ext uri="{FF2B5EF4-FFF2-40B4-BE49-F238E27FC236}">
                <a16:creationId xmlns:a16="http://schemas.microsoft.com/office/drawing/2014/main" id="{C9F8D769-60A9-4F64-A794-C414929B9BAA}"/>
              </a:ext>
            </a:extLst>
          </p:cNvPr>
          <p:cNvSpPr/>
          <p:nvPr/>
        </p:nvSpPr>
        <p:spPr bwMode="auto">
          <a:xfrm>
            <a:off x="7097624" y="4075203"/>
            <a:ext cx="2542133" cy="113759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100"/>
              </a:lnSpc>
              <a:defRPr/>
            </a:pPr>
            <a:r>
              <a:rPr lang="en-GB" sz="1000" i="1" spc="-30">
                <a:latin typeface="Trebuchet MS" panose="020B0603020202020204" pitchFamily="34" charset="0"/>
              </a:rPr>
              <a:t>“</a:t>
            </a:r>
            <a:r>
              <a:rPr lang="en-GB" sz="1000" i="1" spc="-30">
                <a:solidFill>
                  <a:schemeClr val="tx2"/>
                </a:solidFill>
                <a:latin typeface="Trebuchet MS" panose="020B0603020202020204" pitchFamily="34" charset="0"/>
              </a:rPr>
              <a:t>59%</a:t>
            </a:r>
            <a:r>
              <a:rPr lang="en-GB" sz="1000" i="1" spc="-30">
                <a:latin typeface="Trebuchet MS" panose="020B0603020202020204" pitchFamily="34" charset="0"/>
              </a:rPr>
              <a:t> of </a:t>
            </a:r>
            <a:r>
              <a:rPr lang="en-GB" sz="1000" i="1" spc="-30">
                <a:solidFill>
                  <a:schemeClr val="tx2"/>
                </a:solidFill>
                <a:latin typeface="Trebuchet MS" panose="020B0603020202020204" pitchFamily="34" charset="0"/>
              </a:rPr>
              <a:t>business</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leaders</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estimate</a:t>
            </a:r>
            <a:r>
              <a:rPr lang="en-GB" sz="1000" i="1" spc="-30">
                <a:latin typeface="Trebuchet MS" panose="020B0603020202020204" pitchFamily="34" charset="0"/>
              </a:rPr>
              <a:t> the risk of </a:t>
            </a:r>
            <a:r>
              <a:rPr lang="en-GB" sz="1000" i="1" spc="-30">
                <a:solidFill>
                  <a:schemeClr val="tx2"/>
                </a:solidFill>
                <a:latin typeface="Trebuchet MS" panose="020B0603020202020204" pitchFamily="34" charset="0"/>
              </a:rPr>
              <a:t>non-payment</a:t>
            </a:r>
            <a:r>
              <a:rPr lang="en-GB" sz="1000" i="1" spc="-30">
                <a:latin typeface="Trebuchet MS" panose="020B0603020202020204" pitchFamily="34" charset="0"/>
              </a:rPr>
              <a:t> as their </a:t>
            </a:r>
            <a:r>
              <a:rPr lang="en-GB" sz="1000" i="1" spc="-30">
                <a:solidFill>
                  <a:schemeClr val="tx2"/>
                </a:solidFill>
                <a:latin typeface="Trebuchet MS" panose="020B0603020202020204" pitchFamily="34" charset="0"/>
              </a:rPr>
              <a:t>main</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obstacle</a:t>
            </a:r>
            <a:r>
              <a:rPr lang="en-GB" sz="1000" i="1" spc="-30">
                <a:latin typeface="Trebuchet MS" panose="020B0603020202020204" pitchFamily="34" charset="0"/>
              </a:rPr>
              <a:t> to </a:t>
            </a:r>
            <a:r>
              <a:rPr lang="en-GB" sz="1000" i="1" spc="-30">
                <a:solidFill>
                  <a:schemeClr val="tx2"/>
                </a:solidFill>
                <a:latin typeface="Trebuchet MS" panose="020B0603020202020204" pitchFamily="34" charset="0"/>
              </a:rPr>
              <a:t>exports</a:t>
            </a:r>
            <a:r>
              <a:rPr lang="en-GB" sz="1000" i="1" spc="-30">
                <a:latin typeface="Trebuchet MS" panose="020B0603020202020204" pitchFamily="34" charset="0"/>
              </a:rPr>
              <a:t>. […] As well as having a visibility of the solvency of the customers or the robustness of the country’s economy”</a:t>
            </a:r>
          </a:p>
          <a:p>
            <a:pPr>
              <a:lnSpc>
                <a:spcPts val="1100"/>
              </a:lnSpc>
              <a:defRPr/>
            </a:pPr>
            <a:endParaRPr lang="en-GB" sz="1000" i="1" spc="-30">
              <a:latin typeface="Trebuchet MS" panose="020B0603020202020204" pitchFamily="34" charset="0"/>
            </a:endParaRPr>
          </a:p>
          <a:p>
            <a:pPr>
              <a:lnSpc>
                <a:spcPts val="1100"/>
              </a:lnSpc>
              <a:defRPr/>
            </a:pPr>
            <a:r>
              <a:rPr lang="en-GB" sz="1000" spc="-30">
                <a:latin typeface="Trebuchet MS" panose="020B0603020202020204" pitchFamily="34" charset="0"/>
              </a:rPr>
              <a:t>Euler Hermes Exports Barometer</a:t>
            </a:r>
            <a:endParaRPr lang="en-GB" sz="1000">
              <a:latin typeface="Trebuchet MS" panose="020B0603020202020204" pitchFamily="34" charset="0"/>
            </a:endParaRPr>
          </a:p>
        </p:txBody>
      </p:sp>
      <p:sp>
        <p:nvSpPr>
          <p:cNvPr id="240" name="Freeform 663">
            <a:extLst>
              <a:ext uri="{FF2B5EF4-FFF2-40B4-BE49-F238E27FC236}">
                <a16:creationId xmlns:a16="http://schemas.microsoft.com/office/drawing/2014/main" id="{EDFD8F6D-9F48-40D8-B5B1-BF0D55B6A455}"/>
              </a:ext>
            </a:extLst>
          </p:cNvPr>
          <p:cNvSpPr>
            <a:spLocks noEditPoints="1"/>
          </p:cNvSpPr>
          <p:nvPr/>
        </p:nvSpPr>
        <p:spPr bwMode="auto">
          <a:xfrm>
            <a:off x="6955985" y="4517999"/>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59" name="Espace réservé du texte 2">
            <a:extLst>
              <a:ext uri="{FF2B5EF4-FFF2-40B4-BE49-F238E27FC236}">
                <a16:creationId xmlns:a16="http://schemas.microsoft.com/office/drawing/2014/main" id="{A06CF224-4A4F-4A52-BB71-F082BC5967AB}"/>
              </a:ext>
            </a:extLst>
          </p:cNvPr>
          <p:cNvSpPr>
            <a:spLocks noGrp="1"/>
          </p:cNvSpPr>
          <p:nvPr/>
        </p:nvSpPr>
        <p:spPr bwMode="auto">
          <a:xfrm>
            <a:off x="4480563" y="1866580"/>
            <a:ext cx="393415" cy="17829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France</a:t>
            </a:r>
          </a:p>
        </p:txBody>
      </p:sp>
      <p:sp>
        <p:nvSpPr>
          <p:cNvPr id="60" name="Espace réservé du texte 2">
            <a:extLst>
              <a:ext uri="{FF2B5EF4-FFF2-40B4-BE49-F238E27FC236}">
                <a16:creationId xmlns:a16="http://schemas.microsoft.com/office/drawing/2014/main" id="{FE6A4E88-B1B1-4CC3-A1CD-02D45F969EAE}"/>
              </a:ext>
            </a:extLst>
          </p:cNvPr>
          <p:cNvSpPr>
            <a:spLocks noGrp="1"/>
          </p:cNvSpPr>
          <p:nvPr/>
        </p:nvSpPr>
        <p:spPr bwMode="auto">
          <a:xfrm>
            <a:off x="4480563" y="2547521"/>
            <a:ext cx="393415" cy="17829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Belgium</a:t>
            </a:r>
          </a:p>
        </p:txBody>
      </p:sp>
      <p:sp>
        <p:nvSpPr>
          <p:cNvPr id="61" name="Espace réservé du texte 2">
            <a:extLst>
              <a:ext uri="{FF2B5EF4-FFF2-40B4-BE49-F238E27FC236}">
                <a16:creationId xmlns:a16="http://schemas.microsoft.com/office/drawing/2014/main" id="{D76757C1-D8A1-486D-B6E5-0A0387D896B1}"/>
              </a:ext>
            </a:extLst>
          </p:cNvPr>
          <p:cNvSpPr>
            <a:spLocks noGrp="1"/>
          </p:cNvSpPr>
          <p:nvPr/>
        </p:nvSpPr>
        <p:spPr bwMode="auto">
          <a:xfrm>
            <a:off x="4480563" y="3258399"/>
            <a:ext cx="393415" cy="17829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Netherlands</a:t>
            </a:r>
          </a:p>
        </p:txBody>
      </p:sp>
      <p:sp>
        <p:nvSpPr>
          <p:cNvPr id="62" name="Rectangle 61">
            <a:extLst>
              <a:ext uri="{FF2B5EF4-FFF2-40B4-BE49-F238E27FC236}">
                <a16:creationId xmlns:a16="http://schemas.microsoft.com/office/drawing/2014/main" id="{E446C235-E272-49B6-88D9-C7005AD520D8}"/>
              </a:ext>
            </a:extLst>
          </p:cNvPr>
          <p:cNvSpPr/>
          <p:nvPr/>
        </p:nvSpPr>
        <p:spPr bwMode="auto">
          <a:xfrm>
            <a:off x="7097624" y="5317772"/>
            <a:ext cx="2542133" cy="785001"/>
          </a:xfrm>
          <a:prstGeom prst="rect">
            <a:avLst/>
          </a:prstGeom>
          <a:solidFill>
            <a:srgbClr val="F2F2F2"/>
          </a:solidFill>
          <a:ln w="9525" cap="flat" cmpd="sng" algn="ctr">
            <a:no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100"/>
              </a:lnSpc>
              <a:defRPr/>
            </a:pPr>
            <a:r>
              <a:rPr lang="en-GB" sz="1000">
                <a:latin typeface="Trebuchet MS" panose="020B0603020202020204" pitchFamily="34" charset="0"/>
              </a:rPr>
              <a:t>The volume of exports over 2016-2019 has grown twice as fast in the Netherlands (i.e. 8.12%) as in France (4.66%) or Belgium (4.31%)</a:t>
            </a:r>
          </a:p>
        </p:txBody>
      </p:sp>
      <p:sp>
        <p:nvSpPr>
          <p:cNvPr id="63" name="Rectangle 62">
            <a:extLst>
              <a:ext uri="{FF2B5EF4-FFF2-40B4-BE49-F238E27FC236}">
                <a16:creationId xmlns:a16="http://schemas.microsoft.com/office/drawing/2014/main" id="{8363B66F-DCE4-49EE-8999-D2EC6FE5B373}"/>
              </a:ext>
            </a:extLst>
          </p:cNvPr>
          <p:cNvSpPr/>
          <p:nvPr/>
        </p:nvSpPr>
        <p:spPr bwMode="auto">
          <a:xfrm>
            <a:off x="7097624" y="3007674"/>
            <a:ext cx="2542133" cy="785001"/>
          </a:xfrm>
          <a:prstGeom prst="rect">
            <a:avLst/>
          </a:prstGeom>
          <a:solidFill>
            <a:srgbClr val="F2F2F2"/>
          </a:solidFill>
          <a:ln w="9525" cap="flat" cmpd="sng" algn="ctr">
            <a:no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100"/>
              </a:lnSpc>
              <a:defRPr/>
            </a:pPr>
            <a:r>
              <a:rPr lang="en-GB" sz="1000">
                <a:latin typeface="Trebuchet MS" panose="020B0603020202020204" pitchFamily="34" charset="0"/>
              </a:rPr>
              <a:t>The volume of B2B sales made on credit is higher in the Netherlands and Belgium than in France, a trend that has been accelerating over the last three years</a:t>
            </a:r>
          </a:p>
        </p:txBody>
      </p:sp>
      <p:sp>
        <p:nvSpPr>
          <p:cNvPr id="65" name="Rectangle 64">
            <a:extLst>
              <a:ext uri="{FF2B5EF4-FFF2-40B4-BE49-F238E27FC236}">
                <a16:creationId xmlns:a16="http://schemas.microsoft.com/office/drawing/2014/main" id="{B8C3D6B6-800A-4164-9A36-00BC3CE88163}"/>
              </a:ext>
            </a:extLst>
          </p:cNvPr>
          <p:cNvSpPr/>
          <p:nvPr/>
        </p:nvSpPr>
        <p:spPr bwMode="auto">
          <a:xfrm>
            <a:off x="4356429" y="6181366"/>
            <a:ext cx="517549" cy="182449"/>
          </a:xfrm>
          <a:prstGeom prst="rect">
            <a:avLst/>
          </a:prstGeom>
          <a:solidFill>
            <a:schemeClr val="tx1"/>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1"/>
                </a:solidFill>
                <a:effectLst/>
                <a:latin typeface="Trebuchet MS" panose="020B0603020202020204" pitchFamily="34" charset="0"/>
              </a:rPr>
              <a:t>CAGR</a:t>
            </a:r>
            <a:r>
              <a:rPr kumimoji="0" lang="en-GB" sz="900" b="0" i="0" u="none" strike="noStrike" cap="none" normalizeH="0" baseline="-25000">
                <a:ln>
                  <a:noFill/>
                </a:ln>
                <a:solidFill>
                  <a:schemeClr val="bg1"/>
                </a:solidFill>
                <a:effectLst/>
                <a:latin typeface="Trebuchet MS" panose="020B0603020202020204" pitchFamily="34" charset="0"/>
              </a:rPr>
              <a:t>16-19</a:t>
            </a:r>
            <a:endParaRPr kumimoji="0" lang="en-GB" sz="900" b="0" i="0" u="none" strike="noStrike" cap="none" normalizeH="0" baseline="0">
              <a:ln>
                <a:noFill/>
              </a:ln>
              <a:solidFill>
                <a:schemeClr val="bg1"/>
              </a:solidFill>
              <a:effectLst/>
              <a:latin typeface="Trebuchet MS" panose="020B0603020202020204" pitchFamily="34" charset="0"/>
            </a:endParaRPr>
          </a:p>
        </p:txBody>
      </p:sp>
      <p:sp>
        <p:nvSpPr>
          <p:cNvPr id="66" name="Rectangle 65">
            <a:extLst>
              <a:ext uri="{FF2B5EF4-FFF2-40B4-BE49-F238E27FC236}">
                <a16:creationId xmlns:a16="http://schemas.microsoft.com/office/drawing/2014/main" id="{D324C95D-282C-4F3A-9F1A-F5A5391BB56E}"/>
              </a:ext>
            </a:extLst>
          </p:cNvPr>
          <p:cNvSpPr/>
          <p:nvPr/>
        </p:nvSpPr>
        <p:spPr bwMode="auto">
          <a:xfrm>
            <a:off x="5032024" y="6181366"/>
            <a:ext cx="431262" cy="172835"/>
          </a:xfrm>
          <a:prstGeom prst="rect">
            <a:avLst/>
          </a:prstGeom>
          <a:solidFill>
            <a:schemeClr val="tx2"/>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1"/>
                </a:solidFill>
                <a:effectLst/>
                <a:latin typeface="Trebuchet MS" panose="020B0603020202020204" pitchFamily="34" charset="0"/>
              </a:rPr>
              <a:t>+8.12%</a:t>
            </a:r>
          </a:p>
        </p:txBody>
      </p:sp>
      <p:sp>
        <p:nvSpPr>
          <p:cNvPr id="67" name="Rectangle 66">
            <a:extLst>
              <a:ext uri="{FF2B5EF4-FFF2-40B4-BE49-F238E27FC236}">
                <a16:creationId xmlns:a16="http://schemas.microsoft.com/office/drawing/2014/main" id="{BF77EC18-AAFD-49FA-88BD-95CC2EC8807C}"/>
              </a:ext>
            </a:extLst>
          </p:cNvPr>
          <p:cNvSpPr/>
          <p:nvPr/>
        </p:nvSpPr>
        <p:spPr bwMode="auto">
          <a:xfrm>
            <a:off x="5583070" y="6181366"/>
            <a:ext cx="431262" cy="172835"/>
          </a:xfrm>
          <a:prstGeom prst="rect">
            <a:avLst/>
          </a:prstGeom>
          <a:solidFill>
            <a:srgbClr val="69D878"/>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solidFill>
                  <a:schemeClr val="bg1"/>
                </a:solidFill>
                <a:latin typeface="Trebuchet MS" panose="020B0603020202020204" pitchFamily="34" charset="0"/>
              </a:rPr>
              <a:t>+4.3%</a:t>
            </a:r>
            <a:endParaRPr kumimoji="0" lang="en-GB" sz="900" b="0" i="0" u="none" strike="noStrike" cap="none" normalizeH="0" baseline="0">
              <a:ln>
                <a:noFill/>
              </a:ln>
              <a:solidFill>
                <a:schemeClr val="bg1"/>
              </a:solidFill>
              <a:effectLst/>
              <a:latin typeface="Trebuchet MS" panose="020B0603020202020204" pitchFamily="34" charset="0"/>
            </a:endParaRPr>
          </a:p>
        </p:txBody>
      </p:sp>
      <p:sp>
        <p:nvSpPr>
          <p:cNvPr id="68" name="Rectangle 67">
            <a:extLst>
              <a:ext uri="{FF2B5EF4-FFF2-40B4-BE49-F238E27FC236}">
                <a16:creationId xmlns:a16="http://schemas.microsoft.com/office/drawing/2014/main" id="{A6B003C1-D348-4D39-9BC8-480DD07969B5}"/>
              </a:ext>
            </a:extLst>
          </p:cNvPr>
          <p:cNvSpPr/>
          <p:nvPr/>
        </p:nvSpPr>
        <p:spPr bwMode="auto">
          <a:xfrm>
            <a:off x="6155014" y="6181366"/>
            <a:ext cx="431262" cy="172835"/>
          </a:xfrm>
          <a:prstGeom prst="rect">
            <a:avLst/>
          </a:prstGeom>
          <a:solidFill>
            <a:srgbClr val="CDF2D2"/>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4.7%</a:t>
            </a:r>
          </a:p>
        </p:txBody>
      </p:sp>
      <p:sp>
        <p:nvSpPr>
          <p:cNvPr id="9" name="Ellipse 8">
            <a:extLst>
              <a:ext uri="{FF2B5EF4-FFF2-40B4-BE49-F238E27FC236}">
                <a16:creationId xmlns:a16="http://schemas.microsoft.com/office/drawing/2014/main" id="{3F0F3D1A-8941-4B2F-B9EA-64446D7E7371}"/>
              </a:ext>
            </a:extLst>
          </p:cNvPr>
          <p:cNvSpPr/>
          <p:nvPr/>
        </p:nvSpPr>
        <p:spPr bwMode="auto">
          <a:xfrm>
            <a:off x="273000" y="1537954"/>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1</a:t>
            </a:r>
          </a:p>
        </p:txBody>
      </p:sp>
      <p:sp>
        <p:nvSpPr>
          <p:cNvPr id="73" name="Ellipse 72">
            <a:extLst>
              <a:ext uri="{FF2B5EF4-FFF2-40B4-BE49-F238E27FC236}">
                <a16:creationId xmlns:a16="http://schemas.microsoft.com/office/drawing/2014/main" id="{BB64A626-404C-4350-BC32-A47341E04F16}"/>
              </a:ext>
            </a:extLst>
          </p:cNvPr>
          <p:cNvSpPr/>
          <p:nvPr/>
        </p:nvSpPr>
        <p:spPr bwMode="auto">
          <a:xfrm>
            <a:off x="273000" y="3994880"/>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2</a:t>
            </a:r>
          </a:p>
        </p:txBody>
      </p:sp>
      <p:sp>
        <p:nvSpPr>
          <p:cNvPr id="78" name="ZoneTexte 77">
            <a:extLst>
              <a:ext uri="{FF2B5EF4-FFF2-40B4-BE49-F238E27FC236}">
                <a16:creationId xmlns:a16="http://schemas.microsoft.com/office/drawing/2014/main" id="{CE5C4C33-D9A6-4B8F-BD1E-E02D1E611664}"/>
              </a:ext>
            </a:extLst>
          </p:cNvPr>
          <p:cNvSpPr txBox="1"/>
          <p:nvPr/>
        </p:nvSpPr>
        <p:spPr>
          <a:xfrm>
            <a:off x="8470051" y="488823"/>
            <a:ext cx="1310675" cy="200055"/>
          </a:xfrm>
          <a:prstGeom prst="rect">
            <a:avLst/>
          </a:prstGeom>
          <a:noFill/>
        </p:spPr>
        <p:txBody>
          <a:bodyPr wrap="square" rtlCol="0">
            <a:spAutoFit/>
          </a:bodyPr>
          <a:lstStyle/>
          <a:p>
            <a:pPr algn="ctr"/>
            <a:r>
              <a:rPr lang="en-GB" sz="700" i="1">
                <a:solidFill>
                  <a:schemeClr val="bg2"/>
                </a:solidFill>
                <a:latin typeface="Trebuchet MS" panose="020B0603020202020204" pitchFamily="34" charset="0"/>
              </a:rPr>
              <a:t>Underlying factors</a:t>
            </a:r>
          </a:p>
        </p:txBody>
      </p:sp>
      <p:grpSp>
        <p:nvGrpSpPr>
          <p:cNvPr id="79" name="Groupe 78">
            <a:extLst>
              <a:ext uri="{FF2B5EF4-FFF2-40B4-BE49-F238E27FC236}">
                <a16:creationId xmlns:a16="http://schemas.microsoft.com/office/drawing/2014/main" id="{FF24B21F-2F02-4229-8524-6BAEBFE98AAE}"/>
              </a:ext>
            </a:extLst>
          </p:cNvPr>
          <p:cNvGrpSpPr/>
          <p:nvPr/>
        </p:nvGrpSpPr>
        <p:grpSpPr>
          <a:xfrm>
            <a:off x="8448150" y="-11528"/>
            <a:ext cx="1435548" cy="588143"/>
            <a:chOff x="8448150" y="-11528"/>
            <a:chExt cx="1435548" cy="588143"/>
          </a:xfrm>
        </p:grpSpPr>
        <p:grpSp>
          <p:nvGrpSpPr>
            <p:cNvPr id="80" name="Groupe 79">
              <a:extLst>
                <a:ext uri="{FF2B5EF4-FFF2-40B4-BE49-F238E27FC236}">
                  <a16:creationId xmlns:a16="http://schemas.microsoft.com/office/drawing/2014/main" id="{20D3AF79-6A19-43D8-AD6D-090B660D4672}"/>
                </a:ext>
              </a:extLst>
            </p:cNvPr>
            <p:cNvGrpSpPr/>
            <p:nvPr/>
          </p:nvGrpSpPr>
          <p:grpSpPr>
            <a:xfrm>
              <a:off x="8448150" y="-11528"/>
              <a:ext cx="1435548" cy="555653"/>
              <a:chOff x="8448150" y="-11528"/>
              <a:chExt cx="1435548" cy="555653"/>
            </a:xfrm>
          </p:grpSpPr>
          <p:sp>
            <p:nvSpPr>
              <p:cNvPr id="82" name="Rectangle : coins arrondis 199">
                <a:extLst>
                  <a:ext uri="{FF2B5EF4-FFF2-40B4-BE49-F238E27FC236}">
                    <a16:creationId xmlns:a16="http://schemas.microsoft.com/office/drawing/2014/main" id="{CE172AAB-8DA8-4F83-BAD6-48DAA8E888F7}"/>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3" name="Rectangle : coins arrondis 200">
                <a:extLst>
                  <a:ext uri="{FF2B5EF4-FFF2-40B4-BE49-F238E27FC236}">
                    <a16:creationId xmlns:a16="http://schemas.microsoft.com/office/drawing/2014/main" id="{62AFA1A2-ABA7-47F9-98D7-C22CCACBEA4B}"/>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4" name="Rectangle : coins arrondis 201">
                <a:extLst>
                  <a:ext uri="{FF2B5EF4-FFF2-40B4-BE49-F238E27FC236}">
                    <a16:creationId xmlns:a16="http://schemas.microsoft.com/office/drawing/2014/main" id="{40EA37F2-2130-4425-844D-D2EA060232BE}"/>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5" name="ZoneTexte 18">
                <a:extLst>
                  <a:ext uri="{FF2B5EF4-FFF2-40B4-BE49-F238E27FC236}">
                    <a16:creationId xmlns:a16="http://schemas.microsoft.com/office/drawing/2014/main" id="{DF6A524D-0FCB-4524-BBF4-577640DCF71A}"/>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86" name="Graphique 128" descr="Jauge">
                <a:extLst>
                  <a:ext uri="{FF2B5EF4-FFF2-40B4-BE49-F238E27FC236}">
                    <a16:creationId xmlns:a16="http://schemas.microsoft.com/office/drawing/2014/main" id="{9966CF92-9701-420E-920D-32B11440263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553764" y="187516"/>
                <a:ext cx="234953" cy="218224"/>
              </a:xfrm>
              <a:prstGeom prst="rect">
                <a:avLst/>
              </a:prstGeom>
              <a:effectLst/>
            </p:spPr>
          </p:pic>
          <p:pic>
            <p:nvPicPr>
              <p:cNvPr id="87" name="Graphique 90" descr="Poignée de main">
                <a:extLst>
                  <a:ext uri="{FF2B5EF4-FFF2-40B4-BE49-F238E27FC236}">
                    <a16:creationId xmlns:a16="http://schemas.microsoft.com/office/drawing/2014/main" id="{567D8EAF-9CB0-44CA-B06A-1162CD2A05CC}"/>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960868" y="152880"/>
                <a:ext cx="256313" cy="287496"/>
              </a:xfrm>
              <a:prstGeom prst="rect">
                <a:avLst/>
              </a:prstGeom>
              <a:effectLst/>
            </p:spPr>
          </p:pic>
          <p:pic>
            <p:nvPicPr>
              <p:cNvPr id="88" name="Graphique 74" descr="Mégaphone">
                <a:extLst>
                  <a:ext uri="{FF2B5EF4-FFF2-40B4-BE49-F238E27FC236}">
                    <a16:creationId xmlns:a16="http://schemas.microsoft.com/office/drawing/2014/main" id="{275A3767-30A5-402A-836E-BDEAFE1832E5}"/>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389331" y="181519"/>
                <a:ext cx="233011" cy="216420"/>
              </a:xfrm>
              <a:prstGeom prst="rect">
                <a:avLst/>
              </a:prstGeom>
              <a:effectLst/>
            </p:spPr>
          </p:pic>
          <p:pic>
            <p:nvPicPr>
              <p:cNvPr id="89" name="Picture 2" descr="Drapeau France">
                <a:extLst>
                  <a:ext uri="{FF2B5EF4-FFF2-40B4-BE49-F238E27FC236}">
                    <a16:creationId xmlns:a16="http://schemas.microsoft.com/office/drawing/2014/main" id="{06FEF37B-640A-436C-B2A0-E300469A7534}"/>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90" name="Picture 2" descr="5 ft x 3 ft 150 x 90 cm-DRAPEAU BELGE Belgique 100% Polyester ...">
                <a:extLst>
                  <a:ext uri="{FF2B5EF4-FFF2-40B4-BE49-F238E27FC236}">
                    <a16:creationId xmlns:a16="http://schemas.microsoft.com/office/drawing/2014/main" id="{CDEC654F-D1F5-42B1-AC49-6F4FD9E0D0FC}"/>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91" name="Picture 2 - 1" descr="Drapeau des Pays-Bas — Wikipédia">
                <a:extLst>
                  <a:ext uri="{FF2B5EF4-FFF2-40B4-BE49-F238E27FC236}">
                    <a16:creationId xmlns:a16="http://schemas.microsoft.com/office/drawing/2014/main" id="{2451A7BF-1680-41D9-A06B-D2FD2E3E0C6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92" name="Picture 2 - 2" descr="Drapeau du Luxembourg">
                <a:extLst>
                  <a:ext uri="{FF2B5EF4-FFF2-40B4-BE49-F238E27FC236}">
                    <a16:creationId xmlns:a16="http://schemas.microsoft.com/office/drawing/2014/main" id="{8E16D4FD-B694-405F-8FD6-006BEBA827DC}"/>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81" name="ZoneTexte 18">
              <a:extLst>
                <a:ext uri="{FF2B5EF4-FFF2-40B4-BE49-F238E27FC236}">
                  <a16:creationId xmlns:a16="http://schemas.microsoft.com/office/drawing/2014/main" id="{5D921EB5-DCA7-4327-8F00-FFDEA49F03E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redit &amp; financial risk</a:t>
              </a:r>
            </a:p>
          </p:txBody>
        </p:sp>
      </p:grpSp>
      <p:sp>
        <p:nvSpPr>
          <p:cNvPr id="75" name="Ellipse 74">
            <a:extLst>
              <a:ext uri="{FF2B5EF4-FFF2-40B4-BE49-F238E27FC236}">
                <a16:creationId xmlns:a16="http://schemas.microsoft.com/office/drawing/2014/main" id="{A0261066-3EA3-4749-8E3B-7D62E6517436}"/>
              </a:ext>
            </a:extLst>
          </p:cNvPr>
          <p:cNvSpPr/>
          <p:nvPr/>
        </p:nvSpPr>
        <p:spPr bwMode="auto">
          <a:xfrm>
            <a:off x="8735770" y="645664"/>
            <a:ext cx="122942" cy="122942"/>
          </a:xfrm>
          <a:prstGeom prst="ellipse">
            <a:avLst/>
          </a:prstGeom>
          <a:solidFill>
            <a:schemeClr val="tx2">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1</a:t>
            </a:r>
          </a:p>
        </p:txBody>
      </p:sp>
      <p:sp>
        <p:nvSpPr>
          <p:cNvPr id="76" name="Ellipse 75">
            <a:extLst>
              <a:ext uri="{FF2B5EF4-FFF2-40B4-BE49-F238E27FC236}">
                <a16:creationId xmlns:a16="http://schemas.microsoft.com/office/drawing/2014/main" id="{D64CFB43-5EAA-480F-AF53-ED94C8506AF6}"/>
              </a:ext>
            </a:extLst>
          </p:cNvPr>
          <p:cNvSpPr/>
          <p:nvPr/>
        </p:nvSpPr>
        <p:spPr bwMode="auto">
          <a:xfrm>
            <a:off x="8427012" y="655133"/>
            <a:ext cx="291451" cy="104005"/>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b="1" err="1">
                <a:solidFill>
                  <a:schemeClr val="bg1"/>
                </a:solidFill>
                <a:latin typeface="Trebuchet MS" panose="020B0603020202020204" pitchFamily="34" charset="0"/>
              </a:rPr>
              <a:t>Covid</a:t>
            </a:r>
            <a:endParaRPr kumimoji="0" lang="en-GB" sz="600" b="1" i="0" u="none" strike="noStrike" cap="none" normalizeH="0" baseline="0">
              <a:ln>
                <a:noFill/>
              </a:ln>
              <a:solidFill>
                <a:schemeClr val="bg1"/>
              </a:solidFill>
              <a:effectLst/>
              <a:latin typeface="Trebuchet MS" panose="020B0603020202020204" pitchFamily="34" charset="0"/>
            </a:endParaRPr>
          </a:p>
        </p:txBody>
      </p:sp>
      <p:sp>
        <p:nvSpPr>
          <p:cNvPr id="77" name="Ellipse 76">
            <a:extLst>
              <a:ext uri="{FF2B5EF4-FFF2-40B4-BE49-F238E27FC236}">
                <a16:creationId xmlns:a16="http://schemas.microsoft.com/office/drawing/2014/main" id="{D4610B38-F3E1-427D-B52B-DC2347ECB551}"/>
              </a:ext>
            </a:extLst>
          </p:cNvPr>
          <p:cNvSpPr/>
          <p:nvPr/>
        </p:nvSpPr>
        <p:spPr bwMode="auto">
          <a:xfrm>
            <a:off x="9467750"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a:solidFill>
                  <a:schemeClr val="bg1"/>
                </a:solidFill>
                <a:latin typeface="Trebuchet MS" panose="020B0603020202020204" pitchFamily="34" charset="0"/>
              </a:rPr>
              <a:t>6</a:t>
            </a:r>
            <a:endParaRPr kumimoji="0" lang="en-GB" sz="800" b="1" i="0" u="none" strike="noStrike" cap="none" normalizeH="0" baseline="0">
              <a:ln>
                <a:noFill/>
              </a:ln>
              <a:solidFill>
                <a:schemeClr val="bg1"/>
              </a:solidFill>
              <a:effectLst/>
              <a:latin typeface="Trebuchet MS" panose="020B0603020202020204" pitchFamily="34" charset="0"/>
            </a:endParaRPr>
          </a:p>
        </p:txBody>
      </p:sp>
      <p:sp>
        <p:nvSpPr>
          <p:cNvPr id="93" name="Ellipse 92">
            <a:extLst>
              <a:ext uri="{FF2B5EF4-FFF2-40B4-BE49-F238E27FC236}">
                <a16:creationId xmlns:a16="http://schemas.microsoft.com/office/drawing/2014/main" id="{5F55EDE0-13AB-483C-9159-5D97989E1931}"/>
              </a:ext>
            </a:extLst>
          </p:cNvPr>
          <p:cNvSpPr/>
          <p:nvPr/>
        </p:nvSpPr>
        <p:spPr bwMode="auto">
          <a:xfrm>
            <a:off x="9614146"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a:solidFill>
                  <a:schemeClr val="bg1"/>
                </a:solidFill>
                <a:latin typeface="Trebuchet MS" panose="020B0603020202020204" pitchFamily="34" charset="0"/>
              </a:rPr>
              <a:t>7</a:t>
            </a:r>
            <a:endParaRPr kumimoji="0" lang="en-GB" sz="800" b="1" i="0" u="none" strike="noStrike" cap="none" normalizeH="0" baseline="0">
              <a:ln>
                <a:noFill/>
              </a:ln>
              <a:solidFill>
                <a:schemeClr val="bg1"/>
              </a:solidFill>
              <a:effectLst/>
              <a:latin typeface="Trebuchet MS" panose="020B0603020202020204" pitchFamily="34" charset="0"/>
            </a:endParaRPr>
          </a:p>
        </p:txBody>
      </p:sp>
      <p:sp>
        <p:nvSpPr>
          <p:cNvPr id="94" name="Ellipse 93">
            <a:extLst>
              <a:ext uri="{FF2B5EF4-FFF2-40B4-BE49-F238E27FC236}">
                <a16:creationId xmlns:a16="http://schemas.microsoft.com/office/drawing/2014/main" id="{0B58332A-D11F-47A9-87C9-4257A59C1060}"/>
              </a:ext>
            </a:extLst>
          </p:cNvPr>
          <p:cNvSpPr/>
          <p:nvPr/>
        </p:nvSpPr>
        <p:spPr bwMode="auto">
          <a:xfrm>
            <a:off x="9760544"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a:solidFill>
                  <a:schemeClr val="bg1"/>
                </a:solidFill>
                <a:latin typeface="Trebuchet MS" panose="020B0603020202020204" pitchFamily="34" charset="0"/>
              </a:rPr>
              <a:t>8</a:t>
            </a:r>
            <a:endParaRPr kumimoji="0" lang="en-GB" sz="800" b="1" i="0" u="none" strike="noStrike" cap="none" normalizeH="0" baseline="0">
              <a:ln>
                <a:noFill/>
              </a:ln>
              <a:solidFill>
                <a:schemeClr val="bg1"/>
              </a:solidFill>
              <a:effectLst/>
              <a:latin typeface="Trebuchet MS" panose="020B0603020202020204" pitchFamily="34" charset="0"/>
            </a:endParaRPr>
          </a:p>
        </p:txBody>
      </p:sp>
      <p:sp>
        <p:nvSpPr>
          <p:cNvPr id="95" name="Ellipse 94">
            <a:extLst>
              <a:ext uri="{FF2B5EF4-FFF2-40B4-BE49-F238E27FC236}">
                <a16:creationId xmlns:a16="http://schemas.microsoft.com/office/drawing/2014/main" id="{5AB6A206-977E-4BB0-8B7F-D11FE469DBAC}"/>
              </a:ext>
            </a:extLst>
          </p:cNvPr>
          <p:cNvSpPr/>
          <p:nvPr/>
        </p:nvSpPr>
        <p:spPr bwMode="auto">
          <a:xfrm>
            <a:off x="9028562"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3</a:t>
            </a:r>
          </a:p>
        </p:txBody>
      </p:sp>
      <p:sp>
        <p:nvSpPr>
          <p:cNvPr id="96" name="Ellipse 95">
            <a:extLst>
              <a:ext uri="{FF2B5EF4-FFF2-40B4-BE49-F238E27FC236}">
                <a16:creationId xmlns:a16="http://schemas.microsoft.com/office/drawing/2014/main" id="{B2FB0BAD-5905-4B69-97A9-5876336DA7C8}"/>
              </a:ext>
            </a:extLst>
          </p:cNvPr>
          <p:cNvSpPr/>
          <p:nvPr/>
        </p:nvSpPr>
        <p:spPr bwMode="auto">
          <a:xfrm>
            <a:off x="8882166" y="645664"/>
            <a:ext cx="122942" cy="122942"/>
          </a:xfrm>
          <a:prstGeom prst="ellipse">
            <a:avLst/>
          </a:prstGeom>
          <a:solidFill>
            <a:schemeClr val="tx2">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2</a:t>
            </a:r>
          </a:p>
        </p:txBody>
      </p:sp>
      <p:sp>
        <p:nvSpPr>
          <p:cNvPr id="97" name="Ellipse 96">
            <a:extLst>
              <a:ext uri="{FF2B5EF4-FFF2-40B4-BE49-F238E27FC236}">
                <a16:creationId xmlns:a16="http://schemas.microsoft.com/office/drawing/2014/main" id="{8D59BD32-AFF7-4F03-B757-37B31CACB934}"/>
              </a:ext>
            </a:extLst>
          </p:cNvPr>
          <p:cNvSpPr/>
          <p:nvPr/>
        </p:nvSpPr>
        <p:spPr bwMode="auto">
          <a:xfrm>
            <a:off x="9321354"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5</a:t>
            </a:r>
          </a:p>
        </p:txBody>
      </p:sp>
      <p:sp>
        <p:nvSpPr>
          <p:cNvPr id="98" name="Ellipse 97">
            <a:extLst>
              <a:ext uri="{FF2B5EF4-FFF2-40B4-BE49-F238E27FC236}">
                <a16:creationId xmlns:a16="http://schemas.microsoft.com/office/drawing/2014/main" id="{4D4E0151-0B01-4F0F-AD7F-D49B257C0319}"/>
              </a:ext>
            </a:extLst>
          </p:cNvPr>
          <p:cNvSpPr/>
          <p:nvPr/>
        </p:nvSpPr>
        <p:spPr bwMode="auto">
          <a:xfrm>
            <a:off x="9174958"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4</a:t>
            </a:r>
          </a:p>
        </p:txBody>
      </p:sp>
    </p:spTree>
    <p:extLst>
      <p:ext uri="{BB962C8B-B14F-4D97-AF65-F5344CB8AC3E}">
        <p14:creationId xmlns:p14="http://schemas.microsoft.com/office/powerpoint/2010/main" val="1752477721"/>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0944F39-7C9D-46A4-9460-7725FFCBEE94}"/>
              </a:ext>
            </a:extLst>
          </p:cNvPr>
          <p:cNvGraphicFramePr>
            <a:graphicFrameLocks noChangeAspect="1"/>
          </p:cNvGraphicFramePr>
          <p:nvPr>
            <p:custDataLst>
              <p:tags r:id="rId1"/>
            </p:custDataLst>
            <p:extLst>
              <p:ext uri="{D42A27DB-BD31-4B8C-83A1-F6EECF244321}">
                <p14:modId xmlns:p14="http://schemas.microsoft.com/office/powerpoint/2010/main" val="120410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15" imgH="416" progId="TCLayout.ActiveDocument.1">
                  <p:embed/>
                </p:oleObj>
              </mc:Choice>
              <mc:Fallback>
                <p:oleObj name="think-cell Slide" r:id="rId14" imgW="415" imgH="416" progId="TCLayout.ActiveDocument.1">
                  <p:embed/>
                  <p:pic>
                    <p:nvPicPr>
                      <p:cNvPr id="6" name="Object 5" hidden="1">
                        <a:extLst>
                          <a:ext uri="{FF2B5EF4-FFF2-40B4-BE49-F238E27FC236}">
                            <a16:creationId xmlns:a16="http://schemas.microsoft.com/office/drawing/2014/main" id="{90944F39-7C9D-46A4-9460-7725FFCBEE9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FCCB61A9-18E3-4D56-9AF8-2A82AF56EF7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4" name="Title 3">
            <a:extLst>
              <a:ext uri="{FF2B5EF4-FFF2-40B4-BE49-F238E27FC236}">
                <a16:creationId xmlns:a16="http://schemas.microsoft.com/office/drawing/2014/main" id="{4743645F-F1B2-4106-A826-D519F9D9D826}"/>
              </a:ext>
            </a:extLst>
          </p:cNvPr>
          <p:cNvSpPr>
            <a:spLocks noGrp="1"/>
          </p:cNvSpPr>
          <p:nvPr>
            <p:ph type="title"/>
          </p:nvPr>
        </p:nvSpPr>
        <p:spPr>
          <a:xfrm>
            <a:off x="165600" y="147600"/>
            <a:ext cx="8405579" cy="684000"/>
          </a:xfrm>
          <a:noFill/>
        </p:spPr>
        <p:txBody>
          <a:bodyPr vert="horz"/>
          <a:lstStyle/>
          <a:p>
            <a:r>
              <a:rPr lang="en-GB">
                <a:latin typeface="Trebuchet MS" panose="020B0603020202020204" pitchFamily="34" charset="0"/>
              </a:rPr>
              <a:t>The </a:t>
            </a:r>
            <a:r>
              <a:rPr lang="en-GB">
                <a:solidFill>
                  <a:schemeClr val="tx2"/>
                </a:solidFill>
                <a:latin typeface="Trebuchet MS" panose="020B0603020202020204" pitchFamily="34" charset="0"/>
              </a:rPr>
              <a:t>stabilization</a:t>
            </a:r>
            <a:r>
              <a:rPr lang="en-GB">
                <a:latin typeface="Trebuchet MS" panose="020B0603020202020204" pitchFamily="34" charset="0"/>
              </a:rPr>
              <a:t> of </a:t>
            </a:r>
            <a:r>
              <a:rPr lang="en-GB">
                <a:solidFill>
                  <a:schemeClr val="tx2"/>
                </a:solidFill>
                <a:latin typeface="Trebuchet MS" panose="020B0603020202020204" pitchFamily="34" charset="0"/>
              </a:rPr>
              <a:t>payment</a:t>
            </a:r>
            <a:r>
              <a:rPr lang="en-GB">
                <a:latin typeface="Trebuchet MS" panose="020B0603020202020204" pitchFamily="34" charset="0"/>
              </a:rPr>
              <a:t> </a:t>
            </a:r>
            <a:r>
              <a:rPr lang="en-GB">
                <a:solidFill>
                  <a:schemeClr val="tx2"/>
                </a:solidFill>
                <a:latin typeface="Trebuchet MS" panose="020B0603020202020204" pitchFamily="34" charset="0"/>
              </a:rPr>
              <a:t>terms</a:t>
            </a:r>
            <a:r>
              <a:rPr lang="en-GB">
                <a:latin typeface="Trebuchet MS" panose="020B0603020202020204" pitchFamily="34" charset="0"/>
              </a:rPr>
              <a:t> and the </a:t>
            </a:r>
            <a:r>
              <a:rPr lang="en-GB">
                <a:solidFill>
                  <a:schemeClr val="tx2"/>
                </a:solidFill>
                <a:latin typeface="Trebuchet MS" panose="020B0603020202020204" pitchFamily="34" charset="0"/>
              </a:rPr>
              <a:t>increasing</a:t>
            </a:r>
            <a:r>
              <a:rPr lang="en-GB">
                <a:latin typeface="Trebuchet MS" panose="020B0603020202020204" pitchFamily="34" charset="0"/>
              </a:rPr>
              <a:t> share of </a:t>
            </a:r>
            <a:r>
              <a:rPr lang="en-GB">
                <a:solidFill>
                  <a:schemeClr val="tx2"/>
                </a:solidFill>
                <a:latin typeface="Trebuchet MS" panose="020B0603020202020204" pitchFamily="34" charset="0"/>
              </a:rPr>
              <a:t>other</a:t>
            </a:r>
            <a:r>
              <a:rPr lang="en-GB">
                <a:latin typeface="Trebuchet MS" panose="020B0603020202020204" pitchFamily="34" charset="0"/>
              </a:rPr>
              <a:t> Credit risk </a:t>
            </a:r>
            <a:r>
              <a:rPr lang="en-GB">
                <a:solidFill>
                  <a:schemeClr val="tx2"/>
                </a:solidFill>
                <a:latin typeface="Trebuchet MS" panose="020B0603020202020204" pitchFamily="34" charset="0"/>
              </a:rPr>
              <a:t>solutions</a:t>
            </a:r>
            <a:r>
              <a:rPr lang="en-GB">
                <a:latin typeface="Trebuchet MS" panose="020B0603020202020204" pitchFamily="34" charset="0"/>
              </a:rPr>
              <a:t> would have a </a:t>
            </a:r>
            <a:r>
              <a:rPr lang="en-GB">
                <a:solidFill>
                  <a:schemeClr val="tx2"/>
                </a:solidFill>
                <a:latin typeface="Trebuchet MS" panose="020B0603020202020204" pitchFamily="34" charset="0"/>
              </a:rPr>
              <a:t>limited</a:t>
            </a:r>
            <a:r>
              <a:rPr lang="en-GB">
                <a:latin typeface="Trebuchet MS" panose="020B0603020202020204" pitchFamily="34" charset="0"/>
              </a:rPr>
              <a:t> </a:t>
            </a:r>
            <a:r>
              <a:rPr lang="en-GB">
                <a:solidFill>
                  <a:schemeClr val="tx2"/>
                </a:solidFill>
                <a:latin typeface="Trebuchet MS" panose="020B0603020202020204" pitchFamily="34" charset="0"/>
              </a:rPr>
              <a:t>impact</a:t>
            </a:r>
            <a:r>
              <a:rPr lang="en-GB">
                <a:latin typeface="Trebuchet MS" panose="020B0603020202020204" pitchFamily="34" charset="0"/>
              </a:rPr>
              <a:t> on the need for Credit &amp; financial risk information</a:t>
            </a:r>
          </a:p>
        </p:txBody>
      </p:sp>
      <p:sp>
        <p:nvSpPr>
          <p:cNvPr id="5" name="Text Placeholder 4">
            <a:extLst>
              <a:ext uri="{FF2B5EF4-FFF2-40B4-BE49-F238E27FC236}">
                <a16:creationId xmlns:a16="http://schemas.microsoft.com/office/drawing/2014/main" id="{93ADD323-887F-4F55-BF74-62340490DDC0}"/>
              </a:ext>
            </a:extLst>
          </p:cNvPr>
          <p:cNvSpPr>
            <a:spLocks noGrp="1"/>
          </p:cNvSpPr>
          <p:nvPr>
            <p:ph type="body" sz="quarter" idx="10"/>
          </p:nvPr>
        </p:nvSpPr>
        <p:spPr/>
        <p:txBody>
          <a:bodyPr/>
          <a:lstStyle/>
          <a:p>
            <a:r>
              <a:rPr lang="en-GB"/>
              <a:t>Sources: eleven research &amp; analysis, expert calls, IMF, Banque de France, Statista</a:t>
            </a:r>
          </a:p>
          <a:p>
            <a:r>
              <a:rPr lang="en-GB"/>
              <a:t>1. LME (</a:t>
            </a:r>
            <a:r>
              <a:rPr lang="en-GB" err="1"/>
              <a:t>Loi</a:t>
            </a:r>
            <a:r>
              <a:rPr lang="en-GB"/>
              <a:t> de Modernisation de </a:t>
            </a:r>
            <a:r>
              <a:rPr lang="en-GB" err="1"/>
              <a:t>l’Economie</a:t>
            </a:r>
            <a:r>
              <a:rPr lang="en-GB"/>
              <a:t>)</a:t>
            </a:r>
          </a:p>
        </p:txBody>
      </p:sp>
      <p:cxnSp>
        <p:nvCxnSpPr>
          <p:cNvPr id="31" name="Connecteur droit 4">
            <a:extLst>
              <a:ext uri="{FF2B5EF4-FFF2-40B4-BE49-F238E27FC236}">
                <a16:creationId xmlns:a16="http://schemas.microsoft.com/office/drawing/2014/main" id="{05503819-3CAF-4FAC-94B8-7B2B18B9E2DB}"/>
              </a:ext>
            </a:extLst>
          </p:cNvPr>
          <p:cNvCxnSpPr>
            <a:cxnSpLocks/>
          </p:cNvCxnSpPr>
          <p:nvPr/>
        </p:nvCxnSpPr>
        <p:spPr bwMode="auto">
          <a:xfrm>
            <a:off x="273000" y="971608"/>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43" name="Rectangle 84">
            <a:extLst>
              <a:ext uri="{FF2B5EF4-FFF2-40B4-BE49-F238E27FC236}">
                <a16:creationId xmlns:a16="http://schemas.microsoft.com/office/drawing/2014/main" id="{BBC1F1BA-453C-43F4-9A5C-6E2D66AA1C08}"/>
              </a:ext>
            </a:extLst>
          </p:cNvPr>
          <p:cNvSpPr/>
          <p:nvPr/>
        </p:nvSpPr>
        <p:spPr bwMode="auto">
          <a:xfrm>
            <a:off x="2770388" y="837766"/>
            <a:ext cx="4365225" cy="269427"/>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defRPr/>
            </a:pPr>
            <a:r>
              <a:rPr lang="en-GB" sz="1100">
                <a:latin typeface="Trebuchet MS" panose="020B0603020202020204" pitchFamily="34" charset="0"/>
              </a:rPr>
              <a:t>Trends impacting the Credit &amp; financial risk market</a:t>
            </a:r>
          </a:p>
        </p:txBody>
      </p:sp>
      <p:sp>
        <p:nvSpPr>
          <p:cNvPr id="3" name="Rectangle 2">
            <a:extLst>
              <a:ext uri="{FF2B5EF4-FFF2-40B4-BE49-F238E27FC236}">
                <a16:creationId xmlns:a16="http://schemas.microsoft.com/office/drawing/2014/main" id="{6E5579C7-DA5D-49DA-80F1-7376D7B55876}"/>
              </a:ext>
            </a:extLst>
          </p:cNvPr>
          <p:cNvSpPr/>
          <p:nvPr/>
        </p:nvSpPr>
        <p:spPr bwMode="auto">
          <a:xfrm>
            <a:off x="259493" y="1524056"/>
            <a:ext cx="1296000" cy="2281013"/>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b="0" cap="none" spc="-10" baseline="0" noProof="0">
                <a:solidFill>
                  <a:schemeClr val="tx2"/>
                </a:solidFill>
                <a:latin typeface="Trebuchet MS" panose="020B0603020202020204" pitchFamily="34" charset="0"/>
              </a:rPr>
              <a:t>Stability of payment terms and delays</a:t>
            </a:r>
          </a:p>
        </p:txBody>
      </p:sp>
      <p:sp>
        <p:nvSpPr>
          <p:cNvPr id="24" name="Rectangle 23">
            <a:extLst>
              <a:ext uri="{FF2B5EF4-FFF2-40B4-BE49-F238E27FC236}">
                <a16:creationId xmlns:a16="http://schemas.microsoft.com/office/drawing/2014/main" id="{C070191A-70EB-416C-BB55-C461DEBF7420}"/>
              </a:ext>
            </a:extLst>
          </p:cNvPr>
          <p:cNvSpPr/>
          <p:nvPr/>
        </p:nvSpPr>
        <p:spPr bwMode="auto">
          <a:xfrm>
            <a:off x="259493" y="3969767"/>
            <a:ext cx="1296000" cy="2470247"/>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spc="-10">
                <a:solidFill>
                  <a:schemeClr val="tx2"/>
                </a:solidFill>
                <a:latin typeface="Trebuchet MS" panose="020B0603020202020204" pitchFamily="34" charset="0"/>
              </a:rPr>
              <a:t>Development of o</a:t>
            </a:r>
            <a:r>
              <a:rPr lang="en-GB" sz="1100" b="0" cap="none" spc="-10" baseline="0" noProof="0" err="1">
                <a:solidFill>
                  <a:schemeClr val="tx2"/>
                </a:solidFill>
                <a:latin typeface="Trebuchet MS" panose="020B0603020202020204" pitchFamily="34" charset="0"/>
              </a:rPr>
              <a:t>ther</a:t>
            </a:r>
            <a:r>
              <a:rPr lang="en-GB" sz="1100" b="0" cap="none" spc="-10" baseline="0" noProof="0">
                <a:solidFill>
                  <a:schemeClr val="tx2"/>
                </a:solidFill>
                <a:latin typeface="Trebuchet MS" panose="020B0603020202020204" pitchFamily="34" charset="0"/>
              </a:rPr>
              <a:t> risk management solutions (e.g. factoring, credit insurance…)</a:t>
            </a:r>
          </a:p>
        </p:txBody>
      </p:sp>
      <p:pic>
        <p:nvPicPr>
          <p:cNvPr id="45" name="Graphic 44">
            <a:extLst>
              <a:ext uri="{FF2B5EF4-FFF2-40B4-BE49-F238E27FC236}">
                <a16:creationId xmlns:a16="http://schemas.microsoft.com/office/drawing/2014/main" id="{9A173B49-6BC2-4B8C-B497-92C2B89CF16D}"/>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27508"/>
          <a:stretch/>
        </p:blipFill>
        <p:spPr>
          <a:xfrm>
            <a:off x="751082" y="4042111"/>
            <a:ext cx="312822" cy="283466"/>
          </a:xfrm>
          <a:prstGeom prst="rect">
            <a:avLst/>
          </a:prstGeom>
        </p:spPr>
      </p:pic>
      <p:graphicFrame>
        <p:nvGraphicFramePr>
          <p:cNvPr id="48" name="Chart 47">
            <a:extLst>
              <a:ext uri="{FF2B5EF4-FFF2-40B4-BE49-F238E27FC236}">
                <a16:creationId xmlns:a16="http://schemas.microsoft.com/office/drawing/2014/main" id="{1AA5EB30-54B3-45C0-A2A4-BE29F21C956B}"/>
              </a:ext>
            </a:extLst>
          </p:cNvPr>
          <p:cNvGraphicFramePr/>
          <p:nvPr>
            <p:extLst>
              <p:ext uri="{D42A27DB-BD31-4B8C-83A1-F6EECF244321}">
                <p14:modId xmlns:p14="http://schemas.microsoft.com/office/powerpoint/2010/main" val="3540163293"/>
              </p:ext>
            </p:extLst>
          </p:nvPr>
        </p:nvGraphicFramePr>
        <p:xfrm>
          <a:off x="3966095" y="3965949"/>
          <a:ext cx="3102322" cy="1929890"/>
        </p:xfrm>
        <a:graphic>
          <a:graphicData uri="http://schemas.openxmlformats.org/drawingml/2006/chart">
            <c:chart xmlns:c="http://schemas.openxmlformats.org/drawingml/2006/chart" xmlns:r="http://schemas.openxmlformats.org/officeDocument/2006/relationships" r:id="rId18"/>
          </a:graphicData>
        </a:graphic>
      </p:graphicFrame>
      <p:cxnSp>
        <p:nvCxnSpPr>
          <p:cNvPr id="49" name="Straight Connector 33">
            <a:extLst>
              <a:ext uri="{FF2B5EF4-FFF2-40B4-BE49-F238E27FC236}">
                <a16:creationId xmlns:a16="http://schemas.microsoft.com/office/drawing/2014/main" id="{34D294DE-1981-4B3A-8B1D-423A1E05573F}"/>
              </a:ext>
            </a:extLst>
          </p:cNvPr>
          <p:cNvCxnSpPr>
            <a:cxnSpLocks/>
          </p:cNvCxnSpPr>
          <p:nvPr/>
        </p:nvCxnSpPr>
        <p:spPr bwMode="auto">
          <a:xfrm>
            <a:off x="1652719" y="1418643"/>
            <a:ext cx="221615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50" name="Straight Connector 34">
            <a:extLst>
              <a:ext uri="{FF2B5EF4-FFF2-40B4-BE49-F238E27FC236}">
                <a16:creationId xmlns:a16="http://schemas.microsoft.com/office/drawing/2014/main" id="{ADCA903C-3A97-40F0-B3A8-93650939A1C5}"/>
              </a:ext>
            </a:extLst>
          </p:cNvPr>
          <p:cNvCxnSpPr>
            <a:cxnSpLocks/>
          </p:cNvCxnSpPr>
          <p:nvPr/>
        </p:nvCxnSpPr>
        <p:spPr bwMode="auto">
          <a:xfrm flipV="1">
            <a:off x="3966095" y="1410759"/>
            <a:ext cx="5680413" cy="7884"/>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51" name="Straight Connector 31">
            <a:extLst>
              <a:ext uri="{FF2B5EF4-FFF2-40B4-BE49-F238E27FC236}">
                <a16:creationId xmlns:a16="http://schemas.microsoft.com/office/drawing/2014/main" id="{5FF283D8-8A2B-45F8-898A-1C081B65E4C4}"/>
              </a:ext>
            </a:extLst>
          </p:cNvPr>
          <p:cNvCxnSpPr>
            <a:cxnSpLocks/>
          </p:cNvCxnSpPr>
          <p:nvPr/>
        </p:nvCxnSpPr>
        <p:spPr bwMode="auto">
          <a:xfrm>
            <a:off x="259493" y="1418643"/>
            <a:ext cx="12960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52" name="Rectangle 51">
            <a:extLst>
              <a:ext uri="{FF2B5EF4-FFF2-40B4-BE49-F238E27FC236}">
                <a16:creationId xmlns:a16="http://schemas.microsoft.com/office/drawing/2014/main" id="{EA7DC4A7-7043-4EA4-9461-9BEA3233EED7}"/>
              </a:ext>
            </a:extLst>
          </p:cNvPr>
          <p:cNvSpPr/>
          <p:nvPr/>
        </p:nvSpPr>
        <p:spPr bwMode="auto">
          <a:xfrm>
            <a:off x="360280" y="1137427"/>
            <a:ext cx="1078022" cy="27146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latin typeface="Trebuchet MS" panose="020B0603020202020204" pitchFamily="34" charset="0"/>
              </a:rPr>
              <a:t>Trend</a:t>
            </a:r>
            <a:endParaRPr kumimoji="0" lang="en-GB" sz="1000" b="1" i="0" u="none" strike="noStrike" cap="none" normalizeH="0" baseline="0">
              <a:ln>
                <a:noFill/>
              </a:ln>
              <a:effectLst/>
              <a:latin typeface="Trebuchet MS" panose="020B0603020202020204" pitchFamily="34" charset="0"/>
            </a:endParaRPr>
          </a:p>
        </p:txBody>
      </p:sp>
      <p:sp>
        <p:nvSpPr>
          <p:cNvPr id="53" name="Rectangle 52">
            <a:extLst>
              <a:ext uri="{FF2B5EF4-FFF2-40B4-BE49-F238E27FC236}">
                <a16:creationId xmlns:a16="http://schemas.microsoft.com/office/drawing/2014/main" id="{3FA60457-F43C-4842-A52C-390501628E6B}"/>
              </a:ext>
            </a:extLst>
          </p:cNvPr>
          <p:cNvSpPr/>
          <p:nvPr/>
        </p:nvSpPr>
        <p:spPr bwMode="auto">
          <a:xfrm>
            <a:off x="2322627" y="1118377"/>
            <a:ext cx="876333" cy="27146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b="1">
                <a:latin typeface="Trebuchet MS" panose="020B0603020202020204" pitchFamily="34" charset="0"/>
              </a:rPr>
              <a:t>Rationale</a:t>
            </a:r>
          </a:p>
        </p:txBody>
      </p:sp>
      <p:sp>
        <p:nvSpPr>
          <p:cNvPr id="54" name="Rectangle 53">
            <a:extLst>
              <a:ext uri="{FF2B5EF4-FFF2-40B4-BE49-F238E27FC236}">
                <a16:creationId xmlns:a16="http://schemas.microsoft.com/office/drawing/2014/main" id="{8D422CF4-69F9-4AAE-A1C6-6CBE7A62614E}"/>
              </a:ext>
            </a:extLst>
          </p:cNvPr>
          <p:cNvSpPr/>
          <p:nvPr/>
        </p:nvSpPr>
        <p:spPr bwMode="auto">
          <a:xfrm>
            <a:off x="6359328" y="1118377"/>
            <a:ext cx="893947" cy="27146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b="1">
                <a:latin typeface="Trebuchet MS" panose="020B0603020202020204" pitchFamily="34" charset="0"/>
              </a:rPr>
              <a:t>Illustrations</a:t>
            </a:r>
          </a:p>
        </p:txBody>
      </p:sp>
      <p:sp>
        <p:nvSpPr>
          <p:cNvPr id="55" name="Rectangle 54">
            <a:extLst>
              <a:ext uri="{FF2B5EF4-FFF2-40B4-BE49-F238E27FC236}">
                <a16:creationId xmlns:a16="http://schemas.microsoft.com/office/drawing/2014/main" id="{D2764DD5-F8CD-4442-859F-0110D6C1FC9C}"/>
              </a:ext>
            </a:extLst>
          </p:cNvPr>
          <p:cNvSpPr/>
          <p:nvPr/>
        </p:nvSpPr>
        <p:spPr bwMode="auto">
          <a:xfrm>
            <a:off x="1652719" y="1524066"/>
            <a:ext cx="2216150" cy="2281003"/>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l">
              <a:spcBef>
                <a:spcPts val="600"/>
              </a:spcBef>
              <a:buClr>
                <a:schemeClr val="tx1"/>
              </a:buClr>
              <a:buSzPct val="90000"/>
            </a:pPr>
            <a:r>
              <a:rPr lang="en-GB" sz="1000" spc="-10">
                <a:latin typeface="Trebuchet MS" panose="020B0603020202020204" pitchFamily="34" charset="0"/>
              </a:rPr>
              <a:t>In France, t</a:t>
            </a:r>
            <a:r>
              <a:rPr lang="en-GB" sz="1000" spc="-10" noProof="0">
                <a:latin typeface="Trebuchet MS" panose="020B0603020202020204" pitchFamily="34" charset="0"/>
              </a:rPr>
              <a:t>he 2008 LME</a:t>
            </a:r>
            <a:r>
              <a:rPr lang="en-GB" sz="1000" spc="-10" baseline="30000" noProof="0">
                <a:latin typeface="Trebuchet MS" panose="020B0603020202020204" pitchFamily="34" charset="0"/>
              </a:rPr>
              <a:t>1</a:t>
            </a:r>
            <a:r>
              <a:rPr lang="en-GB" sz="1000" spc="-10" noProof="0">
                <a:latin typeface="Trebuchet MS" panose="020B0603020202020204" pitchFamily="34" charset="0"/>
              </a:rPr>
              <a:t> </a:t>
            </a:r>
            <a:r>
              <a:rPr lang="en-GB" sz="1000" spc="-10" noProof="0">
                <a:solidFill>
                  <a:schemeClr val="tx2"/>
                </a:solidFill>
                <a:latin typeface="Trebuchet MS" panose="020B0603020202020204" pitchFamily="34" charset="0"/>
              </a:rPr>
              <a:t>reduced the average payment period </a:t>
            </a:r>
            <a:r>
              <a:rPr lang="en-GB" sz="1000" spc="-10" noProof="0">
                <a:latin typeface="Trebuchet MS" panose="020B0603020202020204" pitchFamily="34" charset="0"/>
              </a:rPr>
              <a:t>for several years. That reduction </a:t>
            </a:r>
            <a:r>
              <a:rPr lang="en-GB" sz="1000" spc="-10" noProof="0">
                <a:solidFill>
                  <a:schemeClr val="tx2"/>
                </a:solidFill>
                <a:latin typeface="Trebuchet MS" panose="020B0603020202020204" pitchFamily="34" charset="0"/>
              </a:rPr>
              <a:t>had a negative effect </a:t>
            </a:r>
            <a:r>
              <a:rPr lang="en-GB" sz="1000" spc="-10" noProof="0">
                <a:latin typeface="Trebuchet MS" panose="020B0603020202020204" pitchFamily="34" charset="0"/>
              </a:rPr>
              <a:t>on the whole risk management market since it made accounts receivable less risky. </a:t>
            </a:r>
            <a:r>
              <a:rPr lang="en-GB" sz="1000" spc="-30" baseline="0" noProof="0">
                <a:solidFill>
                  <a:schemeClr val="tx2"/>
                </a:solidFill>
                <a:latin typeface="Trebuchet MS" panose="020B0603020202020204" pitchFamily="34" charset="0"/>
              </a:rPr>
              <a:t>That trend has stopped </a:t>
            </a:r>
            <a:r>
              <a:rPr lang="en-GB" sz="1000" spc="-30" baseline="0" noProof="0">
                <a:latin typeface="Trebuchet MS" panose="020B0603020202020204" pitchFamily="34" charset="0"/>
              </a:rPr>
              <a:t>since 2015.</a:t>
            </a:r>
          </a:p>
          <a:p>
            <a:pPr algn="l">
              <a:spcBef>
                <a:spcPts val="600"/>
              </a:spcBef>
              <a:buClr>
                <a:schemeClr val="tx1"/>
              </a:buClr>
              <a:buSzPct val="90000"/>
            </a:pPr>
            <a:r>
              <a:rPr lang="en-GB" sz="1000" spc="-30" baseline="0" noProof="0">
                <a:latin typeface="Trebuchet MS" panose="020B0603020202020204" pitchFamily="34" charset="0"/>
              </a:rPr>
              <a:t>In the Netherlands, the </a:t>
            </a:r>
            <a:r>
              <a:rPr lang="en-GB" sz="1000" spc="-30" baseline="0" noProof="0">
                <a:solidFill>
                  <a:schemeClr val="tx2"/>
                </a:solidFill>
                <a:latin typeface="Trebuchet MS" panose="020B0603020202020204" pitchFamily="34" charset="0"/>
              </a:rPr>
              <a:t>average</a:t>
            </a:r>
            <a:r>
              <a:rPr lang="en-GB" sz="1000" spc="-30" baseline="0" noProof="0">
                <a:latin typeface="Trebuchet MS" panose="020B0603020202020204" pitchFamily="34" charset="0"/>
              </a:rPr>
              <a:t> </a:t>
            </a:r>
            <a:r>
              <a:rPr lang="en-GB" sz="1000" spc="-30" baseline="0" noProof="0">
                <a:solidFill>
                  <a:schemeClr val="tx2"/>
                </a:solidFill>
                <a:latin typeface="Trebuchet MS" panose="020B0603020202020204" pitchFamily="34" charset="0"/>
              </a:rPr>
              <a:t>payment</a:t>
            </a:r>
            <a:r>
              <a:rPr lang="en-GB" sz="1000" spc="-30" baseline="0" noProof="0">
                <a:latin typeface="Trebuchet MS" panose="020B0603020202020204" pitchFamily="34" charset="0"/>
              </a:rPr>
              <a:t> </a:t>
            </a:r>
            <a:r>
              <a:rPr lang="en-GB" sz="1000" spc="-30" baseline="0" noProof="0">
                <a:solidFill>
                  <a:schemeClr val="tx2"/>
                </a:solidFill>
                <a:latin typeface="Trebuchet MS" panose="020B0603020202020204" pitchFamily="34" charset="0"/>
              </a:rPr>
              <a:t>delays</a:t>
            </a:r>
            <a:r>
              <a:rPr lang="en-GB" sz="1000" spc="-30" baseline="0" noProof="0">
                <a:latin typeface="Trebuchet MS" panose="020B0603020202020204" pitchFamily="34" charset="0"/>
              </a:rPr>
              <a:t> also decrease until 2016 and </a:t>
            </a:r>
            <a:r>
              <a:rPr lang="en-GB" sz="1000" spc="-30" baseline="0" noProof="0">
                <a:solidFill>
                  <a:schemeClr val="tx2"/>
                </a:solidFill>
                <a:latin typeface="Trebuchet MS" panose="020B0603020202020204" pitchFamily="34" charset="0"/>
              </a:rPr>
              <a:t>stabilized </a:t>
            </a:r>
            <a:r>
              <a:rPr lang="en-GB" sz="1000" spc="-30" baseline="0" noProof="0">
                <a:latin typeface="Trebuchet MS" panose="020B0603020202020204" pitchFamily="34" charset="0"/>
              </a:rPr>
              <a:t>since</a:t>
            </a:r>
          </a:p>
          <a:p>
            <a:pPr marR="0" algn="ctr" defTabSz="914400" rtl="0" eaLnBrk="1" fontAlgn="base" latinLnBrk="0" hangingPunct="1">
              <a:lnSpc>
                <a:spcPts val="1000"/>
              </a:lnSpc>
              <a:spcBef>
                <a:spcPct val="0"/>
              </a:spcBef>
              <a:spcAft>
                <a:spcPct val="0"/>
              </a:spcAft>
              <a:buClrTx/>
              <a:buSzTx/>
              <a:tabLst/>
            </a:pPr>
            <a:endParaRPr kumimoji="0" lang="en-GB" sz="1000" b="0" i="0" u="none" strike="noStrike" cap="none" normalizeH="0" baseline="0">
              <a:ln>
                <a:noFill/>
              </a:ln>
              <a:solidFill>
                <a:schemeClr val="tx1"/>
              </a:solidFill>
              <a:effectLst/>
              <a:latin typeface="Trebuchet MS" panose="020B0603020202020204" pitchFamily="34" charset="0"/>
            </a:endParaRPr>
          </a:p>
        </p:txBody>
      </p:sp>
      <p:sp>
        <p:nvSpPr>
          <p:cNvPr id="56" name="Rectangle 55">
            <a:extLst>
              <a:ext uri="{FF2B5EF4-FFF2-40B4-BE49-F238E27FC236}">
                <a16:creationId xmlns:a16="http://schemas.microsoft.com/office/drawing/2014/main" id="{91CE322E-1AE6-4A7D-82F2-DBD503442932}"/>
              </a:ext>
            </a:extLst>
          </p:cNvPr>
          <p:cNvSpPr/>
          <p:nvPr/>
        </p:nvSpPr>
        <p:spPr bwMode="auto">
          <a:xfrm>
            <a:off x="1652719" y="3969768"/>
            <a:ext cx="2216150" cy="2470247"/>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l" defTabSz="914400" rtl="0" eaLnBrk="1" latinLnBrk="0" hangingPunct="1">
              <a:lnSpc>
                <a:spcPts val="1200"/>
              </a:lnSpc>
              <a:buClr>
                <a:schemeClr val="tx1"/>
              </a:buClr>
              <a:buSzPct val="90000"/>
            </a:pPr>
            <a:r>
              <a:rPr lang="en-GB" sz="1000" kern="1200" spc="-20" noProof="0">
                <a:solidFill>
                  <a:schemeClr val="dk1"/>
                </a:solidFill>
                <a:latin typeface="Trebuchet MS" panose="020B0603020202020204" pitchFamily="34" charset="0"/>
                <a:ea typeface="+mn-ea"/>
                <a:cs typeface="+mn-cs"/>
              </a:rPr>
              <a:t>Risk information remains useful as </a:t>
            </a:r>
            <a:r>
              <a:rPr lang="en-GB" sz="1000" spc="-20">
                <a:solidFill>
                  <a:schemeClr val="dk1"/>
                </a:solidFill>
                <a:latin typeface="Trebuchet MS" panose="020B0603020202020204" pitchFamily="34" charset="0"/>
                <a:cs typeface="+mn-cs"/>
              </a:rPr>
              <a:t>part of the risk management toolkit, </a:t>
            </a:r>
            <a:r>
              <a:rPr lang="en-GB" sz="1000" kern="1200" spc="-20" noProof="0">
                <a:solidFill>
                  <a:schemeClr val="dk1"/>
                </a:solidFill>
                <a:latin typeface="Trebuchet MS" panose="020B0603020202020204" pitchFamily="34" charset="0"/>
                <a:ea typeface="+mn-ea"/>
                <a:cs typeface="+mn-cs"/>
              </a:rPr>
              <a:t>next to solutions such as </a:t>
            </a:r>
            <a:r>
              <a:rPr lang="en-GB" sz="1000" kern="1200" spc="-20" noProof="0">
                <a:solidFill>
                  <a:schemeClr val="tx2"/>
                </a:solidFill>
                <a:latin typeface="Trebuchet MS" panose="020B0603020202020204" pitchFamily="34" charset="0"/>
                <a:ea typeface="+mn-ea"/>
                <a:cs typeface="+mn-cs"/>
              </a:rPr>
              <a:t>factoring</a:t>
            </a:r>
          </a:p>
          <a:p>
            <a:pPr algn="l" defTabSz="914400" rtl="0" eaLnBrk="1" latinLnBrk="0" hangingPunct="1">
              <a:lnSpc>
                <a:spcPts val="1200"/>
              </a:lnSpc>
              <a:buClr>
                <a:schemeClr val="tx1"/>
              </a:buClr>
              <a:buSzPct val="90000"/>
            </a:pPr>
            <a:endParaRPr lang="en-GB" sz="1000" kern="1200" spc="-20" noProof="0">
              <a:solidFill>
                <a:schemeClr val="tx2"/>
              </a:solidFill>
              <a:latin typeface="Trebuchet MS" panose="020B0603020202020204" pitchFamily="34" charset="0"/>
              <a:ea typeface="+mn-ea"/>
              <a:cs typeface="+mn-cs"/>
            </a:endParaRPr>
          </a:p>
          <a:p>
            <a:pPr algn="l" defTabSz="914400" rtl="0" eaLnBrk="1" latinLnBrk="0" hangingPunct="1">
              <a:lnSpc>
                <a:spcPts val="1200"/>
              </a:lnSpc>
              <a:buClr>
                <a:schemeClr val="tx1"/>
              </a:buClr>
              <a:buSzPct val="90000"/>
            </a:pPr>
            <a:r>
              <a:rPr lang="en-GB" sz="1000" kern="1200" spc="-20" noProof="0">
                <a:solidFill>
                  <a:schemeClr val="tx2"/>
                </a:solidFill>
                <a:latin typeface="Trebuchet MS" panose="020B0603020202020204" pitchFamily="34" charset="0"/>
                <a:ea typeface="+mn-ea"/>
                <a:cs typeface="+mn-cs"/>
              </a:rPr>
              <a:t>Factoring services </a:t>
            </a:r>
            <a:r>
              <a:rPr lang="en-GB" sz="1000" kern="1200" spc="-20" noProof="0">
                <a:solidFill>
                  <a:schemeClr val="dk1"/>
                </a:solidFill>
                <a:latin typeface="Trebuchet MS" panose="020B0603020202020204" pitchFamily="34" charset="0"/>
                <a:ea typeface="+mn-ea"/>
                <a:cs typeface="+mn-cs"/>
              </a:rPr>
              <a:t>are mostly popular among </a:t>
            </a:r>
            <a:r>
              <a:rPr lang="en-GB" sz="1000" kern="1200" spc="-20" noProof="0">
                <a:solidFill>
                  <a:schemeClr val="tx2"/>
                </a:solidFill>
                <a:latin typeface="Trebuchet MS" panose="020B0603020202020204" pitchFamily="34" charset="0"/>
                <a:ea typeface="+mn-ea"/>
                <a:cs typeface="+mn-cs"/>
              </a:rPr>
              <a:t>mid/small-sized companies </a:t>
            </a:r>
            <a:r>
              <a:rPr lang="en-GB" sz="1000" kern="1200" spc="-20" noProof="0">
                <a:latin typeface="Trebuchet MS" panose="020B0603020202020204" pitchFamily="34" charset="0"/>
                <a:ea typeface="+mn-ea"/>
                <a:cs typeface="+mn-cs"/>
              </a:rPr>
              <a:t>but</a:t>
            </a:r>
            <a:r>
              <a:rPr lang="en-GB" sz="1000" kern="1200" spc="-20" noProof="0">
                <a:solidFill>
                  <a:schemeClr val="tx2"/>
                </a:solidFill>
                <a:latin typeface="Trebuchet MS" panose="020B0603020202020204" pitchFamily="34" charset="0"/>
                <a:ea typeface="+mn-ea"/>
                <a:cs typeface="+mn-cs"/>
              </a:rPr>
              <a:t> </a:t>
            </a:r>
            <a:r>
              <a:rPr lang="en-GB" sz="1000" kern="1200" spc="-20" noProof="0">
                <a:latin typeface="Trebuchet MS" panose="020B0603020202020204" pitchFamily="34" charset="0"/>
                <a:ea typeface="+mn-ea"/>
                <a:cs typeface="+mn-cs"/>
              </a:rPr>
              <a:t>do</a:t>
            </a:r>
            <a:r>
              <a:rPr lang="en-GB" sz="1000" kern="1200" spc="-20" noProof="0">
                <a:solidFill>
                  <a:schemeClr val="tx2"/>
                </a:solidFill>
                <a:latin typeface="Trebuchet MS" panose="020B0603020202020204" pitchFamily="34" charset="0"/>
                <a:ea typeface="+mn-ea"/>
                <a:cs typeface="+mn-cs"/>
              </a:rPr>
              <a:t> not </a:t>
            </a:r>
            <a:r>
              <a:rPr lang="en-GB" sz="1000" kern="1200" spc="-20" noProof="0">
                <a:latin typeface="Trebuchet MS" panose="020B0603020202020204" pitchFamily="34" charset="0"/>
                <a:ea typeface="+mn-ea"/>
                <a:cs typeface="+mn-cs"/>
              </a:rPr>
              <a:t>represent</a:t>
            </a:r>
            <a:r>
              <a:rPr lang="en-GB" sz="1000" kern="1200" spc="-20" noProof="0">
                <a:solidFill>
                  <a:schemeClr val="tx2"/>
                </a:solidFill>
                <a:latin typeface="Trebuchet MS" panose="020B0603020202020204" pitchFamily="34" charset="0"/>
                <a:ea typeface="+mn-ea"/>
                <a:cs typeface="+mn-cs"/>
              </a:rPr>
              <a:t> </a:t>
            </a:r>
            <a:r>
              <a:rPr lang="en-GB" sz="1000" kern="1200" spc="-20" noProof="0">
                <a:latin typeface="Trebuchet MS" panose="020B0603020202020204" pitchFamily="34" charset="0"/>
                <a:ea typeface="+mn-ea"/>
                <a:cs typeface="+mn-cs"/>
              </a:rPr>
              <a:t>a</a:t>
            </a:r>
            <a:r>
              <a:rPr lang="en-GB" sz="1000" kern="1200" spc="-20" noProof="0">
                <a:solidFill>
                  <a:schemeClr val="tx2"/>
                </a:solidFill>
                <a:latin typeface="Trebuchet MS" panose="020B0603020202020204" pitchFamily="34" charset="0"/>
                <a:ea typeface="+mn-ea"/>
                <a:cs typeface="+mn-cs"/>
              </a:rPr>
              <a:t> threat </a:t>
            </a:r>
            <a:r>
              <a:rPr lang="en-GB" sz="1000" kern="1200" spc="-20" noProof="0">
                <a:latin typeface="Trebuchet MS" panose="020B0603020202020204" pitchFamily="34" charset="0"/>
                <a:ea typeface="+mn-ea"/>
                <a:cs typeface="+mn-cs"/>
              </a:rPr>
              <a:t>or</a:t>
            </a:r>
            <a:r>
              <a:rPr lang="en-GB" sz="1000" kern="1200" spc="-20" noProof="0">
                <a:solidFill>
                  <a:schemeClr val="tx2"/>
                </a:solidFill>
                <a:latin typeface="Trebuchet MS" panose="020B0603020202020204" pitchFamily="34" charset="0"/>
                <a:ea typeface="+mn-ea"/>
                <a:cs typeface="+mn-cs"/>
              </a:rPr>
              <a:t> </a:t>
            </a:r>
            <a:r>
              <a:rPr lang="en-GB" sz="1000" kern="1200" spc="-20" noProof="0">
                <a:latin typeface="Trebuchet MS" panose="020B0603020202020204" pitchFamily="34" charset="0"/>
                <a:ea typeface="+mn-ea"/>
                <a:cs typeface="+mn-cs"/>
              </a:rPr>
              <a:t>an</a:t>
            </a:r>
            <a:r>
              <a:rPr lang="en-GB" sz="1000" kern="1200" spc="-20" noProof="0">
                <a:solidFill>
                  <a:schemeClr val="tx2"/>
                </a:solidFill>
                <a:latin typeface="Trebuchet MS" panose="020B0603020202020204" pitchFamily="34" charset="0"/>
                <a:ea typeface="+mn-ea"/>
                <a:cs typeface="+mn-cs"/>
              </a:rPr>
              <a:t> alternative </a:t>
            </a:r>
            <a:r>
              <a:rPr lang="en-GB" sz="1000" kern="1200" spc="-20" noProof="0">
                <a:latin typeface="Trebuchet MS" panose="020B0603020202020204" pitchFamily="34" charset="0"/>
                <a:ea typeface="+mn-ea"/>
                <a:cs typeface="+mn-cs"/>
              </a:rPr>
              <a:t>to</a:t>
            </a:r>
            <a:r>
              <a:rPr lang="en-GB" sz="1000" kern="1200" spc="-20" noProof="0">
                <a:solidFill>
                  <a:schemeClr val="tx2"/>
                </a:solidFill>
                <a:latin typeface="Trebuchet MS" panose="020B0603020202020204" pitchFamily="34" charset="0"/>
                <a:ea typeface="+mn-ea"/>
                <a:cs typeface="+mn-cs"/>
              </a:rPr>
              <a:t> </a:t>
            </a:r>
            <a:r>
              <a:rPr lang="en-GB" sz="1000" kern="1200" spc="-20" noProof="0">
                <a:latin typeface="Trebuchet MS" panose="020B0603020202020204" pitchFamily="34" charset="0"/>
                <a:ea typeface="+mn-ea"/>
                <a:cs typeface="+mn-cs"/>
              </a:rPr>
              <a:t>traditional</a:t>
            </a:r>
            <a:r>
              <a:rPr lang="en-GB" sz="1000" kern="1200" spc="-20" noProof="0">
                <a:solidFill>
                  <a:schemeClr val="tx2"/>
                </a:solidFill>
                <a:latin typeface="Trebuchet MS" panose="020B0603020202020204" pitchFamily="34" charset="0"/>
                <a:ea typeface="+mn-ea"/>
                <a:cs typeface="+mn-cs"/>
              </a:rPr>
              <a:t> Credit risk solutions</a:t>
            </a:r>
          </a:p>
          <a:p>
            <a:pPr algn="l" defTabSz="914400" rtl="0" eaLnBrk="1" latinLnBrk="0" hangingPunct="1">
              <a:lnSpc>
                <a:spcPts val="1200"/>
              </a:lnSpc>
              <a:buClr>
                <a:schemeClr val="tx1"/>
              </a:buClr>
              <a:buSzPct val="90000"/>
            </a:pPr>
            <a:endParaRPr lang="en-GB" sz="1000" spc="-20">
              <a:solidFill>
                <a:schemeClr val="tx2"/>
              </a:solidFill>
              <a:latin typeface="Trebuchet MS" panose="020B0603020202020204" pitchFamily="34" charset="0"/>
              <a:cs typeface="+mn-cs"/>
            </a:endParaRPr>
          </a:p>
          <a:p>
            <a:pPr algn="l" defTabSz="914400" rtl="0" eaLnBrk="1" latinLnBrk="0" hangingPunct="1">
              <a:lnSpc>
                <a:spcPts val="1200"/>
              </a:lnSpc>
              <a:buClr>
                <a:schemeClr val="tx1"/>
              </a:buClr>
              <a:buSzPct val="90000"/>
            </a:pPr>
            <a:r>
              <a:rPr lang="en-GB" sz="1000" kern="1200" spc="-20" noProof="0">
                <a:solidFill>
                  <a:schemeClr val="tx2"/>
                </a:solidFill>
                <a:latin typeface="Trebuchet MS" panose="020B0603020202020204" pitchFamily="34" charset="0"/>
                <a:ea typeface="+mn-ea"/>
                <a:cs typeface="+mn-cs"/>
              </a:rPr>
              <a:t>Credit insurance </a:t>
            </a:r>
            <a:r>
              <a:rPr lang="en-GB" sz="1000" kern="1200" spc="-20" noProof="0">
                <a:latin typeface="Trebuchet MS" panose="020B0603020202020204" pitchFamily="34" charset="0"/>
                <a:ea typeface="+mn-ea"/>
                <a:cs typeface="+mn-cs"/>
              </a:rPr>
              <a:t>is expected to witness expansion, but this mar</a:t>
            </a:r>
            <a:r>
              <a:rPr lang="en-GB" sz="1000" spc="-20" err="1">
                <a:latin typeface="Trebuchet MS" panose="020B0603020202020204" pitchFamily="34" charset="0"/>
                <a:cs typeface="+mn-cs"/>
              </a:rPr>
              <a:t>ket</a:t>
            </a:r>
            <a:r>
              <a:rPr lang="en-GB" sz="1000" spc="-20">
                <a:latin typeface="Trebuchet MS" panose="020B0603020202020204" pitchFamily="34" charset="0"/>
                <a:cs typeface="+mn-cs"/>
              </a:rPr>
              <a:t> is </a:t>
            </a:r>
            <a:r>
              <a:rPr lang="en-GB" sz="1000" spc="-20">
                <a:solidFill>
                  <a:schemeClr val="tx2"/>
                </a:solidFill>
                <a:latin typeface="Trebuchet MS" panose="020B0603020202020204" pitchFamily="34" charset="0"/>
                <a:cs typeface="+mn-cs"/>
              </a:rPr>
              <a:t>cyclical</a:t>
            </a:r>
            <a:r>
              <a:rPr lang="en-GB" sz="1000" spc="-20">
                <a:latin typeface="Trebuchet MS" panose="020B0603020202020204" pitchFamily="34" charset="0"/>
                <a:cs typeface="+mn-cs"/>
              </a:rPr>
              <a:t> and should suffer with the Covid-19 crisis</a:t>
            </a:r>
            <a:endParaRPr lang="en-GB" sz="1000" kern="1200" spc="-20" noProof="0">
              <a:latin typeface="Trebuchet MS" panose="020B0603020202020204" pitchFamily="34" charset="0"/>
              <a:ea typeface="+mn-ea"/>
              <a:cs typeface="+mn-cs"/>
            </a:endParaRPr>
          </a:p>
        </p:txBody>
      </p:sp>
      <p:sp>
        <p:nvSpPr>
          <p:cNvPr id="131" name="Rectangle 130">
            <a:extLst>
              <a:ext uri="{FF2B5EF4-FFF2-40B4-BE49-F238E27FC236}">
                <a16:creationId xmlns:a16="http://schemas.microsoft.com/office/drawing/2014/main" id="{30102A56-A35A-4652-A765-CF2E7BF2B633}"/>
              </a:ext>
            </a:extLst>
          </p:cNvPr>
          <p:cNvSpPr/>
          <p:nvPr/>
        </p:nvSpPr>
        <p:spPr bwMode="auto">
          <a:xfrm>
            <a:off x="7097624" y="4108793"/>
            <a:ext cx="2542133" cy="73316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000"/>
              </a:lnSpc>
              <a:spcAft>
                <a:spcPts val="600"/>
              </a:spcAft>
              <a:defRPr/>
            </a:pPr>
            <a:r>
              <a:rPr lang="en-GB" sz="1000" i="1" spc="-30">
                <a:solidFill>
                  <a:srgbClr val="6C6C6C"/>
                </a:solidFill>
                <a:latin typeface="Trebuchet MS" panose="020B0603020202020204" pitchFamily="34" charset="0"/>
              </a:rPr>
              <a:t>“The increase in </a:t>
            </a:r>
            <a:r>
              <a:rPr lang="en-GB" sz="1000" i="1" spc="-30">
                <a:solidFill>
                  <a:schemeClr val="tx2"/>
                </a:solidFill>
                <a:latin typeface="Trebuchet MS" panose="020B0603020202020204" pitchFamily="34" charset="0"/>
              </a:rPr>
              <a:t>factoring</a:t>
            </a:r>
            <a:r>
              <a:rPr lang="en-GB" sz="1000" i="1" spc="-30">
                <a:solidFill>
                  <a:srgbClr val="6C6C6C"/>
                </a:solidFill>
                <a:latin typeface="Trebuchet MS" panose="020B0603020202020204" pitchFamily="34" charset="0"/>
              </a:rPr>
              <a:t> is linked to a growing WCR for companies, but </a:t>
            </a:r>
            <a:r>
              <a:rPr lang="en-GB" sz="1000" i="1" spc="-30">
                <a:solidFill>
                  <a:schemeClr val="tx2"/>
                </a:solidFill>
                <a:latin typeface="Trebuchet MS" panose="020B0603020202020204" pitchFamily="34" charset="0"/>
              </a:rPr>
              <a:t>does</a:t>
            </a:r>
            <a:r>
              <a:rPr lang="en-GB" sz="1000" i="1" spc="-30">
                <a:solidFill>
                  <a:srgbClr val="6C6C6C"/>
                </a:solidFill>
                <a:latin typeface="Trebuchet MS" panose="020B0603020202020204" pitchFamily="34" charset="0"/>
              </a:rPr>
              <a:t> </a:t>
            </a:r>
            <a:r>
              <a:rPr lang="en-GB" sz="1000" i="1" spc="-30">
                <a:solidFill>
                  <a:schemeClr val="tx2"/>
                </a:solidFill>
                <a:latin typeface="Trebuchet MS" panose="020B0603020202020204" pitchFamily="34" charset="0"/>
              </a:rPr>
              <a:t>not</a:t>
            </a:r>
            <a:r>
              <a:rPr lang="en-GB" sz="1000" i="1" spc="-30">
                <a:solidFill>
                  <a:srgbClr val="6C6C6C"/>
                </a:solidFill>
                <a:latin typeface="Trebuchet MS" panose="020B0603020202020204" pitchFamily="34" charset="0"/>
              </a:rPr>
              <a:t> represent a </a:t>
            </a:r>
            <a:r>
              <a:rPr lang="en-GB" sz="1000" i="1" spc="-30">
                <a:solidFill>
                  <a:schemeClr val="tx2"/>
                </a:solidFill>
                <a:latin typeface="Trebuchet MS" panose="020B0603020202020204" pitchFamily="34" charset="0"/>
              </a:rPr>
              <a:t>threat</a:t>
            </a:r>
            <a:r>
              <a:rPr lang="en-GB" sz="1000" i="1" spc="-30">
                <a:solidFill>
                  <a:srgbClr val="6C6C6C"/>
                </a:solidFill>
                <a:latin typeface="Trebuchet MS" panose="020B0603020202020204" pitchFamily="34" charset="0"/>
              </a:rPr>
              <a:t> of substitution for </a:t>
            </a:r>
            <a:r>
              <a:rPr lang="en-GB" sz="1000" i="1" spc="-30">
                <a:solidFill>
                  <a:schemeClr val="tx2"/>
                </a:solidFill>
                <a:latin typeface="Trebuchet MS" panose="020B0603020202020204" pitchFamily="34" charset="0"/>
              </a:rPr>
              <a:t>Credit risk</a:t>
            </a:r>
            <a:r>
              <a:rPr lang="en-GB" sz="1000" i="1">
                <a:solidFill>
                  <a:srgbClr val="6C6C6C"/>
                </a:solidFill>
                <a:latin typeface="Trebuchet MS" panose="020B0603020202020204" pitchFamily="34" charset="0"/>
              </a:rPr>
              <a:t>”</a:t>
            </a:r>
          </a:p>
          <a:p>
            <a:pPr>
              <a:lnSpc>
                <a:spcPts val="1000"/>
              </a:lnSpc>
              <a:spcAft>
                <a:spcPts val="600"/>
              </a:spcAft>
              <a:defRPr/>
            </a:pPr>
            <a:r>
              <a:rPr lang="en-GB" sz="1000" spc="-30">
                <a:solidFill>
                  <a:srgbClr val="6C6C6C"/>
                </a:solidFill>
                <a:latin typeface="Trebuchet MS" panose="020B0603020202020204" pitchFamily="34" charset="0"/>
              </a:rPr>
              <a:t>Former Commercial Manager at </a:t>
            </a:r>
            <a:r>
              <a:rPr lang="en-GB" sz="1000" spc="-30" err="1">
                <a:solidFill>
                  <a:srgbClr val="6C6C6C"/>
                </a:solidFill>
                <a:latin typeface="Trebuchet MS" panose="020B0603020202020204" pitchFamily="34" charset="0"/>
              </a:rPr>
              <a:t>Ellisphere</a:t>
            </a:r>
            <a:endParaRPr lang="en-GB" sz="1000" spc="-30" baseline="30000">
              <a:solidFill>
                <a:srgbClr val="289B38"/>
              </a:solidFill>
              <a:latin typeface="Trebuchet MS" panose="020B0603020202020204" pitchFamily="34" charset="0"/>
            </a:endParaRPr>
          </a:p>
        </p:txBody>
      </p:sp>
      <p:sp>
        <p:nvSpPr>
          <p:cNvPr id="135" name="Freeform 663">
            <a:extLst>
              <a:ext uri="{FF2B5EF4-FFF2-40B4-BE49-F238E27FC236}">
                <a16:creationId xmlns:a16="http://schemas.microsoft.com/office/drawing/2014/main" id="{A996B311-A5C3-46ED-ABD8-916DC7BD014F}"/>
              </a:ext>
            </a:extLst>
          </p:cNvPr>
          <p:cNvSpPr>
            <a:spLocks noEditPoints="1"/>
          </p:cNvSpPr>
          <p:nvPr/>
        </p:nvSpPr>
        <p:spPr bwMode="auto">
          <a:xfrm>
            <a:off x="6971623" y="4401229"/>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36" name="Espace réservé du texte 2">
            <a:extLst>
              <a:ext uri="{FF2B5EF4-FFF2-40B4-BE49-F238E27FC236}">
                <a16:creationId xmlns:a16="http://schemas.microsoft.com/office/drawing/2014/main" id="{C7060C2C-CC8B-4582-8F0E-55A827A9FCAD}"/>
              </a:ext>
            </a:extLst>
          </p:cNvPr>
          <p:cNvSpPr>
            <a:spLocks noGrp="1"/>
          </p:cNvSpPr>
          <p:nvPr/>
        </p:nvSpPr>
        <p:spPr bwMode="auto">
          <a:xfrm>
            <a:off x="4099313" y="4544378"/>
            <a:ext cx="393415" cy="17829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1000">
                <a:latin typeface="Trebuchet MS" panose="020B0603020202020204" pitchFamily="34" charset="0"/>
                <a:sym typeface="+mn-lt"/>
              </a:rPr>
              <a:t>286</a:t>
            </a:r>
            <a:endParaRPr lang="en-GB" sz="900">
              <a:latin typeface="Trebuchet MS" panose="020B0603020202020204" pitchFamily="34" charset="0"/>
              <a:sym typeface="+mn-lt"/>
            </a:endParaRPr>
          </a:p>
        </p:txBody>
      </p:sp>
      <p:sp>
        <p:nvSpPr>
          <p:cNvPr id="137" name="Espace réservé du texte 2">
            <a:extLst>
              <a:ext uri="{FF2B5EF4-FFF2-40B4-BE49-F238E27FC236}">
                <a16:creationId xmlns:a16="http://schemas.microsoft.com/office/drawing/2014/main" id="{99483D97-F699-4E1C-BE8D-E4FDA5F8A9B5}"/>
              </a:ext>
            </a:extLst>
          </p:cNvPr>
          <p:cNvSpPr>
            <a:spLocks noGrp="1"/>
          </p:cNvSpPr>
          <p:nvPr/>
        </p:nvSpPr>
        <p:spPr bwMode="auto">
          <a:xfrm>
            <a:off x="6499128" y="4216859"/>
            <a:ext cx="393415" cy="17829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1000">
                <a:latin typeface="Trebuchet MS" panose="020B0603020202020204" pitchFamily="34" charset="0"/>
                <a:sym typeface="+mn-lt"/>
              </a:rPr>
              <a:t>525</a:t>
            </a:r>
            <a:endParaRPr lang="en-GB" sz="900">
              <a:latin typeface="Trebuchet MS" panose="020B0603020202020204" pitchFamily="34" charset="0"/>
              <a:sym typeface="+mn-lt"/>
            </a:endParaRPr>
          </a:p>
        </p:txBody>
      </p:sp>
      <p:cxnSp>
        <p:nvCxnSpPr>
          <p:cNvPr id="138" name="Straight Connector 137">
            <a:extLst>
              <a:ext uri="{FF2B5EF4-FFF2-40B4-BE49-F238E27FC236}">
                <a16:creationId xmlns:a16="http://schemas.microsoft.com/office/drawing/2014/main" id="{3573D8E8-64E6-461B-9433-AA0E180442E2}"/>
              </a:ext>
            </a:extLst>
          </p:cNvPr>
          <p:cNvCxnSpPr>
            <a:cxnSpLocks/>
          </p:cNvCxnSpPr>
          <p:nvPr/>
        </p:nvCxnSpPr>
        <p:spPr bwMode="auto">
          <a:xfrm flipV="1">
            <a:off x="4213919" y="4372221"/>
            <a:ext cx="2279485" cy="365761"/>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40" name="Rectangle 139">
            <a:extLst>
              <a:ext uri="{FF2B5EF4-FFF2-40B4-BE49-F238E27FC236}">
                <a16:creationId xmlns:a16="http://schemas.microsoft.com/office/drawing/2014/main" id="{EBA6CB78-B760-48BC-B5DC-72ADAFE2F8D1}"/>
              </a:ext>
            </a:extLst>
          </p:cNvPr>
          <p:cNvSpPr/>
          <p:nvPr/>
        </p:nvSpPr>
        <p:spPr bwMode="auto">
          <a:xfrm>
            <a:off x="4431354" y="4299177"/>
            <a:ext cx="899441" cy="296763"/>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800" baseline="-25000">
                <a:latin typeface="Trebuchet MS" panose="020B0603020202020204" pitchFamily="34" charset="0"/>
              </a:rPr>
              <a:t>13-19</a:t>
            </a:r>
            <a:r>
              <a:rPr lang="en-GB" sz="900">
                <a:latin typeface="Trebuchet MS" panose="020B0603020202020204" pitchFamily="34" charset="0"/>
              </a:rPr>
              <a:t>: </a:t>
            </a:r>
            <a:r>
              <a:rPr kumimoji="0" lang="en-GB" sz="900" b="0" i="0" u="none" strike="noStrike" cap="none" normalizeH="0" baseline="0">
                <a:ln>
                  <a:noFill/>
                </a:ln>
                <a:effectLst/>
                <a:latin typeface="Trebuchet MS" panose="020B0603020202020204" pitchFamily="34" charset="0"/>
              </a:rPr>
              <a:t>+35% </a:t>
            </a:r>
          </a:p>
        </p:txBody>
      </p:sp>
      <p:sp>
        <p:nvSpPr>
          <p:cNvPr id="143" name="Rectangle 142">
            <a:extLst>
              <a:ext uri="{FF2B5EF4-FFF2-40B4-BE49-F238E27FC236}">
                <a16:creationId xmlns:a16="http://schemas.microsoft.com/office/drawing/2014/main" id="{ECBAA429-A60A-4F42-8CA9-FE676A29DB66}"/>
              </a:ext>
            </a:extLst>
          </p:cNvPr>
          <p:cNvSpPr/>
          <p:nvPr/>
        </p:nvSpPr>
        <p:spPr bwMode="auto">
          <a:xfrm>
            <a:off x="4071008" y="4042581"/>
            <a:ext cx="2779824" cy="16609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tx1"/>
                </a:solidFill>
                <a:effectLst/>
                <a:latin typeface="Trebuchet MS" panose="020B0603020202020204" pitchFamily="34" charset="0"/>
              </a:rPr>
              <a:t>Amount of receivable under factoring, by country, in €bn </a:t>
            </a:r>
          </a:p>
        </p:txBody>
      </p:sp>
      <p:cxnSp>
        <p:nvCxnSpPr>
          <p:cNvPr id="63" name="Connecteur droit 31">
            <a:extLst>
              <a:ext uri="{FF2B5EF4-FFF2-40B4-BE49-F238E27FC236}">
                <a16:creationId xmlns:a16="http://schemas.microsoft.com/office/drawing/2014/main" id="{1074550E-3A23-4311-8BED-E5D025B77629}"/>
              </a:ext>
            </a:extLst>
          </p:cNvPr>
          <p:cNvCxnSpPr>
            <a:cxnSpLocks/>
          </p:cNvCxnSpPr>
          <p:nvPr/>
        </p:nvCxnSpPr>
        <p:spPr bwMode="auto">
          <a:xfrm>
            <a:off x="3966095" y="3908018"/>
            <a:ext cx="5783217" cy="0"/>
          </a:xfrm>
          <a:prstGeom prst="line">
            <a:avLst/>
          </a:prstGeom>
          <a:solidFill>
            <a:schemeClr val="accent1"/>
          </a:solidFill>
          <a:ln w="9525" cap="flat" cmpd="sng" algn="ctr">
            <a:solidFill>
              <a:schemeClr val="tx1"/>
            </a:solidFill>
            <a:prstDash val="dash"/>
            <a:round/>
            <a:headEnd type="none" w="med" len="med"/>
            <a:tailEnd type="none" w="med" len="med"/>
          </a:ln>
          <a:effectLst/>
        </p:spPr>
      </p:cxnSp>
      <p:pic>
        <p:nvPicPr>
          <p:cNvPr id="64" name="Graphic 63">
            <a:extLst>
              <a:ext uri="{FF2B5EF4-FFF2-40B4-BE49-F238E27FC236}">
                <a16:creationId xmlns:a16="http://schemas.microsoft.com/office/drawing/2014/main" id="{E4A43050-85EE-49ED-8190-631F93A0436D}"/>
              </a:ext>
            </a:extLst>
          </p:cNvPr>
          <p:cNvPicPr>
            <a:picLocks noChangeAspect="1"/>
          </p:cNvPicPr>
          <p:nvPr/>
        </p:nvPicPr>
        <p:blipFill rotWithShape="1">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t="9057" b="30265"/>
          <a:stretch/>
        </p:blipFill>
        <p:spPr>
          <a:xfrm>
            <a:off x="725714" y="1607113"/>
            <a:ext cx="363558" cy="276975"/>
          </a:xfrm>
          <a:prstGeom prst="rect">
            <a:avLst/>
          </a:prstGeom>
        </p:spPr>
      </p:pic>
      <p:sp>
        <p:nvSpPr>
          <p:cNvPr id="172" name="Espace réservé du texte 2">
            <a:extLst>
              <a:ext uri="{FF2B5EF4-FFF2-40B4-BE49-F238E27FC236}">
                <a16:creationId xmlns:a16="http://schemas.microsoft.com/office/drawing/2014/main" id="{A160B8AD-2B28-4883-BC89-606C8221F1C8}"/>
              </a:ext>
            </a:extLst>
          </p:cNvPr>
          <p:cNvSpPr>
            <a:spLocks noGrp="1"/>
          </p:cNvSpPr>
          <p:nvPr/>
        </p:nvSpPr>
        <p:spPr bwMode="auto">
          <a:xfrm>
            <a:off x="4727701" y="2494792"/>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2015</a:t>
            </a:r>
          </a:p>
        </p:txBody>
      </p:sp>
      <p:graphicFrame>
        <p:nvGraphicFramePr>
          <p:cNvPr id="173" name="Chart 172">
            <a:extLst>
              <a:ext uri="{FF2B5EF4-FFF2-40B4-BE49-F238E27FC236}">
                <a16:creationId xmlns:a16="http://schemas.microsoft.com/office/drawing/2014/main" id="{0EABB623-F183-4061-B3A2-62C19D5AEABE}"/>
              </a:ext>
            </a:extLst>
          </p:cNvPr>
          <p:cNvGraphicFramePr/>
          <p:nvPr>
            <p:extLst>
              <p:ext uri="{D42A27DB-BD31-4B8C-83A1-F6EECF244321}">
                <p14:modId xmlns:p14="http://schemas.microsoft.com/office/powerpoint/2010/main" val="928519751"/>
              </p:ext>
            </p:extLst>
          </p:nvPr>
        </p:nvGraphicFramePr>
        <p:xfrm>
          <a:off x="4408939" y="1870050"/>
          <a:ext cx="1744662" cy="746865"/>
        </p:xfrm>
        <a:graphic>
          <a:graphicData uri="http://schemas.openxmlformats.org/drawingml/2006/chart">
            <c:chart xmlns:c="http://schemas.openxmlformats.org/drawingml/2006/chart" xmlns:r="http://schemas.openxmlformats.org/officeDocument/2006/relationships" r:id="rId21"/>
          </a:graphicData>
        </a:graphic>
      </p:graphicFrame>
      <p:sp>
        <p:nvSpPr>
          <p:cNvPr id="174" name="Espace réservé du texte 2">
            <a:extLst>
              <a:ext uri="{FF2B5EF4-FFF2-40B4-BE49-F238E27FC236}">
                <a16:creationId xmlns:a16="http://schemas.microsoft.com/office/drawing/2014/main" id="{1C63473B-4914-4362-89B0-8ED0FF63774E}"/>
              </a:ext>
            </a:extLst>
          </p:cNvPr>
          <p:cNvSpPr>
            <a:spLocks noGrp="1"/>
          </p:cNvSpPr>
          <p:nvPr/>
        </p:nvSpPr>
        <p:spPr bwMode="gray">
          <a:xfrm>
            <a:off x="4797866" y="2263016"/>
            <a:ext cx="168275"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altLang="en-US" sz="1000">
                <a:solidFill>
                  <a:schemeClr val="bg1"/>
                </a:solidFill>
                <a:latin typeface="Trebuchet MS" panose="020B0603020202020204" pitchFamily="34" charset="0"/>
              </a:rPr>
              <a:t>6</a:t>
            </a:r>
            <a:endParaRPr lang="en-GB" sz="1000">
              <a:solidFill>
                <a:schemeClr val="bg1"/>
              </a:solidFill>
              <a:latin typeface="Trebuchet MS" panose="020B0603020202020204" pitchFamily="34" charset="0"/>
              <a:sym typeface="+mn-lt"/>
            </a:endParaRPr>
          </a:p>
        </p:txBody>
      </p:sp>
      <p:sp>
        <p:nvSpPr>
          <p:cNvPr id="175" name="Espace réservé du texte 2">
            <a:extLst>
              <a:ext uri="{FF2B5EF4-FFF2-40B4-BE49-F238E27FC236}">
                <a16:creationId xmlns:a16="http://schemas.microsoft.com/office/drawing/2014/main" id="{87C2D81C-C334-4848-8EE2-DF79633B9F53}"/>
              </a:ext>
            </a:extLst>
          </p:cNvPr>
          <p:cNvSpPr>
            <a:spLocks noGrp="1"/>
          </p:cNvSpPr>
          <p:nvPr/>
        </p:nvSpPr>
        <p:spPr bwMode="gray">
          <a:xfrm>
            <a:off x="5082159" y="2326227"/>
            <a:ext cx="168275"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1000">
                <a:solidFill>
                  <a:schemeClr val="bg1"/>
                </a:solidFill>
                <a:latin typeface="Trebuchet MS" panose="020B0603020202020204" pitchFamily="34" charset="0"/>
                <a:sym typeface="+mn-lt"/>
              </a:rPr>
              <a:t>5</a:t>
            </a:r>
          </a:p>
        </p:txBody>
      </p:sp>
      <p:sp>
        <p:nvSpPr>
          <p:cNvPr id="176" name="Espace réservé du texte 2">
            <a:extLst>
              <a:ext uri="{FF2B5EF4-FFF2-40B4-BE49-F238E27FC236}">
                <a16:creationId xmlns:a16="http://schemas.microsoft.com/office/drawing/2014/main" id="{CB732DCF-5200-44CF-85B4-F7813B7087A4}"/>
              </a:ext>
            </a:extLst>
          </p:cNvPr>
          <p:cNvSpPr>
            <a:spLocks noGrp="1"/>
          </p:cNvSpPr>
          <p:nvPr/>
        </p:nvSpPr>
        <p:spPr bwMode="gray">
          <a:xfrm>
            <a:off x="5364364" y="2326227"/>
            <a:ext cx="168275"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1000">
                <a:solidFill>
                  <a:schemeClr val="bg1"/>
                </a:solidFill>
                <a:latin typeface="Trebuchet MS" panose="020B0603020202020204" pitchFamily="34" charset="0"/>
                <a:sym typeface="+mn-lt"/>
              </a:rPr>
              <a:t>5</a:t>
            </a:r>
          </a:p>
        </p:txBody>
      </p:sp>
      <p:sp>
        <p:nvSpPr>
          <p:cNvPr id="177" name="Espace réservé du texte 2">
            <a:extLst>
              <a:ext uri="{FF2B5EF4-FFF2-40B4-BE49-F238E27FC236}">
                <a16:creationId xmlns:a16="http://schemas.microsoft.com/office/drawing/2014/main" id="{622532A4-683B-47D5-B9A4-AE44866AE02A}"/>
              </a:ext>
            </a:extLst>
          </p:cNvPr>
          <p:cNvSpPr>
            <a:spLocks noGrp="1"/>
          </p:cNvSpPr>
          <p:nvPr/>
        </p:nvSpPr>
        <p:spPr bwMode="gray">
          <a:xfrm>
            <a:off x="5658490" y="2326227"/>
            <a:ext cx="168275"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1000">
                <a:solidFill>
                  <a:schemeClr val="bg1"/>
                </a:solidFill>
                <a:latin typeface="Trebuchet MS" panose="020B0603020202020204" pitchFamily="34" charset="0"/>
                <a:sym typeface="+mn-lt"/>
              </a:rPr>
              <a:t>5</a:t>
            </a:r>
          </a:p>
        </p:txBody>
      </p:sp>
      <p:sp>
        <p:nvSpPr>
          <p:cNvPr id="178" name="Espace réservé du texte 2">
            <a:extLst>
              <a:ext uri="{FF2B5EF4-FFF2-40B4-BE49-F238E27FC236}">
                <a16:creationId xmlns:a16="http://schemas.microsoft.com/office/drawing/2014/main" id="{306AEDBA-3989-48DE-977B-802E993C5DAD}"/>
              </a:ext>
            </a:extLst>
          </p:cNvPr>
          <p:cNvSpPr>
            <a:spLocks noGrp="1"/>
          </p:cNvSpPr>
          <p:nvPr>
            <p:custDataLst>
              <p:tags r:id="rId3"/>
            </p:custDataLst>
          </p:nvPr>
        </p:nvSpPr>
        <p:spPr bwMode="auto">
          <a:xfrm>
            <a:off x="5677581" y="2487591"/>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2018</a:t>
            </a:r>
          </a:p>
        </p:txBody>
      </p:sp>
      <p:cxnSp>
        <p:nvCxnSpPr>
          <p:cNvPr id="180" name="Straight Connector 179">
            <a:extLst>
              <a:ext uri="{FF2B5EF4-FFF2-40B4-BE49-F238E27FC236}">
                <a16:creationId xmlns:a16="http://schemas.microsoft.com/office/drawing/2014/main" id="{12AB8367-164B-4507-8308-9DA16B67D2D8}"/>
              </a:ext>
            </a:extLst>
          </p:cNvPr>
          <p:cNvCxnSpPr>
            <a:cxnSpLocks/>
          </p:cNvCxnSpPr>
          <p:nvPr/>
        </p:nvCxnSpPr>
        <p:spPr bwMode="auto">
          <a:xfrm>
            <a:off x="4686413" y="2478065"/>
            <a:ext cx="1300163"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85" name="Straight Connector 184">
            <a:extLst>
              <a:ext uri="{FF2B5EF4-FFF2-40B4-BE49-F238E27FC236}">
                <a16:creationId xmlns:a16="http://schemas.microsoft.com/office/drawing/2014/main" id="{962A9E14-DED5-4C80-97A0-EA6C039ED9E2}"/>
              </a:ext>
            </a:extLst>
          </p:cNvPr>
          <p:cNvCxnSpPr>
            <a:cxnSpLocks/>
          </p:cNvCxnSpPr>
          <p:nvPr/>
        </p:nvCxnSpPr>
        <p:spPr bwMode="auto">
          <a:xfrm>
            <a:off x="5057380" y="2277286"/>
            <a:ext cx="803972" cy="15367"/>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87" name="Rectangle 186">
            <a:extLst>
              <a:ext uri="{FF2B5EF4-FFF2-40B4-BE49-F238E27FC236}">
                <a16:creationId xmlns:a16="http://schemas.microsoft.com/office/drawing/2014/main" id="{2E15FAE4-02FD-4C51-9435-7EF9A999AC14}"/>
              </a:ext>
            </a:extLst>
          </p:cNvPr>
          <p:cNvSpPr/>
          <p:nvPr/>
        </p:nvSpPr>
        <p:spPr bwMode="auto">
          <a:xfrm>
            <a:off x="4844576" y="1956679"/>
            <a:ext cx="327054" cy="210681"/>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15</a:t>
            </a:r>
            <a:r>
              <a:rPr kumimoji="0" lang="en-GB" sz="900" b="0" i="0" u="none" strike="noStrike" cap="none" normalizeH="0" baseline="0">
                <a:ln>
                  <a:noFill/>
                </a:ln>
                <a:effectLst/>
                <a:latin typeface="Trebuchet MS" panose="020B0603020202020204" pitchFamily="34" charset="0"/>
              </a:rPr>
              <a:t>%</a:t>
            </a:r>
          </a:p>
        </p:txBody>
      </p:sp>
      <p:pic>
        <p:nvPicPr>
          <p:cNvPr id="191" name="Picture 2 - 1" descr="Drapeau des Pays-Bas — Wikipédia">
            <a:extLst>
              <a:ext uri="{FF2B5EF4-FFF2-40B4-BE49-F238E27FC236}">
                <a16:creationId xmlns:a16="http://schemas.microsoft.com/office/drawing/2014/main" id="{3851FF45-E609-445C-A069-6F05C191C08F}"/>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170045" y="1674362"/>
            <a:ext cx="238894"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192" name="Rectangle 191">
            <a:extLst>
              <a:ext uri="{FF2B5EF4-FFF2-40B4-BE49-F238E27FC236}">
                <a16:creationId xmlns:a16="http://schemas.microsoft.com/office/drawing/2014/main" id="{03C44E15-4D2F-46B6-9382-48448D190942}"/>
              </a:ext>
            </a:extLst>
          </p:cNvPr>
          <p:cNvSpPr/>
          <p:nvPr/>
        </p:nvSpPr>
        <p:spPr bwMode="auto">
          <a:xfrm>
            <a:off x="4294432" y="1578157"/>
            <a:ext cx="2468791" cy="15695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tx1"/>
                </a:solidFill>
                <a:effectLst/>
                <a:latin typeface="Trebuchet MS" panose="020B0603020202020204" pitchFamily="34" charset="0"/>
              </a:rPr>
              <a:t>Evolution of average payment delays in B2B, in days, Netherlands</a:t>
            </a:r>
          </a:p>
        </p:txBody>
      </p:sp>
      <p:graphicFrame>
        <p:nvGraphicFramePr>
          <p:cNvPr id="193" name="Chart 192">
            <a:extLst>
              <a:ext uri="{FF2B5EF4-FFF2-40B4-BE49-F238E27FC236}">
                <a16:creationId xmlns:a16="http://schemas.microsoft.com/office/drawing/2014/main" id="{FFC87715-9A50-4B56-AED3-26E1DAAC27FA}"/>
              </a:ext>
            </a:extLst>
          </p:cNvPr>
          <p:cNvGraphicFramePr/>
          <p:nvPr>
            <p:custDataLst>
              <p:tags r:id="rId4"/>
            </p:custDataLst>
            <p:extLst>
              <p:ext uri="{D42A27DB-BD31-4B8C-83A1-F6EECF244321}">
                <p14:modId xmlns:p14="http://schemas.microsoft.com/office/powerpoint/2010/main" val="3750212199"/>
              </p:ext>
            </p:extLst>
          </p:nvPr>
        </p:nvGraphicFramePr>
        <p:xfrm>
          <a:off x="7504854" y="1884899"/>
          <a:ext cx="1744663" cy="698500"/>
        </p:xfrm>
        <a:graphic>
          <a:graphicData uri="http://schemas.openxmlformats.org/drawingml/2006/chart">
            <c:chart xmlns:c="http://schemas.openxmlformats.org/drawingml/2006/chart" xmlns:r="http://schemas.openxmlformats.org/officeDocument/2006/relationships" r:id="rId23"/>
          </a:graphicData>
        </a:graphic>
      </p:graphicFrame>
      <p:cxnSp>
        <p:nvCxnSpPr>
          <p:cNvPr id="195" name="Straight Connector 194">
            <a:extLst>
              <a:ext uri="{FF2B5EF4-FFF2-40B4-BE49-F238E27FC236}">
                <a16:creationId xmlns:a16="http://schemas.microsoft.com/office/drawing/2014/main" id="{C2FBB778-5209-48FF-A791-546BE10750D8}"/>
              </a:ext>
            </a:extLst>
          </p:cNvPr>
          <p:cNvCxnSpPr>
            <a:cxnSpLocks/>
          </p:cNvCxnSpPr>
          <p:nvPr/>
        </p:nvCxnSpPr>
        <p:spPr bwMode="auto">
          <a:xfrm>
            <a:off x="7763941" y="2009411"/>
            <a:ext cx="747388" cy="138009"/>
          </a:xfrm>
          <a:prstGeom prst="line">
            <a:avLst/>
          </a:prstGeom>
          <a:solidFill>
            <a:schemeClr val="accent1"/>
          </a:solidFill>
          <a:ln w="9525" cap="flat" cmpd="sng" algn="ctr">
            <a:solidFill>
              <a:schemeClr val="tx1"/>
            </a:solidFill>
            <a:prstDash val="dash"/>
            <a:round/>
            <a:headEnd type="none" w="med" len="med"/>
            <a:tailEnd type="triangle"/>
          </a:ln>
          <a:effectLst/>
        </p:spPr>
      </p:cxnSp>
      <p:cxnSp>
        <p:nvCxnSpPr>
          <p:cNvPr id="196" name="Straight Connector 195">
            <a:extLst>
              <a:ext uri="{FF2B5EF4-FFF2-40B4-BE49-F238E27FC236}">
                <a16:creationId xmlns:a16="http://schemas.microsoft.com/office/drawing/2014/main" id="{426BFE9B-883C-43F0-B467-A15D59760F22}"/>
              </a:ext>
            </a:extLst>
          </p:cNvPr>
          <p:cNvCxnSpPr>
            <a:cxnSpLocks/>
          </p:cNvCxnSpPr>
          <p:nvPr>
            <p:custDataLst>
              <p:tags r:id="rId5"/>
            </p:custDataLst>
          </p:nvPr>
        </p:nvCxnSpPr>
        <p:spPr bwMode="auto">
          <a:xfrm flipV="1">
            <a:off x="8574829" y="2126011"/>
            <a:ext cx="393700" cy="25766"/>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97" name="Espace réservé du texte 2">
            <a:extLst>
              <a:ext uri="{FF2B5EF4-FFF2-40B4-BE49-F238E27FC236}">
                <a16:creationId xmlns:a16="http://schemas.microsoft.com/office/drawing/2014/main" id="{E8325BD8-C9C5-4761-8956-4AF2DFDF9937}"/>
              </a:ext>
            </a:extLst>
          </p:cNvPr>
          <p:cNvSpPr>
            <a:spLocks noGrp="1"/>
          </p:cNvSpPr>
          <p:nvPr>
            <p:custDataLst>
              <p:tags r:id="rId6"/>
            </p:custDataLst>
          </p:nvPr>
        </p:nvSpPr>
        <p:spPr bwMode="gray">
          <a:xfrm>
            <a:off x="7700117" y="2086511"/>
            <a:ext cx="168275"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altLang="en-US" sz="1000">
                <a:solidFill>
                  <a:schemeClr val="bg1"/>
                </a:solidFill>
                <a:latin typeface="Trebuchet MS" panose="020B0603020202020204" pitchFamily="34" charset="0"/>
              </a:rPr>
              <a:t>45.9</a:t>
            </a:r>
            <a:endParaRPr lang="en-GB" sz="1000">
              <a:solidFill>
                <a:schemeClr val="bg1"/>
              </a:solidFill>
              <a:latin typeface="Trebuchet MS" panose="020B0603020202020204" pitchFamily="34" charset="0"/>
              <a:sym typeface="+mn-lt"/>
            </a:endParaRPr>
          </a:p>
        </p:txBody>
      </p:sp>
      <p:sp>
        <p:nvSpPr>
          <p:cNvPr id="198" name="Espace réservé du texte 2">
            <a:extLst>
              <a:ext uri="{FF2B5EF4-FFF2-40B4-BE49-F238E27FC236}">
                <a16:creationId xmlns:a16="http://schemas.microsoft.com/office/drawing/2014/main" id="{A8BDE98C-C833-4930-A8DB-B8B0776B8808}"/>
              </a:ext>
            </a:extLst>
          </p:cNvPr>
          <p:cNvSpPr>
            <a:spLocks noGrp="1"/>
          </p:cNvSpPr>
          <p:nvPr>
            <p:custDataLst>
              <p:tags r:id="rId7"/>
            </p:custDataLst>
          </p:nvPr>
        </p:nvSpPr>
        <p:spPr bwMode="gray">
          <a:xfrm>
            <a:off x="8490692" y="2164299"/>
            <a:ext cx="168275"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8485E1B-BA6A-4D01-9C85-13A940C19CA3}" type="datetime'''''''''''4''''''''''''''''''''''4'''''''''''''''">
              <a:rPr lang="en-GB" altLang="en-US" sz="1000" smtClean="0">
                <a:solidFill>
                  <a:schemeClr val="bg1"/>
                </a:solidFill>
                <a:latin typeface="Trebuchet MS" panose="020B0603020202020204" pitchFamily="34" charset="0"/>
              </a:rPr>
              <a:pPr marL="0" indent="0" algn="ctr">
                <a:spcBef>
                  <a:spcPct val="0"/>
                </a:spcBef>
                <a:buNone/>
              </a:pPr>
              <a:t>44</a:t>
            </a:fld>
            <a:endParaRPr lang="en-GB" sz="1000">
              <a:solidFill>
                <a:schemeClr val="bg1"/>
              </a:solidFill>
              <a:latin typeface="Trebuchet MS" panose="020B0603020202020204" pitchFamily="34" charset="0"/>
              <a:sym typeface="+mn-lt"/>
            </a:endParaRPr>
          </a:p>
        </p:txBody>
      </p:sp>
      <p:sp>
        <p:nvSpPr>
          <p:cNvPr id="199" name="Espace réservé du texte 2">
            <a:extLst>
              <a:ext uri="{FF2B5EF4-FFF2-40B4-BE49-F238E27FC236}">
                <a16:creationId xmlns:a16="http://schemas.microsoft.com/office/drawing/2014/main" id="{451196FA-614F-4381-BC1D-F285E250B82D}"/>
              </a:ext>
            </a:extLst>
          </p:cNvPr>
          <p:cNvSpPr>
            <a:spLocks noGrp="1"/>
          </p:cNvSpPr>
          <p:nvPr>
            <p:custDataLst>
              <p:tags r:id="rId8"/>
            </p:custDataLst>
          </p:nvPr>
        </p:nvSpPr>
        <p:spPr bwMode="auto">
          <a:xfrm>
            <a:off x="8841529" y="2511790"/>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2017</a:t>
            </a:r>
          </a:p>
        </p:txBody>
      </p:sp>
      <p:sp>
        <p:nvSpPr>
          <p:cNvPr id="201" name="Espace réservé du texte 2">
            <a:extLst>
              <a:ext uri="{FF2B5EF4-FFF2-40B4-BE49-F238E27FC236}">
                <a16:creationId xmlns:a16="http://schemas.microsoft.com/office/drawing/2014/main" id="{A968F50A-F491-48D6-886D-FF915F6B70D4}"/>
              </a:ext>
            </a:extLst>
          </p:cNvPr>
          <p:cNvSpPr>
            <a:spLocks noGrp="1"/>
          </p:cNvSpPr>
          <p:nvPr/>
        </p:nvSpPr>
        <p:spPr bwMode="auto">
          <a:xfrm>
            <a:off x="8447829" y="2511790"/>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2016</a:t>
            </a:r>
          </a:p>
        </p:txBody>
      </p:sp>
      <p:sp>
        <p:nvSpPr>
          <p:cNvPr id="202" name="Espace réservé du texte 2">
            <a:extLst>
              <a:ext uri="{FF2B5EF4-FFF2-40B4-BE49-F238E27FC236}">
                <a16:creationId xmlns:a16="http://schemas.microsoft.com/office/drawing/2014/main" id="{0C2A8931-984D-4A2A-9ACD-FA3554B6BA1F}"/>
              </a:ext>
            </a:extLst>
          </p:cNvPr>
          <p:cNvSpPr>
            <a:spLocks noGrp="1"/>
          </p:cNvSpPr>
          <p:nvPr>
            <p:custDataLst>
              <p:tags r:id="rId9"/>
            </p:custDataLst>
          </p:nvPr>
        </p:nvSpPr>
        <p:spPr bwMode="gray">
          <a:xfrm>
            <a:off x="8861351" y="2157949"/>
            <a:ext cx="207782" cy="152400"/>
          </a:xfrm>
          <a:prstGeom prst="rect">
            <a:avLst/>
          </a:prstGeom>
          <a:no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altLang="en-US" sz="1000">
                <a:solidFill>
                  <a:schemeClr val="bg1"/>
                </a:solidFill>
                <a:latin typeface="Trebuchet MS" panose="020B0603020202020204" pitchFamily="34" charset="0"/>
              </a:rPr>
              <a:t>44.3</a:t>
            </a:r>
            <a:endParaRPr lang="en-GB" sz="1000">
              <a:solidFill>
                <a:schemeClr val="bg1"/>
              </a:solidFill>
              <a:latin typeface="Trebuchet MS" panose="020B0603020202020204" pitchFamily="34" charset="0"/>
              <a:sym typeface="+mn-lt"/>
            </a:endParaRPr>
          </a:p>
        </p:txBody>
      </p:sp>
      <p:sp>
        <p:nvSpPr>
          <p:cNvPr id="204" name="Rectangle 203">
            <a:extLst>
              <a:ext uri="{FF2B5EF4-FFF2-40B4-BE49-F238E27FC236}">
                <a16:creationId xmlns:a16="http://schemas.microsoft.com/office/drawing/2014/main" id="{D93E62DF-C52F-42FD-A4C2-1A9512EEE941}"/>
              </a:ext>
            </a:extLst>
          </p:cNvPr>
          <p:cNvSpPr/>
          <p:nvPr/>
        </p:nvSpPr>
        <p:spPr bwMode="auto">
          <a:xfrm>
            <a:off x="7453814" y="1578157"/>
            <a:ext cx="2073755" cy="15695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tx1"/>
                </a:solidFill>
                <a:effectLst/>
                <a:latin typeface="Trebuchet MS" panose="020B0603020202020204" pitchFamily="34" charset="0"/>
              </a:rPr>
              <a:t>Evolution of average payment terms, in days, France</a:t>
            </a:r>
          </a:p>
        </p:txBody>
      </p:sp>
      <p:sp>
        <p:nvSpPr>
          <p:cNvPr id="206" name="Rectangle 205">
            <a:extLst>
              <a:ext uri="{FF2B5EF4-FFF2-40B4-BE49-F238E27FC236}">
                <a16:creationId xmlns:a16="http://schemas.microsoft.com/office/drawing/2014/main" id="{CCB1B1BF-1D82-4A3D-8AFE-7636798A816A}"/>
              </a:ext>
            </a:extLst>
          </p:cNvPr>
          <p:cNvSpPr/>
          <p:nvPr/>
        </p:nvSpPr>
        <p:spPr bwMode="auto">
          <a:xfrm>
            <a:off x="7995380" y="1893241"/>
            <a:ext cx="327054" cy="210681"/>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4.2%</a:t>
            </a:r>
            <a:endParaRPr kumimoji="0" lang="en-GB" sz="900" b="0" i="0" u="none" strike="noStrike" cap="none" normalizeH="0" baseline="0">
              <a:ln>
                <a:noFill/>
              </a:ln>
              <a:effectLst/>
              <a:latin typeface="Trebuchet MS" panose="020B0603020202020204" pitchFamily="34" charset="0"/>
            </a:endParaRPr>
          </a:p>
        </p:txBody>
      </p:sp>
      <p:sp>
        <p:nvSpPr>
          <p:cNvPr id="211" name="Rectangle 210">
            <a:extLst>
              <a:ext uri="{FF2B5EF4-FFF2-40B4-BE49-F238E27FC236}">
                <a16:creationId xmlns:a16="http://schemas.microsoft.com/office/drawing/2014/main" id="{152A7E51-0A3C-4AD8-A0AC-9C627EB19A02}"/>
              </a:ext>
            </a:extLst>
          </p:cNvPr>
          <p:cNvSpPr/>
          <p:nvPr/>
        </p:nvSpPr>
        <p:spPr bwMode="auto">
          <a:xfrm>
            <a:off x="8642605" y="1938569"/>
            <a:ext cx="327054" cy="179793"/>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0.6%</a:t>
            </a:r>
            <a:endParaRPr kumimoji="0" lang="en-GB" sz="900" b="0" i="0" u="none" strike="noStrike" cap="none" normalizeH="0" baseline="0">
              <a:ln>
                <a:noFill/>
              </a:ln>
              <a:effectLst/>
              <a:latin typeface="Trebuchet MS" panose="020B0603020202020204" pitchFamily="34" charset="0"/>
            </a:endParaRPr>
          </a:p>
        </p:txBody>
      </p:sp>
      <p:sp>
        <p:nvSpPr>
          <p:cNvPr id="213" name="Espace réservé du texte 2">
            <a:extLst>
              <a:ext uri="{FF2B5EF4-FFF2-40B4-BE49-F238E27FC236}">
                <a16:creationId xmlns:a16="http://schemas.microsoft.com/office/drawing/2014/main" id="{7F0494C0-F93B-4335-8136-D866C99B8007}"/>
              </a:ext>
            </a:extLst>
          </p:cNvPr>
          <p:cNvSpPr>
            <a:spLocks noGrp="1"/>
          </p:cNvSpPr>
          <p:nvPr>
            <p:custDataLst>
              <p:tags r:id="rId10"/>
            </p:custDataLst>
          </p:nvPr>
        </p:nvSpPr>
        <p:spPr bwMode="auto">
          <a:xfrm>
            <a:off x="7661042" y="2511790"/>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2009</a:t>
            </a:r>
          </a:p>
        </p:txBody>
      </p:sp>
      <p:pic>
        <p:nvPicPr>
          <p:cNvPr id="215" name="Picture 2" descr="Drapeau France">
            <a:extLst>
              <a:ext uri="{FF2B5EF4-FFF2-40B4-BE49-F238E27FC236}">
                <a16:creationId xmlns:a16="http://schemas.microsoft.com/office/drawing/2014/main" id="{DDA1261F-B092-4DFB-9F5F-7C2CAFD16679}"/>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t="17006" b="16757"/>
          <a:stretch/>
        </p:blipFill>
        <p:spPr bwMode="auto">
          <a:xfrm>
            <a:off x="7385407" y="1613469"/>
            <a:ext cx="238894"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216" name="Rectangle 215">
            <a:extLst>
              <a:ext uri="{FF2B5EF4-FFF2-40B4-BE49-F238E27FC236}">
                <a16:creationId xmlns:a16="http://schemas.microsoft.com/office/drawing/2014/main" id="{8BB8AAF7-B3FC-42DA-A15E-438FEA625819}"/>
              </a:ext>
            </a:extLst>
          </p:cNvPr>
          <p:cNvSpPr/>
          <p:nvPr/>
        </p:nvSpPr>
        <p:spPr bwMode="auto">
          <a:xfrm>
            <a:off x="4245062" y="2806447"/>
            <a:ext cx="5275875" cy="88340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defRPr/>
            </a:pPr>
            <a:r>
              <a:rPr lang="en-GB" sz="1000" i="1" spc="-30">
                <a:solidFill>
                  <a:srgbClr val="6C6C6C"/>
                </a:solidFill>
                <a:latin typeface="Trebuchet MS" panose="020B0603020202020204" pitchFamily="34" charset="0"/>
              </a:rPr>
              <a:t>“Payment terms for large companies are declining to a historically low level (i.e. 45.2 days) while mid-sized companies still have high payment terms (53.3 days)”</a:t>
            </a:r>
          </a:p>
          <a:p>
            <a:pPr>
              <a:defRPr/>
            </a:pPr>
            <a:endParaRPr lang="en-GB" sz="1000" i="1" spc="-30">
              <a:solidFill>
                <a:srgbClr val="6C6C6C"/>
              </a:solidFill>
              <a:latin typeface="Trebuchet MS" panose="020B0603020202020204" pitchFamily="34" charset="0"/>
            </a:endParaRPr>
          </a:p>
          <a:p>
            <a:pPr>
              <a:defRPr/>
            </a:pPr>
            <a:r>
              <a:rPr lang="en-GB" sz="1000" i="1" spc="-30">
                <a:solidFill>
                  <a:srgbClr val="6C6C6C"/>
                </a:solidFill>
                <a:latin typeface="Trebuchet MS" panose="020B0603020202020204" pitchFamily="34" charset="0"/>
              </a:rPr>
              <a:t>Rapport annuel de l’Observatoire des délais de paiement, 2020</a:t>
            </a:r>
            <a:endParaRPr lang="en-GB" sz="1000">
              <a:latin typeface="Trebuchet MS" panose="020B0603020202020204" pitchFamily="34" charset="0"/>
            </a:endParaRPr>
          </a:p>
        </p:txBody>
      </p:sp>
      <p:sp>
        <p:nvSpPr>
          <p:cNvPr id="217" name="Freeform 663">
            <a:extLst>
              <a:ext uri="{FF2B5EF4-FFF2-40B4-BE49-F238E27FC236}">
                <a16:creationId xmlns:a16="http://schemas.microsoft.com/office/drawing/2014/main" id="{BF5EB849-71C7-40B3-A92D-77E5CF871DA7}"/>
              </a:ext>
            </a:extLst>
          </p:cNvPr>
          <p:cNvSpPr>
            <a:spLocks noEditPoints="1"/>
          </p:cNvSpPr>
          <p:nvPr/>
        </p:nvSpPr>
        <p:spPr bwMode="auto">
          <a:xfrm>
            <a:off x="4119062" y="3144518"/>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cxnSp>
        <p:nvCxnSpPr>
          <p:cNvPr id="73" name="Straight Connector 184">
            <a:extLst>
              <a:ext uri="{FF2B5EF4-FFF2-40B4-BE49-F238E27FC236}">
                <a16:creationId xmlns:a16="http://schemas.microsoft.com/office/drawing/2014/main" id="{69101AE1-7E15-429B-8B01-ADBE25B70845}"/>
              </a:ext>
            </a:extLst>
          </p:cNvPr>
          <p:cNvCxnSpPr>
            <a:cxnSpLocks/>
          </p:cNvCxnSpPr>
          <p:nvPr>
            <p:custDataLst>
              <p:tags r:id="rId11"/>
            </p:custDataLst>
          </p:nvPr>
        </p:nvCxnSpPr>
        <p:spPr bwMode="auto">
          <a:xfrm>
            <a:off x="4847487" y="2106264"/>
            <a:ext cx="267728" cy="123178"/>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75" name="Rectangle 74">
            <a:extLst>
              <a:ext uri="{FF2B5EF4-FFF2-40B4-BE49-F238E27FC236}">
                <a16:creationId xmlns:a16="http://schemas.microsoft.com/office/drawing/2014/main" id="{49ED4C27-017A-4362-8CC1-D90E0F16B1D5}"/>
              </a:ext>
            </a:extLst>
          </p:cNvPr>
          <p:cNvSpPr/>
          <p:nvPr/>
        </p:nvSpPr>
        <p:spPr bwMode="auto">
          <a:xfrm>
            <a:off x="5301710" y="2079666"/>
            <a:ext cx="327054" cy="210681"/>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0</a:t>
            </a:r>
            <a:r>
              <a:rPr kumimoji="0" lang="en-GB" sz="900" b="0" i="0" u="none" strike="noStrike" cap="none" normalizeH="0" baseline="0">
                <a:ln>
                  <a:noFill/>
                </a:ln>
                <a:effectLst/>
                <a:latin typeface="Trebuchet MS" panose="020B0603020202020204" pitchFamily="34" charset="0"/>
              </a:rPr>
              <a:t>%</a:t>
            </a:r>
          </a:p>
        </p:txBody>
      </p:sp>
      <p:sp>
        <p:nvSpPr>
          <p:cNvPr id="70" name="Rectangle 69">
            <a:extLst>
              <a:ext uri="{FF2B5EF4-FFF2-40B4-BE49-F238E27FC236}">
                <a16:creationId xmlns:a16="http://schemas.microsoft.com/office/drawing/2014/main" id="{A50C7E4E-0002-4CB6-9EAD-42C44DAEAA0F}"/>
              </a:ext>
            </a:extLst>
          </p:cNvPr>
          <p:cNvSpPr/>
          <p:nvPr/>
        </p:nvSpPr>
        <p:spPr bwMode="auto">
          <a:xfrm>
            <a:off x="7097624" y="4987098"/>
            <a:ext cx="2542133" cy="73316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000"/>
              </a:lnSpc>
              <a:spcAft>
                <a:spcPts val="600"/>
              </a:spcAft>
              <a:defRPr/>
            </a:pPr>
            <a:r>
              <a:rPr lang="en-GB" sz="1000" i="1" spc="-30">
                <a:solidFill>
                  <a:srgbClr val="6C6C6C"/>
                </a:solidFill>
                <a:latin typeface="Trebuchet MS" panose="020B0603020202020204" pitchFamily="34" charset="0"/>
              </a:rPr>
              <a:t>“</a:t>
            </a:r>
            <a:r>
              <a:rPr lang="en-GB" sz="1000" i="1" spc="-30">
                <a:solidFill>
                  <a:schemeClr val="tx2"/>
                </a:solidFill>
                <a:latin typeface="Trebuchet MS" panose="020B0603020202020204" pitchFamily="34" charset="0"/>
              </a:rPr>
              <a:t>Factoring</a:t>
            </a:r>
            <a:r>
              <a:rPr lang="en-GB" sz="1000" i="1" spc="-30">
                <a:solidFill>
                  <a:srgbClr val="6C6C6C"/>
                </a:solidFill>
                <a:latin typeface="Trebuchet MS" panose="020B0603020202020204" pitchFamily="34" charset="0"/>
              </a:rPr>
              <a:t> </a:t>
            </a:r>
            <a:r>
              <a:rPr lang="en-GB" sz="1000" i="1" spc="-30">
                <a:solidFill>
                  <a:schemeClr val="tx2"/>
                </a:solidFill>
                <a:latin typeface="Trebuchet MS" panose="020B0603020202020204" pitchFamily="34" charset="0"/>
              </a:rPr>
              <a:t>cannot be considered </a:t>
            </a:r>
            <a:r>
              <a:rPr lang="en-GB" sz="1000" i="1" spc="-30">
                <a:solidFill>
                  <a:srgbClr val="6C6C6C"/>
                </a:solidFill>
                <a:latin typeface="Trebuchet MS" panose="020B0603020202020204" pitchFamily="34" charset="0"/>
              </a:rPr>
              <a:t>as a </a:t>
            </a:r>
            <a:r>
              <a:rPr lang="en-GB" sz="1000" i="1" spc="-30">
                <a:solidFill>
                  <a:schemeClr val="tx2"/>
                </a:solidFill>
                <a:latin typeface="Trebuchet MS" panose="020B0603020202020204" pitchFamily="34" charset="0"/>
              </a:rPr>
              <a:t>substitute</a:t>
            </a:r>
            <a:r>
              <a:rPr lang="en-GB" sz="1000" i="1" spc="-30">
                <a:solidFill>
                  <a:srgbClr val="6C6C6C"/>
                </a:solidFill>
                <a:latin typeface="Trebuchet MS" panose="020B0603020202020204" pitchFamily="34" charset="0"/>
              </a:rPr>
              <a:t> for Credit risk solutions. It’s a tool used by companies in need of cash</a:t>
            </a:r>
            <a:r>
              <a:rPr lang="en-GB" sz="1000" i="1">
                <a:solidFill>
                  <a:srgbClr val="6C6C6C"/>
                </a:solidFill>
                <a:latin typeface="Trebuchet MS" panose="020B0603020202020204" pitchFamily="34" charset="0"/>
              </a:rPr>
              <a:t>”</a:t>
            </a:r>
          </a:p>
          <a:p>
            <a:pPr>
              <a:lnSpc>
                <a:spcPts val="1000"/>
              </a:lnSpc>
              <a:spcAft>
                <a:spcPts val="600"/>
              </a:spcAft>
              <a:defRPr/>
            </a:pPr>
            <a:r>
              <a:rPr lang="en-GB" sz="1000" spc="-30">
                <a:solidFill>
                  <a:srgbClr val="6C6C6C"/>
                </a:solidFill>
                <a:latin typeface="Trebuchet MS" panose="020B0603020202020204" pitchFamily="34" charset="0"/>
              </a:rPr>
              <a:t>Former Managing Director at Graydon</a:t>
            </a:r>
            <a:endParaRPr lang="en-GB" sz="1000" spc="-30" baseline="30000">
              <a:solidFill>
                <a:srgbClr val="289B38"/>
              </a:solidFill>
              <a:latin typeface="Trebuchet MS" panose="020B0603020202020204" pitchFamily="34" charset="0"/>
            </a:endParaRPr>
          </a:p>
        </p:txBody>
      </p:sp>
      <p:sp>
        <p:nvSpPr>
          <p:cNvPr id="71" name="Freeform 663">
            <a:extLst>
              <a:ext uri="{FF2B5EF4-FFF2-40B4-BE49-F238E27FC236}">
                <a16:creationId xmlns:a16="http://schemas.microsoft.com/office/drawing/2014/main" id="{7B5DE71E-8034-41ED-A95D-59FBFF0686F6}"/>
              </a:ext>
            </a:extLst>
          </p:cNvPr>
          <p:cNvSpPr>
            <a:spLocks noEditPoints="1"/>
          </p:cNvSpPr>
          <p:nvPr/>
        </p:nvSpPr>
        <p:spPr bwMode="auto">
          <a:xfrm>
            <a:off x="6971623" y="5279535"/>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2" name="Ellipse 1">
            <a:extLst>
              <a:ext uri="{FF2B5EF4-FFF2-40B4-BE49-F238E27FC236}">
                <a16:creationId xmlns:a16="http://schemas.microsoft.com/office/drawing/2014/main" id="{CA84354C-D62B-46DB-8F34-EC5A1332A7C1}"/>
              </a:ext>
            </a:extLst>
          </p:cNvPr>
          <p:cNvSpPr/>
          <p:nvPr/>
        </p:nvSpPr>
        <p:spPr bwMode="auto">
          <a:xfrm>
            <a:off x="273000" y="1537954"/>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bg1"/>
                </a:solidFill>
                <a:latin typeface="Trebuchet MS" panose="020B0603020202020204" pitchFamily="34" charset="0"/>
              </a:rPr>
              <a:t>3</a:t>
            </a:r>
            <a:endParaRPr kumimoji="0" lang="en-GB" sz="1200" b="0" i="0" u="none" strike="noStrike" cap="none" normalizeH="0" baseline="0">
              <a:ln>
                <a:noFill/>
              </a:ln>
              <a:solidFill>
                <a:schemeClr val="bg1"/>
              </a:solidFill>
              <a:effectLst/>
              <a:latin typeface="Trebuchet MS" panose="020B0603020202020204" pitchFamily="34" charset="0"/>
            </a:endParaRPr>
          </a:p>
        </p:txBody>
      </p:sp>
      <p:sp>
        <p:nvSpPr>
          <p:cNvPr id="7" name="Ellipse 6">
            <a:extLst>
              <a:ext uri="{FF2B5EF4-FFF2-40B4-BE49-F238E27FC236}">
                <a16:creationId xmlns:a16="http://schemas.microsoft.com/office/drawing/2014/main" id="{BD36B176-60EC-4E5E-9052-B3E36A06CD13}"/>
              </a:ext>
            </a:extLst>
          </p:cNvPr>
          <p:cNvSpPr/>
          <p:nvPr/>
        </p:nvSpPr>
        <p:spPr bwMode="auto">
          <a:xfrm>
            <a:off x="273000" y="3994880"/>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bg1"/>
                </a:solidFill>
                <a:latin typeface="Trebuchet MS" panose="020B0603020202020204" pitchFamily="34" charset="0"/>
              </a:rPr>
              <a:t>4</a:t>
            </a:r>
            <a:endParaRPr kumimoji="0" lang="en-GB" sz="1200" b="0" i="0" u="none" strike="noStrike" cap="none" normalizeH="0" baseline="0">
              <a:ln>
                <a:noFill/>
              </a:ln>
              <a:solidFill>
                <a:schemeClr val="bg1"/>
              </a:solidFill>
              <a:effectLst/>
              <a:latin typeface="Trebuchet MS" panose="020B0603020202020204" pitchFamily="34" charset="0"/>
            </a:endParaRPr>
          </a:p>
        </p:txBody>
      </p:sp>
      <p:sp>
        <p:nvSpPr>
          <p:cNvPr id="82" name="ZoneTexte 81">
            <a:extLst>
              <a:ext uri="{FF2B5EF4-FFF2-40B4-BE49-F238E27FC236}">
                <a16:creationId xmlns:a16="http://schemas.microsoft.com/office/drawing/2014/main" id="{718DA14B-2CF5-4B45-9493-46314FE2FAE9}"/>
              </a:ext>
            </a:extLst>
          </p:cNvPr>
          <p:cNvSpPr txBox="1"/>
          <p:nvPr/>
        </p:nvSpPr>
        <p:spPr>
          <a:xfrm>
            <a:off x="8470051" y="488823"/>
            <a:ext cx="1310675" cy="200055"/>
          </a:xfrm>
          <a:prstGeom prst="rect">
            <a:avLst/>
          </a:prstGeom>
          <a:noFill/>
        </p:spPr>
        <p:txBody>
          <a:bodyPr wrap="square" rtlCol="0">
            <a:spAutoFit/>
          </a:bodyPr>
          <a:lstStyle/>
          <a:p>
            <a:pPr algn="ctr"/>
            <a:r>
              <a:rPr lang="en-GB" sz="700" i="1">
                <a:solidFill>
                  <a:schemeClr val="bg2"/>
                </a:solidFill>
                <a:latin typeface="Trebuchet MS" panose="020B0603020202020204" pitchFamily="34" charset="0"/>
              </a:rPr>
              <a:t>Underlying factors</a:t>
            </a:r>
          </a:p>
        </p:txBody>
      </p:sp>
      <p:grpSp>
        <p:nvGrpSpPr>
          <p:cNvPr id="83" name="Groupe 82">
            <a:extLst>
              <a:ext uri="{FF2B5EF4-FFF2-40B4-BE49-F238E27FC236}">
                <a16:creationId xmlns:a16="http://schemas.microsoft.com/office/drawing/2014/main" id="{6D09771F-BEFA-4AA3-ACDB-C8EE7A6E8B76}"/>
              </a:ext>
            </a:extLst>
          </p:cNvPr>
          <p:cNvGrpSpPr/>
          <p:nvPr/>
        </p:nvGrpSpPr>
        <p:grpSpPr>
          <a:xfrm>
            <a:off x="8448150" y="-11528"/>
            <a:ext cx="1435548" cy="588143"/>
            <a:chOff x="8448150" y="-11528"/>
            <a:chExt cx="1435548" cy="588143"/>
          </a:xfrm>
        </p:grpSpPr>
        <p:grpSp>
          <p:nvGrpSpPr>
            <p:cNvPr id="84" name="Groupe 83">
              <a:extLst>
                <a:ext uri="{FF2B5EF4-FFF2-40B4-BE49-F238E27FC236}">
                  <a16:creationId xmlns:a16="http://schemas.microsoft.com/office/drawing/2014/main" id="{A29A429D-1171-4C55-8863-8F81B26F8ED3}"/>
                </a:ext>
              </a:extLst>
            </p:cNvPr>
            <p:cNvGrpSpPr/>
            <p:nvPr/>
          </p:nvGrpSpPr>
          <p:grpSpPr>
            <a:xfrm>
              <a:off x="8448150" y="-11528"/>
              <a:ext cx="1435548" cy="555653"/>
              <a:chOff x="8448150" y="-11528"/>
              <a:chExt cx="1435548" cy="555653"/>
            </a:xfrm>
          </p:grpSpPr>
          <p:sp>
            <p:nvSpPr>
              <p:cNvPr id="86" name="Rectangle : coins arrondis 199">
                <a:extLst>
                  <a:ext uri="{FF2B5EF4-FFF2-40B4-BE49-F238E27FC236}">
                    <a16:creationId xmlns:a16="http://schemas.microsoft.com/office/drawing/2014/main" id="{41D1630D-9583-4A02-918B-140B5C3BC98B}"/>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7" name="Rectangle : coins arrondis 200">
                <a:extLst>
                  <a:ext uri="{FF2B5EF4-FFF2-40B4-BE49-F238E27FC236}">
                    <a16:creationId xmlns:a16="http://schemas.microsoft.com/office/drawing/2014/main" id="{C4592A71-0E73-4FC5-9464-DAAFD212F220}"/>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8" name="Rectangle : coins arrondis 201">
                <a:extLst>
                  <a:ext uri="{FF2B5EF4-FFF2-40B4-BE49-F238E27FC236}">
                    <a16:creationId xmlns:a16="http://schemas.microsoft.com/office/drawing/2014/main" id="{07BF7828-B1A7-4CF7-9E44-1A0854C0141C}"/>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9" name="ZoneTexte 18">
                <a:extLst>
                  <a:ext uri="{FF2B5EF4-FFF2-40B4-BE49-F238E27FC236}">
                    <a16:creationId xmlns:a16="http://schemas.microsoft.com/office/drawing/2014/main" id="{88210875-4319-4F51-A5DE-7AFE91D680BD}"/>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90" name="Graphique 128" descr="Jauge">
                <a:extLst>
                  <a:ext uri="{FF2B5EF4-FFF2-40B4-BE49-F238E27FC236}">
                    <a16:creationId xmlns:a16="http://schemas.microsoft.com/office/drawing/2014/main" id="{7A60A4E5-8F4E-4E5E-AB66-197A775C5F9C}"/>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553764" y="187516"/>
                <a:ext cx="234953" cy="218224"/>
              </a:xfrm>
              <a:prstGeom prst="rect">
                <a:avLst/>
              </a:prstGeom>
              <a:effectLst/>
            </p:spPr>
          </p:pic>
          <p:pic>
            <p:nvPicPr>
              <p:cNvPr id="91" name="Graphique 90" descr="Poignée de main">
                <a:extLst>
                  <a:ext uri="{FF2B5EF4-FFF2-40B4-BE49-F238E27FC236}">
                    <a16:creationId xmlns:a16="http://schemas.microsoft.com/office/drawing/2014/main" id="{C511F9DA-AEAA-4866-8938-7901FA920CB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8960868" y="152880"/>
                <a:ext cx="256313" cy="287496"/>
              </a:xfrm>
              <a:prstGeom prst="rect">
                <a:avLst/>
              </a:prstGeom>
              <a:effectLst/>
            </p:spPr>
          </p:pic>
          <p:pic>
            <p:nvPicPr>
              <p:cNvPr id="92" name="Graphique 74" descr="Mégaphone">
                <a:extLst>
                  <a:ext uri="{FF2B5EF4-FFF2-40B4-BE49-F238E27FC236}">
                    <a16:creationId xmlns:a16="http://schemas.microsoft.com/office/drawing/2014/main" id="{EA1B9399-A353-4F38-AE13-FD69182BE0AD}"/>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9389331" y="181519"/>
                <a:ext cx="233011" cy="216420"/>
              </a:xfrm>
              <a:prstGeom prst="rect">
                <a:avLst/>
              </a:prstGeom>
              <a:effectLst/>
            </p:spPr>
          </p:pic>
          <p:pic>
            <p:nvPicPr>
              <p:cNvPr id="93" name="Picture 2" descr="Drapeau France">
                <a:extLst>
                  <a:ext uri="{FF2B5EF4-FFF2-40B4-BE49-F238E27FC236}">
                    <a16:creationId xmlns:a16="http://schemas.microsoft.com/office/drawing/2014/main" id="{3A6F0B0A-4861-40B4-AF5D-75FAA70FABFE}"/>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94" name="Picture 2" descr="5 ft x 3 ft 150 x 90 cm-DRAPEAU BELGE Belgique 100% Polyester ...">
                <a:extLst>
                  <a:ext uri="{FF2B5EF4-FFF2-40B4-BE49-F238E27FC236}">
                    <a16:creationId xmlns:a16="http://schemas.microsoft.com/office/drawing/2014/main" id="{D0ABDA22-B78D-4CA2-9B43-5503E75108EC}"/>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95" name="Picture 2 - 1" descr="Drapeau des Pays-Bas — Wikipédia">
                <a:extLst>
                  <a:ext uri="{FF2B5EF4-FFF2-40B4-BE49-F238E27FC236}">
                    <a16:creationId xmlns:a16="http://schemas.microsoft.com/office/drawing/2014/main" id="{3E6B7B0D-C228-42BF-90C0-D426831A52B2}"/>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96" name="Picture 2 - 2" descr="Drapeau du Luxembourg">
                <a:extLst>
                  <a:ext uri="{FF2B5EF4-FFF2-40B4-BE49-F238E27FC236}">
                    <a16:creationId xmlns:a16="http://schemas.microsoft.com/office/drawing/2014/main" id="{4EBE6DE8-B1D7-4C2E-A8D8-666E862E9BA4}"/>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85" name="ZoneTexte 18">
              <a:extLst>
                <a:ext uri="{FF2B5EF4-FFF2-40B4-BE49-F238E27FC236}">
                  <a16:creationId xmlns:a16="http://schemas.microsoft.com/office/drawing/2014/main" id="{6533220B-5EE2-4B19-93E3-E8D7503D060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redit &amp; financial risk</a:t>
              </a:r>
            </a:p>
          </p:txBody>
        </p:sp>
      </p:grpSp>
      <p:sp>
        <p:nvSpPr>
          <p:cNvPr id="97" name="Ellipse 96">
            <a:extLst>
              <a:ext uri="{FF2B5EF4-FFF2-40B4-BE49-F238E27FC236}">
                <a16:creationId xmlns:a16="http://schemas.microsoft.com/office/drawing/2014/main" id="{C2E2E69B-EA56-45BC-B0CC-BAC9D94D6155}"/>
              </a:ext>
            </a:extLst>
          </p:cNvPr>
          <p:cNvSpPr/>
          <p:nvPr/>
        </p:nvSpPr>
        <p:spPr bwMode="auto">
          <a:xfrm>
            <a:off x="8735770"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1</a:t>
            </a:r>
          </a:p>
        </p:txBody>
      </p:sp>
      <p:sp>
        <p:nvSpPr>
          <p:cNvPr id="98" name="Ellipse 97">
            <a:extLst>
              <a:ext uri="{FF2B5EF4-FFF2-40B4-BE49-F238E27FC236}">
                <a16:creationId xmlns:a16="http://schemas.microsoft.com/office/drawing/2014/main" id="{96EDE2E5-A5D5-4E93-BAA8-30307A71226B}"/>
              </a:ext>
            </a:extLst>
          </p:cNvPr>
          <p:cNvSpPr/>
          <p:nvPr/>
        </p:nvSpPr>
        <p:spPr bwMode="auto">
          <a:xfrm>
            <a:off x="8427012" y="655133"/>
            <a:ext cx="291451" cy="104005"/>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b="1" err="1">
                <a:solidFill>
                  <a:schemeClr val="bg1"/>
                </a:solidFill>
                <a:latin typeface="Trebuchet MS" panose="020B0603020202020204" pitchFamily="34" charset="0"/>
              </a:rPr>
              <a:t>Covid</a:t>
            </a:r>
            <a:endParaRPr kumimoji="0" lang="en-GB" sz="600" b="1" i="0" u="none" strike="noStrike" cap="none" normalizeH="0" baseline="0">
              <a:ln>
                <a:noFill/>
              </a:ln>
              <a:solidFill>
                <a:schemeClr val="bg1"/>
              </a:solidFill>
              <a:effectLst/>
              <a:latin typeface="Trebuchet MS" panose="020B0603020202020204" pitchFamily="34" charset="0"/>
            </a:endParaRPr>
          </a:p>
        </p:txBody>
      </p:sp>
      <p:sp>
        <p:nvSpPr>
          <p:cNvPr id="99" name="Ellipse 98">
            <a:extLst>
              <a:ext uri="{FF2B5EF4-FFF2-40B4-BE49-F238E27FC236}">
                <a16:creationId xmlns:a16="http://schemas.microsoft.com/office/drawing/2014/main" id="{71E71912-9217-4A3F-ADD1-7645A7566014}"/>
              </a:ext>
            </a:extLst>
          </p:cNvPr>
          <p:cNvSpPr/>
          <p:nvPr/>
        </p:nvSpPr>
        <p:spPr bwMode="auto">
          <a:xfrm>
            <a:off x="9467750"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a:solidFill>
                  <a:schemeClr val="bg1"/>
                </a:solidFill>
                <a:latin typeface="Trebuchet MS" panose="020B0603020202020204" pitchFamily="34" charset="0"/>
              </a:rPr>
              <a:t>6</a:t>
            </a:r>
            <a:endParaRPr kumimoji="0" lang="en-GB" sz="800" b="1" i="0" u="none" strike="noStrike" cap="none" normalizeH="0" baseline="0">
              <a:ln>
                <a:noFill/>
              </a:ln>
              <a:solidFill>
                <a:schemeClr val="bg1"/>
              </a:solidFill>
              <a:effectLst/>
              <a:latin typeface="Trebuchet MS" panose="020B0603020202020204" pitchFamily="34" charset="0"/>
            </a:endParaRPr>
          </a:p>
        </p:txBody>
      </p:sp>
      <p:sp>
        <p:nvSpPr>
          <p:cNvPr id="100" name="Ellipse 99">
            <a:extLst>
              <a:ext uri="{FF2B5EF4-FFF2-40B4-BE49-F238E27FC236}">
                <a16:creationId xmlns:a16="http://schemas.microsoft.com/office/drawing/2014/main" id="{FDCFACC5-F2BB-4F7D-977C-3F256A817D96}"/>
              </a:ext>
            </a:extLst>
          </p:cNvPr>
          <p:cNvSpPr/>
          <p:nvPr/>
        </p:nvSpPr>
        <p:spPr bwMode="auto">
          <a:xfrm>
            <a:off x="9614146"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a:solidFill>
                  <a:schemeClr val="bg1"/>
                </a:solidFill>
                <a:latin typeface="Trebuchet MS" panose="020B0603020202020204" pitchFamily="34" charset="0"/>
              </a:rPr>
              <a:t>7</a:t>
            </a:r>
            <a:endParaRPr kumimoji="0" lang="en-GB" sz="800" b="1" i="0" u="none" strike="noStrike" cap="none" normalizeH="0" baseline="0">
              <a:ln>
                <a:noFill/>
              </a:ln>
              <a:solidFill>
                <a:schemeClr val="bg1"/>
              </a:solidFill>
              <a:effectLst/>
              <a:latin typeface="Trebuchet MS" panose="020B0603020202020204" pitchFamily="34" charset="0"/>
            </a:endParaRPr>
          </a:p>
        </p:txBody>
      </p:sp>
      <p:sp>
        <p:nvSpPr>
          <p:cNvPr id="101" name="Ellipse 100">
            <a:extLst>
              <a:ext uri="{FF2B5EF4-FFF2-40B4-BE49-F238E27FC236}">
                <a16:creationId xmlns:a16="http://schemas.microsoft.com/office/drawing/2014/main" id="{79E3F1E3-7EEE-4664-9340-8E78C49F6F88}"/>
              </a:ext>
            </a:extLst>
          </p:cNvPr>
          <p:cNvSpPr/>
          <p:nvPr/>
        </p:nvSpPr>
        <p:spPr bwMode="auto">
          <a:xfrm>
            <a:off x="9760544"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a:solidFill>
                  <a:schemeClr val="bg1"/>
                </a:solidFill>
                <a:latin typeface="Trebuchet MS" panose="020B0603020202020204" pitchFamily="34" charset="0"/>
              </a:rPr>
              <a:t>8</a:t>
            </a:r>
            <a:endParaRPr kumimoji="0" lang="en-GB" sz="800" b="1" i="0" u="none" strike="noStrike" cap="none" normalizeH="0" baseline="0">
              <a:ln>
                <a:noFill/>
              </a:ln>
              <a:solidFill>
                <a:schemeClr val="bg1"/>
              </a:solidFill>
              <a:effectLst/>
              <a:latin typeface="Trebuchet MS" panose="020B0603020202020204" pitchFamily="34" charset="0"/>
            </a:endParaRPr>
          </a:p>
        </p:txBody>
      </p:sp>
      <p:sp>
        <p:nvSpPr>
          <p:cNvPr id="102" name="Ellipse 101">
            <a:extLst>
              <a:ext uri="{FF2B5EF4-FFF2-40B4-BE49-F238E27FC236}">
                <a16:creationId xmlns:a16="http://schemas.microsoft.com/office/drawing/2014/main" id="{C2A90B25-DDA0-4806-9963-2992C82A346D}"/>
              </a:ext>
            </a:extLst>
          </p:cNvPr>
          <p:cNvSpPr/>
          <p:nvPr/>
        </p:nvSpPr>
        <p:spPr bwMode="auto">
          <a:xfrm>
            <a:off x="9028562" y="645664"/>
            <a:ext cx="122942" cy="122942"/>
          </a:xfrm>
          <a:prstGeom prst="ellipse">
            <a:avLst/>
          </a:prstGeom>
          <a:solidFill>
            <a:schemeClr val="tx2">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3</a:t>
            </a:r>
          </a:p>
        </p:txBody>
      </p:sp>
      <p:sp>
        <p:nvSpPr>
          <p:cNvPr id="103" name="Ellipse 102">
            <a:extLst>
              <a:ext uri="{FF2B5EF4-FFF2-40B4-BE49-F238E27FC236}">
                <a16:creationId xmlns:a16="http://schemas.microsoft.com/office/drawing/2014/main" id="{3C28AFE8-74E8-49D9-8B5C-ED00E030A40F}"/>
              </a:ext>
            </a:extLst>
          </p:cNvPr>
          <p:cNvSpPr/>
          <p:nvPr/>
        </p:nvSpPr>
        <p:spPr bwMode="auto">
          <a:xfrm>
            <a:off x="8882166"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2</a:t>
            </a:r>
          </a:p>
        </p:txBody>
      </p:sp>
      <p:sp>
        <p:nvSpPr>
          <p:cNvPr id="104" name="Ellipse 103">
            <a:extLst>
              <a:ext uri="{FF2B5EF4-FFF2-40B4-BE49-F238E27FC236}">
                <a16:creationId xmlns:a16="http://schemas.microsoft.com/office/drawing/2014/main" id="{FD58B92D-4C2B-4F40-8CDD-AEBB2E702A1C}"/>
              </a:ext>
            </a:extLst>
          </p:cNvPr>
          <p:cNvSpPr/>
          <p:nvPr/>
        </p:nvSpPr>
        <p:spPr bwMode="auto">
          <a:xfrm>
            <a:off x="9321354"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5</a:t>
            </a:r>
          </a:p>
        </p:txBody>
      </p:sp>
      <p:sp>
        <p:nvSpPr>
          <p:cNvPr id="105" name="Ellipse 104">
            <a:extLst>
              <a:ext uri="{FF2B5EF4-FFF2-40B4-BE49-F238E27FC236}">
                <a16:creationId xmlns:a16="http://schemas.microsoft.com/office/drawing/2014/main" id="{FF85018A-5C1F-4103-B627-5997C5DFBF1C}"/>
              </a:ext>
            </a:extLst>
          </p:cNvPr>
          <p:cNvSpPr/>
          <p:nvPr/>
        </p:nvSpPr>
        <p:spPr bwMode="auto">
          <a:xfrm>
            <a:off x="9174958" y="645664"/>
            <a:ext cx="122942" cy="122942"/>
          </a:xfrm>
          <a:prstGeom prst="ellipse">
            <a:avLst/>
          </a:prstGeom>
          <a:solidFill>
            <a:schemeClr val="tx2">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4</a:t>
            </a:r>
          </a:p>
        </p:txBody>
      </p:sp>
      <p:sp>
        <p:nvSpPr>
          <p:cNvPr id="107" name="Rectangle 106">
            <a:extLst>
              <a:ext uri="{FF2B5EF4-FFF2-40B4-BE49-F238E27FC236}">
                <a16:creationId xmlns:a16="http://schemas.microsoft.com/office/drawing/2014/main" id="{08AF8975-9194-4031-B677-4AB6B101BFC1}"/>
              </a:ext>
            </a:extLst>
          </p:cNvPr>
          <p:cNvSpPr/>
          <p:nvPr/>
        </p:nvSpPr>
        <p:spPr bwMode="auto">
          <a:xfrm>
            <a:off x="4306848" y="5836055"/>
            <a:ext cx="5326151" cy="58285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r>
              <a:rPr lang="en-GB" sz="1000" i="1" spc="-30">
                <a:solidFill>
                  <a:srgbClr val="6C6C6C"/>
                </a:solidFill>
                <a:latin typeface="Trebuchet MS" panose="020B0603020202020204" pitchFamily="34" charset="0"/>
              </a:rPr>
              <a:t>“Global Credit Insurance market is expected to grow at a CAGR of 2.15%. However, the market is clearly cyclical, with a strong correlation with GDP.”</a:t>
            </a:r>
          </a:p>
          <a:p>
            <a:pPr>
              <a:spcBef>
                <a:spcPts val="600"/>
              </a:spcBef>
            </a:pPr>
            <a:r>
              <a:rPr lang="en-GB" sz="1000" spc="-30">
                <a:solidFill>
                  <a:srgbClr val="6C6C6C"/>
                </a:solidFill>
                <a:latin typeface="Trebuchet MS" panose="020B0603020202020204" pitchFamily="34" charset="0"/>
              </a:rPr>
              <a:t>Global Credit Insurance Market Size 2019-2025, Orbis research</a:t>
            </a:r>
          </a:p>
        </p:txBody>
      </p:sp>
      <p:sp>
        <p:nvSpPr>
          <p:cNvPr id="108" name="Freeform 663">
            <a:extLst>
              <a:ext uri="{FF2B5EF4-FFF2-40B4-BE49-F238E27FC236}">
                <a16:creationId xmlns:a16="http://schemas.microsoft.com/office/drawing/2014/main" id="{0482D386-9179-4F96-BD03-D6F784D91544}"/>
              </a:ext>
            </a:extLst>
          </p:cNvPr>
          <p:cNvSpPr>
            <a:spLocks noEditPoints="1"/>
          </p:cNvSpPr>
          <p:nvPr/>
        </p:nvSpPr>
        <p:spPr bwMode="auto">
          <a:xfrm>
            <a:off x="4183378" y="6011634"/>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Tree>
    <p:extLst>
      <p:ext uri="{BB962C8B-B14F-4D97-AF65-F5344CB8AC3E}">
        <p14:creationId xmlns:p14="http://schemas.microsoft.com/office/powerpoint/2010/main" val="683207262"/>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0944F39-7C9D-46A4-9460-7725FFCBEE94}"/>
              </a:ext>
            </a:extLst>
          </p:cNvPr>
          <p:cNvGraphicFramePr>
            <a:graphicFrameLocks noChangeAspect="1"/>
          </p:cNvGraphicFramePr>
          <p:nvPr>
            <p:custDataLst>
              <p:tags r:id="rId1"/>
            </p:custDataLst>
            <p:extLst>
              <p:ext uri="{D42A27DB-BD31-4B8C-83A1-F6EECF244321}">
                <p14:modId xmlns:p14="http://schemas.microsoft.com/office/powerpoint/2010/main" val="3351472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90944F39-7C9D-46A4-9460-7725FFCBEE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FCCB61A9-18E3-4D56-9AF8-2A82AF56EF7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66" name="Rectangle 65">
            <a:extLst>
              <a:ext uri="{FF2B5EF4-FFF2-40B4-BE49-F238E27FC236}">
                <a16:creationId xmlns:a16="http://schemas.microsoft.com/office/drawing/2014/main" id="{97CDFD19-3C31-46CB-ADC0-B87CAE83713E}"/>
              </a:ext>
            </a:extLst>
          </p:cNvPr>
          <p:cNvSpPr/>
          <p:nvPr/>
        </p:nvSpPr>
        <p:spPr bwMode="auto">
          <a:xfrm>
            <a:off x="7059647" y="5310174"/>
            <a:ext cx="2592000" cy="10800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200"/>
              </a:lnSpc>
              <a:spcAft>
                <a:spcPts val="200"/>
              </a:spcAft>
              <a:defRPr/>
            </a:pPr>
            <a:r>
              <a:rPr lang="en-GB" sz="1000" i="1" spc="-30">
                <a:solidFill>
                  <a:srgbClr val="6C6C6C"/>
                </a:solidFill>
                <a:latin typeface="Trebuchet MS" panose="020B0603020202020204" pitchFamily="34" charset="0"/>
              </a:rPr>
              <a:t>“We have to </a:t>
            </a:r>
            <a:r>
              <a:rPr lang="en-GB" sz="1000" i="1" spc="-30">
                <a:solidFill>
                  <a:schemeClr val="tx2"/>
                </a:solidFill>
                <a:latin typeface="Trebuchet MS" panose="020B0603020202020204" pitchFamily="34" charset="0"/>
              </a:rPr>
              <a:t>reinvent</a:t>
            </a:r>
            <a:r>
              <a:rPr lang="en-GB" sz="1000" i="1" spc="-30">
                <a:solidFill>
                  <a:srgbClr val="6C6C6C"/>
                </a:solidFill>
                <a:latin typeface="Trebuchet MS" panose="020B0603020202020204" pitchFamily="34" charset="0"/>
              </a:rPr>
              <a:t> the </a:t>
            </a:r>
            <a:r>
              <a:rPr lang="en-GB" sz="1000" i="1" spc="-30">
                <a:solidFill>
                  <a:schemeClr val="tx2"/>
                </a:solidFill>
                <a:latin typeface="Trebuchet MS" panose="020B0603020202020204" pitchFamily="34" charset="0"/>
              </a:rPr>
              <a:t>business</a:t>
            </a:r>
            <a:r>
              <a:rPr lang="en-GB" sz="1000" i="1" spc="-30">
                <a:solidFill>
                  <a:srgbClr val="6C6C6C"/>
                </a:solidFill>
                <a:latin typeface="Trebuchet MS" panose="020B0603020202020204" pitchFamily="34" charset="0"/>
              </a:rPr>
              <a:t>, It is </a:t>
            </a:r>
            <a:r>
              <a:rPr lang="en-GB" sz="1000" i="1" spc="-30">
                <a:solidFill>
                  <a:schemeClr val="tx2"/>
                </a:solidFill>
                <a:latin typeface="Trebuchet MS" panose="020B0603020202020204" pitchFamily="34" charset="0"/>
              </a:rPr>
              <a:t>no</a:t>
            </a:r>
            <a:r>
              <a:rPr lang="en-GB" sz="1000" i="1" spc="-30">
                <a:solidFill>
                  <a:srgbClr val="6C6C6C"/>
                </a:solidFill>
                <a:latin typeface="Trebuchet MS" panose="020B0603020202020204" pitchFamily="34" charset="0"/>
              </a:rPr>
              <a:t> </a:t>
            </a:r>
            <a:r>
              <a:rPr lang="en-GB" sz="1000" i="1" spc="-30">
                <a:solidFill>
                  <a:schemeClr val="tx2"/>
                </a:solidFill>
                <a:latin typeface="Trebuchet MS" panose="020B0603020202020204" pitchFamily="34" charset="0"/>
              </a:rPr>
              <a:t>longer</a:t>
            </a:r>
            <a:r>
              <a:rPr lang="en-GB" sz="1000" i="1" spc="-30">
                <a:solidFill>
                  <a:srgbClr val="6C6C6C"/>
                </a:solidFill>
                <a:latin typeface="Trebuchet MS" panose="020B0603020202020204" pitchFamily="34" charset="0"/>
              </a:rPr>
              <a:t> </a:t>
            </a:r>
            <a:r>
              <a:rPr lang="en-GB" sz="1000" i="1" spc="-30">
                <a:solidFill>
                  <a:schemeClr val="tx2"/>
                </a:solidFill>
                <a:latin typeface="Trebuchet MS" panose="020B0603020202020204" pitchFamily="34" charset="0"/>
              </a:rPr>
              <a:t>possible</a:t>
            </a:r>
            <a:r>
              <a:rPr lang="en-GB" sz="1000" i="1" spc="-30">
                <a:solidFill>
                  <a:srgbClr val="6C6C6C"/>
                </a:solidFill>
                <a:latin typeface="Trebuchet MS" panose="020B0603020202020204" pitchFamily="34" charset="0"/>
              </a:rPr>
              <a:t> today to </a:t>
            </a:r>
            <a:r>
              <a:rPr lang="en-GB" sz="1000" i="1" spc="-30">
                <a:solidFill>
                  <a:schemeClr val="tx2"/>
                </a:solidFill>
                <a:latin typeface="Trebuchet MS" panose="020B0603020202020204" pitchFamily="34" charset="0"/>
              </a:rPr>
              <a:t>market</a:t>
            </a:r>
            <a:r>
              <a:rPr lang="en-GB" sz="1000" i="1" spc="-30">
                <a:solidFill>
                  <a:srgbClr val="6C6C6C"/>
                </a:solidFill>
                <a:latin typeface="Trebuchet MS" panose="020B0603020202020204" pitchFamily="34" charset="0"/>
              </a:rPr>
              <a:t> </a:t>
            </a:r>
            <a:r>
              <a:rPr lang="en-GB" sz="1000" i="1" spc="-30">
                <a:solidFill>
                  <a:schemeClr val="tx2"/>
                </a:solidFill>
                <a:latin typeface="Trebuchet MS" panose="020B0603020202020204" pitchFamily="34" charset="0"/>
              </a:rPr>
              <a:t>raw</a:t>
            </a:r>
            <a:r>
              <a:rPr lang="en-GB" sz="1000" i="1" spc="-30">
                <a:solidFill>
                  <a:srgbClr val="6C6C6C"/>
                </a:solidFill>
                <a:latin typeface="Trebuchet MS" panose="020B0603020202020204" pitchFamily="34" charset="0"/>
              </a:rPr>
              <a:t> </a:t>
            </a:r>
            <a:r>
              <a:rPr lang="en-GB" sz="1000" i="1" spc="-30">
                <a:solidFill>
                  <a:schemeClr val="tx2"/>
                </a:solidFill>
                <a:latin typeface="Trebuchet MS" panose="020B0603020202020204" pitchFamily="34" charset="0"/>
              </a:rPr>
              <a:t>data</a:t>
            </a:r>
            <a:r>
              <a:rPr lang="en-GB" sz="1000" i="1" spc="-30">
                <a:solidFill>
                  <a:srgbClr val="6C6C6C"/>
                </a:solidFill>
                <a:latin typeface="Trebuchet MS" panose="020B0603020202020204" pitchFamily="34" charset="0"/>
              </a:rPr>
              <a:t> as we have done up to now”</a:t>
            </a:r>
          </a:p>
          <a:p>
            <a:pPr>
              <a:lnSpc>
                <a:spcPts val="1200"/>
              </a:lnSpc>
              <a:spcAft>
                <a:spcPts val="200"/>
              </a:spcAft>
              <a:defRPr/>
            </a:pPr>
            <a:r>
              <a:rPr lang="en-GB" sz="1000" spc="-50">
                <a:solidFill>
                  <a:srgbClr val="6C6C6C"/>
                </a:solidFill>
                <a:latin typeface="Trebuchet MS" panose="020B0603020202020204" pitchFamily="34" charset="0"/>
              </a:rPr>
              <a:t>Director Marketing, Consulting and Finance at Bisnode Belgium</a:t>
            </a:r>
          </a:p>
        </p:txBody>
      </p:sp>
      <p:sp>
        <p:nvSpPr>
          <p:cNvPr id="71" name="Rectangle 70">
            <a:extLst>
              <a:ext uri="{FF2B5EF4-FFF2-40B4-BE49-F238E27FC236}">
                <a16:creationId xmlns:a16="http://schemas.microsoft.com/office/drawing/2014/main" id="{676CAA9B-68C9-48E1-A83A-7DDCEDF8A43B}"/>
              </a:ext>
            </a:extLst>
          </p:cNvPr>
          <p:cNvSpPr/>
          <p:nvPr/>
        </p:nvSpPr>
        <p:spPr bwMode="auto">
          <a:xfrm>
            <a:off x="4098863" y="5310174"/>
            <a:ext cx="2592000" cy="10800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200"/>
              </a:lnSpc>
              <a:spcAft>
                <a:spcPts val="200"/>
              </a:spcAft>
              <a:defRPr/>
            </a:pPr>
            <a:r>
              <a:rPr lang="en-GB" sz="1000" i="1" spc="-30">
                <a:solidFill>
                  <a:srgbClr val="6C6C6C"/>
                </a:solidFill>
                <a:latin typeface="Trebuchet MS" panose="020B0603020202020204" pitchFamily="34" charset="0"/>
              </a:rPr>
              <a:t>“Customers want concrete, business-related things. They want </a:t>
            </a:r>
            <a:r>
              <a:rPr lang="en-GB" sz="1000" i="1" spc="-30">
                <a:solidFill>
                  <a:schemeClr val="tx2"/>
                </a:solidFill>
                <a:latin typeface="Trebuchet MS" panose="020B0603020202020204" pitchFamily="34" charset="0"/>
              </a:rPr>
              <a:t>services</a:t>
            </a:r>
            <a:r>
              <a:rPr lang="en-GB" sz="1000" i="1" spc="-30">
                <a:solidFill>
                  <a:srgbClr val="6C6C6C"/>
                </a:solidFill>
                <a:latin typeface="Trebuchet MS" panose="020B0603020202020204" pitchFamily="34" charset="0"/>
              </a:rPr>
              <a:t> and </a:t>
            </a:r>
            <a:r>
              <a:rPr lang="en-GB" sz="1000" i="1" spc="-30">
                <a:solidFill>
                  <a:schemeClr val="tx2"/>
                </a:solidFill>
                <a:latin typeface="Trebuchet MS" panose="020B0603020202020204" pitchFamily="34" charset="0"/>
              </a:rPr>
              <a:t>intelligence</a:t>
            </a:r>
            <a:r>
              <a:rPr lang="en-GB" sz="1000" i="1" spc="-30">
                <a:solidFill>
                  <a:srgbClr val="6C6C6C"/>
                </a:solidFill>
                <a:latin typeface="Trebuchet MS" panose="020B0603020202020204" pitchFamily="34" charset="0"/>
              </a:rPr>
              <a:t> that </a:t>
            </a:r>
            <a:r>
              <a:rPr lang="en-GB" sz="1000" i="1" spc="-30">
                <a:solidFill>
                  <a:schemeClr val="tx2"/>
                </a:solidFill>
                <a:latin typeface="Trebuchet MS" panose="020B0603020202020204" pitchFamily="34" charset="0"/>
              </a:rPr>
              <a:t>make</a:t>
            </a:r>
            <a:r>
              <a:rPr lang="en-GB" sz="1000" i="1" spc="-30">
                <a:solidFill>
                  <a:srgbClr val="6C6C6C"/>
                </a:solidFill>
                <a:latin typeface="Trebuchet MS" panose="020B0603020202020204" pitchFamily="34" charset="0"/>
              </a:rPr>
              <a:t> </a:t>
            </a:r>
            <a:r>
              <a:rPr lang="en-GB" sz="1000" i="1" spc="-30">
                <a:solidFill>
                  <a:schemeClr val="tx2"/>
                </a:solidFill>
                <a:latin typeface="Trebuchet MS" panose="020B0603020202020204" pitchFamily="34" charset="0"/>
              </a:rPr>
              <a:t>processes</a:t>
            </a:r>
            <a:r>
              <a:rPr lang="en-GB" sz="1000" i="1" spc="-30">
                <a:solidFill>
                  <a:srgbClr val="6C6C6C"/>
                </a:solidFill>
                <a:latin typeface="Trebuchet MS" panose="020B0603020202020204" pitchFamily="34" charset="0"/>
              </a:rPr>
              <a:t> much more </a:t>
            </a:r>
            <a:r>
              <a:rPr lang="en-GB" sz="1000" i="1" spc="-30">
                <a:solidFill>
                  <a:schemeClr val="tx2"/>
                </a:solidFill>
                <a:latin typeface="Trebuchet MS" panose="020B0603020202020204" pitchFamily="34" charset="0"/>
              </a:rPr>
              <a:t>efficient</a:t>
            </a:r>
            <a:r>
              <a:rPr lang="en-GB" sz="1000" i="1" spc="-30">
                <a:solidFill>
                  <a:srgbClr val="6C6C6C"/>
                </a:solidFill>
                <a:latin typeface="Trebuchet MS" panose="020B0603020202020204" pitchFamily="34" charset="0"/>
              </a:rPr>
              <a:t> and </a:t>
            </a:r>
            <a:r>
              <a:rPr lang="en-GB" sz="1000" i="1" spc="-30">
                <a:solidFill>
                  <a:schemeClr val="tx2"/>
                </a:solidFill>
                <a:latin typeface="Trebuchet MS" panose="020B0603020202020204" pitchFamily="34" charset="0"/>
              </a:rPr>
              <a:t>justifies</a:t>
            </a:r>
            <a:r>
              <a:rPr lang="en-GB" sz="1000" i="1" spc="-30">
                <a:solidFill>
                  <a:srgbClr val="6C6C6C"/>
                </a:solidFill>
                <a:latin typeface="Trebuchet MS" panose="020B0603020202020204" pitchFamily="34" charset="0"/>
              </a:rPr>
              <a:t> </a:t>
            </a:r>
            <a:r>
              <a:rPr lang="en-GB" sz="1000" i="1" spc="-30">
                <a:solidFill>
                  <a:schemeClr val="tx2"/>
                </a:solidFill>
                <a:latin typeface="Trebuchet MS" panose="020B0603020202020204" pitchFamily="34" charset="0"/>
              </a:rPr>
              <a:t>prices</a:t>
            </a:r>
            <a:r>
              <a:rPr lang="en-GB" sz="1000" i="1" spc="-30">
                <a:solidFill>
                  <a:srgbClr val="6C6C6C"/>
                </a:solidFill>
                <a:latin typeface="Trebuchet MS" panose="020B0603020202020204" pitchFamily="34" charset="0"/>
              </a:rPr>
              <a:t>”</a:t>
            </a:r>
          </a:p>
          <a:p>
            <a:pPr>
              <a:lnSpc>
                <a:spcPts val="1200"/>
              </a:lnSpc>
              <a:spcAft>
                <a:spcPts val="200"/>
              </a:spcAft>
              <a:defRPr/>
            </a:pPr>
            <a:r>
              <a:rPr lang="en-GB" sz="1000" spc="-50">
                <a:solidFill>
                  <a:srgbClr val="6C6C6C"/>
                </a:solidFill>
                <a:latin typeface="Trebuchet MS" panose="020B0603020202020204" pitchFamily="34" charset="0"/>
              </a:rPr>
              <a:t>Chief Data Scientist at </a:t>
            </a:r>
            <a:r>
              <a:rPr lang="en-GB" sz="1000" spc="-50" err="1">
                <a:solidFill>
                  <a:srgbClr val="6C6C6C"/>
                </a:solidFill>
                <a:latin typeface="Trebuchet MS" panose="020B0603020202020204" pitchFamily="34" charset="0"/>
              </a:rPr>
              <a:t>Altares</a:t>
            </a:r>
            <a:endParaRPr lang="en-GB" sz="1000" spc="-50">
              <a:solidFill>
                <a:srgbClr val="6C6C6C"/>
              </a:solidFill>
              <a:latin typeface="Trebuchet MS" panose="020B0603020202020204" pitchFamily="34" charset="0"/>
            </a:endParaRPr>
          </a:p>
        </p:txBody>
      </p:sp>
      <p:sp>
        <p:nvSpPr>
          <p:cNvPr id="4" name="Title 3">
            <a:extLst>
              <a:ext uri="{FF2B5EF4-FFF2-40B4-BE49-F238E27FC236}">
                <a16:creationId xmlns:a16="http://schemas.microsoft.com/office/drawing/2014/main" id="{4743645F-F1B2-4106-A826-D519F9D9D826}"/>
              </a:ext>
            </a:extLst>
          </p:cNvPr>
          <p:cNvSpPr>
            <a:spLocks noGrp="1"/>
          </p:cNvSpPr>
          <p:nvPr>
            <p:ph type="title"/>
          </p:nvPr>
        </p:nvSpPr>
        <p:spPr>
          <a:xfrm>
            <a:off x="165600" y="147600"/>
            <a:ext cx="8282501" cy="684000"/>
          </a:xfrm>
        </p:spPr>
        <p:txBody>
          <a:bodyPr/>
          <a:lstStyle/>
          <a:p>
            <a:r>
              <a:rPr lang="en-GB">
                <a:latin typeface="Trebuchet MS" panose="020B0603020202020204" pitchFamily="34" charset="0"/>
              </a:rPr>
              <a:t>In a context of </a:t>
            </a:r>
            <a:r>
              <a:rPr lang="en-GB">
                <a:solidFill>
                  <a:schemeClr val="tx2"/>
                </a:solidFill>
                <a:latin typeface="Trebuchet MS" panose="020B0603020202020204" pitchFamily="34" charset="0"/>
              </a:rPr>
              <a:t>price</a:t>
            </a:r>
            <a:r>
              <a:rPr lang="en-GB">
                <a:latin typeface="Trebuchet MS" panose="020B0603020202020204" pitchFamily="34" charset="0"/>
              </a:rPr>
              <a:t> </a:t>
            </a:r>
            <a:r>
              <a:rPr lang="en-GB">
                <a:solidFill>
                  <a:schemeClr val="tx2"/>
                </a:solidFill>
                <a:latin typeface="Trebuchet MS" panose="020B0603020202020204" pitchFamily="34" charset="0"/>
              </a:rPr>
              <a:t>stabilization</a:t>
            </a:r>
            <a:r>
              <a:rPr lang="en-GB">
                <a:latin typeface="Trebuchet MS" panose="020B0603020202020204" pitchFamily="34" charset="0"/>
              </a:rPr>
              <a:t> and a difficulty to assess </a:t>
            </a:r>
            <a:r>
              <a:rPr lang="en-GB">
                <a:solidFill>
                  <a:schemeClr val="tx2"/>
                </a:solidFill>
                <a:latin typeface="Trebuchet MS" panose="020B0603020202020204" pitchFamily="34" charset="0"/>
              </a:rPr>
              <a:t>data quality</a:t>
            </a:r>
            <a:r>
              <a:rPr lang="en-GB">
                <a:latin typeface="Trebuchet MS" panose="020B0603020202020204" pitchFamily="34" charset="0"/>
              </a:rPr>
              <a:t>, </a:t>
            </a:r>
            <a:r>
              <a:rPr lang="en-GB">
                <a:solidFill>
                  <a:schemeClr val="tx2"/>
                </a:solidFill>
                <a:latin typeface="Trebuchet MS" panose="020B0603020202020204" pitchFamily="34" charset="0"/>
              </a:rPr>
              <a:t>BD&amp;A</a:t>
            </a:r>
            <a:r>
              <a:rPr lang="en-GB">
                <a:latin typeface="Trebuchet MS" panose="020B0603020202020204" pitchFamily="34" charset="0"/>
              </a:rPr>
              <a:t> </a:t>
            </a:r>
            <a:r>
              <a:rPr lang="en-GB">
                <a:solidFill>
                  <a:schemeClr val="tx2"/>
                </a:solidFill>
                <a:latin typeface="Trebuchet MS" panose="020B0603020202020204" pitchFamily="34" charset="0"/>
              </a:rPr>
              <a:t>players</a:t>
            </a:r>
            <a:r>
              <a:rPr lang="en-GB">
                <a:latin typeface="Trebuchet MS" panose="020B0603020202020204" pitchFamily="34" charset="0"/>
              </a:rPr>
              <a:t> must offer </a:t>
            </a:r>
            <a:r>
              <a:rPr lang="en-GB">
                <a:solidFill>
                  <a:schemeClr val="tx2"/>
                </a:solidFill>
                <a:latin typeface="Trebuchet MS" panose="020B0603020202020204" pitchFamily="34" charset="0"/>
              </a:rPr>
              <a:t>innovative</a:t>
            </a:r>
            <a:r>
              <a:rPr lang="en-GB">
                <a:latin typeface="Trebuchet MS" panose="020B0603020202020204" pitchFamily="34" charset="0"/>
              </a:rPr>
              <a:t> </a:t>
            </a:r>
            <a:r>
              <a:rPr lang="en-GB">
                <a:solidFill>
                  <a:schemeClr val="tx2"/>
                </a:solidFill>
                <a:latin typeface="Trebuchet MS" panose="020B0603020202020204" pitchFamily="34" charset="0"/>
              </a:rPr>
              <a:t>services</a:t>
            </a:r>
            <a:r>
              <a:rPr lang="en-GB">
                <a:latin typeface="Trebuchet MS" panose="020B0603020202020204" pitchFamily="34" charset="0"/>
              </a:rPr>
              <a:t> in order to differentiate themselves, and to address</a:t>
            </a:r>
            <a:r>
              <a:rPr lang="en-GB">
                <a:solidFill>
                  <a:schemeClr val="tx2"/>
                </a:solidFill>
                <a:latin typeface="Trebuchet MS" panose="020B0603020202020204" pitchFamily="34" charset="0"/>
              </a:rPr>
              <a:t> SMEs whose needs for Credit risk are growing</a:t>
            </a:r>
            <a:endParaRPr lang="en-GB">
              <a:solidFill>
                <a:schemeClr val="tx2"/>
              </a:solidFill>
              <a:highlight>
                <a:srgbClr val="FFFF00"/>
              </a:highlight>
              <a:latin typeface="Trebuchet MS" panose="020B0603020202020204" pitchFamily="34" charset="0"/>
            </a:endParaRPr>
          </a:p>
        </p:txBody>
      </p:sp>
      <p:sp>
        <p:nvSpPr>
          <p:cNvPr id="5" name="Text Placeholder 4">
            <a:extLst>
              <a:ext uri="{FF2B5EF4-FFF2-40B4-BE49-F238E27FC236}">
                <a16:creationId xmlns:a16="http://schemas.microsoft.com/office/drawing/2014/main" id="{93ADD323-887F-4F55-BF74-62340490DDC0}"/>
              </a:ext>
            </a:extLst>
          </p:cNvPr>
          <p:cNvSpPr>
            <a:spLocks noGrp="1"/>
          </p:cNvSpPr>
          <p:nvPr>
            <p:ph type="body" sz="quarter" idx="10"/>
          </p:nvPr>
        </p:nvSpPr>
        <p:spPr/>
        <p:txBody>
          <a:bodyPr/>
          <a:lstStyle/>
          <a:p>
            <a:r>
              <a:rPr lang="en-GB"/>
              <a:t>Sources: eleven research &amp; analysis, expert calls, </a:t>
            </a:r>
            <a:r>
              <a:rPr lang="en-GB" err="1"/>
              <a:t>StatBel</a:t>
            </a:r>
            <a:endParaRPr lang="en-GB"/>
          </a:p>
        </p:txBody>
      </p:sp>
      <p:cxnSp>
        <p:nvCxnSpPr>
          <p:cNvPr id="31" name="Connecteur droit 4">
            <a:extLst>
              <a:ext uri="{FF2B5EF4-FFF2-40B4-BE49-F238E27FC236}">
                <a16:creationId xmlns:a16="http://schemas.microsoft.com/office/drawing/2014/main" id="{05503819-3CAF-4FAC-94B8-7B2B18B9E2DB}"/>
              </a:ext>
            </a:extLst>
          </p:cNvPr>
          <p:cNvCxnSpPr>
            <a:cxnSpLocks/>
          </p:cNvCxnSpPr>
          <p:nvPr/>
        </p:nvCxnSpPr>
        <p:spPr bwMode="auto">
          <a:xfrm>
            <a:off x="273000" y="101883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43" name="Rectangle 84">
            <a:extLst>
              <a:ext uri="{FF2B5EF4-FFF2-40B4-BE49-F238E27FC236}">
                <a16:creationId xmlns:a16="http://schemas.microsoft.com/office/drawing/2014/main" id="{BBC1F1BA-453C-43F4-9A5C-6E2D66AA1C08}"/>
              </a:ext>
            </a:extLst>
          </p:cNvPr>
          <p:cNvSpPr/>
          <p:nvPr/>
        </p:nvSpPr>
        <p:spPr bwMode="auto">
          <a:xfrm>
            <a:off x="2770388" y="884992"/>
            <a:ext cx="4365225" cy="269427"/>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defRPr/>
            </a:pPr>
            <a:r>
              <a:rPr lang="en-GB" sz="1100">
                <a:latin typeface="Trebuchet MS" panose="020B0603020202020204" pitchFamily="34" charset="0"/>
              </a:rPr>
              <a:t>Trends impacting the credit and financial risk market</a:t>
            </a:r>
          </a:p>
        </p:txBody>
      </p:sp>
      <p:sp>
        <p:nvSpPr>
          <p:cNvPr id="3" name="Rectangle 2">
            <a:extLst>
              <a:ext uri="{FF2B5EF4-FFF2-40B4-BE49-F238E27FC236}">
                <a16:creationId xmlns:a16="http://schemas.microsoft.com/office/drawing/2014/main" id="{6E5579C7-DA5D-49DA-80F1-7376D7B55876}"/>
              </a:ext>
            </a:extLst>
          </p:cNvPr>
          <p:cNvSpPr/>
          <p:nvPr/>
        </p:nvSpPr>
        <p:spPr bwMode="auto">
          <a:xfrm>
            <a:off x="259493" y="2758312"/>
            <a:ext cx="1296000" cy="108000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100" b="0" cap="none" spc="-10" baseline="0" noProof="0">
              <a:solidFill>
                <a:schemeClr val="tx2"/>
              </a:solidFill>
              <a:latin typeface="Trebuchet MS" panose="020B0603020202020204" pitchFamily="34" charset="0"/>
            </a:endParaRPr>
          </a:p>
          <a:p>
            <a:pPr algn="ctr"/>
            <a:endParaRPr lang="en-GB" sz="1100" spc="-10">
              <a:solidFill>
                <a:schemeClr val="tx2"/>
              </a:solidFill>
              <a:latin typeface="Trebuchet MS" panose="020B0603020202020204" pitchFamily="34" charset="0"/>
            </a:endParaRPr>
          </a:p>
          <a:p>
            <a:pPr algn="ctr"/>
            <a:r>
              <a:rPr lang="en-GB" sz="1100" b="0" cap="none" spc="-10" baseline="0" noProof="0">
                <a:solidFill>
                  <a:schemeClr val="tx2"/>
                </a:solidFill>
                <a:latin typeface="Trebuchet MS" panose="020B0603020202020204" pitchFamily="34" charset="0"/>
              </a:rPr>
              <a:t>Stabilization of prices</a:t>
            </a:r>
          </a:p>
        </p:txBody>
      </p:sp>
      <p:cxnSp>
        <p:nvCxnSpPr>
          <p:cNvPr id="49" name="Straight Connector 33">
            <a:extLst>
              <a:ext uri="{FF2B5EF4-FFF2-40B4-BE49-F238E27FC236}">
                <a16:creationId xmlns:a16="http://schemas.microsoft.com/office/drawing/2014/main" id="{34D294DE-1981-4B3A-8B1D-423A1E05573F}"/>
              </a:ext>
            </a:extLst>
          </p:cNvPr>
          <p:cNvCxnSpPr>
            <a:cxnSpLocks/>
          </p:cNvCxnSpPr>
          <p:nvPr/>
        </p:nvCxnSpPr>
        <p:spPr bwMode="auto">
          <a:xfrm>
            <a:off x="1652719" y="1418643"/>
            <a:ext cx="221615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50" name="Straight Connector 34">
            <a:extLst>
              <a:ext uri="{FF2B5EF4-FFF2-40B4-BE49-F238E27FC236}">
                <a16:creationId xmlns:a16="http://schemas.microsoft.com/office/drawing/2014/main" id="{ADCA903C-3A97-40F0-B3A8-93650939A1C5}"/>
              </a:ext>
            </a:extLst>
          </p:cNvPr>
          <p:cNvCxnSpPr>
            <a:cxnSpLocks/>
          </p:cNvCxnSpPr>
          <p:nvPr/>
        </p:nvCxnSpPr>
        <p:spPr bwMode="auto">
          <a:xfrm flipV="1">
            <a:off x="3966095" y="1410759"/>
            <a:ext cx="5680413" cy="7884"/>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51" name="Straight Connector 31">
            <a:extLst>
              <a:ext uri="{FF2B5EF4-FFF2-40B4-BE49-F238E27FC236}">
                <a16:creationId xmlns:a16="http://schemas.microsoft.com/office/drawing/2014/main" id="{5FF283D8-8A2B-45F8-898A-1C081B65E4C4}"/>
              </a:ext>
            </a:extLst>
          </p:cNvPr>
          <p:cNvCxnSpPr>
            <a:cxnSpLocks/>
          </p:cNvCxnSpPr>
          <p:nvPr/>
        </p:nvCxnSpPr>
        <p:spPr bwMode="auto">
          <a:xfrm>
            <a:off x="259493" y="1418643"/>
            <a:ext cx="12960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52" name="Rectangle 51">
            <a:extLst>
              <a:ext uri="{FF2B5EF4-FFF2-40B4-BE49-F238E27FC236}">
                <a16:creationId xmlns:a16="http://schemas.microsoft.com/office/drawing/2014/main" id="{EA7DC4A7-7043-4EA4-9461-9BEA3233EED7}"/>
              </a:ext>
            </a:extLst>
          </p:cNvPr>
          <p:cNvSpPr/>
          <p:nvPr/>
        </p:nvSpPr>
        <p:spPr bwMode="auto">
          <a:xfrm>
            <a:off x="360280" y="1137427"/>
            <a:ext cx="1078022" cy="27146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latin typeface="Trebuchet MS" panose="020B0603020202020204" pitchFamily="34" charset="0"/>
              </a:rPr>
              <a:t>Trend</a:t>
            </a:r>
            <a:endParaRPr kumimoji="0" lang="en-GB" sz="1000" b="1" i="0" u="none" strike="noStrike" cap="none" normalizeH="0" baseline="0">
              <a:ln>
                <a:noFill/>
              </a:ln>
              <a:effectLst/>
              <a:latin typeface="Trebuchet MS" panose="020B0603020202020204" pitchFamily="34" charset="0"/>
            </a:endParaRPr>
          </a:p>
        </p:txBody>
      </p:sp>
      <p:sp>
        <p:nvSpPr>
          <p:cNvPr id="53" name="Rectangle 52">
            <a:extLst>
              <a:ext uri="{FF2B5EF4-FFF2-40B4-BE49-F238E27FC236}">
                <a16:creationId xmlns:a16="http://schemas.microsoft.com/office/drawing/2014/main" id="{3FA60457-F43C-4842-A52C-390501628E6B}"/>
              </a:ext>
            </a:extLst>
          </p:cNvPr>
          <p:cNvSpPr/>
          <p:nvPr/>
        </p:nvSpPr>
        <p:spPr bwMode="auto">
          <a:xfrm>
            <a:off x="2322627" y="1118377"/>
            <a:ext cx="876333" cy="27146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b="1">
                <a:latin typeface="Trebuchet MS" panose="020B0603020202020204" pitchFamily="34" charset="0"/>
              </a:rPr>
              <a:t>Rationale</a:t>
            </a:r>
          </a:p>
        </p:txBody>
      </p:sp>
      <p:sp>
        <p:nvSpPr>
          <p:cNvPr id="54" name="Rectangle 53">
            <a:extLst>
              <a:ext uri="{FF2B5EF4-FFF2-40B4-BE49-F238E27FC236}">
                <a16:creationId xmlns:a16="http://schemas.microsoft.com/office/drawing/2014/main" id="{8D422CF4-69F9-4AAE-A1C6-6CBE7A62614E}"/>
              </a:ext>
            </a:extLst>
          </p:cNvPr>
          <p:cNvSpPr/>
          <p:nvPr/>
        </p:nvSpPr>
        <p:spPr bwMode="auto">
          <a:xfrm>
            <a:off x="6359328" y="1118377"/>
            <a:ext cx="893947" cy="27146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b="1">
                <a:latin typeface="Trebuchet MS" panose="020B0603020202020204" pitchFamily="34" charset="0"/>
              </a:rPr>
              <a:t>Illustrations</a:t>
            </a:r>
          </a:p>
        </p:txBody>
      </p:sp>
      <p:sp>
        <p:nvSpPr>
          <p:cNvPr id="55" name="Rectangle 54">
            <a:extLst>
              <a:ext uri="{FF2B5EF4-FFF2-40B4-BE49-F238E27FC236}">
                <a16:creationId xmlns:a16="http://schemas.microsoft.com/office/drawing/2014/main" id="{D2764DD5-F8CD-4442-859F-0110D6C1FC9C}"/>
              </a:ext>
            </a:extLst>
          </p:cNvPr>
          <p:cNvSpPr/>
          <p:nvPr/>
        </p:nvSpPr>
        <p:spPr bwMode="auto">
          <a:xfrm>
            <a:off x="1668225" y="2758312"/>
            <a:ext cx="2216150" cy="1080000"/>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l" defTabSz="914400" rtl="0" eaLnBrk="1" latinLnBrk="0" hangingPunct="1">
              <a:buClr>
                <a:schemeClr val="tx1"/>
              </a:buClr>
              <a:buSzPct val="90000"/>
            </a:pPr>
            <a:r>
              <a:rPr lang="en-GB" sz="1000" b="0" kern="1200" spc="-20" baseline="0" noProof="0">
                <a:solidFill>
                  <a:schemeClr val="dk1"/>
                </a:solidFill>
                <a:latin typeface="Trebuchet MS" panose="020B0603020202020204" pitchFamily="34" charset="0"/>
                <a:ea typeface="+mn-ea"/>
                <a:cs typeface="+mn-cs"/>
              </a:rPr>
              <a:t>The </a:t>
            </a:r>
            <a:r>
              <a:rPr lang="en-GB" sz="1000" b="0" kern="1200" spc="-20" baseline="0" noProof="0">
                <a:solidFill>
                  <a:schemeClr val="tx2"/>
                </a:solidFill>
                <a:latin typeface="Trebuchet MS" panose="020B0603020202020204" pitchFamily="34" charset="0"/>
                <a:ea typeface="+mn-ea"/>
                <a:cs typeface="+mn-cs"/>
              </a:rPr>
              <a:t>price pressure is decreasing</a:t>
            </a:r>
            <a:r>
              <a:rPr lang="en-GB" sz="1000" b="0" kern="1200" spc="-20" baseline="0" noProof="0">
                <a:solidFill>
                  <a:schemeClr val="dk1"/>
                </a:solidFill>
                <a:latin typeface="Trebuchet MS" panose="020B0603020202020204" pitchFamily="34" charset="0"/>
                <a:ea typeface="+mn-ea"/>
                <a:cs typeface="+mn-cs"/>
              </a:rPr>
              <a:t>, especially because </a:t>
            </a:r>
            <a:r>
              <a:rPr lang="en-GB" sz="1000" b="0" kern="1200" spc="-20" baseline="0" noProof="0" err="1">
                <a:solidFill>
                  <a:schemeClr val="dk1"/>
                </a:solidFill>
                <a:latin typeface="Trebuchet MS" panose="020B0603020202020204" pitchFamily="34" charset="0"/>
                <a:ea typeface="+mn-ea"/>
                <a:cs typeface="+mn-cs"/>
              </a:rPr>
              <a:t>Creditsafe</a:t>
            </a:r>
            <a:r>
              <a:rPr lang="en-GB" sz="1000" b="0" kern="1200" spc="-20" baseline="0" noProof="0">
                <a:solidFill>
                  <a:schemeClr val="dk1"/>
                </a:solidFill>
                <a:latin typeface="Trebuchet MS" panose="020B0603020202020204" pitchFamily="34" charset="0"/>
                <a:ea typeface="+mn-ea"/>
                <a:cs typeface="+mn-cs"/>
              </a:rPr>
              <a:t> has adopted a margin-oriented strategy </a:t>
            </a:r>
            <a:r>
              <a:rPr lang="en-GB" sz="1000" spc="-20">
                <a:solidFill>
                  <a:schemeClr val="dk1"/>
                </a:solidFill>
                <a:latin typeface="Trebuchet MS" panose="020B0603020202020204" pitchFamily="34" charset="0"/>
                <a:cs typeface="+mn-cs"/>
              </a:rPr>
              <a:t>in France and Benelux</a:t>
            </a:r>
            <a:r>
              <a:rPr lang="en-GB" sz="1000" b="0" kern="1200" spc="-20" baseline="0" noProof="0">
                <a:solidFill>
                  <a:schemeClr val="dk1"/>
                </a:solidFill>
                <a:latin typeface="Trebuchet MS" panose="020B0603020202020204" pitchFamily="34" charset="0"/>
                <a:ea typeface="+mn-ea"/>
                <a:cs typeface="+mn-cs"/>
              </a:rPr>
              <a:t>, to fund the group’s expansion into new geographies</a:t>
            </a:r>
          </a:p>
        </p:txBody>
      </p:sp>
      <p:cxnSp>
        <p:nvCxnSpPr>
          <p:cNvPr id="26" name="Connecteur droit 31">
            <a:extLst>
              <a:ext uri="{FF2B5EF4-FFF2-40B4-BE49-F238E27FC236}">
                <a16:creationId xmlns:a16="http://schemas.microsoft.com/office/drawing/2014/main" id="{E1C81B31-FA8C-47E6-AAEF-685389485FEA}"/>
              </a:ext>
            </a:extLst>
          </p:cNvPr>
          <p:cNvCxnSpPr>
            <a:cxnSpLocks/>
          </p:cNvCxnSpPr>
          <p:nvPr/>
        </p:nvCxnSpPr>
        <p:spPr bwMode="auto">
          <a:xfrm>
            <a:off x="3966094" y="3907398"/>
            <a:ext cx="5724957" cy="0"/>
          </a:xfrm>
          <a:prstGeom prst="line">
            <a:avLst/>
          </a:prstGeom>
          <a:solidFill>
            <a:schemeClr val="accent1"/>
          </a:solidFill>
          <a:ln w="9525" cap="flat" cmpd="sng" algn="ctr">
            <a:solidFill>
              <a:schemeClr val="tx1"/>
            </a:solidFill>
            <a:prstDash val="dash"/>
            <a:round/>
            <a:headEnd type="none" w="med" len="med"/>
            <a:tailEnd type="none" w="med" len="med"/>
          </a:ln>
          <a:effectLst/>
        </p:spPr>
      </p:cxnSp>
      <p:pic>
        <p:nvPicPr>
          <p:cNvPr id="9" name="Graphic 8">
            <a:extLst>
              <a:ext uri="{FF2B5EF4-FFF2-40B4-BE49-F238E27FC236}">
                <a16:creationId xmlns:a16="http://schemas.microsoft.com/office/drawing/2014/main" id="{84C5A903-F9D5-42BE-A9FD-8DB5853C7911}"/>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20587"/>
          <a:stretch/>
        </p:blipFill>
        <p:spPr>
          <a:xfrm>
            <a:off x="740571" y="2839345"/>
            <a:ext cx="333845" cy="331395"/>
          </a:xfrm>
          <a:prstGeom prst="rect">
            <a:avLst/>
          </a:prstGeom>
        </p:spPr>
      </p:pic>
      <p:sp>
        <p:nvSpPr>
          <p:cNvPr id="19" name="Rectangle 18">
            <a:extLst>
              <a:ext uri="{FF2B5EF4-FFF2-40B4-BE49-F238E27FC236}">
                <a16:creationId xmlns:a16="http://schemas.microsoft.com/office/drawing/2014/main" id="{4443EDB1-2679-4066-9598-F03B5B13B3B9}"/>
              </a:ext>
            </a:extLst>
          </p:cNvPr>
          <p:cNvSpPr/>
          <p:nvPr/>
        </p:nvSpPr>
        <p:spPr bwMode="auto">
          <a:xfrm>
            <a:off x="4098863" y="2758312"/>
            <a:ext cx="2592000" cy="10800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200"/>
              </a:lnSpc>
              <a:spcAft>
                <a:spcPts val="200"/>
              </a:spcAft>
              <a:defRPr/>
            </a:pPr>
            <a:r>
              <a:rPr lang="en-GB" sz="1000" i="1" spc="-30">
                <a:solidFill>
                  <a:srgbClr val="6C6C6C"/>
                </a:solidFill>
                <a:latin typeface="Trebuchet MS" panose="020B0603020202020204" pitchFamily="34" charset="0"/>
              </a:rPr>
              <a:t>“</a:t>
            </a:r>
            <a:r>
              <a:rPr lang="en-GB" sz="1000" i="1" spc="-30" err="1">
                <a:solidFill>
                  <a:srgbClr val="6C6C6C"/>
                </a:solidFill>
                <a:latin typeface="Trebuchet MS" panose="020B0603020202020204" pitchFamily="34" charset="0"/>
              </a:rPr>
              <a:t>Creditsafe</a:t>
            </a:r>
            <a:r>
              <a:rPr lang="en-GB" sz="1000" i="1" spc="-30">
                <a:solidFill>
                  <a:srgbClr val="6C6C6C"/>
                </a:solidFill>
                <a:latin typeface="Trebuchet MS" panose="020B0603020202020204" pitchFamily="34" charset="0"/>
              </a:rPr>
              <a:t> arrived in France in 2006 and made information prices sink, sometimes by more than 50%. Now, the war on price is over, despite some </a:t>
            </a:r>
            <a:r>
              <a:rPr lang="en-GB" sz="1000" i="1" spc="-30">
                <a:solidFill>
                  <a:schemeClr val="tx2"/>
                </a:solidFill>
                <a:latin typeface="Trebuchet MS" panose="020B0603020202020204" pitchFamily="34" charset="0"/>
              </a:rPr>
              <a:t>aggressive client acquisition by </a:t>
            </a:r>
            <a:r>
              <a:rPr lang="en-GB" sz="1000" i="1" spc="-30" err="1">
                <a:solidFill>
                  <a:schemeClr val="tx2"/>
                </a:solidFill>
                <a:latin typeface="Trebuchet MS" panose="020B0603020202020204" pitchFamily="34" charset="0"/>
              </a:rPr>
              <a:t>Ellisphere</a:t>
            </a:r>
            <a:r>
              <a:rPr lang="en-GB" sz="1000" i="1" spc="-30">
                <a:solidFill>
                  <a:schemeClr val="tx2"/>
                </a:solidFill>
                <a:latin typeface="Trebuchet MS" panose="020B0603020202020204" pitchFamily="34" charset="0"/>
              </a:rPr>
              <a:t> and </a:t>
            </a:r>
            <a:r>
              <a:rPr lang="en-GB" sz="1000" i="1" spc="-30" err="1">
                <a:solidFill>
                  <a:schemeClr val="tx2"/>
                </a:solidFill>
                <a:latin typeface="Trebuchet MS" panose="020B0603020202020204" pitchFamily="34" charset="0"/>
              </a:rPr>
              <a:t>Altares</a:t>
            </a:r>
            <a:r>
              <a:rPr lang="en-GB" sz="1000" i="1" spc="-30">
                <a:solidFill>
                  <a:schemeClr val="tx2"/>
                </a:solidFill>
                <a:latin typeface="Trebuchet MS" panose="020B0603020202020204" pitchFamily="34" charset="0"/>
              </a:rPr>
              <a:t> </a:t>
            </a:r>
            <a:r>
              <a:rPr lang="en-GB" sz="1000" i="1" spc="-30">
                <a:solidFill>
                  <a:srgbClr val="6C6C6C"/>
                </a:solidFill>
                <a:latin typeface="Trebuchet MS" panose="020B0603020202020204" pitchFamily="34" charset="0"/>
              </a:rPr>
              <a:t>from time to time”</a:t>
            </a:r>
          </a:p>
          <a:p>
            <a:pPr>
              <a:lnSpc>
                <a:spcPts val="1200"/>
              </a:lnSpc>
              <a:spcAft>
                <a:spcPts val="200"/>
              </a:spcAft>
              <a:defRPr/>
            </a:pPr>
            <a:r>
              <a:rPr lang="en-GB" sz="1000" spc="-30">
                <a:solidFill>
                  <a:srgbClr val="6C6C6C"/>
                </a:solidFill>
                <a:latin typeface="Trebuchet MS" panose="020B0603020202020204" pitchFamily="34" charset="0"/>
              </a:rPr>
              <a:t>M.D. France &amp; Belgium at </a:t>
            </a:r>
            <a:r>
              <a:rPr lang="en-GB" sz="1000" spc="-30" err="1">
                <a:solidFill>
                  <a:srgbClr val="6C6C6C"/>
                </a:solidFill>
                <a:latin typeface="Trebuchet MS" panose="020B0603020202020204" pitchFamily="34" charset="0"/>
              </a:rPr>
              <a:t>Creditsafe</a:t>
            </a:r>
            <a:endParaRPr lang="en-GB" sz="1000" spc="-30">
              <a:solidFill>
                <a:srgbClr val="6C6C6C"/>
              </a:solidFill>
              <a:latin typeface="Trebuchet MS" panose="020B0603020202020204" pitchFamily="34" charset="0"/>
            </a:endParaRPr>
          </a:p>
        </p:txBody>
      </p:sp>
      <p:sp>
        <p:nvSpPr>
          <p:cNvPr id="20" name="Freeform 663">
            <a:extLst>
              <a:ext uri="{FF2B5EF4-FFF2-40B4-BE49-F238E27FC236}">
                <a16:creationId xmlns:a16="http://schemas.microsoft.com/office/drawing/2014/main" id="{8CA47652-9527-43D3-B634-02607C93DCE2}"/>
              </a:ext>
            </a:extLst>
          </p:cNvPr>
          <p:cNvSpPr>
            <a:spLocks noEditPoints="1"/>
          </p:cNvSpPr>
          <p:nvPr/>
        </p:nvSpPr>
        <p:spPr bwMode="auto">
          <a:xfrm>
            <a:off x="3955020" y="3172312"/>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48" name="Rectangle 47">
            <a:extLst>
              <a:ext uri="{FF2B5EF4-FFF2-40B4-BE49-F238E27FC236}">
                <a16:creationId xmlns:a16="http://schemas.microsoft.com/office/drawing/2014/main" id="{0F4B9828-58F3-4639-99E6-4933655F26FD}"/>
              </a:ext>
            </a:extLst>
          </p:cNvPr>
          <p:cNvSpPr/>
          <p:nvPr/>
        </p:nvSpPr>
        <p:spPr bwMode="auto">
          <a:xfrm>
            <a:off x="259493" y="3989858"/>
            <a:ext cx="1296000" cy="108000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100" b="0" cap="none" spc="-10" baseline="0" noProof="0">
              <a:solidFill>
                <a:schemeClr val="tx2"/>
              </a:solidFill>
              <a:latin typeface="Trebuchet MS" panose="020B0603020202020204" pitchFamily="34" charset="0"/>
            </a:endParaRPr>
          </a:p>
          <a:p>
            <a:pPr algn="ctr"/>
            <a:endParaRPr lang="en-GB" sz="1100" spc="-10">
              <a:solidFill>
                <a:schemeClr val="tx2"/>
              </a:solidFill>
              <a:latin typeface="Trebuchet MS" panose="020B0603020202020204" pitchFamily="34" charset="0"/>
            </a:endParaRPr>
          </a:p>
          <a:p>
            <a:pPr algn="ctr"/>
            <a:r>
              <a:rPr lang="en-GB" sz="1100" b="0" cap="none" spc="-10" baseline="0" noProof="0">
                <a:solidFill>
                  <a:schemeClr val="tx2"/>
                </a:solidFill>
                <a:latin typeface="Trebuchet MS" panose="020B0603020202020204" pitchFamily="34" charset="0"/>
              </a:rPr>
              <a:t>Data quality and accessibility</a:t>
            </a:r>
          </a:p>
        </p:txBody>
      </p:sp>
      <p:sp>
        <p:nvSpPr>
          <p:cNvPr id="58" name="Rectangle 57">
            <a:extLst>
              <a:ext uri="{FF2B5EF4-FFF2-40B4-BE49-F238E27FC236}">
                <a16:creationId xmlns:a16="http://schemas.microsoft.com/office/drawing/2014/main" id="{7A847901-232D-4AE0-81B7-5C99564DD676}"/>
              </a:ext>
            </a:extLst>
          </p:cNvPr>
          <p:cNvSpPr/>
          <p:nvPr/>
        </p:nvSpPr>
        <p:spPr bwMode="auto">
          <a:xfrm>
            <a:off x="1668225" y="3989858"/>
            <a:ext cx="2216150" cy="1080000"/>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l" defTabSz="914400" rtl="0" eaLnBrk="1" latinLnBrk="0" hangingPunct="1">
              <a:buClr>
                <a:schemeClr val="tx1"/>
              </a:buClr>
              <a:buSzPct val="90000"/>
            </a:pPr>
            <a:r>
              <a:rPr lang="en-GB" sz="1000" b="0" kern="1200" spc="-20" baseline="0" noProof="0">
                <a:solidFill>
                  <a:schemeClr val="tx2"/>
                </a:solidFill>
                <a:latin typeface="Trebuchet MS" panose="020B0603020202020204" pitchFamily="34" charset="0"/>
                <a:ea typeface="+mn-ea"/>
                <a:cs typeface="+mn-cs"/>
              </a:rPr>
              <a:t>Ease</a:t>
            </a:r>
            <a:r>
              <a:rPr lang="en-GB" sz="1000" b="0" kern="1200" spc="-20" baseline="0" noProof="0">
                <a:solidFill>
                  <a:schemeClr val="dk1"/>
                </a:solidFill>
                <a:latin typeface="Trebuchet MS" panose="020B0603020202020204" pitchFamily="34" charset="0"/>
                <a:ea typeface="+mn-ea"/>
                <a:cs typeface="+mn-cs"/>
              </a:rPr>
              <a:t> </a:t>
            </a:r>
            <a:r>
              <a:rPr lang="en-GB" sz="1000" b="0" kern="1200" spc="-20" baseline="0" noProof="0">
                <a:solidFill>
                  <a:schemeClr val="tx2"/>
                </a:solidFill>
                <a:latin typeface="Trebuchet MS" panose="020B0603020202020204" pitchFamily="34" charset="0"/>
                <a:ea typeface="+mn-ea"/>
                <a:cs typeface="+mn-cs"/>
              </a:rPr>
              <a:t>of</a:t>
            </a:r>
            <a:r>
              <a:rPr lang="en-GB" sz="1000" b="0" kern="1200" spc="-20" baseline="0" noProof="0">
                <a:solidFill>
                  <a:schemeClr val="dk1"/>
                </a:solidFill>
                <a:latin typeface="Trebuchet MS" panose="020B0603020202020204" pitchFamily="34" charset="0"/>
                <a:ea typeface="+mn-ea"/>
                <a:cs typeface="+mn-cs"/>
              </a:rPr>
              <a:t> </a:t>
            </a:r>
            <a:r>
              <a:rPr lang="en-GB" sz="1000" b="0" kern="1200" spc="-20" baseline="0" noProof="0">
                <a:solidFill>
                  <a:schemeClr val="tx2"/>
                </a:solidFill>
                <a:latin typeface="Trebuchet MS" panose="020B0603020202020204" pitchFamily="34" charset="0"/>
                <a:ea typeface="+mn-ea"/>
                <a:cs typeface="+mn-cs"/>
              </a:rPr>
              <a:t>access</a:t>
            </a:r>
            <a:r>
              <a:rPr lang="en-GB" sz="1000" b="0" kern="1200" spc="-20" baseline="0" noProof="0">
                <a:solidFill>
                  <a:schemeClr val="dk1"/>
                </a:solidFill>
                <a:latin typeface="Trebuchet MS" panose="020B0603020202020204" pitchFamily="34" charset="0"/>
                <a:ea typeface="+mn-ea"/>
                <a:cs typeface="+mn-cs"/>
              </a:rPr>
              <a:t> to all form of data and the </a:t>
            </a:r>
            <a:r>
              <a:rPr lang="en-GB" sz="1000" b="0" kern="1200" spc="-20" baseline="0" noProof="0">
                <a:solidFill>
                  <a:schemeClr val="tx2"/>
                </a:solidFill>
                <a:latin typeface="Trebuchet MS" panose="020B0603020202020204" pitchFamily="34" charset="0"/>
                <a:ea typeface="+mn-ea"/>
                <a:cs typeface="+mn-cs"/>
              </a:rPr>
              <a:t>perception</a:t>
            </a:r>
            <a:r>
              <a:rPr lang="en-GB" sz="1000" b="0" kern="1200" spc="-20" baseline="0" noProof="0">
                <a:solidFill>
                  <a:schemeClr val="dk1"/>
                </a:solidFill>
                <a:latin typeface="Trebuchet MS" panose="020B0603020202020204" pitchFamily="34" charset="0"/>
                <a:ea typeface="+mn-ea"/>
                <a:cs typeface="+mn-cs"/>
              </a:rPr>
              <a:t> of its </a:t>
            </a:r>
            <a:r>
              <a:rPr lang="en-GB" sz="1000" b="0" kern="1200" spc="-20" baseline="0" noProof="0">
                <a:solidFill>
                  <a:schemeClr val="tx2"/>
                </a:solidFill>
                <a:latin typeface="Trebuchet MS" panose="020B0603020202020204" pitchFamily="34" charset="0"/>
                <a:ea typeface="+mn-ea"/>
                <a:cs typeface="+mn-cs"/>
              </a:rPr>
              <a:t>quality</a:t>
            </a:r>
            <a:r>
              <a:rPr lang="en-GB" sz="1000" b="0" kern="1200" spc="-20" baseline="0" noProof="0">
                <a:solidFill>
                  <a:schemeClr val="dk1"/>
                </a:solidFill>
                <a:latin typeface="Trebuchet MS" panose="020B0603020202020204" pitchFamily="34" charset="0"/>
                <a:ea typeface="+mn-ea"/>
                <a:cs typeface="+mn-cs"/>
              </a:rPr>
              <a:t> by the customers have a direct </a:t>
            </a:r>
            <a:r>
              <a:rPr lang="en-GB" sz="1000" b="0" kern="1200" spc="-20" baseline="0" noProof="0">
                <a:solidFill>
                  <a:schemeClr val="tx2"/>
                </a:solidFill>
                <a:latin typeface="Trebuchet MS" panose="020B0603020202020204" pitchFamily="34" charset="0"/>
                <a:ea typeface="+mn-ea"/>
                <a:cs typeface="+mn-cs"/>
              </a:rPr>
              <a:t>impact</a:t>
            </a:r>
            <a:r>
              <a:rPr lang="en-GB" sz="1000" b="0" kern="1200" spc="-20" baseline="0" noProof="0">
                <a:solidFill>
                  <a:schemeClr val="dk1"/>
                </a:solidFill>
                <a:latin typeface="Trebuchet MS" panose="020B0603020202020204" pitchFamily="34" charset="0"/>
                <a:ea typeface="+mn-ea"/>
                <a:cs typeface="+mn-cs"/>
              </a:rPr>
              <a:t> on </a:t>
            </a:r>
            <a:r>
              <a:rPr lang="en-GB" sz="1000" b="0" kern="1200" spc="-20" baseline="0" noProof="0">
                <a:solidFill>
                  <a:schemeClr val="tx2"/>
                </a:solidFill>
                <a:latin typeface="Trebuchet MS" panose="020B0603020202020204" pitchFamily="34" charset="0"/>
                <a:ea typeface="+mn-ea"/>
                <a:cs typeface="+mn-cs"/>
              </a:rPr>
              <a:t>prices</a:t>
            </a:r>
          </a:p>
        </p:txBody>
      </p:sp>
      <p:sp>
        <p:nvSpPr>
          <p:cNvPr id="61" name="Rectangle 60">
            <a:extLst>
              <a:ext uri="{FF2B5EF4-FFF2-40B4-BE49-F238E27FC236}">
                <a16:creationId xmlns:a16="http://schemas.microsoft.com/office/drawing/2014/main" id="{5F6F6E60-E6A3-4D8D-AE3E-4DF2B5A7AD13}"/>
              </a:ext>
            </a:extLst>
          </p:cNvPr>
          <p:cNvSpPr/>
          <p:nvPr/>
        </p:nvSpPr>
        <p:spPr bwMode="auto">
          <a:xfrm>
            <a:off x="4098863" y="3989858"/>
            <a:ext cx="2592000" cy="10800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200"/>
              </a:lnSpc>
              <a:spcAft>
                <a:spcPts val="200"/>
              </a:spcAft>
              <a:defRPr/>
            </a:pPr>
            <a:r>
              <a:rPr lang="en-GB" sz="1000" i="1" spc="-30">
                <a:solidFill>
                  <a:srgbClr val="6C6C6C"/>
                </a:solidFill>
                <a:latin typeface="Trebuchet MS" panose="020B0603020202020204" pitchFamily="34" charset="0"/>
              </a:rPr>
              <a:t>“Clients do </a:t>
            </a:r>
            <a:r>
              <a:rPr lang="en-GB" sz="1000" i="1" spc="-30">
                <a:solidFill>
                  <a:schemeClr val="tx2"/>
                </a:solidFill>
                <a:latin typeface="Trebuchet MS" panose="020B0603020202020204" pitchFamily="34" charset="0"/>
              </a:rPr>
              <a:t>not</a:t>
            </a:r>
            <a:r>
              <a:rPr lang="en-GB" sz="1000" i="1" spc="-30">
                <a:solidFill>
                  <a:srgbClr val="6C6C6C"/>
                </a:solidFill>
                <a:latin typeface="Trebuchet MS" panose="020B0603020202020204" pitchFamily="34" charset="0"/>
              </a:rPr>
              <a:t> always </a:t>
            </a:r>
            <a:r>
              <a:rPr lang="en-GB" sz="1000" i="1" spc="-30">
                <a:solidFill>
                  <a:schemeClr val="tx2"/>
                </a:solidFill>
                <a:latin typeface="Trebuchet MS" panose="020B0603020202020204" pitchFamily="34" charset="0"/>
              </a:rPr>
              <a:t>perceive</a:t>
            </a:r>
            <a:r>
              <a:rPr lang="en-GB" sz="1000" i="1" spc="-30">
                <a:solidFill>
                  <a:srgbClr val="6C6C6C"/>
                </a:solidFill>
                <a:latin typeface="Trebuchet MS" panose="020B0603020202020204" pitchFamily="34" charset="0"/>
              </a:rPr>
              <a:t> </a:t>
            </a:r>
            <a:r>
              <a:rPr lang="en-GB" sz="1000" i="1" spc="-30">
                <a:solidFill>
                  <a:schemeClr val="tx2"/>
                </a:solidFill>
                <a:latin typeface="Trebuchet MS" panose="020B0603020202020204" pitchFamily="34" charset="0"/>
              </a:rPr>
              <a:t>differences</a:t>
            </a:r>
            <a:r>
              <a:rPr lang="en-GB" sz="1000" i="1" spc="-30">
                <a:solidFill>
                  <a:srgbClr val="6C6C6C"/>
                </a:solidFill>
                <a:latin typeface="Trebuchet MS" panose="020B0603020202020204" pitchFamily="34" charset="0"/>
              </a:rPr>
              <a:t> in </a:t>
            </a:r>
            <a:r>
              <a:rPr lang="en-GB" sz="1000" i="1" spc="-30">
                <a:solidFill>
                  <a:schemeClr val="tx2"/>
                </a:solidFill>
                <a:latin typeface="Trebuchet MS" panose="020B0603020202020204" pitchFamily="34" charset="0"/>
              </a:rPr>
              <a:t>data</a:t>
            </a:r>
            <a:r>
              <a:rPr lang="en-GB" sz="1000" i="1" spc="-30">
                <a:solidFill>
                  <a:srgbClr val="6C6C6C"/>
                </a:solidFill>
                <a:latin typeface="Trebuchet MS" panose="020B0603020202020204" pitchFamily="34" charset="0"/>
              </a:rPr>
              <a:t> </a:t>
            </a:r>
            <a:r>
              <a:rPr lang="en-GB" sz="1000" i="1" spc="-30">
                <a:solidFill>
                  <a:schemeClr val="tx2"/>
                </a:solidFill>
                <a:latin typeface="Trebuchet MS" panose="020B0603020202020204" pitchFamily="34" charset="0"/>
              </a:rPr>
              <a:t>quality</a:t>
            </a:r>
            <a:r>
              <a:rPr lang="en-GB" sz="1000" i="1" spc="-30">
                <a:solidFill>
                  <a:srgbClr val="6C6C6C"/>
                </a:solidFill>
                <a:latin typeface="Trebuchet MS" panose="020B0603020202020204" pitchFamily="34" charset="0"/>
              </a:rPr>
              <a:t> between providers, and therefore do </a:t>
            </a:r>
            <a:r>
              <a:rPr lang="en-GB" sz="1000" i="1" spc="-30">
                <a:solidFill>
                  <a:schemeClr val="tx2"/>
                </a:solidFill>
                <a:latin typeface="Trebuchet MS" panose="020B0603020202020204" pitchFamily="34" charset="0"/>
              </a:rPr>
              <a:t>not</a:t>
            </a:r>
            <a:r>
              <a:rPr lang="en-GB" sz="1000" i="1" spc="-30">
                <a:solidFill>
                  <a:srgbClr val="6C6C6C"/>
                </a:solidFill>
                <a:latin typeface="Trebuchet MS" panose="020B0603020202020204" pitchFamily="34" charset="0"/>
              </a:rPr>
              <a:t> </a:t>
            </a:r>
            <a:r>
              <a:rPr lang="en-GB" sz="1000" i="1" spc="-30">
                <a:solidFill>
                  <a:schemeClr val="tx2"/>
                </a:solidFill>
                <a:latin typeface="Trebuchet MS" panose="020B0603020202020204" pitchFamily="34" charset="0"/>
              </a:rPr>
              <a:t>understand</a:t>
            </a:r>
            <a:r>
              <a:rPr lang="en-GB" sz="1000" i="1" spc="-30">
                <a:solidFill>
                  <a:srgbClr val="6C6C6C"/>
                </a:solidFill>
                <a:latin typeface="Trebuchet MS" panose="020B0603020202020204" pitchFamily="34" charset="0"/>
              </a:rPr>
              <a:t> what justifies the </a:t>
            </a:r>
            <a:r>
              <a:rPr lang="en-GB" sz="1000" i="1" spc="-30">
                <a:solidFill>
                  <a:schemeClr val="tx2"/>
                </a:solidFill>
                <a:latin typeface="Trebuchet MS" panose="020B0603020202020204" pitchFamily="34" charset="0"/>
              </a:rPr>
              <a:t>price</a:t>
            </a:r>
            <a:r>
              <a:rPr lang="en-GB" sz="1000" i="1" spc="-30">
                <a:solidFill>
                  <a:srgbClr val="6C6C6C"/>
                </a:solidFill>
                <a:latin typeface="Trebuchet MS" panose="020B0603020202020204" pitchFamily="34" charset="0"/>
              </a:rPr>
              <a:t> </a:t>
            </a:r>
            <a:r>
              <a:rPr lang="en-GB" sz="1000" i="1" spc="-30">
                <a:solidFill>
                  <a:schemeClr val="tx2"/>
                </a:solidFill>
                <a:latin typeface="Trebuchet MS" panose="020B0603020202020204" pitchFamily="34" charset="0"/>
              </a:rPr>
              <a:t>differences</a:t>
            </a:r>
            <a:r>
              <a:rPr lang="en-GB" sz="1000" i="1" spc="-30">
                <a:solidFill>
                  <a:srgbClr val="6C6C6C"/>
                </a:solidFill>
                <a:latin typeface="Trebuchet MS" panose="020B0603020202020204" pitchFamily="34" charset="0"/>
              </a:rPr>
              <a:t>”</a:t>
            </a:r>
          </a:p>
          <a:p>
            <a:pPr>
              <a:lnSpc>
                <a:spcPts val="1200"/>
              </a:lnSpc>
              <a:spcAft>
                <a:spcPts val="200"/>
              </a:spcAft>
              <a:defRPr/>
            </a:pPr>
            <a:r>
              <a:rPr lang="en-GB" sz="1000" spc="-50">
                <a:solidFill>
                  <a:srgbClr val="6C6C6C"/>
                </a:solidFill>
                <a:latin typeface="Trebuchet MS" panose="020B0603020202020204" pitchFamily="34" charset="0"/>
              </a:rPr>
              <a:t>Former Sales Director at </a:t>
            </a:r>
            <a:r>
              <a:rPr lang="en-GB" sz="1000" spc="-50" err="1">
                <a:solidFill>
                  <a:srgbClr val="6C6C6C"/>
                </a:solidFill>
                <a:latin typeface="Trebuchet MS" panose="020B0603020202020204" pitchFamily="34" charset="0"/>
              </a:rPr>
              <a:t>Creditsafe</a:t>
            </a:r>
            <a:r>
              <a:rPr lang="en-GB" sz="1000" spc="-50">
                <a:solidFill>
                  <a:srgbClr val="6C6C6C"/>
                </a:solidFill>
                <a:latin typeface="Trebuchet MS" panose="020B0603020202020204" pitchFamily="34" charset="0"/>
              </a:rPr>
              <a:t> and current Associate Director Sales at </a:t>
            </a:r>
            <a:r>
              <a:rPr lang="en-GB" sz="1000" spc="-50" err="1">
                <a:solidFill>
                  <a:srgbClr val="6C6C6C"/>
                </a:solidFill>
                <a:latin typeface="Trebuchet MS" panose="020B0603020202020204" pitchFamily="34" charset="0"/>
              </a:rPr>
              <a:t>BvD</a:t>
            </a:r>
            <a:endParaRPr lang="en-GB" sz="1000" spc="-50">
              <a:solidFill>
                <a:srgbClr val="6C6C6C"/>
              </a:solidFill>
              <a:latin typeface="Trebuchet MS" panose="020B0603020202020204" pitchFamily="34" charset="0"/>
            </a:endParaRPr>
          </a:p>
        </p:txBody>
      </p:sp>
      <p:sp>
        <p:nvSpPr>
          <p:cNvPr id="62" name="Freeform 663">
            <a:extLst>
              <a:ext uri="{FF2B5EF4-FFF2-40B4-BE49-F238E27FC236}">
                <a16:creationId xmlns:a16="http://schemas.microsoft.com/office/drawing/2014/main" id="{4E776CAC-79EE-4CAD-8303-CEACED0930E0}"/>
              </a:ext>
            </a:extLst>
          </p:cNvPr>
          <p:cNvSpPr>
            <a:spLocks noEditPoints="1"/>
          </p:cNvSpPr>
          <p:nvPr/>
        </p:nvSpPr>
        <p:spPr bwMode="auto">
          <a:xfrm>
            <a:off x="3955020" y="4403858"/>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63" name="Rectangle 62">
            <a:extLst>
              <a:ext uri="{FF2B5EF4-FFF2-40B4-BE49-F238E27FC236}">
                <a16:creationId xmlns:a16="http://schemas.microsoft.com/office/drawing/2014/main" id="{F7F3C4DD-1A7B-46DD-9B5D-3E35ECF210EB}"/>
              </a:ext>
            </a:extLst>
          </p:cNvPr>
          <p:cNvSpPr/>
          <p:nvPr/>
        </p:nvSpPr>
        <p:spPr bwMode="auto">
          <a:xfrm>
            <a:off x="259493" y="5220174"/>
            <a:ext cx="1296000" cy="126000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100" spc="-10">
              <a:solidFill>
                <a:schemeClr val="tx2"/>
              </a:solidFill>
              <a:latin typeface="Trebuchet MS" panose="020B0603020202020204" pitchFamily="34" charset="0"/>
            </a:endParaRPr>
          </a:p>
          <a:p>
            <a:pPr algn="ctr"/>
            <a:endParaRPr lang="en-GB" sz="1100" spc="-10">
              <a:solidFill>
                <a:schemeClr val="tx2"/>
              </a:solidFill>
              <a:latin typeface="Trebuchet MS" panose="020B0603020202020204" pitchFamily="34" charset="0"/>
            </a:endParaRPr>
          </a:p>
          <a:p>
            <a:pPr algn="ctr"/>
            <a:endParaRPr lang="en-GB" sz="1100" b="0" cap="none" spc="-10" baseline="0" noProof="0">
              <a:solidFill>
                <a:schemeClr val="tx2"/>
              </a:solidFill>
              <a:latin typeface="Trebuchet MS" panose="020B0603020202020204" pitchFamily="34" charset="0"/>
            </a:endParaRPr>
          </a:p>
          <a:p>
            <a:pPr algn="ctr"/>
            <a:r>
              <a:rPr lang="en-GB" sz="1100" b="0" cap="none" spc="-10" baseline="0" noProof="0">
                <a:solidFill>
                  <a:schemeClr val="tx2"/>
                </a:solidFill>
                <a:latin typeface="Trebuchet MS" panose="020B0603020202020204" pitchFamily="34" charset="0"/>
              </a:rPr>
              <a:t>Increasing needs for specific and detailed reports</a:t>
            </a:r>
          </a:p>
        </p:txBody>
      </p:sp>
      <p:sp>
        <p:nvSpPr>
          <p:cNvPr id="64" name="Rectangle 63">
            <a:extLst>
              <a:ext uri="{FF2B5EF4-FFF2-40B4-BE49-F238E27FC236}">
                <a16:creationId xmlns:a16="http://schemas.microsoft.com/office/drawing/2014/main" id="{E42A2199-6386-4A2A-B2ED-04E7BBA803DA}"/>
              </a:ext>
            </a:extLst>
          </p:cNvPr>
          <p:cNvSpPr/>
          <p:nvPr/>
        </p:nvSpPr>
        <p:spPr bwMode="auto">
          <a:xfrm>
            <a:off x="1668225" y="5220174"/>
            <a:ext cx="2216150" cy="1260000"/>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As the quality of the data is less perceived by the clients, </a:t>
            </a:r>
            <a:r>
              <a:rPr kumimoji="0" lang="en-GB" sz="1000" b="0" i="0" u="none" strike="noStrike" cap="none" normalizeH="0" baseline="0">
                <a:ln>
                  <a:noFill/>
                </a:ln>
                <a:solidFill>
                  <a:schemeClr val="tx2"/>
                </a:solidFill>
                <a:effectLst/>
                <a:latin typeface="Trebuchet MS" panose="020B0603020202020204" pitchFamily="34" charset="0"/>
              </a:rPr>
              <a:t>value</a:t>
            </a:r>
            <a:r>
              <a:rPr kumimoji="0" lang="en-GB" sz="1000" b="0" i="0" u="none" strike="noStrike" cap="none" normalizeH="0" baseline="0">
                <a:ln>
                  <a:noFill/>
                </a:ln>
                <a:solidFill>
                  <a:schemeClr val="tx1"/>
                </a:solidFill>
                <a:effectLst/>
                <a:latin typeface="Trebuchet MS" panose="020B0603020202020204" pitchFamily="34" charset="0"/>
              </a:rPr>
              <a:t> must come from all the </a:t>
            </a:r>
            <a:r>
              <a:rPr kumimoji="0" lang="en-GB" sz="1000" b="0" i="0" u="none" strike="noStrike" cap="none" normalizeH="0" baseline="0">
                <a:ln>
                  <a:noFill/>
                </a:ln>
                <a:solidFill>
                  <a:schemeClr val="tx2"/>
                </a:solidFill>
                <a:effectLst/>
                <a:latin typeface="Trebuchet MS" panose="020B0603020202020204" pitchFamily="34" charset="0"/>
              </a:rPr>
              <a:t>services</a:t>
            </a:r>
            <a:r>
              <a:rPr kumimoji="0" lang="en-GB" sz="1000" b="0" i="0" u="none" strike="noStrike" cap="none" normalizeH="0" baseline="0">
                <a:ln>
                  <a:noFill/>
                </a:ln>
                <a:solidFill>
                  <a:schemeClr val="tx1"/>
                </a:solidFill>
                <a:effectLst/>
                <a:latin typeface="Trebuchet MS" pitchFamily="34" charset="0"/>
              </a:rPr>
              <a:t> provided by Credit risk solutions</a:t>
            </a:r>
          </a:p>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itchFamily="34" charset="0"/>
              </a:rPr>
              <a:t>Depending on the potential risks, companies</a:t>
            </a:r>
            <a:r>
              <a:rPr lang="en-GB" sz="1000">
                <a:latin typeface="Trebuchet MS" panose="020B0603020202020204" pitchFamily="34" charset="0"/>
              </a:rPr>
              <a:t> </a:t>
            </a:r>
            <a:r>
              <a:rPr kumimoji="0" lang="en-GB" sz="1000" b="0" i="0" u="none" strike="noStrike" cap="none" normalizeH="0" baseline="0">
                <a:ln>
                  <a:noFill/>
                </a:ln>
                <a:solidFill>
                  <a:schemeClr val="tx1"/>
                </a:solidFill>
                <a:effectLst/>
                <a:latin typeface="Trebuchet MS" panose="020B0603020202020204" pitchFamily="34" charset="0"/>
              </a:rPr>
              <a:t>may ask for </a:t>
            </a:r>
            <a:r>
              <a:rPr kumimoji="0" lang="en-GB" sz="1000" b="0" i="0" u="none" strike="noStrike" cap="none" normalizeH="0" baseline="0">
                <a:ln>
                  <a:noFill/>
                </a:ln>
                <a:solidFill>
                  <a:schemeClr val="tx2"/>
                </a:solidFill>
                <a:effectLst/>
                <a:latin typeface="Trebuchet MS" panose="020B0603020202020204" pitchFamily="34" charset="0"/>
              </a:rPr>
              <a:t>more detailed analysis</a:t>
            </a:r>
            <a:r>
              <a:rPr kumimoji="0" lang="en-GB" sz="1000" b="0" i="0" u="none" strike="noStrike" cap="none" normalizeH="0" baseline="0">
                <a:ln>
                  <a:noFill/>
                </a:ln>
                <a:solidFill>
                  <a:schemeClr val="tx1"/>
                </a:solidFill>
                <a:effectLst/>
                <a:latin typeface="Trebuchet MS" panose="020B0603020202020204" pitchFamily="34" charset="0"/>
              </a:rPr>
              <a:t>, especially in case of litigation</a:t>
            </a:r>
          </a:p>
        </p:txBody>
      </p:sp>
      <p:pic>
        <p:nvPicPr>
          <p:cNvPr id="27" name="Graphic 26">
            <a:extLst>
              <a:ext uri="{FF2B5EF4-FFF2-40B4-BE49-F238E27FC236}">
                <a16:creationId xmlns:a16="http://schemas.microsoft.com/office/drawing/2014/main" id="{026A1C24-8F34-45BD-848C-D9CC10949D46}"/>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3090"/>
          <a:stretch/>
        </p:blipFill>
        <p:spPr>
          <a:xfrm>
            <a:off x="765301" y="5296899"/>
            <a:ext cx="284384" cy="308946"/>
          </a:xfrm>
          <a:prstGeom prst="rect">
            <a:avLst/>
          </a:prstGeom>
        </p:spPr>
      </p:pic>
      <p:pic>
        <p:nvPicPr>
          <p:cNvPr id="29" name="Graphic 28">
            <a:extLst>
              <a:ext uri="{FF2B5EF4-FFF2-40B4-BE49-F238E27FC236}">
                <a16:creationId xmlns:a16="http://schemas.microsoft.com/office/drawing/2014/main" id="{2A3DB6A5-DAB1-4FF0-B86F-E82766EE5618}"/>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b="24839"/>
          <a:stretch/>
        </p:blipFill>
        <p:spPr>
          <a:xfrm>
            <a:off x="755745" y="4053859"/>
            <a:ext cx="303496" cy="285137"/>
          </a:xfrm>
          <a:prstGeom prst="rect">
            <a:avLst/>
          </a:prstGeom>
        </p:spPr>
      </p:pic>
      <p:cxnSp>
        <p:nvCxnSpPr>
          <p:cNvPr id="65" name="Connecteur droit 31">
            <a:extLst>
              <a:ext uri="{FF2B5EF4-FFF2-40B4-BE49-F238E27FC236}">
                <a16:creationId xmlns:a16="http://schemas.microsoft.com/office/drawing/2014/main" id="{B3DA411E-8427-4775-B590-D73E2E3B718C}"/>
              </a:ext>
            </a:extLst>
          </p:cNvPr>
          <p:cNvCxnSpPr>
            <a:cxnSpLocks/>
          </p:cNvCxnSpPr>
          <p:nvPr/>
        </p:nvCxnSpPr>
        <p:spPr bwMode="auto">
          <a:xfrm>
            <a:off x="3966094" y="5142640"/>
            <a:ext cx="5724957" cy="0"/>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67" name="Freeform 663">
            <a:extLst>
              <a:ext uri="{FF2B5EF4-FFF2-40B4-BE49-F238E27FC236}">
                <a16:creationId xmlns:a16="http://schemas.microsoft.com/office/drawing/2014/main" id="{5D1758EE-AF21-4B1F-B21D-A2BA07013924}"/>
              </a:ext>
            </a:extLst>
          </p:cNvPr>
          <p:cNvSpPr>
            <a:spLocks noEditPoints="1"/>
          </p:cNvSpPr>
          <p:nvPr/>
        </p:nvSpPr>
        <p:spPr bwMode="auto">
          <a:xfrm>
            <a:off x="3955020" y="5724174"/>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72" name="Freeform 663">
            <a:extLst>
              <a:ext uri="{FF2B5EF4-FFF2-40B4-BE49-F238E27FC236}">
                <a16:creationId xmlns:a16="http://schemas.microsoft.com/office/drawing/2014/main" id="{39FE6D2A-DCCE-4CD1-8732-7C33C98296DD}"/>
              </a:ext>
            </a:extLst>
          </p:cNvPr>
          <p:cNvSpPr>
            <a:spLocks noEditPoints="1"/>
          </p:cNvSpPr>
          <p:nvPr/>
        </p:nvSpPr>
        <p:spPr bwMode="auto">
          <a:xfrm>
            <a:off x="6914999" y="5724174"/>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42" name="Rectangle 41">
            <a:extLst>
              <a:ext uri="{FF2B5EF4-FFF2-40B4-BE49-F238E27FC236}">
                <a16:creationId xmlns:a16="http://schemas.microsoft.com/office/drawing/2014/main" id="{8C8F4D1A-1F41-44CC-9C74-19FD8F4D795D}"/>
              </a:ext>
            </a:extLst>
          </p:cNvPr>
          <p:cNvSpPr/>
          <p:nvPr/>
        </p:nvSpPr>
        <p:spPr bwMode="auto">
          <a:xfrm>
            <a:off x="7059647" y="2758312"/>
            <a:ext cx="2592000" cy="10800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200"/>
              </a:lnSpc>
              <a:spcAft>
                <a:spcPts val="200"/>
              </a:spcAft>
              <a:defRPr/>
            </a:pPr>
            <a:r>
              <a:rPr lang="en-GB" sz="1000" i="1" spc="-30">
                <a:solidFill>
                  <a:srgbClr val="6C6C6C"/>
                </a:solidFill>
                <a:latin typeface="Trebuchet MS" panose="020B0603020202020204" pitchFamily="34" charset="0"/>
              </a:rPr>
              <a:t>“</a:t>
            </a:r>
            <a:r>
              <a:rPr lang="en-GB" sz="1000" i="1" spc="-30" err="1">
                <a:solidFill>
                  <a:schemeClr val="tx2"/>
                </a:solidFill>
                <a:latin typeface="Trebuchet MS" panose="020B0603020202020204" pitchFamily="34" charset="0"/>
              </a:rPr>
              <a:t>Creditsafe</a:t>
            </a:r>
            <a:r>
              <a:rPr lang="en-GB" sz="1000" i="1" spc="-30">
                <a:solidFill>
                  <a:srgbClr val="6C6C6C"/>
                </a:solidFill>
                <a:latin typeface="Trebuchet MS" panose="020B0603020202020204" pitchFamily="34" charset="0"/>
              </a:rPr>
              <a:t> was very active and aggressive with its low-price policy but seems to have completely</a:t>
            </a:r>
            <a:r>
              <a:rPr lang="en-GB" sz="1000" i="1" spc="-30">
                <a:solidFill>
                  <a:schemeClr val="tx2"/>
                </a:solidFill>
                <a:latin typeface="Trebuchet MS" panose="020B0603020202020204" pitchFamily="34" charset="0"/>
              </a:rPr>
              <a:t> fall under the radar </a:t>
            </a:r>
            <a:r>
              <a:rPr lang="en-GB" sz="1000" i="1" spc="-30">
                <a:solidFill>
                  <a:srgbClr val="6C6C6C"/>
                </a:solidFill>
                <a:latin typeface="Trebuchet MS" panose="020B0603020202020204" pitchFamily="34" charset="0"/>
              </a:rPr>
              <a:t>”</a:t>
            </a:r>
          </a:p>
          <a:p>
            <a:pPr>
              <a:lnSpc>
                <a:spcPts val="1200"/>
              </a:lnSpc>
              <a:spcAft>
                <a:spcPts val="200"/>
              </a:spcAft>
              <a:defRPr/>
            </a:pPr>
            <a:r>
              <a:rPr lang="en-GB" sz="1000" spc="-50">
                <a:solidFill>
                  <a:srgbClr val="6C6C6C"/>
                </a:solidFill>
                <a:latin typeface="Trebuchet MS" panose="020B0603020202020204" pitchFamily="34" charset="0"/>
              </a:rPr>
              <a:t>Director Marketing, Consulting and Finance at Bisnode Belgium</a:t>
            </a:r>
          </a:p>
        </p:txBody>
      </p:sp>
      <p:sp>
        <p:nvSpPr>
          <p:cNvPr id="44" name="Freeform 663">
            <a:extLst>
              <a:ext uri="{FF2B5EF4-FFF2-40B4-BE49-F238E27FC236}">
                <a16:creationId xmlns:a16="http://schemas.microsoft.com/office/drawing/2014/main" id="{89617990-DC36-48BE-9B6C-BC790202E434}"/>
              </a:ext>
            </a:extLst>
          </p:cNvPr>
          <p:cNvSpPr>
            <a:spLocks noEditPoints="1"/>
          </p:cNvSpPr>
          <p:nvPr/>
        </p:nvSpPr>
        <p:spPr bwMode="auto">
          <a:xfrm>
            <a:off x="6914999" y="3172312"/>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45" name="Rectangle 44">
            <a:extLst>
              <a:ext uri="{FF2B5EF4-FFF2-40B4-BE49-F238E27FC236}">
                <a16:creationId xmlns:a16="http://schemas.microsoft.com/office/drawing/2014/main" id="{3D1EE1DA-FC43-4488-AD01-303BEFBFE74E}"/>
              </a:ext>
            </a:extLst>
          </p:cNvPr>
          <p:cNvSpPr/>
          <p:nvPr/>
        </p:nvSpPr>
        <p:spPr bwMode="auto">
          <a:xfrm>
            <a:off x="7059647" y="3989858"/>
            <a:ext cx="2592000" cy="10800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200"/>
              </a:lnSpc>
              <a:spcAft>
                <a:spcPts val="200"/>
              </a:spcAft>
              <a:defRPr/>
            </a:pPr>
            <a:r>
              <a:rPr lang="en-GB" sz="1000" i="1" spc="-30">
                <a:solidFill>
                  <a:srgbClr val="6C6C6C"/>
                </a:solidFill>
                <a:latin typeface="Trebuchet MS" panose="020B0603020202020204" pitchFamily="34" charset="0"/>
              </a:rPr>
              <a:t>“</a:t>
            </a:r>
            <a:r>
              <a:rPr lang="en-GB" sz="1000" i="1" spc="-30">
                <a:solidFill>
                  <a:schemeClr val="tx2"/>
                </a:solidFill>
                <a:latin typeface="Trebuchet MS" panose="020B0603020202020204" pitchFamily="34" charset="0"/>
              </a:rPr>
              <a:t>Our data solutions have always had an edge</a:t>
            </a:r>
            <a:r>
              <a:rPr lang="en-GB" sz="1000" i="1" spc="-30">
                <a:solidFill>
                  <a:srgbClr val="6C6C6C"/>
                </a:solidFill>
                <a:latin typeface="Trebuchet MS" panose="020B0603020202020204" pitchFamily="34" charset="0"/>
              </a:rPr>
              <a:t>, and in the current times of crisis, our clients recognize this edge which makes </a:t>
            </a:r>
            <a:r>
              <a:rPr lang="en-GB" sz="1000" i="1" spc="-30" err="1">
                <a:solidFill>
                  <a:srgbClr val="6C6C6C"/>
                </a:solidFill>
                <a:latin typeface="Trebuchet MS" panose="020B0603020202020204" pitchFamily="34" charset="0"/>
              </a:rPr>
              <a:t>Altares</a:t>
            </a:r>
            <a:r>
              <a:rPr lang="en-GB" sz="1000" i="1" spc="-30">
                <a:solidFill>
                  <a:srgbClr val="6C6C6C"/>
                </a:solidFill>
                <a:latin typeface="Trebuchet MS" panose="020B0603020202020204" pitchFamily="34" charset="0"/>
              </a:rPr>
              <a:t> a trustworthy reference”</a:t>
            </a:r>
          </a:p>
          <a:p>
            <a:pPr>
              <a:lnSpc>
                <a:spcPts val="1200"/>
              </a:lnSpc>
              <a:spcAft>
                <a:spcPts val="200"/>
              </a:spcAft>
              <a:defRPr/>
            </a:pPr>
            <a:r>
              <a:rPr lang="en-GB" sz="1000" spc="-50">
                <a:solidFill>
                  <a:srgbClr val="6C6C6C"/>
                </a:solidFill>
                <a:latin typeface="Trebuchet MS" panose="020B0603020202020204" pitchFamily="34" charset="0"/>
              </a:rPr>
              <a:t>CEO at </a:t>
            </a:r>
            <a:r>
              <a:rPr lang="en-GB" sz="1000" spc="-50" err="1">
                <a:solidFill>
                  <a:srgbClr val="6C6C6C"/>
                </a:solidFill>
                <a:latin typeface="Trebuchet MS" panose="020B0603020202020204" pitchFamily="34" charset="0"/>
              </a:rPr>
              <a:t>Altares</a:t>
            </a:r>
            <a:endParaRPr lang="en-GB" sz="1000" spc="-50">
              <a:solidFill>
                <a:srgbClr val="6C6C6C"/>
              </a:solidFill>
              <a:latin typeface="Trebuchet MS" panose="020B0603020202020204" pitchFamily="34" charset="0"/>
            </a:endParaRPr>
          </a:p>
        </p:txBody>
      </p:sp>
      <p:sp>
        <p:nvSpPr>
          <p:cNvPr id="46" name="Freeform 663">
            <a:extLst>
              <a:ext uri="{FF2B5EF4-FFF2-40B4-BE49-F238E27FC236}">
                <a16:creationId xmlns:a16="http://schemas.microsoft.com/office/drawing/2014/main" id="{E5FF68FF-032A-46B6-801F-6896E7CF6BA6}"/>
              </a:ext>
            </a:extLst>
          </p:cNvPr>
          <p:cNvSpPr>
            <a:spLocks noEditPoints="1"/>
          </p:cNvSpPr>
          <p:nvPr/>
        </p:nvSpPr>
        <p:spPr bwMode="auto">
          <a:xfrm>
            <a:off x="6914999" y="4403858"/>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7" name="Ellipse 6">
            <a:extLst>
              <a:ext uri="{FF2B5EF4-FFF2-40B4-BE49-F238E27FC236}">
                <a16:creationId xmlns:a16="http://schemas.microsoft.com/office/drawing/2014/main" id="{CC84AFC3-61BD-430F-8F53-F8BC6B654CBF}"/>
              </a:ext>
            </a:extLst>
          </p:cNvPr>
          <p:cNvSpPr/>
          <p:nvPr/>
        </p:nvSpPr>
        <p:spPr bwMode="auto">
          <a:xfrm>
            <a:off x="273000" y="4004493"/>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bg1"/>
                </a:solidFill>
                <a:latin typeface="Trebuchet MS" panose="020B0603020202020204" pitchFamily="34" charset="0"/>
              </a:rPr>
              <a:t>7</a:t>
            </a:r>
            <a:endParaRPr kumimoji="0" lang="en-GB" sz="1200" b="0" i="0" u="none" strike="noStrike" cap="none" normalizeH="0" baseline="0">
              <a:ln>
                <a:noFill/>
              </a:ln>
              <a:solidFill>
                <a:schemeClr val="bg1"/>
              </a:solidFill>
              <a:effectLst/>
              <a:latin typeface="Trebuchet MS" panose="020B0603020202020204" pitchFamily="34" charset="0"/>
            </a:endParaRPr>
          </a:p>
        </p:txBody>
      </p:sp>
      <p:sp>
        <p:nvSpPr>
          <p:cNvPr id="57" name="Ellipse 56">
            <a:extLst>
              <a:ext uri="{FF2B5EF4-FFF2-40B4-BE49-F238E27FC236}">
                <a16:creationId xmlns:a16="http://schemas.microsoft.com/office/drawing/2014/main" id="{707BA953-F3E8-4ADE-A22C-50CAD44FBB73}"/>
              </a:ext>
            </a:extLst>
          </p:cNvPr>
          <p:cNvSpPr/>
          <p:nvPr/>
        </p:nvSpPr>
        <p:spPr bwMode="auto">
          <a:xfrm>
            <a:off x="273000" y="5231720"/>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bg1"/>
                </a:solidFill>
                <a:latin typeface="Trebuchet MS" panose="020B0603020202020204" pitchFamily="34" charset="0"/>
              </a:rPr>
              <a:t>8</a:t>
            </a:r>
            <a:endParaRPr kumimoji="0" lang="en-GB" sz="1200" b="0" i="0" u="none" strike="noStrike" cap="none" normalizeH="0" baseline="0">
              <a:ln>
                <a:noFill/>
              </a:ln>
              <a:solidFill>
                <a:schemeClr val="bg1"/>
              </a:solidFill>
              <a:effectLst/>
              <a:latin typeface="Trebuchet MS" panose="020B0603020202020204" pitchFamily="34" charset="0"/>
            </a:endParaRPr>
          </a:p>
        </p:txBody>
      </p:sp>
      <p:grpSp>
        <p:nvGrpSpPr>
          <p:cNvPr id="60" name="Groupe 59">
            <a:extLst>
              <a:ext uri="{FF2B5EF4-FFF2-40B4-BE49-F238E27FC236}">
                <a16:creationId xmlns:a16="http://schemas.microsoft.com/office/drawing/2014/main" id="{CEF167B1-9519-4F5E-9C48-A874C0263FD3}"/>
              </a:ext>
            </a:extLst>
          </p:cNvPr>
          <p:cNvGrpSpPr/>
          <p:nvPr/>
        </p:nvGrpSpPr>
        <p:grpSpPr>
          <a:xfrm>
            <a:off x="8448150" y="-11528"/>
            <a:ext cx="1435548" cy="588143"/>
            <a:chOff x="8448150" y="-11528"/>
            <a:chExt cx="1435548" cy="588143"/>
          </a:xfrm>
        </p:grpSpPr>
        <p:grpSp>
          <p:nvGrpSpPr>
            <p:cNvPr id="68" name="Groupe 67">
              <a:extLst>
                <a:ext uri="{FF2B5EF4-FFF2-40B4-BE49-F238E27FC236}">
                  <a16:creationId xmlns:a16="http://schemas.microsoft.com/office/drawing/2014/main" id="{B8C47BC8-ACCE-472F-BA00-0A2DA9C748F8}"/>
                </a:ext>
              </a:extLst>
            </p:cNvPr>
            <p:cNvGrpSpPr/>
            <p:nvPr/>
          </p:nvGrpSpPr>
          <p:grpSpPr>
            <a:xfrm>
              <a:off x="8448150" y="-11528"/>
              <a:ext cx="1435548" cy="555653"/>
              <a:chOff x="8448150" y="-11528"/>
              <a:chExt cx="1435548" cy="555653"/>
            </a:xfrm>
          </p:grpSpPr>
          <p:sp>
            <p:nvSpPr>
              <p:cNvPr id="70" name="Rectangle : coins arrondis 199">
                <a:extLst>
                  <a:ext uri="{FF2B5EF4-FFF2-40B4-BE49-F238E27FC236}">
                    <a16:creationId xmlns:a16="http://schemas.microsoft.com/office/drawing/2014/main" id="{A0892656-F350-48FE-84CF-60C643800797}"/>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3" name="Rectangle : coins arrondis 200">
                <a:extLst>
                  <a:ext uri="{FF2B5EF4-FFF2-40B4-BE49-F238E27FC236}">
                    <a16:creationId xmlns:a16="http://schemas.microsoft.com/office/drawing/2014/main" id="{665882C5-D0C5-4043-8E2A-3A8552CE702B}"/>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4" name="Rectangle : coins arrondis 201">
                <a:extLst>
                  <a:ext uri="{FF2B5EF4-FFF2-40B4-BE49-F238E27FC236}">
                    <a16:creationId xmlns:a16="http://schemas.microsoft.com/office/drawing/2014/main" id="{9A0A2016-226F-4D47-9965-3EA56BDB386C}"/>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5" name="ZoneTexte 18">
                <a:extLst>
                  <a:ext uri="{FF2B5EF4-FFF2-40B4-BE49-F238E27FC236}">
                    <a16:creationId xmlns:a16="http://schemas.microsoft.com/office/drawing/2014/main" id="{6D28E464-60EE-42B7-ADF3-247D93E8957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76" name="Graphique 128" descr="Jauge">
                <a:extLst>
                  <a:ext uri="{FF2B5EF4-FFF2-40B4-BE49-F238E27FC236}">
                    <a16:creationId xmlns:a16="http://schemas.microsoft.com/office/drawing/2014/main" id="{D5485693-DB7F-41FC-8ADA-FCBDCFC063D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553764" y="187516"/>
                <a:ext cx="234953" cy="218224"/>
              </a:xfrm>
              <a:prstGeom prst="rect">
                <a:avLst/>
              </a:prstGeom>
              <a:effectLst/>
            </p:spPr>
          </p:pic>
          <p:pic>
            <p:nvPicPr>
              <p:cNvPr id="77" name="Graphique 90" descr="Poignée de main">
                <a:extLst>
                  <a:ext uri="{FF2B5EF4-FFF2-40B4-BE49-F238E27FC236}">
                    <a16:creationId xmlns:a16="http://schemas.microsoft.com/office/drawing/2014/main" id="{F8F96408-F1F8-4BDB-B823-B6CC61559E6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960868" y="152880"/>
                <a:ext cx="256313" cy="287496"/>
              </a:xfrm>
              <a:prstGeom prst="rect">
                <a:avLst/>
              </a:prstGeom>
              <a:effectLst/>
            </p:spPr>
          </p:pic>
          <p:pic>
            <p:nvPicPr>
              <p:cNvPr id="78" name="Graphique 74" descr="Mégaphone">
                <a:extLst>
                  <a:ext uri="{FF2B5EF4-FFF2-40B4-BE49-F238E27FC236}">
                    <a16:creationId xmlns:a16="http://schemas.microsoft.com/office/drawing/2014/main" id="{B9A0492C-E121-4A73-8F90-21B387AF98D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389331" y="181519"/>
                <a:ext cx="233011" cy="216420"/>
              </a:xfrm>
              <a:prstGeom prst="rect">
                <a:avLst/>
              </a:prstGeom>
              <a:effectLst/>
            </p:spPr>
          </p:pic>
          <p:pic>
            <p:nvPicPr>
              <p:cNvPr id="79" name="Picture 2" descr="Drapeau France">
                <a:extLst>
                  <a:ext uri="{FF2B5EF4-FFF2-40B4-BE49-F238E27FC236}">
                    <a16:creationId xmlns:a16="http://schemas.microsoft.com/office/drawing/2014/main" id="{17873A8D-DD0B-47FF-9015-050D1ED98F26}"/>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80" name="Picture 2" descr="5 ft x 3 ft 150 x 90 cm-DRAPEAU BELGE Belgique 100% Polyester ...">
                <a:extLst>
                  <a:ext uri="{FF2B5EF4-FFF2-40B4-BE49-F238E27FC236}">
                    <a16:creationId xmlns:a16="http://schemas.microsoft.com/office/drawing/2014/main" id="{8F1798A4-3FB7-4DF1-A1A9-38E25D1F2B46}"/>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81" name="Picture 2 - 1" descr="Drapeau des Pays-Bas — Wikipédia">
                <a:extLst>
                  <a:ext uri="{FF2B5EF4-FFF2-40B4-BE49-F238E27FC236}">
                    <a16:creationId xmlns:a16="http://schemas.microsoft.com/office/drawing/2014/main" id="{05571D3A-6C1A-470D-9AEE-1DE267C7CB0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2" name="Picture 2 - 2" descr="Drapeau du Luxembourg">
                <a:extLst>
                  <a:ext uri="{FF2B5EF4-FFF2-40B4-BE49-F238E27FC236}">
                    <a16:creationId xmlns:a16="http://schemas.microsoft.com/office/drawing/2014/main" id="{5AD64874-2B7E-4C02-B377-8AF646055EA6}"/>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69" name="ZoneTexte 18">
              <a:extLst>
                <a:ext uri="{FF2B5EF4-FFF2-40B4-BE49-F238E27FC236}">
                  <a16:creationId xmlns:a16="http://schemas.microsoft.com/office/drawing/2014/main" id="{73C146B8-7E53-4356-9347-452B928583EF}"/>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redit &amp; financial risk</a:t>
              </a:r>
            </a:p>
          </p:txBody>
        </p:sp>
      </p:grpSp>
      <p:sp>
        <p:nvSpPr>
          <p:cNvPr id="56" name="ZoneTexte 55">
            <a:extLst>
              <a:ext uri="{FF2B5EF4-FFF2-40B4-BE49-F238E27FC236}">
                <a16:creationId xmlns:a16="http://schemas.microsoft.com/office/drawing/2014/main" id="{6E86E7DD-0B76-4CC7-8F0F-0B9F08842249}"/>
              </a:ext>
            </a:extLst>
          </p:cNvPr>
          <p:cNvSpPr txBox="1"/>
          <p:nvPr/>
        </p:nvSpPr>
        <p:spPr>
          <a:xfrm>
            <a:off x="8470051" y="488823"/>
            <a:ext cx="1310675" cy="200055"/>
          </a:xfrm>
          <a:prstGeom prst="rect">
            <a:avLst/>
          </a:prstGeom>
          <a:noFill/>
        </p:spPr>
        <p:txBody>
          <a:bodyPr wrap="square" rtlCol="0">
            <a:spAutoFit/>
          </a:bodyPr>
          <a:lstStyle/>
          <a:p>
            <a:pPr algn="ctr"/>
            <a:r>
              <a:rPr lang="en-GB" sz="700" i="1">
                <a:solidFill>
                  <a:schemeClr val="bg2"/>
                </a:solidFill>
                <a:latin typeface="Trebuchet MS" panose="020B0603020202020204" pitchFamily="34" charset="0"/>
              </a:rPr>
              <a:t>Underlying factors</a:t>
            </a:r>
          </a:p>
        </p:txBody>
      </p:sp>
      <p:sp>
        <p:nvSpPr>
          <p:cNvPr id="83" name="Ellipse 82">
            <a:extLst>
              <a:ext uri="{FF2B5EF4-FFF2-40B4-BE49-F238E27FC236}">
                <a16:creationId xmlns:a16="http://schemas.microsoft.com/office/drawing/2014/main" id="{477B3B29-88DD-470A-B5A4-9BB19E9B83D9}"/>
              </a:ext>
            </a:extLst>
          </p:cNvPr>
          <p:cNvSpPr/>
          <p:nvPr/>
        </p:nvSpPr>
        <p:spPr bwMode="auto">
          <a:xfrm>
            <a:off x="8735770"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1</a:t>
            </a:r>
          </a:p>
        </p:txBody>
      </p:sp>
      <p:sp>
        <p:nvSpPr>
          <p:cNvPr id="84" name="Ellipse 83">
            <a:extLst>
              <a:ext uri="{FF2B5EF4-FFF2-40B4-BE49-F238E27FC236}">
                <a16:creationId xmlns:a16="http://schemas.microsoft.com/office/drawing/2014/main" id="{3F196E23-D905-4555-8359-F6B1887ACBE9}"/>
              </a:ext>
            </a:extLst>
          </p:cNvPr>
          <p:cNvSpPr/>
          <p:nvPr/>
        </p:nvSpPr>
        <p:spPr bwMode="auto">
          <a:xfrm>
            <a:off x="8427012" y="655133"/>
            <a:ext cx="291451" cy="104005"/>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b="1" err="1">
                <a:solidFill>
                  <a:schemeClr val="bg1"/>
                </a:solidFill>
                <a:latin typeface="Trebuchet MS" panose="020B0603020202020204" pitchFamily="34" charset="0"/>
              </a:rPr>
              <a:t>Covid</a:t>
            </a:r>
            <a:endParaRPr kumimoji="0" lang="en-GB" sz="600" b="1" i="0" u="none" strike="noStrike" cap="none" normalizeH="0" baseline="0">
              <a:ln>
                <a:noFill/>
              </a:ln>
              <a:solidFill>
                <a:schemeClr val="bg1"/>
              </a:solidFill>
              <a:effectLst/>
              <a:latin typeface="Trebuchet MS" panose="020B0603020202020204" pitchFamily="34" charset="0"/>
            </a:endParaRPr>
          </a:p>
        </p:txBody>
      </p:sp>
      <p:sp>
        <p:nvSpPr>
          <p:cNvPr id="85" name="Ellipse 84">
            <a:extLst>
              <a:ext uri="{FF2B5EF4-FFF2-40B4-BE49-F238E27FC236}">
                <a16:creationId xmlns:a16="http://schemas.microsoft.com/office/drawing/2014/main" id="{7136B2DF-29C6-43BC-8183-06DFD51EE1B9}"/>
              </a:ext>
            </a:extLst>
          </p:cNvPr>
          <p:cNvSpPr/>
          <p:nvPr/>
        </p:nvSpPr>
        <p:spPr bwMode="auto">
          <a:xfrm>
            <a:off x="9467750" y="645664"/>
            <a:ext cx="122942" cy="122942"/>
          </a:xfrm>
          <a:prstGeom prst="ellipse">
            <a:avLst/>
          </a:prstGeom>
          <a:solidFill>
            <a:schemeClr val="tx2">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a:solidFill>
                  <a:schemeClr val="bg1"/>
                </a:solidFill>
                <a:latin typeface="Trebuchet MS" panose="020B0603020202020204" pitchFamily="34" charset="0"/>
              </a:rPr>
              <a:t>6</a:t>
            </a:r>
            <a:endParaRPr kumimoji="0" lang="en-GB" sz="800" b="1" i="0" u="none" strike="noStrike" cap="none" normalizeH="0" baseline="0">
              <a:ln>
                <a:noFill/>
              </a:ln>
              <a:solidFill>
                <a:schemeClr val="bg1"/>
              </a:solidFill>
              <a:effectLst/>
              <a:latin typeface="Trebuchet MS" panose="020B0603020202020204" pitchFamily="34" charset="0"/>
            </a:endParaRPr>
          </a:p>
        </p:txBody>
      </p:sp>
      <p:sp>
        <p:nvSpPr>
          <p:cNvPr id="86" name="Ellipse 85">
            <a:extLst>
              <a:ext uri="{FF2B5EF4-FFF2-40B4-BE49-F238E27FC236}">
                <a16:creationId xmlns:a16="http://schemas.microsoft.com/office/drawing/2014/main" id="{20D7EB2E-C4DB-4CB4-8537-72FD4730645B}"/>
              </a:ext>
            </a:extLst>
          </p:cNvPr>
          <p:cNvSpPr/>
          <p:nvPr/>
        </p:nvSpPr>
        <p:spPr bwMode="auto">
          <a:xfrm>
            <a:off x="9614146" y="645664"/>
            <a:ext cx="122942" cy="122942"/>
          </a:xfrm>
          <a:prstGeom prst="ellipse">
            <a:avLst/>
          </a:prstGeom>
          <a:solidFill>
            <a:schemeClr val="tx2">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a:solidFill>
                  <a:schemeClr val="bg1"/>
                </a:solidFill>
                <a:latin typeface="Trebuchet MS" panose="020B0603020202020204" pitchFamily="34" charset="0"/>
              </a:rPr>
              <a:t>7</a:t>
            </a:r>
            <a:endParaRPr kumimoji="0" lang="en-GB" sz="800" b="1" i="0" u="none" strike="noStrike" cap="none" normalizeH="0" baseline="0">
              <a:ln>
                <a:noFill/>
              </a:ln>
              <a:solidFill>
                <a:schemeClr val="bg1"/>
              </a:solidFill>
              <a:effectLst/>
              <a:latin typeface="Trebuchet MS" panose="020B0603020202020204" pitchFamily="34" charset="0"/>
            </a:endParaRPr>
          </a:p>
        </p:txBody>
      </p:sp>
      <p:sp>
        <p:nvSpPr>
          <p:cNvPr id="87" name="Ellipse 86">
            <a:extLst>
              <a:ext uri="{FF2B5EF4-FFF2-40B4-BE49-F238E27FC236}">
                <a16:creationId xmlns:a16="http://schemas.microsoft.com/office/drawing/2014/main" id="{A21474B6-A05B-499D-8267-68C04BAC058F}"/>
              </a:ext>
            </a:extLst>
          </p:cNvPr>
          <p:cNvSpPr/>
          <p:nvPr/>
        </p:nvSpPr>
        <p:spPr bwMode="auto">
          <a:xfrm>
            <a:off x="9760544" y="645664"/>
            <a:ext cx="122942" cy="122942"/>
          </a:xfrm>
          <a:prstGeom prst="ellipse">
            <a:avLst/>
          </a:prstGeom>
          <a:solidFill>
            <a:schemeClr val="tx2">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a:solidFill>
                  <a:schemeClr val="bg1"/>
                </a:solidFill>
                <a:latin typeface="Trebuchet MS" panose="020B0603020202020204" pitchFamily="34" charset="0"/>
              </a:rPr>
              <a:t>8</a:t>
            </a:r>
            <a:endParaRPr kumimoji="0" lang="en-GB" sz="800" b="1" i="0" u="none" strike="noStrike" cap="none" normalizeH="0" baseline="0">
              <a:ln>
                <a:noFill/>
              </a:ln>
              <a:solidFill>
                <a:schemeClr val="bg1"/>
              </a:solidFill>
              <a:effectLst/>
              <a:latin typeface="Trebuchet MS" panose="020B0603020202020204" pitchFamily="34" charset="0"/>
            </a:endParaRPr>
          </a:p>
        </p:txBody>
      </p:sp>
      <p:sp>
        <p:nvSpPr>
          <p:cNvPr id="88" name="Ellipse 87">
            <a:extLst>
              <a:ext uri="{FF2B5EF4-FFF2-40B4-BE49-F238E27FC236}">
                <a16:creationId xmlns:a16="http://schemas.microsoft.com/office/drawing/2014/main" id="{384E75C9-1ED2-4312-825E-BC332E6FFD17}"/>
              </a:ext>
            </a:extLst>
          </p:cNvPr>
          <p:cNvSpPr/>
          <p:nvPr/>
        </p:nvSpPr>
        <p:spPr bwMode="auto">
          <a:xfrm>
            <a:off x="9028562"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3</a:t>
            </a:r>
          </a:p>
        </p:txBody>
      </p:sp>
      <p:sp>
        <p:nvSpPr>
          <p:cNvPr id="89" name="Ellipse 88">
            <a:extLst>
              <a:ext uri="{FF2B5EF4-FFF2-40B4-BE49-F238E27FC236}">
                <a16:creationId xmlns:a16="http://schemas.microsoft.com/office/drawing/2014/main" id="{E9486731-54B6-4D65-B776-13D9A25C84F8}"/>
              </a:ext>
            </a:extLst>
          </p:cNvPr>
          <p:cNvSpPr/>
          <p:nvPr/>
        </p:nvSpPr>
        <p:spPr bwMode="auto">
          <a:xfrm>
            <a:off x="8882166"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2</a:t>
            </a:r>
          </a:p>
        </p:txBody>
      </p:sp>
      <p:sp>
        <p:nvSpPr>
          <p:cNvPr id="90" name="Ellipse 89">
            <a:extLst>
              <a:ext uri="{FF2B5EF4-FFF2-40B4-BE49-F238E27FC236}">
                <a16:creationId xmlns:a16="http://schemas.microsoft.com/office/drawing/2014/main" id="{36BC77C4-972C-4AE8-A426-D760192389BC}"/>
              </a:ext>
            </a:extLst>
          </p:cNvPr>
          <p:cNvSpPr/>
          <p:nvPr/>
        </p:nvSpPr>
        <p:spPr bwMode="auto">
          <a:xfrm>
            <a:off x="9321354" y="645664"/>
            <a:ext cx="122942" cy="122942"/>
          </a:xfrm>
          <a:prstGeom prst="ellipse">
            <a:avLst/>
          </a:prstGeom>
          <a:solidFill>
            <a:schemeClr val="tx2">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5</a:t>
            </a:r>
          </a:p>
        </p:txBody>
      </p:sp>
      <p:sp>
        <p:nvSpPr>
          <p:cNvPr id="91" name="Ellipse 90">
            <a:extLst>
              <a:ext uri="{FF2B5EF4-FFF2-40B4-BE49-F238E27FC236}">
                <a16:creationId xmlns:a16="http://schemas.microsoft.com/office/drawing/2014/main" id="{1647C520-535B-4630-9E73-BD11737498AC}"/>
              </a:ext>
            </a:extLst>
          </p:cNvPr>
          <p:cNvSpPr/>
          <p:nvPr/>
        </p:nvSpPr>
        <p:spPr bwMode="auto">
          <a:xfrm>
            <a:off x="9174958"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4</a:t>
            </a:r>
          </a:p>
        </p:txBody>
      </p:sp>
      <p:cxnSp>
        <p:nvCxnSpPr>
          <p:cNvPr id="92" name="Connecteur droit 31">
            <a:extLst>
              <a:ext uri="{FF2B5EF4-FFF2-40B4-BE49-F238E27FC236}">
                <a16:creationId xmlns:a16="http://schemas.microsoft.com/office/drawing/2014/main" id="{20B1BC06-B941-49AF-ABA9-73E0AE9E326B}"/>
              </a:ext>
            </a:extLst>
          </p:cNvPr>
          <p:cNvCxnSpPr>
            <a:cxnSpLocks/>
          </p:cNvCxnSpPr>
          <p:nvPr/>
        </p:nvCxnSpPr>
        <p:spPr bwMode="auto">
          <a:xfrm>
            <a:off x="3966094" y="2685721"/>
            <a:ext cx="5724957" cy="0"/>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93" name="Rectangle 92">
            <a:extLst>
              <a:ext uri="{FF2B5EF4-FFF2-40B4-BE49-F238E27FC236}">
                <a16:creationId xmlns:a16="http://schemas.microsoft.com/office/drawing/2014/main" id="{5D38EE70-FC91-4A4F-BCB0-EC8B72C54B6D}"/>
              </a:ext>
            </a:extLst>
          </p:cNvPr>
          <p:cNvSpPr/>
          <p:nvPr/>
        </p:nvSpPr>
        <p:spPr bwMode="auto">
          <a:xfrm>
            <a:off x="259493" y="1524624"/>
            <a:ext cx="1296000" cy="108000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100" b="0" cap="none" spc="-10" baseline="0" noProof="0">
              <a:solidFill>
                <a:schemeClr val="tx2"/>
              </a:solidFill>
              <a:latin typeface="Trebuchet MS" panose="020B0603020202020204" pitchFamily="34" charset="0"/>
            </a:endParaRPr>
          </a:p>
          <a:p>
            <a:pPr algn="ctr"/>
            <a:r>
              <a:rPr lang="en-GB" sz="1100" b="0" cap="none" spc="-10" baseline="0" noProof="0">
                <a:solidFill>
                  <a:schemeClr val="tx2"/>
                </a:solidFill>
                <a:latin typeface="Trebuchet MS" panose="020B0603020202020204" pitchFamily="34" charset="0"/>
              </a:rPr>
              <a:t>Increasing penetration rate for SMEs</a:t>
            </a:r>
          </a:p>
        </p:txBody>
      </p:sp>
      <p:sp>
        <p:nvSpPr>
          <p:cNvPr id="94" name="Rectangle 93">
            <a:extLst>
              <a:ext uri="{FF2B5EF4-FFF2-40B4-BE49-F238E27FC236}">
                <a16:creationId xmlns:a16="http://schemas.microsoft.com/office/drawing/2014/main" id="{7130BAF0-AD44-48D6-8154-D0C293F20831}"/>
              </a:ext>
            </a:extLst>
          </p:cNvPr>
          <p:cNvSpPr/>
          <p:nvPr/>
        </p:nvSpPr>
        <p:spPr bwMode="auto">
          <a:xfrm>
            <a:off x="1668225" y="1524624"/>
            <a:ext cx="2216150" cy="1080000"/>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l" defTabSz="914400" rtl="0" eaLnBrk="1" latinLnBrk="0" hangingPunct="1">
              <a:lnSpc>
                <a:spcPts val="1200"/>
              </a:lnSpc>
              <a:buClr>
                <a:schemeClr val="tx1"/>
              </a:buClr>
              <a:buSzPct val="90000"/>
            </a:pPr>
            <a:r>
              <a:rPr lang="en-GB" sz="1000" kern="1200" spc="-50" baseline="0" noProof="0">
                <a:solidFill>
                  <a:schemeClr val="dk1"/>
                </a:solidFill>
                <a:latin typeface="Trebuchet MS" panose="020B0603020202020204" pitchFamily="34" charset="0"/>
                <a:ea typeface="+mn-ea"/>
                <a:cs typeface="+mn-cs"/>
              </a:rPr>
              <a:t>When entering the market, </a:t>
            </a:r>
            <a:r>
              <a:rPr lang="en-GB" sz="1000" kern="1200" spc="-50" baseline="0" noProof="0" err="1">
                <a:solidFill>
                  <a:schemeClr val="dk1"/>
                </a:solidFill>
                <a:latin typeface="Trebuchet MS" panose="020B0603020202020204" pitchFamily="34" charset="0"/>
                <a:ea typeface="+mn-ea"/>
                <a:cs typeface="+mn-cs"/>
              </a:rPr>
              <a:t>Creditsafe</a:t>
            </a:r>
            <a:r>
              <a:rPr lang="en-GB" sz="1000" kern="1200" spc="-50" baseline="0" noProof="0">
                <a:solidFill>
                  <a:schemeClr val="dk1"/>
                </a:solidFill>
                <a:latin typeface="Trebuchet MS" panose="020B0603020202020204" pitchFamily="34" charset="0"/>
                <a:ea typeface="+mn-ea"/>
                <a:cs typeface="+mn-cs"/>
              </a:rPr>
              <a:t> started </a:t>
            </a:r>
            <a:r>
              <a:rPr lang="en-GB" sz="1000" kern="1200" spc="-50" baseline="0" noProof="0">
                <a:solidFill>
                  <a:schemeClr val="tx2"/>
                </a:solidFill>
                <a:latin typeface="Trebuchet MS" panose="020B0603020202020204" pitchFamily="34" charset="0"/>
                <a:ea typeface="+mn-ea"/>
                <a:cs typeface="+mn-cs"/>
              </a:rPr>
              <a:t>evangelizing the SMEs</a:t>
            </a:r>
            <a:r>
              <a:rPr lang="en-GB" sz="1000" kern="1200" spc="-50" baseline="0" noProof="0">
                <a:solidFill>
                  <a:schemeClr val="dk1"/>
                </a:solidFill>
                <a:latin typeface="Trebuchet MS" panose="020B0603020202020204" pitchFamily="34" charset="0"/>
                <a:ea typeface="+mn-ea"/>
                <a:cs typeface="+mn-cs"/>
              </a:rPr>
              <a:t> market on </a:t>
            </a:r>
            <a:r>
              <a:rPr lang="en-GB" sz="1000" spc="-50" err="1">
                <a:solidFill>
                  <a:schemeClr val="dk1"/>
                </a:solidFill>
                <a:latin typeface="Trebuchet MS" panose="020B0603020202020204" pitchFamily="34" charset="0"/>
                <a:cs typeface="+mn-cs"/>
              </a:rPr>
              <a:t>Altares</a:t>
            </a:r>
            <a:r>
              <a:rPr lang="en-GB" sz="1000" spc="-50">
                <a:solidFill>
                  <a:schemeClr val="dk1"/>
                </a:solidFill>
                <a:latin typeface="Trebuchet MS" panose="020B0603020202020204" pitchFamily="34" charset="0"/>
                <a:cs typeface="+mn-cs"/>
              </a:rPr>
              <a:t>’ </a:t>
            </a:r>
            <a:r>
              <a:rPr lang="en-GB" sz="1000" kern="1200" spc="-50" baseline="0" noProof="0">
                <a:solidFill>
                  <a:schemeClr val="dk1"/>
                </a:solidFill>
                <a:latin typeface="Trebuchet MS" panose="020B0603020202020204" pitchFamily="34" charset="0"/>
                <a:ea typeface="+mn-ea"/>
                <a:cs typeface="+mn-cs"/>
              </a:rPr>
              <a:t>geographies with aggressive pricing strategy</a:t>
            </a:r>
          </a:p>
          <a:p>
            <a:pPr algn="l" defTabSz="914400" rtl="0" eaLnBrk="1" latinLnBrk="0" hangingPunct="1">
              <a:lnSpc>
                <a:spcPts val="1200"/>
              </a:lnSpc>
              <a:buClr>
                <a:schemeClr val="tx1"/>
              </a:buClr>
              <a:buSzPct val="90000"/>
            </a:pPr>
            <a:r>
              <a:rPr lang="en-GB" sz="1000" kern="1200" spc="-20" noProof="0">
                <a:solidFill>
                  <a:schemeClr val="dk1"/>
                </a:solidFill>
                <a:latin typeface="Trebuchet MS" panose="020B0603020202020204" pitchFamily="34" charset="0"/>
                <a:ea typeface="+mn-ea"/>
                <a:cs typeface="+mn-cs"/>
              </a:rPr>
              <a:t>Still, this market segment </a:t>
            </a:r>
            <a:r>
              <a:rPr lang="en-GB" sz="1000" kern="1200" spc="-20" noProof="0">
                <a:solidFill>
                  <a:schemeClr val="tx2"/>
                </a:solidFill>
                <a:latin typeface="Trebuchet MS" panose="020B0603020202020204" pitchFamily="34" charset="0"/>
                <a:ea typeface="+mn-ea"/>
                <a:cs typeface="+mn-cs"/>
              </a:rPr>
              <a:t>is still quite unaddressed </a:t>
            </a:r>
            <a:r>
              <a:rPr lang="en-GB" sz="1000" kern="1200" spc="-20" noProof="0">
                <a:solidFill>
                  <a:schemeClr val="dk1"/>
                </a:solidFill>
                <a:latin typeface="Trebuchet MS" panose="020B0603020202020204" pitchFamily="34" charset="0"/>
                <a:ea typeface="+mn-ea"/>
                <a:cs typeface="+mn-cs"/>
              </a:rPr>
              <a:t>by BD&amp;A players</a:t>
            </a:r>
          </a:p>
        </p:txBody>
      </p:sp>
      <p:pic>
        <p:nvPicPr>
          <p:cNvPr id="95" name="Graphic 15">
            <a:extLst>
              <a:ext uri="{FF2B5EF4-FFF2-40B4-BE49-F238E27FC236}">
                <a16:creationId xmlns:a16="http://schemas.microsoft.com/office/drawing/2014/main" id="{B690CE20-6B41-464D-A7A1-550BEC7EE536}"/>
              </a:ext>
            </a:extLst>
          </p:cNvPr>
          <p:cNvPicPr>
            <a:picLocks noChangeAspect="1"/>
          </p:cNvPicPr>
          <p:nvPr/>
        </p:nvPicPr>
        <p:blipFill rotWithShape="1">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b="14441"/>
          <a:stretch/>
        </p:blipFill>
        <p:spPr>
          <a:xfrm>
            <a:off x="778455" y="1606129"/>
            <a:ext cx="258077" cy="276013"/>
          </a:xfrm>
          <a:prstGeom prst="rect">
            <a:avLst/>
          </a:prstGeom>
        </p:spPr>
      </p:pic>
      <p:sp>
        <p:nvSpPr>
          <p:cNvPr id="96" name="Rectangle 95">
            <a:extLst>
              <a:ext uri="{FF2B5EF4-FFF2-40B4-BE49-F238E27FC236}">
                <a16:creationId xmlns:a16="http://schemas.microsoft.com/office/drawing/2014/main" id="{55CBD20D-0B3B-4B7B-8531-B0D05CE5B4AF}"/>
              </a:ext>
            </a:extLst>
          </p:cNvPr>
          <p:cNvSpPr/>
          <p:nvPr/>
        </p:nvSpPr>
        <p:spPr bwMode="auto">
          <a:xfrm>
            <a:off x="4098863" y="1524624"/>
            <a:ext cx="2592000" cy="10800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200"/>
              </a:lnSpc>
              <a:spcAft>
                <a:spcPts val="200"/>
              </a:spcAft>
              <a:defRPr/>
            </a:pPr>
            <a:r>
              <a:rPr lang="en-GB" sz="1000" i="1">
                <a:solidFill>
                  <a:srgbClr val="6C6C6C"/>
                </a:solidFill>
                <a:latin typeface="Trebuchet MS" panose="020B0603020202020204" pitchFamily="34" charset="0"/>
              </a:rPr>
              <a:t>“There is a </a:t>
            </a:r>
            <a:r>
              <a:rPr lang="en-GB" sz="1000" i="1">
                <a:solidFill>
                  <a:schemeClr val="tx2"/>
                </a:solidFill>
                <a:latin typeface="Trebuchet MS" panose="020B0603020202020204" pitchFamily="34" charset="0"/>
              </a:rPr>
              <a:t>great opportunity </a:t>
            </a:r>
            <a:r>
              <a:rPr lang="en-GB" sz="1000" i="1">
                <a:solidFill>
                  <a:srgbClr val="6C6C6C"/>
                </a:solidFill>
                <a:latin typeface="Trebuchet MS" panose="020B0603020202020204" pitchFamily="34" charset="0"/>
              </a:rPr>
              <a:t>to address SMEs in B2B markets; only 5% of them are addressed today. The whole challenge lies in </a:t>
            </a:r>
            <a:r>
              <a:rPr lang="en-GB" sz="1000" i="1">
                <a:solidFill>
                  <a:schemeClr val="tx2"/>
                </a:solidFill>
                <a:latin typeface="Trebuchet MS" panose="020B0603020202020204" pitchFamily="34" charset="0"/>
              </a:rPr>
              <a:t>targeting the most profitable </a:t>
            </a:r>
            <a:r>
              <a:rPr lang="en-GB" sz="1000" i="1">
                <a:solidFill>
                  <a:srgbClr val="6C6C6C"/>
                </a:solidFill>
                <a:latin typeface="Trebuchet MS" panose="020B0603020202020204" pitchFamily="34" charset="0"/>
              </a:rPr>
              <a:t>ones”</a:t>
            </a:r>
          </a:p>
          <a:p>
            <a:pPr>
              <a:lnSpc>
                <a:spcPts val="1200"/>
              </a:lnSpc>
              <a:spcAft>
                <a:spcPts val="200"/>
              </a:spcAft>
              <a:defRPr/>
            </a:pPr>
            <a:r>
              <a:rPr lang="en-GB" sz="1000" spc="-50">
                <a:solidFill>
                  <a:srgbClr val="6C6C6C"/>
                </a:solidFill>
                <a:latin typeface="Trebuchet MS" panose="020B0603020202020204" pitchFamily="34" charset="0"/>
              </a:rPr>
              <a:t>M.D. France &amp; Belgium at </a:t>
            </a:r>
            <a:r>
              <a:rPr lang="en-GB" sz="1000" spc="-50" err="1">
                <a:solidFill>
                  <a:srgbClr val="6C6C6C"/>
                </a:solidFill>
                <a:latin typeface="Trebuchet MS" panose="020B0603020202020204" pitchFamily="34" charset="0"/>
              </a:rPr>
              <a:t>Creditsafe</a:t>
            </a:r>
            <a:r>
              <a:rPr lang="en-GB" sz="1000" spc="-50">
                <a:solidFill>
                  <a:srgbClr val="6C6C6C"/>
                </a:solidFill>
                <a:latin typeface="Trebuchet MS" panose="020B0603020202020204" pitchFamily="34" charset="0"/>
              </a:rPr>
              <a:t> </a:t>
            </a:r>
          </a:p>
        </p:txBody>
      </p:sp>
      <p:sp>
        <p:nvSpPr>
          <p:cNvPr id="97" name="Freeform 663">
            <a:extLst>
              <a:ext uri="{FF2B5EF4-FFF2-40B4-BE49-F238E27FC236}">
                <a16:creationId xmlns:a16="http://schemas.microsoft.com/office/drawing/2014/main" id="{2804C17C-0508-41E3-9975-C89C008AD2A4}"/>
              </a:ext>
            </a:extLst>
          </p:cNvPr>
          <p:cNvSpPr>
            <a:spLocks noEditPoints="1"/>
          </p:cNvSpPr>
          <p:nvPr/>
        </p:nvSpPr>
        <p:spPr bwMode="auto">
          <a:xfrm>
            <a:off x="3972275" y="1938624"/>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98" name="Rectangle 97">
            <a:extLst>
              <a:ext uri="{FF2B5EF4-FFF2-40B4-BE49-F238E27FC236}">
                <a16:creationId xmlns:a16="http://schemas.microsoft.com/office/drawing/2014/main" id="{B146898B-6FD6-4461-A414-6A8AFA54E244}"/>
              </a:ext>
            </a:extLst>
          </p:cNvPr>
          <p:cNvSpPr/>
          <p:nvPr/>
        </p:nvSpPr>
        <p:spPr bwMode="auto">
          <a:xfrm>
            <a:off x="7059647" y="1524624"/>
            <a:ext cx="2592000" cy="10800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200"/>
              </a:lnSpc>
              <a:spcAft>
                <a:spcPts val="200"/>
              </a:spcAft>
              <a:defRPr/>
            </a:pPr>
            <a:r>
              <a:rPr lang="en-GB" sz="1000" i="1">
                <a:solidFill>
                  <a:srgbClr val="6C6C6C"/>
                </a:solidFill>
                <a:latin typeface="Trebuchet MS" panose="020B0603020202020204" pitchFamily="34" charset="0"/>
              </a:rPr>
              <a:t>“Smaller and local BD&amp;A players are addressing the local market at even a lower price than </a:t>
            </a:r>
            <a:r>
              <a:rPr lang="en-GB" sz="1000" i="1" err="1">
                <a:solidFill>
                  <a:srgbClr val="6C6C6C"/>
                </a:solidFill>
                <a:latin typeface="Trebuchet MS" panose="020B0603020202020204" pitchFamily="34" charset="0"/>
              </a:rPr>
              <a:t>Creditsafe</a:t>
            </a:r>
            <a:r>
              <a:rPr lang="en-GB" sz="1000" i="1">
                <a:solidFill>
                  <a:srgbClr val="6C6C6C"/>
                </a:solidFill>
                <a:latin typeface="Trebuchet MS" panose="020B0603020202020204" pitchFamily="34" charset="0"/>
              </a:rPr>
              <a:t> as </a:t>
            </a:r>
            <a:r>
              <a:rPr lang="en-GB" sz="1000" i="1">
                <a:solidFill>
                  <a:schemeClr val="tx2"/>
                </a:solidFill>
                <a:latin typeface="Trebuchet MS" panose="020B0603020202020204" pitchFamily="34" charset="0"/>
              </a:rPr>
              <a:t>SMEs</a:t>
            </a:r>
            <a:r>
              <a:rPr lang="en-GB" sz="1000" i="1">
                <a:solidFill>
                  <a:srgbClr val="6C6C6C"/>
                </a:solidFill>
                <a:latin typeface="Trebuchet MS" panose="020B0603020202020204" pitchFamily="34" charset="0"/>
              </a:rPr>
              <a:t> </a:t>
            </a:r>
            <a:r>
              <a:rPr lang="en-GB" sz="1000" i="1">
                <a:solidFill>
                  <a:schemeClr val="tx2"/>
                </a:solidFill>
                <a:latin typeface="Trebuchet MS" panose="020B0603020202020204" pitchFamily="34" charset="0"/>
              </a:rPr>
              <a:t>increasingly</a:t>
            </a:r>
            <a:r>
              <a:rPr lang="en-GB" sz="1000" i="1">
                <a:solidFill>
                  <a:srgbClr val="6C6C6C"/>
                </a:solidFill>
                <a:latin typeface="Trebuchet MS" panose="020B0603020202020204" pitchFamily="34" charset="0"/>
              </a:rPr>
              <a:t> </a:t>
            </a:r>
            <a:r>
              <a:rPr lang="en-GB" sz="1000" i="1">
                <a:solidFill>
                  <a:schemeClr val="tx2"/>
                </a:solidFill>
                <a:latin typeface="Trebuchet MS" panose="020B0603020202020204" pitchFamily="34" charset="0"/>
              </a:rPr>
              <a:t>understand</a:t>
            </a:r>
            <a:r>
              <a:rPr lang="en-GB" sz="1000" i="1">
                <a:solidFill>
                  <a:srgbClr val="6C6C6C"/>
                </a:solidFill>
                <a:latin typeface="Trebuchet MS" panose="020B0603020202020204" pitchFamily="34" charset="0"/>
              </a:rPr>
              <a:t> the </a:t>
            </a:r>
            <a:r>
              <a:rPr lang="en-GB" sz="1000" i="1">
                <a:solidFill>
                  <a:schemeClr val="tx2"/>
                </a:solidFill>
                <a:latin typeface="Trebuchet MS" panose="020B0603020202020204" pitchFamily="34" charset="0"/>
              </a:rPr>
              <a:t>added</a:t>
            </a:r>
            <a:r>
              <a:rPr lang="en-GB" sz="1000" i="1">
                <a:solidFill>
                  <a:srgbClr val="6C6C6C"/>
                </a:solidFill>
                <a:latin typeface="Trebuchet MS" panose="020B0603020202020204" pitchFamily="34" charset="0"/>
              </a:rPr>
              <a:t> </a:t>
            </a:r>
            <a:r>
              <a:rPr lang="en-GB" sz="1000" i="1">
                <a:solidFill>
                  <a:schemeClr val="tx2"/>
                </a:solidFill>
                <a:latin typeface="Trebuchet MS" panose="020B0603020202020204" pitchFamily="34" charset="0"/>
              </a:rPr>
              <a:t>value</a:t>
            </a:r>
            <a:r>
              <a:rPr lang="en-GB" sz="1000" i="1">
                <a:solidFill>
                  <a:srgbClr val="6C6C6C"/>
                </a:solidFill>
                <a:latin typeface="Trebuchet MS" panose="020B0603020202020204" pitchFamily="34" charset="0"/>
              </a:rPr>
              <a:t> of </a:t>
            </a:r>
            <a:r>
              <a:rPr lang="en-GB" sz="1000" i="1">
                <a:solidFill>
                  <a:schemeClr val="tx2"/>
                </a:solidFill>
                <a:latin typeface="Trebuchet MS" panose="020B0603020202020204" pitchFamily="34" charset="0"/>
              </a:rPr>
              <a:t>Credit risk</a:t>
            </a:r>
            <a:r>
              <a:rPr lang="en-GB" sz="1000" i="1">
                <a:solidFill>
                  <a:srgbClr val="6C6C6C"/>
                </a:solidFill>
                <a:latin typeface="Trebuchet MS" panose="020B0603020202020204" pitchFamily="34" charset="0"/>
              </a:rPr>
              <a:t> solutions ”</a:t>
            </a:r>
          </a:p>
          <a:p>
            <a:pPr>
              <a:lnSpc>
                <a:spcPts val="1200"/>
              </a:lnSpc>
              <a:spcAft>
                <a:spcPts val="200"/>
              </a:spcAft>
              <a:defRPr/>
            </a:pPr>
            <a:r>
              <a:rPr lang="en-GB" sz="1000" spc="-50">
                <a:solidFill>
                  <a:srgbClr val="6C6C6C"/>
                </a:solidFill>
                <a:latin typeface="Trebuchet MS" panose="020B0603020202020204" pitchFamily="34" charset="0"/>
              </a:rPr>
              <a:t>Former Sales Director at </a:t>
            </a:r>
            <a:r>
              <a:rPr lang="en-GB" sz="1000" spc="-50" err="1">
                <a:solidFill>
                  <a:srgbClr val="6C6C6C"/>
                </a:solidFill>
                <a:latin typeface="Trebuchet MS" panose="020B0603020202020204" pitchFamily="34" charset="0"/>
              </a:rPr>
              <a:t>Creditsafe</a:t>
            </a:r>
            <a:r>
              <a:rPr lang="en-GB" sz="1000" spc="-50">
                <a:solidFill>
                  <a:srgbClr val="6C6C6C"/>
                </a:solidFill>
                <a:latin typeface="Trebuchet MS" panose="020B0603020202020204" pitchFamily="34" charset="0"/>
              </a:rPr>
              <a:t> and current Associate Director Sales at </a:t>
            </a:r>
            <a:r>
              <a:rPr lang="en-GB" sz="1000" spc="-50" err="1">
                <a:solidFill>
                  <a:srgbClr val="6C6C6C"/>
                </a:solidFill>
                <a:latin typeface="Trebuchet MS" panose="020B0603020202020204" pitchFamily="34" charset="0"/>
              </a:rPr>
              <a:t>BvD</a:t>
            </a:r>
            <a:endParaRPr lang="en-GB" sz="1000" spc="-50">
              <a:solidFill>
                <a:srgbClr val="6C6C6C"/>
              </a:solidFill>
              <a:latin typeface="Trebuchet MS" panose="020B0603020202020204" pitchFamily="34" charset="0"/>
            </a:endParaRPr>
          </a:p>
        </p:txBody>
      </p:sp>
      <p:sp>
        <p:nvSpPr>
          <p:cNvPr id="99" name="Freeform 663">
            <a:extLst>
              <a:ext uri="{FF2B5EF4-FFF2-40B4-BE49-F238E27FC236}">
                <a16:creationId xmlns:a16="http://schemas.microsoft.com/office/drawing/2014/main" id="{0070E07D-82F3-44C5-8E9B-488F969655FC}"/>
              </a:ext>
            </a:extLst>
          </p:cNvPr>
          <p:cNvSpPr>
            <a:spLocks noEditPoints="1"/>
          </p:cNvSpPr>
          <p:nvPr/>
        </p:nvSpPr>
        <p:spPr bwMode="auto">
          <a:xfrm>
            <a:off x="6933059" y="1938624"/>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00" name="Ellipse 99">
            <a:extLst>
              <a:ext uri="{FF2B5EF4-FFF2-40B4-BE49-F238E27FC236}">
                <a16:creationId xmlns:a16="http://schemas.microsoft.com/office/drawing/2014/main" id="{5564B5A7-AC0D-4693-9F5B-E35D012E5C1D}"/>
              </a:ext>
            </a:extLst>
          </p:cNvPr>
          <p:cNvSpPr/>
          <p:nvPr/>
        </p:nvSpPr>
        <p:spPr bwMode="auto">
          <a:xfrm>
            <a:off x="273000" y="2773990"/>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6</a:t>
            </a:r>
          </a:p>
        </p:txBody>
      </p:sp>
      <p:sp>
        <p:nvSpPr>
          <p:cNvPr id="101" name="Ellipse 100">
            <a:extLst>
              <a:ext uri="{FF2B5EF4-FFF2-40B4-BE49-F238E27FC236}">
                <a16:creationId xmlns:a16="http://schemas.microsoft.com/office/drawing/2014/main" id="{DA30D549-87B9-4C98-B262-54C6C199463D}"/>
              </a:ext>
            </a:extLst>
          </p:cNvPr>
          <p:cNvSpPr/>
          <p:nvPr/>
        </p:nvSpPr>
        <p:spPr bwMode="auto">
          <a:xfrm>
            <a:off x="273000" y="1540385"/>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bg1"/>
                </a:solidFill>
                <a:latin typeface="Trebuchet MS" panose="020B0603020202020204" pitchFamily="34" charset="0"/>
              </a:rPr>
              <a:t>5</a:t>
            </a:r>
            <a:endParaRPr kumimoji="0" lang="en-GB" sz="1200" b="0" i="0" u="none" strike="noStrike" cap="none" normalizeH="0" baseline="0">
              <a:ln>
                <a:noFill/>
              </a:ln>
              <a:solidFill>
                <a:schemeClr val="bg1"/>
              </a:solidFill>
              <a:effectLst/>
              <a:latin typeface="Trebuchet MS" panose="020B0603020202020204" pitchFamily="34" charset="0"/>
            </a:endParaRPr>
          </a:p>
        </p:txBody>
      </p:sp>
    </p:spTree>
    <p:extLst>
      <p:ext uri="{BB962C8B-B14F-4D97-AF65-F5344CB8AC3E}">
        <p14:creationId xmlns:p14="http://schemas.microsoft.com/office/powerpoint/2010/main" val="1178858198"/>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6BA13A3-5500-42BE-8170-FA99F0FBA2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15" imgH="416" progId="TCLayout.ActiveDocument.1">
                  <p:embed/>
                </p:oleObj>
              </mc:Choice>
              <mc:Fallback>
                <p:oleObj name="think-cell Slide" r:id="rId14" imgW="415" imgH="416" progId="TCLayout.ActiveDocument.1">
                  <p:embed/>
                  <p:pic>
                    <p:nvPicPr>
                      <p:cNvPr id="16" name="Object 15" hidden="1">
                        <a:extLst>
                          <a:ext uri="{FF2B5EF4-FFF2-40B4-BE49-F238E27FC236}">
                            <a16:creationId xmlns:a16="http://schemas.microsoft.com/office/drawing/2014/main" id="{16BA13A3-5500-42BE-8170-FA99F0FBA2D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96B131-4384-4F20-AAC3-60174B3C2D90}"/>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 name="Titre 2">
            <a:extLst>
              <a:ext uri="{FF2B5EF4-FFF2-40B4-BE49-F238E27FC236}">
                <a16:creationId xmlns:a16="http://schemas.microsoft.com/office/drawing/2014/main" id="{429E0BAD-778C-492F-9735-F7AB2249CA4A}"/>
              </a:ext>
            </a:extLst>
          </p:cNvPr>
          <p:cNvSpPr>
            <a:spLocks noGrp="1"/>
          </p:cNvSpPr>
          <p:nvPr>
            <p:ph type="title"/>
          </p:nvPr>
        </p:nvSpPr>
        <p:spPr>
          <a:xfrm>
            <a:off x="165600" y="147600"/>
            <a:ext cx="8227465" cy="684000"/>
          </a:xfrm>
        </p:spPr>
        <p:txBody>
          <a:bodyPr/>
          <a:lstStyle/>
          <a:p>
            <a:r>
              <a:rPr lang="en-GB">
                <a:latin typeface="Trebuchet MS" panose="020B0603020202020204" pitchFamily="34" charset="0"/>
              </a:rPr>
              <a:t>Credit risk &amp; financial players </a:t>
            </a:r>
            <a:r>
              <a:rPr lang="en-GB">
                <a:solidFill>
                  <a:schemeClr val="tx2"/>
                </a:solidFill>
                <a:latin typeface="Trebuchet MS" panose="020B0603020202020204" pitchFamily="34" charset="0"/>
              </a:rPr>
              <a:t>seek differentiation on each service level</a:t>
            </a:r>
            <a:r>
              <a:rPr lang="en-GB">
                <a:latin typeface="Trebuchet MS" panose="020B0603020202020204" pitchFamily="34" charset="0"/>
              </a:rPr>
              <a:t>, notably by providing higher quality data, smarter scoring models, customized reports or deeper integration into clients’ software</a:t>
            </a:r>
          </a:p>
        </p:txBody>
      </p:sp>
      <p:sp>
        <p:nvSpPr>
          <p:cNvPr id="4" name="Espace réservé du texte 3">
            <a:extLst>
              <a:ext uri="{FF2B5EF4-FFF2-40B4-BE49-F238E27FC236}">
                <a16:creationId xmlns:a16="http://schemas.microsoft.com/office/drawing/2014/main" id="{51C71BBE-9E51-41A6-A2F3-67760E6E3EC5}"/>
              </a:ext>
            </a:extLst>
          </p:cNvPr>
          <p:cNvSpPr>
            <a:spLocks noGrp="1"/>
          </p:cNvSpPr>
          <p:nvPr>
            <p:ph type="body" sz="quarter" idx="10"/>
          </p:nvPr>
        </p:nvSpPr>
        <p:spPr/>
        <p:txBody>
          <a:bodyPr/>
          <a:lstStyle/>
          <a:p>
            <a:r>
              <a:rPr lang="en-GB"/>
              <a:t>Sources: eleven research &amp; analysis</a:t>
            </a:r>
          </a:p>
        </p:txBody>
      </p:sp>
      <p:cxnSp>
        <p:nvCxnSpPr>
          <p:cNvPr id="10" name="Connecteur droit 9">
            <a:extLst>
              <a:ext uri="{FF2B5EF4-FFF2-40B4-BE49-F238E27FC236}">
                <a16:creationId xmlns:a16="http://schemas.microsoft.com/office/drawing/2014/main" id="{819FFD6D-C859-43A1-AE63-EB9675F15D5D}"/>
              </a:ext>
            </a:extLst>
          </p:cNvPr>
          <p:cNvCxnSpPr>
            <a:cxnSpLocks/>
          </p:cNvCxnSpPr>
          <p:nvPr/>
        </p:nvCxnSpPr>
        <p:spPr bwMode="auto">
          <a:xfrm>
            <a:off x="230819" y="1267582"/>
            <a:ext cx="941568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1" name="Rectangle 84">
            <a:extLst>
              <a:ext uri="{FF2B5EF4-FFF2-40B4-BE49-F238E27FC236}">
                <a16:creationId xmlns:a16="http://schemas.microsoft.com/office/drawing/2014/main" id="{47616165-DDD5-44ED-B592-B1C71E3C74B2}"/>
              </a:ext>
            </a:extLst>
          </p:cNvPr>
          <p:cNvSpPr/>
          <p:nvPr/>
        </p:nvSpPr>
        <p:spPr bwMode="auto">
          <a:xfrm>
            <a:off x="885197" y="1131567"/>
            <a:ext cx="8106932" cy="24579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defRPr/>
            </a:pPr>
            <a:r>
              <a:rPr lang="en-GB" sz="1100">
                <a:latin typeface="Trebuchet MS" panose="020B0603020202020204" pitchFamily="34" charset="0"/>
              </a:rPr>
              <a:t>Mapping of the value of Credit risk information data, depending on the service added value and on quality of data/service</a:t>
            </a:r>
          </a:p>
        </p:txBody>
      </p:sp>
      <p:grpSp>
        <p:nvGrpSpPr>
          <p:cNvPr id="81" name="Group 26">
            <a:extLst>
              <a:ext uri="{FF2B5EF4-FFF2-40B4-BE49-F238E27FC236}">
                <a16:creationId xmlns:a16="http://schemas.microsoft.com/office/drawing/2014/main" id="{DA2C4A06-2486-42C2-9BC2-D8EE55BBF6F0}"/>
              </a:ext>
            </a:extLst>
          </p:cNvPr>
          <p:cNvGrpSpPr/>
          <p:nvPr/>
        </p:nvGrpSpPr>
        <p:grpSpPr>
          <a:xfrm>
            <a:off x="924085" y="6070858"/>
            <a:ext cx="8031180" cy="386100"/>
            <a:chOff x="1533887" y="5825262"/>
            <a:chExt cx="9717728" cy="513899"/>
          </a:xfrm>
        </p:grpSpPr>
        <p:sp>
          <p:nvSpPr>
            <p:cNvPr id="95" name="Rectangle: Rounded Corners 66">
              <a:extLst>
                <a:ext uri="{FF2B5EF4-FFF2-40B4-BE49-F238E27FC236}">
                  <a16:creationId xmlns:a16="http://schemas.microsoft.com/office/drawing/2014/main" id="{6BF2B5CA-115D-417B-9CF1-095CF9BF4E82}"/>
                </a:ext>
              </a:extLst>
            </p:cNvPr>
            <p:cNvSpPr/>
            <p:nvPr/>
          </p:nvSpPr>
          <p:spPr bwMode="auto">
            <a:xfrm>
              <a:off x="1885564" y="5825262"/>
              <a:ext cx="9366051" cy="513899"/>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182563">
                <a:spcBef>
                  <a:spcPts val="600"/>
                </a:spcBef>
              </a:pPr>
              <a:r>
                <a:rPr lang="en-GB" sz="1000"/>
                <a:t>By positioning on more added-value services, both in terms of data quality and level of service, BD&amp;A players are able to </a:t>
              </a:r>
              <a:r>
                <a:rPr lang="en-GB" sz="1000">
                  <a:solidFill>
                    <a:schemeClr val="tx2"/>
                  </a:solidFill>
                </a:rPr>
                <a:t>maintain higher-priced services</a:t>
              </a:r>
            </a:p>
          </p:txBody>
        </p:sp>
        <p:grpSp>
          <p:nvGrpSpPr>
            <p:cNvPr id="96" name="Groupe 21">
              <a:extLst>
                <a:ext uri="{FF2B5EF4-FFF2-40B4-BE49-F238E27FC236}">
                  <a16:creationId xmlns:a16="http://schemas.microsoft.com/office/drawing/2014/main" id="{D467E3B6-CD69-4ED2-9ED2-2810590B2000}"/>
                </a:ext>
              </a:extLst>
            </p:cNvPr>
            <p:cNvGrpSpPr/>
            <p:nvPr/>
          </p:nvGrpSpPr>
          <p:grpSpPr>
            <a:xfrm>
              <a:off x="1533887" y="5854241"/>
              <a:ext cx="451426" cy="455941"/>
              <a:chOff x="195390" y="5861727"/>
              <a:chExt cx="335805" cy="335805"/>
            </a:xfrm>
          </p:grpSpPr>
          <p:sp>
            <p:nvSpPr>
              <p:cNvPr id="97" name="Ellipse 22">
                <a:extLst>
                  <a:ext uri="{FF2B5EF4-FFF2-40B4-BE49-F238E27FC236}">
                    <a16:creationId xmlns:a16="http://schemas.microsoft.com/office/drawing/2014/main" id="{EAE589A0-B23E-494B-B424-2DAC55BC8C6E}"/>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98" name="Group 5">
                <a:extLst>
                  <a:ext uri="{FF2B5EF4-FFF2-40B4-BE49-F238E27FC236}">
                    <a16:creationId xmlns:a16="http://schemas.microsoft.com/office/drawing/2014/main" id="{6DE5C2B2-DDA8-419C-9686-6CFF0EA4BC44}"/>
                  </a:ext>
                </a:extLst>
              </p:cNvPr>
              <p:cNvGrpSpPr>
                <a:grpSpLocks noChangeAspect="1"/>
              </p:cNvGrpSpPr>
              <p:nvPr/>
            </p:nvGrpSpPr>
            <p:grpSpPr bwMode="auto">
              <a:xfrm>
                <a:off x="249663" y="5915997"/>
                <a:ext cx="227258" cy="227255"/>
                <a:chOff x="788" y="800"/>
                <a:chExt cx="742" cy="742"/>
              </a:xfrm>
              <a:solidFill>
                <a:schemeClr val="tx2"/>
              </a:solidFill>
            </p:grpSpPr>
            <p:sp>
              <p:nvSpPr>
                <p:cNvPr id="99" name="Freeform 6">
                  <a:extLst>
                    <a:ext uri="{FF2B5EF4-FFF2-40B4-BE49-F238E27FC236}">
                      <a16:creationId xmlns:a16="http://schemas.microsoft.com/office/drawing/2014/main" id="{4906E34D-D01F-417F-9B53-0B881B9F281D}"/>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00" name="Freeform 7">
                  <a:extLst>
                    <a:ext uri="{FF2B5EF4-FFF2-40B4-BE49-F238E27FC236}">
                      <a16:creationId xmlns:a16="http://schemas.microsoft.com/office/drawing/2014/main" id="{8C434719-0E5E-4509-9CF1-3D80F89B56B2}"/>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04" name="Freeform 8">
                  <a:extLst>
                    <a:ext uri="{FF2B5EF4-FFF2-40B4-BE49-F238E27FC236}">
                      <a16:creationId xmlns:a16="http://schemas.microsoft.com/office/drawing/2014/main" id="{069484C4-D1CF-472F-AC4D-84BAD132B687}"/>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05" name="Freeform 9">
                  <a:extLst>
                    <a:ext uri="{FF2B5EF4-FFF2-40B4-BE49-F238E27FC236}">
                      <a16:creationId xmlns:a16="http://schemas.microsoft.com/office/drawing/2014/main" id="{B4B39666-BE9C-40BB-954F-AE6D771B871B}"/>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06" name="Freeform 10">
                  <a:extLst>
                    <a:ext uri="{FF2B5EF4-FFF2-40B4-BE49-F238E27FC236}">
                      <a16:creationId xmlns:a16="http://schemas.microsoft.com/office/drawing/2014/main" id="{6EC080C9-D5C6-42DD-BB59-F23F60EF8332}"/>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07" name="Freeform 11">
                  <a:extLst>
                    <a:ext uri="{FF2B5EF4-FFF2-40B4-BE49-F238E27FC236}">
                      <a16:creationId xmlns:a16="http://schemas.microsoft.com/office/drawing/2014/main" id="{1A648257-98D6-45AD-8CA9-C18ECEB2DAC5}"/>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08" name="Freeform 12">
                  <a:extLst>
                    <a:ext uri="{FF2B5EF4-FFF2-40B4-BE49-F238E27FC236}">
                      <a16:creationId xmlns:a16="http://schemas.microsoft.com/office/drawing/2014/main" id="{D3F2F43D-A665-4E62-B766-F293FD98B415}"/>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grpSp>
      <p:sp>
        <p:nvSpPr>
          <p:cNvPr id="119" name="ZoneTexte 118">
            <a:extLst>
              <a:ext uri="{FF2B5EF4-FFF2-40B4-BE49-F238E27FC236}">
                <a16:creationId xmlns:a16="http://schemas.microsoft.com/office/drawing/2014/main" id="{781156AA-350B-4698-8030-1AC29D2E9C95}"/>
              </a:ext>
            </a:extLst>
          </p:cNvPr>
          <p:cNvSpPr txBox="1"/>
          <p:nvPr/>
        </p:nvSpPr>
        <p:spPr>
          <a:xfrm>
            <a:off x="8470051" y="488823"/>
            <a:ext cx="1310675" cy="200055"/>
          </a:xfrm>
          <a:prstGeom prst="rect">
            <a:avLst/>
          </a:prstGeom>
          <a:noFill/>
        </p:spPr>
        <p:txBody>
          <a:bodyPr wrap="square" rtlCol="0">
            <a:spAutoFit/>
          </a:bodyPr>
          <a:lstStyle/>
          <a:p>
            <a:pPr algn="ctr"/>
            <a:r>
              <a:rPr lang="en-GB" sz="700" i="1">
                <a:solidFill>
                  <a:schemeClr val="bg2"/>
                </a:solidFill>
                <a:latin typeface="Trebuchet MS" panose="020B0603020202020204" pitchFamily="34" charset="0"/>
              </a:rPr>
              <a:t>Competitive landscape</a:t>
            </a:r>
          </a:p>
        </p:txBody>
      </p:sp>
      <p:grpSp>
        <p:nvGrpSpPr>
          <p:cNvPr id="133" name="Groupe 132">
            <a:extLst>
              <a:ext uri="{FF2B5EF4-FFF2-40B4-BE49-F238E27FC236}">
                <a16:creationId xmlns:a16="http://schemas.microsoft.com/office/drawing/2014/main" id="{C72E6760-B87D-4F0D-9633-C4365BB6D0F1}"/>
              </a:ext>
            </a:extLst>
          </p:cNvPr>
          <p:cNvGrpSpPr/>
          <p:nvPr/>
        </p:nvGrpSpPr>
        <p:grpSpPr>
          <a:xfrm>
            <a:off x="8448150" y="-11528"/>
            <a:ext cx="1435548" cy="588143"/>
            <a:chOff x="8448150" y="-11528"/>
            <a:chExt cx="1435548" cy="588143"/>
          </a:xfrm>
        </p:grpSpPr>
        <p:grpSp>
          <p:nvGrpSpPr>
            <p:cNvPr id="134" name="Groupe 133">
              <a:extLst>
                <a:ext uri="{FF2B5EF4-FFF2-40B4-BE49-F238E27FC236}">
                  <a16:creationId xmlns:a16="http://schemas.microsoft.com/office/drawing/2014/main" id="{0E3ACC05-0572-49FC-A925-5D24958B8E1F}"/>
                </a:ext>
              </a:extLst>
            </p:cNvPr>
            <p:cNvGrpSpPr/>
            <p:nvPr/>
          </p:nvGrpSpPr>
          <p:grpSpPr>
            <a:xfrm>
              <a:off x="8448150" y="-11528"/>
              <a:ext cx="1435548" cy="555653"/>
              <a:chOff x="8448150" y="-11528"/>
              <a:chExt cx="1435548" cy="555653"/>
            </a:xfrm>
          </p:grpSpPr>
          <p:sp>
            <p:nvSpPr>
              <p:cNvPr id="136" name="Rectangle : coins arrondis 199">
                <a:extLst>
                  <a:ext uri="{FF2B5EF4-FFF2-40B4-BE49-F238E27FC236}">
                    <a16:creationId xmlns:a16="http://schemas.microsoft.com/office/drawing/2014/main" id="{FA0FC610-8EF8-4ECE-8D1A-FBC5E15F7386}"/>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7" name="Rectangle : coins arrondis 200">
                <a:extLst>
                  <a:ext uri="{FF2B5EF4-FFF2-40B4-BE49-F238E27FC236}">
                    <a16:creationId xmlns:a16="http://schemas.microsoft.com/office/drawing/2014/main" id="{7A11DAE5-DB09-438E-A868-9815ABE0A166}"/>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8" name="Rectangle : coins arrondis 201">
                <a:extLst>
                  <a:ext uri="{FF2B5EF4-FFF2-40B4-BE49-F238E27FC236}">
                    <a16:creationId xmlns:a16="http://schemas.microsoft.com/office/drawing/2014/main" id="{B4CA78ED-187D-4DF1-9C92-3D250751A14E}"/>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9" name="ZoneTexte 18">
                <a:extLst>
                  <a:ext uri="{FF2B5EF4-FFF2-40B4-BE49-F238E27FC236}">
                    <a16:creationId xmlns:a16="http://schemas.microsoft.com/office/drawing/2014/main" id="{5587E5F2-3D47-403D-AD42-823DD29430B6}"/>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40" name="Graphique 128" descr="Jauge">
                <a:extLst>
                  <a:ext uri="{FF2B5EF4-FFF2-40B4-BE49-F238E27FC236}">
                    <a16:creationId xmlns:a16="http://schemas.microsoft.com/office/drawing/2014/main" id="{02169158-56A3-4751-8E48-66D725FB6F14}"/>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553764" y="187516"/>
                <a:ext cx="234953" cy="218224"/>
              </a:xfrm>
              <a:prstGeom prst="rect">
                <a:avLst/>
              </a:prstGeom>
              <a:effectLst/>
            </p:spPr>
          </p:pic>
          <p:pic>
            <p:nvPicPr>
              <p:cNvPr id="141" name="Graphique 90" descr="Poignée de main">
                <a:extLst>
                  <a:ext uri="{FF2B5EF4-FFF2-40B4-BE49-F238E27FC236}">
                    <a16:creationId xmlns:a16="http://schemas.microsoft.com/office/drawing/2014/main" id="{8CD1B386-F5DA-4316-B364-2DA76F551FC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960868" y="152880"/>
                <a:ext cx="256313" cy="287496"/>
              </a:xfrm>
              <a:prstGeom prst="rect">
                <a:avLst/>
              </a:prstGeom>
              <a:effectLst/>
            </p:spPr>
          </p:pic>
          <p:pic>
            <p:nvPicPr>
              <p:cNvPr id="142" name="Graphique 74" descr="Mégaphone">
                <a:extLst>
                  <a:ext uri="{FF2B5EF4-FFF2-40B4-BE49-F238E27FC236}">
                    <a16:creationId xmlns:a16="http://schemas.microsoft.com/office/drawing/2014/main" id="{03547B77-3257-46BA-B1F5-BFB4B6A5A0C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389331" y="181519"/>
                <a:ext cx="233011" cy="216420"/>
              </a:xfrm>
              <a:prstGeom prst="rect">
                <a:avLst/>
              </a:prstGeom>
              <a:effectLst/>
            </p:spPr>
          </p:pic>
          <p:pic>
            <p:nvPicPr>
              <p:cNvPr id="143" name="Picture 2" descr="Drapeau France">
                <a:extLst>
                  <a:ext uri="{FF2B5EF4-FFF2-40B4-BE49-F238E27FC236}">
                    <a16:creationId xmlns:a16="http://schemas.microsoft.com/office/drawing/2014/main" id="{E17F6FA8-CC7C-4C73-A7B6-B008F15AA6DE}"/>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44" name="Picture 2" descr="5 ft x 3 ft 150 x 90 cm-DRAPEAU BELGE Belgique 100% Polyester ...">
                <a:extLst>
                  <a:ext uri="{FF2B5EF4-FFF2-40B4-BE49-F238E27FC236}">
                    <a16:creationId xmlns:a16="http://schemas.microsoft.com/office/drawing/2014/main" id="{B7585CC6-9A34-4D29-AC1E-51EA5DF063C5}"/>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45" name="Picture 2 - 1" descr="Drapeau des Pays-Bas — Wikipédia">
                <a:extLst>
                  <a:ext uri="{FF2B5EF4-FFF2-40B4-BE49-F238E27FC236}">
                    <a16:creationId xmlns:a16="http://schemas.microsoft.com/office/drawing/2014/main" id="{61C2FD79-F603-43E8-A978-3B99E4787DA9}"/>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46" name="Picture 2 - 2" descr="Drapeau du Luxembourg">
                <a:extLst>
                  <a:ext uri="{FF2B5EF4-FFF2-40B4-BE49-F238E27FC236}">
                    <a16:creationId xmlns:a16="http://schemas.microsoft.com/office/drawing/2014/main" id="{8DDCDAF5-BB72-4A36-9E69-989DFDFA800C}"/>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135" name="ZoneTexte 18">
              <a:extLst>
                <a:ext uri="{FF2B5EF4-FFF2-40B4-BE49-F238E27FC236}">
                  <a16:creationId xmlns:a16="http://schemas.microsoft.com/office/drawing/2014/main" id="{6773EAC1-C8AB-4D85-AF3D-D0589D0C29F2}"/>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redit &amp; financial risk</a:t>
              </a:r>
            </a:p>
          </p:txBody>
        </p:sp>
      </p:grpSp>
      <p:cxnSp>
        <p:nvCxnSpPr>
          <p:cNvPr id="59" name="Connecteur droit avec flèche 22">
            <a:extLst>
              <a:ext uri="{FF2B5EF4-FFF2-40B4-BE49-F238E27FC236}">
                <a16:creationId xmlns:a16="http://schemas.microsoft.com/office/drawing/2014/main" id="{25F816D9-DEDA-4396-B3E5-C65732C26428}"/>
              </a:ext>
            </a:extLst>
          </p:cNvPr>
          <p:cNvCxnSpPr>
            <a:cxnSpLocks/>
          </p:cNvCxnSpPr>
          <p:nvPr/>
        </p:nvCxnSpPr>
        <p:spPr bwMode="auto">
          <a:xfrm flipV="1">
            <a:off x="769871" y="1967162"/>
            <a:ext cx="0" cy="3361579"/>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cxnSp>
        <p:nvCxnSpPr>
          <p:cNvPr id="60" name="Connecteur droit avec flèche 31">
            <a:extLst>
              <a:ext uri="{FF2B5EF4-FFF2-40B4-BE49-F238E27FC236}">
                <a16:creationId xmlns:a16="http://schemas.microsoft.com/office/drawing/2014/main" id="{948DAB36-91F6-4FDD-B584-59108C1731FD}"/>
              </a:ext>
            </a:extLst>
          </p:cNvPr>
          <p:cNvCxnSpPr>
            <a:cxnSpLocks/>
          </p:cNvCxnSpPr>
          <p:nvPr/>
        </p:nvCxnSpPr>
        <p:spPr bwMode="auto">
          <a:xfrm>
            <a:off x="750821" y="5328741"/>
            <a:ext cx="8204444" cy="0"/>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61" name="Rectangle 60">
            <a:extLst>
              <a:ext uri="{FF2B5EF4-FFF2-40B4-BE49-F238E27FC236}">
                <a16:creationId xmlns:a16="http://schemas.microsoft.com/office/drawing/2014/main" id="{FDB5002F-2A1F-4DD4-8EFD-F412653988D9}"/>
              </a:ext>
            </a:extLst>
          </p:cNvPr>
          <p:cNvSpPr/>
          <p:nvPr/>
        </p:nvSpPr>
        <p:spPr bwMode="auto">
          <a:xfrm>
            <a:off x="194011" y="2049179"/>
            <a:ext cx="511953" cy="37077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i="1">
                <a:latin typeface="Trebuchet MS" panose="020B0603020202020204" pitchFamily="34" charset="0"/>
              </a:rPr>
              <a:t>High end</a:t>
            </a:r>
            <a:endParaRPr kumimoji="0" lang="en-GB" sz="1000" b="0" i="1" u="none" strike="noStrike" cap="none" normalizeH="0" baseline="0">
              <a:ln>
                <a:noFill/>
              </a:ln>
              <a:effectLst/>
              <a:latin typeface="Trebuchet MS" panose="020B0603020202020204" pitchFamily="34" charset="0"/>
            </a:endParaRPr>
          </a:p>
        </p:txBody>
      </p:sp>
      <p:sp>
        <p:nvSpPr>
          <p:cNvPr id="62" name="Rectangle 61">
            <a:extLst>
              <a:ext uri="{FF2B5EF4-FFF2-40B4-BE49-F238E27FC236}">
                <a16:creationId xmlns:a16="http://schemas.microsoft.com/office/drawing/2014/main" id="{6A682242-E450-4BBB-B779-E472D70FDB93}"/>
              </a:ext>
            </a:extLst>
          </p:cNvPr>
          <p:cNvSpPr/>
          <p:nvPr/>
        </p:nvSpPr>
        <p:spPr bwMode="auto">
          <a:xfrm>
            <a:off x="8935398" y="5143801"/>
            <a:ext cx="1035907" cy="52048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kumimoji="0" lang="en-GB" sz="1000" b="1" i="1" u="none" strike="noStrike" cap="none" normalizeH="0" baseline="0">
                <a:ln>
                  <a:noFill/>
                </a:ln>
                <a:solidFill>
                  <a:schemeClr val="tx2"/>
                </a:solidFill>
                <a:effectLst/>
                <a:latin typeface="Trebuchet MS" panose="020B0603020202020204" pitchFamily="34" charset="0"/>
              </a:rPr>
              <a:t>Service </a:t>
            </a:r>
            <a:br>
              <a:rPr kumimoji="0" lang="en-GB" sz="1000" b="1" i="1" u="none" strike="noStrike" cap="none" normalizeH="0" baseline="0">
                <a:ln>
                  <a:noFill/>
                </a:ln>
                <a:solidFill>
                  <a:schemeClr val="tx2"/>
                </a:solidFill>
                <a:effectLst/>
                <a:latin typeface="Trebuchet MS" panose="020B0603020202020204" pitchFamily="34" charset="0"/>
              </a:rPr>
            </a:br>
            <a:r>
              <a:rPr kumimoji="0" lang="en-GB" sz="1000" b="1" i="1" u="none" strike="noStrike" cap="none" normalizeH="0" baseline="0">
                <a:ln>
                  <a:noFill/>
                </a:ln>
                <a:solidFill>
                  <a:schemeClr val="tx2"/>
                </a:solidFill>
                <a:effectLst/>
                <a:latin typeface="Trebuchet MS" panose="020B0603020202020204" pitchFamily="34" charset="0"/>
              </a:rPr>
              <a:t>added value</a:t>
            </a:r>
          </a:p>
        </p:txBody>
      </p:sp>
      <p:sp>
        <p:nvSpPr>
          <p:cNvPr id="64" name="Arrow: Chevron 63">
            <a:extLst>
              <a:ext uri="{FF2B5EF4-FFF2-40B4-BE49-F238E27FC236}">
                <a16:creationId xmlns:a16="http://schemas.microsoft.com/office/drawing/2014/main" id="{53160BA4-2251-4253-8E49-FD18AE130FEC}"/>
              </a:ext>
            </a:extLst>
          </p:cNvPr>
          <p:cNvSpPr/>
          <p:nvPr/>
        </p:nvSpPr>
        <p:spPr bwMode="auto">
          <a:xfrm>
            <a:off x="5791627" y="5437011"/>
            <a:ext cx="1533600" cy="476086"/>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r>
              <a:rPr lang="en-GB" sz="1000" b="1">
                <a:solidFill>
                  <a:schemeClr val="bg1"/>
                </a:solidFill>
                <a:latin typeface="Trebuchet MS" panose="020B0603020202020204" pitchFamily="34" charset="0"/>
              </a:rPr>
              <a:t>Software application</a:t>
            </a:r>
          </a:p>
        </p:txBody>
      </p:sp>
      <p:sp>
        <p:nvSpPr>
          <p:cNvPr id="66" name="Arrow: Chevron 65">
            <a:extLst>
              <a:ext uri="{FF2B5EF4-FFF2-40B4-BE49-F238E27FC236}">
                <a16:creationId xmlns:a16="http://schemas.microsoft.com/office/drawing/2014/main" id="{A771F62B-931F-4BB1-A172-11CE98427F73}"/>
              </a:ext>
            </a:extLst>
          </p:cNvPr>
          <p:cNvSpPr/>
          <p:nvPr/>
        </p:nvSpPr>
        <p:spPr bwMode="auto">
          <a:xfrm>
            <a:off x="2531552" y="5437011"/>
            <a:ext cx="1533600" cy="476086"/>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Scoring</a:t>
            </a:r>
          </a:p>
        </p:txBody>
      </p:sp>
      <p:sp>
        <p:nvSpPr>
          <p:cNvPr id="67" name="Arrow: Chevron 66">
            <a:extLst>
              <a:ext uri="{FF2B5EF4-FFF2-40B4-BE49-F238E27FC236}">
                <a16:creationId xmlns:a16="http://schemas.microsoft.com/office/drawing/2014/main" id="{890D4EC2-8C89-454C-A0FF-94D9432B9976}"/>
              </a:ext>
            </a:extLst>
          </p:cNvPr>
          <p:cNvSpPr/>
          <p:nvPr/>
        </p:nvSpPr>
        <p:spPr bwMode="auto">
          <a:xfrm>
            <a:off x="901875" y="5437011"/>
            <a:ext cx="1533240" cy="476086"/>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Pure data</a:t>
            </a:r>
          </a:p>
        </p:txBody>
      </p:sp>
      <p:sp>
        <p:nvSpPr>
          <p:cNvPr id="68" name="Rectangle 67">
            <a:extLst>
              <a:ext uri="{FF2B5EF4-FFF2-40B4-BE49-F238E27FC236}">
                <a16:creationId xmlns:a16="http://schemas.microsoft.com/office/drawing/2014/main" id="{6884DD8F-384E-443B-8CC2-3F346E2B1AC9}"/>
              </a:ext>
            </a:extLst>
          </p:cNvPr>
          <p:cNvSpPr/>
          <p:nvPr/>
        </p:nvSpPr>
        <p:spPr bwMode="auto">
          <a:xfrm>
            <a:off x="165600" y="4900772"/>
            <a:ext cx="511953" cy="37077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i="1">
                <a:latin typeface="Trebuchet MS" panose="020B0603020202020204" pitchFamily="34" charset="0"/>
              </a:rPr>
              <a:t>Entry level</a:t>
            </a:r>
            <a:endParaRPr kumimoji="0" lang="en-GB" sz="1000" b="0" i="1" u="none" strike="noStrike" cap="none" normalizeH="0" baseline="0">
              <a:ln>
                <a:noFill/>
              </a:ln>
              <a:effectLst/>
              <a:latin typeface="Trebuchet MS" panose="020B0603020202020204" pitchFamily="34" charset="0"/>
            </a:endParaRPr>
          </a:p>
        </p:txBody>
      </p:sp>
      <p:sp>
        <p:nvSpPr>
          <p:cNvPr id="110" name="Rectangle 109">
            <a:extLst>
              <a:ext uri="{FF2B5EF4-FFF2-40B4-BE49-F238E27FC236}">
                <a16:creationId xmlns:a16="http://schemas.microsoft.com/office/drawing/2014/main" id="{F3C70D1F-014F-41FA-95BA-B7491B7B240B}"/>
              </a:ext>
            </a:extLst>
          </p:cNvPr>
          <p:cNvSpPr/>
          <p:nvPr/>
        </p:nvSpPr>
        <p:spPr bwMode="auto">
          <a:xfrm>
            <a:off x="228703" y="1527883"/>
            <a:ext cx="683679" cy="37077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2"/>
                </a:solidFill>
                <a:effectLst/>
                <a:latin typeface="Trebuchet MS" panose="020B0603020202020204" pitchFamily="34" charset="0"/>
              </a:rPr>
              <a:t>Service quality</a:t>
            </a:r>
          </a:p>
        </p:txBody>
      </p:sp>
      <p:pic>
        <p:nvPicPr>
          <p:cNvPr id="69" name="Graphique 68">
            <a:extLst>
              <a:ext uri="{FF2B5EF4-FFF2-40B4-BE49-F238E27FC236}">
                <a16:creationId xmlns:a16="http://schemas.microsoft.com/office/drawing/2014/main" id="{6F286F76-E0DA-4D39-B3EC-A0DD6D02E954}"/>
              </a:ext>
            </a:extLst>
          </p:cNvPr>
          <p:cNvPicPr>
            <a:picLocks noChangeAspect="1"/>
          </p:cNvPicPr>
          <p:nvPr/>
        </p:nvPicPr>
        <p:blipFill rotWithShape="1">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b="20086"/>
          <a:stretch/>
        </p:blipFill>
        <p:spPr>
          <a:xfrm>
            <a:off x="6011907" y="5576256"/>
            <a:ext cx="228021" cy="227775"/>
          </a:xfrm>
          <a:prstGeom prst="rect">
            <a:avLst/>
          </a:prstGeom>
        </p:spPr>
      </p:pic>
      <p:sp>
        <p:nvSpPr>
          <p:cNvPr id="65" name="Arrow: Chevron 64">
            <a:extLst>
              <a:ext uri="{FF2B5EF4-FFF2-40B4-BE49-F238E27FC236}">
                <a16:creationId xmlns:a16="http://schemas.microsoft.com/office/drawing/2014/main" id="{AFEEEDE0-D6BE-4212-935C-54A97058AAE1}"/>
              </a:ext>
            </a:extLst>
          </p:cNvPr>
          <p:cNvSpPr/>
          <p:nvPr/>
        </p:nvSpPr>
        <p:spPr bwMode="auto">
          <a:xfrm>
            <a:off x="4161589" y="5437011"/>
            <a:ext cx="1533600" cy="476086"/>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252000" tIns="4572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Web interface</a:t>
            </a:r>
          </a:p>
        </p:txBody>
      </p:sp>
      <p:grpSp>
        <p:nvGrpSpPr>
          <p:cNvPr id="72" name="Document2">
            <a:extLst>
              <a:ext uri="{FF2B5EF4-FFF2-40B4-BE49-F238E27FC236}">
                <a16:creationId xmlns:a16="http://schemas.microsoft.com/office/drawing/2014/main" id="{46778535-7A1D-4598-A3D6-E4BC4D61EC9B}"/>
              </a:ext>
            </a:extLst>
          </p:cNvPr>
          <p:cNvGrpSpPr>
            <a:grpSpLocks noChangeAspect="1"/>
          </p:cNvGrpSpPr>
          <p:nvPr>
            <p:custDataLst>
              <p:tags r:id="rId3"/>
            </p:custDataLst>
          </p:nvPr>
        </p:nvGrpSpPr>
        <p:grpSpPr bwMode="auto">
          <a:xfrm>
            <a:off x="4395398" y="5559777"/>
            <a:ext cx="175597" cy="230253"/>
            <a:chOff x="176" y="141"/>
            <a:chExt cx="151" cy="198"/>
          </a:xfrm>
          <a:solidFill>
            <a:schemeClr val="bg1"/>
          </a:solidFill>
        </p:grpSpPr>
        <p:sp>
          <p:nvSpPr>
            <p:cNvPr id="73" name="Document2">
              <a:extLst>
                <a:ext uri="{FF2B5EF4-FFF2-40B4-BE49-F238E27FC236}">
                  <a16:creationId xmlns:a16="http://schemas.microsoft.com/office/drawing/2014/main" id="{94647690-5630-48A2-8F36-BAA4623B1C2E}"/>
                </a:ext>
              </a:extLst>
            </p:cNvPr>
            <p:cNvSpPr>
              <a:spLocks noEditPoints="1"/>
            </p:cNvSpPr>
            <p:nvPr>
              <p:custDataLst>
                <p:tags r:id="rId5"/>
              </p:custDataLst>
            </p:nvPr>
          </p:nvSpPr>
          <p:spPr bwMode="auto">
            <a:xfrm>
              <a:off x="176" y="141"/>
              <a:ext cx="151" cy="198"/>
            </a:xfrm>
            <a:custGeom>
              <a:avLst/>
              <a:gdLst>
                <a:gd name="T0" fmla="*/ 388 w 401"/>
                <a:gd name="T1" fmla="*/ 525 h 525"/>
                <a:gd name="T2" fmla="*/ 13 w 401"/>
                <a:gd name="T3" fmla="*/ 525 h 525"/>
                <a:gd name="T4" fmla="*/ 0 w 401"/>
                <a:gd name="T5" fmla="*/ 512 h 525"/>
                <a:gd name="T6" fmla="*/ 0 w 401"/>
                <a:gd name="T7" fmla="*/ 12 h 525"/>
                <a:gd name="T8" fmla="*/ 13 w 401"/>
                <a:gd name="T9" fmla="*/ 0 h 525"/>
                <a:gd name="T10" fmla="*/ 388 w 401"/>
                <a:gd name="T11" fmla="*/ 0 h 525"/>
                <a:gd name="T12" fmla="*/ 401 w 401"/>
                <a:gd name="T13" fmla="*/ 12 h 525"/>
                <a:gd name="T14" fmla="*/ 401 w 401"/>
                <a:gd name="T15" fmla="*/ 512 h 525"/>
                <a:gd name="T16" fmla="*/ 388 w 401"/>
                <a:gd name="T17" fmla="*/ 525 h 525"/>
                <a:gd name="T18" fmla="*/ 25 w 401"/>
                <a:gd name="T19" fmla="*/ 500 h 525"/>
                <a:gd name="T20" fmla="*/ 376 w 401"/>
                <a:gd name="T21" fmla="*/ 500 h 525"/>
                <a:gd name="T22" fmla="*/ 376 w 401"/>
                <a:gd name="T23" fmla="*/ 25 h 525"/>
                <a:gd name="T24" fmla="*/ 25 w 401"/>
                <a:gd name="T25" fmla="*/ 25 h 525"/>
                <a:gd name="T26" fmla="*/ 25 w 401"/>
                <a:gd name="T27" fmla="*/ 50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1" h="525">
                  <a:moveTo>
                    <a:pt x="388" y="525"/>
                  </a:moveTo>
                  <a:lnTo>
                    <a:pt x="13" y="525"/>
                  </a:lnTo>
                  <a:cubicBezTo>
                    <a:pt x="5" y="525"/>
                    <a:pt x="0" y="520"/>
                    <a:pt x="0" y="512"/>
                  </a:cubicBezTo>
                  <a:lnTo>
                    <a:pt x="0" y="12"/>
                  </a:lnTo>
                  <a:cubicBezTo>
                    <a:pt x="0" y="5"/>
                    <a:pt x="5" y="0"/>
                    <a:pt x="13" y="0"/>
                  </a:cubicBezTo>
                  <a:lnTo>
                    <a:pt x="388" y="0"/>
                  </a:lnTo>
                  <a:cubicBezTo>
                    <a:pt x="395" y="0"/>
                    <a:pt x="401" y="5"/>
                    <a:pt x="401" y="12"/>
                  </a:cubicBezTo>
                  <a:lnTo>
                    <a:pt x="401" y="512"/>
                  </a:lnTo>
                  <a:cubicBezTo>
                    <a:pt x="401" y="520"/>
                    <a:pt x="394" y="525"/>
                    <a:pt x="388" y="525"/>
                  </a:cubicBezTo>
                  <a:close/>
                  <a:moveTo>
                    <a:pt x="25" y="500"/>
                  </a:moveTo>
                  <a:lnTo>
                    <a:pt x="376" y="500"/>
                  </a:lnTo>
                  <a:lnTo>
                    <a:pt x="376" y="25"/>
                  </a:lnTo>
                  <a:lnTo>
                    <a:pt x="25" y="25"/>
                  </a:lnTo>
                  <a:lnTo>
                    <a:pt x="25" y="50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spc="0" normalizeH="0" noProof="0">
                <a:ln>
                  <a:noFill/>
                </a:ln>
                <a:solidFill>
                  <a:prstClr val="black"/>
                </a:solidFill>
                <a:effectLst/>
                <a:uLnTx/>
                <a:uFillTx/>
                <a:latin typeface="Calibri" panose="020F0502020204030204"/>
                <a:ea typeface="+mn-ea"/>
                <a:cs typeface="+mn-cs"/>
              </a:endParaRPr>
            </a:p>
          </p:txBody>
        </p:sp>
        <p:sp>
          <p:nvSpPr>
            <p:cNvPr id="74" name="Document2">
              <a:extLst>
                <a:ext uri="{FF2B5EF4-FFF2-40B4-BE49-F238E27FC236}">
                  <a16:creationId xmlns:a16="http://schemas.microsoft.com/office/drawing/2014/main" id="{E98F9903-E901-4977-94C2-DF167FD2D2F1}"/>
                </a:ext>
              </a:extLst>
            </p:cNvPr>
            <p:cNvSpPr>
              <a:spLocks noChangeArrowheads="1"/>
            </p:cNvSpPr>
            <p:nvPr>
              <p:custDataLst>
                <p:tags r:id="rId6"/>
              </p:custDataLst>
            </p:nvPr>
          </p:nvSpPr>
          <p:spPr bwMode="auto">
            <a:xfrm>
              <a:off x="205" y="239"/>
              <a:ext cx="94" cy="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spc="0" normalizeH="0" noProof="0">
                <a:ln>
                  <a:noFill/>
                </a:ln>
                <a:solidFill>
                  <a:prstClr val="black"/>
                </a:solidFill>
                <a:effectLst/>
                <a:uLnTx/>
                <a:uFillTx/>
                <a:latin typeface="Calibri" panose="020F0502020204030204"/>
                <a:ea typeface="+mn-ea"/>
                <a:cs typeface="+mn-cs"/>
              </a:endParaRPr>
            </a:p>
          </p:txBody>
        </p:sp>
        <p:sp>
          <p:nvSpPr>
            <p:cNvPr id="75" name="Document2">
              <a:extLst>
                <a:ext uri="{FF2B5EF4-FFF2-40B4-BE49-F238E27FC236}">
                  <a16:creationId xmlns:a16="http://schemas.microsoft.com/office/drawing/2014/main" id="{35ABF51C-0E2F-440B-87E0-E7D7DC92ECBD}"/>
                </a:ext>
              </a:extLst>
            </p:cNvPr>
            <p:cNvSpPr>
              <a:spLocks noChangeArrowheads="1"/>
            </p:cNvSpPr>
            <p:nvPr>
              <p:custDataLst>
                <p:tags r:id="rId7"/>
              </p:custDataLst>
            </p:nvPr>
          </p:nvSpPr>
          <p:spPr bwMode="auto">
            <a:xfrm>
              <a:off x="205" y="267"/>
              <a:ext cx="94" cy="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spc="0" normalizeH="0" noProof="0">
                <a:ln>
                  <a:noFill/>
                </a:ln>
                <a:solidFill>
                  <a:prstClr val="black"/>
                </a:solidFill>
                <a:effectLst/>
                <a:uLnTx/>
                <a:uFillTx/>
                <a:latin typeface="Calibri" panose="020F0502020204030204"/>
                <a:ea typeface="+mn-ea"/>
                <a:cs typeface="+mn-cs"/>
              </a:endParaRPr>
            </a:p>
          </p:txBody>
        </p:sp>
        <p:sp>
          <p:nvSpPr>
            <p:cNvPr id="76" name="Document2">
              <a:extLst>
                <a:ext uri="{FF2B5EF4-FFF2-40B4-BE49-F238E27FC236}">
                  <a16:creationId xmlns:a16="http://schemas.microsoft.com/office/drawing/2014/main" id="{9C2A5DE0-07CB-4F1C-91D1-FF8B5E09DC7E}"/>
                </a:ext>
              </a:extLst>
            </p:cNvPr>
            <p:cNvSpPr>
              <a:spLocks noChangeArrowheads="1"/>
            </p:cNvSpPr>
            <p:nvPr>
              <p:custDataLst>
                <p:tags r:id="rId8"/>
              </p:custDataLst>
            </p:nvPr>
          </p:nvSpPr>
          <p:spPr bwMode="auto">
            <a:xfrm>
              <a:off x="205" y="295"/>
              <a:ext cx="94" cy="1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spc="0" normalizeH="0" noProof="0">
                <a:ln>
                  <a:noFill/>
                </a:ln>
                <a:solidFill>
                  <a:prstClr val="black"/>
                </a:solidFill>
                <a:effectLst/>
                <a:uLnTx/>
                <a:uFillTx/>
                <a:latin typeface="Calibri" panose="020F0502020204030204"/>
                <a:ea typeface="+mn-ea"/>
                <a:cs typeface="+mn-cs"/>
              </a:endParaRPr>
            </a:p>
          </p:txBody>
        </p:sp>
        <p:sp>
          <p:nvSpPr>
            <p:cNvPr id="77" name="Document2">
              <a:extLst>
                <a:ext uri="{FF2B5EF4-FFF2-40B4-BE49-F238E27FC236}">
                  <a16:creationId xmlns:a16="http://schemas.microsoft.com/office/drawing/2014/main" id="{2ECE7718-B2B6-4054-9827-EA2C9164DE8C}"/>
                </a:ext>
              </a:extLst>
            </p:cNvPr>
            <p:cNvSpPr>
              <a:spLocks noChangeArrowheads="1"/>
            </p:cNvSpPr>
            <p:nvPr>
              <p:custDataLst>
                <p:tags r:id="rId9"/>
              </p:custDataLst>
            </p:nvPr>
          </p:nvSpPr>
          <p:spPr bwMode="auto">
            <a:xfrm>
              <a:off x="252" y="182"/>
              <a:ext cx="47" cy="1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spc="0" normalizeH="0" noProof="0">
                <a:ln>
                  <a:noFill/>
                </a:ln>
                <a:solidFill>
                  <a:prstClr val="black"/>
                </a:solidFill>
                <a:effectLst/>
                <a:uLnTx/>
                <a:uFillTx/>
                <a:latin typeface="Calibri" panose="020F0502020204030204"/>
                <a:ea typeface="+mn-ea"/>
                <a:cs typeface="+mn-cs"/>
              </a:endParaRPr>
            </a:p>
          </p:txBody>
        </p:sp>
        <p:sp>
          <p:nvSpPr>
            <p:cNvPr id="78" name="Document2">
              <a:extLst>
                <a:ext uri="{FF2B5EF4-FFF2-40B4-BE49-F238E27FC236}">
                  <a16:creationId xmlns:a16="http://schemas.microsoft.com/office/drawing/2014/main" id="{CD77C45E-B96C-4703-926E-B89A2E8F4696}"/>
                </a:ext>
              </a:extLst>
            </p:cNvPr>
            <p:cNvSpPr>
              <a:spLocks noChangeArrowheads="1"/>
            </p:cNvSpPr>
            <p:nvPr>
              <p:custDataLst>
                <p:tags r:id="rId10"/>
              </p:custDataLst>
            </p:nvPr>
          </p:nvSpPr>
          <p:spPr bwMode="auto">
            <a:xfrm>
              <a:off x="252" y="211"/>
              <a:ext cx="47" cy="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spc="0" normalizeH="0" noProof="0">
                <a:ln>
                  <a:noFill/>
                </a:ln>
                <a:solidFill>
                  <a:prstClr val="black"/>
                </a:solidFill>
                <a:effectLst/>
                <a:uLnTx/>
                <a:uFillTx/>
                <a:latin typeface="Calibri" panose="020F0502020204030204"/>
                <a:ea typeface="+mn-ea"/>
                <a:cs typeface="+mn-cs"/>
              </a:endParaRPr>
            </a:p>
          </p:txBody>
        </p:sp>
        <p:sp>
          <p:nvSpPr>
            <p:cNvPr id="79" name="Document2">
              <a:extLst>
                <a:ext uri="{FF2B5EF4-FFF2-40B4-BE49-F238E27FC236}">
                  <a16:creationId xmlns:a16="http://schemas.microsoft.com/office/drawing/2014/main" id="{53EB1135-A45B-4737-B5E6-A2735AF58FF3}"/>
                </a:ext>
              </a:extLst>
            </p:cNvPr>
            <p:cNvSpPr>
              <a:spLocks/>
            </p:cNvSpPr>
            <p:nvPr>
              <p:custDataLst>
                <p:tags r:id="rId11"/>
              </p:custDataLst>
            </p:nvPr>
          </p:nvSpPr>
          <p:spPr bwMode="auto">
            <a:xfrm>
              <a:off x="206" y="182"/>
              <a:ext cx="36" cy="37"/>
            </a:xfrm>
            <a:custGeom>
              <a:avLst/>
              <a:gdLst>
                <a:gd name="T0" fmla="*/ 49 w 98"/>
                <a:gd name="T1" fmla="*/ 97 h 97"/>
                <a:gd name="T2" fmla="*/ 49 w 98"/>
                <a:gd name="T3" fmla="*/ 97 h 97"/>
                <a:gd name="T4" fmla="*/ 0 w 98"/>
                <a:gd name="T5" fmla="*/ 48 h 97"/>
                <a:gd name="T6" fmla="*/ 0 w 98"/>
                <a:gd name="T7" fmla="*/ 48 h 97"/>
                <a:gd name="T8" fmla="*/ 49 w 98"/>
                <a:gd name="T9" fmla="*/ 0 h 97"/>
                <a:gd name="T10" fmla="*/ 49 w 98"/>
                <a:gd name="T11" fmla="*/ 0 h 97"/>
                <a:gd name="T12" fmla="*/ 98 w 98"/>
                <a:gd name="T13" fmla="*/ 48 h 97"/>
                <a:gd name="T14" fmla="*/ 98 w 98"/>
                <a:gd name="T15" fmla="*/ 48 h 97"/>
                <a:gd name="T16" fmla="*/ 49 w 98"/>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97">
                  <a:moveTo>
                    <a:pt x="49" y="97"/>
                  </a:moveTo>
                  <a:lnTo>
                    <a:pt x="49" y="97"/>
                  </a:lnTo>
                  <a:cubicBezTo>
                    <a:pt x="22" y="97"/>
                    <a:pt x="0" y="75"/>
                    <a:pt x="0" y="48"/>
                  </a:cubicBezTo>
                  <a:lnTo>
                    <a:pt x="0" y="48"/>
                  </a:lnTo>
                  <a:cubicBezTo>
                    <a:pt x="0" y="21"/>
                    <a:pt x="23" y="0"/>
                    <a:pt x="49" y="0"/>
                  </a:cubicBezTo>
                  <a:lnTo>
                    <a:pt x="49" y="0"/>
                  </a:lnTo>
                  <a:cubicBezTo>
                    <a:pt x="77" y="0"/>
                    <a:pt x="98" y="22"/>
                    <a:pt x="98" y="48"/>
                  </a:cubicBezTo>
                  <a:lnTo>
                    <a:pt x="98" y="48"/>
                  </a:lnTo>
                  <a:cubicBezTo>
                    <a:pt x="98" y="76"/>
                    <a:pt x="77" y="97"/>
                    <a:pt x="49" y="9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spc="0" normalizeH="0" noProof="0">
                <a:ln>
                  <a:noFill/>
                </a:ln>
                <a:solidFill>
                  <a:prstClr val="black"/>
                </a:solidFill>
                <a:effectLst/>
                <a:uLnTx/>
                <a:uFillTx/>
                <a:latin typeface="Calibri" panose="020F0502020204030204"/>
                <a:ea typeface="+mn-ea"/>
                <a:cs typeface="+mn-cs"/>
              </a:endParaRPr>
            </a:p>
          </p:txBody>
        </p:sp>
      </p:grpSp>
      <p:pic>
        <p:nvPicPr>
          <p:cNvPr id="80" name="Graphique 79">
            <a:extLst>
              <a:ext uri="{FF2B5EF4-FFF2-40B4-BE49-F238E27FC236}">
                <a16:creationId xmlns:a16="http://schemas.microsoft.com/office/drawing/2014/main" id="{77080DDB-CAAD-4732-87B9-60615205D492}"/>
              </a:ext>
            </a:extLst>
          </p:cNvPr>
          <p:cNvPicPr>
            <a:picLocks noChangeAspect="1"/>
          </p:cNvPicPr>
          <p:nvPr/>
        </p:nvPicPr>
        <p:blipFill rotWithShape="1">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rcRect b="15000"/>
          <a:stretch/>
        </p:blipFill>
        <p:spPr>
          <a:xfrm>
            <a:off x="2758177" y="5546701"/>
            <a:ext cx="258531" cy="274687"/>
          </a:xfrm>
          <a:prstGeom prst="rect">
            <a:avLst/>
          </a:prstGeom>
        </p:spPr>
      </p:pic>
      <p:grpSp>
        <p:nvGrpSpPr>
          <p:cNvPr id="83" name="Database">
            <a:extLst>
              <a:ext uri="{FF2B5EF4-FFF2-40B4-BE49-F238E27FC236}">
                <a16:creationId xmlns:a16="http://schemas.microsoft.com/office/drawing/2014/main" id="{BF95378C-0619-49A0-A22F-A76C5155C1FF}"/>
              </a:ext>
            </a:extLst>
          </p:cNvPr>
          <p:cNvGrpSpPr>
            <a:grpSpLocks noChangeAspect="1"/>
          </p:cNvGrpSpPr>
          <p:nvPr>
            <p:custDataLst>
              <p:tags r:id="rId4"/>
            </p:custDataLst>
          </p:nvPr>
        </p:nvGrpSpPr>
        <p:grpSpPr>
          <a:xfrm>
            <a:off x="1073973" y="5557753"/>
            <a:ext cx="202031" cy="213806"/>
            <a:chOff x="-1607704" y="4375315"/>
            <a:chExt cx="357909" cy="378772"/>
          </a:xfrm>
          <a:solidFill>
            <a:schemeClr val="bg1"/>
          </a:solidFill>
        </p:grpSpPr>
        <p:sp>
          <p:nvSpPr>
            <p:cNvPr id="84" name="Flowchart: Magnetic Disk 36">
              <a:extLst>
                <a:ext uri="{FF2B5EF4-FFF2-40B4-BE49-F238E27FC236}">
                  <a16:creationId xmlns:a16="http://schemas.microsoft.com/office/drawing/2014/main" id="{53AC35F4-3C27-4152-BE22-550FC486AC50}"/>
                </a:ext>
              </a:extLst>
            </p:cNvPr>
            <p:cNvSpPr/>
            <p:nvPr/>
          </p:nvSpPr>
          <p:spPr>
            <a:xfrm>
              <a:off x="-1607704" y="4582410"/>
              <a:ext cx="357909" cy="171677"/>
            </a:xfrm>
            <a:prstGeom prst="flowChartMagneticDisk">
              <a:avLst/>
            </a:prstGeom>
            <a:grpFill/>
            <a:ln>
              <a:solidFill>
                <a:srgbClr val="289B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spc="0" normalizeH="0" noProof="0">
                <a:ln>
                  <a:noFill/>
                </a:ln>
                <a:solidFill>
                  <a:prstClr val="white"/>
                </a:solidFill>
                <a:effectLst/>
                <a:uLnTx/>
                <a:uFillTx/>
                <a:latin typeface="Calibri" panose="020F0502020204030204"/>
                <a:ea typeface="+mn-ea"/>
                <a:cs typeface="+mn-cs"/>
              </a:endParaRPr>
            </a:p>
          </p:txBody>
        </p:sp>
        <p:sp>
          <p:nvSpPr>
            <p:cNvPr id="85" name="Flowchart: Magnetic Disk 37">
              <a:extLst>
                <a:ext uri="{FF2B5EF4-FFF2-40B4-BE49-F238E27FC236}">
                  <a16:creationId xmlns:a16="http://schemas.microsoft.com/office/drawing/2014/main" id="{AFD2211E-4559-45CF-AE02-E683D92CA697}"/>
                </a:ext>
              </a:extLst>
            </p:cNvPr>
            <p:cNvSpPr/>
            <p:nvPr/>
          </p:nvSpPr>
          <p:spPr>
            <a:xfrm>
              <a:off x="-1607704" y="4481556"/>
              <a:ext cx="357909" cy="171677"/>
            </a:xfrm>
            <a:prstGeom prst="flowChartMagneticDisk">
              <a:avLst/>
            </a:prstGeom>
            <a:grpFill/>
            <a:ln>
              <a:solidFill>
                <a:srgbClr val="289B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spc="0" normalizeH="0" noProof="0">
                <a:ln>
                  <a:noFill/>
                </a:ln>
                <a:solidFill>
                  <a:prstClr val="white"/>
                </a:solidFill>
                <a:effectLst/>
                <a:uLnTx/>
                <a:uFillTx/>
                <a:latin typeface="Calibri" panose="020F0502020204030204"/>
                <a:ea typeface="+mn-ea"/>
                <a:cs typeface="+mn-cs"/>
              </a:endParaRPr>
            </a:p>
          </p:txBody>
        </p:sp>
        <p:sp>
          <p:nvSpPr>
            <p:cNvPr id="86" name="Flowchart: Magnetic Disk 41">
              <a:extLst>
                <a:ext uri="{FF2B5EF4-FFF2-40B4-BE49-F238E27FC236}">
                  <a16:creationId xmlns:a16="http://schemas.microsoft.com/office/drawing/2014/main" id="{B2BB3AF4-5E8A-4191-B4D2-74C799C2BE4B}"/>
                </a:ext>
              </a:extLst>
            </p:cNvPr>
            <p:cNvSpPr/>
            <p:nvPr/>
          </p:nvSpPr>
          <p:spPr>
            <a:xfrm>
              <a:off x="-1607704" y="4375315"/>
              <a:ext cx="357909" cy="171677"/>
            </a:xfrm>
            <a:prstGeom prst="flowChartMagneticDisk">
              <a:avLst/>
            </a:prstGeom>
            <a:grpFill/>
            <a:ln>
              <a:solidFill>
                <a:srgbClr val="289B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spc="0" normalizeH="0" noProof="0">
                <a:ln>
                  <a:noFill/>
                </a:ln>
                <a:solidFill>
                  <a:prstClr val="white"/>
                </a:solidFill>
                <a:effectLst/>
                <a:uLnTx/>
                <a:uFillTx/>
                <a:latin typeface="Calibri" panose="020F0502020204030204"/>
                <a:ea typeface="+mn-ea"/>
                <a:cs typeface="+mn-cs"/>
              </a:endParaRPr>
            </a:p>
          </p:txBody>
        </p:sp>
      </p:grpSp>
      <p:sp>
        <p:nvSpPr>
          <p:cNvPr id="82" name="Arrow: Chevron 63">
            <a:extLst>
              <a:ext uri="{FF2B5EF4-FFF2-40B4-BE49-F238E27FC236}">
                <a16:creationId xmlns:a16="http://schemas.microsoft.com/office/drawing/2014/main" id="{F570ADB7-CE0C-408B-853F-606FD8CD8390}"/>
              </a:ext>
            </a:extLst>
          </p:cNvPr>
          <p:cNvSpPr/>
          <p:nvPr/>
        </p:nvSpPr>
        <p:spPr bwMode="auto">
          <a:xfrm>
            <a:off x="7421665" y="5437011"/>
            <a:ext cx="1533600" cy="476086"/>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360000" tIns="45720" rIns="0" bIns="45720" numCol="1" rtlCol="0" anchor="ctr" anchorCtr="0" compatLnSpc="1">
            <a:prstTxWarp prst="textNoShape">
              <a:avLst/>
            </a:prstTxWarp>
          </a:bodyPr>
          <a:lstStyle/>
          <a:p>
            <a:r>
              <a:rPr lang="en-GB" sz="1000" b="1">
                <a:solidFill>
                  <a:schemeClr val="bg1"/>
                </a:solidFill>
                <a:latin typeface="Trebuchet MS" panose="020B0603020202020204" pitchFamily="34" charset="0"/>
              </a:rPr>
              <a:t>Adjacent services</a:t>
            </a:r>
          </a:p>
        </p:txBody>
      </p:sp>
      <p:pic>
        <p:nvPicPr>
          <p:cNvPr id="87" name="Graphique 86" descr="Argent">
            <a:extLst>
              <a:ext uri="{FF2B5EF4-FFF2-40B4-BE49-F238E27FC236}">
                <a16:creationId xmlns:a16="http://schemas.microsoft.com/office/drawing/2014/main" id="{1D2ED660-022A-4C82-BFAB-338E701B8573}"/>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7602856" y="5519212"/>
            <a:ext cx="294103" cy="294103"/>
          </a:xfrm>
          <a:prstGeom prst="rect">
            <a:avLst/>
          </a:prstGeom>
        </p:spPr>
      </p:pic>
      <p:grpSp>
        <p:nvGrpSpPr>
          <p:cNvPr id="9" name="Groupe 8">
            <a:extLst>
              <a:ext uri="{FF2B5EF4-FFF2-40B4-BE49-F238E27FC236}">
                <a16:creationId xmlns:a16="http://schemas.microsoft.com/office/drawing/2014/main" id="{E267BEFF-062C-468C-820D-B10534E65F94}"/>
              </a:ext>
            </a:extLst>
          </p:cNvPr>
          <p:cNvGrpSpPr/>
          <p:nvPr/>
        </p:nvGrpSpPr>
        <p:grpSpPr>
          <a:xfrm>
            <a:off x="901875" y="1967155"/>
            <a:ext cx="8013007" cy="3200817"/>
            <a:chOff x="901875" y="1967155"/>
            <a:chExt cx="8013007" cy="3200817"/>
          </a:xfrm>
        </p:grpSpPr>
        <p:sp>
          <p:nvSpPr>
            <p:cNvPr id="89" name="Chevron 3">
              <a:extLst>
                <a:ext uri="{FF2B5EF4-FFF2-40B4-BE49-F238E27FC236}">
                  <a16:creationId xmlns:a16="http://schemas.microsoft.com/office/drawing/2014/main" id="{4FB78A22-238D-4CF3-A9D7-B68786242484}"/>
                </a:ext>
              </a:extLst>
            </p:cNvPr>
            <p:cNvSpPr/>
            <p:nvPr/>
          </p:nvSpPr>
          <p:spPr bwMode="auto">
            <a:xfrm>
              <a:off x="901875" y="4724793"/>
              <a:ext cx="1537530" cy="443179"/>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Basic public data</a:t>
              </a:r>
              <a:endParaRPr lang="en-GB" sz="1000">
                <a:latin typeface="Trebuchet MS" pitchFamily="34" charset="0"/>
              </a:endParaRPr>
            </a:p>
          </p:txBody>
        </p:sp>
        <p:sp>
          <p:nvSpPr>
            <p:cNvPr id="90" name="Chevron 3 - 1">
              <a:extLst>
                <a:ext uri="{FF2B5EF4-FFF2-40B4-BE49-F238E27FC236}">
                  <a16:creationId xmlns:a16="http://schemas.microsoft.com/office/drawing/2014/main" id="{34319078-8A2E-46CB-A716-5C95204CFE7D}"/>
                </a:ext>
              </a:extLst>
            </p:cNvPr>
            <p:cNvSpPr/>
            <p:nvPr/>
          </p:nvSpPr>
          <p:spPr bwMode="auto">
            <a:xfrm>
              <a:off x="901875" y="4173813"/>
              <a:ext cx="1537530" cy="443179"/>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Verified/corrected basic public data</a:t>
              </a:r>
              <a:endParaRPr lang="en-GB" sz="1000">
                <a:latin typeface="Trebuchet MS" pitchFamily="34" charset="0"/>
              </a:endParaRPr>
            </a:p>
          </p:txBody>
        </p:sp>
        <p:sp>
          <p:nvSpPr>
            <p:cNvPr id="92" name="Chevron 3 - 2">
              <a:extLst>
                <a:ext uri="{FF2B5EF4-FFF2-40B4-BE49-F238E27FC236}">
                  <a16:creationId xmlns:a16="http://schemas.microsoft.com/office/drawing/2014/main" id="{2E078447-81D8-4FF6-9089-EBAB962B4899}"/>
                </a:ext>
              </a:extLst>
            </p:cNvPr>
            <p:cNvSpPr/>
            <p:nvPr/>
          </p:nvSpPr>
          <p:spPr bwMode="auto">
            <a:xfrm>
              <a:off x="901875" y="3622836"/>
              <a:ext cx="1537530" cy="443179"/>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Complex legal data</a:t>
              </a:r>
              <a:endParaRPr lang="en-GB" sz="1000">
                <a:latin typeface="Trebuchet MS" pitchFamily="34" charset="0"/>
              </a:endParaRPr>
            </a:p>
          </p:txBody>
        </p:sp>
        <p:sp>
          <p:nvSpPr>
            <p:cNvPr id="101" name="Chevron 3 - 3">
              <a:extLst>
                <a:ext uri="{FF2B5EF4-FFF2-40B4-BE49-F238E27FC236}">
                  <a16:creationId xmlns:a16="http://schemas.microsoft.com/office/drawing/2014/main" id="{E2577517-BEF0-45B5-B1D3-B907FB33A177}"/>
                </a:ext>
              </a:extLst>
            </p:cNvPr>
            <p:cNvSpPr/>
            <p:nvPr/>
          </p:nvSpPr>
          <p:spPr bwMode="auto">
            <a:xfrm>
              <a:off x="901875" y="2520880"/>
              <a:ext cx="1537530" cy="443179"/>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spc="-20">
                  <a:solidFill>
                    <a:schemeClr val="tx2"/>
                  </a:solidFill>
                  <a:latin typeface="Trebuchet MS" pitchFamily="34" charset="0"/>
                </a:rPr>
                <a:t>Private data</a:t>
              </a:r>
              <a:endParaRPr lang="en-GB" sz="1000">
                <a:latin typeface="Trebuchet MS" pitchFamily="34" charset="0"/>
              </a:endParaRPr>
            </a:p>
          </p:txBody>
        </p:sp>
        <p:sp>
          <p:nvSpPr>
            <p:cNvPr id="102" name="Chevron 3 - 4">
              <a:extLst>
                <a:ext uri="{FF2B5EF4-FFF2-40B4-BE49-F238E27FC236}">
                  <a16:creationId xmlns:a16="http://schemas.microsoft.com/office/drawing/2014/main" id="{788D84D0-0CCD-4C9D-9D5E-120A9FB9016B}"/>
                </a:ext>
              </a:extLst>
            </p:cNvPr>
            <p:cNvSpPr/>
            <p:nvPr/>
          </p:nvSpPr>
          <p:spPr bwMode="auto">
            <a:xfrm>
              <a:off x="901875" y="3071858"/>
              <a:ext cx="1537530" cy="443179"/>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International</a:t>
              </a:r>
              <a:br>
                <a:rPr lang="en-GB" sz="1000" b="1">
                  <a:solidFill>
                    <a:schemeClr val="tx2"/>
                  </a:solidFill>
                  <a:latin typeface="Trebuchet MS" pitchFamily="34" charset="0"/>
                </a:rPr>
              </a:br>
              <a:r>
                <a:rPr lang="en-GB" sz="1000" b="1">
                  <a:solidFill>
                    <a:schemeClr val="tx2"/>
                  </a:solidFill>
                  <a:latin typeface="Trebuchet MS" pitchFamily="34" charset="0"/>
                </a:rPr>
                <a:t>data</a:t>
              </a:r>
              <a:endParaRPr lang="en-GB" sz="1000">
                <a:latin typeface="Trebuchet MS" pitchFamily="34" charset="0"/>
              </a:endParaRPr>
            </a:p>
          </p:txBody>
        </p:sp>
        <p:sp>
          <p:nvSpPr>
            <p:cNvPr id="103" name="Chevron 3 - 4">
              <a:extLst>
                <a:ext uri="{FF2B5EF4-FFF2-40B4-BE49-F238E27FC236}">
                  <a16:creationId xmlns:a16="http://schemas.microsoft.com/office/drawing/2014/main" id="{5A01302D-4418-47B2-8F25-2F409529B42C}"/>
                </a:ext>
              </a:extLst>
            </p:cNvPr>
            <p:cNvSpPr/>
            <p:nvPr/>
          </p:nvSpPr>
          <p:spPr bwMode="auto">
            <a:xfrm>
              <a:off x="901875" y="1967163"/>
              <a:ext cx="1537530" cy="443179"/>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Unstructured data</a:t>
              </a:r>
              <a:endParaRPr lang="en-GB" sz="1000">
                <a:latin typeface="Trebuchet MS" pitchFamily="34" charset="0"/>
              </a:endParaRPr>
            </a:p>
          </p:txBody>
        </p:sp>
        <p:sp>
          <p:nvSpPr>
            <p:cNvPr id="111" name="Chevron 3">
              <a:extLst>
                <a:ext uri="{FF2B5EF4-FFF2-40B4-BE49-F238E27FC236}">
                  <a16:creationId xmlns:a16="http://schemas.microsoft.com/office/drawing/2014/main" id="{EBFD71E1-BA06-450E-A74A-8EE049BDD645}"/>
                </a:ext>
              </a:extLst>
            </p:cNvPr>
            <p:cNvSpPr/>
            <p:nvPr/>
          </p:nvSpPr>
          <p:spPr bwMode="auto">
            <a:xfrm>
              <a:off x="2523104" y="4442800"/>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Basic score</a:t>
              </a:r>
              <a:endParaRPr lang="en-GB" sz="1000">
                <a:latin typeface="Trebuchet MS" pitchFamily="34" charset="0"/>
              </a:endParaRPr>
            </a:p>
          </p:txBody>
        </p:sp>
        <p:sp>
          <p:nvSpPr>
            <p:cNvPr id="112" name="Chevron 3 - 1">
              <a:extLst>
                <a:ext uri="{FF2B5EF4-FFF2-40B4-BE49-F238E27FC236}">
                  <a16:creationId xmlns:a16="http://schemas.microsoft.com/office/drawing/2014/main" id="{5A6442B5-D093-4C5A-A5A2-351A3327EE57}"/>
                </a:ext>
              </a:extLst>
            </p:cNvPr>
            <p:cNvSpPr/>
            <p:nvPr/>
          </p:nvSpPr>
          <p:spPr bwMode="auto">
            <a:xfrm>
              <a:off x="2523104" y="3617585"/>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Industry specific score</a:t>
              </a:r>
              <a:endParaRPr lang="en-GB" sz="1000">
                <a:latin typeface="Trebuchet MS" pitchFamily="34" charset="0"/>
              </a:endParaRPr>
            </a:p>
          </p:txBody>
        </p:sp>
        <p:sp>
          <p:nvSpPr>
            <p:cNvPr id="113" name="Chevron 3 - 2">
              <a:extLst>
                <a:ext uri="{FF2B5EF4-FFF2-40B4-BE49-F238E27FC236}">
                  <a16:creationId xmlns:a16="http://schemas.microsoft.com/office/drawing/2014/main" id="{E534A449-584B-4DA1-A92D-F282E288C930}"/>
                </a:ext>
              </a:extLst>
            </p:cNvPr>
            <p:cNvSpPr/>
            <p:nvPr/>
          </p:nvSpPr>
          <p:spPr bwMode="auto">
            <a:xfrm>
              <a:off x="2523103" y="1967155"/>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Real-time updated score</a:t>
              </a:r>
              <a:endParaRPr lang="en-GB" sz="1000">
                <a:latin typeface="Trebuchet MS" pitchFamily="34" charset="0"/>
              </a:endParaRPr>
            </a:p>
          </p:txBody>
        </p:sp>
        <p:sp>
          <p:nvSpPr>
            <p:cNvPr id="114" name="Chevron 3 - 3">
              <a:extLst>
                <a:ext uri="{FF2B5EF4-FFF2-40B4-BE49-F238E27FC236}">
                  <a16:creationId xmlns:a16="http://schemas.microsoft.com/office/drawing/2014/main" id="{F0032312-E492-4D49-946B-78DB6C67A7B2}"/>
                </a:ext>
              </a:extLst>
            </p:cNvPr>
            <p:cNvSpPr/>
            <p:nvPr/>
          </p:nvSpPr>
          <p:spPr bwMode="auto">
            <a:xfrm>
              <a:off x="2523103" y="2792370"/>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Client-specific score</a:t>
              </a:r>
              <a:endParaRPr lang="en-GB" sz="1000">
                <a:latin typeface="Trebuchet MS" pitchFamily="34" charset="0"/>
              </a:endParaRPr>
            </a:p>
          </p:txBody>
        </p:sp>
        <p:sp>
          <p:nvSpPr>
            <p:cNvPr id="116" name="Chevron 3">
              <a:extLst>
                <a:ext uri="{FF2B5EF4-FFF2-40B4-BE49-F238E27FC236}">
                  <a16:creationId xmlns:a16="http://schemas.microsoft.com/office/drawing/2014/main" id="{445B4C7B-D570-4EDA-942A-4C421ADCEFBE}"/>
                </a:ext>
              </a:extLst>
            </p:cNvPr>
            <p:cNvSpPr/>
            <p:nvPr/>
          </p:nvSpPr>
          <p:spPr bwMode="auto">
            <a:xfrm>
              <a:off x="5765562" y="4442802"/>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Simple API connection</a:t>
              </a:r>
              <a:endParaRPr lang="en-GB" sz="1000">
                <a:latin typeface="Trebuchet MS" pitchFamily="34" charset="0"/>
              </a:endParaRPr>
            </a:p>
          </p:txBody>
        </p:sp>
        <p:sp>
          <p:nvSpPr>
            <p:cNvPr id="117" name="Chevron 3 - 1">
              <a:extLst>
                <a:ext uri="{FF2B5EF4-FFF2-40B4-BE49-F238E27FC236}">
                  <a16:creationId xmlns:a16="http://schemas.microsoft.com/office/drawing/2014/main" id="{F4531E17-053F-40C1-AF48-6B1D062F728D}"/>
                </a:ext>
              </a:extLst>
            </p:cNvPr>
            <p:cNvSpPr/>
            <p:nvPr/>
          </p:nvSpPr>
          <p:spPr bwMode="auto">
            <a:xfrm>
              <a:off x="5765562" y="3617588"/>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Integration with third party system (ex: CRM, SRM, Credit risk </a:t>
              </a:r>
              <a:r>
                <a:rPr lang="en-GB" sz="1000" b="1" err="1">
                  <a:solidFill>
                    <a:schemeClr val="tx2"/>
                  </a:solidFill>
                  <a:latin typeface="Trebuchet MS" pitchFamily="34" charset="0"/>
                </a:rPr>
                <a:t>mgt</a:t>
              </a:r>
              <a:r>
                <a:rPr lang="en-GB" sz="1000" b="1">
                  <a:solidFill>
                    <a:schemeClr val="tx2"/>
                  </a:solidFill>
                  <a:latin typeface="Trebuchet MS" pitchFamily="34" charset="0"/>
                </a:rPr>
                <a:t>…)</a:t>
              </a:r>
            </a:p>
          </p:txBody>
        </p:sp>
        <p:sp>
          <p:nvSpPr>
            <p:cNvPr id="118" name="Chevron 3 - 2">
              <a:extLst>
                <a:ext uri="{FF2B5EF4-FFF2-40B4-BE49-F238E27FC236}">
                  <a16:creationId xmlns:a16="http://schemas.microsoft.com/office/drawing/2014/main" id="{F0FB321C-A1DD-4DC8-9C46-47959477D3CD}"/>
                </a:ext>
              </a:extLst>
            </p:cNvPr>
            <p:cNvSpPr/>
            <p:nvPr/>
          </p:nvSpPr>
          <p:spPr bwMode="auto">
            <a:xfrm>
              <a:off x="5765561" y="1967157"/>
              <a:ext cx="1537529" cy="1550377"/>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anose="020B0603020202020204" pitchFamily="34" charset="0"/>
                </a:rPr>
                <a:t>Integration with the client’s own IT solution</a:t>
              </a:r>
            </a:p>
          </p:txBody>
        </p:sp>
        <p:sp>
          <p:nvSpPr>
            <p:cNvPr id="121" name="Chevron 3 - 1">
              <a:extLst>
                <a:ext uri="{FF2B5EF4-FFF2-40B4-BE49-F238E27FC236}">
                  <a16:creationId xmlns:a16="http://schemas.microsoft.com/office/drawing/2014/main" id="{22C9C9C0-C8C5-4305-9B62-2C42D0E1F2C4}"/>
                </a:ext>
              </a:extLst>
            </p:cNvPr>
            <p:cNvSpPr/>
            <p:nvPr/>
          </p:nvSpPr>
          <p:spPr bwMode="auto">
            <a:xfrm>
              <a:off x="4144331" y="4442219"/>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Generic web interface (serving all customers)</a:t>
              </a:r>
              <a:endParaRPr lang="en-GB" sz="1000">
                <a:latin typeface="Trebuchet MS" pitchFamily="34" charset="0"/>
              </a:endParaRPr>
            </a:p>
          </p:txBody>
        </p:sp>
        <p:sp>
          <p:nvSpPr>
            <p:cNvPr id="122" name="Chevron 3 - 2">
              <a:extLst>
                <a:ext uri="{FF2B5EF4-FFF2-40B4-BE49-F238E27FC236}">
                  <a16:creationId xmlns:a16="http://schemas.microsoft.com/office/drawing/2014/main" id="{A8E744D2-AE51-42A5-9322-5B7CD211673E}"/>
                </a:ext>
              </a:extLst>
            </p:cNvPr>
            <p:cNvSpPr/>
            <p:nvPr/>
          </p:nvSpPr>
          <p:spPr bwMode="auto">
            <a:xfrm>
              <a:off x="4144330" y="3617214"/>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spc="-20">
                  <a:solidFill>
                    <a:schemeClr val="tx2"/>
                  </a:solidFill>
                  <a:latin typeface="Trebuchet MS" pitchFamily="34" charset="0"/>
                </a:rPr>
                <a:t>Personalized web interface per industry</a:t>
              </a:r>
              <a:endParaRPr lang="en-GB" sz="1000">
                <a:latin typeface="Trebuchet MS" pitchFamily="34" charset="0"/>
              </a:endParaRPr>
            </a:p>
          </p:txBody>
        </p:sp>
        <p:sp>
          <p:nvSpPr>
            <p:cNvPr id="123" name="Chevron 3 - 3">
              <a:extLst>
                <a:ext uri="{FF2B5EF4-FFF2-40B4-BE49-F238E27FC236}">
                  <a16:creationId xmlns:a16="http://schemas.microsoft.com/office/drawing/2014/main" id="{690709CA-66C9-4A11-AB21-C39174E7C8B2}"/>
                </a:ext>
              </a:extLst>
            </p:cNvPr>
            <p:cNvSpPr/>
            <p:nvPr/>
          </p:nvSpPr>
          <p:spPr bwMode="auto">
            <a:xfrm>
              <a:off x="4144330" y="2792210"/>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spc="-20">
                  <a:solidFill>
                    <a:schemeClr val="tx2"/>
                  </a:solidFill>
                  <a:latin typeface="Trebuchet MS" pitchFamily="34" charset="0"/>
                </a:rPr>
                <a:t>Personalized web interface per client</a:t>
              </a:r>
              <a:endParaRPr lang="en-GB" sz="1000">
                <a:latin typeface="Trebuchet MS" pitchFamily="34" charset="0"/>
              </a:endParaRPr>
            </a:p>
          </p:txBody>
        </p:sp>
        <p:sp>
          <p:nvSpPr>
            <p:cNvPr id="124" name="Chevron 3 - 4">
              <a:extLst>
                <a:ext uri="{FF2B5EF4-FFF2-40B4-BE49-F238E27FC236}">
                  <a16:creationId xmlns:a16="http://schemas.microsoft.com/office/drawing/2014/main" id="{1E4D4B87-3853-484C-AF26-F400F244DB61}"/>
                </a:ext>
              </a:extLst>
            </p:cNvPr>
            <p:cNvSpPr/>
            <p:nvPr/>
          </p:nvSpPr>
          <p:spPr bwMode="auto">
            <a:xfrm>
              <a:off x="4144330" y="1967206"/>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Ultra personalized interface with alerts</a:t>
              </a:r>
            </a:p>
          </p:txBody>
        </p:sp>
        <p:sp>
          <p:nvSpPr>
            <p:cNvPr id="125" name="Chevron 3">
              <a:extLst>
                <a:ext uri="{FF2B5EF4-FFF2-40B4-BE49-F238E27FC236}">
                  <a16:creationId xmlns:a16="http://schemas.microsoft.com/office/drawing/2014/main" id="{A0B03716-111E-473F-A0A3-80CC8C4CDD84}"/>
                </a:ext>
              </a:extLst>
            </p:cNvPr>
            <p:cNvSpPr/>
            <p:nvPr/>
          </p:nvSpPr>
          <p:spPr bwMode="auto">
            <a:xfrm>
              <a:off x="7377352" y="4488921"/>
              <a:ext cx="1537529" cy="678456"/>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endParaRPr lang="en-GB" sz="1000" b="1">
                <a:solidFill>
                  <a:schemeClr val="tx2"/>
                </a:solidFill>
                <a:latin typeface="Trebuchet MS" pitchFamily="34" charset="0"/>
              </a:endParaRPr>
            </a:p>
            <a:p>
              <a:pPr algn="ctr"/>
              <a:endParaRPr lang="en-GB" sz="1000" b="1">
                <a:solidFill>
                  <a:schemeClr val="tx2"/>
                </a:solidFill>
                <a:latin typeface="Trebuchet MS" pitchFamily="34" charset="0"/>
              </a:endParaRPr>
            </a:p>
            <a:p>
              <a:pPr algn="ctr"/>
              <a:r>
                <a:rPr lang="en-GB" sz="1000" b="1">
                  <a:solidFill>
                    <a:schemeClr val="tx2"/>
                  </a:solidFill>
                  <a:latin typeface="Trebuchet MS" pitchFamily="34" charset="0"/>
                </a:rPr>
                <a:t>Credit insurance</a:t>
              </a:r>
            </a:p>
            <a:p>
              <a:pPr algn="ctr"/>
              <a:endParaRPr lang="en-GB" sz="1000" b="1">
                <a:solidFill>
                  <a:schemeClr val="tx2"/>
                </a:solidFill>
                <a:latin typeface="Trebuchet MS" pitchFamily="34" charset="0"/>
              </a:endParaRPr>
            </a:p>
            <a:p>
              <a:pPr algn="ctr"/>
              <a:endParaRPr lang="en-GB" sz="1000" b="1">
                <a:solidFill>
                  <a:schemeClr val="tx2"/>
                </a:solidFill>
                <a:latin typeface="Trebuchet MS" pitchFamily="34" charset="0"/>
              </a:endParaRPr>
            </a:p>
            <a:p>
              <a:pPr algn="ctr"/>
              <a:endParaRPr lang="en-GB" sz="1000" b="1">
                <a:solidFill>
                  <a:schemeClr val="tx2"/>
                </a:solidFill>
                <a:latin typeface="Trebuchet MS" pitchFamily="34" charset="0"/>
              </a:endParaRPr>
            </a:p>
          </p:txBody>
        </p:sp>
        <p:sp>
          <p:nvSpPr>
            <p:cNvPr id="126" name="Chevron 3 - 1">
              <a:extLst>
                <a:ext uri="{FF2B5EF4-FFF2-40B4-BE49-F238E27FC236}">
                  <a16:creationId xmlns:a16="http://schemas.microsoft.com/office/drawing/2014/main" id="{DCEF34A2-9215-48A4-ADDF-0DC3487DC45A}"/>
                </a:ext>
              </a:extLst>
            </p:cNvPr>
            <p:cNvSpPr/>
            <p:nvPr/>
          </p:nvSpPr>
          <p:spPr bwMode="auto">
            <a:xfrm>
              <a:off x="7377353" y="4067352"/>
              <a:ext cx="1537529" cy="327955"/>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Factoring</a:t>
              </a:r>
            </a:p>
          </p:txBody>
        </p:sp>
        <p:sp>
          <p:nvSpPr>
            <p:cNvPr id="127" name="Chevron 3 - 2">
              <a:extLst>
                <a:ext uri="{FF2B5EF4-FFF2-40B4-BE49-F238E27FC236}">
                  <a16:creationId xmlns:a16="http://schemas.microsoft.com/office/drawing/2014/main" id="{1508050E-9AA2-4CE3-86B0-6A7DF409CA24}"/>
                </a:ext>
              </a:extLst>
            </p:cNvPr>
            <p:cNvSpPr/>
            <p:nvPr/>
          </p:nvSpPr>
          <p:spPr bwMode="auto">
            <a:xfrm>
              <a:off x="7377352" y="3615208"/>
              <a:ext cx="1537529" cy="376533"/>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Debt recovery</a:t>
              </a:r>
            </a:p>
          </p:txBody>
        </p:sp>
        <p:sp>
          <p:nvSpPr>
            <p:cNvPr id="128" name="Chevron 3 - 3">
              <a:extLst>
                <a:ext uri="{FF2B5EF4-FFF2-40B4-BE49-F238E27FC236}">
                  <a16:creationId xmlns:a16="http://schemas.microsoft.com/office/drawing/2014/main" id="{229A1A71-33E3-4019-8A4C-31508BC2A3FD}"/>
                </a:ext>
              </a:extLst>
            </p:cNvPr>
            <p:cNvSpPr/>
            <p:nvPr/>
          </p:nvSpPr>
          <p:spPr bwMode="auto">
            <a:xfrm>
              <a:off x="7377352" y="2772855"/>
              <a:ext cx="1537529" cy="353523"/>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Compliance full audit</a:t>
              </a:r>
            </a:p>
          </p:txBody>
        </p:sp>
        <p:sp>
          <p:nvSpPr>
            <p:cNvPr id="129" name="Chevron 3 - 3">
              <a:extLst>
                <a:ext uri="{FF2B5EF4-FFF2-40B4-BE49-F238E27FC236}">
                  <a16:creationId xmlns:a16="http://schemas.microsoft.com/office/drawing/2014/main" id="{7A6C40CB-2A3E-4B73-A437-BA42E341F572}"/>
                </a:ext>
              </a:extLst>
            </p:cNvPr>
            <p:cNvSpPr/>
            <p:nvPr/>
          </p:nvSpPr>
          <p:spPr bwMode="auto">
            <a:xfrm>
              <a:off x="7377352" y="3212160"/>
              <a:ext cx="1537529" cy="309434"/>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Financial analysis and rating</a:t>
              </a:r>
            </a:p>
          </p:txBody>
        </p:sp>
        <p:sp>
          <p:nvSpPr>
            <p:cNvPr id="130" name="Chevron 3 - 3">
              <a:extLst>
                <a:ext uri="{FF2B5EF4-FFF2-40B4-BE49-F238E27FC236}">
                  <a16:creationId xmlns:a16="http://schemas.microsoft.com/office/drawing/2014/main" id="{33E94679-2074-418D-ADEB-5E58E9592DA7}"/>
                </a:ext>
              </a:extLst>
            </p:cNvPr>
            <p:cNvSpPr/>
            <p:nvPr/>
          </p:nvSpPr>
          <p:spPr bwMode="auto">
            <a:xfrm>
              <a:off x="7377352" y="1969530"/>
              <a:ext cx="1537529" cy="714682"/>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a:t>
              </a:r>
            </a:p>
          </p:txBody>
        </p:sp>
      </p:grpSp>
    </p:spTree>
    <p:extLst>
      <p:ext uri="{BB962C8B-B14F-4D97-AF65-F5344CB8AC3E}">
        <p14:creationId xmlns:p14="http://schemas.microsoft.com/office/powerpoint/2010/main" val="2013015705"/>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6BA13A3-5500-42BE-8170-FA99F0FBA2D7}"/>
              </a:ext>
            </a:extLst>
          </p:cNvPr>
          <p:cNvGraphicFramePr>
            <a:graphicFrameLocks noChangeAspect="1"/>
          </p:cNvGraphicFramePr>
          <p:nvPr>
            <p:custDataLst>
              <p:tags r:id="rId1"/>
            </p:custDataLst>
            <p:extLst>
              <p:ext uri="{D42A27DB-BD31-4B8C-83A1-F6EECF244321}">
                <p14:modId xmlns:p14="http://schemas.microsoft.com/office/powerpoint/2010/main" val="2579186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16" name="Object 15" hidden="1">
                        <a:extLst>
                          <a:ext uri="{FF2B5EF4-FFF2-40B4-BE49-F238E27FC236}">
                            <a16:creationId xmlns:a16="http://schemas.microsoft.com/office/drawing/2014/main" id="{16BA13A3-5500-42BE-8170-FA99F0FBA2D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96B131-4384-4F20-AAC3-60174B3C2D90}"/>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 name="Titre 2">
            <a:extLst>
              <a:ext uri="{FF2B5EF4-FFF2-40B4-BE49-F238E27FC236}">
                <a16:creationId xmlns:a16="http://schemas.microsoft.com/office/drawing/2014/main" id="{429E0BAD-778C-492F-9735-F7AB2249CA4A}"/>
              </a:ext>
            </a:extLst>
          </p:cNvPr>
          <p:cNvSpPr>
            <a:spLocks noGrp="1"/>
          </p:cNvSpPr>
          <p:nvPr>
            <p:ph type="title"/>
          </p:nvPr>
        </p:nvSpPr>
        <p:spPr>
          <a:xfrm>
            <a:off x="165600" y="147600"/>
            <a:ext cx="8239623" cy="684000"/>
          </a:xfrm>
        </p:spPr>
        <p:txBody>
          <a:bodyPr/>
          <a:lstStyle/>
          <a:p>
            <a:r>
              <a:rPr lang="en-GB">
                <a:solidFill>
                  <a:schemeClr val="tx2"/>
                </a:solidFill>
                <a:latin typeface="Trebuchet MS" panose="020B0603020202020204" pitchFamily="34" charset="0"/>
              </a:rPr>
              <a:t>Both in France &amp; Benelux</a:t>
            </a:r>
            <a:r>
              <a:rPr lang="en-GB">
                <a:latin typeface="Trebuchet MS" panose="020B0603020202020204" pitchFamily="34" charset="0"/>
              </a:rPr>
              <a:t>, </a:t>
            </a:r>
            <a:r>
              <a:rPr lang="en-GB">
                <a:solidFill>
                  <a:schemeClr val="tx2"/>
                </a:solidFill>
                <a:latin typeface="Trebuchet MS" panose="020B0603020202020204" pitchFamily="34" charset="0"/>
              </a:rPr>
              <a:t>premium players </a:t>
            </a:r>
            <a:r>
              <a:rPr lang="en-GB">
                <a:latin typeface="Trebuchet MS" panose="020B0603020202020204" pitchFamily="34" charset="0"/>
              </a:rPr>
              <a:t>such as </a:t>
            </a:r>
            <a:r>
              <a:rPr lang="en-GB" err="1">
                <a:latin typeface="Trebuchet MS" panose="020B0603020202020204" pitchFamily="34" charset="0"/>
              </a:rPr>
              <a:t>Altares</a:t>
            </a:r>
            <a:r>
              <a:rPr lang="en-GB">
                <a:latin typeface="Trebuchet MS" panose="020B0603020202020204" pitchFamily="34" charset="0"/>
              </a:rPr>
              <a:t> </a:t>
            </a:r>
            <a:r>
              <a:rPr lang="en-GB">
                <a:solidFill>
                  <a:schemeClr val="tx2"/>
                </a:solidFill>
                <a:latin typeface="Trebuchet MS" panose="020B0603020202020204" pitchFamily="34" charset="0"/>
              </a:rPr>
              <a:t>are</a:t>
            </a:r>
            <a:r>
              <a:rPr lang="en-GB">
                <a:latin typeface="Trebuchet MS" panose="020B0603020202020204" pitchFamily="34" charset="0"/>
              </a:rPr>
              <a:t> </a:t>
            </a:r>
            <a:r>
              <a:rPr lang="en-GB">
                <a:solidFill>
                  <a:schemeClr val="tx2"/>
                </a:solidFill>
                <a:latin typeface="Trebuchet MS" panose="020B0603020202020204" pitchFamily="34" charset="0"/>
              </a:rPr>
              <a:t>differentiating</a:t>
            </a:r>
            <a:r>
              <a:rPr lang="en-GB">
                <a:latin typeface="Trebuchet MS" panose="020B0603020202020204" pitchFamily="34" charset="0"/>
              </a:rPr>
              <a:t> from other players </a:t>
            </a:r>
            <a:r>
              <a:rPr lang="en-GB">
                <a:solidFill>
                  <a:schemeClr val="tx2"/>
                </a:solidFill>
                <a:latin typeface="Trebuchet MS" panose="020B0603020202020204" pitchFamily="34" charset="0"/>
              </a:rPr>
              <a:t>at each layer of service</a:t>
            </a:r>
            <a:r>
              <a:rPr lang="en-GB">
                <a:latin typeface="Trebuchet MS" panose="020B0603020202020204" pitchFamily="34" charset="0"/>
              </a:rPr>
              <a:t>, from a more valuable data to customized web platforms</a:t>
            </a:r>
          </a:p>
        </p:txBody>
      </p:sp>
      <p:cxnSp>
        <p:nvCxnSpPr>
          <p:cNvPr id="10" name="Connecteur droit 9">
            <a:extLst>
              <a:ext uri="{FF2B5EF4-FFF2-40B4-BE49-F238E27FC236}">
                <a16:creationId xmlns:a16="http://schemas.microsoft.com/office/drawing/2014/main" id="{819FFD6D-C859-43A1-AE63-EB9675F15D5D}"/>
              </a:ext>
            </a:extLst>
          </p:cNvPr>
          <p:cNvCxnSpPr>
            <a:cxnSpLocks/>
          </p:cNvCxnSpPr>
          <p:nvPr/>
        </p:nvCxnSpPr>
        <p:spPr bwMode="auto">
          <a:xfrm>
            <a:off x="301670" y="1310949"/>
            <a:ext cx="9344838"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1" name="Rectangle 84">
            <a:extLst>
              <a:ext uri="{FF2B5EF4-FFF2-40B4-BE49-F238E27FC236}">
                <a16:creationId xmlns:a16="http://schemas.microsoft.com/office/drawing/2014/main" id="{47616165-DDD5-44ED-B592-B1C71E3C74B2}"/>
              </a:ext>
            </a:extLst>
          </p:cNvPr>
          <p:cNvSpPr/>
          <p:nvPr/>
        </p:nvSpPr>
        <p:spPr bwMode="auto">
          <a:xfrm>
            <a:off x="1823205" y="1174934"/>
            <a:ext cx="6301770" cy="24579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defRPr/>
            </a:pPr>
            <a:r>
              <a:rPr lang="en-GB" sz="1100">
                <a:latin typeface="Trebuchet MS" panose="020B0603020202020204" pitchFamily="34" charset="0"/>
              </a:rPr>
              <a:t>Mapping of </a:t>
            </a:r>
            <a:r>
              <a:rPr lang="en-GB" sz="1100" err="1">
                <a:latin typeface="Trebuchet MS" panose="020B0603020202020204" pitchFamily="34" charset="0"/>
              </a:rPr>
              <a:t>Altares</a:t>
            </a:r>
            <a:r>
              <a:rPr lang="en-GB" sz="1100">
                <a:latin typeface="Trebuchet MS" panose="020B0603020202020204" pitchFamily="34" charset="0"/>
              </a:rPr>
              <a:t>’ main competitors on the Benelux and French Credit &amp; financial risk market</a:t>
            </a:r>
          </a:p>
        </p:txBody>
      </p:sp>
      <p:sp>
        <p:nvSpPr>
          <p:cNvPr id="96" name="Rectangle 95">
            <a:extLst>
              <a:ext uri="{FF2B5EF4-FFF2-40B4-BE49-F238E27FC236}">
                <a16:creationId xmlns:a16="http://schemas.microsoft.com/office/drawing/2014/main" id="{C4CDC83C-2278-480E-A012-8DF6E9D353CB}"/>
              </a:ext>
            </a:extLst>
          </p:cNvPr>
          <p:cNvSpPr/>
          <p:nvPr/>
        </p:nvSpPr>
        <p:spPr bwMode="auto">
          <a:xfrm>
            <a:off x="4511321" y="6068377"/>
            <a:ext cx="2548967" cy="34635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r"/>
            <a:r>
              <a:rPr kumimoji="0" lang="en-GB" sz="1000" b="1" i="1" strike="noStrike" cap="none" normalizeH="0" baseline="0">
                <a:ln>
                  <a:noFill/>
                </a:ln>
                <a:solidFill>
                  <a:schemeClr val="tx2"/>
                </a:solidFill>
                <a:effectLst/>
                <a:latin typeface="Trebuchet MS" panose="020B0603020202020204" pitchFamily="34" charset="0"/>
              </a:rPr>
              <a:t>Service added value</a:t>
            </a:r>
          </a:p>
        </p:txBody>
      </p:sp>
      <p:cxnSp>
        <p:nvCxnSpPr>
          <p:cNvPr id="94" name="Connecteur droit avec flèche 31">
            <a:extLst>
              <a:ext uri="{FF2B5EF4-FFF2-40B4-BE49-F238E27FC236}">
                <a16:creationId xmlns:a16="http://schemas.microsoft.com/office/drawing/2014/main" id="{6565169B-F169-49DB-AE07-8A40E34D6FBB}"/>
              </a:ext>
            </a:extLst>
          </p:cNvPr>
          <p:cNvCxnSpPr>
            <a:cxnSpLocks/>
          </p:cNvCxnSpPr>
          <p:nvPr/>
        </p:nvCxnSpPr>
        <p:spPr bwMode="auto">
          <a:xfrm>
            <a:off x="905916" y="5502079"/>
            <a:ext cx="6303460" cy="0"/>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95" name="Rectangle 94">
            <a:extLst>
              <a:ext uri="{FF2B5EF4-FFF2-40B4-BE49-F238E27FC236}">
                <a16:creationId xmlns:a16="http://schemas.microsoft.com/office/drawing/2014/main" id="{12E25148-6DFE-411E-A9DC-48A086A12F54}"/>
              </a:ext>
            </a:extLst>
          </p:cNvPr>
          <p:cNvSpPr/>
          <p:nvPr/>
        </p:nvSpPr>
        <p:spPr bwMode="auto">
          <a:xfrm>
            <a:off x="376714" y="2395684"/>
            <a:ext cx="529203" cy="34635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i="1">
                <a:latin typeface="Trebuchet MS" panose="020B0603020202020204" pitchFamily="34" charset="0"/>
              </a:rPr>
              <a:t>High end</a:t>
            </a:r>
            <a:endParaRPr kumimoji="0" lang="en-GB" sz="1000" b="0" i="1" u="none" strike="noStrike" cap="none" normalizeH="0" baseline="0">
              <a:ln>
                <a:noFill/>
              </a:ln>
              <a:effectLst/>
              <a:latin typeface="Trebuchet MS" panose="020B0603020202020204" pitchFamily="34" charset="0"/>
            </a:endParaRPr>
          </a:p>
        </p:txBody>
      </p:sp>
      <p:sp>
        <p:nvSpPr>
          <p:cNvPr id="128" name="Rectangle 127">
            <a:extLst>
              <a:ext uri="{FF2B5EF4-FFF2-40B4-BE49-F238E27FC236}">
                <a16:creationId xmlns:a16="http://schemas.microsoft.com/office/drawing/2014/main" id="{506DFF1C-3075-4D17-9E6D-72B52C178628}"/>
              </a:ext>
            </a:extLst>
          </p:cNvPr>
          <p:cNvSpPr/>
          <p:nvPr/>
        </p:nvSpPr>
        <p:spPr bwMode="auto">
          <a:xfrm>
            <a:off x="376714" y="4999766"/>
            <a:ext cx="529203" cy="34635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i="1">
                <a:latin typeface="Trebuchet MS" panose="020B0603020202020204" pitchFamily="34" charset="0"/>
              </a:rPr>
              <a:t>Low end</a:t>
            </a:r>
            <a:endParaRPr kumimoji="0" lang="en-GB" sz="1000" b="0" i="1" u="none" strike="noStrike" cap="none" normalizeH="0" baseline="0">
              <a:ln>
                <a:noFill/>
              </a:ln>
              <a:effectLst/>
              <a:latin typeface="Trebuchet MS" panose="020B0603020202020204" pitchFamily="34" charset="0"/>
            </a:endParaRPr>
          </a:p>
        </p:txBody>
      </p:sp>
      <p:sp>
        <p:nvSpPr>
          <p:cNvPr id="161" name="Rectangle 160">
            <a:extLst>
              <a:ext uri="{FF2B5EF4-FFF2-40B4-BE49-F238E27FC236}">
                <a16:creationId xmlns:a16="http://schemas.microsoft.com/office/drawing/2014/main" id="{231391C5-553D-4FEA-BA0F-5DAB178CFF75}"/>
              </a:ext>
            </a:extLst>
          </p:cNvPr>
          <p:cNvSpPr/>
          <p:nvPr/>
        </p:nvSpPr>
        <p:spPr bwMode="auto">
          <a:xfrm>
            <a:off x="301670" y="1908713"/>
            <a:ext cx="706715" cy="34635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strike="noStrike" cap="none" normalizeH="0" baseline="0">
                <a:ln>
                  <a:noFill/>
                </a:ln>
                <a:solidFill>
                  <a:schemeClr val="tx2"/>
                </a:solidFill>
                <a:effectLst/>
                <a:latin typeface="Trebuchet MS" panose="020B0603020202020204" pitchFamily="34" charset="0"/>
              </a:rPr>
              <a:t>Service quality</a:t>
            </a:r>
          </a:p>
        </p:txBody>
      </p:sp>
      <p:sp>
        <p:nvSpPr>
          <p:cNvPr id="86" name="Rectangle 85">
            <a:extLst>
              <a:ext uri="{FF2B5EF4-FFF2-40B4-BE49-F238E27FC236}">
                <a16:creationId xmlns:a16="http://schemas.microsoft.com/office/drawing/2014/main" id="{A48712C4-981C-408E-9EB7-C798809FA0B1}"/>
              </a:ext>
            </a:extLst>
          </p:cNvPr>
          <p:cNvSpPr/>
          <p:nvPr/>
        </p:nvSpPr>
        <p:spPr bwMode="auto">
          <a:xfrm>
            <a:off x="7432432" y="1588275"/>
            <a:ext cx="2214075" cy="4496907"/>
          </a:xfrm>
          <a:prstGeom prst="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90" name="Picture 89">
            <a:extLst>
              <a:ext uri="{FF2B5EF4-FFF2-40B4-BE49-F238E27FC236}">
                <a16:creationId xmlns:a16="http://schemas.microsoft.com/office/drawing/2014/main" id="{A6524F81-CFD6-4A41-BB1C-537355060ED7}"/>
              </a:ext>
            </a:extLst>
          </p:cNvPr>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011518" y="4657376"/>
            <a:ext cx="892700" cy="142972"/>
          </a:xfrm>
          <a:prstGeom prst="rect">
            <a:avLst/>
          </a:prstGeom>
        </p:spPr>
      </p:pic>
      <p:pic>
        <p:nvPicPr>
          <p:cNvPr id="91" name="Picture 90" descr="A close up of a sign&#10;&#10;Description automatically generated">
            <a:extLst>
              <a:ext uri="{FF2B5EF4-FFF2-40B4-BE49-F238E27FC236}">
                <a16:creationId xmlns:a16="http://schemas.microsoft.com/office/drawing/2014/main" id="{75D01816-77B9-4CC9-8E52-775D7F22FA51}"/>
              </a:ext>
            </a:extLst>
          </p:cNvPr>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941916" y="3284219"/>
            <a:ext cx="696205" cy="163607"/>
          </a:xfrm>
          <a:prstGeom prst="rect">
            <a:avLst/>
          </a:prstGeom>
        </p:spPr>
      </p:pic>
      <p:pic>
        <p:nvPicPr>
          <p:cNvPr id="98" name="Picture 97">
            <a:extLst>
              <a:ext uri="{FF2B5EF4-FFF2-40B4-BE49-F238E27FC236}">
                <a16:creationId xmlns:a16="http://schemas.microsoft.com/office/drawing/2014/main" id="{CF4A0AC2-0D52-4DC2-B430-0F934562D525}"/>
              </a:ext>
            </a:extLst>
          </p:cNvPr>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134955" y="4885159"/>
            <a:ext cx="452234" cy="302997"/>
          </a:xfrm>
          <a:prstGeom prst="rect">
            <a:avLst/>
          </a:prstGeom>
        </p:spPr>
      </p:pic>
      <p:pic>
        <p:nvPicPr>
          <p:cNvPr id="103" name="Picture 102">
            <a:extLst>
              <a:ext uri="{FF2B5EF4-FFF2-40B4-BE49-F238E27FC236}">
                <a16:creationId xmlns:a16="http://schemas.microsoft.com/office/drawing/2014/main" id="{B7214795-5979-443D-9A2D-7B941E1159C4}"/>
              </a:ext>
            </a:extLst>
          </p:cNvPr>
          <p:cNvPicPr>
            <a:picLocks noChangeAspect="1"/>
          </p:cNvPicPr>
          <p:nvPr/>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l="17951" t="23735" r="17951" b="23735"/>
          <a:stretch/>
        </p:blipFill>
        <p:spPr>
          <a:xfrm>
            <a:off x="8129248" y="5577612"/>
            <a:ext cx="530546" cy="218849"/>
          </a:xfrm>
          <a:prstGeom prst="rect">
            <a:avLst/>
          </a:prstGeom>
        </p:spPr>
      </p:pic>
      <p:pic>
        <p:nvPicPr>
          <p:cNvPr id="104" name="Picture 103" descr="A picture containing clipart&#10;&#10;Description automatically generated">
            <a:extLst>
              <a:ext uri="{FF2B5EF4-FFF2-40B4-BE49-F238E27FC236}">
                <a16:creationId xmlns:a16="http://schemas.microsoft.com/office/drawing/2014/main" id="{2BF89464-9049-4093-9D8B-F8ED4C5B21D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882033" y="5855080"/>
            <a:ext cx="597584" cy="100154"/>
          </a:xfrm>
          <a:prstGeom prst="rect">
            <a:avLst/>
          </a:prstGeom>
        </p:spPr>
      </p:pic>
      <p:pic>
        <p:nvPicPr>
          <p:cNvPr id="105" name="Picture 2" descr="Image result for verif.com">
            <a:extLst>
              <a:ext uri="{FF2B5EF4-FFF2-40B4-BE49-F238E27FC236}">
                <a16:creationId xmlns:a16="http://schemas.microsoft.com/office/drawing/2014/main" id="{DBA08A5E-74AA-4733-9F3E-18247E6DFBF1}"/>
              </a:ext>
            </a:extLst>
          </p:cNvPr>
          <p:cNvPicPr>
            <a:picLocks noChangeAspect="1" noChangeArrowheads="1"/>
          </p:cNvPicPr>
          <p:nvPr/>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t="17796" b="43422"/>
          <a:stretch/>
        </p:blipFill>
        <p:spPr bwMode="auto">
          <a:xfrm>
            <a:off x="8908331" y="5596595"/>
            <a:ext cx="466406" cy="180884"/>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106">
            <a:extLst>
              <a:ext uri="{FF2B5EF4-FFF2-40B4-BE49-F238E27FC236}">
                <a16:creationId xmlns:a16="http://schemas.microsoft.com/office/drawing/2014/main" id="{81F25C42-3A41-4D04-829F-5509A2281458}"/>
              </a:ext>
            </a:extLst>
          </p:cNvPr>
          <p:cNvPicPr>
            <a:picLocks noChangeAspect="1"/>
          </p:cNvPicPr>
          <p:nvPr/>
        </p:nvPicPr>
        <p:blipFill rotWithShape="1">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l="25352" b="-7258"/>
          <a:stretch/>
        </p:blipFill>
        <p:spPr>
          <a:xfrm>
            <a:off x="8332621" y="4096046"/>
            <a:ext cx="669587" cy="156824"/>
          </a:xfrm>
          <a:prstGeom prst="rect">
            <a:avLst/>
          </a:prstGeom>
        </p:spPr>
      </p:pic>
      <p:sp>
        <p:nvSpPr>
          <p:cNvPr id="109" name="Rectangle 108">
            <a:extLst>
              <a:ext uri="{FF2B5EF4-FFF2-40B4-BE49-F238E27FC236}">
                <a16:creationId xmlns:a16="http://schemas.microsoft.com/office/drawing/2014/main" id="{555FC63E-5220-4D3D-9C13-0DCCB596F197}"/>
              </a:ext>
            </a:extLst>
          </p:cNvPr>
          <p:cNvSpPr/>
          <p:nvPr/>
        </p:nvSpPr>
        <p:spPr>
          <a:xfrm>
            <a:off x="7881018" y="3740176"/>
            <a:ext cx="1507847" cy="189194"/>
          </a:xfrm>
          <a:prstGeom prst="rect">
            <a:avLst/>
          </a:prstGeom>
          <a:noFill/>
        </p:spPr>
        <p:txBody>
          <a:bodyPr wrap="square" anchor="ctr">
            <a:noAutofit/>
          </a:bodyPr>
          <a:lstStyle/>
          <a:p>
            <a:r>
              <a:rPr lang="en-GB" sz="1000" b="1">
                <a:solidFill>
                  <a:srgbClr val="C00000"/>
                </a:solidFill>
                <a:latin typeface="Trebuchet MS" panose="020B0603020202020204" pitchFamily="34" charset="0"/>
              </a:rPr>
              <a:t>Challenger</a:t>
            </a:r>
          </a:p>
        </p:txBody>
      </p:sp>
      <p:sp>
        <p:nvSpPr>
          <p:cNvPr id="110" name="Rectangle: Rounded Corners 109">
            <a:extLst>
              <a:ext uri="{FF2B5EF4-FFF2-40B4-BE49-F238E27FC236}">
                <a16:creationId xmlns:a16="http://schemas.microsoft.com/office/drawing/2014/main" id="{942C7867-096E-4AEE-BF76-8C09715AEB28}"/>
              </a:ext>
            </a:extLst>
          </p:cNvPr>
          <p:cNvSpPr/>
          <p:nvPr/>
        </p:nvSpPr>
        <p:spPr bwMode="auto">
          <a:xfrm>
            <a:off x="7568702" y="3778655"/>
            <a:ext cx="320890" cy="137665"/>
          </a:xfrm>
          <a:prstGeom prst="roundRect">
            <a:avLst>
              <a:gd name="adj" fmla="val 10420"/>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lang="en-GB"/>
          </a:p>
        </p:txBody>
      </p:sp>
      <p:sp>
        <p:nvSpPr>
          <p:cNvPr id="112" name="Rectangle 111">
            <a:extLst>
              <a:ext uri="{FF2B5EF4-FFF2-40B4-BE49-F238E27FC236}">
                <a16:creationId xmlns:a16="http://schemas.microsoft.com/office/drawing/2014/main" id="{A9CCD360-9AEE-4393-BD89-4A8F847D891D}"/>
              </a:ext>
            </a:extLst>
          </p:cNvPr>
          <p:cNvSpPr/>
          <p:nvPr/>
        </p:nvSpPr>
        <p:spPr>
          <a:xfrm>
            <a:off x="7873398" y="2045538"/>
            <a:ext cx="1730932" cy="174150"/>
          </a:xfrm>
          <a:prstGeom prst="rect">
            <a:avLst/>
          </a:prstGeom>
          <a:noFill/>
        </p:spPr>
        <p:txBody>
          <a:bodyPr wrap="square" anchor="ctr">
            <a:noAutofit/>
          </a:bodyPr>
          <a:lstStyle/>
          <a:p>
            <a:r>
              <a:rPr lang="en-GB" sz="1000" b="1">
                <a:solidFill>
                  <a:schemeClr val="tx2"/>
                </a:solidFill>
                <a:latin typeface="Trebuchet MS" panose="020B0603020202020204" pitchFamily="34" charset="0"/>
              </a:rPr>
              <a:t>Premium international players</a:t>
            </a:r>
          </a:p>
        </p:txBody>
      </p:sp>
      <p:sp>
        <p:nvSpPr>
          <p:cNvPr id="113" name="Rectangle: Rounded Corners 112">
            <a:extLst>
              <a:ext uri="{FF2B5EF4-FFF2-40B4-BE49-F238E27FC236}">
                <a16:creationId xmlns:a16="http://schemas.microsoft.com/office/drawing/2014/main" id="{A20B7C30-7BF6-47C2-8B8F-7E7AD740C7B6}"/>
              </a:ext>
            </a:extLst>
          </p:cNvPr>
          <p:cNvSpPr/>
          <p:nvPr/>
        </p:nvSpPr>
        <p:spPr bwMode="auto">
          <a:xfrm>
            <a:off x="7561082" y="2074077"/>
            <a:ext cx="320890" cy="137665"/>
          </a:xfrm>
          <a:prstGeom prst="roundRect">
            <a:avLst>
              <a:gd name="adj" fmla="val 10420"/>
            </a:avLst>
          </a:prstGeom>
          <a:no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lang="en-GB"/>
          </a:p>
        </p:txBody>
      </p:sp>
      <p:sp>
        <p:nvSpPr>
          <p:cNvPr id="115" name="Rectangle 114">
            <a:extLst>
              <a:ext uri="{FF2B5EF4-FFF2-40B4-BE49-F238E27FC236}">
                <a16:creationId xmlns:a16="http://schemas.microsoft.com/office/drawing/2014/main" id="{275D1E42-6080-4562-A3EE-FA736D8B7E16}"/>
              </a:ext>
            </a:extLst>
          </p:cNvPr>
          <p:cNvSpPr/>
          <p:nvPr/>
        </p:nvSpPr>
        <p:spPr>
          <a:xfrm>
            <a:off x="7873398" y="2857853"/>
            <a:ext cx="1507847" cy="189194"/>
          </a:xfrm>
          <a:prstGeom prst="rect">
            <a:avLst/>
          </a:prstGeom>
          <a:noFill/>
        </p:spPr>
        <p:txBody>
          <a:bodyPr wrap="square" anchor="ctr">
            <a:noAutofit/>
          </a:bodyPr>
          <a:lstStyle/>
          <a:p>
            <a:r>
              <a:rPr lang="en-GB" sz="1000" b="1">
                <a:solidFill>
                  <a:srgbClr val="0070C0"/>
                </a:solidFill>
                <a:latin typeface="Trebuchet MS" panose="020B0603020202020204" pitchFamily="34" charset="0"/>
              </a:rPr>
              <a:t>Historical players</a:t>
            </a:r>
          </a:p>
        </p:txBody>
      </p:sp>
      <p:sp>
        <p:nvSpPr>
          <p:cNvPr id="116" name="Rectangle: Rounded Corners 115">
            <a:extLst>
              <a:ext uri="{FF2B5EF4-FFF2-40B4-BE49-F238E27FC236}">
                <a16:creationId xmlns:a16="http://schemas.microsoft.com/office/drawing/2014/main" id="{FEED74ED-3DD9-4775-9EC0-D1B90DF827D7}"/>
              </a:ext>
            </a:extLst>
          </p:cNvPr>
          <p:cNvSpPr/>
          <p:nvPr/>
        </p:nvSpPr>
        <p:spPr bwMode="auto">
          <a:xfrm>
            <a:off x="7561082" y="2881749"/>
            <a:ext cx="320890" cy="137665"/>
          </a:xfrm>
          <a:prstGeom prst="roundRect">
            <a:avLst>
              <a:gd name="adj" fmla="val 10420"/>
            </a:avLst>
          </a:prstGeom>
          <a:noFill/>
          <a:ln w="12700" cap="flat" cmpd="sng" algn="ctr">
            <a:solidFill>
              <a:srgbClr val="0070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lang="en-GB"/>
          </a:p>
        </p:txBody>
      </p:sp>
      <p:sp>
        <p:nvSpPr>
          <p:cNvPr id="118" name="Rectangle: Rounded Corners 117">
            <a:extLst>
              <a:ext uri="{FF2B5EF4-FFF2-40B4-BE49-F238E27FC236}">
                <a16:creationId xmlns:a16="http://schemas.microsoft.com/office/drawing/2014/main" id="{C4947133-D1E9-4291-9400-EE884F8DB9FA}"/>
              </a:ext>
            </a:extLst>
          </p:cNvPr>
          <p:cNvSpPr/>
          <p:nvPr/>
        </p:nvSpPr>
        <p:spPr bwMode="auto">
          <a:xfrm>
            <a:off x="7881018" y="5388418"/>
            <a:ext cx="1507847" cy="189194"/>
          </a:xfrm>
          <a:prstGeom prst="roundRect">
            <a:avLst/>
          </a:prstGeom>
          <a:noFill/>
          <a:ln w="28575" cap="flat" cmpd="sng" algn="ctr">
            <a:noFill/>
            <a:prstDash val="sysDash"/>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defTabSz="914400" rtl="0" eaLnBrk="1" fontAlgn="base" latinLnBrk="0" hangingPunct="1">
              <a:lnSpc>
                <a:spcPct val="100000"/>
              </a:lnSpc>
              <a:spcBef>
                <a:spcPct val="0"/>
              </a:spcBef>
              <a:spcAft>
                <a:spcPct val="0"/>
              </a:spcAft>
              <a:buClrTx/>
              <a:buSzTx/>
              <a:buFontTx/>
              <a:buNone/>
              <a:tabLst/>
            </a:pPr>
            <a:r>
              <a:rPr lang="en-GB" sz="1000" b="1">
                <a:solidFill>
                  <a:srgbClr val="6C6C6C"/>
                </a:solidFill>
                <a:latin typeface="Trebuchet MS" panose="020B0603020202020204" pitchFamily="34" charset="0"/>
              </a:rPr>
              <a:t>Freemium players</a:t>
            </a:r>
          </a:p>
        </p:txBody>
      </p:sp>
      <p:sp>
        <p:nvSpPr>
          <p:cNvPr id="119" name="Rectangle: Rounded Corners 118">
            <a:extLst>
              <a:ext uri="{FF2B5EF4-FFF2-40B4-BE49-F238E27FC236}">
                <a16:creationId xmlns:a16="http://schemas.microsoft.com/office/drawing/2014/main" id="{8246CC77-224A-461C-8C7C-4BA3F7989535}"/>
              </a:ext>
            </a:extLst>
          </p:cNvPr>
          <p:cNvSpPr/>
          <p:nvPr/>
        </p:nvSpPr>
        <p:spPr bwMode="auto">
          <a:xfrm>
            <a:off x="7561082" y="5416686"/>
            <a:ext cx="320890" cy="137665"/>
          </a:xfrm>
          <a:prstGeom prst="roundRect">
            <a:avLst>
              <a:gd name="adj" fmla="val 10420"/>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lang="en-GB"/>
          </a:p>
        </p:txBody>
      </p:sp>
      <p:sp>
        <p:nvSpPr>
          <p:cNvPr id="120" name="Rectangle 119">
            <a:extLst>
              <a:ext uri="{FF2B5EF4-FFF2-40B4-BE49-F238E27FC236}">
                <a16:creationId xmlns:a16="http://schemas.microsoft.com/office/drawing/2014/main" id="{C1FC5082-9CF2-441D-8346-0611AA1FF4F5}"/>
              </a:ext>
            </a:extLst>
          </p:cNvPr>
          <p:cNvSpPr/>
          <p:nvPr/>
        </p:nvSpPr>
        <p:spPr>
          <a:xfrm>
            <a:off x="7468936" y="1763955"/>
            <a:ext cx="1507847" cy="189194"/>
          </a:xfrm>
          <a:prstGeom prst="rect">
            <a:avLst/>
          </a:prstGeom>
        </p:spPr>
        <p:txBody>
          <a:bodyPr wrap="none" anchor="ctr">
            <a:noAutofit/>
          </a:bodyPr>
          <a:lstStyle/>
          <a:p>
            <a:r>
              <a:rPr lang="en-GB" sz="1000" i="1">
                <a:latin typeface="Trebuchet MS" panose="020B0603020202020204" pitchFamily="34" charset="0"/>
              </a:rPr>
              <a:t>Legend</a:t>
            </a:r>
          </a:p>
        </p:txBody>
      </p:sp>
      <p:sp>
        <p:nvSpPr>
          <p:cNvPr id="58" name="Espace réservé du texte 57">
            <a:extLst>
              <a:ext uri="{FF2B5EF4-FFF2-40B4-BE49-F238E27FC236}">
                <a16:creationId xmlns:a16="http://schemas.microsoft.com/office/drawing/2014/main" id="{2E2BDF86-B4FE-440E-8D44-CD169851DE4B}"/>
              </a:ext>
            </a:extLst>
          </p:cNvPr>
          <p:cNvSpPr>
            <a:spLocks noGrp="1"/>
          </p:cNvSpPr>
          <p:nvPr>
            <p:ph type="body" sz="quarter" idx="10"/>
          </p:nvPr>
        </p:nvSpPr>
        <p:spPr/>
        <p:txBody>
          <a:bodyPr/>
          <a:lstStyle/>
          <a:p>
            <a:r>
              <a:rPr lang="en-GB"/>
              <a:t>Sources: eleven research &amp; analysis, expert calls, company websites</a:t>
            </a:r>
          </a:p>
        </p:txBody>
      </p:sp>
      <p:grpSp>
        <p:nvGrpSpPr>
          <p:cNvPr id="20" name="Group 19">
            <a:extLst>
              <a:ext uri="{FF2B5EF4-FFF2-40B4-BE49-F238E27FC236}">
                <a16:creationId xmlns:a16="http://schemas.microsoft.com/office/drawing/2014/main" id="{07B15842-2D13-4248-AB8B-52BEDAAB9E31}"/>
              </a:ext>
            </a:extLst>
          </p:cNvPr>
          <p:cNvGrpSpPr/>
          <p:nvPr/>
        </p:nvGrpSpPr>
        <p:grpSpPr>
          <a:xfrm>
            <a:off x="919673" y="5609097"/>
            <a:ext cx="6217182" cy="484099"/>
            <a:chOff x="919673" y="5183087"/>
            <a:chExt cx="6217182" cy="484099"/>
          </a:xfrm>
        </p:grpSpPr>
        <p:sp>
          <p:nvSpPr>
            <p:cNvPr id="226" name="Arrow: Chevron 225">
              <a:extLst>
                <a:ext uri="{FF2B5EF4-FFF2-40B4-BE49-F238E27FC236}">
                  <a16:creationId xmlns:a16="http://schemas.microsoft.com/office/drawing/2014/main" id="{93C9F407-EF88-4D64-9D8D-988324094152}"/>
                </a:ext>
              </a:extLst>
            </p:cNvPr>
            <p:cNvSpPr/>
            <p:nvPr/>
          </p:nvSpPr>
          <p:spPr bwMode="auto">
            <a:xfrm>
              <a:off x="4682084" y="5191100"/>
              <a:ext cx="1161811" cy="476086"/>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endParaRPr lang="en-GB" sz="1000" b="1">
                <a:solidFill>
                  <a:schemeClr val="bg1"/>
                </a:solidFill>
                <a:latin typeface="Trebuchet MS" pitchFamily="34" charset="0"/>
              </a:endParaRPr>
            </a:p>
          </p:txBody>
        </p:sp>
        <p:sp>
          <p:nvSpPr>
            <p:cNvPr id="227" name="Arrow: Chevron 226">
              <a:extLst>
                <a:ext uri="{FF2B5EF4-FFF2-40B4-BE49-F238E27FC236}">
                  <a16:creationId xmlns:a16="http://schemas.microsoft.com/office/drawing/2014/main" id="{DF2563A8-DC7E-4BCA-9285-EC1AF1EACAF9}"/>
                </a:ext>
              </a:extLst>
            </p:cNvPr>
            <p:cNvSpPr/>
            <p:nvPr/>
          </p:nvSpPr>
          <p:spPr bwMode="auto">
            <a:xfrm>
              <a:off x="2154255" y="5191100"/>
              <a:ext cx="1277992" cy="476086"/>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000" b="1">
                <a:solidFill>
                  <a:schemeClr val="bg1"/>
                </a:solidFill>
                <a:latin typeface="Trebuchet MS" pitchFamily="34" charset="0"/>
              </a:endParaRPr>
            </a:p>
          </p:txBody>
        </p:sp>
        <p:sp>
          <p:nvSpPr>
            <p:cNvPr id="228" name="Arrow: Chevron 227">
              <a:extLst>
                <a:ext uri="{FF2B5EF4-FFF2-40B4-BE49-F238E27FC236}">
                  <a16:creationId xmlns:a16="http://schemas.microsoft.com/office/drawing/2014/main" id="{E0262ACA-A556-42CA-A17A-222D4549B7B4}"/>
                </a:ext>
              </a:extLst>
            </p:cNvPr>
            <p:cNvSpPr/>
            <p:nvPr/>
          </p:nvSpPr>
          <p:spPr bwMode="auto">
            <a:xfrm>
              <a:off x="919673" y="5191100"/>
              <a:ext cx="1277692" cy="476086"/>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000" b="1">
                <a:solidFill>
                  <a:schemeClr val="bg1"/>
                </a:solidFill>
                <a:latin typeface="Trebuchet MS" pitchFamily="34" charset="0"/>
              </a:endParaRPr>
            </a:p>
          </p:txBody>
        </p:sp>
        <p:sp>
          <p:nvSpPr>
            <p:cNvPr id="230" name="Arrow: Chevron 229">
              <a:extLst>
                <a:ext uri="{FF2B5EF4-FFF2-40B4-BE49-F238E27FC236}">
                  <a16:creationId xmlns:a16="http://schemas.microsoft.com/office/drawing/2014/main" id="{3383D886-0B46-4936-A951-01ED04DC0F75}"/>
                </a:ext>
              </a:extLst>
            </p:cNvPr>
            <p:cNvSpPr/>
            <p:nvPr/>
          </p:nvSpPr>
          <p:spPr bwMode="auto">
            <a:xfrm>
              <a:off x="3447215" y="5191100"/>
              <a:ext cx="1161811" cy="476086"/>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000" b="1">
                <a:solidFill>
                  <a:schemeClr val="bg1"/>
                </a:solidFill>
                <a:latin typeface="Trebuchet MS" pitchFamily="34" charset="0"/>
              </a:endParaRPr>
            </a:p>
          </p:txBody>
        </p:sp>
        <p:sp>
          <p:nvSpPr>
            <p:cNvPr id="261" name="Arrow: Chevron 63">
              <a:extLst>
                <a:ext uri="{FF2B5EF4-FFF2-40B4-BE49-F238E27FC236}">
                  <a16:creationId xmlns:a16="http://schemas.microsoft.com/office/drawing/2014/main" id="{741C3489-CEB8-4BF7-9B9F-75F7FDF155CC}"/>
                </a:ext>
              </a:extLst>
            </p:cNvPr>
            <p:cNvSpPr/>
            <p:nvPr/>
          </p:nvSpPr>
          <p:spPr bwMode="auto">
            <a:xfrm>
              <a:off x="5916954" y="5191100"/>
              <a:ext cx="1161811" cy="476086"/>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360000" tIns="45720" rIns="0" bIns="45720" numCol="1" rtlCol="0" anchor="ctr" anchorCtr="0" compatLnSpc="1">
              <a:prstTxWarp prst="textNoShape">
                <a:avLst/>
              </a:prstTxWarp>
            </a:bodyPr>
            <a:lstStyle/>
            <a:p>
              <a:endParaRPr lang="en-GB" sz="1000" b="1">
                <a:solidFill>
                  <a:schemeClr val="bg1"/>
                </a:solidFill>
                <a:latin typeface="Trebuchet MS" pitchFamily="34" charset="0"/>
              </a:endParaRPr>
            </a:p>
          </p:txBody>
        </p:sp>
        <p:sp>
          <p:nvSpPr>
            <p:cNvPr id="265" name="Rectangle 264">
              <a:extLst>
                <a:ext uri="{FF2B5EF4-FFF2-40B4-BE49-F238E27FC236}">
                  <a16:creationId xmlns:a16="http://schemas.microsoft.com/office/drawing/2014/main" id="{5BF66B99-AEE7-402A-A6D4-F9F7AB1A39FA}"/>
                </a:ext>
              </a:extLst>
            </p:cNvPr>
            <p:cNvSpPr/>
            <p:nvPr/>
          </p:nvSpPr>
          <p:spPr bwMode="auto">
            <a:xfrm>
              <a:off x="2212346" y="5183087"/>
              <a:ext cx="1161811" cy="4760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b="1">
                  <a:solidFill>
                    <a:schemeClr val="bg1"/>
                  </a:solidFill>
                  <a:latin typeface="Trebuchet MS" pitchFamily="34" charset="0"/>
                </a:rPr>
                <a:t>Risk</a:t>
              </a:r>
            </a:p>
            <a:p>
              <a:pPr algn="ctr"/>
              <a:r>
                <a:rPr lang="en-GB" sz="1000" b="1">
                  <a:solidFill>
                    <a:schemeClr val="bg1"/>
                  </a:solidFill>
                  <a:latin typeface="Trebuchet MS" pitchFamily="34" charset="0"/>
                </a:rPr>
                <a:t> score</a:t>
              </a:r>
            </a:p>
          </p:txBody>
        </p:sp>
        <p:sp>
          <p:nvSpPr>
            <p:cNvPr id="266" name="Rectangle 265">
              <a:extLst>
                <a:ext uri="{FF2B5EF4-FFF2-40B4-BE49-F238E27FC236}">
                  <a16:creationId xmlns:a16="http://schemas.microsoft.com/office/drawing/2014/main" id="{A801ADE5-AD6F-487A-B71D-DE25DB31C39F}"/>
                </a:ext>
              </a:extLst>
            </p:cNvPr>
            <p:cNvSpPr/>
            <p:nvPr/>
          </p:nvSpPr>
          <p:spPr bwMode="auto">
            <a:xfrm>
              <a:off x="977750" y="5183087"/>
              <a:ext cx="1161538" cy="4760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85725" algn="ctr">
                <a:tabLst>
                  <a:tab pos="85725" algn="l"/>
                </a:tabLst>
              </a:pPr>
              <a:r>
                <a:rPr lang="en-GB" sz="1000" b="1">
                  <a:solidFill>
                    <a:schemeClr val="bg1"/>
                  </a:solidFill>
                  <a:latin typeface="Trebuchet MS" pitchFamily="34" charset="0"/>
                </a:rPr>
                <a:t>Pure data</a:t>
              </a:r>
            </a:p>
          </p:txBody>
        </p:sp>
        <p:sp>
          <p:nvSpPr>
            <p:cNvPr id="268" name="Rectangle 267">
              <a:extLst>
                <a:ext uri="{FF2B5EF4-FFF2-40B4-BE49-F238E27FC236}">
                  <a16:creationId xmlns:a16="http://schemas.microsoft.com/office/drawing/2014/main" id="{5A728A33-EC33-45DD-9D59-7E195544EC76}"/>
                </a:ext>
              </a:extLst>
            </p:cNvPr>
            <p:cNvSpPr/>
            <p:nvPr/>
          </p:nvSpPr>
          <p:spPr bwMode="auto">
            <a:xfrm>
              <a:off x="3389124" y="5183087"/>
              <a:ext cx="1277992" cy="4760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b="1">
                  <a:solidFill>
                    <a:schemeClr val="bg1"/>
                  </a:solidFill>
                  <a:latin typeface="Trebuchet MS" pitchFamily="34" charset="0"/>
                </a:rPr>
                <a:t>Risk </a:t>
              </a:r>
            </a:p>
            <a:p>
              <a:pPr algn="ctr"/>
              <a:r>
                <a:rPr lang="en-GB" sz="1000" b="1">
                  <a:solidFill>
                    <a:schemeClr val="bg1"/>
                  </a:solidFill>
                  <a:latin typeface="Trebuchet MS" pitchFamily="34" charset="0"/>
                </a:rPr>
                <a:t>report</a:t>
              </a:r>
            </a:p>
          </p:txBody>
        </p:sp>
        <p:sp>
          <p:nvSpPr>
            <p:cNvPr id="284" name="Rectangle 283">
              <a:extLst>
                <a:ext uri="{FF2B5EF4-FFF2-40B4-BE49-F238E27FC236}">
                  <a16:creationId xmlns:a16="http://schemas.microsoft.com/office/drawing/2014/main" id="{449D329A-60A8-419E-BEDC-74F9C61DC74C}"/>
                </a:ext>
              </a:extLst>
            </p:cNvPr>
            <p:cNvSpPr/>
            <p:nvPr/>
          </p:nvSpPr>
          <p:spPr bwMode="auto">
            <a:xfrm>
              <a:off x="4623993" y="5183087"/>
              <a:ext cx="1277992" cy="4760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85725" algn="ctr"/>
              <a:r>
                <a:rPr lang="en-GB" sz="1000" b="1">
                  <a:solidFill>
                    <a:schemeClr val="bg1"/>
                  </a:solidFill>
                  <a:latin typeface="Trebuchet MS" pitchFamily="34" charset="0"/>
                </a:rPr>
                <a:t>Software application</a:t>
              </a:r>
            </a:p>
          </p:txBody>
        </p:sp>
        <p:sp>
          <p:nvSpPr>
            <p:cNvPr id="285" name="Rectangle 284">
              <a:extLst>
                <a:ext uri="{FF2B5EF4-FFF2-40B4-BE49-F238E27FC236}">
                  <a16:creationId xmlns:a16="http://schemas.microsoft.com/office/drawing/2014/main" id="{3D07C366-9481-4DFB-B578-E80B3774F6C9}"/>
                </a:ext>
              </a:extLst>
            </p:cNvPr>
            <p:cNvSpPr/>
            <p:nvPr/>
          </p:nvSpPr>
          <p:spPr bwMode="auto">
            <a:xfrm>
              <a:off x="5858863" y="5183087"/>
              <a:ext cx="1277992" cy="4760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85725" algn="ctr">
                <a:tabLst>
                  <a:tab pos="180975" algn="l"/>
                </a:tabLst>
              </a:pPr>
              <a:r>
                <a:rPr lang="en-GB" sz="1000" b="1">
                  <a:solidFill>
                    <a:schemeClr val="bg1"/>
                  </a:solidFill>
                  <a:latin typeface="Trebuchet MS" pitchFamily="34" charset="0"/>
                </a:rPr>
                <a:t>Adjacent services</a:t>
              </a:r>
            </a:p>
          </p:txBody>
        </p:sp>
      </p:grpSp>
      <p:pic>
        <p:nvPicPr>
          <p:cNvPr id="97" name="Picture 96">
            <a:extLst>
              <a:ext uri="{FF2B5EF4-FFF2-40B4-BE49-F238E27FC236}">
                <a16:creationId xmlns:a16="http://schemas.microsoft.com/office/drawing/2014/main" id="{EDBFB9DC-A6CF-45C4-8FF3-F98DCDF6453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124975" y="5838387"/>
            <a:ext cx="619132" cy="133539"/>
          </a:xfrm>
          <a:prstGeom prst="rect">
            <a:avLst/>
          </a:prstGeom>
        </p:spPr>
      </p:pic>
      <p:cxnSp>
        <p:nvCxnSpPr>
          <p:cNvPr id="93" name="Connecteur droit avec flèche 22">
            <a:extLst>
              <a:ext uri="{FF2B5EF4-FFF2-40B4-BE49-F238E27FC236}">
                <a16:creationId xmlns:a16="http://schemas.microsoft.com/office/drawing/2014/main" id="{2772CD87-E9A6-4835-B70D-5E8F5584D6C0}"/>
              </a:ext>
            </a:extLst>
          </p:cNvPr>
          <p:cNvCxnSpPr>
            <a:cxnSpLocks/>
          </p:cNvCxnSpPr>
          <p:nvPr/>
        </p:nvCxnSpPr>
        <p:spPr bwMode="auto">
          <a:xfrm flipV="1">
            <a:off x="905916" y="2187499"/>
            <a:ext cx="0" cy="3314580"/>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123" name="Rectangle: Rounded Corners 122">
            <a:extLst>
              <a:ext uri="{FF2B5EF4-FFF2-40B4-BE49-F238E27FC236}">
                <a16:creationId xmlns:a16="http://schemas.microsoft.com/office/drawing/2014/main" id="{67BBC3A4-A09A-40DA-9D27-3AE9861B4F1E}"/>
              </a:ext>
            </a:extLst>
          </p:cNvPr>
          <p:cNvSpPr/>
          <p:nvPr/>
        </p:nvSpPr>
        <p:spPr bwMode="auto">
          <a:xfrm>
            <a:off x="3230025" y="6317365"/>
            <a:ext cx="456476" cy="149204"/>
          </a:xfrm>
          <a:prstGeom prst="roundRect">
            <a:avLst/>
          </a:prstGeom>
          <a:noFill/>
          <a:ln w="6350" cap="flat" cmpd="sng" algn="ctr">
            <a:solidFill>
              <a:srgbClr val="C00000"/>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700" i="0" u="none" strike="noStrike" cap="none" normalizeH="0" baseline="0">
              <a:ln>
                <a:noFill/>
              </a:ln>
              <a:solidFill>
                <a:schemeClr val="accent4"/>
              </a:solidFill>
              <a:effectLst/>
              <a:latin typeface="Trebuchet MS" pitchFamily="34" charset="0"/>
            </a:endParaRPr>
          </a:p>
        </p:txBody>
      </p:sp>
      <p:sp>
        <p:nvSpPr>
          <p:cNvPr id="126" name="Rectangle: Rounded Corners 125">
            <a:extLst>
              <a:ext uri="{FF2B5EF4-FFF2-40B4-BE49-F238E27FC236}">
                <a16:creationId xmlns:a16="http://schemas.microsoft.com/office/drawing/2014/main" id="{555141D9-1F3E-4DC7-A5B0-204FFF397991}"/>
              </a:ext>
            </a:extLst>
          </p:cNvPr>
          <p:cNvSpPr/>
          <p:nvPr/>
        </p:nvSpPr>
        <p:spPr bwMode="auto">
          <a:xfrm>
            <a:off x="994894" y="6317365"/>
            <a:ext cx="456476" cy="149204"/>
          </a:xfrm>
          <a:prstGeom prst="roundRect">
            <a:avLst/>
          </a:prstGeom>
          <a:noFill/>
          <a:ln w="6350" cap="flat" cmpd="sng" algn="ctr">
            <a:solidFill>
              <a:srgbClr val="C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700" i="0" u="none" strike="noStrike" cap="none" normalizeH="0" baseline="0">
              <a:ln>
                <a:noFill/>
              </a:ln>
              <a:solidFill>
                <a:schemeClr val="accent4"/>
              </a:solidFill>
              <a:effectLst/>
              <a:latin typeface="Trebuchet MS" pitchFamily="34" charset="0"/>
            </a:endParaRPr>
          </a:p>
        </p:txBody>
      </p:sp>
      <p:sp>
        <p:nvSpPr>
          <p:cNvPr id="127" name="Rectangle: Rounded Corners 126">
            <a:extLst>
              <a:ext uri="{FF2B5EF4-FFF2-40B4-BE49-F238E27FC236}">
                <a16:creationId xmlns:a16="http://schemas.microsoft.com/office/drawing/2014/main" id="{C4EE17D8-594E-4E9C-92C6-0BD8EC3C24D4}"/>
              </a:ext>
            </a:extLst>
          </p:cNvPr>
          <p:cNvSpPr/>
          <p:nvPr/>
        </p:nvSpPr>
        <p:spPr bwMode="auto">
          <a:xfrm>
            <a:off x="3690810" y="6317365"/>
            <a:ext cx="1749015" cy="149204"/>
          </a:xfrm>
          <a:prstGeom prst="roundRect">
            <a:avLst/>
          </a:prstGeom>
          <a:noFill/>
          <a:ln w="635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700" i="0" u="none" strike="noStrike" cap="none" normalizeH="0" baseline="0">
                <a:ln>
                  <a:noFill/>
                </a:ln>
                <a:effectLst/>
                <a:latin typeface="Trebuchet MS" panose="020B0603020202020204" pitchFamily="34" charset="0"/>
              </a:rPr>
              <a:t>Addressed via partnerships</a:t>
            </a:r>
          </a:p>
        </p:txBody>
      </p:sp>
      <p:sp>
        <p:nvSpPr>
          <p:cNvPr id="129" name="Rectangle: Rounded Corners 128">
            <a:extLst>
              <a:ext uri="{FF2B5EF4-FFF2-40B4-BE49-F238E27FC236}">
                <a16:creationId xmlns:a16="http://schemas.microsoft.com/office/drawing/2014/main" id="{090D8B2D-4797-4558-AACC-A16A773F4636}"/>
              </a:ext>
            </a:extLst>
          </p:cNvPr>
          <p:cNvSpPr/>
          <p:nvPr/>
        </p:nvSpPr>
        <p:spPr bwMode="auto">
          <a:xfrm>
            <a:off x="1455679" y="6317365"/>
            <a:ext cx="1749015" cy="149204"/>
          </a:xfrm>
          <a:prstGeom prst="roundRect">
            <a:avLst/>
          </a:prstGeom>
          <a:noFill/>
          <a:ln w="63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defTabSz="914400" rtl="0" eaLnBrk="1" fontAlgn="base" latinLnBrk="0" hangingPunct="1">
              <a:lnSpc>
                <a:spcPct val="100000"/>
              </a:lnSpc>
              <a:spcBef>
                <a:spcPct val="0"/>
              </a:spcBef>
              <a:spcAft>
                <a:spcPct val="0"/>
              </a:spcAft>
              <a:buClrTx/>
              <a:buSzTx/>
              <a:buFontTx/>
              <a:buNone/>
              <a:tabLst/>
            </a:pPr>
            <a:r>
              <a:rPr lang="en-GB" sz="700">
                <a:latin typeface="Trebuchet MS" panose="020B0603020202020204" pitchFamily="34" charset="0"/>
              </a:rPr>
              <a:t>Addressed via own company resources</a:t>
            </a:r>
            <a:endParaRPr kumimoji="0" lang="en-GB" sz="700" i="0" u="none" strike="noStrike" cap="none" normalizeH="0" baseline="0">
              <a:ln>
                <a:noFill/>
              </a:ln>
              <a:effectLst/>
              <a:latin typeface="Trebuchet MS" panose="020B0603020202020204" pitchFamily="34" charset="0"/>
            </a:endParaRPr>
          </a:p>
        </p:txBody>
      </p:sp>
      <p:pic>
        <p:nvPicPr>
          <p:cNvPr id="14" name="Picture 13" descr="A picture containing light&#10;&#10;Description automatically generated">
            <a:extLst>
              <a:ext uri="{FF2B5EF4-FFF2-40B4-BE49-F238E27FC236}">
                <a16:creationId xmlns:a16="http://schemas.microsoft.com/office/drawing/2014/main" id="{781CEE30-696E-47B0-B057-AB9FDACAC106}"/>
              </a:ext>
            </a:extLst>
          </p:cNvPr>
          <p:cNvPicPr>
            <a:picLocks noChangeAspect="1"/>
          </p:cNvPicPr>
          <p:nvPr/>
        </p:nvPicPr>
        <p:blipFill rotWithShape="1">
          <a:blip r:embed="rId15">
            <a:extLst>
              <a:ext uri="{28A0092B-C50C-407E-A947-70E740481C1C}">
                <a14:useLocalDpi xmlns:a14="http://schemas.microsoft.com/office/drawing/2010/main" val="0"/>
              </a:ext>
            </a:extLst>
          </a:blip>
          <a:srcRect t="38705" b="38705"/>
          <a:stretch/>
        </p:blipFill>
        <p:spPr>
          <a:xfrm>
            <a:off x="7468777" y="3302053"/>
            <a:ext cx="707915" cy="127938"/>
          </a:xfrm>
          <a:prstGeom prst="rect">
            <a:avLst/>
          </a:prstGeom>
        </p:spPr>
      </p:pic>
      <p:pic>
        <p:nvPicPr>
          <p:cNvPr id="8" name="Picture 7" descr="A close up of a sign&#10;&#10;Description automatically generated">
            <a:extLst>
              <a:ext uri="{FF2B5EF4-FFF2-40B4-BE49-F238E27FC236}">
                <a16:creationId xmlns:a16="http://schemas.microsoft.com/office/drawing/2014/main" id="{10F5F8B2-D5F4-4464-8F27-493D33A5D071}"/>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663706" y="2399467"/>
            <a:ext cx="436654" cy="314594"/>
          </a:xfrm>
          <a:prstGeom prst="rect">
            <a:avLst/>
          </a:prstGeom>
        </p:spPr>
      </p:pic>
      <p:sp>
        <p:nvSpPr>
          <p:cNvPr id="156" name="Rectangle: Rounded Corners 155">
            <a:extLst>
              <a:ext uri="{FF2B5EF4-FFF2-40B4-BE49-F238E27FC236}">
                <a16:creationId xmlns:a16="http://schemas.microsoft.com/office/drawing/2014/main" id="{5F618E72-050C-45A0-91BB-D6DA3F0E6C6C}"/>
              </a:ext>
            </a:extLst>
          </p:cNvPr>
          <p:cNvSpPr/>
          <p:nvPr/>
        </p:nvSpPr>
        <p:spPr bwMode="auto">
          <a:xfrm>
            <a:off x="7873398" y="4431149"/>
            <a:ext cx="1507847" cy="189194"/>
          </a:xfrm>
          <a:prstGeom prst="roundRect">
            <a:avLst/>
          </a:prstGeom>
          <a:noFill/>
          <a:ln w="28575" cap="flat" cmpd="sng" algn="ctr">
            <a:noFill/>
            <a:prstDash val="sysDash"/>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defTabSz="914400" rtl="0" eaLnBrk="1" fontAlgn="base" latinLnBrk="0" hangingPunct="1">
              <a:lnSpc>
                <a:spcPct val="100000"/>
              </a:lnSpc>
              <a:spcBef>
                <a:spcPct val="0"/>
              </a:spcBef>
              <a:spcAft>
                <a:spcPct val="0"/>
              </a:spcAft>
              <a:buClrTx/>
              <a:buSzTx/>
              <a:buFontTx/>
              <a:buNone/>
              <a:tabLst/>
            </a:pPr>
            <a:r>
              <a:rPr lang="en-GB" sz="1000" b="1">
                <a:solidFill>
                  <a:srgbClr val="FFC000"/>
                </a:solidFill>
                <a:latin typeface="Trebuchet MS" panose="020B0603020202020204" pitchFamily="34" charset="0"/>
              </a:rPr>
              <a:t>Local small players</a:t>
            </a:r>
          </a:p>
        </p:txBody>
      </p:sp>
      <p:sp>
        <p:nvSpPr>
          <p:cNvPr id="157" name="Rectangle: Rounded Corners 156">
            <a:extLst>
              <a:ext uri="{FF2B5EF4-FFF2-40B4-BE49-F238E27FC236}">
                <a16:creationId xmlns:a16="http://schemas.microsoft.com/office/drawing/2014/main" id="{10D008DA-9570-4BEA-AC07-BCD4977CDA65}"/>
              </a:ext>
            </a:extLst>
          </p:cNvPr>
          <p:cNvSpPr/>
          <p:nvPr/>
        </p:nvSpPr>
        <p:spPr bwMode="auto">
          <a:xfrm>
            <a:off x="7561082" y="4458576"/>
            <a:ext cx="320890" cy="137665"/>
          </a:xfrm>
          <a:prstGeom prst="roundRect">
            <a:avLst>
              <a:gd name="adj" fmla="val 10420"/>
            </a:avLst>
          </a:prstGeom>
          <a:noFill/>
          <a:ln w="12700"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lang="en-GB"/>
          </a:p>
        </p:txBody>
      </p:sp>
      <p:pic>
        <p:nvPicPr>
          <p:cNvPr id="158" name="Picture 157" descr="A picture containing drawing, food&#10;&#10;Description automatically generated">
            <a:extLst>
              <a:ext uri="{FF2B5EF4-FFF2-40B4-BE49-F238E27FC236}">
                <a16:creationId xmlns:a16="http://schemas.microsoft.com/office/drawing/2014/main" id="{F9908596-959B-4900-AAE2-07D795026EE1}"/>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574369" y="4753740"/>
            <a:ext cx="755607" cy="180162"/>
          </a:xfrm>
          <a:prstGeom prst="rect">
            <a:avLst/>
          </a:prstGeom>
        </p:spPr>
      </p:pic>
      <p:pic>
        <p:nvPicPr>
          <p:cNvPr id="159" name="Picture 158">
            <a:extLst>
              <a:ext uri="{FF2B5EF4-FFF2-40B4-BE49-F238E27FC236}">
                <a16:creationId xmlns:a16="http://schemas.microsoft.com/office/drawing/2014/main" id="{C3665A9C-EEC8-4171-A062-F62EBAA18BE4}"/>
              </a:ext>
            </a:extLst>
          </p:cNvPr>
          <p:cNvPicPr>
            <a:picLocks noChangeAspect="1"/>
          </p:cNvPicPr>
          <p:nvPr/>
        </p:nvPicPr>
        <p:blipFill>
          <a:blip r:embed="rId18">
            <a:clrChange>
              <a:clrFrom>
                <a:srgbClr val="FFFFFF"/>
              </a:clrFrom>
              <a:clrTo>
                <a:srgbClr val="FFFFFF">
                  <a:alpha val="0"/>
                </a:srgbClr>
              </a:clrTo>
            </a:clrChange>
          </a:blip>
          <a:stretch>
            <a:fillRect/>
          </a:stretch>
        </p:blipFill>
        <p:spPr>
          <a:xfrm>
            <a:off x="8471913" y="4762492"/>
            <a:ext cx="737625" cy="130602"/>
          </a:xfrm>
          <a:prstGeom prst="rect">
            <a:avLst/>
          </a:prstGeom>
        </p:spPr>
      </p:pic>
      <p:pic>
        <p:nvPicPr>
          <p:cNvPr id="160" name="Picture 2" descr="Fichiers d'Entreprises au Luxembourg – Solution de Prospection">
            <a:extLst>
              <a:ext uri="{FF2B5EF4-FFF2-40B4-BE49-F238E27FC236}">
                <a16:creationId xmlns:a16="http://schemas.microsoft.com/office/drawing/2014/main" id="{080229C3-B5A7-4CF3-8B04-95A5430B5607}"/>
              </a:ext>
            </a:extLst>
          </p:cNvPr>
          <p:cNvPicPr>
            <a:picLocks noChangeAspect="1" noChangeArrowheads="1"/>
          </p:cNvPicPr>
          <p:nvPr/>
        </p:nvPicPr>
        <p:blipFill>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690184" y="4966406"/>
            <a:ext cx="597481" cy="168484"/>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161">
            <a:extLst>
              <a:ext uri="{FF2B5EF4-FFF2-40B4-BE49-F238E27FC236}">
                <a16:creationId xmlns:a16="http://schemas.microsoft.com/office/drawing/2014/main" id="{76616CB6-B774-47D2-94E0-B9A251955B1F}"/>
              </a:ext>
            </a:extLst>
          </p:cNvPr>
          <p:cNvPicPr>
            <a:picLocks noChangeAspect="1"/>
          </p:cNvPicPr>
          <p:nvPr/>
        </p:nvPicPr>
        <p:blipFill>
          <a:blip r:embed="rId20">
            <a:clrChange>
              <a:clrFrom>
                <a:srgbClr val="FFFFFF"/>
              </a:clrFrom>
              <a:clrTo>
                <a:srgbClr val="FFFFFF">
                  <a:alpha val="0"/>
                </a:srgbClr>
              </a:clrTo>
            </a:clrChange>
          </a:blip>
          <a:stretch>
            <a:fillRect/>
          </a:stretch>
        </p:blipFill>
        <p:spPr>
          <a:xfrm>
            <a:off x="8378577" y="4910904"/>
            <a:ext cx="701112" cy="251509"/>
          </a:xfrm>
          <a:prstGeom prst="rect">
            <a:avLst/>
          </a:prstGeom>
        </p:spPr>
      </p:pic>
      <p:pic>
        <p:nvPicPr>
          <p:cNvPr id="163" name="Picture 162" descr="A picture containing computer, computer&#10;&#10;Description automatically generated">
            <a:extLst>
              <a:ext uri="{FF2B5EF4-FFF2-40B4-BE49-F238E27FC236}">
                <a16:creationId xmlns:a16="http://schemas.microsoft.com/office/drawing/2014/main" id="{426A8694-0461-4362-B6DC-5EC50B5C699F}"/>
              </a:ext>
            </a:extLst>
          </p:cNvPr>
          <p:cNvPicPr>
            <a:picLocks noChangeAspect="1"/>
          </p:cNvPicPr>
          <p:nvPr/>
        </p:nvPicPr>
        <p:blipFill rotWithShape="1">
          <a:blip r:embed="rId21">
            <a:extLst>
              <a:ext uri="{28A0092B-C50C-407E-A947-70E740481C1C}">
                <a14:useLocalDpi xmlns:a14="http://schemas.microsoft.com/office/drawing/2010/main" val="0"/>
              </a:ext>
            </a:extLst>
          </a:blip>
          <a:srcRect l="12024" t="40724" r="12024" b="40724"/>
          <a:stretch/>
        </p:blipFill>
        <p:spPr>
          <a:xfrm>
            <a:off x="8238739" y="3309954"/>
            <a:ext cx="612126" cy="112136"/>
          </a:xfrm>
          <a:prstGeom prst="rect">
            <a:avLst/>
          </a:prstGeom>
        </p:spPr>
      </p:pic>
      <p:pic>
        <p:nvPicPr>
          <p:cNvPr id="5" name="Picture 2" descr="ALTARES-D&amp;B - L'ASSOCIATION FRANCAISE DES CREDIT MANAGERS ET CONSEILS">
            <a:extLst>
              <a:ext uri="{FF2B5EF4-FFF2-40B4-BE49-F238E27FC236}">
                <a16:creationId xmlns:a16="http://schemas.microsoft.com/office/drawing/2014/main" id="{872CB47B-E037-4C7E-AEF0-C5EB8D350E28}"/>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017410" y="2399773"/>
            <a:ext cx="442792" cy="248020"/>
          </a:xfrm>
          <a:prstGeom prst="rect">
            <a:avLst/>
          </a:prstGeom>
          <a:noFill/>
          <a:extLst>
            <a:ext uri="{909E8E84-426E-40DD-AFC4-6F175D3DCCD1}">
              <a14:hiddenFill xmlns:a14="http://schemas.microsoft.com/office/drawing/2010/main">
                <a:solidFill>
                  <a:srgbClr val="FFFFFF"/>
                </a:solidFill>
              </a14:hiddenFill>
            </a:ext>
          </a:extLst>
        </p:spPr>
      </p:pic>
      <p:sp>
        <p:nvSpPr>
          <p:cNvPr id="131" name="ZoneTexte 130">
            <a:extLst>
              <a:ext uri="{FF2B5EF4-FFF2-40B4-BE49-F238E27FC236}">
                <a16:creationId xmlns:a16="http://schemas.microsoft.com/office/drawing/2014/main" id="{14AA6195-1121-45C8-9A47-9E51A8607F54}"/>
              </a:ext>
            </a:extLst>
          </p:cNvPr>
          <p:cNvSpPr txBox="1"/>
          <p:nvPr/>
        </p:nvSpPr>
        <p:spPr>
          <a:xfrm>
            <a:off x="8470051" y="488823"/>
            <a:ext cx="1310675" cy="200055"/>
          </a:xfrm>
          <a:prstGeom prst="rect">
            <a:avLst/>
          </a:prstGeom>
          <a:noFill/>
        </p:spPr>
        <p:txBody>
          <a:bodyPr wrap="square" rtlCol="0">
            <a:spAutoFit/>
          </a:bodyPr>
          <a:lstStyle/>
          <a:p>
            <a:pPr algn="ctr"/>
            <a:r>
              <a:rPr lang="en-GB" sz="700" i="1">
                <a:solidFill>
                  <a:schemeClr val="bg2"/>
                </a:solidFill>
                <a:latin typeface="Trebuchet MS" panose="020B0603020202020204" pitchFamily="34" charset="0"/>
              </a:rPr>
              <a:t>Competitive landscape</a:t>
            </a:r>
          </a:p>
        </p:txBody>
      </p:sp>
      <p:grpSp>
        <p:nvGrpSpPr>
          <p:cNvPr id="132" name="Groupe 131">
            <a:extLst>
              <a:ext uri="{FF2B5EF4-FFF2-40B4-BE49-F238E27FC236}">
                <a16:creationId xmlns:a16="http://schemas.microsoft.com/office/drawing/2014/main" id="{8529EF93-1258-4A6B-A765-8BABDA45719C}"/>
              </a:ext>
            </a:extLst>
          </p:cNvPr>
          <p:cNvGrpSpPr/>
          <p:nvPr/>
        </p:nvGrpSpPr>
        <p:grpSpPr>
          <a:xfrm>
            <a:off x="8448150" y="-11528"/>
            <a:ext cx="1435548" cy="588143"/>
            <a:chOff x="8448150" y="-11528"/>
            <a:chExt cx="1435548" cy="588143"/>
          </a:xfrm>
        </p:grpSpPr>
        <p:grpSp>
          <p:nvGrpSpPr>
            <p:cNvPr id="133" name="Groupe 132">
              <a:extLst>
                <a:ext uri="{FF2B5EF4-FFF2-40B4-BE49-F238E27FC236}">
                  <a16:creationId xmlns:a16="http://schemas.microsoft.com/office/drawing/2014/main" id="{4CB70AE2-775B-45F3-B017-8C1A84E44C5A}"/>
                </a:ext>
              </a:extLst>
            </p:cNvPr>
            <p:cNvGrpSpPr/>
            <p:nvPr/>
          </p:nvGrpSpPr>
          <p:grpSpPr>
            <a:xfrm>
              <a:off x="8448150" y="-11528"/>
              <a:ext cx="1435548" cy="555653"/>
              <a:chOff x="8448150" y="-11528"/>
              <a:chExt cx="1435548" cy="555653"/>
            </a:xfrm>
          </p:grpSpPr>
          <p:sp>
            <p:nvSpPr>
              <p:cNvPr id="135" name="Rectangle : coins arrondis 199">
                <a:extLst>
                  <a:ext uri="{FF2B5EF4-FFF2-40B4-BE49-F238E27FC236}">
                    <a16:creationId xmlns:a16="http://schemas.microsoft.com/office/drawing/2014/main" id="{90E30707-8B93-4168-B1DB-DA9A3B024AAC}"/>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6" name="Rectangle : coins arrondis 200">
                <a:extLst>
                  <a:ext uri="{FF2B5EF4-FFF2-40B4-BE49-F238E27FC236}">
                    <a16:creationId xmlns:a16="http://schemas.microsoft.com/office/drawing/2014/main" id="{1D0CA8BD-306B-47FA-BA36-D2DC5DDA1EB3}"/>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7" name="Rectangle : coins arrondis 201">
                <a:extLst>
                  <a:ext uri="{FF2B5EF4-FFF2-40B4-BE49-F238E27FC236}">
                    <a16:creationId xmlns:a16="http://schemas.microsoft.com/office/drawing/2014/main" id="{56654E0D-A27D-4F3B-8C01-514879CA6A65}"/>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8" name="ZoneTexte 18">
                <a:extLst>
                  <a:ext uri="{FF2B5EF4-FFF2-40B4-BE49-F238E27FC236}">
                    <a16:creationId xmlns:a16="http://schemas.microsoft.com/office/drawing/2014/main" id="{0E3F67B2-898D-4CBF-9AD0-1777CFF36DFD}"/>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39" name="Graphique 128" descr="Jauge">
                <a:extLst>
                  <a:ext uri="{FF2B5EF4-FFF2-40B4-BE49-F238E27FC236}">
                    <a16:creationId xmlns:a16="http://schemas.microsoft.com/office/drawing/2014/main" id="{2A90CA8E-390B-4DBD-BF70-C18D53709FA5}"/>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553764" y="187516"/>
                <a:ext cx="234953" cy="218224"/>
              </a:xfrm>
              <a:prstGeom prst="rect">
                <a:avLst/>
              </a:prstGeom>
              <a:effectLst/>
            </p:spPr>
          </p:pic>
          <p:pic>
            <p:nvPicPr>
              <p:cNvPr id="140" name="Graphique 90" descr="Poignée de main">
                <a:extLst>
                  <a:ext uri="{FF2B5EF4-FFF2-40B4-BE49-F238E27FC236}">
                    <a16:creationId xmlns:a16="http://schemas.microsoft.com/office/drawing/2014/main" id="{50051D87-6984-4642-8A1E-FDF2FCAB7F9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960868" y="152880"/>
                <a:ext cx="256313" cy="287496"/>
              </a:xfrm>
              <a:prstGeom prst="rect">
                <a:avLst/>
              </a:prstGeom>
              <a:effectLst/>
            </p:spPr>
          </p:pic>
          <p:pic>
            <p:nvPicPr>
              <p:cNvPr id="141" name="Graphique 74" descr="Mégaphone">
                <a:extLst>
                  <a:ext uri="{FF2B5EF4-FFF2-40B4-BE49-F238E27FC236}">
                    <a16:creationId xmlns:a16="http://schemas.microsoft.com/office/drawing/2014/main" id="{5A6E026B-F79A-4052-AF5D-7B6DC6A5C365}"/>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9389331" y="181519"/>
                <a:ext cx="233011" cy="216420"/>
              </a:xfrm>
              <a:prstGeom prst="rect">
                <a:avLst/>
              </a:prstGeom>
              <a:effectLst/>
            </p:spPr>
          </p:pic>
          <p:pic>
            <p:nvPicPr>
              <p:cNvPr id="142" name="Picture 2" descr="Drapeau France">
                <a:extLst>
                  <a:ext uri="{FF2B5EF4-FFF2-40B4-BE49-F238E27FC236}">
                    <a16:creationId xmlns:a16="http://schemas.microsoft.com/office/drawing/2014/main" id="{89034F42-C6D7-4EA6-9510-FB2C928C63A8}"/>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43" name="Picture 2" descr="5 ft x 3 ft 150 x 90 cm-DRAPEAU BELGE Belgique 100% Polyester ...">
                <a:extLst>
                  <a:ext uri="{FF2B5EF4-FFF2-40B4-BE49-F238E27FC236}">
                    <a16:creationId xmlns:a16="http://schemas.microsoft.com/office/drawing/2014/main" id="{B4468AA7-B6A3-438B-9C22-3F25D185F81A}"/>
                  </a:ext>
                </a:extLst>
              </p:cNvPr>
              <p:cNvPicPr>
                <a:picLocks noChangeAspect="1" noChangeArrowheads="1"/>
              </p:cNvPicPr>
              <p:nvPr/>
            </p:nvPicPr>
            <p:blipFill rotWithShape="1">
              <a:blip r:embed="rId30">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45" name="Picture 2 - 1" descr="Drapeau des Pays-Bas — Wikipédia">
                <a:extLst>
                  <a:ext uri="{FF2B5EF4-FFF2-40B4-BE49-F238E27FC236}">
                    <a16:creationId xmlns:a16="http://schemas.microsoft.com/office/drawing/2014/main" id="{FFC39308-653C-478D-821E-73840463F77D}"/>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46" name="Picture 2 - 2" descr="Drapeau du Luxembourg">
                <a:extLst>
                  <a:ext uri="{FF2B5EF4-FFF2-40B4-BE49-F238E27FC236}">
                    <a16:creationId xmlns:a16="http://schemas.microsoft.com/office/drawing/2014/main" id="{1B03EFD9-6B4E-4403-B53C-4A0E50BAC72F}"/>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134" name="ZoneTexte 18">
              <a:extLst>
                <a:ext uri="{FF2B5EF4-FFF2-40B4-BE49-F238E27FC236}">
                  <a16:creationId xmlns:a16="http://schemas.microsoft.com/office/drawing/2014/main" id="{B446D2D1-F6BA-4953-8F9C-4F8B9EA7DE5E}"/>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redit &amp; financial risk</a:t>
              </a:r>
            </a:p>
          </p:txBody>
        </p:sp>
      </p:grpSp>
      <p:grpSp>
        <p:nvGrpSpPr>
          <p:cNvPr id="238" name="Groupe 237">
            <a:extLst>
              <a:ext uri="{FF2B5EF4-FFF2-40B4-BE49-F238E27FC236}">
                <a16:creationId xmlns:a16="http://schemas.microsoft.com/office/drawing/2014/main" id="{6C6244F7-D2AA-46A7-B3CA-C26CF0285D71}"/>
              </a:ext>
            </a:extLst>
          </p:cNvPr>
          <p:cNvGrpSpPr/>
          <p:nvPr/>
        </p:nvGrpSpPr>
        <p:grpSpPr>
          <a:xfrm>
            <a:off x="1008385" y="2187499"/>
            <a:ext cx="6068833" cy="3142148"/>
            <a:chOff x="901875" y="1967155"/>
            <a:chExt cx="8013007" cy="3200817"/>
          </a:xfrm>
        </p:grpSpPr>
        <p:sp>
          <p:nvSpPr>
            <p:cNvPr id="239" name="Chevron 3">
              <a:extLst>
                <a:ext uri="{FF2B5EF4-FFF2-40B4-BE49-F238E27FC236}">
                  <a16:creationId xmlns:a16="http://schemas.microsoft.com/office/drawing/2014/main" id="{F54A9D3B-1685-4D14-8301-471DC61D3226}"/>
                </a:ext>
              </a:extLst>
            </p:cNvPr>
            <p:cNvSpPr/>
            <p:nvPr/>
          </p:nvSpPr>
          <p:spPr bwMode="auto">
            <a:xfrm>
              <a:off x="901875" y="4724793"/>
              <a:ext cx="1537530" cy="443179"/>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Basic public data</a:t>
              </a:r>
              <a:endParaRPr lang="en-GB" sz="900">
                <a:latin typeface="Trebuchet MS" pitchFamily="34" charset="0"/>
              </a:endParaRPr>
            </a:p>
          </p:txBody>
        </p:sp>
        <p:sp>
          <p:nvSpPr>
            <p:cNvPr id="240" name="Chevron 3 - 1">
              <a:extLst>
                <a:ext uri="{FF2B5EF4-FFF2-40B4-BE49-F238E27FC236}">
                  <a16:creationId xmlns:a16="http://schemas.microsoft.com/office/drawing/2014/main" id="{2E10C217-689B-4DDE-B44E-49D64E40BE59}"/>
                </a:ext>
              </a:extLst>
            </p:cNvPr>
            <p:cNvSpPr/>
            <p:nvPr/>
          </p:nvSpPr>
          <p:spPr bwMode="auto">
            <a:xfrm>
              <a:off x="901875" y="4173813"/>
              <a:ext cx="1537530" cy="443179"/>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Verified/corrected basic public data</a:t>
              </a:r>
              <a:endParaRPr lang="en-GB" sz="900">
                <a:latin typeface="Trebuchet MS" pitchFamily="34" charset="0"/>
              </a:endParaRPr>
            </a:p>
          </p:txBody>
        </p:sp>
        <p:sp>
          <p:nvSpPr>
            <p:cNvPr id="241" name="Chevron 3 - 2">
              <a:extLst>
                <a:ext uri="{FF2B5EF4-FFF2-40B4-BE49-F238E27FC236}">
                  <a16:creationId xmlns:a16="http://schemas.microsoft.com/office/drawing/2014/main" id="{9E2D3BFE-B313-46E5-B690-F578EACB1EB6}"/>
                </a:ext>
              </a:extLst>
            </p:cNvPr>
            <p:cNvSpPr/>
            <p:nvPr/>
          </p:nvSpPr>
          <p:spPr bwMode="auto">
            <a:xfrm>
              <a:off x="901875" y="3622836"/>
              <a:ext cx="1537530" cy="443179"/>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Complex legal data</a:t>
              </a:r>
              <a:endParaRPr lang="en-GB" sz="900">
                <a:latin typeface="Trebuchet MS" pitchFamily="34" charset="0"/>
              </a:endParaRPr>
            </a:p>
          </p:txBody>
        </p:sp>
        <p:sp>
          <p:nvSpPr>
            <p:cNvPr id="242" name="Chevron 3 - 3">
              <a:extLst>
                <a:ext uri="{FF2B5EF4-FFF2-40B4-BE49-F238E27FC236}">
                  <a16:creationId xmlns:a16="http://schemas.microsoft.com/office/drawing/2014/main" id="{1B3C1E96-EA01-4AFC-9F90-046282C62E3D}"/>
                </a:ext>
              </a:extLst>
            </p:cNvPr>
            <p:cNvSpPr/>
            <p:nvPr/>
          </p:nvSpPr>
          <p:spPr bwMode="auto">
            <a:xfrm>
              <a:off x="901875" y="2520880"/>
              <a:ext cx="1537530" cy="443179"/>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spc="-20">
                  <a:solidFill>
                    <a:schemeClr val="tx2"/>
                  </a:solidFill>
                  <a:latin typeface="Trebuchet MS" pitchFamily="34" charset="0"/>
                </a:rPr>
                <a:t>Private data</a:t>
              </a:r>
              <a:endParaRPr lang="en-GB" sz="900">
                <a:latin typeface="Trebuchet MS" pitchFamily="34" charset="0"/>
              </a:endParaRPr>
            </a:p>
          </p:txBody>
        </p:sp>
        <p:sp>
          <p:nvSpPr>
            <p:cNvPr id="243" name="Chevron 3 - 4">
              <a:extLst>
                <a:ext uri="{FF2B5EF4-FFF2-40B4-BE49-F238E27FC236}">
                  <a16:creationId xmlns:a16="http://schemas.microsoft.com/office/drawing/2014/main" id="{507707B4-ED9B-4643-BAEC-C718D78DC0D4}"/>
                </a:ext>
              </a:extLst>
            </p:cNvPr>
            <p:cNvSpPr/>
            <p:nvPr/>
          </p:nvSpPr>
          <p:spPr bwMode="auto">
            <a:xfrm>
              <a:off x="901875" y="3071858"/>
              <a:ext cx="1537530" cy="443179"/>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International</a:t>
              </a:r>
              <a:br>
                <a:rPr lang="en-GB" sz="900" b="1">
                  <a:solidFill>
                    <a:schemeClr val="tx2"/>
                  </a:solidFill>
                  <a:latin typeface="Trebuchet MS" pitchFamily="34" charset="0"/>
                </a:rPr>
              </a:br>
              <a:r>
                <a:rPr lang="en-GB" sz="900" b="1">
                  <a:solidFill>
                    <a:schemeClr val="tx2"/>
                  </a:solidFill>
                  <a:latin typeface="Trebuchet MS" pitchFamily="34" charset="0"/>
                </a:rPr>
                <a:t>data</a:t>
              </a:r>
              <a:endParaRPr lang="en-GB" sz="900">
                <a:latin typeface="Trebuchet MS" pitchFamily="34" charset="0"/>
              </a:endParaRPr>
            </a:p>
          </p:txBody>
        </p:sp>
        <p:sp>
          <p:nvSpPr>
            <p:cNvPr id="244" name="Chevron 3 - 4">
              <a:extLst>
                <a:ext uri="{FF2B5EF4-FFF2-40B4-BE49-F238E27FC236}">
                  <a16:creationId xmlns:a16="http://schemas.microsoft.com/office/drawing/2014/main" id="{1714B4DA-5FF8-4360-912B-A6F6041AE12D}"/>
                </a:ext>
              </a:extLst>
            </p:cNvPr>
            <p:cNvSpPr/>
            <p:nvPr/>
          </p:nvSpPr>
          <p:spPr bwMode="auto">
            <a:xfrm>
              <a:off x="901875" y="1967163"/>
              <a:ext cx="1537530" cy="443179"/>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Unstructured data</a:t>
              </a:r>
              <a:endParaRPr lang="en-GB" sz="900">
                <a:latin typeface="Trebuchet MS" pitchFamily="34" charset="0"/>
              </a:endParaRPr>
            </a:p>
          </p:txBody>
        </p:sp>
        <p:sp>
          <p:nvSpPr>
            <p:cNvPr id="245" name="Chevron 3">
              <a:extLst>
                <a:ext uri="{FF2B5EF4-FFF2-40B4-BE49-F238E27FC236}">
                  <a16:creationId xmlns:a16="http://schemas.microsoft.com/office/drawing/2014/main" id="{28798881-7B25-4A52-9C2D-84BE6A290635}"/>
                </a:ext>
              </a:extLst>
            </p:cNvPr>
            <p:cNvSpPr/>
            <p:nvPr/>
          </p:nvSpPr>
          <p:spPr bwMode="auto">
            <a:xfrm>
              <a:off x="2523104" y="4442800"/>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Basic score</a:t>
              </a:r>
              <a:endParaRPr lang="en-GB" sz="900">
                <a:latin typeface="Trebuchet MS" pitchFamily="34" charset="0"/>
              </a:endParaRPr>
            </a:p>
          </p:txBody>
        </p:sp>
        <p:sp>
          <p:nvSpPr>
            <p:cNvPr id="246" name="Chevron 3 - 1">
              <a:extLst>
                <a:ext uri="{FF2B5EF4-FFF2-40B4-BE49-F238E27FC236}">
                  <a16:creationId xmlns:a16="http://schemas.microsoft.com/office/drawing/2014/main" id="{EFA91B5B-9AFC-4282-AABD-4B5B46D45B62}"/>
                </a:ext>
              </a:extLst>
            </p:cNvPr>
            <p:cNvSpPr/>
            <p:nvPr/>
          </p:nvSpPr>
          <p:spPr bwMode="auto">
            <a:xfrm>
              <a:off x="2523104" y="3617585"/>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Industry specific score</a:t>
              </a:r>
              <a:endParaRPr lang="en-GB" sz="900">
                <a:latin typeface="Trebuchet MS" pitchFamily="34" charset="0"/>
              </a:endParaRPr>
            </a:p>
          </p:txBody>
        </p:sp>
        <p:sp>
          <p:nvSpPr>
            <p:cNvPr id="247" name="Chevron 3 - 2">
              <a:extLst>
                <a:ext uri="{FF2B5EF4-FFF2-40B4-BE49-F238E27FC236}">
                  <a16:creationId xmlns:a16="http://schemas.microsoft.com/office/drawing/2014/main" id="{9431B924-AB81-45CE-97F6-6E41C4252903}"/>
                </a:ext>
              </a:extLst>
            </p:cNvPr>
            <p:cNvSpPr/>
            <p:nvPr/>
          </p:nvSpPr>
          <p:spPr bwMode="auto">
            <a:xfrm>
              <a:off x="2523103" y="1967155"/>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Real-time updated score</a:t>
              </a:r>
              <a:endParaRPr lang="en-GB" sz="900">
                <a:latin typeface="Trebuchet MS" pitchFamily="34" charset="0"/>
              </a:endParaRPr>
            </a:p>
          </p:txBody>
        </p:sp>
        <p:sp>
          <p:nvSpPr>
            <p:cNvPr id="248" name="Chevron 3 - 3">
              <a:extLst>
                <a:ext uri="{FF2B5EF4-FFF2-40B4-BE49-F238E27FC236}">
                  <a16:creationId xmlns:a16="http://schemas.microsoft.com/office/drawing/2014/main" id="{D658FF66-AAC2-441E-B312-A5C69829CBFB}"/>
                </a:ext>
              </a:extLst>
            </p:cNvPr>
            <p:cNvSpPr/>
            <p:nvPr/>
          </p:nvSpPr>
          <p:spPr bwMode="auto">
            <a:xfrm>
              <a:off x="2523103" y="2792370"/>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Client-specific score</a:t>
              </a:r>
              <a:endParaRPr lang="en-GB" sz="900">
                <a:latin typeface="Trebuchet MS" pitchFamily="34" charset="0"/>
              </a:endParaRPr>
            </a:p>
          </p:txBody>
        </p:sp>
        <p:sp>
          <p:nvSpPr>
            <p:cNvPr id="249" name="Chevron 3">
              <a:extLst>
                <a:ext uri="{FF2B5EF4-FFF2-40B4-BE49-F238E27FC236}">
                  <a16:creationId xmlns:a16="http://schemas.microsoft.com/office/drawing/2014/main" id="{2099DE46-64A0-4FAB-8E41-BAC1C220CBB6}"/>
                </a:ext>
              </a:extLst>
            </p:cNvPr>
            <p:cNvSpPr/>
            <p:nvPr/>
          </p:nvSpPr>
          <p:spPr bwMode="auto">
            <a:xfrm>
              <a:off x="5765562" y="4442802"/>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Simple API connection</a:t>
              </a:r>
              <a:endParaRPr lang="en-GB" sz="900">
                <a:latin typeface="Trebuchet MS" pitchFamily="34" charset="0"/>
              </a:endParaRPr>
            </a:p>
          </p:txBody>
        </p:sp>
        <p:sp>
          <p:nvSpPr>
            <p:cNvPr id="250" name="Chevron 3 - 1">
              <a:extLst>
                <a:ext uri="{FF2B5EF4-FFF2-40B4-BE49-F238E27FC236}">
                  <a16:creationId xmlns:a16="http://schemas.microsoft.com/office/drawing/2014/main" id="{34C830AF-8CEC-483B-B769-FE7A1B551683}"/>
                </a:ext>
              </a:extLst>
            </p:cNvPr>
            <p:cNvSpPr/>
            <p:nvPr/>
          </p:nvSpPr>
          <p:spPr bwMode="auto">
            <a:xfrm>
              <a:off x="5765562" y="3617588"/>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Integration with third party system (ex: CRM, SRM, Credit risk </a:t>
              </a:r>
              <a:r>
                <a:rPr lang="en-GB" sz="900" b="1" err="1">
                  <a:solidFill>
                    <a:schemeClr val="tx2"/>
                  </a:solidFill>
                  <a:latin typeface="Trebuchet MS" pitchFamily="34" charset="0"/>
                </a:rPr>
                <a:t>mgt</a:t>
              </a:r>
              <a:r>
                <a:rPr lang="en-GB" sz="900" b="1">
                  <a:solidFill>
                    <a:schemeClr val="tx2"/>
                  </a:solidFill>
                  <a:latin typeface="Trebuchet MS" pitchFamily="34" charset="0"/>
                </a:rPr>
                <a:t>…)</a:t>
              </a:r>
            </a:p>
          </p:txBody>
        </p:sp>
        <p:sp>
          <p:nvSpPr>
            <p:cNvPr id="251" name="Chevron 3 - 2">
              <a:extLst>
                <a:ext uri="{FF2B5EF4-FFF2-40B4-BE49-F238E27FC236}">
                  <a16:creationId xmlns:a16="http://schemas.microsoft.com/office/drawing/2014/main" id="{03458428-3E91-4DAD-B6FD-BEC53904D07D}"/>
                </a:ext>
              </a:extLst>
            </p:cNvPr>
            <p:cNvSpPr/>
            <p:nvPr/>
          </p:nvSpPr>
          <p:spPr bwMode="auto">
            <a:xfrm>
              <a:off x="5765561" y="1967157"/>
              <a:ext cx="1537529" cy="1550377"/>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anose="020B0603020202020204" pitchFamily="34" charset="0"/>
                </a:rPr>
                <a:t>Integration with the client’s own IT solution</a:t>
              </a:r>
            </a:p>
          </p:txBody>
        </p:sp>
        <p:sp>
          <p:nvSpPr>
            <p:cNvPr id="252" name="Chevron 3 - 1">
              <a:extLst>
                <a:ext uri="{FF2B5EF4-FFF2-40B4-BE49-F238E27FC236}">
                  <a16:creationId xmlns:a16="http://schemas.microsoft.com/office/drawing/2014/main" id="{464089CA-75A0-4184-AF60-E1C9F4B2711C}"/>
                </a:ext>
              </a:extLst>
            </p:cNvPr>
            <p:cNvSpPr/>
            <p:nvPr/>
          </p:nvSpPr>
          <p:spPr bwMode="auto">
            <a:xfrm>
              <a:off x="4144331" y="4442219"/>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Generic web interface (serving all customers)</a:t>
              </a:r>
              <a:endParaRPr lang="en-GB" sz="900">
                <a:latin typeface="Trebuchet MS" pitchFamily="34" charset="0"/>
              </a:endParaRPr>
            </a:p>
          </p:txBody>
        </p:sp>
        <p:sp>
          <p:nvSpPr>
            <p:cNvPr id="253" name="Chevron 3 - 2">
              <a:extLst>
                <a:ext uri="{FF2B5EF4-FFF2-40B4-BE49-F238E27FC236}">
                  <a16:creationId xmlns:a16="http://schemas.microsoft.com/office/drawing/2014/main" id="{09916D7A-BE6F-4938-9FA4-169F775FAB71}"/>
                </a:ext>
              </a:extLst>
            </p:cNvPr>
            <p:cNvSpPr/>
            <p:nvPr/>
          </p:nvSpPr>
          <p:spPr bwMode="auto">
            <a:xfrm>
              <a:off x="4144330" y="3617214"/>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spc="-20">
                  <a:solidFill>
                    <a:schemeClr val="tx2"/>
                  </a:solidFill>
                  <a:latin typeface="Trebuchet MS" pitchFamily="34" charset="0"/>
                </a:rPr>
                <a:t>Personalized web interface per industry</a:t>
              </a:r>
              <a:endParaRPr lang="en-GB" sz="900">
                <a:latin typeface="Trebuchet MS" pitchFamily="34" charset="0"/>
              </a:endParaRPr>
            </a:p>
          </p:txBody>
        </p:sp>
        <p:sp>
          <p:nvSpPr>
            <p:cNvPr id="254" name="Chevron 3 - 3">
              <a:extLst>
                <a:ext uri="{FF2B5EF4-FFF2-40B4-BE49-F238E27FC236}">
                  <a16:creationId xmlns:a16="http://schemas.microsoft.com/office/drawing/2014/main" id="{6B18F5A9-B96A-49D6-9AD4-6C52B0290272}"/>
                </a:ext>
              </a:extLst>
            </p:cNvPr>
            <p:cNvSpPr/>
            <p:nvPr/>
          </p:nvSpPr>
          <p:spPr bwMode="auto">
            <a:xfrm>
              <a:off x="4144330" y="2792210"/>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spc="-20">
                  <a:solidFill>
                    <a:schemeClr val="tx2"/>
                  </a:solidFill>
                  <a:latin typeface="Trebuchet MS" pitchFamily="34" charset="0"/>
                </a:rPr>
                <a:t>Personalized web interface per client</a:t>
              </a:r>
              <a:endParaRPr lang="en-GB" sz="900">
                <a:latin typeface="Trebuchet MS" pitchFamily="34" charset="0"/>
              </a:endParaRPr>
            </a:p>
          </p:txBody>
        </p:sp>
        <p:sp>
          <p:nvSpPr>
            <p:cNvPr id="255" name="Chevron 3 - 4">
              <a:extLst>
                <a:ext uri="{FF2B5EF4-FFF2-40B4-BE49-F238E27FC236}">
                  <a16:creationId xmlns:a16="http://schemas.microsoft.com/office/drawing/2014/main" id="{030BF817-862D-4E0F-BAFF-4BFAE8F4AC99}"/>
                </a:ext>
              </a:extLst>
            </p:cNvPr>
            <p:cNvSpPr/>
            <p:nvPr/>
          </p:nvSpPr>
          <p:spPr bwMode="auto">
            <a:xfrm>
              <a:off x="4144330" y="1967206"/>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Ultra personalized interface with alerts</a:t>
              </a:r>
            </a:p>
          </p:txBody>
        </p:sp>
        <p:sp>
          <p:nvSpPr>
            <p:cNvPr id="256" name="Chevron 3">
              <a:extLst>
                <a:ext uri="{FF2B5EF4-FFF2-40B4-BE49-F238E27FC236}">
                  <a16:creationId xmlns:a16="http://schemas.microsoft.com/office/drawing/2014/main" id="{10413B11-371B-4567-B1F6-A76AB01560E5}"/>
                </a:ext>
              </a:extLst>
            </p:cNvPr>
            <p:cNvSpPr/>
            <p:nvPr/>
          </p:nvSpPr>
          <p:spPr bwMode="auto">
            <a:xfrm>
              <a:off x="7377352" y="4488921"/>
              <a:ext cx="1537529" cy="678456"/>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endParaRPr lang="en-GB" sz="900" b="1">
                <a:solidFill>
                  <a:schemeClr val="tx2"/>
                </a:solidFill>
                <a:latin typeface="Trebuchet MS" pitchFamily="34" charset="0"/>
              </a:endParaRPr>
            </a:p>
            <a:p>
              <a:pPr algn="ctr"/>
              <a:endParaRPr lang="en-GB" sz="900" b="1">
                <a:solidFill>
                  <a:schemeClr val="tx2"/>
                </a:solidFill>
                <a:latin typeface="Trebuchet MS" pitchFamily="34" charset="0"/>
              </a:endParaRPr>
            </a:p>
            <a:p>
              <a:pPr algn="ctr"/>
              <a:r>
                <a:rPr lang="en-GB" sz="900" b="1">
                  <a:solidFill>
                    <a:schemeClr val="tx2"/>
                  </a:solidFill>
                  <a:latin typeface="Trebuchet MS" pitchFamily="34" charset="0"/>
                </a:rPr>
                <a:t>Credit insurance</a:t>
              </a:r>
            </a:p>
            <a:p>
              <a:pPr algn="ctr"/>
              <a:endParaRPr lang="en-GB" sz="900" b="1">
                <a:solidFill>
                  <a:schemeClr val="tx2"/>
                </a:solidFill>
                <a:latin typeface="Trebuchet MS" pitchFamily="34" charset="0"/>
              </a:endParaRPr>
            </a:p>
            <a:p>
              <a:pPr algn="ctr"/>
              <a:endParaRPr lang="en-GB" sz="900" b="1">
                <a:solidFill>
                  <a:schemeClr val="tx2"/>
                </a:solidFill>
                <a:latin typeface="Trebuchet MS" pitchFamily="34" charset="0"/>
              </a:endParaRPr>
            </a:p>
            <a:p>
              <a:pPr algn="ctr"/>
              <a:endParaRPr lang="en-GB" sz="900" b="1">
                <a:solidFill>
                  <a:schemeClr val="tx2"/>
                </a:solidFill>
                <a:latin typeface="Trebuchet MS" pitchFamily="34" charset="0"/>
              </a:endParaRPr>
            </a:p>
          </p:txBody>
        </p:sp>
        <p:sp>
          <p:nvSpPr>
            <p:cNvPr id="257" name="Chevron 3 - 1">
              <a:extLst>
                <a:ext uri="{FF2B5EF4-FFF2-40B4-BE49-F238E27FC236}">
                  <a16:creationId xmlns:a16="http://schemas.microsoft.com/office/drawing/2014/main" id="{9D04E41E-05EB-47D5-B841-6BA8C02A1E52}"/>
                </a:ext>
              </a:extLst>
            </p:cNvPr>
            <p:cNvSpPr/>
            <p:nvPr/>
          </p:nvSpPr>
          <p:spPr bwMode="auto">
            <a:xfrm>
              <a:off x="7377353" y="4067352"/>
              <a:ext cx="1537529" cy="327955"/>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Factoring</a:t>
              </a:r>
            </a:p>
          </p:txBody>
        </p:sp>
        <p:sp>
          <p:nvSpPr>
            <p:cNvPr id="258" name="Chevron 3 - 2">
              <a:extLst>
                <a:ext uri="{FF2B5EF4-FFF2-40B4-BE49-F238E27FC236}">
                  <a16:creationId xmlns:a16="http://schemas.microsoft.com/office/drawing/2014/main" id="{96827A77-4E89-468F-87B4-F0436F36E7E7}"/>
                </a:ext>
              </a:extLst>
            </p:cNvPr>
            <p:cNvSpPr/>
            <p:nvPr/>
          </p:nvSpPr>
          <p:spPr bwMode="auto">
            <a:xfrm>
              <a:off x="7377352" y="3677918"/>
              <a:ext cx="1537529" cy="313823"/>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Debt recovery</a:t>
              </a:r>
            </a:p>
          </p:txBody>
        </p:sp>
        <p:sp>
          <p:nvSpPr>
            <p:cNvPr id="259" name="Chevron 3 - 3">
              <a:extLst>
                <a:ext uri="{FF2B5EF4-FFF2-40B4-BE49-F238E27FC236}">
                  <a16:creationId xmlns:a16="http://schemas.microsoft.com/office/drawing/2014/main" id="{77A66694-7E6A-42FA-826C-0A0024B0B6B2}"/>
                </a:ext>
              </a:extLst>
            </p:cNvPr>
            <p:cNvSpPr/>
            <p:nvPr/>
          </p:nvSpPr>
          <p:spPr bwMode="auto">
            <a:xfrm>
              <a:off x="7377352" y="2845576"/>
              <a:ext cx="1537529" cy="280802"/>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Compliance full audit</a:t>
              </a:r>
            </a:p>
          </p:txBody>
        </p:sp>
        <p:sp>
          <p:nvSpPr>
            <p:cNvPr id="260" name="Chevron 3 - 3">
              <a:extLst>
                <a:ext uri="{FF2B5EF4-FFF2-40B4-BE49-F238E27FC236}">
                  <a16:creationId xmlns:a16="http://schemas.microsoft.com/office/drawing/2014/main" id="{9CE5BB4D-AB52-4D2E-A55C-BB9E63E53541}"/>
                </a:ext>
              </a:extLst>
            </p:cNvPr>
            <p:cNvSpPr/>
            <p:nvPr/>
          </p:nvSpPr>
          <p:spPr bwMode="auto">
            <a:xfrm>
              <a:off x="7377352" y="3212160"/>
              <a:ext cx="1537529" cy="412294"/>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Financial analysis and rating</a:t>
              </a:r>
            </a:p>
          </p:txBody>
        </p:sp>
        <p:sp>
          <p:nvSpPr>
            <p:cNvPr id="262" name="Chevron 3 - 3">
              <a:extLst>
                <a:ext uri="{FF2B5EF4-FFF2-40B4-BE49-F238E27FC236}">
                  <a16:creationId xmlns:a16="http://schemas.microsoft.com/office/drawing/2014/main" id="{E74D5E25-9028-4BD8-8028-10A2ECEF1F72}"/>
                </a:ext>
              </a:extLst>
            </p:cNvPr>
            <p:cNvSpPr/>
            <p:nvPr/>
          </p:nvSpPr>
          <p:spPr bwMode="auto">
            <a:xfrm>
              <a:off x="7377352" y="1969530"/>
              <a:ext cx="1537529" cy="782432"/>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a:t>
              </a:r>
            </a:p>
          </p:txBody>
        </p:sp>
      </p:grpSp>
      <p:sp>
        <p:nvSpPr>
          <p:cNvPr id="274" name="Rectangle 273">
            <a:extLst>
              <a:ext uri="{FF2B5EF4-FFF2-40B4-BE49-F238E27FC236}">
                <a16:creationId xmlns:a16="http://schemas.microsoft.com/office/drawing/2014/main" id="{E3012A31-9499-4DC1-850D-02B1A035AFDA}"/>
              </a:ext>
            </a:extLst>
          </p:cNvPr>
          <p:cNvSpPr/>
          <p:nvPr/>
        </p:nvSpPr>
        <p:spPr bwMode="auto">
          <a:xfrm>
            <a:off x="952297" y="2187499"/>
            <a:ext cx="6203058" cy="3204995"/>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263" name="Rectangle: Rounded Corners 307">
            <a:extLst>
              <a:ext uri="{FF2B5EF4-FFF2-40B4-BE49-F238E27FC236}">
                <a16:creationId xmlns:a16="http://schemas.microsoft.com/office/drawing/2014/main" id="{B470A90B-5E4C-44CF-A85B-6ECD54B569B6}"/>
              </a:ext>
            </a:extLst>
          </p:cNvPr>
          <p:cNvSpPr/>
          <p:nvPr/>
        </p:nvSpPr>
        <p:spPr bwMode="auto">
          <a:xfrm>
            <a:off x="5957930" y="3890532"/>
            <a:ext cx="1119289" cy="372623"/>
          </a:xfrm>
          <a:prstGeom prst="roundRect">
            <a:avLst>
              <a:gd name="adj" fmla="val 4386"/>
            </a:avLst>
          </a:prstGeom>
          <a:noFill/>
          <a:ln w="1270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lang="en-GB" sz="1000"/>
          </a:p>
        </p:txBody>
      </p:sp>
      <p:sp>
        <p:nvSpPr>
          <p:cNvPr id="264" name="Rectangle: Rounded Corners 310">
            <a:extLst>
              <a:ext uri="{FF2B5EF4-FFF2-40B4-BE49-F238E27FC236}">
                <a16:creationId xmlns:a16="http://schemas.microsoft.com/office/drawing/2014/main" id="{3A2EE98E-243D-4125-B725-28D694CA0599}"/>
              </a:ext>
            </a:extLst>
          </p:cNvPr>
          <p:cNvSpPr/>
          <p:nvPr/>
        </p:nvSpPr>
        <p:spPr bwMode="auto">
          <a:xfrm>
            <a:off x="6008950" y="3921863"/>
            <a:ext cx="1010976" cy="313233"/>
          </a:xfrm>
          <a:prstGeom prst="roundRect">
            <a:avLst>
              <a:gd name="adj" fmla="val 4390"/>
            </a:avLst>
          </a:prstGeom>
          <a:noFill/>
          <a:ln w="12700" cap="flat" cmpd="sng" algn="ctr">
            <a:solidFill>
              <a:srgbClr val="0070C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i="0" u="none" strike="noStrike" cap="none" normalizeH="0" baseline="0">
              <a:ln>
                <a:noFill/>
              </a:ln>
              <a:solidFill>
                <a:schemeClr val="accent4"/>
              </a:solidFill>
              <a:effectLst/>
              <a:latin typeface="Trebuchet MS" pitchFamily="34" charset="0"/>
            </a:endParaRPr>
          </a:p>
        </p:txBody>
      </p:sp>
      <p:sp>
        <p:nvSpPr>
          <p:cNvPr id="267" name="Rectangle: Rounded Corners 311">
            <a:extLst>
              <a:ext uri="{FF2B5EF4-FFF2-40B4-BE49-F238E27FC236}">
                <a16:creationId xmlns:a16="http://schemas.microsoft.com/office/drawing/2014/main" id="{5AC9A312-F328-4424-8E17-F9A82899DC69}"/>
              </a:ext>
            </a:extLst>
          </p:cNvPr>
          <p:cNvSpPr/>
          <p:nvPr/>
        </p:nvSpPr>
        <p:spPr bwMode="auto">
          <a:xfrm>
            <a:off x="6008950" y="4714422"/>
            <a:ext cx="1010976" cy="527128"/>
          </a:xfrm>
          <a:prstGeom prst="roundRect">
            <a:avLst>
              <a:gd name="adj" fmla="val 4390"/>
            </a:avLst>
          </a:prstGeom>
          <a:noFill/>
          <a:ln w="12700" cap="flat" cmpd="sng" algn="ctr">
            <a:solidFill>
              <a:srgbClr val="0070C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i="0" u="none" strike="noStrike" cap="none" normalizeH="0" baseline="0">
              <a:ln>
                <a:noFill/>
              </a:ln>
              <a:solidFill>
                <a:schemeClr val="accent4"/>
              </a:solidFill>
              <a:effectLst/>
              <a:latin typeface="Trebuchet MS" pitchFamily="34" charset="0"/>
            </a:endParaRPr>
          </a:p>
        </p:txBody>
      </p:sp>
      <p:sp>
        <p:nvSpPr>
          <p:cNvPr id="269" name="Rectangle: Rounded Corners 110">
            <a:extLst>
              <a:ext uri="{FF2B5EF4-FFF2-40B4-BE49-F238E27FC236}">
                <a16:creationId xmlns:a16="http://schemas.microsoft.com/office/drawing/2014/main" id="{84366664-C036-4CB1-B1BE-33E771FE2D4E}"/>
              </a:ext>
            </a:extLst>
          </p:cNvPr>
          <p:cNvSpPr/>
          <p:nvPr/>
        </p:nvSpPr>
        <p:spPr bwMode="auto">
          <a:xfrm>
            <a:off x="5957930" y="4670502"/>
            <a:ext cx="1119289" cy="599224"/>
          </a:xfrm>
          <a:prstGeom prst="roundRect">
            <a:avLst>
              <a:gd name="adj" fmla="val 4386"/>
            </a:avLst>
          </a:prstGeom>
          <a:noFill/>
          <a:ln w="1270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lang="en-GB" sz="1000"/>
          </a:p>
        </p:txBody>
      </p:sp>
      <p:sp>
        <p:nvSpPr>
          <p:cNvPr id="275" name="Freeform: Shape 143">
            <a:extLst>
              <a:ext uri="{FF2B5EF4-FFF2-40B4-BE49-F238E27FC236}">
                <a16:creationId xmlns:a16="http://schemas.microsoft.com/office/drawing/2014/main" id="{2D2F9392-6910-4566-A426-9D28FB27420D}"/>
              </a:ext>
            </a:extLst>
          </p:cNvPr>
          <p:cNvSpPr/>
          <p:nvPr/>
        </p:nvSpPr>
        <p:spPr bwMode="auto">
          <a:xfrm>
            <a:off x="1055809" y="4670501"/>
            <a:ext cx="3534762" cy="661469"/>
          </a:xfrm>
          <a:custGeom>
            <a:avLst/>
            <a:gdLst>
              <a:gd name="connsiteX0" fmla="*/ 1507288 w 4465609"/>
              <a:gd name="connsiteY0" fmla="*/ 0 h 698794"/>
              <a:gd name="connsiteX1" fmla="*/ 4417721 w 4465609"/>
              <a:gd name="connsiteY1" fmla="*/ 0 h 698794"/>
              <a:gd name="connsiteX2" fmla="*/ 4465609 w 4465609"/>
              <a:gd name="connsiteY2" fmla="*/ 47888 h 698794"/>
              <a:gd name="connsiteX3" fmla="*/ 4465609 w 4465609"/>
              <a:gd name="connsiteY3" fmla="*/ 305831 h 698794"/>
              <a:gd name="connsiteX4" fmla="*/ 4465609 w 4465609"/>
              <a:gd name="connsiteY4" fmla="*/ 647631 h 698794"/>
              <a:gd name="connsiteX5" fmla="*/ 4465609 w 4465609"/>
              <a:gd name="connsiteY5" fmla="*/ 650906 h 698794"/>
              <a:gd name="connsiteX6" fmla="*/ 4417721 w 4465609"/>
              <a:gd name="connsiteY6" fmla="*/ 698794 h 698794"/>
              <a:gd name="connsiteX7" fmla="*/ 4414446 w 4465609"/>
              <a:gd name="connsiteY7" fmla="*/ 698794 h 698794"/>
              <a:gd name="connsiteX8" fmla="*/ 1507288 w 4465609"/>
              <a:gd name="connsiteY8" fmla="*/ 698794 h 698794"/>
              <a:gd name="connsiteX9" fmla="*/ 51163 w 4465609"/>
              <a:gd name="connsiteY9" fmla="*/ 698794 h 698794"/>
              <a:gd name="connsiteX10" fmla="*/ 0 w 4465609"/>
              <a:gd name="connsiteY10" fmla="*/ 647631 h 698794"/>
              <a:gd name="connsiteX11" fmla="*/ 0 w 4465609"/>
              <a:gd name="connsiteY11" fmla="*/ 305831 h 698794"/>
              <a:gd name="connsiteX12" fmla="*/ 51163 w 4465609"/>
              <a:gd name="connsiteY12" fmla="*/ 254668 h 698794"/>
              <a:gd name="connsiteX13" fmla="*/ 1459400 w 4465609"/>
              <a:gd name="connsiteY13" fmla="*/ 254668 h 698794"/>
              <a:gd name="connsiteX14" fmla="*/ 1459400 w 4465609"/>
              <a:gd name="connsiteY14" fmla="*/ 47888 h 698794"/>
              <a:gd name="connsiteX15" fmla="*/ 1507288 w 4465609"/>
              <a:gd name="connsiteY15" fmla="*/ 0 h 69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65609" h="698794">
                <a:moveTo>
                  <a:pt x="1507288" y="0"/>
                </a:moveTo>
                <a:lnTo>
                  <a:pt x="4417721" y="0"/>
                </a:lnTo>
                <a:cubicBezTo>
                  <a:pt x="4444169" y="0"/>
                  <a:pt x="4465609" y="21440"/>
                  <a:pt x="4465609" y="47888"/>
                </a:cubicBezTo>
                <a:lnTo>
                  <a:pt x="4465609" y="305831"/>
                </a:lnTo>
                <a:lnTo>
                  <a:pt x="4465609" y="647631"/>
                </a:lnTo>
                <a:lnTo>
                  <a:pt x="4465609" y="650906"/>
                </a:lnTo>
                <a:cubicBezTo>
                  <a:pt x="4465609" y="677354"/>
                  <a:pt x="4444169" y="698794"/>
                  <a:pt x="4417721" y="698794"/>
                </a:cubicBezTo>
                <a:lnTo>
                  <a:pt x="4414446" y="698794"/>
                </a:lnTo>
                <a:lnTo>
                  <a:pt x="1507288" y="698794"/>
                </a:lnTo>
                <a:lnTo>
                  <a:pt x="51163" y="698794"/>
                </a:lnTo>
                <a:cubicBezTo>
                  <a:pt x="22906" y="698794"/>
                  <a:pt x="0" y="675888"/>
                  <a:pt x="0" y="647631"/>
                </a:cubicBezTo>
                <a:lnTo>
                  <a:pt x="0" y="305831"/>
                </a:lnTo>
                <a:cubicBezTo>
                  <a:pt x="0" y="277574"/>
                  <a:pt x="22906" y="254668"/>
                  <a:pt x="51163" y="254668"/>
                </a:cubicBezTo>
                <a:lnTo>
                  <a:pt x="1459400" y="254668"/>
                </a:lnTo>
                <a:lnTo>
                  <a:pt x="1459400" y="47888"/>
                </a:lnTo>
                <a:cubicBezTo>
                  <a:pt x="1459400" y="21440"/>
                  <a:pt x="1480840" y="0"/>
                  <a:pt x="1507288" y="0"/>
                </a:cubicBezTo>
                <a:close/>
              </a:path>
            </a:pathLst>
          </a:cu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defTabSz="914400" rtl="0" eaLnBrk="1" fontAlgn="base" latinLnBrk="0" hangingPunct="1">
              <a:lnSpc>
                <a:spcPct val="100000"/>
              </a:lnSpc>
              <a:spcBef>
                <a:spcPct val="0"/>
              </a:spcBef>
              <a:spcAft>
                <a:spcPct val="0"/>
              </a:spcAft>
              <a:buClrTx/>
              <a:buSzTx/>
              <a:buFontTx/>
              <a:buNone/>
              <a:tabLst/>
            </a:pPr>
            <a:endParaRPr kumimoji="0" lang="en-GB" sz="1000" i="0" u="none" strike="noStrike" cap="none" normalizeH="0" baseline="0">
              <a:ln>
                <a:noFill/>
              </a:ln>
              <a:solidFill>
                <a:schemeClr val="tx1"/>
              </a:solidFill>
              <a:effectLst/>
              <a:latin typeface="Trebuchet MS" pitchFamily="34" charset="0"/>
            </a:endParaRPr>
          </a:p>
        </p:txBody>
      </p:sp>
      <p:sp>
        <p:nvSpPr>
          <p:cNvPr id="276" name="Freeform: Shape 153">
            <a:extLst>
              <a:ext uri="{FF2B5EF4-FFF2-40B4-BE49-F238E27FC236}">
                <a16:creationId xmlns:a16="http://schemas.microsoft.com/office/drawing/2014/main" id="{B1FD27EA-4204-420C-BB0D-800DCB34D0B4}"/>
              </a:ext>
            </a:extLst>
          </p:cNvPr>
          <p:cNvSpPr/>
          <p:nvPr/>
        </p:nvSpPr>
        <p:spPr bwMode="auto">
          <a:xfrm>
            <a:off x="1072310" y="3890532"/>
            <a:ext cx="4619942" cy="1433115"/>
          </a:xfrm>
          <a:custGeom>
            <a:avLst/>
            <a:gdLst>
              <a:gd name="connsiteX0" fmla="*/ 3637353 w 4619942"/>
              <a:gd name="connsiteY0" fmla="*/ 0 h 1385723"/>
              <a:gd name="connsiteX1" fmla="*/ 4579192 w 4619942"/>
              <a:gd name="connsiteY1" fmla="*/ 0 h 1385723"/>
              <a:gd name="connsiteX2" fmla="*/ 4619941 w 4619942"/>
              <a:gd name="connsiteY2" fmla="*/ 40749 h 1385723"/>
              <a:gd name="connsiteX3" fmla="*/ 4619941 w 4619942"/>
              <a:gd name="connsiteY3" fmla="*/ 758473 h 1385723"/>
              <a:gd name="connsiteX4" fmla="*/ 4619942 w 4619942"/>
              <a:gd name="connsiteY4" fmla="*/ 758475 h 1385723"/>
              <a:gd name="connsiteX5" fmla="*/ 4619942 w 4619942"/>
              <a:gd name="connsiteY5" fmla="*/ 1358449 h 1385723"/>
              <a:gd name="connsiteX6" fmla="*/ 4592668 w 4619942"/>
              <a:gd name="connsiteY6" fmla="*/ 1385723 h 1385723"/>
              <a:gd name="connsiteX7" fmla="*/ 3496856 w 4619942"/>
              <a:gd name="connsiteY7" fmla="*/ 1385723 h 1385723"/>
              <a:gd name="connsiteX8" fmla="*/ 3494264 w 4619942"/>
              <a:gd name="connsiteY8" fmla="*/ 1385723 h 1385723"/>
              <a:gd name="connsiteX9" fmla="*/ 3482626 w 4619942"/>
              <a:gd name="connsiteY9" fmla="*/ 1385723 h 1385723"/>
              <a:gd name="connsiteX10" fmla="*/ 1193097 w 4619942"/>
              <a:gd name="connsiteY10" fmla="*/ 1385723 h 1385723"/>
              <a:gd name="connsiteX11" fmla="*/ 40498 w 4619942"/>
              <a:gd name="connsiteY11" fmla="*/ 1385723 h 1385723"/>
              <a:gd name="connsiteX12" fmla="*/ 0 w 4619942"/>
              <a:gd name="connsiteY12" fmla="*/ 1337802 h 1385723"/>
              <a:gd name="connsiteX13" fmla="*/ 0 w 4619942"/>
              <a:gd name="connsiteY13" fmla="*/ 1017656 h 1385723"/>
              <a:gd name="connsiteX14" fmla="*/ 0 w 4619942"/>
              <a:gd name="connsiteY14" fmla="*/ 1017656 h 1385723"/>
              <a:gd name="connsiteX15" fmla="*/ 0 w 4619942"/>
              <a:gd name="connsiteY15" fmla="*/ 281225 h 1385723"/>
              <a:gd name="connsiteX16" fmla="*/ 34528 w 4619942"/>
              <a:gd name="connsiteY16" fmla="*/ 246697 h 1385723"/>
              <a:gd name="connsiteX17" fmla="*/ 1130062 w 4619942"/>
              <a:gd name="connsiteY17" fmla="*/ 246697 h 1385723"/>
              <a:gd name="connsiteX18" fmla="*/ 1164590 w 4619942"/>
              <a:gd name="connsiteY18" fmla="*/ 281225 h 1385723"/>
              <a:gd name="connsiteX19" fmla="*/ 1164590 w 4619942"/>
              <a:gd name="connsiteY19" fmla="*/ 749205 h 1385723"/>
              <a:gd name="connsiteX20" fmla="*/ 1166293 w 4619942"/>
              <a:gd name="connsiteY20" fmla="*/ 744339 h 1385723"/>
              <a:gd name="connsiteX21" fmla="*/ 1193097 w 4619942"/>
              <a:gd name="connsiteY21" fmla="*/ 731201 h 1385723"/>
              <a:gd name="connsiteX22" fmla="*/ 3482626 w 4619942"/>
              <a:gd name="connsiteY22" fmla="*/ 731201 h 1385723"/>
              <a:gd name="connsiteX23" fmla="*/ 3496856 w 4619942"/>
              <a:gd name="connsiteY23" fmla="*/ 731201 h 1385723"/>
              <a:gd name="connsiteX24" fmla="*/ 3596604 w 4619942"/>
              <a:gd name="connsiteY24" fmla="*/ 731201 h 1385723"/>
              <a:gd name="connsiteX25" fmla="*/ 3596604 w 4619942"/>
              <a:gd name="connsiteY25" fmla="*/ 40749 h 1385723"/>
              <a:gd name="connsiteX26" fmla="*/ 3637353 w 4619942"/>
              <a:gd name="connsiteY26" fmla="*/ 0 h 1385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619942" h="1385723">
                <a:moveTo>
                  <a:pt x="3637353" y="0"/>
                </a:moveTo>
                <a:lnTo>
                  <a:pt x="4579192" y="0"/>
                </a:lnTo>
                <a:cubicBezTo>
                  <a:pt x="4601697" y="0"/>
                  <a:pt x="4619941" y="18244"/>
                  <a:pt x="4619941" y="40749"/>
                </a:cubicBezTo>
                <a:lnTo>
                  <a:pt x="4619941" y="758473"/>
                </a:lnTo>
                <a:lnTo>
                  <a:pt x="4619942" y="758475"/>
                </a:lnTo>
                <a:lnTo>
                  <a:pt x="4619942" y="1358449"/>
                </a:lnTo>
                <a:cubicBezTo>
                  <a:pt x="4619942" y="1373512"/>
                  <a:pt x="4607731" y="1385723"/>
                  <a:pt x="4592668" y="1385723"/>
                </a:cubicBezTo>
                <a:lnTo>
                  <a:pt x="3496856" y="1385723"/>
                </a:lnTo>
                <a:lnTo>
                  <a:pt x="3494264" y="1385723"/>
                </a:lnTo>
                <a:lnTo>
                  <a:pt x="3482626" y="1385723"/>
                </a:lnTo>
                <a:lnTo>
                  <a:pt x="1193097" y="1385723"/>
                </a:lnTo>
                <a:lnTo>
                  <a:pt x="40498" y="1385723"/>
                </a:lnTo>
                <a:cubicBezTo>
                  <a:pt x="18131" y="1385723"/>
                  <a:pt x="0" y="1364268"/>
                  <a:pt x="0" y="1337802"/>
                </a:cubicBezTo>
                <a:lnTo>
                  <a:pt x="0" y="1017656"/>
                </a:lnTo>
                <a:lnTo>
                  <a:pt x="0" y="1017656"/>
                </a:lnTo>
                <a:lnTo>
                  <a:pt x="0" y="281225"/>
                </a:lnTo>
                <a:cubicBezTo>
                  <a:pt x="0" y="262156"/>
                  <a:pt x="15459" y="246697"/>
                  <a:pt x="34528" y="246697"/>
                </a:cubicBezTo>
                <a:lnTo>
                  <a:pt x="1130062" y="246697"/>
                </a:lnTo>
                <a:cubicBezTo>
                  <a:pt x="1149131" y="246697"/>
                  <a:pt x="1164590" y="262156"/>
                  <a:pt x="1164590" y="281225"/>
                </a:cubicBezTo>
                <a:lnTo>
                  <a:pt x="1164590" y="749205"/>
                </a:lnTo>
                <a:lnTo>
                  <a:pt x="1166293" y="744339"/>
                </a:lnTo>
                <a:cubicBezTo>
                  <a:pt x="1173153" y="736222"/>
                  <a:pt x="1182629" y="731201"/>
                  <a:pt x="1193097" y="731201"/>
                </a:cubicBezTo>
                <a:lnTo>
                  <a:pt x="3482626" y="731201"/>
                </a:lnTo>
                <a:lnTo>
                  <a:pt x="3496856" y="731201"/>
                </a:lnTo>
                <a:lnTo>
                  <a:pt x="3596604" y="731201"/>
                </a:lnTo>
                <a:lnTo>
                  <a:pt x="3596604" y="40749"/>
                </a:lnTo>
                <a:cubicBezTo>
                  <a:pt x="3596604" y="18244"/>
                  <a:pt x="3614848" y="0"/>
                  <a:pt x="3637353" y="0"/>
                </a:cubicBezTo>
                <a:close/>
              </a:path>
            </a:pathLst>
          </a:custGeom>
          <a:noFill/>
          <a:ln w="12700"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endParaRPr lang="en-GB" sz="1000">
              <a:latin typeface="Trebuchet MS" pitchFamily="34" charset="0"/>
            </a:endParaRPr>
          </a:p>
        </p:txBody>
      </p:sp>
      <p:sp>
        <p:nvSpPr>
          <p:cNvPr id="277" name="Freeform: Shape 123">
            <a:extLst>
              <a:ext uri="{FF2B5EF4-FFF2-40B4-BE49-F238E27FC236}">
                <a16:creationId xmlns:a16="http://schemas.microsoft.com/office/drawing/2014/main" id="{DC98A8F5-046D-426E-9E44-FF3158F58ADE}"/>
              </a:ext>
            </a:extLst>
          </p:cNvPr>
          <p:cNvSpPr/>
          <p:nvPr/>
        </p:nvSpPr>
        <p:spPr bwMode="auto">
          <a:xfrm>
            <a:off x="1040597" y="3142327"/>
            <a:ext cx="4697318" cy="2193936"/>
          </a:xfrm>
          <a:custGeom>
            <a:avLst/>
            <a:gdLst>
              <a:gd name="connsiteX0" fmla="*/ 3123281 w 5999852"/>
              <a:gd name="connsiteY0" fmla="*/ 0 h 2234362"/>
              <a:gd name="connsiteX1" fmla="*/ 4479995 w 5999852"/>
              <a:gd name="connsiteY1" fmla="*/ 0 h 2234362"/>
              <a:gd name="connsiteX2" fmla="*/ 4514108 w 5999852"/>
              <a:gd name="connsiteY2" fmla="*/ 34113 h 2234362"/>
              <a:gd name="connsiteX3" fmla="*/ 4514108 w 5999852"/>
              <a:gd name="connsiteY3" fmla="*/ 723900 h 2234362"/>
              <a:gd name="connsiteX4" fmla="*/ 5963692 w 5999852"/>
              <a:gd name="connsiteY4" fmla="*/ 723900 h 2234362"/>
              <a:gd name="connsiteX5" fmla="*/ 5999852 w 5999852"/>
              <a:gd name="connsiteY5" fmla="*/ 760060 h 2234362"/>
              <a:gd name="connsiteX6" fmla="*/ 5999852 w 5999852"/>
              <a:gd name="connsiteY6" fmla="*/ 2198202 h 2234362"/>
              <a:gd name="connsiteX7" fmla="*/ 5963692 w 5999852"/>
              <a:gd name="connsiteY7" fmla="*/ 2234362 h 2234362"/>
              <a:gd name="connsiteX8" fmla="*/ 4479995 w 5999852"/>
              <a:gd name="connsiteY8" fmla="*/ 2234362 h 2234362"/>
              <a:gd name="connsiteX9" fmla="*/ 3123281 w 5999852"/>
              <a:gd name="connsiteY9" fmla="*/ 2234362 h 2234362"/>
              <a:gd name="connsiteX10" fmla="*/ 36160 w 5999852"/>
              <a:gd name="connsiteY10" fmla="*/ 2234362 h 2234362"/>
              <a:gd name="connsiteX11" fmla="*/ 0 w 5999852"/>
              <a:gd name="connsiteY11" fmla="*/ 2198202 h 2234362"/>
              <a:gd name="connsiteX12" fmla="*/ 0 w 5999852"/>
              <a:gd name="connsiteY12" fmla="*/ 760060 h 2234362"/>
              <a:gd name="connsiteX13" fmla="*/ 36160 w 5999852"/>
              <a:gd name="connsiteY13" fmla="*/ 723900 h 2234362"/>
              <a:gd name="connsiteX14" fmla="*/ 3089168 w 5999852"/>
              <a:gd name="connsiteY14" fmla="*/ 723900 h 2234362"/>
              <a:gd name="connsiteX15" fmla="*/ 3089168 w 5999852"/>
              <a:gd name="connsiteY15" fmla="*/ 34113 h 2234362"/>
              <a:gd name="connsiteX16" fmla="*/ 3123281 w 5999852"/>
              <a:gd name="connsiteY16" fmla="*/ 0 h 2234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99852" h="2234362">
                <a:moveTo>
                  <a:pt x="3123281" y="0"/>
                </a:moveTo>
                <a:lnTo>
                  <a:pt x="4479995" y="0"/>
                </a:lnTo>
                <a:cubicBezTo>
                  <a:pt x="4498835" y="0"/>
                  <a:pt x="4514108" y="15273"/>
                  <a:pt x="4514108" y="34113"/>
                </a:cubicBezTo>
                <a:lnTo>
                  <a:pt x="4514108" y="723900"/>
                </a:lnTo>
                <a:lnTo>
                  <a:pt x="5963692" y="723900"/>
                </a:lnTo>
                <a:cubicBezTo>
                  <a:pt x="5983663" y="723900"/>
                  <a:pt x="5999852" y="740089"/>
                  <a:pt x="5999852" y="760060"/>
                </a:cubicBezTo>
                <a:lnTo>
                  <a:pt x="5999852" y="2198202"/>
                </a:lnTo>
                <a:cubicBezTo>
                  <a:pt x="5999852" y="2218173"/>
                  <a:pt x="5983663" y="2234362"/>
                  <a:pt x="5963692" y="2234362"/>
                </a:cubicBezTo>
                <a:lnTo>
                  <a:pt x="4479995" y="2234362"/>
                </a:lnTo>
                <a:lnTo>
                  <a:pt x="3123281" y="2234362"/>
                </a:lnTo>
                <a:lnTo>
                  <a:pt x="36160" y="2234362"/>
                </a:lnTo>
                <a:cubicBezTo>
                  <a:pt x="16189" y="2234362"/>
                  <a:pt x="0" y="2218173"/>
                  <a:pt x="0" y="2198202"/>
                </a:cubicBezTo>
                <a:lnTo>
                  <a:pt x="0" y="760060"/>
                </a:lnTo>
                <a:cubicBezTo>
                  <a:pt x="0" y="740089"/>
                  <a:pt x="16189" y="723900"/>
                  <a:pt x="36160" y="723900"/>
                </a:cubicBezTo>
                <a:lnTo>
                  <a:pt x="3089168" y="723900"/>
                </a:lnTo>
                <a:lnTo>
                  <a:pt x="3089168" y="34113"/>
                </a:lnTo>
                <a:cubicBezTo>
                  <a:pt x="3089168" y="15273"/>
                  <a:pt x="3104441" y="0"/>
                  <a:pt x="3123281" y="0"/>
                </a:cubicBezTo>
                <a:close/>
              </a:path>
            </a:pathLst>
          </a:custGeom>
          <a:noFill/>
          <a:ln w="12700" cap="flat" cmpd="sng" algn="ctr">
            <a:solidFill>
              <a:srgbClr val="0070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i="0" u="none" strike="noStrike" cap="none" normalizeH="0" baseline="0">
              <a:ln>
                <a:noFill/>
              </a:ln>
              <a:solidFill>
                <a:schemeClr val="accent4"/>
              </a:solidFill>
              <a:effectLst/>
              <a:latin typeface="Trebuchet MS" pitchFamily="34" charset="0"/>
            </a:endParaRPr>
          </a:p>
        </p:txBody>
      </p:sp>
      <p:sp>
        <p:nvSpPr>
          <p:cNvPr id="287" name="Freeform: Shape 105">
            <a:extLst>
              <a:ext uri="{FF2B5EF4-FFF2-40B4-BE49-F238E27FC236}">
                <a16:creationId xmlns:a16="http://schemas.microsoft.com/office/drawing/2014/main" id="{C116B240-6FAE-4B39-BCEC-6DDA973F1464}"/>
              </a:ext>
            </a:extLst>
          </p:cNvPr>
          <p:cNvSpPr/>
          <p:nvPr/>
        </p:nvSpPr>
        <p:spPr bwMode="auto">
          <a:xfrm>
            <a:off x="952297" y="2297266"/>
            <a:ext cx="4885108" cy="3076883"/>
          </a:xfrm>
          <a:prstGeom prst="roundRect">
            <a:avLst>
              <a:gd name="adj" fmla="val 1327"/>
            </a:avLst>
          </a:prstGeom>
          <a:no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lang="en-GB" sz="700"/>
          </a:p>
        </p:txBody>
      </p:sp>
      <p:sp>
        <p:nvSpPr>
          <p:cNvPr id="289" name="Rectangle 288">
            <a:extLst>
              <a:ext uri="{FF2B5EF4-FFF2-40B4-BE49-F238E27FC236}">
                <a16:creationId xmlns:a16="http://schemas.microsoft.com/office/drawing/2014/main" id="{A0B809A4-FB1A-4788-A515-DD50294569E0}"/>
              </a:ext>
            </a:extLst>
          </p:cNvPr>
          <p:cNvSpPr/>
          <p:nvPr/>
        </p:nvSpPr>
        <p:spPr>
          <a:xfrm>
            <a:off x="996198" y="2339195"/>
            <a:ext cx="1196161" cy="246221"/>
          </a:xfrm>
          <a:prstGeom prst="rect">
            <a:avLst/>
          </a:prstGeom>
          <a:ln>
            <a:noFill/>
            <a:prstDash val="solid"/>
          </a:ln>
        </p:spPr>
        <p:txBody>
          <a:bodyPr wrap="none">
            <a:spAutoFit/>
          </a:bodyPr>
          <a:lstStyle/>
          <a:p>
            <a:pPr algn="ctr"/>
            <a:r>
              <a:rPr lang="en-GB" sz="1000" b="1">
                <a:solidFill>
                  <a:schemeClr val="tx2"/>
                </a:solidFill>
                <a:latin typeface="Trebuchet MS" panose="020B0603020202020204" pitchFamily="34" charset="0"/>
              </a:rPr>
              <a:t>Premium players</a:t>
            </a:r>
          </a:p>
        </p:txBody>
      </p:sp>
      <p:sp>
        <p:nvSpPr>
          <p:cNvPr id="290" name="Rectangle 289">
            <a:extLst>
              <a:ext uri="{FF2B5EF4-FFF2-40B4-BE49-F238E27FC236}">
                <a16:creationId xmlns:a16="http://schemas.microsoft.com/office/drawing/2014/main" id="{05F34368-BE08-4729-A75F-251101CBC380}"/>
              </a:ext>
            </a:extLst>
          </p:cNvPr>
          <p:cNvSpPr/>
          <p:nvPr/>
        </p:nvSpPr>
        <p:spPr>
          <a:xfrm>
            <a:off x="1121981" y="3947245"/>
            <a:ext cx="1367860" cy="153888"/>
          </a:xfrm>
          <a:prstGeom prst="rect">
            <a:avLst/>
          </a:prstGeom>
          <a:ln>
            <a:noFill/>
            <a:prstDash val="solid"/>
          </a:ln>
        </p:spPr>
        <p:txBody>
          <a:bodyPr wrap="square" lIns="0" tIns="0" rIns="0" bIns="0">
            <a:spAutoFit/>
          </a:bodyPr>
          <a:lstStyle/>
          <a:p>
            <a:r>
              <a:rPr lang="en-GB" sz="1000" b="1">
                <a:solidFill>
                  <a:srgbClr val="0070C0"/>
                </a:solidFill>
                <a:latin typeface="Trebuchet MS" panose="020B0603020202020204" pitchFamily="34" charset="0"/>
              </a:rPr>
              <a:t>Historical players</a:t>
            </a:r>
          </a:p>
        </p:txBody>
      </p:sp>
      <p:sp>
        <p:nvSpPr>
          <p:cNvPr id="291" name="Rectangle 290">
            <a:extLst>
              <a:ext uri="{FF2B5EF4-FFF2-40B4-BE49-F238E27FC236}">
                <a16:creationId xmlns:a16="http://schemas.microsoft.com/office/drawing/2014/main" id="{F319D7D7-07D8-4461-BC33-1CF1B831D1C4}"/>
              </a:ext>
            </a:extLst>
          </p:cNvPr>
          <p:cNvSpPr/>
          <p:nvPr/>
        </p:nvSpPr>
        <p:spPr>
          <a:xfrm>
            <a:off x="1172937" y="3404034"/>
            <a:ext cx="641202" cy="153888"/>
          </a:xfrm>
          <a:prstGeom prst="rect">
            <a:avLst/>
          </a:prstGeom>
          <a:ln>
            <a:noFill/>
            <a:prstDash val="solid"/>
          </a:ln>
        </p:spPr>
        <p:txBody>
          <a:bodyPr wrap="none" lIns="0" tIns="0" rIns="0" bIns="0">
            <a:spAutoFit/>
          </a:bodyPr>
          <a:lstStyle/>
          <a:p>
            <a:pPr algn="ctr"/>
            <a:r>
              <a:rPr lang="en-GB" sz="1000" b="1">
                <a:solidFill>
                  <a:srgbClr val="C00000"/>
                </a:solidFill>
                <a:latin typeface="Trebuchet MS" panose="020B0603020202020204" pitchFamily="34" charset="0"/>
              </a:rPr>
              <a:t>Challenger</a:t>
            </a:r>
          </a:p>
        </p:txBody>
      </p:sp>
      <p:sp>
        <p:nvSpPr>
          <p:cNvPr id="292" name="Rectangle: Rounded Corners 163">
            <a:extLst>
              <a:ext uri="{FF2B5EF4-FFF2-40B4-BE49-F238E27FC236}">
                <a16:creationId xmlns:a16="http://schemas.microsoft.com/office/drawing/2014/main" id="{8190FC58-6B5E-46E2-952C-429B8D1A2F5F}"/>
              </a:ext>
            </a:extLst>
          </p:cNvPr>
          <p:cNvSpPr/>
          <p:nvPr/>
        </p:nvSpPr>
        <p:spPr bwMode="auto">
          <a:xfrm>
            <a:off x="1055619" y="4924778"/>
            <a:ext cx="1507847" cy="189194"/>
          </a:xfrm>
          <a:prstGeom prst="roundRect">
            <a:avLst/>
          </a:prstGeom>
          <a:noFill/>
          <a:ln w="28575" cap="flat" cmpd="sng" algn="ctr">
            <a:noFill/>
            <a:prstDash val="sysDash"/>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defTabSz="914400" rtl="0" eaLnBrk="1" fontAlgn="base" latinLnBrk="0" hangingPunct="1">
              <a:lnSpc>
                <a:spcPct val="100000"/>
              </a:lnSpc>
              <a:spcBef>
                <a:spcPct val="0"/>
              </a:spcBef>
              <a:spcAft>
                <a:spcPct val="0"/>
              </a:spcAft>
              <a:buClrTx/>
              <a:buSzTx/>
              <a:buFontTx/>
              <a:buNone/>
              <a:tabLst/>
            </a:pPr>
            <a:r>
              <a:rPr lang="en-GB" sz="1000" b="1">
                <a:solidFill>
                  <a:srgbClr val="6C6C6C"/>
                </a:solidFill>
                <a:latin typeface="Trebuchet MS" panose="020B0603020202020204" pitchFamily="34" charset="0"/>
              </a:rPr>
              <a:t>Freemium players</a:t>
            </a:r>
          </a:p>
        </p:txBody>
      </p:sp>
      <p:sp>
        <p:nvSpPr>
          <p:cNvPr id="293" name="Rectangle: Rounded Corners 171">
            <a:extLst>
              <a:ext uri="{FF2B5EF4-FFF2-40B4-BE49-F238E27FC236}">
                <a16:creationId xmlns:a16="http://schemas.microsoft.com/office/drawing/2014/main" id="{5311985C-626E-433B-8DCE-D410717F5D97}"/>
              </a:ext>
            </a:extLst>
          </p:cNvPr>
          <p:cNvSpPr/>
          <p:nvPr/>
        </p:nvSpPr>
        <p:spPr bwMode="auto">
          <a:xfrm>
            <a:off x="944148" y="4175379"/>
            <a:ext cx="1507847" cy="189194"/>
          </a:xfrm>
          <a:prstGeom prst="roundRect">
            <a:avLst/>
          </a:prstGeom>
          <a:noFill/>
          <a:ln w="28575" cap="flat" cmpd="sng" algn="ctr">
            <a:noFill/>
            <a:prstDash val="sysDash"/>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defTabSz="914400" rtl="0" eaLnBrk="1" fontAlgn="base" latinLnBrk="0" hangingPunct="1">
              <a:lnSpc>
                <a:spcPct val="100000"/>
              </a:lnSpc>
              <a:spcBef>
                <a:spcPct val="0"/>
              </a:spcBef>
              <a:spcAft>
                <a:spcPct val="0"/>
              </a:spcAft>
              <a:buClrTx/>
              <a:buSzTx/>
              <a:buFontTx/>
              <a:buNone/>
              <a:tabLst/>
            </a:pPr>
            <a:r>
              <a:rPr lang="en-GB" sz="1000" b="1">
                <a:solidFill>
                  <a:srgbClr val="FFC000"/>
                </a:solidFill>
                <a:latin typeface="Trebuchet MS" panose="020B0603020202020204" pitchFamily="34" charset="0"/>
              </a:rPr>
              <a:t>Local small players</a:t>
            </a:r>
          </a:p>
        </p:txBody>
      </p:sp>
      <p:sp>
        <p:nvSpPr>
          <p:cNvPr id="4" name="Speech Bubble: Rectangle 3">
            <a:extLst>
              <a:ext uri="{FF2B5EF4-FFF2-40B4-BE49-F238E27FC236}">
                <a16:creationId xmlns:a16="http://schemas.microsoft.com/office/drawing/2014/main" id="{4E1304A4-3819-4E1D-8689-F8C8B3486596}"/>
              </a:ext>
            </a:extLst>
          </p:cNvPr>
          <p:cNvSpPr/>
          <p:nvPr/>
        </p:nvSpPr>
        <p:spPr bwMode="auto">
          <a:xfrm>
            <a:off x="5439825" y="1908315"/>
            <a:ext cx="1769551" cy="581800"/>
          </a:xfrm>
          <a:prstGeom prst="wedgeRectCallout">
            <a:avLst>
              <a:gd name="adj1" fmla="val -9364"/>
              <a:gd name="adj2" fmla="val 77791"/>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dirty="0">
                <a:ln>
                  <a:noFill/>
                </a:ln>
                <a:solidFill>
                  <a:schemeClr val="tx2"/>
                </a:solidFill>
                <a:effectLst/>
                <a:latin typeface="Trebuchet MS" panose="020B0603020202020204" pitchFamily="34" charset="0"/>
              </a:rPr>
              <a:t>Partnerships</a:t>
            </a:r>
            <a:r>
              <a:rPr kumimoji="0" lang="en-GB" sz="1000" b="0" i="0" u="none" strike="noStrike" cap="none" normalizeH="0" baseline="0" dirty="0">
                <a:ln>
                  <a:noFill/>
                </a:ln>
                <a:solidFill>
                  <a:schemeClr val="tx1"/>
                </a:solidFill>
                <a:effectLst/>
                <a:latin typeface="Trebuchet MS" panose="020B0603020202020204" pitchFamily="34" charset="0"/>
              </a:rPr>
              <a:t> with players </a:t>
            </a:r>
            <a:r>
              <a:rPr lang="en-GB" sz="1000" dirty="0">
                <a:latin typeface="Trebuchet MS" panose="020B0603020202020204" pitchFamily="34" charset="0"/>
              </a:rPr>
              <a:t>in</a:t>
            </a:r>
            <a:r>
              <a:rPr kumimoji="0" lang="en-GB" sz="1000" b="0" i="0" u="none" strike="noStrike" cap="none" normalizeH="0" baseline="0" dirty="0">
                <a:ln>
                  <a:noFill/>
                </a:ln>
                <a:solidFill>
                  <a:schemeClr val="tx1"/>
                </a:solidFill>
                <a:effectLst/>
                <a:latin typeface="Trebuchet MS" panose="020B0603020202020204" pitchFamily="34" charset="0"/>
              </a:rPr>
              <a:t> the adjacent markets</a:t>
            </a:r>
          </a:p>
        </p:txBody>
      </p:sp>
      <p:sp>
        <p:nvSpPr>
          <p:cNvPr id="117" name="Rectangle: Rounded Corners 307">
            <a:extLst>
              <a:ext uri="{FF2B5EF4-FFF2-40B4-BE49-F238E27FC236}">
                <a16:creationId xmlns:a16="http://schemas.microsoft.com/office/drawing/2014/main" id="{7468EAE1-6B77-41EB-B4D8-2DEF5915FFC5}"/>
              </a:ext>
            </a:extLst>
          </p:cNvPr>
          <p:cNvSpPr/>
          <p:nvPr/>
        </p:nvSpPr>
        <p:spPr bwMode="auto">
          <a:xfrm>
            <a:off x="5901965" y="3034032"/>
            <a:ext cx="1231218" cy="2340117"/>
          </a:xfrm>
          <a:prstGeom prst="roundRect">
            <a:avLst>
              <a:gd name="adj" fmla="val 4386"/>
            </a:avLst>
          </a:prstGeom>
          <a:noFill/>
          <a:ln w="12700" cap="flat" cmpd="sng" algn="ctr">
            <a:solidFill>
              <a:srgbClr val="C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lang="en-GB" sz="1000"/>
          </a:p>
        </p:txBody>
      </p:sp>
      <p:sp>
        <p:nvSpPr>
          <p:cNvPr id="299" name="Forme libre : forme 298">
            <a:extLst>
              <a:ext uri="{FF2B5EF4-FFF2-40B4-BE49-F238E27FC236}">
                <a16:creationId xmlns:a16="http://schemas.microsoft.com/office/drawing/2014/main" id="{39F99B10-6FE0-4614-8A65-A41B4F684017}"/>
              </a:ext>
            </a:extLst>
          </p:cNvPr>
          <p:cNvSpPr/>
          <p:nvPr/>
        </p:nvSpPr>
        <p:spPr bwMode="auto">
          <a:xfrm>
            <a:off x="1000391" y="3109393"/>
            <a:ext cx="3608635" cy="2193936"/>
          </a:xfrm>
          <a:custGeom>
            <a:avLst/>
            <a:gdLst>
              <a:gd name="connsiteX0" fmla="*/ 2493822 w 3647810"/>
              <a:gd name="connsiteY0" fmla="*/ 0 h 2267698"/>
              <a:gd name="connsiteX1" fmla="*/ 3601914 w 3647810"/>
              <a:gd name="connsiteY1" fmla="*/ 0 h 2267698"/>
              <a:gd name="connsiteX2" fmla="*/ 3647810 w 3647810"/>
              <a:gd name="connsiteY2" fmla="*/ 45896 h 2267698"/>
              <a:gd name="connsiteX3" fmla="*/ 3647810 w 3647810"/>
              <a:gd name="connsiteY3" fmla="*/ 1826744 h 2267698"/>
              <a:gd name="connsiteX4" fmla="*/ 3647809 w 3647810"/>
              <a:gd name="connsiteY4" fmla="*/ 1826747 h 2267698"/>
              <a:gd name="connsiteX5" fmla="*/ 3647809 w 3647810"/>
              <a:gd name="connsiteY5" fmla="*/ 2208121 h 2267698"/>
              <a:gd name="connsiteX6" fmla="*/ 3588232 w 3647810"/>
              <a:gd name="connsiteY6" fmla="*/ 2267698 h 2267698"/>
              <a:gd name="connsiteX7" fmla="*/ 59577 w 3647810"/>
              <a:gd name="connsiteY7" fmla="*/ 2267698 h 2267698"/>
              <a:gd name="connsiteX8" fmla="*/ 0 w 3647810"/>
              <a:gd name="connsiteY8" fmla="*/ 2208121 h 2267698"/>
              <a:gd name="connsiteX9" fmla="*/ 0 w 3647810"/>
              <a:gd name="connsiteY9" fmla="*/ 769709 h 2267698"/>
              <a:gd name="connsiteX10" fmla="*/ 1 w 3647810"/>
              <a:gd name="connsiteY10" fmla="*/ 769707 h 2267698"/>
              <a:gd name="connsiteX11" fmla="*/ 1 w 3647810"/>
              <a:gd name="connsiteY11" fmla="*/ 279778 h 2267698"/>
              <a:gd name="connsiteX12" fmla="*/ 45897 w 3647810"/>
              <a:gd name="connsiteY12" fmla="*/ 233882 h 2267698"/>
              <a:gd name="connsiteX13" fmla="*/ 1153989 w 3647810"/>
              <a:gd name="connsiteY13" fmla="*/ 233882 h 2267698"/>
              <a:gd name="connsiteX14" fmla="*/ 1199885 w 3647810"/>
              <a:gd name="connsiteY14" fmla="*/ 279778 h 2267698"/>
              <a:gd name="connsiteX15" fmla="*/ 1199885 w 3647810"/>
              <a:gd name="connsiteY15" fmla="*/ 710132 h 2267698"/>
              <a:gd name="connsiteX16" fmla="*/ 2447926 w 3647810"/>
              <a:gd name="connsiteY16" fmla="*/ 710132 h 2267698"/>
              <a:gd name="connsiteX17" fmla="*/ 2447926 w 3647810"/>
              <a:gd name="connsiteY17" fmla="*/ 45896 h 2267698"/>
              <a:gd name="connsiteX18" fmla="*/ 2493822 w 3647810"/>
              <a:gd name="connsiteY18" fmla="*/ 0 h 2267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47810" h="2267698">
                <a:moveTo>
                  <a:pt x="2493822" y="0"/>
                </a:moveTo>
                <a:lnTo>
                  <a:pt x="3601914" y="0"/>
                </a:lnTo>
                <a:cubicBezTo>
                  <a:pt x="3627262" y="0"/>
                  <a:pt x="3647810" y="20548"/>
                  <a:pt x="3647810" y="45896"/>
                </a:cubicBezTo>
                <a:lnTo>
                  <a:pt x="3647810" y="1826744"/>
                </a:lnTo>
                <a:lnTo>
                  <a:pt x="3647809" y="1826747"/>
                </a:lnTo>
                <a:lnTo>
                  <a:pt x="3647809" y="2208121"/>
                </a:lnTo>
                <a:cubicBezTo>
                  <a:pt x="3647809" y="2241024"/>
                  <a:pt x="3621135" y="2267698"/>
                  <a:pt x="3588232" y="2267698"/>
                </a:cubicBezTo>
                <a:lnTo>
                  <a:pt x="59577" y="2267698"/>
                </a:lnTo>
                <a:cubicBezTo>
                  <a:pt x="26674" y="2267698"/>
                  <a:pt x="0" y="2241024"/>
                  <a:pt x="0" y="2208121"/>
                </a:cubicBezTo>
                <a:lnTo>
                  <a:pt x="0" y="769709"/>
                </a:lnTo>
                <a:lnTo>
                  <a:pt x="1" y="769707"/>
                </a:lnTo>
                <a:lnTo>
                  <a:pt x="1" y="279778"/>
                </a:lnTo>
                <a:cubicBezTo>
                  <a:pt x="1" y="254430"/>
                  <a:pt x="20549" y="233882"/>
                  <a:pt x="45897" y="233882"/>
                </a:cubicBezTo>
                <a:lnTo>
                  <a:pt x="1153989" y="233882"/>
                </a:lnTo>
                <a:cubicBezTo>
                  <a:pt x="1179337" y="233882"/>
                  <a:pt x="1199885" y="254430"/>
                  <a:pt x="1199885" y="279778"/>
                </a:cubicBezTo>
                <a:lnTo>
                  <a:pt x="1199885" y="710132"/>
                </a:lnTo>
                <a:lnTo>
                  <a:pt x="2447926" y="710132"/>
                </a:lnTo>
                <a:lnTo>
                  <a:pt x="2447926" y="45896"/>
                </a:lnTo>
                <a:cubicBezTo>
                  <a:pt x="2447926" y="20548"/>
                  <a:pt x="2468474" y="0"/>
                  <a:pt x="2493822" y="0"/>
                </a:cubicBezTo>
                <a:close/>
              </a:path>
            </a:pathLst>
          </a:cu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a:endParaRPr lang="en-GB" sz="700">
              <a:solidFill>
                <a:schemeClr val="accent4"/>
              </a:solidFill>
              <a:latin typeface="Trebuchet MS" pitchFamily="34" charset="0"/>
            </a:endParaRPr>
          </a:p>
        </p:txBody>
      </p:sp>
      <p:sp>
        <p:nvSpPr>
          <p:cNvPr id="114" name="Speech Bubble: Rectangle 3">
            <a:extLst>
              <a:ext uri="{FF2B5EF4-FFF2-40B4-BE49-F238E27FC236}">
                <a16:creationId xmlns:a16="http://schemas.microsoft.com/office/drawing/2014/main" id="{1D944720-1761-4BB2-A793-02A46C0BB385}"/>
              </a:ext>
            </a:extLst>
          </p:cNvPr>
          <p:cNvSpPr/>
          <p:nvPr/>
        </p:nvSpPr>
        <p:spPr bwMode="auto">
          <a:xfrm>
            <a:off x="2912533" y="1908315"/>
            <a:ext cx="2051659" cy="767577"/>
          </a:xfrm>
          <a:prstGeom prst="wedgeRectCallout">
            <a:avLst>
              <a:gd name="adj1" fmla="val -63882"/>
              <a:gd name="adj2" fmla="val 24375"/>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dirty="0" err="1">
                <a:ln>
                  <a:noFill/>
                </a:ln>
                <a:solidFill>
                  <a:schemeClr val="tx2"/>
                </a:solidFill>
                <a:effectLst/>
                <a:latin typeface="Trebuchet MS" panose="020B0603020202020204" pitchFamily="34" charset="0"/>
              </a:rPr>
              <a:t>Altares</a:t>
            </a:r>
            <a:r>
              <a:rPr kumimoji="0" lang="en-GB" sz="1000" b="0" i="0" u="none" strike="noStrike" cap="none" normalizeH="0" baseline="0" dirty="0">
                <a:ln>
                  <a:noFill/>
                </a:ln>
                <a:effectLst/>
                <a:latin typeface="Trebuchet MS" panose="020B0603020202020204" pitchFamily="34" charset="0"/>
              </a:rPr>
              <a:t> </a:t>
            </a:r>
            <a:r>
              <a:rPr kumimoji="0" lang="en-GB" sz="1000" b="0" i="0" u="none" strike="noStrike" cap="none" normalizeH="0" baseline="0" dirty="0">
                <a:ln>
                  <a:noFill/>
                </a:ln>
                <a:solidFill>
                  <a:schemeClr val="tx2"/>
                </a:solidFill>
                <a:effectLst/>
                <a:latin typeface="Trebuchet MS" panose="020B0603020202020204" pitchFamily="34" charset="0"/>
              </a:rPr>
              <a:t>stands</a:t>
            </a:r>
            <a:r>
              <a:rPr kumimoji="0" lang="en-GB" sz="1000" b="0" i="0" u="none" strike="noStrike" cap="none" normalizeH="0" baseline="0" dirty="0">
                <a:ln>
                  <a:noFill/>
                </a:ln>
                <a:effectLst/>
                <a:latin typeface="Trebuchet MS" panose="020B0603020202020204" pitchFamily="34" charset="0"/>
              </a:rPr>
              <a:t> </a:t>
            </a:r>
            <a:r>
              <a:rPr kumimoji="0" lang="en-GB" sz="1000" b="0" i="0" u="none" strike="noStrike" cap="none" normalizeH="0" baseline="0" dirty="0">
                <a:ln>
                  <a:noFill/>
                </a:ln>
                <a:solidFill>
                  <a:schemeClr val="tx2"/>
                </a:solidFill>
                <a:effectLst/>
                <a:latin typeface="Trebuchet MS" panose="020B0603020202020204" pitchFamily="34" charset="0"/>
              </a:rPr>
              <a:t>out</a:t>
            </a:r>
            <a:r>
              <a:rPr kumimoji="0" lang="en-GB" sz="1000" b="0" i="0" u="none" strike="noStrike" cap="none" normalizeH="0" baseline="0" dirty="0">
                <a:ln>
                  <a:noFill/>
                </a:ln>
                <a:effectLst/>
                <a:latin typeface="Trebuchet MS" panose="020B0603020202020204" pitchFamily="34" charset="0"/>
              </a:rPr>
              <a:t> in the risk assessment thanks to the </a:t>
            </a:r>
            <a:r>
              <a:rPr kumimoji="0" lang="en-GB" sz="1000" b="0" i="0" u="none" strike="noStrike" cap="none" normalizeH="0" baseline="0" dirty="0">
                <a:ln>
                  <a:noFill/>
                </a:ln>
                <a:solidFill>
                  <a:schemeClr val="tx2"/>
                </a:solidFill>
                <a:effectLst/>
                <a:latin typeface="Trebuchet MS" panose="020B0603020202020204" pitchFamily="34" charset="0"/>
              </a:rPr>
              <a:t>quality</a:t>
            </a:r>
            <a:r>
              <a:rPr kumimoji="0" lang="en-GB" sz="1000" b="0" i="0" u="none" strike="noStrike" cap="none" normalizeH="0" baseline="0" dirty="0">
                <a:ln>
                  <a:noFill/>
                </a:ln>
                <a:effectLst/>
                <a:latin typeface="Trebuchet MS" panose="020B0603020202020204" pitchFamily="34" charset="0"/>
              </a:rPr>
              <a:t> and </a:t>
            </a:r>
            <a:r>
              <a:rPr kumimoji="0" lang="en-GB" sz="1000" b="0" i="0" u="none" strike="noStrike" cap="none" normalizeH="0" baseline="0" dirty="0">
                <a:ln>
                  <a:noFill/>
                </a:ln>
                <a:solidFill>
                  <a:schemeClr val="tx2"/>
                </a:solidFill>
                <a:effectLst/>
                <a:latin typeface="Trebuchet MS" panose="020B0603020202020204" pitchFamily="34" charset="0"/>
              </a:rPr>
              <a:t>responsiveness</a:t>
            </a:r>
            <a:r>
              <a:rPr kumimoji="0" lang="en-GB" sz="1000" b="0" i="0" u="none" strike="noStrike" cap="none" normalizeH="0" baseline="0" dirty="0">
                <a:ln>
                  <a:noFill/>
                </a:ln>
                <a:effectLst/>
                <a:latin typeface="Trebuchet MS" panose="020B0603020202020204" pitchFamily="34" charset="0"/>
              </a:rPr>
              <a:t> of its </a:t>
            </a:r>
            <a:r>
              <a:rPr kumimoji="0" lang="en-GB" sz="1000" b="0" i="0" u="none" strike="noStrike" cap="none" normalizeH="0" baseline="0" dirty="0">
                <a:ln>
                  <a:noFill/>
                </a:ln>
                <a:solidFill>
                  <a:schemeClr val="tx2"/>
                </a:solidFill>
                <a:effectLst/>
                <a:latin typeface="Trebuchet MS" panose="020B0603020202020204" pitchFamily="34" charset="0"/>
              </a:rPr>
              <a:t>score</a:t>
            </a:r>
            <a:r>
              <a:rPr kumimoji="0" lang="en-GB" sz="1000" b="0" i="0" u="none" strike="noStrike" cap="none" normalizeH="0" baseline="0" dirty="0">
                <a:ln>
                  <a:noFill/>
                </a:ln>
                <a:effectLst/>
                <a:latin typeface="Trebuchet MS" panose="020B0603020202020204" pitchFamily="34" charset="0"/>
              </a:rPr>
              <a:t> via PAYDEX. </a:t>
            </a:r>
            <a:r>
              <a:rPr kumimoji="0" lang="en-GB" sz="1000" b="0" i="0" u="none" strike="noStrike" cap="none" normalizeH="0" baseline="0" dirty="0">
                <a:ln>
                  <a:noFill/>
                </a:ln>
                <a:solidFill>
                  <a:schemeClr val="tx2"/>
                </a:solidFill>
                <a:effectLst/>
                <a:latin typeface="Trebuchet MS" panose="020B0603020202020204" pitchFamily="34" charset="0"/>
              </a:rPr>
              <a:t>No</a:t>
            </a:r>
            <a:r>
              <a:rPr kumimoji="0" lang="en-GB" sz="1000" b="0" i="0" u="none" strike="noStrike" cap="none" normalizeH="0" baseline="0" dirty="0">
                <a:ln>
                  <a:noFill/>
                </a:ln>
                <a:effectLst/>
                <a:latin typeface="Trebuchet MS" panose="020B0603020202020204" pitchFamily="34" charset="0"/>
              </a:rPr>
              <a:t> other player offers an </a:t>
            </a:r>
            <a:r>
              <a:rPr kumimoji="0" lang="en-GB" sz="1000" b="0" i="0" u="none" strike="noStrike" cap="none" normalizeH="0" baseline="0" dirty="0">
                <a:ln>
                  <a:noFill/>
                </a:ln>
                <a:solidFill>
                  <a:schemeClr val="tx2"/>
                </a:solidFill>
                <a:effectLst/>
                <a:latin typeface="Trebuchet MS" panose="020B0603020202020204" pitchFamily="34" charset="0"/>
              </a:rPr>
              <a:t>equivalent</a:t>
            </a:r>
            <a:r>
              <a:rPr kumimoji="0" lang="en-GB" sz="1000" b="0" i="0" u="none" strike="noStrike" cap="none" normalizeH="0" baseline="0" dirty="0">
                <a:ln>
                  <a:noFill/>
                </a:ln>
                <a:effectLst/>
                <a:latin typeface="Trebuchet MS" panose="020B0603020202020204" pitchFamily="34" charset="0"/>
              </a:rPr>
              <a:t> service</a:t>
            </a:r>
          </a:p>
        </p:txBody>
      </p:sp>
    </p:spTree>
    <p:extLst>
      <p:ext uri="{BB962C8B-B14F-4D97-AF65-F5344CB8AC3E}">
        <p14:creationId xmlns:p14="http://schemas.microsoft.com/office/powerpoint/2010/main" val="651344601"/>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4E8BB55-4454-4FE4-A0CA-08C2677BB30A}"/>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15C80389-6548-4E62-B1DE-3FED01EC77DC}"/>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5" name="Chevron">
            <a:extLst>
              <a:ext uri="{FF2B5EF4-FFF2-40B4-BE49-F238E27FC236}">
                <a16:creationId xmlns:a16="http://schemas.microsoft.com/office/drawing/2014/main" id="{E411076D-BD7D-4F3C-BA4F-785FA7DEB8E0}"/>
              </a:ext>
            </a:extLst>
          </p:cNvPr>
          <p:cNvSpPr/>
          <p:nvPr/>
        </p:nvSpPr>
        <p:spPr bwMode="auto">
          <a:xfrm>
            <a:off x="1418399" y="2181600"/>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 name="Section">
            <a:extLst>
              <a:ext uri="{FF2B5EF4-FFF2-40B4-BE49-F238E27FC236}">
                <a16:creationId xmlns:a16="http://schemas.microsoft.com/office/drawing/2014/main" id="{326B4D12-3A06-4913-AA9A-9843CDCAF5C5}"/>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2</a:t>
            </a:r>
          </a:p>
        </p:txBody>
      </p:sp>
      <p:sp>
        <p:nvSpPr>
          <p:cNvPr id="9" name="ZoneTexte 8">
            <a:extLst>
              <a:ext uri="{FF2B5EF4-FFF2-40B4-BE49-F238E27FC236}">
                <a16:creationId xmlns:a16="http://schemas.microsoft.com/office/drawing/2014/main" id="{624CC054-0A35-4E7C-A671-C465564E0783}"/>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marR="0" indent="-228600" defTabSz="914400" rtl="0" eaLnBrk="1" fontAlgn="base" latinLnBrk="0" hangingPunct="1">
              <a:lnSpc>
                <a:spcPct val="100000"/>
              </a:lnSpc>
              <a:spcBef>
                <a:spcPct val="0"/>
              </a:spcBef>
              <a:spcAft>
                <a:spcPct val="0"/>
              </a:spcAft>
              <a:buClrTx/>
              <a:buSzTx/>
              <a:buFont typeface="+mj-lt"/>
              <a:buAutoNum type="arabicPeriod"/>
              <a:tabLst/>
            </a:pPr>
            <a:r>
              <a:rPr kumimoji="0" lang="en-GB" sz="1200" b="0" u="none" strike="noStrike" cap="none" normalizeH="0" baseline="0">
                <a:ln>
                  <a:noFill/>
                </a:ln>
                <a:effectLst/>
                <a:latin typeface="Trebuchet MS" pitchFamily="34" charset="0"/>
              </a:rPr>
              <a:t>Overview of the BD&amp;A market addressed by </a:t>
            </a:r>
            <a:r>
              <a:rPr kumimoji="0" lang="en-GB" sz="1200" b="0" u="none" strike="noStrike" cap="none" normalizeH="0" baseline="0" err="1">
                <a:ln>
                  <a:noFill/>
                </a:ln>
                <a:effectLst/>
                <a:latin typeface="Trebuchet MS" pitchFamily="34" charset="0"/>
              </a:rPr>
              <a:t>Altares</a:t>
            </a:r>
            <a:endParaRPr kumimoji="0" lang="en-GB" sz="1200" b="0" u="none" strike="noStrike" cap="none" normalizeH="0" baseline="0">
              <a:ln>
                <a:noFill/>
              </a:ln>
              <a:effectLst/>
              <a:latin typeface="Trebuchet MS" pitchFamily="34" charset="0"/>
            </a:endParaRPr>
          </a:p>
          <a:p>
            <a:pPr marL="742950" lvl="1" indent="-285750">
              <a:buFont typeface="+mj-lt"/>
              <a:buAutoNum type="romanLcPeriod"/>
            </a:pPr>
            <a:r>
              <a:rPr kumimoji="0" lang="en-GB" sz="1200" b="0" u="none" strike="noStrike" cap="none" normalizeH="0" baseline="0">
                <a:ln>
                  <a:noFill/>
                </a:ln>
                <a:effectLst/>
                <a:latin typeface="Trebuchet MS" pitchFamily="34" charset="0"/>
              </a:rPr>
              <a:t>Key customers’ use cases related to BD&amp;A</a:t>
            </a:r>
          </a:p>
          <a:p>
            <a:pPr marL="742950" lvl="1" indent="-285750">
              <a:buFont typeface="+mj-lt"/>
              <a:buAutoNum type="romanLcPeriod"/>
            </a:pPr>
            <a:r>
              <a:rPr kumimoji="0" lang="en-GB" sz="1200" b="0" u="none" strike="noStrike" cap="none" normalizeH="0" baseline="0">
                <a:ln>
                  <a:noFill/>
                </a:ln>
                <a:effectLst/>
                <a:latin typeface="Trebuchet MS" pitchFamily="34" charset="0"/>
              </a:rPr>
              <a:t>Global market structure and </a:t>
            </a:r>
            <a:r>
              <a:rPr kumimoji="0" lang="en-GB" sz="1200" b="0" u="none" strike="noStrike" cap="none" normalizeH="0" baseline="0" err="1">
                <a:ln>
                  <a:noFill/>
                </a:ln>
                <a:effectLst/>
                <a:latin typeface="Trebuchet MS" pitchFamily="34" charset="0"/>
              </a:rPr>
              <a:t>Altares</a:t>
            </a:r>
            <a:r>
              <a:rPr kumimoji="0" lang="en-GB" sz="1200" b="0" u="none" strike="noStrike" cap="none" normalizeH="0" baseline="0">
                <a:ln>
                  <a:noFill/>
                </a:ln>
                <a:effectLst/>
                <a:latin typeface="Trebuchet MS" pitchFamily="34" charset="0"/>
              </a:rPr>
              <a:t> positioning</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Credit &amp; financial risk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solidFill>
                  <a:schemeClr val="tx2"/>
                </a:solidFill>
                <a:latin typeface="Trebuchet MS" panose="020B0603020202020204" pitchFamily="34" charset="0"/>
              </a:rPr>
              <a:t>Compliance market</a:t>
            </a:r>
          </a:p>
          <a:p>
            <a:pPr marL="742950" marR="0" lvl="1" indent="-285750" defTabSz="914400" eaLnBrk="1" latinLnBrk="0" hangingPunct="1">
              <a:lnSpc>
                <a:spcPct val="100000"/>
              </a:lnSpc>
              <a:buClrTx/>
              <a:buSzTx/>
              <a:buFont typeface="+mj-lt"/>
              <a:buAutoNum type="romanLcPeriod"/>
              <a:tabLst/>
            </a:pPr>
            <a:r>
              <a:rPr lang="en-GB" sz="1200">
                <a:solidFill>
                  <a:schemeClr val="tx2"/>
                </a:solidFill>
                <a:latin typeface="Trebuchet MS" panose="020B0603020202020204" pitchFamily="34" charset="0"/>
              </a:rPr>
              <a:t>Market scope &amp; overview</a:t>
            </a:r>
          </a:p>
          <a:p>
            <a:pPr marL="742950" marR="0" lvl="1" indent="-285750" defTabSz="914400" eaLnBrk="1" latinLnBrk="0" hangingPunct="1">
              <a:lnSpc>
                <a:spcPct val="100000"/>
              </a:lnSpc>
              <a:buClrTx/>
              <a:buSzTx/>
              <a:buFont typeface="+mj-lt"/>
              <a:buAutoNum type="romanLcPeriod"/>
              <a:tabLst/>
            </a:pPr>
            <a:r>
              <a:rPr lang="en-GB" sz="1200">
                <a:latin typeface="Trebuchet MS" pitchFamily="34" charset="0"/>
              </a:rPr>
              <a:t>Regulatory context &amp; key drivers</a:t>
            </a:r>
          </a:p>
          <a:p>
            <a:pPr marL="742950" marR="0" lvl="1" indent="-285750" defTabSz="914400" eaLnBrk="1" latinLnBrk="0" hangingPunct="1">
              <a:lnSpc>
                <a:spcPct val="100000"/>
              </a:lnSpc>
              <a:buClrTx/>
              <a:buSzTx/>
              <a:buFont typeface="+mj-lt"/>
              <a:buAutoNum type="romanLcPeriod"/>
              <a:tabLst/>
            </a:pPr>
            <a:r>
              <a:rPr lang="en-GB" sz="1200">
                <a:latin typeface="Trebuchet MS" pitchFamily="34" charset="0"/>
              </a:rPr>
              <a:t>Altares’ compliance ecosystem</a:t>
            </a:r>
          </a:p>
          <a:p>
            <a:pPr marL="742950" marR="0" lvl="1" indent="-285750" defTabSz="914400" eaLnBrk="1" latinLnBrk="0" hangingPunct="1">
              <a:lnSpc>
                <a:spcPct val="100000"/>
              </a:lnSpc>
              <a:buClrTx/>
              <a:buSzTx/>
              <a:buFont typeface="+mj-lt"/>
              <a:buAutoNum type="romanLcPeriod"/>
              <a:tabLst/>
            </a:pPr>
            <a:endParaRPr lang="en-GB" sz="1200">
              <a:latin typeface="Trebuchet MS" pitchFamily="34" charset="0"/>
            </a:endParaRPr>
          </a:p>
          <a:p>
            <a:pPr marL="228600" indent="-228600">
              <a:buFont typeface="+mj-lt"/>
              <a:buAutoNum type="arabicPeriod"/>
            </a:pPr>
            <a:r>
              <a:rPr lang="en-GB" sz="1200">
                <a:latin typeface="Trebuchet MS" pitchFamily="34" charset="0"/>
              </a:rPr>
              <a:t>B2B Marketing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BD&amp;A market overview in Maghreb</a:t>
            </a:r>
          </a:p>
          <a:p>
            <a:endParaRPr lang="en-GB" sz="1200">
              <a:latin typeface="Trebuchet MS" pitchFamily="34" charset="0"/>
            </a:endParaRPr>
          </a:p>
        </p:txBody>
      </p:sp>
      <p:sp>
        <p:nvSpPr>
          <p:cNvPr id="4" name="Isosceles Triangle">
            <a:extLst>
              <a:ext uri="{FF2B5EF4-FFF2-40B4-BE49-F238E27FC236}">
                <a16:creationId xmlns:a16="http://schemas.microsoft.com/office/drawing/2014/main" id="{FB3CA906-550E-49DB-A6DC-CE4E06DCB5D1}"/>
              </a:ext>
            </a:extLst>
          </p:cNvPr>
          <p:cNvSpPr/>
          <p:nvPr/>
        </p:nvSpPr>
        <p:spPr bwMode="auto">
          <a:xfrm rot="5400000">
            <a:off x="5731200" y="2282400"/>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 name="Arrow: Pentagon">
            <a:extLst>
              <a:ext uri="{FF2B5EF4-FFF2-40B4-BE49-F238E27FC236}">
                <a16:creationId xmlns:a16="http://schemas.microsoft.com/office/drawing/2014/main" id="{51A3450F-BBF8-4225-96A2-FDC773C0FA82}"/>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18" name="Oval">
            <a:extLst>
              <a:ext uri="{FF2B5EF4-FFF2-40B4-BE49-F238E27FC236}">
                <a16:creationId xmlns:a16="http://schemas.microsoft.com/office/drawing/2014/main" id="{FD180EE7-45C2-44F4-9BDE-C4E58E3C9D51}"/>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19" name="Arrow: Pentagon">
            <a:extLst>
              <a:ext uri="{FF2B5EF4-FFF2-40B4-BE49-F238E27FC236}">
                <a16:creationId xmlns:a16="http://schemas.microsoft.com/office/drawing/2014/main" id="{3A786F55-A8FA-421A-8DFD-847D0BBD3814}"/>
              </a:ext>
            </a:extLst>
          </p:cNvPr>
          <p:cNvSpPr/>
          <p:nvPr/>
        </p:nvSpPr>
        <p:spPr bwMode="auto">
          <a:xfrm>
            <a:off x="1641599" y="2181600"/>
            <a:ext cx="4319994"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FFFFFF"/>
                </a:solidFill>
                <a:effectLst/>
                <a:latin typeface="Trebuchet MS" panose="020B0603020202020204" pitchFamily="34" charset="0"/>
              </a:rPr>
              <a:t>BD&amp;A Market &amp; Competition</a:t>
            </a:r>
          </a:p>
        </p:txBody>
      </p:sp>
      <p:sp>
        <p:nvSpPr>
          <p:cNvPr id="20" name="Oval">
            <a:extLst>
              <a:ext uri="{FF2B5EF4-FFF2-40B4-BE49-F238E27FC236}">
                <a16:creationId xmlns:a16="http://schemas.microsoft.com/office/drawing/2014/main" id="{8D591CAC-D9FB-4A94-89A7-473FBC54C347}"/>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21" name="Arrow: Pentagon">
            <a:extLst>
              <a:ext uri="{FF2B5EF4-FFF2-40B4-BE49-F238E27FC236}">
                <a16:creationId xmlns:a16="http://schemas.microsoft.com/office/drawing/2014/main" id="{236FE126-9AB2-4FFC-9CC9-04A01AA618C5}"/>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23" name="Arrow: Pentagon">
            <a:extLst>
              <a:ext uri="{FF2B5EF4-FFF2-40B4-BE49-F238E27FC236}">
                <a16:creationId xmlns:a16="http://schemas.microsoft.com/office/drawing/2014/main" id="{7EACDB78-621D-4C00-A832-94FAFA7925A9}"/>
              </a:ext>
            </a:extLst>
          </p:cNvPr>
          <p:cNvSpPr/>
          <p:nvPr/>
        </p:nvSpPr>
        <p:spPr bwMode="auto">
          <a:xfrm>
            <a:off x="1641599" y="2685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25" name="Oval">
            <a:extLst>
              <a:ext uri="{FF2B5EF4-FFF2-40B4-BE49-F238E27FC236}">
                <a16:creationId xmlns:a16="http://schemas.microsoft.com/office/drawing/2014/main" id="{B8D3F594-58F6-4A09-B643-4DD1EEA044BB}"/>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27" name="Arrow: Pentagon">
            <a:extLst>
              <a:ext uri="{FF2B5EF4-FFF2-40B4-BE49-F238E27FC236}">
                <a16:creationId xmlns:a16="http://schemas.microsoft.com/office/drawing/2014/main" id="{11D3F583-3BA9-4466-B143-F61E8CB26C91}"/>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29" name="Oval">
            <a:extLst>
              <a:ext uri="{FF2B5EF4-FFF2-40B4-BE49-F238E27FC236}">
                <a16:creationId xmlns:a16="http://schemas.microsoft.com/office/drawing/2014/main" id="{A9EDCC88-CC41-4103-98EA-4CB9E9FC9FAB}"/>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31" name="Oval">
            <a:extLst>
              <a:ext uri="{FF2B5EF4-FFF2-40B4-BE49-F238E27FC236}">
                <a16:creationId xmlns:a16="http://schemas.microsoft.com/office/drawing/2014/main" id="{F95D08A7-D139-470C-B587-565A475C0B76}"/>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2838887486"/>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Arrow: Pentagon">
            <a:extLst>
              <a:ext uri="{FF2B5EF4-FFF2-40B4-BE49-F238E27FC236}">
                <a16:creationId xmlns:a16="http://schemas.microsoft.com/office/drawing/2014/main" id="{0B9701D7-17BF-4FD5-A7C2-7DF78C31A7F1}"/>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2" name="Espace réservé du texte 1">
            <a:extLst>
              <a:ext uri="{FF2B5EF4-FFF2-40B4-BE49-F238E27FC236}">
                <a16:creationId xmlns:a16="http://schemas.microsoft.com/office/drawing/2014/main" id="{2A46F82C-3CA9-4FF8-BA0D-7E708749DA6F}"/>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EAA2276C-E341-4629-9CDA-8040C792C597}"/>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1B3DA1E5-4E7E-48A5-A599-9949DD7B7A2D}"/>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127000">
              <a:spcBef>
                <a:spcPts val="1200"/>
              </a:spcBef>
            </a:pPr>
            <a:endParaRPr lang="en-GB" sz="1100" b="1">
              <a:solidFill>
                <a:srgbClr val="6C6C6C"/>
              </a:solidFill>
              <a:latin typeface="+mj-lt"/>
            </a:endParaRPr>
          </a:p>
        </p:txBody>
      </p:sp>
      <p:sp>
        <p:nvSpPr>
          <p:cNvPr id="5" name="Chevron">
            <a:extLst>
              <a:ext uri="{FF2B5EF4-FFF2-40B4-BE49-F238E27FC236}">
                <a16:creationId xmlns:a16="http://schemas.microsoft.com/office/drawing/2014/main" id="{08C07BB0-C831-4180-B595-4E9C36AB51C8}"/>
              </a:ext>
            </a:extLst>
          </p:cNvPr>
          <p:cNvSpPr/>
          <p:nvPr/>
        </p:nvSpPr>
        <p:spPr bwMode="auto">
          <a:xfrm>
            <a:off x="1418399" y="1677600"/>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 name="Isosceles Triangle">
            <a:extLst>
              <a:ext uri="{FF2B5EF4-FFF2-40B4-BE49-F238E27FC236}">
                <a16:creationId xmlns:a16="http://schemas.microsoft.com/office/drawing/2014/main" id="{D5FB9D18-A428-46BC-B90E-D8BABD207551}"/>
              </a:ext>
            </a:extLst>
          </p:cNvPr>
          <p:cNvSpPr/>
          <p:nvPr/>
        </p:nvSpPr>
        <p:spPr bwMode="auto">
          <a:xfrm rot="5400000">
            <a:off x="5731200" y="1778400"/>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 name="Section">
            <a:extLst>
              <a:ext uri="{FF2B5EF4-FFF2-40B4-BE49-F238E27FC236}">
                <a16:creationId xmlns:a16="http://schemas.microsoft.com/office/drawing/2014/main" id="{C96A5CF6-B2AF-48E6-9673-F61FC58F5AAF}"/>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1</a:t>
            </a:r>
          </a:p>
        </p:txBody>
      </p:sp>
      <p:sp>
        <p:nvSpPr>
          <p:cNvPr id="18" name="Arrow: Pentagon">
            <a:extLst>
              <a:ext uri="{FF2B5EF4-FFF2-40B4-BE49-F238E27FC236}">
                <a16:creationId xmlns:a16="http://schemas.microsoft.com/office/drawing/2014/main" id="{0CB2F02A-AFCA-499B-A21E-A5797E857DA8}"/>
              </a:ext>
            </a:extLst>
          </p:cNvPr>
          <p:cNvSpPr/>
          <p:nvPr/>
        </p:nvSpPr>
        <p:spPr bwMode="auto">
          <a:xfrm>
            <a:off x="1641599" y="1677600"/>
            <a:ext cx="4319994"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FFFFFF"/>
                </a:solidFill>
                <a:effectLst/>
                <a:latin typeface="Trebuchet MS" panose="020B0603020202020204" pitchFamily="34" charset="0"/>
              </a:rPr>
              <a:t>Executive summary</a:t>
            </a:r>
          </a:p>
        </p:txBody>
      </p:sp>
      <p:sp>
        <p:nvSpPr>
          <p:cNvPr id="19" name="Oval">
            <a:extLst>
              <a:ext uri="{FF2B5EF4-FFF2-40B4-BE49-F238E27FC236}">
                <a16:creationId xmlns:a16="http://schemas.microsoft.com/office/drawing/2014/main" id="{9AAF5B98-8161-4A57-9FCD-DE9FD0C40099}"/>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20" name="Arrow: Pentagon">
            <a:extLst>
              <a:ext uri="{FF2B5EF4-FFF2-40B4-BE49-F238E27FC236}">
                <a16:creationId xmlns:a16="http://schemas.microsoft.com/office/drawing/2014/main" id="{E5B6423F-BBD1-4C43-89CF-DBF4197E5670}"/>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21" name="Oval">
            <a:extLst>
              <a:ext uri="{FF2B5EF4-FFF2-40B4-BE49-F238E27FC236}">
                <a16:creationId xmlns:a16="http://schemas.microsoft.com/office/drawing/2014/main" id="{0584D83B-339A-4254-A2DF-A123B0993CBC}"/>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22" name="Arrow: Pentagon">
            <a:extLst>
              <a:ext uri="{FF2B5EF4-FFF2-40B4-BE49-F238E27FC236}">
                <a16:creationId xmlns:a16="http://schemas.microsoft.com/office/drawing/2014/main" id="{D6D04E85-020C-4980-9976-A0D725D46549}"/>
              </a:ext>
            </a:extLst>
          </p:cNvPr>
          <p:cNvSpPr/>
          <p:nvPr/>
        </p:nvSpPr>
        <p:spPr bwMode="auto">
          <a:xfrm>
            <a:off x="1641599" y="2685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23" name="Oval">
            <a:extLst>
              <a:ext uri="{FF2B5EF4-FFF2-40B4-BE49-F238E27FC236}">
                <a16:creationId xmlns:a16="http://schemas.microsoft.com/office/drawing/2014/main" id="{93BE7977-5AA8-4248-A1DA-432E39611FED}"/>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24" name="Arrow: Pentagon">
            <a:extLst>
              <a:ext uri="{FF2B5EF4-FFF2-40B4-BE49-F238E27FC236}">
                <a16:creationId xmlns:a16="http://schemas.microsoft.com/office/drawing/2014/main" id="{5A844B5A-E22D-490C-8238-C85A157BB2C7}"/>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25" name="Oval">
            <a:extLst>
              <a:ext uri="{FF2B5EF4-FFF2-40B4-BE49-F238E27FC236}">
                <a16:creationId xmlns:a16="http://schemas.microsoft.com/office/drawing/2014/main" id="{CDDEEFA6-56E1-4E87-BC7A-5EB71035C96D}"/>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27" name="Oval">
            <a:extLst>
              <a:ext uri="{FF2B5EF4-FFF2-40B4-BE49-F238E27FC236}">
                <a16:creationId xmlns:a16="http://schemas.microsoft.com/office/drawing/2014/main" id="{EA4341DF-C369-4FC6-82A3-D2D2A04C8C6A}"/>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2276093590"/>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6A336B3D-80B4-4686-B10C-FF09C6A167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7" name="Object 26" hidden="1">
                        <a:extLst>
                          <a:ext uri="{FF2B5EF4-FFF2-40B4-BE49-F238E27FC236}">
                            <a16:creationId xmlns:a16="http://schemas.microsoft.com/office/drawing/2014/main" id="{6A336B3D-80B4-4686-B10C-FF09C6A167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A5B9864-B7AE-4DC4-9B66-0DE62ED71FEB}"/>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8B209259-435B-45EF-8E08-C29099D248A8}"/>
              </a:ext>
            </a:extLst>
          </p:cNvPr>
          <p:cNvSpPr>
            <a:spLocks noGrp="1"/>
          </p:cNvSpPr>
          <p:nvPr>
            <p:ph type="title"/>
          </p:nvPr>
        </p:nvSpPr>
        <p:spPr>
          <a:xfrm>
            <a:off x="165600" y="147600"/>
            <a:ext cx="8272817" cy="684000"/>
          </a:xfrm>
        </p:spPr>
        <p:txBody>
          <a:bodyPr/>
          <a:lstStyle/>
          <a:p>
            <a:r>
              <a:rPr lang="en-GB">
                <a:latin typeface="Trebuchet MS" panose="020B0603020202020204" pitchFamily="34" charset="0"/>
              </a:rPr>
              <a:t>The French and Benelux </a:t>
            </a:r>
            <a:r>
              <a:rPr lang="en-GB">
                <a:solidFill>
                  <a:schemeClr val="tx2"/>
                </a:solidFill>
                <a:latin typeface="Trebuchet MS" panose="020B0603020202020204" pitchFamily="34" charset="0"/>
              </a:rPr>
              <a:t>compliance</a:t>
            </a:r>
            <a:r>
              <a:rPr lang="en-GB">
                <a:latin typeface="Trebuchet MS" panose="020B0603020202020204" pitchFamily="34" charset="0"/>
              </a:rPr>
              <a:t> market addressed by </a:t>
            </a:r>
            <a:r>
              <a:rPr lang="en-GB" err="1">
                <a:latin typeface="Trebuchet MS" panose="020B0603020202020204" pitchFamily="34" charset="0"/>
              </a:rPr>
              <a:t>Altares</a:t>
            </a:r>
            <a:r>
              <a:rPr lang="en-GB">
                <a:latin typeface="Trebuchet MS" panose="020B0603020202020204" pitchFamily="34" charset="0"/>
              </a:rPr>
              <a:t> represents a </a:t>
            </a:r>
            <a:r>
              <a:rPr lang="en-GB">
                <a:solidFill>
                  <a:schemeClr val="tx2"/>
                </a:solidFill>
                <a:latin typeface="Trebuchet MS" panose="020B0603020202020204" pitchFamily="34" charset="0"/>
              </a:rPr>
              <a:t>young market of €35m</a:t>
            </a:r>
            <a:r>
              <a:rPr lang="en-GB">
                <a:latin typeface="Trebuchet MS" panose="020B0603020202020204" pitchFamily="34" charset="0"/>
              </a:rPr>
              <a:t>, experiencing </a:t>
            </a:r>
            <a:r>
              <a:rPr lang="en-GB">
                <a:solidFill>
                  <a:schemeClr val="tx2"/>
                </a:solidFill>
                <a:latin typeface="Trebuchet MS" panose="020B0603020202020204" pitchFamily="34" charset="0"/>
              </a:rPr>
              <a:t>strong growth </a:t>
            </a:r>
            <a:r>
              <a:rPr lang="en-GB">
                <a:latin typeface="Trebuchet MS" panose="020B0603020202020204" pitchFamily="34" charset="0"/>
              </a:rPr>
              <a:t>driven by </a:t>
            </a:r>
            <a:r>
              <a:rPr lang="en-GB">
                <a:solidFill>
                  <a:schemeClr val="tx2"/>
                </a:solidFill>
                <a:latin typeface="Trebuchet MS" panose="020B0603020202020204" pitchFamily="34" charset="0"/>
              </a:rPr>
              <a:t>regulatory constraints</a:t>
            </a:r>
            <a:r>
              <a:rPr lang="en-GB">
                <a:latin typeface="Trebuchet MS" panose="020B0603020202020204" pitchFamily="34" charset="0"/>
              </a:rPr>
              <a:t>, especially in France with the </a:t>
            </a:r>
            <a:r>
              <a:rPr lang="en-GB" err="1">
                <a:latin typeface="Trebuchet MS" panose="020B0603020202020204" pitchFamily="34" charset="0"/>
              </a:rPr>
              <a:t>Sapin</a:t>
            </a:r>
            <a:r>
              <a:rPr lang="en-GB">
                <a:latin typeface="Trebuchet MS" panose="020B0603020202020204" pitchFamily="34" charset="0"/>
              </a:rPr>
              <a:t> II law implementation </a:t>
            </a:r>
          </a:p>
        </p:txBody>
      </p:sp>
      <p:sp>
        <p:nvSpPr>
          <p:cNvPr id="3" name="Text Placeholder 2">
            <a:extLst>
              <a:ext uri="{FF2B5EF4-FFF2-40B4-BE49-F238E27FC236}">
                <a16:creationId xmlns:a16="http://schemas.microsoft.com/office/drawing/2014/main" id="{B66E256D-ED32-4E13-A0C0-CF1897D67355}"/>
              </a:ext>
            </a:extLst>
          </p:cNvPr>
          <p:cNvSpPr>
            <a:spLocks noGrp="1"/>
          </p:cNvSpPr>
          <p:nvPr>
            <p:ph type="body" sz="quarter" idx="10"/>
          </p:nvPr>
        </p:nvSpPr>
        <p:spPr/>
        <p:txBody>
          <a:bodyPr/>
          <a:lstStyle/>
          <a:p>
            <a:r>
              <a:rPr lang="en-GB"/>
              <a:t>Sources: eleven research &amp; analysis, expert calls, company data</a:t>
            </a:r>
          </a:p>
        </p:txBody>
      </p:sp>
      <p:pic>
        <p:nvPicPr>
          <p:cNvPr id="6" name="Picture 5">
            <a:extLst>
              <a:ext uri="{FF2B5EF4-FFF2-40B4-BE49-F238E27FC236}">
                <a16:creationId xmlns:a16="http://schemas.microsoft.com/office/drawing/2014/main" id="{7B7D079A-FDF3-4C10-B599-2116EDB85E57}"/>
              </a:ext>
            </a:extLst>
          </p:cNvPr>
          <p:cNvPicPr>
            <a:picLocks noChangeAspect="1"/>
          </p:cNvPicPr>
          <p:nvPr/>
        </p:nvPicPr>
        <p:blipFill>
          <a:blip r:embed="rId6"/>
          <a:stretch>
            <a:fillRect/>
          </a:stretch>
        </p:blipFill>
        <p:spPr>
          <a:xfrm>
            <a:off x="1316038" y="1038870"/>
            <a:ext cx="4974171" cy="5477340"/>
          </a:xfrm>
          <a:prstGeom prst="rect">
            <a:avLst/>
          </a:prstGeom>
        </p:spPr>
      </p:pic>
      <p:cxnSp>
        <p:nvCxnSpPr>
          <p:cNvPr id="15" name="Connecteur droit 4">
            <a:extLst>
              <a:ext uri="{FF2B5EF4-FFF2-40B4-BE49-F238E27FC236}">
                <a16:creationId xmlns:a16="http://schemas.microsoft.com/office/drawing/2014/main" id="{2CC929DF-03BC-452C-ADEC-AFAD2BB7F15F}"/>
              </a:ext>
            </a:extLst>
          </p:cNvPr>
          <p:cNvCxnSpPr>
            <a:cxnSpLocks/>
          </p:cNvCxnSpPr>
          <p:nvPr/>
        </p:nvCxnSpPr>
        <p:spPr bwMode="auto">
          <a:xfrm>
            <a:off x="153380" y="1276433"/>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6" name="ZoneTexte 6">
            <a:extLst>
              <a:ext uri="{FF2B5EF4-FFF2-40B4-BE49-F238E27FC236}">
                <a16:creationId xmlns:a16="http://schemas.microsoft.com/office/drawing/2014/main" id="{323BE36A-0C92-443A-95CA-B9382604D7B4}"/>
              </a:ext>
            </a:extLst>
          </p:cNvPr>
          <p:cNvSpPr txBox="1"/>
          <p:nvPr/>
        </p:nvSpPr>
        <p:spPr>
          <a:xfrm>
            <a:off x="2753030" y="1017030"/>
            <a:ext cx="4515367" cy="518808"/>
          </a:xfrm>
          <a:prstGeom prst="rect">
            <a:avLst/>
          </a:prstGeom>
          <a:solidFill>
            <a:schemeClr val="bg1"/>
          </a:solidFill>
          <a:ln>
            <a:noFill/>
          </a:ln>
        </p:spPr>
        <p:txBody>
          <a:bodyPr wrap="square" rtlCol="0" anchor="ctr">
            <a:noAutofit/>
          </a:bodyPr>
          <a:lstStyle/>
          <a:p>
            <a:pPr algn="ctr"/>
            <a:r>
              <a:rPr lang="en-GB" sz="1100">
                <a:latin typeface="Trebuchet MS" panose="020B0603020202020204" pitchFamily="34" charset="0"/>
              </a:rPr>
              <a:t>Compliance market size estimation by geographies</a:t>
            </a:r>
          </a:p>
        </p:txBody>
      </p:sp>
      <p:sp>
        <p:nvSpPr>
          <p:cNvPr id="28" name="Rectangle 27">
            <a:extLst>
              <a:ext uri="{FF2B5EF4-FFF2-40B4-BE49-F238E27FC236}">
                <a16:creationId xmlns:a16="http://schemas.microsoft.com/office/drawing/2014/main" id="{77D1C28B-C2DB-4D05-9843-EF4F43F330C4}"/>
              </a:ext>
            </a:extLst>
          </p:cNvPr>
          <p:cNvSpPr/>
          <p:nvPr/>
        </p:nvSpPr>
        <p:spPr bwMode="auto">
          <a:xfrm>
            <a:off x="7097624" y="3914536"/>
            <a:ext cx="2542133" cy="1157994"/>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36000" tIns="144000" rIns="36000" bIns="36000" numCol="1" rtlCol="0" anchor="ctr" anchorCtr="0" compatLnSpc="1">
            <a:prstTxWarp prst="textNoShape">
              <a:avLst/>
            </a:prstTxWarp>
          </a:bodyPr>
          <a:lstStyle/>
          <a:p>
            <a:pPr>
              <a:lnSpc>
                <a:spcPts val="1100"/>
              </a:lnSpc>
              <a:defRPr/>
            </a:pPr>
            <a:r>
              <a:rPr lang="en-GB" sz="1000" i="1" spc="-30">
                <a:latin typeface="Trebuchet MS" panose="020B0603020202020204" pitchFamily="34" charset="0"/>
              </a:rPr>
              <a:t>“Recent European legislations in terms of </a:t>
            </a:r>
            <a:r>
              <a:rPr lang="en-GB" sz="1000" i="1" spc="-30">
                <a:solidFill>
                  <a:schemeClr val="tx2"/>
                </a:solidFill>
                <a:latin typeface="Trebuchet MS" panose="020B0603020202020204" pitchFamily="34" charset="0"/>
              </a:rPr>
              <a:t>compliance</a:t>
            </a:r>
            <a:r>
              <a:rPr lang="en-GB" sz="1000" i="1" spc="-30">
                <a:latin typeface="Trebuchet MS" panose="020B0603020202020204" pitchFamily="34" charset="0"/>
              </a:rPr>
              <a:t> (i.e. UBO, KYC,...) will drive the growth of this vertical over the next 5 years at least, making this vertical the </a:t>
            </a:r>
            <a:r>
              <a:rPr lang="en-GB" sz="1000" i="1" spc="-30">
                <a:solidFill>
                  <a:schemeClr val="tx2"/>
                </a:solidFill>
                <a:latin typeface="Trebuchet MS" panose="020B0603020202020204" pitchFamily="34" charset="0"/>
              </a:rPr>
              <a:t>growth</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engine</a:t>
            </a:r>
            <a:r>
              <a:rPr lang="en-GB" sz="1000" i="1" spc="-30">
                <a:latin typeface="Trebuchet MS" panose="020B0603020202020204" pitchFamily="34" charset="0"/>
              </a:rPr>
              <a:t> of the </a:t>
            </a:r>
            <a:r>
              <a:rPr lang="en-GB" sz="1000" i="1" spc="-30">
                <a:solidFill>
                  <a:schemeClr val="tx2"/>
                </a:solidFill>
                <a:latin typeface="Trebuchet MS" panose="020B0603020202020204" pitchFamily="34" charset="0"/>
              </a:rPr>
              <a:t>BD&amp;A</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industry</a:t>
            </a:r>
            <a:r>
              <a:rPr lang="en-GB" sz="1000" i="1" spc="-30">
                <a:latin typeface="Trebuchet MS" panose="020B0603020202020204" pitchFamily="34" charset="0"/>
              </a:rPr>
              <a:t>”</a:t>
            </a:r>
          </a:p>
          <a:p>
            <a:pPr>
              <a:lnSpc>
                <a:spcPts val="1100"/>
              </a:lnSpc>
              <a:defRPr/>
            </a:pPr>
            <a:endParaRPr lang="en-GB" sz="1000" i="1" spc="-30">
              <a:latin typeface="Trebuchet MS" panose="020B0603020202020204" pitchFamily="34" charset="0"/>
            </a:endParaRPr>
          </a:p>
          <a:p>
            <a:pPr>
              <a:lnSpc>
                <a:spcPts val="1100"/>
              </a:lnSpc>
              <a:defRPr/>
            </a:pPr>
            <a:r>
              <a:rPr lang="en-GB" sz="1000" spc="-30">
                <a:latin typeface="Trebuchet MS" panose="020B0603020202020204" pitchFamily="34" charset="0"/>
              </a:rPr>
              <a:t>Former Managing Director at Graydon</a:t>
            </a:r>
            <a:endParaRPr lang="en-GB" sz="1000">
              <a:latin typeface="Trebuchet MS" panose="020B0603020202020204" pitchFamily="34" charset="0"/>
            </a:endParaRPr>
          </a:p>
        </p:txBody>
      </p:sp>
      <p:sp>
        <p:nvSpPr>
          <p:cNvPr id="29" name="Freeform 663">
            <a:extLst>
              <a:ext uri="{FF2B5EF4-FFF2-40B4-BE49-F238E27FC236}">
                <a16:creationId xmlns:a16="http://schemas.microsoft.com/office/drawing/2014/main" id="{5681BF43-1DBA-4934-8DF0-A4C9CFD8C840}"/>
              </a:ext>
            </a:extLst>
          </p:cNvPr>
          <p:cNvSpPr>
            <a:spLocks noEditPoints="1"/>
          </p:cNvSpPr>
          <p:nvPr/>
        </p:nvSpPr>
        <p:spPr bwMode="auto">
          <a:xfrm>
            <a:off x="8237154" y="3790582"/>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5" name="Rectangle 4">
            <a:extLst>
              <a:ext uri="{FF2B5EF4-FFF2-40B4-BE49-F238E27FC236}">
                <a16:creationId xmlns:a16="http://schemas.microsoft.com/office/drawing/2014/main" id="{177B0926-676A-4552-B417-C5FB857DD9E2}"/>
              </a:ext>
            </a:extLst>
          </p:cNvPr>
          <p:cNvSpPr/>
          <p:nvPr/>
        </p:nvSpPr>
        <p:spPr bwMode="auto">
          <a:xfrm>
            <a:off x="7097624" y="1593462"/>
            <a:ext cx="2651688" cy="100874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6" name="Rectangle 25">
            <a:extLst>
              <a:ext uri="{FF2B5EF4-FFF2-40B4-BE49-F238E27FC236}">
                <a16:creationId xmlns:a16="http://schemas.microsoft.com/office/drawing/2014/main" id="{0F02C24D-3FFF-4993-89A5-7F93320A11C0}"/>
              </a:ext>
            </a:extLst>
          </p:cNvPr>
          <p:cNvSpPr/>
          <p:nvPr/>
        </p:nvSpPr>
        <p:spPr bwMode="auto">
          <a:xfrm>
            <a:off x="7105679" y="1711980"/>
            <a:ext cx="1276931" cy="79200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iz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Future growth (CAGR</a:t>
            </a:r>
            <a:r>
              <a:rPr lang="en-GB" sz="600" i="1" baseline="-25000">
                <a:latin typeface="Trebuchet MS" panose="020B0603020202020204" pitchFamily="34" charset="0"/>
              </a:rPr>
              <a:t>2021-2023</a:t>
            </a:r>
            <a:r>
              <a:rPr lang="en-GB" sz="700" i="1">
                <a:latin typeface="Trebuchet MS" panose="020B0603020202020204" pitchFamily="34" charset="0"/>
              </a:rPr>
              <a:t>): </a:t>
            </a:r>
          </a:p>
          <a:p>
            <a:pPr marR="0" defTabSz="361950" rtl="0" eaLnBrk="1" fontAlgn="base" latinLnBrk="0" hangingPunct="1">
              <a:lnSpc>
                <a:spcPts val="1100"/>
              </a:lnSpc>
              <a:spcBef>
                <a:spcPct val="0"/>
              </a:spcBef>
              <a:spcAft>
                <a:spcPct val="0"/>
              </a:spcAft>
              <a:buClrTx/>
              <a:buSzTx/>
              <a:tabLst/>
            </a:pPr>
            <a:endParaRPr lang="en-GB" sz="700" i="1">
              <a:latin typeface="Trebuchet MS" panose="020B0603020202020204" pitchFamily="34" charset="0"/>
            </a:endParaRPr>
          </a:p>
          <a:p>
            <a:pPr marR="0" defTabSz="361950" rtl="0" eaLnBrk="1" fontAlgn="base" latinLnBrk="0" hangingPunct="1">
              <a:lnSpc>
                <a:spcPts val="1100"/>
              </a:lnSpc>
              <a:spcBef>
                <a:spcPct val="0"/>
              </a:spcBef>
              <a:spcAft>
                <a:spcPct val="0"/>
              </a:spcAft>
              <a:buClrTx/>
              <a:buSzTx/>
              <a:tabLst/>
            </a:pPr>
            <a:r>
              <a:rPr lang="en-GB" sz="700" i="1" err="1">
                <a:latin typeface="Trebuchet MS" panose="020B0603020202020204" pitchFamily="34" charset="0"/>
              </a:rPr>
              <a:t>Altares</a:t>
            </a:r>
            <a:r>
              <a:rPr lang="en-GB" sz="700" i="1">
                <a:latin typeface="Trebuchet MS" panose="020B0603020202020204" pitchFamily="34" charset="0"/>
              </a:rPr>
              <a:t>’ market share: </a:t>
            </a:r>
            <a:r>
              <a:rPr lang="en-GB" sz="700" i="1" err="1">
                <a:latin typeface="Trebuchet MS" panose="020B0603020202020204" pitchFamily="34" charset="0"/>
              </a:rPr>
              <a:t>Altares</a:t>
            </a:r>
            <a:r>
              <a:rPr lang="en-GB" sz="700" i="1">
                <a:latin typeface="Trebuchet MS" panose="020B0603020202020204" pitchFamily="34" charset="0"/>
              </a:rPr>
              <a:t>’ 2019 revenue: </a:t>
            </a:r>
          </a:p>
        </p:txBody>
      </p:sp>
      <p:sp>
        <p:nvSpPr>
          <p:cNvPr id="32" name="Rectangle 31">
            <a:extLst>
              <a:ext uri="{FF2B5EF4-FFF2-40B4-BE49-F238E27FC236}">
                <a16:creationId xmlns:a16="http://schemas.microsoft.com/office/drawing/2014/main" id="{F4B49DBE-210D-416E-BB49-4F82BFFAB718}"/>
              </a:ext>
            </a:extLst>
          </p:cNvPr>
          <p:cNvSpPr/>
          <p:nvPr/>
        </p:nvSpPr>
        <p:spPr bwMode="auto">
          <a:xfrm>
            <a:off x="8390664" y="1663724"/>
            <a:ext cx="1260000" cy="900000"/>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50" b="1"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35</a:t>
            </a:r>
            <a:r>
              <a:rPr lang="en-GB" sz="1050" b="1">
                <a:solidFill>
                  <a:schemeClr val="tx2"/>
                </a:solidFill>
                <a:latin typeface="Trebuchet MS" panose="020B0603020202020204" pitchFamily="34" charset="0"/>
              </a:rPr>
              <a:t>m</a:t>
            </a:r>
            <a:endParaRPr kumimoji="0" lang="en-GB" sz="1050" b="1"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endParaRPr>
          </a:p>
          <a:p>
            <a:pPr marL="0" marR="0" lvl="0" indent="0" algn="ctr" defTabSz="361950" rtl="0" eaLnBrk="1" fontAlgn="base" latinLnBrk="0" hangingPunct="1">
              <a:lnSpc>
                <a:spcPts val="1100"/>
              </a:lnSpc>
              <a:spcBef>
                <a:spcPct val="0"/>
              </a:spcBef>
              <a:spcAft>
                <a:spcPts val="200"/>
              </a:spcAft>
              <a:buClrTx/>
              <a:buSzTx/>
              <a:buFontTx/>
              <a:buNone/>
              <a:tabLst/>
              <a:defRPr/>
            </a:pPr>
            <a:r>
              <a:rPr lang="en-GB" sz="1050" b="1" i="1">
                <a:solidFill>
                  <a:schemeClr val="tx2"/>
                </a:solidFill>
                <a:latin typeface="Trebuchet MS" panose="020B0603020202020204" pitchFamily="34" charset="0"/>
              </a:rPr>
              <a:t>+10</a:t>
            </a:r>
            <a:r>
              <a:rPr kumimoji="0" lang="en-GB" sz="1050" b="1" i="1" u="none" strike="noStrike" kern="1200" cap="none" spc="0" normalizeH="0" baseline="0" noProof="0">
                <a:ln>
                  <a:noFill/>
                </a:ln>
                <a:solidFill>
                  <a:schemeClr val="tx2"/>
                </a:solidFill>
                <a:effectLst/>
                <a:uLnTx/>
                <a:uFillTx/>
                <a:latin typeface="Trebuchet MS" pitchFamily="34" charset="0"/>
                <a:ea typeface="+mn-ea"/>
                <a:cs typeface="Arial" pitchFamily="34" charset="0"/>
              </a:rPr>
              <a:t>%</a:t>
            </a:r>
          </a:p>
          <a:p>
            <a:pPr marL="0" marR="0" lvl="0" indent="0" algn="ctr" defTabSz="361950" rtl="0" eaLnBrk="1" fontAlgn="base" latinLnBrk="0" hangingPunct="1">
              <a:lnSpc>
                <a:spcPts val="1100"/>
              </a:lnSpc>
              <a:spcBef>
                <a:spcPct val="0"/>
              </a:spcBef>
              <a:spcAft>
                <a:spcPts val="200"/>
              </a:spcAft>
              <a:buClrTx/>
              <a:buSzTx/>
              <a:buFontTx/>
              <a:buNone/>
              <a:tabLst/>
              <a:defRPr/>
            </a:pPr>
            <a:endParaRPr kumimoji="0" lang="en-GB" sz="1050" b="1" i="1" u="none" strike="noStrike" kern="1200" cap="none" spc="0" normalizeH="0" baseline="0" noProof="0">
              <a:ln>
                <a:noFill/>
              </a:ln>
              <a:solidFill>
                <a:schemeClr val="tx2"/>
              </a:solidFill>
              <a:effectLst/>
              <a:uLnTx/>
              <a:uFillTx/>
              <a:latin typeface="Trebuchet MS" pitchFamily="34" charset="0"/>
              <a:ea typeface="+mn-ea"/>
              <a:cs typeface="Arial" pitchFamily="34" charset="0"/>
            </a:endParaRPr>
          </a:p>
          <a:p>
            <a:pPr marL="0" marR="0" lvl="0" indent="0" algn="ctr" defTabSz="361950" rtl="0" eaLnBrk="1" fontAlgn="base" latinLnBrk="0" hangingPunct="1">
              <a:lnSpc>
                <a:spcPts val="1100"/>
              </a:lnSpc>
              <a:spcBef>
                <a:spcPct val="0"/>
              </a:spcBef>
              <a:spcAft>
                <a:spcPts val="200"/>
              </a:spcAft>
              <a:buClrTx/>
              <a:buSzTx/>
              <a:buFontTx/>
              <a:buNone/>
              <a:tabLst/>
              <a:defRPr/>
            </a:pPr>
            <a:r>
              <a:rPr lang="en-GB" sz="900" i="1">
                <a:solidFill>
                  <a:schemeClr val="tx2"/>
                </a:solidFill>
                <a:latin typeface="Trebuchet MS" panose="020B0603020202020204" pitchFamily="34" charset="0"/>
              </a:rPr>
              <a:t>~ 28</a:t>
            </a:r>
            <a:r>
              <a:rPr kumimoji="0" lang="en-GB" sz="900" b="0" i="1"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a:t>
            </a:r>
          </a:p>
          <a:p>
            <a:pPr marL="0" marR="0" lvl="0" indent="0" algn="ctr" defTabSz="361950" rtl="0" eaLnBrk="1" fontAlgn="base" latinLnBrk="0" hangingPunct="1">
              <a:lnSpc>
                <a:spcPts val="1100"/>
              </a:lnSpc>
              <a:spcBef>
                <a:spcPct val="0"/>
              </a:spcBef>
              <a:spcAft>
                <a:spcPts val="200"/>
              </a:spcAft>
              <a:buClrTx/>
              <a:buSzTx/>
              <a:buFontTx/>
              <a:buNone/>
              <a:tabLst/>
              <a:defRPr/>
            </a:pPr>
            <a:r>
              <a:rPr lang="en-GB" sz="900" i="1">
                <a:solidFill>
                  <a:schemeClr val="tx2"/>
                </a:solidFill>
                <a:latin typeface="Trebuchet MS" panose="020B0603020202020204" pitchFamily="34" charset="0"/>
              </a:rPr>
              <a:t>€10m</a:t>
            </a:r>
            <a:endParaRPr lang="en-GB" sz="900">
              <a:solidFill>
                <a:schemeClr val="tx2"/>
              </a:solidFill>
              <a:latin typeface="Trebuchet MS" panose="020B0603020202020204" pitchFamily="34" charset="0"/>
            </a:endParaRPr>
          </a:p>
        </p:txBody>
      </p:sp>
      <p:sp>
        <p:nvSpPr>
          <p:cNvPr id="31" name="Rectangle 30">
            <a:extLst>
              <a:ext uri="{FF2B5EF4-FFF2-40B4-BE49-F238E27FC236}">
                <a16:creationId xmlns:a16="http://schemas.microsoft.com/office/drawing/2014/main" id="{A0CF32D6-4C51-4985-8A2E-AF40FCA00C59}"/>
              </a:ext>
            </a:extLst>
          </p:cNvPr>
          <p:cNvSpPr/>
          <p:nvPr/>
        </p:nvSpPr>
        <p:spPr bwMode="auto">
          <a:xfrm>
            <a:off x="7097624" y="2756875"/>
            <a:ext cx="2542133" cy="997613"/>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100"/>
              </a:lnSpc>
              <a:defRPr/>
            </a:pPr>
            <a:r>
              <a:rPr lang="en-GB" sz="1000" spc="-30">
                <a:latin typeface="Trebuchet MS" panose="020B0603020202020204" pitchFamily="34" charset="0"/>
              </a:rPr>
              <a:t>The compliance market is the driving force of the BD&amp;A market in the coming years as companies need to comply with European regulations on AML and UBOs</a:t>
            </a:r>
            <a:endParaRPr lang="en-GB" sz="1000">
              <a:solidFill>
                <a:schemeClr val="tx2"/>
              </a:solidFill>
              <a:latin typeface="Trebuchet MS" panose="020B0603020202020204" pitchFamily="34" charset="0"/>
            </a:endParaRPr>
          </a:p>
        </p:txBody>
      </p:sp>
      <p:grpSp>
        <p:nvGrpSpPr>
          <p:cNvPr id="43" name="Groupe 42">
            <a:extLst>
              <a:ext uri="{FF2B5EF4-FFF2-40B4-BE49-F238E27FC236}">
                <a16:creationId xmlns:a16="http://schemas.microsoft.com/office/drawing/2014/main" id="{377BEB5D-5A19-4F9F-9A15-5828E88C874E}"/>
              </a:ext>
            </a:extLst>
          </p:cNvPr>
          <p:cNvGrpSpPr/>
          <p:nvPr/>
        </p:nvGrpSpPr>
        <p:grpSpPr>
          <a:xfrm>
            <a:off x="8448150" y="-11528"/>
            <a:ext cx="1435548" cy="588143"/>
            <a:chOff x="8448150" y="-11528"/>
            <a:chExt cx="1435548" cy="588143"/>
          </a:xfrm>
        </p:grpSpPr>
        <p:grpSp>
          <p:nvGrpSpPr>
            <p:cNvPr id="44" name="Groupe 43">
              <a:extLst>
                <a:ext uri="{FF2B5EF4-FFF2-40B4-BE49-F238E27FC236}">
                  <a16:creationId xmlns:a16="http://schemas.microsoft.com/office/drawing/2014/main" id="{4C3108AA-3492-4DCE-AE9D-BA8AFD8AD722}"/>
                </a:ext>
              </a:extLst>
            </p:cNvPr>
            <p:cNvGrpSpPr/>
            <p:nvPr/>
          </p:nvGrpSpPr>
          <p:grpSpPr>
            <a:xfrm>
              <a:off x="8448150" y="-11528"/>
              <a:ext cx="1435548" cy="555653"/>
              <a:chOff x="8448150" y="-11528"/>
              <a:chExt cx="1435548" cy="555653"/>
            </a:xfrm>
          </p:grpSpPr>
          <p:sp>
            <p:nvSpPr>
              <p:cNvPr id="46" name="Rectangle : coins arrondis 199">
                <a:extLst>
                  <a:ext uri="{FF2B5EF4-FFF2-40B4-BE49-F238E27FC236}">
                    <a16:creationId xmlns:a16="http://schemas.microsoft.com/office/drawing/2014/main" id="{EDAE61CB-AF32-481C-8A81-1029FBCC9F75}"/>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7" name="Rectangle : coins arrondis 200">
                <a:extLst>
                  <a:ext uri="{FF2B5EF4-FFF2-40B4-BE49-F238E27FC236}">
                    <a16:creationId xmlns:a16="http://schemas.microsoft.com/office/drawing/2014/main" id="{835D7DA8-7718-4EAC-8B5D-C1A8F061BBFA}"/>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8" name="Rectangle : coins arrondis 201">
                <a:extLst>
                  <a:ext uri="{FF2B5EF4-FFF2-40B4-BE49-F238E27FC236}">
                    <a16:creationId xmlns:a16="http://schemas.microsoft.com/office/drawing/2014/main" id="{C425CDE0-ACED-478F-BA91-C905143C5203}"/>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9" name="ZoneTexte 18">
                <a:extLst>
                  <a:ext uri="{FF2B5EF4-FFF2-40B4-BE49-F238E27FC236}">
                    <a16:creationId xmlns:a16="http://schemas.microsoft.com/office/drawing/2014/main" id="{9DFB6CDC-114A-4C11-9939-261546394E8A}"/>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50" name="Graphique 128" descr="Jauge">
                <a:extLst>
                  <a:ext uri="{FF2B5EF4-FFF2-40B4-BE49-F238E27FC236}">
                    <a16:creationId xmlns:a16="http://schemas.microsoft.com/office/drawing/2014/main" id="{5A6711F9-057B-4025-A6F6-9262204B24E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51" name="Graphique 90" descr="Poignée de main">
                <a:extLst>
                  <a:ext uri="{FF2B5EF4-FFF2-40B4-BE49-F238E27FC236}">
                    <a16:creationId xmlns:a16="http://schemas.microsoft.com/office/drawing/2014/main" id="{679B9CB6-98F1-462E-BB1C-190A418993E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52" name="Graphique 74" descr="Mégaphone">
                <a:extLst>
                  <a:ext uri="{FF2B5EF4-FFF2-40B4-BE49-F238E27FC236}">
                    <a16:creationId xmlns:a16="http://schemas.microsoft.com/office/drawing/2014/main" id="{E4B4709B-3B3B-4E94-947F-DF5BBC58B33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53" name="Picture 2" descr="Drapeau France">
                <a:extLst>
                  <a:ext uri="{FF2B5EF4-FFF2-40B4-BE49-F238E27FC236}">
                    <a16:creationId xmlns:a16="http://schemas.microsoft.com/office/drawing/2014/main" id="{6BB46D0F-EC89-42CE-8054-FA439804E0A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4" name="Picture 2" descr="5 ft x 3 ft 150 x 90 cm-DRAPEAU BELGE Belgique 100% Polyester ...">
                <a:extLst>
                  <a:ext uri="{FF2B5EF4-FFF2-40B4-BE49-F238E27FC236}">
                    <a16:creationId xmlns:a16="http://schemas.microsoft.com/office/drawing/2014/main" id="{1A20E41F-6197-42B3-8665-46B6F6A4717A}"/>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5" name="Picture 2 - 1" descr="Drapeau des Pays-Bas — Wikipédia">
                <a:extLst>
                  <a:ext uri="{FF2B5EF4-FFF2-40B4-BE49-F238E27FC236}">
                    <a16:creationId xmlns:a16="http://schemas.microsoft.com/office/drawing/2014/main" id="{34EF00FA-90D3-44B2-9223-C43401EF1AE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6" name="Picture 2 - 2" descr="Drapeau du Luxembourg">
                <a:extLst>
                  <a:ext uri="{FF2B5EF4-FFF2-40B4-BE49-F238E27FC236}">
                    <a16:creationId xmlns:a16="http://schemas.microsoft.com/office/drawing/2014/main" id="{54779A44-265C-45CD-A237-7BD02727051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45" name="ZoneTexte 18">
              <a:extLst>
                <a:ext uri="{FF2B5EF4-FFF2-40B4-BE49-F238E27FC236}">
                  <a16:creationId xmlns:a16="http://schemas.microsoft.com/office/drawing/2014/main" id="{4FA0392E-20D0-4FEA-B7AF-13BD894DB94B}"/>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grpSp>
        <p:nvGrpSpPr>
          <p:cNvPr id="57" name="Groupe 56">
            <a:extLst>
              <a:ext uri="{FF2B5EF4-FFF2-40B4-BE49-F238E27FC236}">
                <a16:creationId xmlns:a16="http://schemas.microsoft.com/office/drawing/2014/main" id="{2689461D-FE0A-458B-8DFB-400AA57AFF10}"/>
              </a:ext>
            </a:extLst>
          </p:cNvPr>
          <p:cNvGrpSpPr/>
          <p:nvPr/>
        </p:nvGrpSpPr>
        <p:grpSpPr>
          <a:xfrm>
            <a:off x="1615207" y="1616156"/>
            <a:ext cx="2386340" cy="1154732"/>
            <a:chOff x="1615207" y="1616156"/>
            <a:chExt cx="2386340" cy="1154732"/>
          </a:xfrm>
        </p:grpSpPr>
        <p:sp>
          <p:nvSpPr>
            <p:cNvPr id="58" name="Speech Bubble: Rectangle 28">
              <a:extLst>
                <a:ext uri="{FF2B5EF4-FFF2-40B4-BE49-F238E27FC236}">
                  <a16:creationId xmlns:a16="http://schemas.microsoft.com/office/drawing/2014/main" id="{6BA3DC21-4EEF-4D34-9C4E-0A0B1BC0242D}"/>
                </a:ext>
              </a:extLst>
            </p:cNvPr>
            <p:cNvSpPr/>
            <p:nvPr/>
          </p:nvSpPr>
          <p:spPr bwMode="auto">
            <a:xfrm>
              <a:off x="1615207" y="1847610"/>
              <a:ext cx="2386340" cy="923278"/>
            </a:xfrm>
            <a:prstGeom prst="wedgeRectCallout">
              <a:avLst>
                <a:gd name="adj1" fmla="val 42665"/>
                <a:gd name="adj2" fmla="val 68029"/>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endParaRPr lang="en-GB" sz="1100">
                <a:solidFill>
                  <a:schemeClr val="tx2"/>
                </a:solidFill>
                <a:latin typeface="Trebuchet MS" panose="020B0603020202020204" pitchFamily="34" charset="0"/>
              </a:endParaRPr>
            </a:p>
          </p:txBody>
        </p:sp>
        <p:sp>
          <p:nvSpPr>
            <p:cNvPr id="59" name="Rectangle 58">
              <a:extLst>
                <a:ext uri="{FF2B5EF4-FFF2-40B4-BE49-F238E27FC236}">
                  <a16:creationId xmlns:a16="http://schemas.microsoft.com/office/drawing/2014/main" id="{0B70BCE4-24E8-498A-B85F-1F79927DA327}"/>
                </a:ext>
              </a:extLst>
            </p:cNvPr>
            <p:cNvSpPr/>
            <p:nvPr/>
          </p:nvSpPr>
          <p:spPr bwMode="auto">
            <a:xfrm>
              <a:off x="2660365" y="1941913"/>
              <a:ext cx="1226974"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4m</a:t>
              </a:r>
            </a:p>
            <a:p>
              <a:pPr marR="0" algn="ctr" defTabSz="361950" rtl="0" eaLnBrk="1" fontAlgn="base" latinLnBrk="0" hangingPunct="1">
                <a:lnSpc>
                  <a:spcPts val="1100"/>
                </a:lnSpc>
                <a:spcBef>
                  <a:spcPct val="0"/>
                </a:spcBef>
                <a:spcAft>
                  <a:spcPct val="0"/>
                </a:spcAft>
                <a:buClrTx/>
                <a:buSzTx/>
                <a:tabLst/>
              </a:pPr>
              <a:endParaRPr lang="en-GB" sz="1050">
                <a:latin typeface="Trebuchet MS" pitchFamily="34" charset="0"/>
              </a:endParaRP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5m</a:t>
              </a: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35%</a:t>
              </a:r>
            </a:p>
          </p:txBody>
        </p:sp>
        <p:sp>
          <p:nvSpPr>
            <p:cNvPr id="60" name="Rectangle: Rounded Corners 4">
              <a:extLst>
                <a:ext uri="{FF2B5EF4-FFF2-40B4-BE49-F238E27FC236}">
                  <a16:creationId xmlns:a16="http://schemas.microsoft.com/office/drawing/2014/main" id="{2D497C5D-281A-4592-861C-01BEB420C51B}"/>
                </a:ext>
              </a:extLst>
            </p:cNvPr>
            <p:cNvSpPr/>
            <p:nvPr/>
          </p:nvSpPr>
          <p:spPr bwMode="auto">
            <a:xfrm>
              <a:off x="1734654" y="1616156"/>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Netherlands</a:t>
              </a:r>
            </a:p>
          </p:txBody>
        </p:sp>
        <p:pic>
          <p:nvPicPr>
            <p:cNvPr id="61" name="Picture 2 - 1" descr="Drapeau des Pays-Bas — Wikipédia">
              <a:extLst>
                <a:ext uri="{FF2B5EF4-FFF2-40B4-BE49-F238E27FC236}">
                  <a16:creationId xmlns:a16="http://schemas.microsoft.com/office/drawing/2014/main" id="{70769341-680C-49E2-BCCA-C7269D33D41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615207" y="1665096"/>
              <a:ext cx="238894"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62" name="Rectangle 61">
              <a:extLst>
                <a:ext uri="{FF2B5EF4-FFF2-40B4-BE49-F238E27FC236}">
                  <a16:creationId xmlns:a16="http://schemas.microsoft.com/office/drawing/2014/main" id="{BC0E2BBB-C10B-471C-B591-15DC1C38B55F}"/>
                </a:ext>
              </a:extLst>
            </p:cNvPr>
            <p:cNvSpPr/>
            <p:nvPr/>
          </p:nvSpPr>
          <p:spPr bwMode="auto">
            <a:xfrm>
              <a:off x="1734653" y="1940065"/>
              <a:ext cx="811503" cy="736521"/>
            </a:xfrm>
            <a:prstGeom prst="rect">
              <a:avLst/>
            </a:prstGeom>
            <a:solidFill>
              <a:srgbClr val="E2E2E2"/>
            </a:solid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Market size:</a:t>
              </a:r>
            </a:p>
            <a:p>
              <a:pPr marR="0" defTabSz="361950" rtl="0" eaLnBrk="1" fontAlgn="base" latinLnBrk="0" hangingPunct="1">
                <a:lnSpc>
                  <a:spcPts val="1100"/>
                </a:lnSpc>
                <a:spcBef>
                  <a:spcPct val="0"/>
                </a:spcBef>
                <a:spcAft>
                  <a:spcPct val="0"/>
                </a:spcAft>
                <a:buClrTx/>
                <a:buSzTx/>
                <a:tabLst/>
              </a:pPr>
              <a:endParaRPr lang="en-GB" sz="700" i="1">
                <a:latin typeface="Trebuchet MS" pitchFamily="34" charset="0"/>
              </a:endParaRPr>
            </a:p>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Altares' mkt share (2019 rev.)²:</a:t>
              </a:r>
            </a:p>
          </p:txBody>
        </p:sp>
      </p:grpSp>
      <p:grpSp>
        <p:nvGrpSpPr>
          <p:cNvPr id="63" name="Groupe 62">
            <a:extLst>
              <a:ext uri="{FF2B5EF4-FFF2-40B4-BE49-F238E27FC236}">
                <a16:creationId xmlns:a16="http://schemas.microsoft.com/office/drawing/2014/main" id="{6A6CD1BC-9171-4E66-B83B-06C063A3A200}"/>
              </a:ext>
            </a:extLst>
          </p:cNvPr>
          <p:cNvGrpSpPr/>
          <p:nvPr/>
        </p:nvGrpSpPr>
        <p:grpSpPr>
          <a:xfrm>
            <a:off x="418202" y="3262522"/>
            <a:ext cx="2487595" cy="1167698"/>
            <a:chOff x="418202" y="3262522"/>
            <a:chExt cx="2487595" cy="1167698"/>
          </a:xfrm>
        </p:grpSpPr>
        <p:sp>
          <p:nvSpPr>
            <p:cNvPr id="64" name="Speech Bubble: Rectangle 28">
              <a:extLst>
                <a:ext uri="{FF2B5EF4-FFF2-40B4-BE49-F238E27FC236}">
                  <a16:creationId xmlns:a16="http://schemas.microsoft.com/office/drawing/2014/main" id="{5B24D377-F9FF-4F44-AF39-0134A09F817F}"/>
                </a:ext>
              </a:extLst>
            </p:cNvPr>
            <p:cNvSpPr/>
            <p:nvPr/>
          </p:nvSpPr>
          <p:spPr bwMode="auto">
            <a:xfrm>
              <a:off x="519457" y="3506942"/>
              <a:ext cx="2386340" cy="923278"/>
            </a:xfrm>
            <a:prstGeom prst="wedgeRectCallout">
              <a:avLst>
                <a:gd name="adj1" fmla="val 57461"/>
                <a:gd name="adj2" fmla="val 369"/>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endParaRPr lang="en-GB" sz="1100">
                <a:solidFill>
                  <a:schemeClr val="tx2"/>
                </a:solidFill>
                <a:latin typeface="Trebuchet MS" panose="020B0603020202020204" pitchFamily="34" charset="0"/>
              </a:endParaRPr>
            </a:p>
          </p:txBody>
        </p:sp>
        <p:sp>
          <p:nvSpPr>
            <p:cNvPr id="65" name="Rectangle 64">
              <a:extLst>
                <a:ext uri="{FF2B5EF4-FFF2-40B4-BE49-F238E27FC236}">
                  <a16:creationId xmlns:a16="http://schemas.microsoft.com/office/drawing/2014/main" id="{F550B6E1-6864-42F9-AD55-9CE2D3F50BD2}"/>
                </a:ext>
              </a:extLst>
            </p:cNvPr>
            <p:cNvSpPr/>
            <p:nvPr/>
          </p:nvSpPr>
          <p:spPr bwMode="auto">
            <a:xfrm>
              <a:off x="1564615" y="3601245"/>
              <a:ext cx="1226974"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6,5m</a:t>
              </a:r>
            </a:p>
            <a:p>
              <a:pPr marR="0" algn="ctr" defTabSz="361950" rtl="0" eaLnBrk="1" fontAlgn="base" latinLnBrk="0" hangingPunct="1">
                <a:lnSpc>
                  <a:spcPts val="1100"/>
                </a:lnSpc>
                <a:spcBef>
                  <a:spcPct val="0"/>
                </a:spcBef>
                <a:spcAft>
                  <a:spcPct val="0"/>
                </a:spcAft>
                <a:buClrTx/>
                <a:buSzTx/>
                <a:tabLst/>
              </a:pPr>
              <a:endParaRPr lang="en-GB" sz="1050">
                <a:latin typeface="Trebuchet MS" pitchFamily="34" charset="0"/>
              </a:endParaRP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3m</a:t>
              </a: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7%</a:t>
              </a:r>
            </a:p>
          </p:txBody>
        </p:sp>
        <p:sp>
          <p:nvSpPr>
            <p:cNvPr id="66" name="Rectangle 65">
              <a:extLst>
                <a:ext uri="{FF2B5EF4-FFF2-40B4-BE49-F238E27FC236}">
                  <a16:creationId xmlns:a16="http://schemas.microsoft.com/office/drawing/2014/main" id="{1A8FA00A-3CE1-47B9-8FC8-16A463D9B468}"/>
                </a:ext>
              </a:extLst>
            </p:cNvPr>
            <p:cNvSpPr/>
            <p:nvPr/>
          </p:nvSpPr>
          <p:spPr bwMode="auto">
            <a:xfrm>
              <a:off x="638903" y="3599397"/>
              <a:ext cx="811503" cy="736521"/>
            </a:xfrm>
            <a:prstGeom prst="rect">
              <a:avLst/>
            </a:prstGeom>
            <a:solidFill>
              <a:srgbClr val="E2E2E2"/>
            </a:solid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Market size:</a:t>
              </a:r>
            </a:p>
            <a:p>
              <a:pPr marR="0" defTabSz="361950" rtl="0" eaLnBrk="1" fontAlgn="base" latinLnBrk="0" hangingPunct="1">
                <a:lnSpc>
                  <a:spcPts val="1100"/>
                </a:lnSpc>
                <a:spcBef>
                  <a:spcPct val="0"/>
                </a:spcBef>
                <a:spcAft>
                  <a:spcPct val="0"/>
                </a:spcAft>
                <a:buClrTx/>
                <a:buSzTx/>
                <a:tabLst/>
              </a:pPr>
              <a:endParaRPr lang="en-GB" sz="700" i="1">
                <a:latin typeface="Trebuchet MS" pitchFamily="34" charset="0"/>
              </a:endParaRPr>
            </a:p>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Altares' mkt share (2019 rev.)²:</a:t>
              </a:r>
            </a:p>
          </p:txBody>
        </p:sp>
        <p:pic>
          <p:nvPicPr>
            <p:cNvPr id="67" name="Picture 2" descr="Drapeau France">
              <a:extLst>
                <a:ext uri="{FF2B5EF4-FFF2-40B4-BE49-F238E27FC236}">
                  <a16:creationId xmlns:a16="http://schemas.microsoft.com/office/drawing/2014/main" id="{1291F8BD-AA01-4438-BD10-790F5102C07D}"/>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503051" y="3301311"/>
              <a:ext cx="238894"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68" name="Rectangle: Rounded Corners 4">
              <a:extLst>
                <a:ext uri="{FF2B5EF4-FFF2-40B4-BE49-F238E27FC236}">
                  <a16:creationId xmlns:a16="http://schemas.microsoft.com/office/drawing/2014/main" id="{C2FE329B-E28D-4D65-BFF7-89DA0A2C94ED}"/>
                </a:ext>
              </a:extLst>
            </p:cNvPr>
            <p:cNvSpPr/>
            <p:nvPr/>
          </p:nvSpPr>
          <p:spPr bwMode="auto">
            <a:xfrm>
              <a:off x="418202" y="3262522"/>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France </a:t>
              </a:r>
            </a:p>
          </p:txBody>
        </p:sp>
      </p:grpSp>
      <p:grpSp>
        <p:nvGrpSpPr>
          <p:cNvPr id="69" name="Groupe 68">
            <a:extLst>
              <a:ext uri="{FF2B5EF4-FFF2-40B4-BE49-F238E27FC236}">
                <a16:creationId xmlns:a16="http://schemas.microsoft.com/office/drawing/2014/main" id="{0A42CCA4-2DB2-43C5-AF8B-CF0831711F89}"/>
              </a:ext>
            </a:extLst>
          </p:cNvPr>
          <p:cNvGrpSpPr/>
          <p:nvPr/>
        </p:nvGrpSpPr>
        <p:grpSpPr>
          <a:xfrm>
            <a:off x="4437511" y="3656557"/>
            <a:ext cx="2386340" cy="1153024"/>
            <a:chOff x="4437511" y="3656557"/>
            <a:chExt cx="2386340" cy="1153024"/>
          </a:xfrm>
        </p:grpSpPr>
        <p:sp>
          <p:nvSpPr>
            <p:cNvPr id="70" name="Speech Bubble: Rectangle 28">
              <a:extLst>
                <a:ext uri="{FF2B5EF4-FFF2-40B4-BE49-F238E27FC236}">
                  <a16:creationId xmlns:a16="http://schemas.microsoft.com/office/drawing/2014/main" id="{7F7B6741-9DFC-4133-BA9A-8A309407F003}"/>
                </a:ext>
              </a:extLst>
            </p:cNvPr>
            <p:cNvSpPr/>
            <p:nvPr/>
          </p:nvSpPr>
          <p:spPr bwMode="auto">
            <a:xfrm>
              <a:off x="4437511" y="3886303"/>
              <a:ext cx="2386340" cy="923278"/>
            </a:xfrm>
            <a:prstGeom prst="wedgeRectCallout">
              <a:avLst>
                <a:gd name="adj1" fmla="val -51803"/>
                <a:gd name="adj2" fmla="val -92786"/>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endParaRPr lang="en-GB" sz="1100">
                <a:solidFill>
                  <a:schemeClr val="tx2"/>
                </a:solidFill>
                <a:latin typeface="Trebuchet MS" panose="020B0603020202020204" pitchFamily="34" charset="0"/>
              </a:endParaRPr>
            </a:p>
          </p:txBody>
        </p:sp>
        <p:sp>
          <p:nvSpPr>
            <p:cNvPr id="71" name="Rectangle 70">
              <a:extLst>
                <a:ext uri="{FF2B5EF4-FFF2-40B4-BE49-F238E27FC236}">
                  <a16:creationId xmlns:a16="http://schemas.microsoft.com/office/drawing/2014/main" id="{D949A66D-FA5D-45F2-8117-18B8A8CC2BD7}"/>
                </a:ext>
              </a:extLst>
            </p:cNvPr>
            <p:cNvSpPr/>
            <p:nvPr/>
          </p:nvSpPr>
          <p:spPr bwMode="auto">
            <a:xfrm>
              <a:off x="5482669" y="3980606"/>
              <a:ext cx="1226974"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m</a:t>
              </a:r>
            </a:p>
            <a:p>
              <a:pPr marR="0" algn="ctr" defTabSz="361950" rtl="0" eaLnBrk="1" fontAlgn="base" latinLnBrk="0" hangingPunct="1">
                <a:lnSpc>
                  <a:spcPts val="1100"/>
                </a:lnSpc>
                <a:spcBef>
                  <a:spcPct val="0"/>
                </a:spcBef>
                <a:spcAft>
                  <a:spcPct val="0"/>
                </a:spcAft>
                <a:buClrTx/>
                <a:buSzTx/>
                <a:tabLst/>
              </a:pPr>
              <a:endParaRPr lang="en-GB" sz="1050">
                <a:latin typeface="Trebuchet MS" pitchFamily="34" charset="0"/>
              </a:endParaRP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700k</a:t>
              </a: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8%</a:t>
              </a:r>
            </a:p>
          </p:txBody>
        </p:sp>
        <p:sp>
          <p:nvSpPr>
            <p:cNvPr id="72" name="Rectangle 71">
              <a:extLst>
                <a:ext uri="{FF2B5EF4-FFF2-40B4-BE49-F238E27FC236}">
                  <a16:creationId xmlns:a16="http://schemas.microsoft.com/office/drawing/2014/main" id="{F538A596-A907-4F79-8BC3-5C4039E3226F}"/>
                </a:ext>
              </a:extLst>
            </p:cNvPr>
            <p:cNvSpPr/>
            <p:nvPr/>
          </p:nvSpPr>
          <p:spPr bwMode="auto">
            <a:xfrm>
              <a:off x="4556957" y="3978758"/>
              <a:ext cx="811503" cy="736521"/>
            </a:xfrm>
            <a:prstGeom prst="rect">
              <a:avLst/>
            </a:prstGeom>
            <a:solidFill>
              <a:srgbClr val="E2E2E2"/>
            </a:solid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Market size:</a:t>
              </a:r>
            </a:p>
            <a:p>
              <a:pPr marR="0" defTabSz="361950" rtl="0" eaLnBrk="1" fontAlgn="base" latinLnBrk="0" hangingPunct="1">
                <a:lnSpc>
                  <a:spcPts val="1100"/>
                </a:lnSpc>
                <a:spcBef>
                  <a:spcPct val="0"/>
                </a:spcBef>
                <a:spcAft>
                  <a:spcPct val="0"/>
                </a:spcAft>
                <a:buClrTx/>
                <a:buSzTx/>
                <a:tabLst/>
              </a:pPr>
              <a:endParaRPr lang="en-GB" sz="700" i="1">
                <a:latin typeface="Trebuchet MS" pitchFamily="34" charset="0"/>
              </a:endParaRPr>
            </a:p>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Altares' mkt share (2019 rev.)²:</a:t>
              </a:r>
            </a:p>
          </p:txBody>
        </p:sp>
        <p:pic>
          <p:nvPicPr>
            <p:cNvPr id="73" name="Picture 2 - 2" descr="Drapeau du Luxembourg">
              <a:extLst>
                <a:ext uri="{FF2B5EF4-FFF2-40B4-BE49-F238E27FC236}">
                  <a16:creationId xmlns:a16="http://schemas.microsoft.com/office/drawing/2014/main" id="{A8186D56-3B10-4FA7-B6D0-C8296C7FB02C}"/>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583848" y="3696076"/>
              <a:ext cx="240003" cy="144000"/>
            </a:xfrm>
            <a:prstGeom prst="roundRect">
              <a:avLst/>
            </a:prstGeom>
            <a:solidFill>
              <a:schemeClr val="bg1"/>
            </a:solidFill>
            <a:ln w="9525" cap="flat" cmpd="sng" algn="ctr">
              <a:noFill/>
              <a:prstDash val="solid"/>
              <a:round/>
              <a:headEnd type="none" w="med" len="med"/>
              <a:tailEnd type="none" w="med" len="med"/>
            </a:ln>
            <a:effectLst/>
          </p:spPr>
        </p:pic>
        <p:sp>
          <p:nvSpPr>
            <p:cNvPr id="74" name="Rectangle: Rounded Corners 4">
              <a:extLst>
                <a:ext uri="{FF2B5EF4-FFF2-40B4-BE49-F238E27FC236}">
                  <a16:creationId xmlns:a16="http://schemas.microsoft.com/office/drawing/2014/main" id="{72C2AC7D-B010-43DA-8D54-4550828277C9}"/>
                </a:ext>
              </a:extLst>
            </p:cNvPr>
            <p:cNvSpPr/>
            <p:nvPr/>
          </p:nvSpPr>
          <p:spPr bwMode="auto">
            <a:xfrm>
              <a:off x="5575379" y="3656557"/>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Luxembourg</a:t>
              </a:r>
            </a:p>
          </p:txBody>
        </p:sp>
      </p:grpSp>
      <p:grpSp>
        <p:nvGrpSpPr>
          <p:cNvPr id="75" name="Groupe 74">
            <a:extLst>
              <a:ext uri="{FF2B5EF4-FFF2-40B4-BE49-F238E27FC236}">
                <a16:creationId xmlns:a16="http://schemas.microsoft.com/office/drawing/2014/main" id="{6D669C3F-1AC8-4A1E-847A-0EE9D79AA6B7}"/>
              </a:ext>
            </a:extLst>
          </p:cNvPr>
          <p:cNvGrpSpPr/>
          <p:nvPr/>
        </p:nvGrpSpPr>
        <p:grpSpPr>
          <a:xfrm>
            <a:off x="4392077" y="2244787"/>
            <a:ext cx="2431774" cy="1153024"/>
            <a:chOff x="4392077" y="2244787"/>
            <a:chExt cx="2431774" cy="1153024"/>
          </a:xfrm>
        </p:grpSpPr>
        <p:sp>
          <p:nvSpPr>
            <p:cNvPr id="76" name="Speech Bubble: Rectangle 28">
              <a:extLst>
                <a:ext uri="{FF2B5EF4-FFF2-40B4-BE49-F238E27FC236}">
                  <a16:creationId xmlns:a16="http://schemas.microsoft.com/office/drawing/2014/main" id="{26EE7C9F-0867-47D6-869D-E2B37ECDA7FC}"/>
                </a:ext>
              </a:extLst>
            </p:cNvPr>
            <p:cNvSpPr/>
            <p:nvPr/>
          </p:nvSpPr>
          <p:spPr bwMode="auto">
            <a:xfrm>
              <a:off x="4437511" y="2474533"/>
              <a:ext cx="2386340" cy="923278"/>
            </a:xfrm>
            <a:prstGeom prst="wedgeRectCallout">
              <a:avLst>
                <a:gd name="adj1" fmla="val -61287"/>
                <a:gd name="adj2" fmla="val 31748"/>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endParaRPr lang="en-GB" sz="1100">
                <a:solidFill>
                  <a:schemeClr val="tx2"/>
                </a:solidFill>
                <a:latin typeface="Trebuchet MS" panose="020B0603020202020204" pitchFamily="34" charset="0"/>
              </a:endParaRPr>
            </a:p>
          </p:txBody>
        </p:sp>
        <p:sp>
          <p:nvSpPr>
            <p:cNvPr id="77" name="Rectangle 76">
              <a:extLst>
                <a:ext uri="{FF2B5EF4-FFF2-40B4-BE49-F238E27FC236}">
                  <a16:creationId xmlns:a16="http://schemas.microsoft.com/office/drawing/2014/main" id="{34EA98DE-F635-4561-8E39-AE6458BEE8DC}"/>
                </a:ext>
              </a:extLst>
            </p:cNvPr>
            <p:cNvSpPr/>
            <p:nvPr/>
          </p:nvSpPr>
          <p:spPr bwMode="auto">
            <a:xfrm>
              <a:off x="5482669" y="2568836"/>
              <a:ext cx="1226974"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4m</a:t>
              </a:r>
            </a:p>
            <a:p>
              <a:pPr marR="0" algn="ctr" defTabSz="361950" rtl="0" eaLnBrk="1" fontAlgn="base" latinLnBrk="0" hangingPunct="1">
                <a:lnSpc>
                  <a:spcPts val="1100"/>
                </a:lnSpc>
                <a:spcBef>
                  <a:spcPct val="0"/>
                </a:spcBef>
                <a:spcAft>
                  <a:spcPct val="0"/>
                </a:spcAft>
                <a:buClrTx/>
                <a:buSzTx/>
                <a:tabLst/>
              </a:pPr>
              <a:endParaRPr lang="en-GB" sz="1050">
                <a:latin typeface="Trebuchet MS" pitchFamily="34" charset="0"/>
              </a:endParaRP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3m</a:t>
              </a: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35%</a:t>
              </a:r>
            </a:p>
          </p:txBody>
        </p:sp>
        <p:sp>
          <p:nvSpPr>
            <p:cNvPr id="78" name="Rectangle 77">
              <a:extLst>
                <a:ext uri="{FF2B5EF4-FFF2-40B4-BE49-F238E27FC236}">
                  <a16:creationId xmlns:a16="http://schemas.microsoft.com/office/drawing/2014/main" id="{388218A8-3346-4922-B0B8-9A0CDE9DCAEA}"/>
                </a:ext>
              </a:extLst>
            </p:cNvPr>
            <p:cNvSpPr/>
            <p:nvPr/>
          </p:nvSpPr>
          <p:spPr bwMode="auto">
            <a:xfrm>
              <a:off x="4556957" y="2566988"/>
              <a:ext cx="811503" cy="736521"/>
            </a:xfrm>
            <a:prstGeom prst="rect">
              <a:avLst/>
            </a:prstGeom>
            <a:solidFill>
              <a:srgbClr val="E2E2E2"/>
            </a:solid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Market size:</a:t>
              </a:r>
            </a:p>
            <a:p>
              <a:pPr marR="0" defTabSz="361950" rtl="0" eaLnBrk="1" fontAlgn="base" latinLnBrk="0" hangingPunct="1">
                <a:lnSpc>
                  <a:spcPts val="1100"/>
                </a:lnSpc>
                <a:spcBef>
                  <a:spcPct val="0"/>
                </a:spcBef>
                <a:spcAft>
                  <a:spcPct val="0"/>
                </a:spcAft>
                <a:buClrTx/>
                <a:buSzTx/>
                <a:tabLst/>
              </a:pPr>
              <a:endParaRPr lang="en-GB" sz="700" i="1">
                <a:latin typeface="Trebuchet MS" pitchFamily="34" charset="0"/>
              </a:endParaRPr>
            </a:p>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Altares' mkt share (2019 rev.)²:</a:t>
              </a:r>
            </a:p>
          </p:txBody>
        </p:sp>
        <p:pic>
          <p:nvPicPr>
            <p:cNvPr id="79" name="Picture 2" descr="5 ft x 3 ft 150 x 90 cm-DRAPEAU BELGE Belgique 100% Polyester ...">
              <a:extLst>
                <a:ext uri="{FF2B5EF4-FFF2-40B4-BE49-F238E27FC236}">
                  <a16:creationId xmlns:a16="http://schemas.microsoft.com/office/drawing/2014/main" id="{5F3F72DA-6C4D-40C3-B1E4-6413CCB306E4}"/>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4431717" y="2282953"/>
              <a:ext cx="238896"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80" name="Rectangle: Rounded Corners 4">
              <a:extLst>
                <a:ext uri="{FF2B5EF4-FFF2-40B4-BE49-F238E27FC236}">
                  <a16:creationId xmlns:a16="http://schemas.microsoft.com/office/drawing/2014/main" id="{FEFE0F27-1EA5-4CCE-9F13-DCAE8027ABED}"/>
                </a:ext>
              </a:extLst>
            </p:cNvPr>
            <p:cNvSpPr/>
            <p:nvPr/>
          </p:nvSpPr>
          <p:spPr bwMode="auto">
            <a:xfrm>
              <a:off x="4392077" y="2244787"/>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Belgium</a:t>
              </a:r>
            </a:p>
          </p:txBody>
        </p:sp>
      </p:grpSp>
      <p:sp>
        <p:nvSpPr>
          <p:cNvPr id="85" name="Rectangle 84">
            <a:extLst>
              <a:ext uri="{FF2B5EF4-FFF2-40B4-BE49-F238E27FC236}">
                <a16:creationId xmlns:a16="http://schemas.microsoft.com/office/drawing/2014/main" id="{B8FD6C57-6B26-4D03-BEED-78C382D632FB}"/>
              </a:ext>
            </a:extLst>
          </p:cNvPr>
          <p:cNvSpPr/>
          <p:nvPr/>
        </p:nvSpPr>
        <p:spPr bwMode="auto">
          <a:xfrm>
            <a:off x="7097624" y="5225060"/>
            <a:ext cx="2542133" cy="1218638"/>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36000" tIns="144000" rIns="36000" bIns="36000" numCol="1" rtlCol="0" anchor="ctr" anchorCtr="0" compatLnSpc="1">
            <a:prstTxWarp prst="textNoShape">
              <a:avLst/>
            </a:prstTxWarp>
          </a:bodyPr>
          <a:lstStyle/>
          <a:p>
            <a:pPr>
              <a:lnSpc>
                <a:spcPts val="1100"/>
              </a:lnSpc>
            </a:pPr>
            <a:r>
              <a:rPr lang="en-GB" sz="1000" i="1" spc="-30">
                <a:latin typeface="Trebuchet MS" panose="020B0603020202020204" pitchFamily="34" charset="0"/>
              </a:rPr>
              <a:t>“</a:t>
            </a:r>
            <a:r>
              <a:rPr lang="en-GB" sz="1000" i="1" spc="-30">
                <a:solidFill>
                  <a:schemeClr val="tx2"/>
                </a:solidFill>
                <a:latin typeface="Trebuchet MS" panose="020B0603020202020204" pitchFamily="34" charset="0"/>
              </a:rPr>
              <a:t>Large</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corporates</a:t>
            </a:r>
            <a:r>
              <a:rPr lang="en-GB" sz="1000" i="1" spc="-30">
                <a:latin typeface="Trebuchet MS" panose="020B0603020202020204" pitchFamily="34" charset="0"/>
              </a:rPr>
              <a:t> are often </a:t>
            </a:r>
            <a:r>
              <a:rPr lang="en-GB" sz="1000" i="1" spc="-30">
                <a:solidFill>
                  <a:schemeClr val="tx2"/>
                </a:solidFill>
                <a:latin typeface="Trebuchet MS" panose="020B0603020202020204" pitchFamily="34" charset="0"/>
              </a:rPr>
              <a:t>ahead</a:t>
            </a:r>
            <a:r>
              <a:rPr lang="en-GB" sz="1000" i="1" spc="-30">
                <a:latin typeface="Trebuchet MS" panose="020B0603020202020204" pitchFamily="34" charset="0"/>
              </a:rPr>
              <a:t> in the compliance process although loopholes exist in their subsidiaries. Globally, </a:t>
            </a:r>
            <a:r>
              <a:rPr lang="en-GB" sz="1000" i="1" spc="-30">
                <a:solidFill>
                  <a:schemeClr val="tx2"/>
                </a:solidFill>
                <a:latin typeface="Trebuchet MS" panose="020B0603020202020204" pitchFamily="34" charset="0"/>
              </a:rPr>
              <a:t>Mid-size</a:t>
            </a:r>
            <a:r>
              <a:rPr lang="en-GB" sz="1000" i="1" spc="-30">
                <a:latin typeface="Trebuchet MS" panose="020B0603020202020204" pitchFamily="34" charset="0"/>
              </a:rPr>
              <a:t> companies are still far </a:t>
            </a:r>
            <a:r>
              <a:rPr lang="en-GB" sz="1000" i="1" spc="-30">
                <a:solidFill>
                  <a:schemeClr val="tx2"/>
                </a:solidFill>
                <a:latin typeface="Trebuchet MS" panose="020B0603020202020204" pitchFamily="34" charset="0"/>
              </a:rPr>
              <a:t>behind</a:t>
            </a:r>
            <a:r>
              <a:rPr lang="en-GB" sz="1000" i="1" spc="-30">
                <a:latin typeface="Trebuchet MS" panose="020B0603020202020204" pitchFamily="34" charset="0"/>
              </a:rPr>
              <a:t> in terms of </a:t>
            </a:r>
            <a:r>
              <a:rPr lang="en-GB" sz="1000" i="1" spc="-30">
                <a:solidFill>
                  <a:schemeClr val="tx2"/>
                </a:solidFill>
                <a:latin typeface="Trebuchet MS" panose="020B0603020202020204" pitchFamily="34" charset="0"/>
              </a:rPr>
              <a:t>compliance</a:t>
            </a:r>
            <a:r>
              <a:rPr lang="en-GB" sz="1000" i="1" spc="-30">
                <a:latin typeface="Trebuchet MS" panose="020B0603020202020204" pitchFamily="34" charset="0"/>
              </a:rPr>
              <a:t>”</a:t>
            </a:r>
          </a:p>
          <a:p>
            <a:pPr>
              <a:lnSpc>
                <a:spcPts val="1100"/>
              </a:lnSpc>
            </a:pPr>
            <a:endParaRPr lang="en-GB" sz="1000" i="1" spc="-30">
              <a:latin typeface="Trebuchet MS" panose="020B0603020202020204" pitchFamily="34" charset="0"/>
            </a:endParaRPr>
          </a:p>
          <a:p>
            <a:pPr>
              <a:lnSpc>
                <a:spcPts val="1100"/>
              </a:lnSpc>
            </a:pPr>
            <a:r>
              <a:rPr lang="en-GB" sz="1000" spc="-30">
                <a:latin typeface="Trebuchet MS" panose="020B0603020202020204" pitchFamily="34" charset="0"/>
              </a:rPr>
              <a:t>Legal &amp; Compliance Director, ABL Europe</a:t>
            </a:r>
          </a:p>
        </p:txBody>
      </p:sp>
      <p:sp>
        <p:nvSpPr>
          <p:cNvPr id="86" name="Freeform 663">
            <a:extLst>
              <a:ext uri="{FF2B5EF4-FFF2-40B4-BE49-F238E27FC236}">
                <a16:creationId xmlns:a16="http://schemas.microsoft.com/office/drawing/2014/main" id="{2748DDEA-25F8-4912-9D76-99245B00F427}"/>
              </a:ext>
            </a:extLst>
          </p:cNvPr>
          <p:cNvSpPr>
            <a:spLocks noEditPoints="1"/>
          </p:cNvSpPr>
          <p:nvPr/>
        </p:nvSpPr>
        <p:spPr bwMode="auto">
          <a:xfrm>
            <a:off x="8237154" y="5101105"/>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nvGrpSpPr>
          <p:cNvPr id="87" name="Groupe 21">
            <a:extLst>
              <a:ext uri="{FF2B5EF4-FFF2-40B4-BE49-F238E27FC236}">
                <a16:creationId xmlns:a16="http://schemas.microsoft.com/office/drawing/2014/main" id="{F0507AD9-4D71-4806-8B77-2D86E05D95A2}"/>
              </a:ext>
            </a:extLst>
          </p:cNvPr>
          <p:cNvGrpSpPr/>
          <p:nvPr/>
        </p:nvGrpSpPr>
        <p:grpSpPr>
          <a:xfrm>
            <a:off x="9434105" y="2672469"/>
            <a:ext cx="451426" cy="455941"/>
            <a:chOff x="195390" y="5861727"/>
            <a:chExt cx="335805" cy="335805"/>
          </a:xfrm>
        </p:grpSpPr>
        <p:sp>
          <p:nvSpPr>
            <p:cNvPr id="88" name="Ellipse 22">
              <a:extLst>
                <a:ext uri="{FF2B5EF4-FFF2-40B4-BE49-F238E27FC236}">
                  <a16:creationId xmlns:a16="http://schemas.microsoft.com/office/drawing/2014/main" id="{AA267F3C-5866-4EA4-BDB9-9148CB2C07F8}"/>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89" name="Group 5">
              <a:extLst>
                <a:ext uri="{FF2B5EF4-FFF2-40B4-BE49-F238E27FC236}">
                  <a16:creationId xmlns:a16="http://schemas.microsoft.com/office/drawing/2014/main" id="{BE69FE5B-FCC6-4BE9-B12F-4C99562BB3EF}"/>
                </a:ext>
              </a:extLst>
            </p:cNvPr>
            <p:cNvGrpSpPr>
              <a:grpSpLocks noChangeAspect="1"/>
            </p:cNvGrpSpPr>
            <p:nvPr/>
          </p:nvGrpSpPr>
          <p:grpSpPr bwMode="auto">
            <a:xfrm>
              <a:off x="249663" y="5915997"/>
              <a:ext cx="227258" cy="227255"/>
              <a:chOff x="788" y="800"/>
              <a:chExt cx="742" cy="742"/>
            </a:xfrm>
            <a:solidFill>
              <a:schemeClr val="tx2"/>
            </a:solidFill>
          </p:grpSpPr>
          <p:sp>
            <p:nvSpPr>
              <p:cNvPr id="90" name="Freeform 6">
                <a:extLst>
                  <a:ext uri="{FF2B5EF4-FFF2-40B4-BE49-F238E27FC236}">
                    <a16:creationId xmlns:a16="http://schemas.microsoft.com/office/drawing/2014/main" id="{14D770E2-3766-4A37-8EAD-38CF0C9F1DDB}"/>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1" name="Freeform 7">
                <a:extLst>
                  <a:ext uri="{FF2B5EF4-FFF2-40B4-BE49-F238E27FC236}">
                    <a16:creationId xmlns:a16="http://schemas.microsoft.com/office/drawing/2014/main" id="{230F6DA0-7BF8-4887-9E6B-971F2905D91E}"/>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2" name="Freeform 8">
                <a:extLst>
                  <a:ext uri="{FF2B5EF4-FFF2-40B4-BE49-F238E27FC236}">
                    <a16:creationId xmlns:a16="http://schemas.microsoft.com/office/drawing/2014/main" id="{8B6D5DC8-DC03-41D9-840C-8DE2DB428658}"/>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3" name="Freeform 9">
                <a:extLst>
                  <a:ext uri="{FF2B5EF4-FFF2-40B4-BE49-F238E27FC236}">
                    <a16:creationId xmlns:a16="http://schemas.microsoft.com/office/drawing/2014/main" id="{22F40736-0D6D-477F-BC3E-3DC77B2957EF}"/>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4" name="Freeform 10">
                <a:extLst>
                  <a:ext uri="{FF2B5EF4-FFF2-40B4-BE49-F238E27FC236}">
                    <a16:creationId xmlns:a16="http://schemas.microsoft.com/office/drawing/2014/main" id="{97D7A963-7201-4BFE-A3C1-94E10314FD90}"/>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5" name="Freeform 11">
                <a:extLst>
                  <a:ext uri="{FF2B5EF4-FFF2-40B4-BE49-F238E27FC236}">
                    <a16:creationId xmlns:a16="http://schemas.microsoft.com/office/drawing/2014/main" id="{4E544DED-A717-4D93-936E-B83B85065DF9}"/>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6" name="Freeform 12">
                <a:extLst>
                  <a:ext uri="{FF2B5EF4-FFF2-40B4-BE49-F238E27FC236}">
                    <a16:creationId xmlns:a16="http://schemas.microsoft.com/office/drawing/2014/main" id="{9786B6DF-A69C-4A02-B23E-4C06294F4D09}"/>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spTree>
    <p:extLst>
      <p:ext uri="{BB962C8B-B14F-4D97-AF65-F5344CB8AC3E}">
        <p14:creationId xmlns:p14="http://schemas.microsoft.com/office/powerpoint/2010/main" val="1360834780"/>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24DAE8D-AA12-4DBB-8CA0-11844F1B4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5" name="Objet 4" hidden="1">
                        <a:extLst>
                          <a:ext uri="{FF2B5EF4-FFF2-40B4-BE49-F238E27FC236}">
                            <a16:creationId xmlns:a16="http://schemas.microsoft.com/office/drawing/2014/main" id="{024DAE8D-AA12-4DBB-8CA0-11844F1B4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97007AF-84BE-44B3-8B54-7987D3018C1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21343F75-1634-4FC0-8DE8-1491F1BBCE8F}"/>
              </a:ext>
            </a:extLst>
          </p:cNvPr>
          <p:cNvSpPr>
            <a:spLocks noGrp="1"/>
          </p:cNvSpPr>
          <p:nvPr>
            <p:ph type="title"/>
          </p:nvPr>
        </p:nvSpPr>
        <p:spPr>
          <a:xfrm>
            <a:off x="165600" y="147600"/>
            <a:ext cx="8227257" cy="684000"/>
          </a:xfrm>
        </p:spPr>
        <p:txBody>
          <a:bodyPr/>
          <a:lstStyle/>
          <a:p>
            <a:r>
              <a:rPr lang="en-GB">
                <a:latin typeface="Trebuchet MS" panose="020B0603020202020204" pitchFamily="34" charset="0"/>
              </a:rPr>
              <a:t>The compliance market is divided into 3 distinct segments (</a:t>
            </a:r>
            <a:r>
              <a:rPr lang="en-GB">
                <a:solidFill>
                  <a:schemeClr val="tx2"/>
                </a:solidFill>
                <a:latin typeface="Trebuchet MS" panose="020B0603020202020204" pitchFamily="34" charset="0"/>
              </a:rPr>
              <a:t>anti-corruption</a:t>
            </a:r>
            <a:r>
              <a:rPr lang="en-GB">
                <a:latin typeface="Trebuchet MS" panose="020B0603020202020204" pitchFamily="34" charset="0"/>
              </a:rPr>
              <a:t>, </a:t>
            </a:r>
            <a:r>
              <a:rPr lang="en-GB">
                <a:solidFill>
                  <a:schemeClr val="tx2"/>
                </a:solidFill>
                <a:latin typeface="Trebuchet MS" panose="020B0603020202020204" pitchFamily="34" charset="0"/>
              </a:rPr>
              <a:t>anti-money</a:t>
            </a:r>
            <a:r>
              <a:rPr lang="en-GB">
                <a:latin typeface="Trebuchet MS" panose="020B0603020202020204" pitchFamily="34" charset="0"/>
              </a:rPr>
              <a:t> </a:t>
            </a:r>
            <a:r>
              <a:rPr lang="en-GB">
                <a:solidFill>
                  <a:schemeClr val="tx2"/>
                </a:solidFill>
                <a:latin typeface="Trebuchet MS" panose="020B0603020202020204" pitchFamily="34" charset="0"/>
              </a:rPr>
              <a:t>laundering</a:t>
            </a:r>
            <a:r>
              <a:rPr lang="en-GB">
                <a:latin typeface="Trebuchet MS" panose="020B0603020202020204" pitchFamily="34" charset="0"/>
              </a:rPr>
              <a:t> and </a:t>
            </a:r>
            <a:r>
              <a:rPr lang="en-GB">
                <a:solidFill>
                  <a:schemeClr val="tx2"/>
                </a:solidFill>
                <a:latin typeface="Trebuchet MS" panose="020B0603020202020204" pitchFamily="34" charset="0"/>
              </a:rPr>
              <a:t>market</a:t>
            </a:r>
            <a:r>
              <a:rPr lang="en-GB">
                <a:latin typeface="Trebuchet MS" panose="020B0603020202020204" pitchFamily="34" charset="0"/>
              </a:rPr>
              <a:t> </a:t>
            </a:r>
            <a:r>
              <a:rPr lang="en-GB">
                <a:solidFill>
                  <a:schemeClr val="tx2"/>
                </a:solidFill>
                <a:latin typeface="Trebuchet MS" panose="020B0603020202020204" pitchFamily="34" charset="0"/>
              </a:rPr>
              <a:t>regulatory</a:t>
            </a:r>
            <a:r>
              <a:rPr lang="en-GB">
                <a:latin typeface="Trebuchet MS" panose="020B0603020202020204" pitchFamily="34" charset="0"/>
              </a:rPr>
              <a:t> compliance) with different dynamics in terms of </a:t>
            </a:r>
            <a:r>
              <a:rPr lang="en-GB">
                <a:solidFill>
                  <a:schemeClr val="tx2"/>
                </a:solidFill>
                <a:latin typeface="Trebuchet MS" panose="020B0603020202020204" pitchFamily="34" charset="0"/>
              </a:rPr>
              <a:t>data</a:t>
            </a:r>
            <a:r>
              <a:rPr lang="en-GB">
                <a:latin typeface="Trebuchet MS" panose="020B0603020202020204" pitchFamily="34" charset="0"/>
              </a:rPr>
              <a:t> </a:t>
            </a:r>
            <a:r>
              <a:rPr lang="en-GB">
                <a:solidFill>
                  <a:schemeClr val="tx2"/>
                </a:solidFill>
                <a:latin typeface="Trebuchet MS" panose="020B0603020202020204" pitchFamily="34" charset="0"/>
              </a:rPr>
              <a:t>volumes</a:t>
            </a:r>
            <a:r>
              <a:rPr lang="en-GB">
                <a:latin typeface="Trebuchet MS" panose="020B0603020202020204" pitchFamily="34" charset="0"/>
              </a:rPr>
              <a:t> and </a:t>
            </a:r>
            <a:r>
              <a:rPr lang="en-GB">
                <a:solidFill>
                  <a:schemeClr val="tx2"/>
                </a:solidFill>
                <a:latin typeface="Trebuchet MS" panose="020B0603020202020204" pitchFamily="34" charset="0"/>
              </a:rPr>
              <a:t>information</a:t>
            </a:r>
            <a:r>
              <a:rPr lang="en-GB">
                <a:latin typeface="Trebuchet MS" panose="020B0603020202020204" pitchFamily="34" charset="0"/>
              </a:rPr>
              <a:t> </a:t>
            </a:r>
            <a:r>
              <a:rPr lang="en-GB">
                <a:solidFill>
                  <a:schemeClr val="tx2"/>
                </a:solidFill>
                <a:latin typeface="Trebuchet MS" panose="020B0603020202020204" pitchFamily="34" charset="0"/>
              </a:rPr>
              <a:t>processing</a:t>
            </a:r>
            <a:r>
              <a:rPr lang="en-GB">
                <a:latin typeface="Trebuchet MS" panose="020B0603020202020204" pitchFamily="34" charset="0"/>
              </a:rPr>
              <a:t> </a:t>
            </a:r>
            <a:r>
              <a:rPr lang="en-GB">
                <a:solidFill>
                  <a:schemeClr val="tx2"/>
                </a:solidFill>
                <a:latin typeface="Trebuchet MS" panose="020B0603020202020204" pitchFamily="34" charset="0"/>
              </a:rPr>
              <a:t>timeframes</a:t>
            </a:r>
          </a:p>
        </p:txBody>
      </p:sp>
      <p:sp>
        <p:nvSpPr>
          <p:cNvPr id="3" name="Espace réservé du texte 2">
            <a:extLst>
              <a:ext uri="{FF2B5EF4-FFF2-40B4-BE49-F238E27FC236}">
                <a16:creationId xmlns:a16="http://schemas.microsoft.com/office/drawing/2014/main" id="{AB991B0C-4759-4912-BA1F-94D2648EE44B}"/>
              </a:ext>
            </a:extLst>
          </p:cNvPr>
          <p:cNvSpPr>
            <a:spLocks noGrp="1"/>
          </p:cNvSpPr>
          <p:nvPr>
            <p:ph type="body" sz="quarter" idx="10"/>
          </p:nvPr>
        </p:nvSpPr>
        <p:spPr/>
        <p:txBody>
          <a:bodyPr/>
          <a:lstStyle/>
          <a:p>
            <a:r>
              <a:rPr lang="en-GB"/>
              <a:t>Sources: eleven research &amp; analysis, expert calls, European commission</a:t>
            </a:r>
          </a:p>
        </p:txBody>
      </p:sp>
      <p:cxnSp>
        <p:nvCxnSpPr>
          <p:cNvPr id="6" name="Connecteur droit 5">
            <a:extLst>
              <a:ext uri="{FF2B5EF4-FFF2-40B4-BE49-F238E27FC236}">
                <a16:creationId xmlns:a16="http://schemas.microsoft.com/office/drawing/2014/main" id="{3634D0F7-FD11-4451-A70B-0832FE88B82A}"/>
              </a:ext>
            </a:extLst>
          </p:cNvPr>
          <p:cNvCxnSpPr>
            <a:cxnSpLocks/>
          </p:cNvCxnSpPr>
          <p:nvPr/>
        </p:nvCxnSpPr>
        <p:spPr bwMode="auto">
          <a:xfrm>
            <a:off x="230819" y="1267582"/>
            <a:ext cx="941568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7" name="Rectangle 84">
            <a:extLst>
              <a:ext uri="{FF2B5EF4-FFF2-40B4-BE49-F238E27FC236}">
                <a16:creationId xmlns:a16="http://schemas.microsoft.com/office/drawing/2014/main" id="{767C2802-91B5-4B33-9841-92779640D7EF}"/>
              </a:ext>
            </a:extLst>
          </p:cNvPr>
          <p:cNvSpPr/>
          <p:nvPr/>
        </p:nvSpPr>
        <p:spPr bwMode="auto">
          <a:xfrm>
            <a:off x="2170091" y="1131567"/>
            <a:ext cx="5537144" cy="24579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defRPr/>
            </a:pPr>
            <a:r>
              <a:rPr lang="en-GB" sz="1100">
                <a:latin typeface="Trebuchet MS" panose="020B0603020202020204" pitchFamily="34" charset="0"/>
              </a:rPr>
              <a:t>Overview of the three main compliance market’s underlying segments</a:t>
            </a:r>
          </a:p>
        </p:txBody>
      </p:sp>
      <p:grpSp>
        <p:nvGrpSpPr>
          <p:cNvPr id="8" name="Groupe 7">
            <a:extLst>
              <a:ext uri="{FF2B5EF4-FFF2-40B4-BE49-F238E27FC236}">
                <a16:creationId xmlns:a16="http://schemas.microsoft.com/office/drawing/2014/main" id="{7CCB6FFE-E431-471F-8FDD-77CA6BD76E8E}"/>
              </a:ext>
            </a:extLst>
          </p:cNvPr>
          <p:cNvGrpSpPr/>
          <p:nvPr/>
        </p:nvGrpSpPr>
        <p:grpSpPr>
          <a:xfrm>
            <a:off x="8448150" y="-11528"/>
            <a:ext cx="1435548" cy="588143"/>
            <a:chOff x="8448150" y="-11528"/>
            <a:chExt cx="1435548" cy="588143"/>
          </a:xfrm>
        </p:grpSpPr>
        <p:grpSp>
          <p:nvGrpSpPr>
            <p:cNvPr id="9" name="Groupe 8">
              <a:extLst>
                <a:ext uri="{FF2B5EF4-FFF2-40B4-BE49-F238E27FC236}">
                  <a16:creationId xmlns:a16="http://schemas.microsoft.com/office/drawing/2014/main" id="{97959A22-9D71-49FD-B4EC-81474DC46552}"/>
                </a:ext>
              </a:extLst>
            </p:cNvPr>
            <p:cNvGrpSpPr/>
            <p:nvPr/>
          </p:nvGrpSpPr>
          <p:grpSpPr>
            <a:xfrm>
              <a:off x="8448150" y="-11528"/>
              <a:ext cx="1435548" cy="555653"/>
              <a:chOff x="8448150" y="-11528"/>
              <a:chExt cx="1435548" cy="555653"/>
            </a:xfrm>
          </p:grpSpPr>
          <p:sp>
            <p:nvSpPr>
              <p:cNvPr id="11" name="Rectangle : coins arrondis 199">
                <a:extLst>
                  <a:ext uri="{FF2B5EF4-FFF2-40B4-BE49-F238E27FC236}">
                    <a16:creationId xmlns:a16="http://schemas.microsoft.com/office/drawing/2014/main" id="{2D2C1ABD-5F6F-40FC-98DE-FA6A4348A8D2}"/>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 name="Rectangle : coins arrondis 200">
                <a:extLst>
                  <a:ext uri="{FF2B5EF4-FFF2-40B4-BE49-F238E27FC236}">
                    <a16:creationId xmlns:a16="http://schemas.microsoft.com/office/drawing/2014/main" id="{E1625D14-1F12-4C31-B39A-30BE52A5968F}"/>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 name="Rectangle : coins arrondis 201">
                <a:extLst>
                  <a:ext uri="{FF2B5EF4-FFF2-40B4-BE49-F238E27FC236}">
                    <a16:creationId xmlns:a16="http://schemas.microsoft.com/office/drawing/2014/main" id="{23261024-6A94-4D52-8F0C-B36238D997F7}"/>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 name="ZoneTexte 18">
                <a:extLst>
                  <a:ext uri="{FF2B5EF4-FFF2-40B4-BE49-F238E27FC236}">
                    <a16:creationId xmlns:a16="http://schemas.microsoft.com/office/drawing/2014/main" id="{26D7BD10-6E7D-48A5-9BDD-549E23D6426A}"/>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5" name="Graphique 128" descr="Jauge">
                <a:extLst>
                  <a:ext uri="{FF2B5EF4-FFF2-40B4-BE49-F238E27FC236}">
                    <a16:creationId xmlns:a16="http://schemas.microsoft.com/office/drawing/2014/main" id="{A4A113E1-6FC5-4680-98D7-492564C8466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16" name="Graphique 90" descr="Poignée de main">
                <a:extLst>
                  <a:ext uri="{FF2B5EF4-FFF2-40B4-BE49-F238E27FC236}">
                    <a16:creationId xmlns:a16="http://schemas.microsoft.com/office/drawing/2014/main" id="{BE38AEA5-DF39-4B9E-800C-F4A8C6E9667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17" name="Graphique 74" descr="Mégaphone">
                <a:extLst>
                  <a:ext uri="{FF2B5EF4-FFF2-40B4-BE49-F238E27FC236}">
                    <a16:creationId xmlns:a16="http://schemas.microsoft.com/office/drawing/2014/main" id="{C0522CB6-0FDB-449A-BB75-5F464C3B61F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18" name="Picture 2" descr="Drapeau France">
                <a:extLst>
                  <a:ext uri="{FF2B5EF4-FFF2-40B4-BE49-F238E27FC236}">
                    <a16:creationId xmlns:a16="http://schemas.microsoft.com/office/drawing/2014/main" id="{55D66D47-86AE-43E8-90D2-0B16DF51FA98}"/>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9" name="Picture 2" descr="5 ft x 3 ft 150 x 90 cm-DRAPEAU BELGE Belgique 100% Polyester ...">
                <a:extLst>
                  <a:ext uri="{FF2B5EF4-FFF2-40B4-BE49-F238E27FC236}">
                    <a16:creationId xmlns:a16="http://schemas.microsoft.com/office/drawing/2014/main" id="{D27C95C2-E7F4-4D8E-99B2-E83FE7F3DF10}"/>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20" name="Picture 2 - 1" descr="Drapeau des Pays-Bas — Wikipédia">
                <a:extLst>
                  <a:ext uri="{FF2B5EF4-FFF2-40B4-BE49-F238E27FC236}">
                    <a16:creationId xmlns:a16="http://schemas.microsoft.com/office/drawing/2014/main" id="{C2F861D3-E2E1-42F3-9221-6ABA3FD9CC4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21" name="Picture 2 - 2" descr="Drapeau du Luxembourg">
                <a:extLst>
                  <a:ext uri="{FF2B5EF4-FFF2-40B4-BE49-F238E27FC236}">
                    <a16:creationId xmlns:a16="http://schemas.microsoft.com/office/drawing/2014/main" id="{ABA2CFA2-1A75-40BB-975A-815D704D625E}"/>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10" name="ZoneTexte 18">
              <a:extLst>
                <a:ext uri="{FF2B5EF4-FFF2-40B4-BE49-F238E27FC236}">
                  <a16:creationId xmlns:a16="http://schemas.microsoft.com/office/drawing/2014/main" id="{EC204460-32BD-4A29-A60E-314EDAD0D25F}"/>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sp>
        <p:nvSpPr>
          <p:cNvPr id="22" name="Rectangle 21">
            <a:extLst>
              <a:ext uri="{FF2B5EF4-FFF2-40B4-BE49-F238E27FC236}">
                <a16:creationId xmlns:a16="http://schemas.microsoft.com/office/drawing/2014/main" id="{717DC137-0221-4969-8A85-BFDC3C732AE6}"/>
              </a:ext>
            </a:extLst>
          </p:cNvPr>
          <p:cNvSpPr/>
          <p:nvPr/>
        </p:nvSpPr>
        <p:spPr bwMode="auto">
          <a:xfrm>
            <a:off x="776362" y="1513373"/>
            <a:ext cx="2977375" cy="523246"/>
          </a:xfrm>
          <a:prstGeom prst="rect">
            <a:avLst/>
          </a:prstGeom>
          <a:noFill/>
          <a:ln w="9525" cap="flat" cmpd="sng" algn="ctr">
            <a:solidFill>
              <a:schemeClr val="accent1">
                <a:lumMod val="75000"/>
              </a:schemeClr>
            </a:solidFill>
            <a:prstDash val="solid"/>
            <a:round/>
            <a:headEnd type="none" w="med" len="med"/>
            <a:tailEnd type="none" w="med" len="med"/>
          </a:ln>
          <a:effectLst/>
        </p:spPr>
        <p:txBody>
          <a:bodyPr vert="horz" wrap="square" lIns="216000" tIns="45720" rIns="0" bIns="45720" numCol="1" rtlCol="0" anchor="ctr" anchorCtr="0" compatLnSpc="1">
            <a:prstTxWarp prst="textNoShape">
              <a:avLst/>
            </a:prstTxWarp>
          </a:bodyPr>
          <a:lstStyle/>
          <a:p>
            <a:pPr algn="ctr"/>
            <a:r>
              <a:rPr lang="en-GB" sz="1100" b="1">
                <a:solidFill>
                  <a:schemeClr val="accent1">
                    <a:lumMod val="75000"/>
                  </a:schemeClr>
                </a:solidFill>
                <a:latin typeface="Trebuchet MS" panose="020B0603020202020204" pitchFamily="34" charset="0"/>
              </a:rPr>
              <a:t>Anti-corruption</a:t>
            </a:r>
          </a:p>
        </p:txBody>
      </p:sp>
      <p:sp>
        <p:nvSpPr>
          <p:cNvPr id="23" name="Rectangle 22">
            <a:extLst>
              <a:ext uri="{FF2B5EF4-FFF2-40B4-BE49-F238E27FC236}">
                <a16:creationId xmlns:a16="http://schemas.microsoft.com/office/drawing/2014/main" id="{E88123E5-EFF7-472C-A50B-2FA74413C0F6}"/>
              </a:ext>
            </a:extLst>
          </p:cNvPr>
          <p:cNvSpPr/>
          <p:nvPr/>
        </p:nvSpPr>
        <p:spPr bwMode="auto">
          <a:xfrm>
            <a:off x="4681952" y="1513373"/>
            <a:ext cx="2977375" cy="523246"/>
          </a:xfrm>
          <a:prstGeom prst="rect">
            <a:avLst/>
          </a:prstGeom>
          <a:noFill/>
          <a:ln w="9525" cap="flat" cmpd="sng" algn="ctr">
            <a:solidFill>
              <a:schemeClr val="accent1">
                <a:lumMod val="75000"/>
              </a:schemeClr>
            </a:solidFill>
            <a:prstDash val="solid"/>
            <a:round/>
            <a:headEnd type="none" w="med" len="med"/>
            <a:tailEnd type="none" w="med" len="med"/>
          </a:ln>
          <a:effectLst/>
        </p:spPr>
        <p:txBody>
          <a:bodyPr vert="horz" wrap="square" lIns="216000" tIns="45720" rIns="0" bIns="45720" numCol="1" rtlCol="0" anchor="ctr" anchorCtr="0" compatLnSpc="1">
            <a:prstTxWarp prst="textNoShape">
              <a:avLst/>
            </a:prstTxWarp>
          </a:bodyPr>
          <a:lstStyle/>
          <a:p>
            <a:pPr algn="ctr"/>
            <a:r>
              <a:rPr lang="en-GB" sz="1100" b="1">
                <a:solidFill>
                  <a:schemeClr val="accent1">
                    <a:lumMod val="75000"/>
                  </a:schemeClr>
                </a:solidFill>
                <a:latin typeface="Trebuchet MS" panose="020B0603020202020204" pitchFamily="34" charset="0"/>
              </a:rPr>
              <a:t> Anti-money laundering</a:t>
            </a:r>
          </a:p>
        </p:txBody>
      </p:sp>
      <p:sp>
        <p:nvSpPr>
          <p:cNvPr id="24" name="Rectangle 23">
            <a:extLst>
              <a:ext uri="{FF2B5EF4-FFF2-40B4-BE49-F238E27FC236}">
                <a16:creationId xmlns:a16="http://schemas.microsoft.com/office/drawing/2014/main" id="{B21C688A-2F91-4A20-A41B-BDEAE3C6598A}"/>
              </a:ext>
            </a:extLst>
          </p:cNvPr>
          <p:cNvSpPr/>
          <p:nvPr/>
        </p:nvSpPr>
        <p:spPr bwMode="auto">
          <a:xfrm>
            <a:off x="7881622" y="1513373"/>
            <a:ext cx="1764886" cy="523246"/>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square" lIns="216000" tIns="45720" rIns="0" bIns="45720" numCol="1" rtlCol="0" anchor="ctr" anchorCtr="0" compatLnSpc="1">
            <a:prstTxWarp prst="textNoShape">
              <a:avLst/>
            </a:prstTxWarp>
          </a:bodyPr>
          <a:lstStyle/>
          <a:p>
            <a:pPr algn="ctr"/>
            <a:r>
              <a:rPr lang="en-GB" sz="1100" b="1">
                <a:latin typeface="Trebuchet MS" panose="020B0603020202020204" pitchFamily="34" charset="0"/>
              </a:rPr>
              <a:t>Market regulatory compliance</a:t>
            </a:r>
          </a:p>
        </p:txBody>
      </p:sp>
      <p:pic>
        <p:nvPicPr>
          <p:cNvPr id="25" name="Graphique 24" descr="Argent volant">
            <a:extLst>
              <a:ext uri="{FF2B5EF4-FFF2-40B4-BE49-F238E27FC236}">
                <a16:creationId xmlns:a16="http://schemas.microsoft.com/office/drawing/2014/main" id="{FF1C8F93-CA7D-463C-B783-F727AFBF6F4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170257" y="1638446"/>
            <a:ext cx="334759" cy="314046"/>
          </a:xfrm>
          <a:prstGeom prst="rect">
            <a:avLst/>
          </a:prstGeom>
        </p:spPr>
      </p:pic>
      <p:grpSp>
        <p:nvGrpSpPr>
          <p:cNvPr id="26" name="Groupe 25">
            <a:extLst>
              <a:ext uri="{FF2B5EF4-FFF2-40B4-BE49-F238E27FC236}">
                <a16:creationId xmlns:a16="http://schemas.microsoft.com/office/drawing/2014/main" id="{A059B2D6-E1B8-4EA4-9B5B-8EB54DFF20C8}"/>
              </a:ext>
            </a:extLst>
          </p:cNvPr>
          <p:cNvGrpSpPr/>
          <p:nvPr/>
        </p:nvGrpSpPr>
        <p:grpSpPr>
          <a:xfrm>
            <a:off x="1394174" y="1606790"/>
            <a:ext cx="376632" cy="382877"/>
            <a:chOff x="10655921" y="3792390"/>
            <a:chExt cx="914400" cy="1075485"/>
          </a:xfrm>
          <a:solidFill>
            <a:schemeClr val="accent1">
              <a:lumMod val="75000"/>
            </a:schemeClr>
          </a:solidFill>
        </p:grpSpPr>
        <p:pic>
          <p:nvPicPr>
            <p:cNvPr id="27" name="Graphique 26" descr="Main ouverte">
              <a:extLst>
                <a:ext uri="{FF2B5EF4-FFF2-40B4-BE49-F238E27FC236}">
                  <a16:creationId xmlns:a16="http://schemas.microsoft.com/office/drawing/2014/main" id="{E5973B6C-E495-4751-ADC0-52390CD8B88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655921" y="3953475"/>
              <a:ext cx="914400" cy="914400"/>
            </a:xfrm>
            <a:prstGeom prst="rect">
              <a:avLst/>
            </a:prstGeom>
          </p:spPr>
        </p:pic>
        <p:pic>
          <p:nvPicPr>
            <p:cNvPr id="28" name="Graphique 27" descr="Argent">
              <a:extLst>
                <a:ext uri="{FF2B5EF4-FFF2-40B4-BE49-F238E27FC236}">
                  <a16:creationId xmlns:a16="http://schemas.microsoft.com/office/drawing/2014/main" id="{0FF3DBFD-0994-45B2-9EFB-C861B78ED7CF}"/>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0821856" y="3792390"/>
              <a:ext cx="533404" cy="533404"/>
            </a:xfrm>
            <a:prstGeom prst="rect">
              <a:avLst/>
            </a:prstGeom>
          </p:spPr>
        </p:pic>
      </p:grpSp>
      <p:pic>
        <p:nvPicPr>
          <p:cNvPr id="30" name="Graphique 29">
            <a:extLst>
              <a:ext uri="{FF2B5EF4-FFF2-40B4-BE49-F238E27FC236}">
                <a16:creationId xmlns:a16="http://schemas.microsoft.com/office/drawing/2014/main" id="{E85B06E0-F46A-488C-999B-290EEC3BA6E9}"/>
              </a:ext>
            </a:extLst>
          </p:cNvPr>
          <p:cNvPicPr>
            <a:picLocks noChangeAspect="1"/>
          </p:cNvPicPr>
          <p:nvPr/>
        </p:nvPicPr>
        <p:blipFill rotWithShape="1">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b="18893"/>
          <a:stretch/>
        </p:blipFill>
        <p:spPr>
          <a:xfrm>
            <a:off x="7967519" y="1615285"/>
            <a:ext cx="301516" cy="305686"/>
          </a:xfrm>
          <a:prstGeom prst="rect">
            <a:avLst/>
          </a:prstGeom>
        </p:spPr>
      </p:pic>
      <p:sp>
        <p:nvSpPr>
          <p:cNvPr id="32" name="Rectangle 31">
            <a:extLst>
              <a:ext uri="{FF2B5EF4-FFF2-40B4-BE49-F238E27FC236}">
                <a16:creationId xmlns:a16="http://schemas.microsoft.com/office/drawing/2014/main" id="{7341BFA6-2C10-457A-93B7-14F1708B8578}"/>
              </a:ext>
            </a:extLst>
          </p:cNvPr>
          <p:cNvSpPr/>
          <p:nvPr/>
        </p:nvSpPr>
        <p:spPr bwMode="auto">
          <a:xfrm>
            <a:off x="776361" y="2172634"/>
            <a:ext cx="2977375" cy="1392784"/>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marL="171450" indent="-171450">
              <a:buFont typeface="Arial" panose="020B0604020202020204" pitchFamily="34" charset="0"/>
              <a:buChar char="•"/>
            </a:pPr>
            <a:r>
              <a:rPr lang="en-GB" sz="1000">
                <a:latin typeface="Trebuchet MS" panose="020B0603020202020204" pitchFamily="34" charset="0"/>
              </a:rPr>
              <a:t>Implementation of regulatory frameworks increasing </a:t>
            </a:r>
            <a:r>
              <a:rPr lang="en-GB" sz="1000">
                <a:solidFill>
                  <a:schemeClr val="tx2"/>
                </a:solidFill>
                <a:latin typeface="Trebuchet MS" panose="020B0603020202020204" pitchFamily="34" charset="0"/>
              </a:rPr>
              <a:t>anti-corruption</a:t>
            </a:r>
            <a:r>
              <a:rPr lang="en-GB" sz="1000">
                <a:latin typeface="Trebuchet MS" panose="020B0603020202020204" pitchFamily="34" charset="0"/>
              </a:rPr>
              <a:t> </a:t>
            </a:r>
            <a:r>
              <a:rPr lang="en-GB" sz="1000">
                <a:solidFill>
                  <a:schemeClr val="tx2"/>
                </a:solidFill>
                <a:latin typeface="Trebuchet MS" panose="020B0603020202020204" pitchFamily="34" charset="0"/>
              </a:rPr>
              <a:t>processes</a:t>
            </a:r>
            <a:r>
              <a:rPr lang="en-GB" sz="1000">
                <a:latin typeface="Trebuchet MS" panose="020B0603020202020204" pitchFamily="34" charset="0"/>
              </a:rPr>
              <a:t> (e.g. customers/suppliers' evaluation, updating commercial information…)</a:t>
            </a:r>
          </a:p>
          <a:p>
            <a:pPr marL="171450" indent="-171450">
              <a:buFont typeface="Arial" panose="020B0604020202020204" pitchFamily="34" charset="0"/>
              <a:buChar char="•"/>
            </a:pPr>
            <a:endParaRPr lang="en-GB" sz="1000">
              <a:latin typeface="Trebuchet MS" panose="020B0603020202020204" pitchFamily="34" charset="0"/>
            </a:endParaRPr>
          </a:p>
          <a:p>
            <a:pPr marL="171450" indent="-171450">
              <a:buFont typeface="Arial" panose="020B0604020202020204" pitchFamily="34" charset="0"/>
              <a:buChar char="•"/>
            </a:pPr>
            <a:r>
              <a:rPr lang="en-GB" sz="1000">
                <a:latin typeface="Trebuchet MS" panose="020B0603020202020204" pitchFamily="34" charset="0"/>
              </a:rPr>
              <a:t>There is a </a:t>
            </a:r>
            <a:r>
              <a:rPr lang="en-GB" sz="1000">
                <a:solidFill>
                  <a:schemeClr val="tx2"/>
                </a:solidFill>
                <a:latin typeface="Trebuchet MS" panose="020B0603020202020204" pitchFamily="34" charset="0"/>
              </a:rPr>
              <a:t>limited</a:t>
            </a:r>
            <a:r>
              <a:rPr lang="en-GB" sz="1000">
                <a:latin typeface="Trebuchet MS" panose="020B0603020202020204" pitchFamily="34" charset="0"/>
              </a:rPr>
              <a:t> </a:t>
            </a:r>
            <a:r>
              <a:rPr lang="en-GB" sz="1000">
                <a:solidFill>
                  <a:schemeClr val="tx2"/>
                </a:solidFill>
                <a:latin typeface="Trebuchet MS" panose="020B0603020202020204" pitchFamily="34" charset="0"/>
              </a:rPr>
              <a:t>volume</a:t>
            </a:r>
            <a:r>
              <a:rPr lang="en-GB" sz="1000">
                <a:latin typeface="Trebuchet MS" panose="020B0603020202020204" pitchFamily="34" charset="0"/>
              </a:rPr>
              <a:t> of </a:t>
            </a:r>
            <a:r>
              <a:rPr lang="en-GB" sz="1000">
                <a:solidFill>
                  <a:schemeClr val="tx2"/>
                </a:solidFill>
                <a:latin typeface="Trebuchet MS" panose="020B0603020202020204" pitchFamily="34" charset="0"/>
              </a:rPr>
              <a:t>data</a:t>
            </a:r>
            <a:r>
              <a:rPr lang="en-GB" sz="1000">
                <a:latin typeface="Trebuchet MS" panose="020B0603020202020204" pitchFamily="34" charset="0"/>
              </a:rPr>
              <a:t> that does </a:t>
            </a:r>
            <a:r>
              <a:rPr lang="en-GB" sz="1000">
                <a:solidFill>
                  <a:schemeClr val="tx2"/>
                </a:solidFill>
                <a:latin typeface="Trebuchet MS" panose="020B0603020202020204" pitchFamily="34" charset="0"/>
              </a:rPr>
              <a:t>not need to be</a:t>
            </a:r>
            <a:r>
              <a:rPr lang="en-GB" sz="1000">
                <a:latin typeface="Trebuchet MS" panose="020B0603020202020204" pitchFamily="34" charset="0"/>
              </a:rPr>
              <a:t> </a:t>
            </a:r>
            <a:r>
              <a:rPr lang="en-GB" sz="1000">
                <a:solidFill>
                  <a:schemeClr val="tx2"/>
                </a:solidFill>
                <a:latin typeface="Trebuchet MS" panose="020B0603020202020204" pitchFamily="34" charset="0"/>
              </a:rPr>
              <a:t>processed</a:t>
            </a:r>
            <a:r>
              <a:rPr lang="en-GB" sz="1000">
                <a:latin typeface="Trebuchet MS" panose="020B0603020202020204" pitchFamily="34" charset="0"/>
              </a:rPr>
              <a:t> in </a:t>
            </a:r>
            <a:r>
              <a:rPr lang="en-GB" sz="1000">
                <a:solidFill>
                  <a:schemeClr val="tx2"/>
                </a:solidFill>
                <a:latin typeface="Trebuchet MS" panose="020B0603020202020204" pitchFamily="34" charset="0"/>
              </a:rPr>
              <a:t>real</a:t>
            </a:r>
            <a:r>
              <a:rPr lang="en-GB" sz="1000">
                <a:latin typeface="Trebuchet MS" panose="020B0603020202020204" pitchFamily="34" charset="0"/>
              </a:rPr>
              <a:t> </a:t>
            </a:r>
            <a:r>
              <a:rPr lang="en-GB" sz="1000">
                <a:solidFill>
                  <a:schemeClr val="tx2"/>
                </a:solidFill>
                <a:latin typeface="Trebuchet MS" panose="020B0603020202020204" pitchFamily="34" charset="0"/>
              </a:rPr>
              <a:t>time </a:t>
            </a:r>
            <a:r>
              <a:rPr lang="en-GB" sz="1000">
                <a:latin typeface="Trebuchet MS" panose="020B0603020202020204" pitchFamily="34" charset="0"/>
              </a:rPr>
              <a:t>(e.g. batch…) </a:t>
            </a:r>
            <a:endParaRPr lang="en-GB" sz="1000">
              <a:solidFill>
                <a:schemeClr val="tx2"/>
              </a:solidFill>
              <a:latin typeface="Trebuchet MS" panose="020B0603020202020204" pitchFamily="34" charset="0"/>
            </a:endParaRPr>
          </a:p>
        </p:txBody>
      </p:sp>
      <p:sp>
        <p:nvSpPr>
          <p:cNvPr id="33" name="Rectangle 32">
            <a:extLst>
              <a:ext uri="{FF2B5EF4-FFF2-40B4-BE49-F238E27FC236}">
                <a16:creationId xmlns:a16="http://schemas.microsoft.com/office/drawing/2014/main" id="{E92A8B96-B2C7-4F7C-B4D5-D533A1E82689}"/>
              </a:ext>
            </a:extLst>
          </p:cNvPr>
          <p:cNvSpPr/>
          <p:nvPr/>
        </p:nvSpPr>
        <p:spPr bwMode="auto">
          <a:xfrm>
            <a:off x="4681952" y="2172634"/>
            <a:ext cx="2977375" cy="1392784"/>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marL="171450" indent="-171450">
              <a:buFont typeface="Arial" panose="020B0604020202020204" pitchFamily="34" charset="0"/>
              <a:buChar char="•"/>
            </a:pPr>
            <a:r>
              <a:rPr lang="en-GB" sz="1000">
                <a:latin typeface="Trebuchet MS" panose="020B0603020202020204" pitchFamily="34" charset="0"/>
              </a:rPr>
              <a:t>Implementation of legislations to </a:t>
            </a:r>
            <a:r>
              <a:rPr lang="en-GB" sz="1000">
                <a:solidFill>
                  <a:schemeClr val="tx2"/>
                </a:solidFill>
                <a:latin typeface="Trebuchet MS" panose="020B0603020202020204" pitchFamily="34" charset="0"/>
              </a:rPr>
              <a:t>fight</a:t>
            </a:r>
            <a:r>
              <a:rPr lang="en-GB" sz="1000">
                <a:latin typeface="Trebuchet MS" panose="020B0603020202020204" pitchFamily="34" charset="0"/>
              </a:rPr>
              <a:t> against </a:t>
            </a:r>
            <a:r>
              <a:rPr lang="en-GB" sz="1000">
                <a:solidFill>
                  <a:schemeClr val="tx2"/>
                </a:solidFill>
                <a:latin typeface="Trebuchet MS" panose="020B0603020202020204" pitchFamily="34" charset="0"/>
              </a:rPr>
              <a:t>money</a:t>
            </a:r>
            <a:r>
              <a:rPr lang="en-GB" sz="1000">
                <a:latin typeface="Trebuchet MS" panose="020B0603020202020204" pitchFamily="34" charset="0"/>
              </a:rPr>
              <a:t> </a:t>
            </a:r>
            <a:r>
              <a:rPr lang="en-GB" sz="1000">
                <a:solidFill>
                  <a:schemeClr val="tx2"/>
                </a:solidFill>
                <a:latin typeface="Trebuchet MS" panose="020B0603020202020204" pitchFamily="34" charset="0"/>
              </a:rPr>
              <a:t>laundering</a:t>
            </a:r>
            <a:r>
              <a:rPr lang="en-GB" sz="1000">
                <a:latin typeface="Trebuchet MS" panose="020B0603020202020204" pitchFamily="34" charset="0"/>
              </a:rPr>
              <a:t> and </a:t>
            </a:r>
            <a:r>
              <a:rPr lang="en-GB" sz="1000">
                <a:solidFill>
                  <a:schemeClr val="tx2"/>
                </a:solidFill>
                <a:latin typeface="Trebuchet MS" panose="020B0603020202020204" pitchFamily="34" charset="0"/>
              </a:rPr>
              <a:t>terrorist</a:t>
            </a:r>
            <a:r>
              <a:rPr lang="en-GB" sz="1000">
                <a:latin typeface="Trebuchet MS" panose="020B0603020202020204" pitchFamily="34" charset="0"/>
              </a:rPr>
              <a:t> </a:t>
            </a:r>
            <a:r>
              <a:rPr lang="en-GB" sz="1000">
                <a:solidFill>
                  <a:schemeClr val="tx2"/>
                </a:solidFill>
                <a:latin typeface="Trebuchet MS" panose="020B0603020202020204" pitchFamily="34" charset="0"/>
              </a:rPr>
              <a:t>financing</a:t>
            </a:r>
          </a:p>
          <a:p>
            <a:pPr marL="171450" indent="-171450">
              <a:buFont typeface="Arial" panose="020B0604020202020204" pitchFamily="34" charset="0"/>
              <a:buChar char="•"/>
            </a:pPr>
            <a:endParaRPr lang="en-GB" sz="1000">
              <a:latin typeface="Trebuchet MS" panose="020B0603020202020204" pitchFamily="34" charset="0"/>
            </a:endParaRPr>
          </a:p>
          <a:p>
            <a:pPr marL="171450" indent="-171450">
              <a:buFont typeface="Arial" panose="020B0604020202020204" pitchFamily="34" charset="0"/>
              <a:buChar char="•"/>
            </a:pPr>
            <a:r>
              <a:rPr lang="en-GB" sz="1000">
                <a:latin typeface="Trebuchet MS" panose="020B0603020202020204" pitchFamily="34" charset="0"/>
              </a:rPr>
              <a:t>There is an </a:t>
            </a:r>
            <a:r>
              <a:rPr lang="en-GB" sz="1000">
                <a:solidFill>
                  <a:schemeClr val="tx2"/>
                </a:solidFill>
                <a:latin typeface="Trebuchet MS" panose="020B0603020202020204" pitchFamily="34" charset="0"/>
              </a:rPr>
              <a:t>important</a:t>
            </a:r>
            <a:r>
              <a:rPr lang="en-GB" sz="1000">
                <a:latin typeface="Trebuchet MS" panose="020B0603020202020204" pitchFamily="34" charset="0"/>
              </a:rPr>
              <a:t> </a:t>
            </a:r>
            <a:r>
              <a:rPr lang="en-GB" sz="1000">
                <a:solidFill>
                  <a:schemeClr val="tx2"/>
                </a:solidFill>
                <a:latin typeface="Trebuchet MS" panose="020B0603020202020204" pitchFamily="34" charset="0"/>
              </a:rPr>
              <a:t>volume</a:t>
            </a:r>
            <a:r>
              <a:rPr lang="en-GB" sz="1000">
                <a:latin typeface="Trebuchet MS" panose="020B0603020202020204" pitchFamily="34" charset="0"/>
              </a:rPr>
              <a:t> of </a:t>
            </a:r>
            <a:r>
              <a:rPr lang="en-GB" sz="1000">
                <a:solidFill>
                  <a:schemeClr val="tx2"/>
                </a:solidFill>
                <a:latin typeface="Trebuchet MS" panose="020B0603020202020204" pitchFamily="34" charset="0"/>
              </a:rPr>
              <a:t>data</a:t>
            </a:r>
            <a:r>
              <a:rPr lang="en-GB" sz="1000">
                <a:latin typeface="Trebuchet MS" panose="020B0603020202020204" pitchFamily="34" charset="0"/>
              </a:rPr>
              <a:t> (i.e. millions of tiers) with a need for </a:t>
            </a:r>
            <a:r>
              <a:rPr lang="en-GB" sz="1000">
                <a:solidFill>
                  <a:schemeClr val="tx2"/>
                </a:solidFill>
                <a:latin typeface="Trebuchet MS" panose="020B0603020202020204" pitchFamily="34" charset="0"/>
              </a:rPr>
              <a:t>real-time</a:t>
            </a:r>
            <a:r>
              <a:rPr lang="en-GB" sz="1000">
                <a:latin typeface="Trebuchet MS" panose="020B0603020202020204" pitchFamily="34" charset="0"/>
              </a:rPr>
              <a:t> </a:t>
            </a:r>
            <a:r>
              <a:rPr lang="en-GB" sz="1000">
                <a:solidFill>
                  <a:schemeClr val="tx2"/>
                </a:solidFill>
                <a:latin typeface="Trebuchet MS" panose="020B0603020202020204" pitchFamily="34" charset="0"/>
              </a:rPr>
              <a:t>processing</a:t>
            </a:r>
            <a:r>
              <a:rPr lang="en-GB" sz="1000">
                <a:latin typeface="Trebuchet MS" panose="020B0603020202020204" pitchFamily="34" charset="0"/>
              </a:rPr>
              <a:t> (e.g. transaction monitoring…)</a:t>
            </a:r>
          </a:p>
        </p:txBody>
      </p:sp>
      <p:sp>
        <p:nvSpPr>
          <p:cNvPr id="34" name="Rectangle 33">
            <a:extLst>
              <a:ext uri="{FF2B5EF4-FFF2-40B4-BE49-F238E27FC236}">
                <a16:creationId xmlns:a16="http://schemas.microsoft.com/office/drawing/2014/main" id="{ED96FD68-1E8C-4635-94C1-1B84F0418FB8}"/>
              </a:ext>
            </a:extLst>
          </p:cNvPr>
          <p:cNvSpPr/>
          <p:nvPr/>
        </p:nvSpPr>
        <p:spPr bwMode="auto">
          <a:xfrm>
            <a:off x="7881622" y="2172634"/>
            <a:ext cx="1764886" cy="1392784"/>
          </a:xfrm>
          <a:prstGeom prst="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marL="171450" indent="-171450">
              <a:buFont typeface="Arial" panose="020B0604020202020204" pitchFamily="34" charset="0"/>
              <a:buChar char="•"/>
            </a:pPr>
            <a:r>
              <a:rPr lang="en-GB" sz="1000">
                <a:latin typeface="Trebuchet MS" panose="020B0603020202020204" pitchFamily="34" charset="0"/>
              </a:rPr>
              <a:t>Implementation of </a:t>
            </a:r>
            <a:r>
              <a:rPr lang="en-GB" sz="1000">
                <a:solidFill>
                  <a:schemeClr val="tx2"/>
                </a:solidFill>
                <a:latin typeface="Trebuchet MS" panose="020B0603020202020204" pitchFamily="34" charset="0"/>
              </a:rPr>
              <a:t>measures</a:t>
            </a:r>
            <a:r>
              <a:rPr lang="en-GB" sz="1000">
                <a:latin typeface="Trebuchet MS" panose="020B0603020202020204" pitchFamily="34" charset="0"/>
              </a:rPr>
              <a:t> to </a:t>
            </a:r>
            <a:r>
              <a:rPr lang="en-GB" sz="1000">
                <a:solidFill>
                  <a:schemeClr val="tx2"/>
                </a:solidFill>
                <a:latin typeface="Trebuchet MS" panose="020B0603020202020204" pitchFamily="34" charset="0"/>
              </a:rPr>
              <a:t>ensure</a:t>
            </a:r>
            <a:r>
              <a:rPr lang="en-GB" sz="1000">
                <a:latin typeface="Trebuchet MS" panose="020B0603020202020204" pitchFamily="34" charset="0"/>
              </a:rPr>
              <a:t> and </a:t>
            </a:r>
            <a:r>
              <a:rPr lang="en-GB" sz="1000">
                <a:solidFill>
                  <a:schemeClr val="tx2"/>
                </a:solidFill>
                <a:latin typeface="Trebuchet MS" panose="020B0603020202020204" pitchFamily="34" charset="0"/>
              </a:rPr>
              <a:t>strengthen</a:t>
            </a:r>
            <a:r>
              <a:rPr lang="en-GB" sz="1000">
                <a:latin typeface="Trebuchet MS" panose="020B0603020202020204" pitchFamily="34" charset="0"/>
              </a:rPr>
              <a:t> </a:t>
            </a:r>
            <a:r>
              <a:rPr lang="en-GB" sz="1000">
                <a:solidFill>
                  <a:schemeClr val="tx2"/>
                </a:solidFill>
                <a:latin typeface="Trebuchet MS" panose="020B0603020202020204" pitchFamily="34" charset="0"/>
              </a:rPr>
              <a:t>transparency</a:t>
            </a:r>
            <a:r>
              <a:rPr lang="en-GB" sz="1000">
                <a:latin typeface="Trebuchet MS" panose="020B0603020202020204" pitchFamily="34" charset="0"/>
              </a:rPr>
              <a:t> of </a:t>
            </a:r>
            <a:r>
              <a:rPr lang="en-GB" sz="1000">
                <a:solidFill>
                  <a:schemeClr val="tx2"/>
                </a:solidFill>
                <a:latin typeface="Trebuchet MS" panose="020B0603020202020204" pitchFamily="34" charset="0"/>
              </a:rPr>
              <a:t>markets</a:t>
            </a:r>
            <a:r>
              <a:rPr lang="en-GB" sz="1000">
                <a:latin typeface="Trebuchet MS" panose="020B0603020202020204" pitchFamily="34" charset="0"/>
              </a:rPr>
              <a:t> and </a:t>
            </a:r>
            <a:r>
              <a:rPr lang="en-GB" sz="1000">
                <a:solidFill>
                  <a:schemeClr val="tx2"/>
                </a:solidFill>
                <a:latin typeface="Trebuchet MS" panose="020B0603020202020204" pitchFamily="34" charset="0"/>
              </a:rPr>
              <a:t>transactions</a:t>
            </a:r>
            <a:r>
              <a:rPr lang="en-GB" sz="1000">
                <a:latin typeface="Trebuchet MS" panose="020B0603020202020204" pitchFamily="34" charset="0"/>
              </a:rPr>
              <a:t> </a:t>
            </a:r>
          </a:p>
        </p:txBody>
      </p:sp>
      <p:grpSp>
        <p:nvGrpSpPr>
          <p:cNvPr id="50" name="Groupe 49">
            <a:extLst>
              <a:ext uri="{FF2B5EF4-FFF2-40B4-BE49-F238E27FC236}">
                <a16:creationId xmlns:a16="http://schemas.microsoft.com/office/drawing/2014/main" id="{DE8D58DF-B749-4098-8BD3-7B547FCF5B36}"/>
              </a:ext>
            </a:extLst>
          </p:cNvPr>
          <p:cNvGrpSpPr/>
          <p:nvPr/>
        </p:nvGrpSpPr>
        <p:grpSpPr>
          <a:xfrm>
            <a:off x="122005" y="3880607"/>
            <a:ext cx="592177" cy="442040"/>
            <a:chOff x="122005" y="3834610"/>
            <a:chExt cx="592177" cy="442040"/>
          </a:xfrm>
        </p:grpSpPr>
        <p:grpSp>
          <p:nvGrpSpPr>
            <p:cNvPr id="35" name="Group 4">
              <a:extLst>
                <a:ext uri="{FF2B5EF4-FFF2-40B4-BE49-F238E27FC236}">
                  <a16:creationId xmlns:a16="http://schemas.microsoft.com/office/drawing/2014/main" id="{459E7C77-6E0A-4C5E-B72C-22A74FEDD110}"/>
                </a:ext>
              </a:extLst>
            </p:cNvPr>
            <p:cNvGrpSpPr>
              <a:grpSpLocks noChangeAspect="1"/>
            </p:cNvGrpSpPr>
            <p:nvPr/>
          </p:nvGrpSpPr>
          <p:grpSpPr bwMode="auto">
            <a:xfrm>
              <a:off x="315641" y="3834610"/>
              <a:ext cx="204905" cy="205459"/>
              <a:chOff x="788" y="800"/>
              <a:chExt cx="740" cy="742"/>
            </a:xfrm>
            <a:solidFill>
              <a:schemeClr val="tx1"/>
            </a:solidFill>
          </p:grpSpPr>
          <p:sp>
            <p:nvSpPr>
              <p:cNvPr id="36" name="Freeform 5">
                <a:extLst>
                  <a:ext uri="{FF2B5EF4-FFF2-40B4-BE49-F238E27FC236}">
                    <a16:creationId xmlns:a16="http://schemas.microsoft.com/office/drawing/2014/main" id="{88297C32-76EC-4F53-B4FA-951D0E4DE367}"/>
                  </a:ext>
                </a:extLst>
              </p:cNvPr>
              <p:cNvSpPr>
                <a:spLocks noEditPoints="1"/>
              </p:cNvSpPr>
              <p:nvPr/>
            </p:nvSpPr>
            <p:spPr bwMode="auto">
              <a:xfrm>
                <a:off x="788" y="1078"/>
                <a:ext cx="740" cy="464"/>
              </a:xfrm>
              <a:custGeom>
                <a:avLst/>
                <a:gdLst>
                  <a:gd name="T0" fmla="*/ 56 w 64"/>
                  <a:gd name="T1" fmla="*/ 4 h 40"/>
                  <a:gd name="T2" fmla="*/ 58 w 64"/>
                  <a:gd name="T3" fmla="*/ 4 h 40"/>
                  <a:gd name="T4" fmla="*/ 60 w 64"/>
                  <a:gd name="T5" fmla="*/ 2 h 40"/>
                  <a:gd name="T6" fmla="*/ 60 w 64"/>
                  <a:gd name="T7" fmla="*/ 0 h 40"/>
                  <a:gd name="T8" fmla="*/ 4 w 64"/>
                  <a:gd name="T9" fmla="*/ 0 h 40"/>
                  <a:gd name="T10" fmla="*/ 4 w 64"/>
                  <a:gd name="T11" fmla="*/ 2 h 40"/>
                  <a:gd name="T12" fmla="*/ 6 w 64"/>
                  <a:gd name="T13" fmla="*/ 4 h 40"/>
                  <a:gd name="T14" fmla="*/ 8 w 64"/>
                  <a:gd name="T15" fmla="*/ 4 h 40"/>
                  <a:gd name="T16" fmla="*/ 8 w 64"/>
                  <a:gd name="T17" fmla="*/ 32 h 40"/>
                  <a:gd name="T18" fmla="*/ 0 w 64"/>
                  <a:gd name="T19" fmla="*/ 40 h 40"/>
                  <a:gd name="T20" fmla="*/ 64 w 64"/>
                  <a:gd name="T21" fmla="*/ 40 h 40"/>
                  <a:gd name="T22" fmla="*/ 56 w 64"/>
                  <a:gd name="T23" fmla="*/ 32 h 40"/>
                  <a:gd name="T24" fmla="*/ 56 w 64"/>
                  <a:gd name="T25" fmla="*/ 4 h 40"/>
                  <a:gd name="T26" fmla="*/ 12 w 64"/>
                  <a:gd name="T27" fmla="*/ 32 h 40"/>
                  <a:gd name="T28" fmla="*/ 12 w 64"/>
                  <a:gd name="T29" fmla="*/ 4 h 40"/>
                  <a:gd name="T30" fmla="*/ 20 w 64"/>
                  <a:gd name="T31" fmla="*/ 4 h 40"/>
                  <a:gd name="T32" fmla="*/ 20 w 64"/>
                  <a:gd name="T33" fmla="*/ 32 h 40"/>
                  <a:gd name="T34" fmla="*/ 12 w 64"/>
                  <a:gd name="T35" fmla="*/ 32 h 40"/>
                  <a:gd name="T36" fmla="*/ 28 w 64"/>
                  <a:gd name="T37" fmla="*/ 32 h 40"/>
                  <a:gd name="T38" fmla="*/ 28 w 64"/>
                  <a:gd name="T39" fmla="*/ 4 h 40"/>
                  <a:gd name="T40" fmla="*/ 36 w 64"/>
                  <a:gd name="T41" fmla="*/ 4 h 40"/>
                  <a:gd name="T42" fmla="*/ 36 w 64"/>
                  <a:gd name="T43" fmla="*/ 32 h 40"/>
                  <a:gd name="T44" fmla="*/ 28 w 64"/>
                  <a:gd name="T45" fmla="*/ 32 h 40"/>
                  <a:gd name="T46" fmla="*/ 44 w 64"/>
                  <a:gd name="T47" fmla="*/ 32 h 40"/>
                  <a:gd name="T48" fmla="*/ 44 w 64"/>
                  <a:gd name="T49" fmla="*/ 4 h 40"/>
                  <a:gd name="T50" fmla="*/ 52 w 64"/>
                  <a:gd name="T51" fmla="*/ 4 h 40"/>
                  <a:gd name="T52" fmla="*/ 52 w 64"/>
                  <a:gd name="T53" fmla="*/ 32 h 40"/>
                  <a:gd name="T54" fmla="*/ 44 w 64"/>
                  <a:gd name="T55"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 h="40">
                    <a:moveTo>
                      <a:pt x="56" y="4"/>
                    </a:moveTo>
                    <a:cubicBezTo>
                      <a:pt x="58" y="4"/>
                      <a:pt x="58" y="4"/>
                      <a:pt x="58" y="4"/>
                    </a:cubicBezTo>
                    <a:cubicBezTo>
                      <a:pt x="60" y="4"/>
                      <a:pt x="60" y="3"/>
                      <a:pt x="60" y="2"/>
                    </a:cubicBezTo>
                    <a:cubicBezTo>
                      <a:pt x="60" y="0"/>
                      <a:pt x="60" y="0"/>
                      <a:pt x="60" y="0"/>
                    </a:cubicBezTo>
                    <a:cubicBezTo>
                      <a:pt x="4" y="0"/>
                      <a:pt x="4" y="0"/>
                      <a:pt x="4" y="0"/>
                    </a:cubicBezTo>
                    <a:cubicBezTo>
                      <a:pt x="4" y="2"/>
                      <a:pt x="4" y="2"/>
                      <a:pt x="4" y="2"/>
                    </a:cubicBezTo>
                    <a:cubicBezTo>
                      <a:pt x="4" y="3"/>
                      <a:pt x="5" y="4"/>
                      <a:pt x="6" y="4"/>
                    </a:cubicBezTo>
                    <a:cubicBezTo>
                      <a:pt x="8" y="4"/>
                      <a:pt x="8" y="4"/>
                      <a:pt x="8" y="4"/>
                    </a:cubicBezTo>
                    <a:cubicBezTo>
                      <a:pt x="8" y="32"/>
                      <a:pt x="8" y="32"/>
                      <a:pt x="8" y="32"/>
                    </a:cubicBezTo>
                    <a:cubicBezTo>
                      <a:pt x="0" y="40"/>
                      <a:pt x="0" y="40"/>
                      <a:pt x="0" y="40"/>
                    </a:cubicBezTo>
                    <a:cubicBezTo>
                      <a:pt x="64" y="40"/>
                      <a:pt x="64" y="40"/>
                      <a:pt x="64" y="40"/>
                    </a:cubicBezTo>
                    <a:cubicBezTo>
                      <a:pt x="56" y="32"/>
                      <a:pt x="56" y="32"/>
                      <a:pt x="56" y="32"/>
                    </a:cubicBezTo>
                    <a:lnTo>
                      <a:pt x="56" y="4"/>
                    </a:lnTo>
                    <a:close/>
                    <a:moveTo>
                      <a:pt x="12" y="32"/>
                    </a:moveTo>
                    <a:cubicBezTo>
                      <a:pt x="12" y="4"/>
                      <a:pt x="12" y="4"/>
                      <a:pt x="12" y="4"/>
                    </a:cubicBezTo>
                    <a:cubicBezTo>
                      <a:pt x="20" y="4"/>
                      <a:pt x="20" y="4"/>
                      <a:pt x="20" y="4"/>
                    </a:cubicBezTo>
                    <a:cubicBezTo>
                      <a:pt x="20" y="32"/>
                      <a:pt x="20" y="32"/>
                      <a:pt x="20" y="32"/>
                    </a:cubicBezTo>
                    <a:lnTo>
                      <a:pt x="12" y="32"/>
                    </a:lnTo>
                    <a:close/>
                    <a:moveTo>
                      <a:pt x="28" y="32"/>
                    </a:moveTo>
                    <a:cubicBezTo>
                      <a:pt x="28" y="4"/>
                      <a:pt x="28" y="4"/>
                      <a:pt x="28" y="4"/>
                    </a:cubicBezTo>
                    <a:cubicBezTo>
                      <a:pt x="36" y="4"/>
                      <a:pt x="36" y="4"/>
                      <a:pt x="36" y="4"/>
                    </a:cubicBezTo>
                    <a:cubicBezTo>
                      <a:pt x="36" y="32"/>
                      <a:pt x="36" y="32"/>
                      <a:pt x="36" y="32"/>
                    </a:cubicBezTo>
                    <a:lnTo>
                      <a:pt x="28" y="32"/>
                    </a:lnTo>
                    <a:close/>
                    <a:moveTo>
                      <a:pt x="44" y="32"/>
                    </a:moveTo>
                    <a:cubicBezTo>
                      <a:pt x="44" y="4"/>
                      <a:pt x="44" y="4"/>
                      <a:pt x="44" y="4"/>
                    </a:cubicBezTo>
                    <a:cubicBezTo>
                      <a:pt x="52" y="4"/>
                      <a:pt x="52" y="4"/>
                      <a:pt x="52" y="4"/>
                    </a:cubicBezTo>
                    <a:cubicBezTo>
                      <a:pt x="52" y="32"/>
                      <a:pt x="52" y="32"/>
                      <a:pt x="52" y="32"/>
                    </a:cubicBezTo>
                    <a:lnTo>
                      <a:pt x="4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6">
                <a:extLst>
                  <a:ext uri="{FF2B5EF4-FFF2-40B4-BE49-F238E27FC236}">
                    <a16:creationId xmlns:a16="http://schemas.microsoft.com/office/drawing/2014/main" id="{D7220BF1-4F3F-41BF-94B1-9E4FAC7BC5AE}"/>
                  </a:ext>
                </a:extLst>
              </p:cNvPr>
              <p:cNvSpPr>
                <a:spLocks/>
              </p:cNvSpPr>
              <p:nvPr/>
            </p:nvSpPr>
            <p:spPr bwMode="auto">
              <a:xfrm>
                <a:off x="788" y="800"/>
                <a:ext cx="740" cy="232"/>
              </a:xfrm>
              <a:custGeom>
                <a:avLst/>
                <a:gdLst>
                  <a:gd name="T0" fmla="*/ 740 w 740"/>
                  <a:gd name="T1" fmla="*/ 232 h 232"/>
                  <a:gd name="T2" fmla="*/ 370 w 740"/>
                  <a:gd name="T3" fmla="*/ 0 h 232"/>
                  <a:gd name="T4" fmla="*/ 0 w 740"/>
                  <a:gd name="T5" fmla="*/ 232 h 232"/>
                  <a:gd name="T6" fmla="*/ 740 w 740"/>
                  <a:gd name="T7" fmla="*/ 232 h 232"/>
                </a:gdLst>
                <a:ahLst/>
                <a:cxnLst>
                  <a:cxn ang="0">
                    <a:pos x="T0" y="T1"/>
                  </a:cxn>
                  <a:cxn ang="0">
                    <a:pos x="T2" y="T3"/>
                  </a:cxn>
                  <a:cxn ang="0">
                    <a:pos x="T4" y="T5"/>
                  </a:cxn>
                  <a:cxn ang="0">
                    <a:pos x="T6" y="T7"/>
                  </a:cxn>
                </a:cxnLst>
                <a:rect l="0" t="0" r="r" b="b"/>
                <a:pathLst>
                  <a:path w="740" h="232">
                    <a:moveTo>
                      <a:pt x="740" y="232"/>
                    </a:moveTo>
                    <a:lnTo>
                      <a:pt x="370" y="0"/>
                    </a:lnTo>
                    <a:lnTo>
                      <a:pt x="0" y="232"/>
                    </a:lnTo>
                    <a:lnTo>
                      <a:pt x="740"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1" name="ZoneTexte 40">
              <a:extLst>
                <a:ext uri="{FF2B5EF4-FFF2-40B4-BE49-F238E27FC236}">
                  <a16:creationId xmlns:a16="http://schemas.microsoft.com/office/drawing/2014/main" id="{69D14FEA-BD5D-4B7D-AF6A-DC92BC222D80}"/>
                </a:ext>
              </a:extLst>
            </p:cNvPr>
            <p:cNvSpPr txBox="1"/>
            <p:nvPr/>
          </p:nvSpPr>
          <p:spPr>
            <a:xfrm>
              <a:off x="122005" y="4045818"/>
              <a:ext cx="592177" cy="230832"/>
            </a:xfrm>
            <a:prstGeom prst="rect">
              <a:avLst/>
            </a:prstGeom>
            <a:noFill/>
          </p:spPr>
          <p:txBody>
            <a:bodyPr wrap="square" rtlCol="0">
              <a:spAutoFit/>
            </a:bodyPr>
            <a:lstStyle/>
            <a:p>
              <a:pPr algn="ctr"/>
              <a:r>
                <a:rPr lang="en-GB" sz="900">
                  <a:latin typeface="Trebuchet MS" panose="020B0603020202020204" pitchFamily="34" charset="0"/>
                </a:rPr>
                <a:t>Laws</a:t>
              </a:r>
              <a:endParaRPr lang="en-GB" sz="1000">
                <a:latin typeface="Trebuchet MS" panose="020B0603020202020204" pitchFamily="34" charset="0"/>
              </a:endParaRPr>
            </a:p>
          </p:txBody>
        </p:sp>
      </p:grpSp>
      <p:grpSp>
        <p:nvGrpSpPr>
          <p:cNvPr id="55" name="Groupe 54">
            <a:extLst>
              <a:ext uri="{FF2B5EF4-FFF2-40B4-BE49-F238E27FC236}">
                <a16:creationId xmlns:a16="http://schemas.microsoft.com/office/drawing/2014/main" id="{940FF472-2E85-437C-B76F-FAA240739062}"/>
              </a:ext>
            </a:extLst>
          </p:cNvPr>
          <p:cNvGrpSpPr/>
          <p:nvPr/>
        </p:nvGrpSpPr>
        <p:grpSpPr>
          <a:xfrm>
            <a:off x="59826" y="4706786"/>
            <a:ext cx="716535" cy="572739"/>
            <a:chOff x="59826" y="4676306"/>
            <a:chExt cx="716535" cy="572739"/>
          </a:xfrm>
        </p:grpSpPr>
        <p:grpSp>
          <p:nvGrpSpPr>
            <p:cNvPr id="38" name="Group 9">
              <a:extLst>
                <a:ext uri="{FF2B5EF4-FFF2-40B4-BE49-F238E27FC236}">
                  <a16:creationId xmlns:a16="http://schemas.microsoft.com/office/drawing/2014/main" id="{7C454162-F30B-4D30-9982-7E989A89285C}"/>
                </a:ext>
              </a:extLst>
            </p:cNvPr>
            <p:cNvGrpSpPr>
              <a:grpSpLocks noChangeAspect="1"/>
            </p:cNvGrpSpPr>
            <p:nvPr/>
          </p:nvGrpSpPr>
          <p:grpSpPr bwMode="auto">
            <a:xfrm>
              <a:off x="307526" y="4676306"/>
              <a:ext cx="221134" cy="221731"/>
              <a:chOff x="788" y="800"/>
              <a:chExt cx="740" cy="742"/>
            </a:xfrm>
            <a:solidFill>
              <a:schemeClr val="tx1"/>
            </a:solidFill>
          </p:grpSpPr>
          <p:sp>
            <p:nvSpPr>
              <p:cNvPr id="39" name="Freeform 10">
                <a:extLst>
                  <a:ext uri="{FF2B5EF4-FFF2-40B4-BE49-F238E27FC236}">
                    <a16:creationId xmlns:a16="http://schemas.microsoft.com/office/drawing/2014/main" id="{03D6EA1A-735E-4ABB-810B-12D372403D3F}"/>
                  </a:ext>
                </a:extLst>
              </p:cNvPr>
              <p:cNvSpPr>
                <a:spLocks/>
              </p:cNvSpPr>
              <p:nvPr/>
            </p:nvSpPr>
            <p:spPr bwMode="auto">
              <a:xfrm>
                <a:off x="788" y="997"/>
                <a:ext cx="521" cy="545"/>
              </a:xfrm>
              <a:custGeom>
                <a:avLst/>
                <a:gdLst>
                  <a:gd name="T0" fmla="*/ 33 w 45"/>
                  <a:gd name="T1" fmla="*/ 30 h 47"/>
                  <a:gd name="T2" fmla="*/ 28 w 45"/>
                  <a:gd name="T3" fmla="*/ 28 h 47"/>
                  <a:gd name="T4" fmla="*/ 28 w 45"/>
                  <a:gd name="T5" fmla="*/ 23 h 47"/>
                  <a:gd name="T6" fmla="*/ 30 w 45"/>
                  <a:gd name="T7" fmla="*/ 18 h 47"/>
                  <a:gd name="T8" fmla="*/ 32 w 45"/>
                  <a:gd name="T9" fmla="*/ 15 h 47"/>
                  <a:gd name="T10" fmla="*/ 31 w 45"/>
                  <a:gd name="T11" fmla="*/ 12 h 47"/>
                  <a:gd name="T12" fmla="*/ 31 w 45"/>
                  <a:gd name="T13" fmla="*/ 7 h 47"/>
                  <a:gd name="T14" fmla="*/ 22 w 45"/>
                  <a:gd name="T15" fmla="*/ 0 h 47"/>
                  <a:gd name="T16" fmla="*/ 14 w 45"/>
                  <a:gd name="T17" fmla="*/ 7 h 47"/>
                  <a:gd name="T18" fmla="*/ 14 w 45"/>
                  <a:gd name="T19" fmla="*/ 12 h 47"/>
                  <a:gd name="T20" fmla="*/ 13 w 45"/>
                  <a:gd name="T21" fmla="*/ 15 h 47"/>
                  <a:gd name="T22" fmla="*/ 15 w 45"/>
                  <a:gd name="T23" fmla="*/ 18 h 47"/>
                  <a:gd name="T24" fmla="*/ 17 w 45"/>
                  <a:gd name="T25" fmla="*/ 23 h 47"/>
                  <a:gd name="T26" fmla="*/ 17 w 45"/>
                  <a:gd name="T27" fmla="*/ 28 h 47"/>
                  <a:gd name="T28" fmla="*/ 11 w 45"/>
                  <a:gd name="T29" fmla="*/ 30 h 47"/>
                  <a:gd name="T30" fmla="*/ 1 w 45"/>
                  <a:gd name="T31" fmla="*/ 36 h 47"/>
                  <a:gd name="T32" fmla="*/ 0 w 45"/>
                  <a:gd name="T33" fmla="*/ 47 h 47"/>
                  <a:gd name="T34" fmla="*/ 44 w 45"/>
                  <a:gd name="T35" fmla="*/ 47 h 47"/>
                  <a:gd name="T36" fmla="*/ 44 w 45"/>
                  <a:gd name="T37" fmla="*/ 36 h 47"/>
                  <a:gd name="T38" fmla="*/ 33 w 45"/>
                  <a:gd name="T39" fmla="*/ 3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7">
                    <a:moveTo>
                      <a:pt x="33" y="30"/>
                    </a:moveTo>
                    <a:cubicBezTo>
                      <a:pt x="29" y="28"/>
                      <a:pt x="28" y="28"/>
                      <a:pt x="28" y="28"/>
                    </a:cubicBezTo>
                    <a:cubicBezTo>
                      <a:pt x="28" y="23"/>
                      <a:pt x="28" y="23"/>
                      <a:pt x="28" y="23"/>
                    </a:cubicBezTo>
                    <a:cubicBezTo>
                      <a:pt x="28" y="23"/>
                      <a:pt x="30" y="22"/>
                      <a:pt x="30" y="18"/>
                    </a:cubicBezTo>
                    <a:cubicBezTo>
                      <a:pt x="31" y="18"/>
                      <a:pt x="32" y="16"/>
                      <a:pt x="32" y="15"/>
                    </a:cubicBezTo>
                    <a:cubicBezTo>
                      <a:pt x="32" y="14"/>
                      <a:pt x="32" y="11"/>
                      <a:pt x="31" y="12"/>
                    </a:cubicBezTo>
                    <a:cubicBezTo>
                      <a:pt x="31" y="10"/>
                      <a:pt x="31" y="8"/>
                      <a:pt x="31" y="7"/>
                    </a:cubicBezTo>
                    <a:cubicBezTo>
                      <a:pt x="31" y="3"/>
                      <a:pt x="28" y="0"/>
                      <a:pt x="22" y="0"/>
                    </a:cubicBezTo>
                    <a:cubicBezTo>
                      <a:pt x="17" y="0"/>
                      <a:pt x="14" y="3"/>
                      <a:pt x="14" y="7"/>
                    </a:cubicBezTo>
                    <a:cubicBezTo>
                      <a:pt x="14" y="8"/>
                      <a:pt x="14" y="10"/>
                      <a:pt x="14" y="12"/>
                    </a:cubicBezTo>
                    <a:cubicBezTo>
                      <a:pt x="13" y="11"/>
                      <a:pt x="13" y="14"/>
                      <a:pt x="13" y="15"/>
                    </a:cubicBezTo>
                    <a:cubicBezTo>
                      <a:pt x="13" y="16"/>
                      <a:pt x="14" y="18"/>
                      <a:pt x="15" y="18"/>
                    </a:cubicBezTo>
                    <a:cubicBezTo>
                      <a:pt x="15" y="22"/>
                      <a:pt x="17" y="23"/>
                      <a:pt x="17" y="23"/>
                    </a:cubicBezTo>
                    <a:cubicBezTo>
                      <a:pt x="17" y="28"/>
                      <a:pt x="17" y="28"/>
                      <a:pt x="17" y="28"/>
                    </a:cubicBezTo>
                    <a:cubicBezTo>
                      <a:pt x="17" y="28"/>
                      <a:pt x="16" y="28"/>
                      <a:pt x="11" y="30"/>
                    </a:cubicBezTo>
                    <a:cubicBezTo>
                      <a:pt x="7" y="32"/>
                      <a:pt x="3" y="34"/>
                      <a:pt x="1" y="36"/>
                    </a:cubicBezTo>
                    <a:cubicBezTo>
                      <a:pt x="0" y="38"/>
                      <a:pt x="0" y="47"/>
                      <a:pt x="0" y="47"/>
                    </a:cubicBezTo>
                    <a:cubicBezTo>
                      <a:pt x="44" y="47"/>
                      <a:pt x="44" y="47"/>
                      <a:pt x="44" y="47"/>
                    </a:cubicBezTo>
                    <a:cubicBezTo>
                      <a:pt x="44" y="47"/>
                      <a:pt x="45" y="38"/>
                      <a:pt x="44" y="36"/>
                    </a:cubicBezTo>
                    <a:cubicBezTo>
                      <a:pt x="42" y="34"/>
                      <a:pt x="38" y="32"/>
                      <a:pt x="33"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11">
                <a:extLst>
                  <a:ext uri="{FF2B5EF4-FFF2-40B4-BE49-F238E27FC236}">
                    <a16:creationId xmlns:a16="http://schemas.microsoft.com/office/drawing/2014/main" id="{6E4585A0-9D02-4FA4-B252-7E11A21FD29C}"/>
                  </a:ext>
                </a:extLst>
              </p:cNvPr>
              <p:cNvSpPr>
                <a:spLocks/>
              </p:cNvSpPr>
              <p:nvPr/>
            </p:nvSpPr>
            <p:spPr bwMode="auto">
              <a:xfrm>
                <a:off x="1147" y="800"/>
                <a:ext cx="381" cy="301"/>
              </a:xfrm>
              <a:custGeom>
                <a:avLst/>
                <a:gdLst>
                  <a:gd name="T0" fmla="*/ 323 w 381"/>
                  <a:gd name="T1" fmla="*/ 0 h 301"/>
                  <a:gd name="T2" fmla="*/ 162 w 381"/>
                  <a:gd name="T3" fmla="*/ 162 h 301"/>
                  <a:gd name="T4" fmla="*/ 69 w 381"/>
                  <a:gd name="T5" fmla="*/ 69 h 301"/>
                  <a:gd name="T6" fmla="*/ 0 w 381"/>
                  <a:gd name="T7" fmla="*/ 139 h 301"/>
                  <a:gd name="T8" fmla="*/ 127 w 381"/>
                  <a:gd name="T9" fmla="*/ 266 h 301"/>
                  <a:gd name="T10" fmla="*/ 162 w 381"/>
                  <a:gd name="T11" fmla="*/ 301 h 301"/>
                  <a:gd name="T12" fmla="*/ 381 w 381"/>
                  <a:gd name="T13" fmla="*/ 69 h 301"/>
                  <a:gd name="T14" fmla="*/ 323 w 381"/>
                  <a:gd name="T15" fmla="*/ 0 h 3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1" h="301">
                    <a:moveTo>
                      <a:pt x="323" y="0"/>
                    </a:moveTo>
                    <a:lnTo>
                      <a:pt x="162" y="162"/>
                    </a:lnTo>
                    <a:lnTo>
                      <a:pt x="69" y="69"/>
                    </a:lnTo>
                    <a:lnTo>
                      <a:pt x="0" y="139"/>
                    </a:lnTo>
                    <a:lnTo>
                      <a:pt x="127" y="266"/>
                    </a:lnTo>
                    <a:lnTo>
                      <a:pt x="162" y="301"/>
                    </a:lnTo>
                    <a:lnTo>
                      <a:pt x="381" y="69"/>
                    </a:lnTo>
                    <a:lnTo>
                      <a:pt x="3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2" name="ZoneTexte 41">
              <a:extLst>
                <a:ext uri="{FF2B5EF4-FFF2-40B4-BE49-F238E27FC236}">
                  <a16:creationId xmlns:a16="http://schemas.microsoft.com/office/drawing/2014/main" id="{DB86F62E-8AB7-477A-AB43-E616AA746C4E}"/>
                </a:ext>
              </a:extLst>
            </p:cNvPr>
            <p:cNvSpPr txBox="1"/>
            <p:nvPr/>
          </p:nvSpPr>
          <p:spPr>
            <a:xfrm>
              <a:off x="59826" y="4879713"/>
              <a:ext cx="716535" cy="369332"/>
            </a:xfrm>
            <a:prstGeom prst="rect">
              <a:avLst/>
            </a:prstGeom>
            <a:noFill/>
          </p:spPr>
          <p:txBody>
            <a:bodyPr wrap="square" rtlCol="0">
              <a:spAutoFit/>
            </a:bodyPr>
            <a:lstStyle/>
            <a:p>
              <a:pPr algn="ctr"/>
              <a:r>
                <a:rPr lang="en-GB" sz="900">
                  <a:latin typeface="Trebuchet MS" panose="020B0603020202020204" pitchFamily="34" charset="0"/>
                </a:rPr>
                <a:t>Targeted clients</a:t>
              </a:r>
            </a:p>
          </p:txBody>
        </p:sp>
      </p:grpSp>
      <p:sp>
        <p:nvSpPr>
          <p:cNvPr id="49" name="Rectangle 48">
            <a:extLst>
              <a:ext uri="{FF2B5EF4-FFF2-40B4-BE49-F238E27FC236}">
                <a16:creationId xmlns:a16="http://schemas.microsoft.com/office/drawing/2014/main" id="{BAE3C161-1941-41C1-A0CA-0FE26243F4CE}"/>
              </a:ext>
            </a:extLst>
          </p:cNvPr>
          <p:cNvSpPr/>
          <p:nvPr/>
        </p:nvSpPr>
        <p:spPr bwMode="auto">
          <a:xfrm>
            <a:off x="776361" y="3681931"/>
            <a:ext cx="2977375" cy="859695"/>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252000" tIns="0" rIns="72000" bIns="0" numCol="1" rtlCol="0" anchor="ctr" anchorCtr="0" compatLnSpc="1">
            <a:prstTxWarp prst="textNoShape">
              <a:avLst/>
            </a:prstTxWarp>
          </a:bodyPr>
          <a:lstStyle/>
          <a:p>
            <a:r>
              <a:rPr lang="en-GB" sz="1000" err="1">
                <a:latin typeface="Trebuchet MS" panose="020B0603020202020204" pitchFamily="34" charset="0"/>
              </a:rPr>
              <a:t>Sapin</a:t>
            </a:r>
            <a:r>
              <a:rPr lang="en-GB" sz="1000">
                <a:latin typeface="Trebuchet MS" panose="020B0603020202020204" pitchFamily="34" charset="0"/>
              </a:rPr>
              <a:t> II Law (2016)</a:t>
            </a:r>
          </a:p>
          <a:p>
            <a:endParaRPr lang="en-GB" sz="1000">
              <a:latin typeface="Trebuchet MS" panose="020B0603020202020204" pitchFamily="34" charset="0"/>
            </a:endParaRPr>
          </a:p>
          <a:p>
            <a:r>
              <a:rPr lang="en-GB" sz="1000">
                <a:latin typeface="Trebuchet MS" panose="020B0603020202020204" pitchFamily="34" charset="0"/>
              </a:rPr>
              <a:t>The Belgium (BCC) and Dutch (DCC) criminal codes are not as precise as </a:t>
            </a:r>
            <a:r>
              <a:rPr lang="en-GB" sz="1000" err="1">
                <a:latin typeface="Trebuchet MS" panose="020B0603020202020204" pitchFamily="34" charset="0"/>
              </a:rPr>
              <a:t>Sapin</a:t>
            </a:r>
            <a:r>
              <a:rPr lang="en-GB" sz="1000">
                <a:latin typeface="Trebuchet MS" panose="020B0603020202020204" pitchFamily="34" charset="0"/>
              </a:rPr>
              <a:t> II but concern all companies</a:t>
            </a:r>
          </a:p>
        </p:txBody>
      </p:sp>
      <p:pic>
        <p:nvPicPr>
          <p:cNvPr id="43" name="Picture 2" descr="5 ft x 3 ft 150 x 90 cm-DRAPEAU BELGE Belgique 100% Polyester ...">
            <a:extLst>
              <a:ext uri="{FF2B5EF4-FFF2-40B4-BE49-F238E27FC236}">
                <a16:creationId xmlns:a16="http://schemas.microsoft.com/office/drawing/2014/main" id="{D3D5035C-40B4-4D7D-825E-D2D4B606A2B1}"/>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813158" y="4076639"/>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4" name="Picture 2 - 1" descr="Drapeau des Pays-Bas — Wikipédia">
            <a:extLst>
              <a:ext uri="{FF2B5EF4-FFF2-40B4-BE49-F238E27FC236}">
                <a16:creationId xmlns:a16="http://schemas.microsoft.com/office/drawing/2014/main" id="{A30642A6-6013-4644-9304-EFAA8196ED3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13159" y="4201050"/>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45" name="Picture 2 - 2" descr="Drapeau du Luxembourg">
            <a:extLst>
              <a:ext uri="{FF2B5EF4-FFF2-40B4-BE49-F238E27FC236}">
                <a16:creationId xmlns:a16="http://schemas.microsoft.com/office/drawing/2014/main" id="{73BAF715-8B6C-4A08-A874-A9839B27F41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12743" y="4325460"/>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47" name="Picture 2" descr="Drapeau France">
            <a:extLst>
              <a:ext uri="{FF2B5EF4-FFF2-40B4-BE49-F238E27FC236}">
                <a16:creationId xmlns:a16="http://schemas.microsoft.com/office/drawing/2014/main" id="{416C4840-4242-4262-A879-09F9A8D165FA}"/>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805406" y="3769741"/>
            <a:ext cx="180002" cy="108000"/>
          </a:xfrm>
          <a:prstGeom prst="rect">
            <a:avLst/>
          </a:prstGeom>
          <a:solidFill>
            <a:schemeClr val="bg1"/>
          </a:solidFill>
          <a:ln w="9525" cap="flat" cmpd="sng" algn="ctr">
            <a:noFill/>
            <a:prstDash val="solid"/>
            <a:round/>
            <a:headEnd type="none" w="med" len="med"/>
            <a:tailEnd type="none" w="med" len="med"/>
          </a:ln>
          <a:effectLst/>
        </p:spPr>
      </p:pic>
      <p:grpSp>
        <p:nvGrpSpPr>
          <p:cNvPr id="64" name="Groupe 63">
            <a:extLst>
              <a:ext uri="{FF2B5EF4-FFF2-40B4-BE49-F238E27FC236}">
                <a16:creationId xmlns:a16="http://schemas.microsoft.com/office/drawing/2014/main" id="{639B0639-3264-4957-8206-06C961C0C550}"/>
              </a:ext>
            </a:extLst>
          </p:cNvPr>
          <p:cNvGrpSpPr/>
          <p:nvPr/>
        </p:nvGrpSpPr>
        <p:grpSpPr>
          <a:xfrm>
            <a:off x="4667616" y="3681931"/>
            <a:ext cx="2991711" cy="859695"/>
            <a:chOff x="3870906" y="3679474"/>
            <a:chExt cx="2991711" cy="859695"/>
          </a:xfrm>
        </p:grpSpPr>
        <p:sp>
          <p:nvSpPr>
            <p:cNvPr id="51" name="Rectangle 50">
              <a:extLst>
                <a:ext uri="{FF2B5EF4-FFF2-40B4-BE49-F238E27FC236}">
                  <a16:creationId xmlns:a16="http://schemas.microsoft.com/office/drawing/2014/main" id="{09A43F8E-6591-411E-A022-E33CFC092652}"/>
                </a:ext>
              </a:extLst>
            </p:cNvPr>
            <p:cNvSpPr/>
            <p:nvPr/>
          </p:nvSpPr>
          <p:spPr bwMode="auto">
            <a:xfrm>
              <a:off x="3870906" y="3679474"/>
              <a:ext cx="2991711" cy="859695"/>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252000" tIns="0" rIns="72000" bIns="0" numCol="1" rtlCol="0" anchor="ctr" anchorCtr="0" compatLnSpc="1">
              <a:prstTxWarp prst="textNoShape">
                <a:avLst/>
              </a:prstTxWarp>
            </a:bodyPr>
            <a:lstStyle/>
            <a:p>
              <a:pPr algn="ctr"/>
              <a:r>
                <a:rPr lang="en-GB" sz="1000">
                  <a:latin typeface="Trebuchet MS" panose="020B0603020202020204" pitchFamily="34" charset="0"/>
                </a:rPr>
                <a:t>AML directives of the UE </a:t>
              </a:r>
            </a:p>
            <a:p>
              <a:pPr algn="ctr"/>
              <a:r>
                <a:rPr lang="en-GB" sz="1000">
                  <a:latin typeface="Trebuchet MS" panose="020B0603020202020204" pitchFamily="34" charset="0"/>
                </a:rPr>
                <a:t>(4</a:t>
              </a:r>
              <a:r>
                <a:rPr lang="en-GB" sz="1000" baseline="30000">
                  <a:latin typeface="Trebuchet MS" panose="020B0603020202020204" pitchFamily="34" charset="0"/>
                </a:rPr>
                <a:t>th</a:t>
              </a:r>
              <a:r>
                <a:rPr lang="en-GB" sz="1000">
                  <a:latin typeface="Trebuchet MS" panose="020B0603020202020204" pitchFamily="34" charset="0"/>
                </a:rPr>
                <a:t> in 2015, 5</a:t>
              </a:r>
              <a:r>
                <a:rPr lang="en-GB" sz="1000" baseline="30000">
                  <a:latin typeface="Trebuchet MS" panose="020B0603020202020204" pitchFamily="34" charset="0"/>
                </a:rPr>
                <a:t>th</a:t>
              </a:r>
              <a:r>
                <a:rPr lang="en-GB" sz="1000">
                  <a:latin typeface="Trebuchet MS" panose="020B0603020202020204" pitchFamily="34" charset="0"/>
                </a:rPr>
                <a:t> in 2021)</a:t>
              </a:r>
            </a:p>
          </p:txBody>
        </p:sp>
        <p:pic>
          <p:nvPicPr>
            <p:cNvPr id="53" name="Picture 93" descr="A picture containing flower, sunflower&#10;&#10;Description automatically generated">
              <a:extLst>
                <a:ext uri="{FF2B5EF4-FFF2-40B4-BE49-F238E27FC236}">
                  <a16:creationId xmlns:a16="http://schemas.microsoft.com/office/drawing/2014/main" id="{7BB81086-ADAF-4549-996B-5466DCFFEDD1}"/>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4373547" y="4048947"/>
              <a:ext cx="189332" cy="126221"/>
            </a:xfrm>
            <a:prstGeom prst="roundRect">
              <a:avLst/>
            </a:prstGeom>
          </p:spPr>
        </p:pic>
      </p:grpSp>
      <p:sp>
        <p:nvSpPr>
          <p:cNvPr id="54" name="Rectangle 53">
            <a:extLst>
              <a:ext uri="{FF2B5EF4-FFF2-40B4-BE49-F238E27FC236}">
                <a16:creationId xmlns:a16="http://schemas.microsoft.com/office/drawing/2014/main" id="{52E43D50-9C49-43BE-B07D-023988BA0B47}"/>
              </a:ext>
            </a:extLst>
          </p:cNvPr>
          <p:cNvSpPr/>
          <p:nvPr/>
        </p:nvSpPr>
        <p:spPr bwMode="auto">
          <a:xfrm>
            <a:off x="776361" y="4658138"/>
            <a:ext cx="2977375" cy="756272"/>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252000" tIns="0" rIns="72000" bIns="0" numCol="1" rtlCol="0" anchor="ctr" anchorCtr="0" compatLnSpc="1">
            <a:prstTxWarp prst="textNoShape">
              <a:avLst/>
            </a:prstTxWarp>
          </a:bodyPr>
          <a:lstStyle/>
          <a:p>
            <a:pPr marL="0" lvl="2"/>
            <a:r>
              <a:rPr lang="en-GB" sz="1000">
                <a:latin typeface="Trebuchet MS" panose="020B0603020202020204" pitchFamily="34" charset="0"/>
              </a:rPr>
              <a:t>Corporates with turnover &gt;€100m and &gt;500 employees</a:t>
            </a:r>
          </a:p>
          <a:p>
            <a:pPr marL="0" lvl="2"/>
            <a:endParaRPr lang="en-GB" sz="1000">
              <a:latin typeface="Trebuchet MS" panose="020B0603020202020204" pitchFamily="34" charset="0"/>
            </a:endParaRPr>
          </a:p>
          <a:p>
            <a:pPr marL="0" lvl="2"/>
            <a:r>
              <a:rPr lang="en-GB" sz="1000">
                <a:latin typeface="Trebuchet MS" panose="020B0603020202020204" pitchFamily="34" charset="0"/>
              </a:rPr>
              <a:t>All companies </a:t>
            </a:r>
          </a:p>
        </p:txBody>
      </p:sp>
      <p:sp>
        <p:nvSpPr>
          <p:cNvPr id="56" name="Rectangle 55">
            <a:extLst>
              <a:ext uri="{FF2B5EF4-FFF2-40B4-BE49-F238E27FC236}">
                <a16:creationId xmlns:a16="http://schemas.microsoft.com/office/drawing/2014/main" id="{39EAC2A5-F397-42A4-AB9F-A6FE59CD1673}"/>
              </a:ext>
            </a:extLst>
          </p:cNvPr>
          <p:cNvSpPr/>
          <p:nvPr/>
        </p:nvSpPr>
        <p:spPr bwMode="auto">
          <a:xfrm>
            <a:off x="4667616" y="4658138"/>
            <a:ext cx="2991711" cy="756272"/>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marL="176213"/>
            <a:r>
              <a:rPr lang="en-GB" sz="1000">
                <a:latin typeface="Trebuchet MS" panose="020B0603020202020204" pitchFamily="34" charset="0"/>
              </a:rPr>
              <a:t>Companies with financial-related activities: banking, insurance, investment and payment services, regulated profession, real estate, brokerage...</a:t>
            </a:r>
          </a:p>
        </p:txBody>
      </p:sp>
      <p:sp>
        <p:nvSpPr>
          <p:cNvPr id="57" name="Rectangle 56">
            <a:extLst>
              <a:ext uri="{FF2B5EF4-FFF2-40B4-BE49-F238E27FC236}">
                <a16:creationId xmlns:a16="http://schemas.microsoft.com/office/drawing/2014/main" id="{0526F65E-9F44-45FE-90F3-79B3187F25D7}"/>
              </a:ext>
            </a:extLst>
          </p:cNvPr>
          <p:cNvSpPr/>
          <p:nvPr/>
        </p:nvSpPr>
        <p:spPr bwMode="auto">
          <a:xfrm>
            <a:off x="7881622" y="3679474"/>
            <a:ext cx="1764886" cy="859695"/>
          </a:xfrm>
          <a:prstGeom prst="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square" lIns="288000" tIns="0" rIns="72000" bIns="0" numCol="1" rtlCol="0" anchor="ctr" anchorCtr="0" compatLnSpc="1">
            <a:prstTxWarp prst="textNoShape">
              <a:avLst/>
            </a:prstTxWarp>
          </a:bodyPr>
          <a:lstStyle/>
          <a:p>
            <a:r>
              <a:rPr lang="en-GB" sz="1000">
                <a:latin typeface="Trebuchet MS" panose="020B0603020202020204" pitchFamily="34" charset="0"/>
              </a:rPr>
              <a:t>MiFID II (implemented in 2014)</a:t>
            </a:r>
          </a:p>
        </p:txBody>
      </p:sp>
      <p:pic>
        <p:nvPicPr>
          <p:cNvPr id="58" name="Picture 93" descr="A picture containing flower, sunflower&#10;&#10;Description automatically generated">
            <a:extLst>
              <a:ext uri="{FF2B5EF4-FFF2-40B4-BE49-F238E27FC236}">
                <a16:creationId xmlns:a16="http://schemas.microsoft.com/office/drawing/2014/main" id="{1B3746C9-593A-4C1C-9C5D-134D8E66E745}"/>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7917174" y="4048947"/>
            <a:ext cx="189332" cy="126221"/>
          </a:xfrm>
          <a:prstGeom prst="roundRect">
            <a:avLst/>
          </a:prstGeom>
        </p:spPr>
      </p:pic>
      <p:sp>
        <p:nvSpPr>
          <p:cNvPr id="59" name="Rectangle: Rounded Corners 112">
            <a:extLst>
              <a:ext uri="{FF2B5EF4-FFF2-40B4-BE49-F238E27FC236}">
                <a16:creationId xmlns:a16="http://schemas.microsoft.com/office/drawing/2014/main" id="{52733709-2D22-4DA2-B962-07511AD8C74F}"/>
              </a:ext>
            </a:extLst>
          </p:cNvPr>
          <p:cNvSpPr/>
          <p:nvPr/>
        </p:nvSpPr>
        <p:spPr bwMode="auto">
          <a:xfrm>
            <a:off x="5359589" y="6580025"/>
            <a:ext cx="320890" cy="137665"/>
          </a:xfrm>
          <a:prstGeom prst="roundRect">
            <a:avLst>
              <a:gd name="adj" fmla="val 10420"/>
            </a:avLst>
          </a:prstGeom>
          <a:no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lang="en-GB"/>
          </a:p>
        </p:txBody>
      </p:sp>
      <p:sp>
        <p:nvSpPr>
          <p:cNvPr id="60" name="Rectangle 59">
            <a:extLst>
              <a:ext uri="{FF2B5EF4-FFF2-40B4-BE49-F238E27FC236}">
                <a16:creationId xmlns:a16="http://schemas.microsoft.com/office/drawing/2014/main" id="{506A2900-B305-4345-8FA7-427DC6CEA302}"/>
              </a:ext>
            </a:extLst>
          </p:cNvPr>
          <p:cNvSpPr/>
          <p:nvPr/>
        </p:nvSpPr>
        <p:spPr>
          <a:xfrm>
            <a:off x="5680478" y="6554260"/>
            <a:ext cx="1507847" cy="189194"/>
          </a:xfrm>
          <a:prstGeom prst="rect">
            <a:avLst/>
          </a:prstGeom>
        </p:spPr>
        <p:txBody>
          <a:bodyPr wrap="none" anchor="ctr">
            <a:noAutofit/>
          </a:bodyPr>
          <a:lstStyle/>
          <a:p>
            <a:r>
              <a:rPr lang="en-GB" sz="1000" i="1">
                <a:latin typeface="Trebuchet MS" panose="020B0603020202020204" pitchFamily="34" charset="0"/>
              </a:rPr>
              <a:t>Compliance segments addressed by </a:t>
            </a:r>
            <a:r>
              <a:rPr lang="en-GB" sz="1000" i="1" err="1">
                <a:latin typeface="Trebuchet MS" panose="020B0603020202020204" pitchFamily="34" charset="0"/>
              </a:rPr>
              <a:t>Altares</a:t>
            </a:r>
            <a:endParaRPr lang="en-GB" sz="1000" i="1">
              <a:latin typeface="Trebuchet MS" panose="020B0603020202020204" pitchFamily="34" charset="0"/>
            </a:endParaRPr>
          </a:p>
        </p:txBody>
      </p:sp>
      <p:pic>
        <p:nvPicPr>
          <p:cNvPr id="61" name="Picture 2" descr="ALTARES-D&amp;B - L'ASSOCIATION FRANCAISE DES CREDIT MANAGERS ET CONSEILS">
            <a:extLst>
              <a:ext uri="{FF2B5EF4-FFF2-40B4-BE49-F238E27FC236}">
                <a16:creationId xmlns:a16="http://schemas.microsoft.com/office/drawing/2014/main" id="{478D865D-6036-49BD-891C-39DFF8ACFC06}"/>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48021" y="5917433"/>
            <a:ext cx="442792" cy="248020"/>
          </a:xfrm>
          <a:prstGeom prst="rect">
            <a:avLst/>
          </a:prstGeom>
          <a:noFill/>
          <a:extLst>
            <a:ext uri="{909E8E84-426E-40DD-AFC4-6F175D3DCCD1}">
              <a14:hiddenFill xmlns:a14="http://schemas.microsoft.com/office/drawing/2010/main">
                <a:solidFill>
                  <a:srgbClr val="FFFFFF"/>
                </a:solidFill>
              </a14:hiddenFill>
            </a:ext>
          </a:extLst>
        </p:spPr>
      </p:pic>
      <p:sp>
        <p:nvSpPr>
          <p:cNvPr id="62" name="Rectangle 61">
            <a:extLst>
              <a:ext uri="{FF2B5EF4-FFF2-40B4-BE49-F238E27FC236}">
                <a16:creationId xmlns:a16="http://schemas.microsoft.com/office/drawing/2014/main" id="{11163C37-79B7-4527-8D95-57F5E45E51AF}"/>
              </a:ext>
            </a:extLst>
          </p:cNvPr>
          <p:cNvSpPr/>
          <p:nvPr/>
        </p:nvSpPr>
        <p:spPr bwMode="auto">
          <a:xfrm>
            <a:off x="776361" y="5553392"/>
            <a:ext cx="2977375" cy="916857"/>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endParaRPr lang="en-GB" sz="1000">
              <a:latin typeface="Trebuchet MS" panose="020B0603020202020204" pitchFamily="34" charset="0"/>
            </a:endParaRPr>
          </a:p>
          <a:p>
            <a:endParaRPr lang="en-GB" sz="1000">
              <a:latin typeface="Trebuchet MS" panose="020B0603020202020204" pitchFamily="34" charset="0"/>
            </a:endParaRPr>
          </a:p>
          <a:p>
            <a:pPr marL="176213"/>
            <a:r>
              <a:rPr lang="en-GB" sz="1000">
                <a:solidFill>
                  <a:schemeClr val="tx2"/>
                </a:solidFill>
                <a:latin typeface="Trebuchet MS" panose="020B0603020202020204" pitchFamily="34" charset="0"/>
              </a:rPr>
              <a:t>End-to-end on-the-shelf compliance solution</a:t>
            </a:r>
            <a:r>
              <a:rPr lang="en-GB" sz="1000">
                <a:latin typeface="Trebuchet MS" panose="020B0603020202020204" pitchFamily="34" charset="0"/>
              </a:rPr>
              <a:t> focusing on anti-corruption companies’ needs</a:t>
            </a:r>
          </a:p>
          <a:p>
            <a:endParaRPr lang="en-GB" sz="1000">
              <a:latin typeface="Trebuchet MS" panose="020B0603020202020204" pitchFamily="34" charset="0"/>
            </a:endParaRPr>
          </a:p>
        </p:txBody>
      </p:sp>
      <p:sp>
        <p:nvSpPr>
          <p:cNvPr id="65" name="Rectangle 64">
            <a:extLst>
              <a:ext uri="{FF2B5EF4-FFF2-40B4-BE49-F238E27FC236}">
                <a16:creationId xmlns:a16="http://schemas.microsoft.com/office/drawing/2014/main" id="{C7DC1DBB-186C-439E-AD0F-C5A629755E01}"/>
              </a:ext>
            </a:extLst>
          </p:cNvPr>
          <p:cNvSpPr/>
          <p:nvPr/>
        </p:nvSpPr>
        <p:spPr bwMode="auto">
          <a:xfrm>
            <a:off x="4667615" y="5553393"/>
            <a:ext cx="2991711" cy="916856"/>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marL="176213"/>
            <a:r>
              <a:rPr lang="en-GB" sz="1000" err="1">
                <a:latin typeface="Trebuchet MS" panose="020B0603020202020204" pitchFamily="34" charset="0"/>
              </a:rPr>
              <a:t>Altares</a:t>
            </a:r>
            <a:r>
              <a:rPr lang="en-GB" sz="1000">
                <a:latin typeface="Trebuchet MS" panose="020B0603020202020204" pitchFamily="34" charset="0"/>
              </a:rPr>
              <a:t> operates as an </a:t>
            </a:r>
            <a:r>
              <a:rPr lang="en-GB" sz="1000">
                <a:solidFill>
                  <a:schemeClr val="tx2"/>
                </a:solidFill>
                <a:latin typeface="Trebuchet MS" panose="020B0603020202020204" pitchFamily="34" charset="0"/>
              </a:rPr>
              <a:t>upstream</a:t>
            </a:r>
            <a:r>
              <a:rPr lang="en-GB" sz="1000">
                <a:latin typeface="Trebuchet MS" panose="020B0603020202020204" pitchFamily="34" charset="0"/>
              </a:rPr>
              <a:t> </a:t>
            </a:r>
            <a:r>
              <a:rPr lang="en-GB" sz="1000">
                <a:solidFill>
                  <a:schemeClr val="tx2"/>
                </a:solidFill>
                <a:latin typeface="Trebuchet MS" panose="020B0603020202020204" pitchFamily="34" charset="0"/>
              </a:rPr>
              <a:t>data provider</a:t>
            </a:r>
            <a:r>
              <a:rPr lang="en-GB" sz="1000">
                <a:latin typeface="Trebuchet MS" panose="020B0603020202020204" pitchFamily="34" charset="0"/>
              </a:rPr>
              <a:t>, notably with </a:t>
            </a:r>
            <a:r>
              <a:rPr lang="en-GB" sz="1000">
                <a:solidFill>
                  <a:schemeClr val="tx2"/>
                </a:solidFill>
                <a:latin typeface="Trebuchet MS" panose="020B0603020202020204" pitchFamily="34" charset="0"/>
              </a:rPr>
              <a:t>tailor-made solutions </a:t>
            </a:r>
            <a:r>
              <a:rPr lang="en-GB" sz="1000">
                <a:latin typeface="Trebuchet MS" panose="020B0603020202020204" pitchFamily="34" charset="0"/>
              </a:rPr>
              <a:t>(mostly in BNL):</a:t>
            </a:r>
          </a:p>
          <a:p>
            <a:pPr marL="176213"/>
            <a:endParaRPr lang="en-GB" sz="1000">
              <a:latin typeface="Trebuchet MS" panose="020B0603020202020204" pitchFamily="34" charset="0"/>
            </a:endParaRPr>
          </a:p>
          <a:p>
            <a:pPr marL="176213"/>
            <a:endParaRPr lang="en-GB" sz="1000">
              <a:latin typeface="Trebuchet MS" panose="020B0603020202020204" pitchFamily="34" charset="0"/>
            </a:endParaRPr>
          </a:p>
          <a:p>
            <a:pPr marL="176213"/>
            <a:endParaRPr lang="en-GB" sz="1000">
              <a:latin typeface="Trebuchet MS" panose="020B0603020202020204" pitchFamily="34" charset="0"/>
            </a:endParaRPr>
          </a:p>
        </p:txBody>
      </p:sp>
      <p:pic>
        <p:nvPicPr>
          <p:cNvPr id="66" name="Picture 2" descr="IndueD - La conformité simplifiée - KYC | Altares DB France">
            <a:extLst>
              <a:ext uri="{FF2B5EF4-FFF2-40B4-BE49-F238E27FC236}">
                <a16:creationId xmlns:a16="http://schemas.microsoft.com/office/drawing/2014/main" id="{FF2E2C85-5A6F-42EF-9616-D6D945EECC45}"/>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935606" y="5589439"/>
            <a:ext cx="523255" cy="180000"/>
          </a:xfrm>
          <a:prstGeom prst="rect">
            <a:avLst/>
          </a:prstGeom>
          <a:noFill/>
          <a:extLst>
            <a:ext uri="{909E8E84-426E-40DD-AFC4-6F175D3DCCD1}">
              <a14:hiddenFill xmlns:a14="http://schemas.microsoft.com/office/drawing/2010/main">
                <a:solidFill>
                  <a:srgbClr val="FFFFFF"/>
                </a:solidFill>
              </a14:hiddenFill>
            </a:ext>
          </a:extLst>
        </p:spPr>
      </p:pic>
      <p:sp>
        <p:nvSpPr>
          <p:cNvPr id="68" name="Arc 67">
            <a:extLst>
              <a:ext uri="{FF2B5EF4-FFF2-40B4-BE49-F238E27FC236}">
                <a16:creationId xmlns:a16="http://schemas.microsoft.com/office/drawing/2014/main" id="{742248EF-ECF0-463E-93AD-8036E69C135A}"/>
              </a:ext>
            </a:extLst>
          </p:cNvPr>
          <p:cNvSpPr/>
          <p:nvPr/>
        </p:nvSpPr>
        <p:spPr bwMode="auto">
          <a:xfrm>
            <a:off x="3901124" y="3124725"/>
            <a:ext cx="650918" cy="284793"/>
          </a:xfrm>
          <a:prstGeom prst="arc">
            <a:avLst>
              <a:gd name="adj1" fmla="val 51729"/>
              <a:gd name="adj2" fmla="val 10863587"/>
            </a:avLst>
          </a:prstGeom>
          <a:noFill/>
          <a:ln w="28575" cap="flat" cmpd="sng" algn="ctr">
            <a:solidFill>
              <a:schemeClr val="tx1"/>
            </a:solidFill>
            <a:prstDash val="solid"/>
            <a:round/>
            <a:headEnd type="triangl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69" name="ZoneTexte 68">
            <a:extLst>
              <a:ext uri="{FF2B5EF4-FFF2-40B4-BE49-F238E27FC236}">
                <a16:creationId xmlns:a16="http://schemas.microsoft.com/office/drawing/2014/main" id="{D511B106-4C6C-4A02-B0EA-1D6877F534C5}"/>
              </a:ext>
            </a:extLst>
          </p:cNvPr>
          <p:cNvSpPr txBox="1"/>
          <p:nvPr/>
        </p:nvSpPr>
        <p:spPr>
          <a:xfrm>
            <a:off x="3819092" y="4673119"/>
            <a:ext cx="817652" cy="584775"/>
          </a:xfrm>
          <a:prstGeom prst="rect">
            <a:avLst/>
          </a:prstGeom>
          <a:noFill/>
        </p:spPr>
        <p:txBody>
          <a:bodyPr wrap="square" rtlCol="0">
            <a:spAutoFit/>
          </a:bodyPr>
          <a:lstStyle>
            <a:defPPr>
              <a:defRPr lang="en-US"/>
            </a:defPPr>
            <a:lvl1pPr>
              <a:defRPr sz="900" i="1">
                <a:latin typeface="Trebuchet MS" panose="020B0603020202020204" pitchFamily="34" charset="0"/>
              </a:defRPr>
            </a:lvl1pPr>
          </a:lstStyle>
          <a:p>
            <a:pPr algn="ctr"/>
            <a:r>
              <a:rPr lang="en-GB" sz="800"/>
              <a:t>Some clients are targeted by both regulations</a:t>
            </a:r>
          </a:p>
        </p:txBody>
      </p:sp>
      <p:sp>
        <p:nvSpPr>
          <p:cNvPr id="70" name="Arc 69">
            <a:extLst>
              <a:ext uri="{FF2B5EF4-FFF2-40B4-BE49-F238E27FC236}">
                <a16:creationId xmlns:a16="http://schemas.microsoft.com/office/drawing/2014/main" id="{640EEAB9-BD57-485B-A07F-A6D5ABEA2E8A}"/>
              </a:ext>
            </a:extLst>
          </p:cNvPr>
          <p:cNvSpPr/>
          <p:nvPr/>
        </p:nvSpPr>
        <p:spPr bwMode="auto">
          <a:xfrm>
            <a:off x="3904732" y="5020460"/>
            <a:ext cx="650918" cy="284793"/>
          </a:xfrm>
          <a:prstGeom prst="arc">
            <a:avLst>
              <a:gd name="adj1" fmla="val 51729"/>
              <a:gd name="adj2" fmla="val 10863587"/>
            </a:avLst>
          </a:prstGeom>
          <a:noFill/>
          <a:ln w="28575" cap="flat" cmpd="sng" algn="ctr">
            <a:solidFill>
              <a:schemeClr val="tx1"/>
            </a:solidFill>
            <a:prstDash val="solid"/>
            <a:round/>
            <a:headEnd type="triangl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71" name="ZoneTexte 70">
            <a:extLst>
              <a:ext uri="{FF2B5EF4-FFF2-40B4-BE49-F238E27FC236}">
                <a16:creationId xmlns:a16="http://schemas.microsoft.com/office/drawing/2014/main" id="{6EC0AA98-F65C-4D0E-AE50-60B772D25F0C}"/>
              </a:ext>
            </a:extLst>
          </p:cNvPr>
          <p:cNvSpPr txBox="1"/>
          <p:nvPr/>
        </p:nvSpPr>
        <p:spPr>
          <a:xfrm>
            <a:off x="3852650" y="2545901"/>
            <a:ext cx="743320" cy="784830"/>
          </a:xfrm>
          <a:prstGeom prst="rect">
            <a:avLst/>
          </a:prstGeom>
          <a:noFill/>
        </p:spPr>
        <p:txBody>
          <a:bodyPr wrap="square" rtlCol="0">
            <a:spAutoFit/>
          </a:bodyPr>
          <a:lstStyle>
            <a:defPPr>
              <a:defRPr lang="en-US"/>
            </a:defPPr>
            <a:lvl1pPr>
              <a:defRPr sz="900" i="1">
                <a:latin typeface="Trebuchet MS" panose="020B0603020202020204" pitchFamily="34" charset="0"/>
              </a:defRPr>
            </a:lvl1pPr>
          </a:lstStyle>
          <a:p>
            <a:pPr algn="ctr"/>
            <a:r>
              <a:rPr lang="en-GB"/>
              <a:t>Similar B2B data needs but different treatment</a:t>
            </a:r>
          </a:p>
        </p:txBody>
      </p:sp>
      <p:sp>
        <p:nvSpPr>
          <p:cNvPr id="72" name="Rectangle 71">
            <a:extLst>
              <a:ext uri="{FF2B5EF4-FFF2-40B4-BE49-F238E27FC236}">
                <a16:creationId xmlns:a16="http://schemas.microsoft.com/office/drawing/2014/main" id="{24CA2BFF-3CBB-4CAA-8383-368A942469E6}"/>
              </a:ext>
            </a:extLst>
          </p:cNvPr>
          <p:cNvSpPr/>
          <p:nvPr/>
        </p:nvSpPr>
        <p:spPr bwMode="auto">
          <a:xfrm>
            <a:off x="7881621" y="4658137"/>
            <a:ext cx="1764886" cy="1806239"/>
          </a:xfrm>
          <a:prstGeom prst="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a:r>
              <a:rPr lang="en-GB" sz="1000" i="1">
                <a:latin typeface="Trebuchet MS" panose="020B0603020202020204" pitchFamily="34" charset="0"/>
              </a:rPr>
              <a:t>Not addressed by </a:t>
            </a:r>
            <a:r>
              <a:rPr lang="en-GB" sz="1000" i="1" err="1">
                <a:latin typeface="Trebuchet MS" panose="020B0603020202020204" pitchFamily="34" charset="0"/>
              </a:rPr>
              <a:t>Altares</a:t>
            </a:r>
            <a:endParaRPr lang="en-GB" sz="1000" i="1">
              <a:latin typeface="Trebuchet MS" panose="020B0603020202020204" pitchFamily="34" charset="0"/>
            </a:endParaRPr>
          </a:p>
        </p:txBody>
      </p:sp>
      <p:sp>
        <p:nvSpPr>
          <p:cNvPr id="67" name="ZoneTexte 66">
            <a:extLst>
              <a:ext uri="{FF2B5EF4-FFF2-40B4-BE49-F238E27FC236}">
                <a16:creationId xmlns:a16="http://schemas.microsoft.com/office/drawing/2014/main" id="{C0B67FB0-55A1-4CAF-A504-C04D694D084D}"/>
              </a:ext>
            </a:extLst>
          </p:cNvPr>
          <p:cNvSpPr txBox="1"/>
          <p:nvPr/>
        </p:nvSpPr>
        <p:spPr>
          <a:xfrm>
            <a:off x="-5620" y="6118864"/>
            <a:ext cx="781982" cy="246221"/>
          </a:xfrm>
          <a:prstGeom prst="rect">
            <a:avLst/>
          </a:prstGeom>
          <a:noFill/>
        </p:spPr>
        <p:txBody>
          <a:bodyPr wrap="square" rtlCol="0">
            <a:spAutoFit/>
          </a:bodyPr>
          <a:lstStyle/>
          <a:p>
            <a:pPr algn="ctr"/>
            <a:r>
              <a:rPr lang="en-GB" sz="1000">
                <a:latin typeface="Trebuchet MS" panose="020B0603020202020204" pitchFamily="34" charset="0"/>
              </a:rPr>
              <a:t>Solutions</a:t>
            </a:r>
          </a:p>
        </p:txBody>
      </p:sp>
      <p:sp>
        <p:nvSpPr>
          <p:cNvPr id="75" name="ZoneTexte 74">
            <a:extLst>
              <a:ext uri="{FF2B5EF4-FFF2-40B4-BE49-F238E27FC236}">
                <a16:creationId xmlns:a16="http://schemas.microsoft.com/office/drawing/2014/main" id="{889C699B-5E9B-4D47-9530-E2188F628C68}"/>
              </a:ext>
            </a:extLst>
          </p:cNvPr>
          <p:cNvSpPr txBox="1"/>
          <p:nvPr/>
        </p:nvSpPr>
        <p:spPr>
          <a:xfrm>
            <a:off x="-20710" y="2906784"/>
            <a:ext cx="812161" cy="507831"/>
          </a:xfrm>
          <a:prstGeom prst="rect">
            <a:avLst/>
          </a:prstGeom>
          <a:noFill/>
        </p:spPr>
        <p:txBody>
          <a:bodyPr wrap="square" rtlCol="0">
            <a:spAutoFit/>
          </a:bodyPr>
          <a:lstStyle/>
          <a:p>
            <a:pPr algn="ctr"/>
            <a:r>
              <a:rPr lang="en-GB" sz="900">
                <a:latin typeface="Trebuchet MS" panose="020B0603020202020204" pitchFamily="34" charset="0"/>
              </a:rPr>
              <a:t>Volume and frequency of data</a:t>
            </a:r>
          </a:p>
        </p:txBody>
      </p:sp>
      <p:sp>
        <p:nvSpPr>
          <p:cNvPr id="73" name="ZoneTexte 72">
            <a:extLst>
              <a:ext uri="{FF2B5EF4-FFF2-40B4-BE49-F238E27FC236}">
                <a16:creationId xmlns:a16="http://schemas.microsoft.com/office/drawing/2014/main" id="{83DEF85A-01DB-4DC1-A04F-586C0417E22D}"/>
              </a:ext>
            </a:extLst>
          </p:cNvPr>
          <p:cNvSpPr txBox="1"/>
          <p:nvPr/>
        </p:nvSpPr>
        <p:spPr>
          <a:xfrm>
            <a:off x="66114" y="2420283"/>
            <a:ext cx="667256" cy="477054"/>
          </a:xfrm>
          <a:prstGeom prst="rect">
            <a:avLst/>
          </a:prstGeom>
          <a:noFill/>
        </p:spPr>
        <p:txBody>
          <a:bodyPr wrap="square" rtlCol="0">
            <a:spAutoFit/>
          </a:bodyPr>
          <a:lstStyle/>
          <a:p>
            <a:pPr algn="ctr"/>
            <a:r>
              <a:rPr lang="en-GB" sz="500">
                <a:latin typeface="Trebuchet MS" panose="020B0603020202020204" pitchFamily="34" charset="0"/>
              </a:rPr>
              <a:t>0101010101</a:t>
            </a:r>
          </a:p>
          <a:p>
            <a:pPr algn="ctr"/>
            <a:r>
              <a:rPr lang="en-GB" sz="500">
                <a:latin typeface="Trebuchet MS" panose="020B0603020202020204" pitchFamily="34" charset="0"/>
              </a:rPr>
              <a:t>0101010101</a:t>
            </a:r>
          </a:p>
          <a:p>
            <a:pPr algn="ctr"/>
            <a:r>
              <a:rPr lang="en-GB" sz="500">
                <a:latin typeface="Trebuchet MS" panose="020B0603020202020204" pitchFamily="34" charset="0"/>
              </a:rPr>
              <a:t>0101010101</a:t>
            </a:r>
          </a:p>
          <a:p>
            <a:pPr algn="ctr"/>
            <a:r>
              <a:rPr lang="en-GB" sz="500">
                <a:latin typeface="Trebuchet MS" panose="020B0603020202020204" pitchFamily="34" charset="0"/>
              </a:rPr>
              <a:t>0101010101</a:t>
            </a:r>
          </a:p>
          <a:p>
            <a:pPr algn="ctr"/>
            <a:r>
              <a:rPr lang="en-GB" sz="500">
                <a:latin typeface="Trebuchet MS" panose="020B0603020202020204" pitchFamily="34" charset="0"/>
              </a:rPr>
              <a:t>0101010101</a:t>
            </a:r>
          </a:p>
        </p:txBody>
      </p:sp>
      <p:pic>
        <p:nvPicPr>
          <p:cNvPr id="79" name="Picture 2" descr="5 ft x 3 ft 150 x 90 cm-DRAPEAU BELGE Belgique 100% Polyester ...">
            <a:extLst>
              <a:ext uri="{FF2B5EF4-FFF2-40B4-BE49-F238E27FC236}">
                <a16:creationId xmlns:a16="http://schemas.microsoft.com/office/drawing/2014/main" id="{EC39E12A-0F39-4322-862E-6D3701E4A5B9}"/>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813158" y="5049176"/>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80" name="Picture 2 - 1" descr="Drapeau des Pays-Bas — Wikipédia">
            <a:extLst>
              <a:ext uri="{FF2B5EF4-FFF2-40B4-BE49-F238E27FC236}">
                <a16:creationId xmlns:a16="http://schemas.microsoft.com/office/drawing/2014/main" id="{FD07DFBD-4236-4D4B-A5CB-76E05A6C807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13159" y="5173587"/>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1" name="Picture 2 - 2" descr="Drapeau du Luxembourg">
            <a:extLst>
              <a:ext uri="{FF2B5EF4-FFF2-40B4-BE49-F238E27FC236}">
                <a16:creationId xmlns:a16="http://schemas.microsoft.com/office/drawing/2014/main" id="{F53B3A02-C84F-425A-B6B5-1863F2A0706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12743" y="5297997"/>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82" name="Picture 2" descr="Drapeau France">
            <a:extLst>
              <a:ext uri="{FF2B5EF4-FFF2-40B4-BE49-F238E27FC236}">
                <a16:creationId xmlns:a16="http://schemas.microsoft.com/office/drawing/2014/main" id="{5BBBEC25-1D7F-4453-B06F-0EE143764803}"/>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805406" y="4767498"/>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78" name="ZoneTexte 77">
            <a:extLst>
              <a:ext uri="{FF2B5EF4-FFF2-40B4-BE49-F238E27FC236}">
                <a16:creationId xmlns:a16="http://schemas.microsoft.com/office/drawing/2014/main" id="{26DDFBA2-BAA6-4131-98DA-FB704A1AF2E0}"/>
              </a:ext>
            </a:extLst>
          </p:cNvPr>
          <p:cNvSpPr txBox="1"/>
          <p:nvPr/>
        </p:nvSpPr>
        <p:spPr>
          <a:xfrm>
            <a:off x="5139500" y="5837116"/>
            <a:ext cx="2742120" cy="646331"/>
          </a:xfrm>
          <a:prstGeom prst="rect">
            <a:avLst/>
          </a:prstGeom>
          <a:noFill/>
        </p:spPr>
        <p:txBody>
          <a:bodyPr wrap="square">
            <a:spAutoFit/>
          </a:bodyPr>
          <a:lstStyle/>
          <a:p>
            <a:pPr marL="442913" marR="0" lvl="0" indent="-17462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UBOs</a:t>
            </a:r>
          </a:p>
          <a:p>
            <a:pPr marL="442913" marR="0" lvl="0" indent="-17462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amp;B data and referential (e.g. DUNs)</a:t>
            </a:r>
          </a:p>
          <a:p>
            <a:pPr marL="442913" marR="0" lvl="0" indent="-17462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Need for integration (e.g. into CRM)</a:t>
            </a:r>
            <a:endParaRPr kumimoji="0" lang="en-GB" sz="900" b="0" i="0" u="none" strike="noStrike" kern="1200" cap="none" spc="0" normalizeH="0" baseline="30000" noProof="0">
              <a:ln>
                <a:noFill/>
              </a:ln>
              <a:solidFill>
                <a:srgbClr val="6C6C6C"/>
              </a:solidFill>
              <a:effectLst/>
              <a:uLnTx/>
              <a:uFillTx/>
              <a:latin typeface="Trebuchet MS" panose="020B0603020202020204" pitchFamily="34" charset="0"/>
              <a:ea typeface="+mn-ea"/>
              <a:cs typeface="Arial" pitchFamily="34" charset="0"/>
            </a:endParaRPr>
          </a:p>
          <a:p>
            <a:pPr marL="442913" marR="0" lvl="0" indent="-17462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PO services (non core)</a:t>
            </a:r>
          </a:p>
        </p:txBody>
      </p:sp>
    </p:spTree>
    <p:extLst>
      <p:ext uri="{BB962C8B-B14F-4D97-AF65-F5344CB8AC3E}">
        <p14:creationId xmlns:p14="http://schemas.microsoft.com/office/powerpoint/2010/main" val="3098173606"/>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E29950-9222-4340-87A9-F71DECD421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6BE29950-9222-4340-87A9-F71DECD421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FFA6C4-FB36-4810-8985-357F47AC8D3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cxnSp>
        <p:nvCxnSpPr>
          <p:cNvPr id="4" name="Connecteur droit 3">
            <a:extLst>
              <a:ext uri="{FF2B5EF4-FFF2-40B4-BE49-F238E27FC236}">
                <a16:creationId xmlns:a16="http://schemas.microsoft.com/office/drawing/2014/main" id="{4C059329-E9D7-4B4C-8E45-65970EA38BE8}"/>
              </a:ext>
            </a:extLst>
          </p:cNvPr>
          <p:cNvCxnSpPr>
            <a:cxnSpLocks/>
          </p:cNvCxnSpPr>
          <p:nvPr/>
        </p:nvCxnSpPr>
        <p:spPr bwMode="auto">
          <a:xfrm>
            <a:off x="272227" y="1108153"/>
            <a:ext cx="450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cxnSp>
        <p:nvCxnSpPr>
          <p:cNvPr id="6" name="Connecteur droit 5">
            <a:extLst>
              <a:ext uri="{FF2B5EF4-FFF2-40B4-BE49-F238E27FC236}">
                <a16:creationId xmlns:a16="http://schemas.microsoft.com/office/drawing/2014/main" id="{2BC1C663-9FB9-4B62-9369-0E2684463FA2}"/>
              </a:ext>
            </a:extLst>
          </p:cNvPr>
          <p:cNvCxnSpPr>
            <a:cxnSpLocks/>
          </p:cNvCxnSpPr>
          <p:nvPr/>
        </p:nvCxnSpPr>
        <p:spPr bwMode="auto">
          <a:xfrm>
            <a:off x="5106409" y="1108153"/>
            <a:ext cx="450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 name="Titre 1">
            <a:extLst>
              <a:ext uri="{FF2B5EF4-FFF2-40B4-BE49-F238E27FC236}">
                <a16:creationId xmlns:a16="http://schemas.microsoft.com/office/drawing/2014/main" id="{2881A290-A964-4589-8D4A-32237EA140FB}"/>
              </a:ext>
            </a:extLst>
          </p:cNvPr>
          <p:cNvSpPr>
            <a:spLocks noGrp="1"/>
          </p:cNvSpPr>
          <p:nvPr>
            <p:ph type="title"/>
          </p:nvPr>
        </p:nvSpPr>
        <p:spPr>
          <a:xfrm>
            <a:off x="165600" y="147600"/>
            <a:ext cx="8596660" cy="684000"/>
          </a:xfrm>
        </p:spPr>
        <p:txBody>
          <a:bodyPr/>
          <a:lstStyle/>
          <a:p>
            <a:r>
              <a:rPr lang="en-GB">
                <a:latin typeface="Trebuchet MS" panose="020B0603020202020204" pitchFamily="34" charset="0"/>
              </a:rPr>
              <a:t>The French and Benelux </a:t>
            </a:r>
            <a:r>
              <a:rPr lang="en-GB">
                <a:solidFill>
                  <a:schemeClr val="tx2"/>
                </a:solidFill>
                <a:latin typeface="Trebuchet MS" panose="020B0603020202020204" pitchFamily="34" charset="0"/>
              </a:rPr>
              <a:t>compliance</a:t>
            </a:r>
            <a:r>
              <a:rPr lang="en-GB">
                <a:latin typeface="Trebuchet MS" panose="020B0603020202020204" pitchFamily="34" charset="0"/>
              </a:rPr>
              <a:t> market is experiencing </a:t>
            </a:r>
            <a:r>
              <a:rPr lang="en-GB">
                <a:solidFill>
                  <a:schemeClr val="tx2"/>
                </a:solidFill>
                <a:latin typeface="Trebuchet MS" panose="020B0603020202020204" pitchFamily="34" charset="0"/>
              </a:rPr>
              <a:t>sustained</a:t>
            </a:r>
            <a:r>
              <a:rPr lang="en-GB">
                <a:latin typeface="Trebuchet MS" panose="020B0603020202020204" pitchFamily="34" charset="0"/>
              </a:rPr>
              <a:t> </a:t>
            </a:r>
            <a:r>
              <a:rPr lang="en-GB">
                <a:solidFill>
                  <a:schemeClr val="tx2"/>
                </a:solidFill>
                <a:latin typeface="Trebuchet MS" panose="020B0603020202020204" pitchFamily="34" charset="0"/>
              </a:rPr>
              <a:t>growth</a:t>
            </a:r>
            <a:r>
              <a:rPr lang="en-GB">
                <a:latin typeface="Trebuchet MS" panose="020B0603020202020204" pitchFamily="34" charset="0"/>
              </a:rPr>
              <a:t> that will continue over the coming years due to a regulatory environment that leads companies to keep on complying with legislation</a:t>
            </a:r>
          </a:p>
        </p:txBody>
      </p:sp>
      <p:sp>
        <p:nvSpPr>
          <p:cNvPr id="3" name="Espace réservé du texte 2">
            <a:extLst>
              <a:ext uri="{FF2B5EF4-FFF2-40B4-BE49-F238E27FC236}">
                <a16:creationId xmlns:a16="http://schemas.microsoft.com/office/drawing/2014/main" id="{7D73B612-83D0-4797-9341-963BC626A21C}"/>
              </a:ext>
            </a:extLst>
          </p:cNvPr>
          <p:cNvSpPr>
            <a:spLocks noGrp="1"/>
          </p:cNvSpPr>
          <p:nvPr>
            <p:ph type="body" sz="quarter" idx="10"/>
          </p:nvPr>
        </p:nvSpPr>
        <p:spPr/>
        <p:txBody>
          <a:bodyPr/>
          <a:lstStyle/>
          <a:p>
            <a:r>
              <a:rPr lang="en-GB" dirty="0"/>
              <a:t>Sources: eleven research &amp; analysis, expert calls	 *The Sapin II law concerns all companies with &gt;€500m turnover &gt;employees, Anti-bribery laws mostly concern mid-sized &amp; large companies, AML laws is applicable for all companies that have financial activities, </a:t>
            </a:r>
            <a:r>
              <a:rPr lang="en-GB" dirty="0" err="1"/>
              <a:t>AnaCredit</a:t>
            </a:r>
            <a:r>
              <a:rPr lang="en-GB" dirty="0"/>
              <a:t> to all banks</a:t>
            </a:r>
          </a:p>
        </p:txBody>
      </p:sp>
      <p:sp>
        <p:nvSpPr>
          <p:cNvPr id="32" name="ZoneTexte 31">
            <a:extLst>
              <a:ext uri="{FF2B5EF4-FFF2-40B4-BE49-F238E27FC236}">
                <a16:creationId xmlns:a16="http://schemas.microsoft.com/office/drawing/2014/main" id="{1A2AE403-F44D-4CF2-9ED1-5D62CEA6FBD0}"/>
              </a:ext>
            </a:extLst>
          </p:cNvPr>
          <p:cNvSpPr txBox="1"/>
          <p:nvPr/>
        </p:nvSpPr>
        <p:spPr>
          <a:xfrm>
            <a:off x="1210937" y="972585"/>
            <a:ext cx="2539026" cy="261610"/>
          </a:xfrm>
          <a:prstGeom prst="rect">
            <a:avLst/>
          </a:prstGeom>
          <a:solidFill>
            <a:schemeClr val="bg1"/>
          </a:solidFill>
        </p:spPr>
        <p:txBody>
          <a:bodyPr wrap="square" rtlCol="0">
            <a:spAutoFit/>
          </a:bodyPr>
          <a:lstStyle/>
          <a:p>
            <a:pPr algn="ctr"/>
            <a:r>
              <a:rPr lang="en-GB" sz="1100">
                <a:latin typeface="Trebuchet MS" panose="020B0603020202020204" pitchFamily="34" charset="0"/>
              </a:rPr>
              <a:t>Compliance market sizing in France</a:t>
            </a:r>
          </a:p>
        </p:txBody>
      </p:sp>
      <p:cxnSp>
        <p:nvCxnSpPr>
          <p:cNvPr id="43" name="Connecteur droit 42">
            <a:extLst>
              <a:ext uri="{FF2B5EF4-FFF2-40B4-BE49-F238E27FC236}">
                <a16:creationId xmlns:a16="http://schemas.microsoft.com/office/drawing/2014/main" id="{70569A66-192C-4452-9756-F82E2601CF47}"/>
              </a:ext>
            </a:extLst>
          </p:cNvPr>
          <p:cNvCxnSpPr>
            <a:cxnSpLocks/>
          </p:cNvCxnSpPr>
          <p:nvPr/>
        </p:nvCxnSpPr>
        <p:spPr bwMode="auto">
          <a:xfrm>
            <a:off x="4953000" y="1276531"/>
            <a:ext cx="0" cy="4265604"/>
          </a:xfrm>
          <a:prstGeom prst="line">
            <a:avLst/>
          </a:prstGeom>
          <a:solidFill>
            <a:schemeClr val="accent1"/>
          </a:solidFill>
          <a:ln w="9525" cap="flat" cmpd="sng" algn="ctr">
            <a:solidFill>
              <a:schemeClr val="bg2"/>
            </a:solidFill>
            <a:prstDash val="solid"/>
            <a:round/>
            <a:headEnd type="none" w="med" len="med"/>
            <a:tailEnd type="none" w="med" len="med"/>
          </a:ln>
          <a:effectLst/>
        </p:spPr>
      </p:cxnSp>
      <p:sp>
        <p:nvSpPr>
          <p:cNvPr id="45" name="ZoneTexte 44">
            <a:extLst>
              <a:ext uri="{FF2B5EF4-FFF2-40B4-BE49-F238E27FC236}">
                <a16:creationId xmlns:a16="http://schemas.microsoft.com/office/drawing/2014/main" id="{F1221B6E-F5E0-47C9-BD67-5B54B13DACEF}"/>
              </a:ext>
            </a:extLst>
          </p:cNvPr>
          <p:cNvSpPr txBox="1"/>
          <p:nvPr/>
        </p:nvSpPr>
        <p:spPr>
          <a:xfrm>
            <a:off x="196111" y="1276531"/>
            <a:ext cx="4624812" cy="1967576"/>
          </a:xfrm>
          <a:prstGeom prst="rect">
            <a:avLst/>
          </a:prstGeom>
          <a:solidFill>
            <a:srgbClr val="F2F2F2"/>
          </a:solidFill>
        </p:spPr>
        <p:txBody>
          <a:bodyPr wrap="square" rIns="36000" rtlCol="0">
            <a:noAutofit/>
          </a:bodyPr>
          <a:lstStyle/>
          <a:p>
            <a:pPr>
              <a:spcAft>
                <a:spcPts val="200"/>
              </a:spcAft>
            </a:pPr>
            <a:r>
              <a:rPr lang="en-GB" sz="1000">
                <a:latin typeface="Trebuchet MS" panose="020B0603020202020204" pitchFamily="34" charset="0"/>
              </a:rPr>
              <a:t>The size of the French compliance market depends on: </a:t>
            </a:r>
          </a:p>
          <a:p>
            <a:pPr marL="171450" indent="-171450">
              <a:spcAft>
                <a:spcPts val="200"/>
              </a:spcAft>
              <a:buFont typeface="Arial" panose="020B0604020202020204" pitchFamily="34" charset="0"/>
              <a:buChar char="•"/>
            </a:pPr>
            <a:r>
              <a:rPr lang="en-GB" sz="1000" b="1" i="1">
                <a:latin typeface="Trebuchet MS" panose="020B0603020202020204" pitchFamily="34" charset="0"/>
              </a:rPr>
              <a:t>The regulatory framework</a:t>
            </a:r>
            <a:r>
              <a:rPr lang="en-GB" sz="1000">
                <a:latin typeface="Trebuchet MS" panose="020B0603020202020204" pitchFamily="34" charset="0"/>
              </a:rPr>
              <a:t>: the </a:t>
            </a:r>
            <a:r>
              <a:rPr lang="en-GB" sz="1000" err="1">
                <a:solidFill>
                  <a:schemeClr val="tx2"/>
                </a:solidFill>
                <a:latin typeface="Trebuchet MS" panose="020B0603020202020204" pitchFamily="34" charset="0"/>
              </a:rPr>
              <a:t>Sapin</a:t>
            </a:r>
            <a:r>
              <a:rPr lang="en-GB" sz="1000">
                <a:solidFill>
                  <a:schemeClr val="tx2"/>
                </a:solidFill>
                <a:latin typeface="Trebuchet MS" panose="020B0603020202020204" pitchFamily="34" charset="0"/>
              </a:rPr>
              <a:t> II</a:t>
            </a:r>
            <a:r>
              <a:rPr lang="en-GB" sz="1000">
                <a:latin typeface="Trebuchet MS" panose="020B0603020202020204" pitchFamily="34" charset="0"/>
              </a:rPr>
              <a:t> law requires companies to implement </a:t>
            </a:r>
            <a:r>
              <a:rPr lang="en-GB" sz="1000">
                <a:solidFill>
                  <a:schemeClr val="tx2"/>
                </a:solidFill>
                <a:latin typeface="Trebuchet MS" panose="020B0603020202020204" pitchFamily="34" charset="0"/>
              </a:rPr>
              <a:t>anti-corruption</a:t>
            </a:r>
            <a:r>
              <a:rPr lang="en-GB" sz="1000">
                <a:latin typeface="Trebuchet MS" panose="020B0603020202020204" pitchFamily="34" charset="0"/>
              </a:rPr>
              <a:t> practices while </a:t>
            </a:r>
            <a:r>
              <a:rPr lang="en-GB" sz="1000">
                <a:solidFill>
                  <a:schemeClr val="tx2"/>
                </a:solidFill>
                <a:latin typeface="Trebuchet MS" panose="020B0603020202020204" pitchFamily="34" charset="0"/>
              </a:rPr>
              <a:t>AML</a:t>
            </a:r>
            <a:r>
              <a:rPr lang="en-GB" sz="1000">
                <a:latin typeface="Trebuchet MS" panose="020B0603020202020204" pitchFamily="34" charset="0"/>
              </a:rPr>
              <a:t> </a:t>
            </a:r>
            <a:r>
              <a:rPr lang="en-GB" sz="1000">
                <a:solidFill>
                  <a:schemeClr val="tx2"/>
                </a:solidFill>
                <a:latin typeface="Trebuchet MS" panose="020B0603020202020204" pitchFamily="34" charset="0"/>
              </a:rPr>
              <a:t>regulations</a:t>
            </a:r>
            <a:r>
              <a:rPr lang="en-GB" sz="1000">
                <a:latin typeface="Trebuchet MS" panose="020B0603020202020204" pitchFamily="34" charset="0"/>
              </a:rPr>
              <a:t> </a:t>
            </a:r>
            <a:r>
              <a:rPr lang="en-GB" sz="1000">
                <a:solidFill>
                  <a:schemeClr val="tx2"/>
                </a:solidFill>
                <a:latin typeface="Trebuchet MS" panose="020B0603020202020204" pitchFamily="34" charset="0"/>
              </a:rPr>
              <a:t>offer</a:t>
            </a:r>
            <a:r>
              <a:rPr lang="en-GB" sz="1000">
                <a:latin typeface="Trebuchet MS" panose="020B0603020202020204" pitchFamily="34" charset="0"/>
              </a:rPr>
              <a:t> an </a:t>
            </a:r>
            <a:r>
              <a:rPr lang="en-GB" sz="1000">
                <a:solidFill>
                  <a:schemeClr val="tx2"/>
                </a:solidFill>
                <a:latin typeface="Trebuchet MS" panose="020B0603020202020204" pitchFamily="34" charset="0"/>
              </a:rPr>
              <a:t>opportunity</a:t>
            </a:r>
            <a:r>
              <a:rPr lang="en-GB" sz="1000">
                <a:latin typeface="Trebuchet MS" panose="020B0603020202020204" pitchFamily="34" charset="0"/>
              </a:rPr>
              <a:t> for BD&amp;A players as </a:t>
            </a:r>
            <a:r>
              <a:rPr lang="en-GB" sz="1000">
                <a:solidFill>
                  <a:schemeClr val="tx2"/>
                </a:solidFill>
                <a:latin typeface="Trebuchet MS" panose="020B0603020202020204" pitchFamily="34" charset="0"/>
              </a:rPr>
              <a:t>data</a:t>
            </a:r>
            <a:r>
              <a:rPr lang="en-GB" sz="1000">
                <a:latin typeface="Trebuchet MS" panose="020B0603020202020204" pitchFamily="34" charset="0"/>
              </a:rPr>
              <a:t> </a:t>
            </a:r>
            <a:r>
              <a:rPr lang="en-GB" sz="1000">
                <a:solidFill>
                  <a:schemeClr val="tx2"/>
                </a:solidFill>
                <a:latin typeface="Trebuchet MS" panose="020B0603020202020204" pitchFamily="34" charset="0"/>
              </a:rPr>
              <a:t>providers</a:t>
            </a:r>
          </a:p>
          <a:p>
            <a:pPr marL="171450" indent="-171450">
              <a:spcAft>
                <a:spcPts val="200"/>
              </a:spcAft>
              <a:buFont typeface="Arial" panose="020B0604020202020204" pitchFamily="34" charset="0"/>
              <a:buChar char="•"/>
            </a:pPr>
            <a:r>
              <a:rPr lang="en-GB" sz="1000" b="1" i="1">
                <a:latin typeface="Trebuchet MS" panose="020B0603020202020204" pitchFamily="34" charset="0"/>
              </a:rPr>
              <a:t>The equipment rate</a:t>
            </a:r>
            <a:r>
              <a:rPr lang="en-GB" sz="1000">
                <a:latin typeface="Trebuchet MS" panose="020B0603020202020204" pitchFamily="34" charset="0"/>
              </a:rPr>
              <a:t>: the market growth will slow down as the penetration rate is high</a:t>
            </a:r>
          </a:p>
          <a:p>
            <a:pPr marL="171450" indent="-171450">
              <a:spcAft>
                <a:spcPts val="200"/>
              </a:spcAft>
              <a:buFont typeface="Arial" panose="020B0604020202020204" pitchFamily="34" charset="0"/>
              <a:buChar char="•"/>
            </a:pPr>
            <a:r>
              <a:rPr lang="en-GB" sz="1000" b="1" i="1">
                <a:latin typeface="Trebuchet MS" panose="020B0603020202020204" pitchFamily="34" charset="0"/>
              </a:rPr>
              <a:t>The average basket</a:t>
            </a:r>
            <a:r>
              <a:rPr lang="en-GB" sz="1000">
                <a:latin typeface="Trebuchet MS" panose="020B0603020202020204" pitchFamily="34" charset="0"/>
              </a:rPr>
              <a:t>: </a:t>
            </a:r>
            <a:r>
              <a:rPr lang="en-GB" sz="1000">
                <a:solidFill>
                  <a:schemeClr val="tx2"/>
                </a:solidFill>
                <a:latin typeface="Trebuchet MS" panose="020B0603020202020204" pitchFamily="34" charset="0"/>
              </a:rPr>
              <a:t>large</a:t>
            </a:r>
            <a:r>
              <a:rPr lang="en-GB" sz="1000">
                <a:latin typeface="Trebuchet MS" panose="020B0603020202020204" pitchFamily="34" charset="0"/>
              </a:rPr>
              <a:t> </a:t>
            </a:r>
            <a:r>
              <a:rPr lang="en-GB" sz="1000">
                <a:solidFill>
                  <a:schemeClr val="tx2"/>
                </a:solidFill>
                <a:latin typeface="Trebuchet MS" panose="020B0603020202020204" pitchFamily="34" charset="0"/>
              </a:rPr>
              <a:t>companies</a:t>
            </a:r>
            <a:r>
              <a:rPr lang="en-GB" sz="1000">
                <a:latin typeface="Trebuchet MS" panose="020B0603020202020204" pitchFamily="34" charset="0"/>
              </a:rPr>
              <a:t> need </a:t>
            </a:r>
            <a:r>
              <a:rPr lang="en-GB" sz="1000">
                <a:solidFill>
                  <a:schemeClr val="tx2"/>
                </a:solidFill>
                <a:latin typeface="Trebuchet MS" panose="020B0603020202020204" pitchFamily="34" charset="0"/>
              </a:rPr>
              <a:t>tailor-made</a:t>
            </a:r>
            <a:r>
              <a:rPr lang="en-GB" sz="1000">
                <a:latin typeface="Trebuchet MS" panose="020B0603020202020204" pitchFamily="34" charset="0"/>
              </a:rPr>
              <a:t> </a:t>
            </a:r>
            <a:r>
              <a:rPr lang="en-GB" sz="1000">
                <a:solidFill>
                  <a:schemeClr val="tx2"/>
                </a:solidFill>
                <a:latin typeface="Trebuchet MS" panose="020B0603020202020204" pitchFamily="34" charset="0"/>
              </a:rPr>
              <a:t>solutions</a:t>
            </a:r>
            <a:r>
              <a:rPr lang="en-GB" sz="1000">
                <a:latin typeface="Trebuchet MS" panose="020B0603020202020204" pitchFamily="34" charset="0"/>
              </a:rPr>
              <a:t> to meet their needs while </a:t>
            </a:r>
            <a:r>
              <a:rPr lang="en-GB" sz="1000">
                <a:solidFill>
                  <a:schemeClr val="tx2"/>
                </a:solidFill>
                <a:latin typeface="Trebuchet MS" panose="020B0603020202020204" pitchFamily="34" charset="0"/>
              </a:rPr>
              <a:t>mid-size</a:t>
            </a:r>
            <a:r>
              <a:rPr lang="en-GB" sz="1000">
                <a:latin typeface="Trebuchet MS" panose="020B0603020202020204" pitchFamily="34" charset="0"/>
              </a:rPr>
              <a:t> companies opt for more </a:t>
            </a:r>
            <a:r>
              <a:rPr lang="en-GB" sz="1000">
                <a:solidFill>
                  <a:schemeClr val="tx2"/>
                </a:solidFill>
                <a:latin typeface="Trebuchet MS" panose="020B0603020202020204" pitchFamily="34" charset="0"/>
              </a:rPr>
              <a:t>standardized</a:t>
            </a:r>
            <a:r>
              <a:rPr lang="en-GB" sz="1000">
                <a:latin typeface="Trebuchet MS" panose="020B0603020202020204" pitchFamily="34" charset="0"/>
              </a:rPr>
              <a:t> off-the-shelf </a:t>
            </a:r>
            <a:r>
              <a:rPr lang="en-GB" sz="1000">
                <a:solidFill>
                  <a:schemeClr val="tx2"/>
                </a:solidFill>
                <a:latin typeface="Trebuchet MS" panose="020B0603020202020204" pitchFamily="34" charset="0"/>
              </a:rPr>
              <a:t>solutions</a:t>
            </a:r>
          </a:p>
        </p:txBody>
      </p:sp>
      <p:sp>
        <p:nvSpPr>
          <p:cNvPr id="9" name="ZoneTexte 8">
            <a:extLst>
              <a:ext uri="{FF2B5EF4-FFF2-40B4-BE49-F238E27FC236}">
                <a16:creationId xmlns:a16="http://schemas.microsoft.com/office/drawing/2014/main" id="{0E1A1D1F-EC7D-4DF7-8F77-F4D28BA53615}"/>
              </a:ext>
            </a:extLst>
          </p:cNvPr>
          <p:cNvSpPr txBox="1"/>
          <p:nvPr/>
        </p:nvSpPr>
        <p:spPr>
          <a:xfrm>
            <a:off x="279366" y="3238509"/>
            <a:ext cx="4268191" cy="246221"/>
          </a:xfrm>
          <a:prstGeom prst="rect">
            <a:avLst/>
          </a:prstGeom>
          <a:noFill/>
        </p:spPr>
        <p:txBody>
          <a:bodyPr wrap="square" rtlCol="0">
            <a:spAutoFit/>
          </a:bodyPr>
          <a:lstStyle/>
          <a:p>
            <a:r>
              <a:rPr lang="en-GB" sz="1000" i="1">
                <a:latin typeface="Trebuchet MS" panose="020B0603020202020204" pitchFamily="34" charset="0"/>
              </a:rPr>
              <a:t>Expected growth of the compliance market, France, 2017-2025F</a:t>
            </a:r>
            <a:endParaRPr lang="en-GB" sz="1000" i="1" baseline="30000">
              <a:latin typeface="Trebuchet MS" panose="020B0603020202020204" pitchFamily="34" charset="0"/>
            </a:endParaRPr>
          </a:p>
        </p:txBody>
      </p:sp>
      <p:pic>
        <p:nvPicPr>
          <p:cNvPr id="55" name="Picture 2" descr="Drapeau France">
            <a:extLst>
              <a:ext uri="{FF2B5EF4-FFF2-40B4-BE49-F238E27FC236}">
                <a16:creationId xmlns:a16="http://schemas.microsoft.com/office/drawing/2014/main" id="{8BFA3A0A-2305-4C01-AAC0-46AD8BAAEFE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7006" b="16757"/>
          <a:stretch/>
        </p:blipFill>
        <p:spPr bwMode="auto">
          <a:xfrm>
            <a:off x="1039659" y="1033315"/>
            <a:ext cx="238894" cy="144000"/>
          </a:xfrm>
          <a:prstGeom prst="roundRect">
            <a:avLst/>
          </a:prstGeom>
          <a:noFill/>
          <a:extLst>
            <a:ext uri="{909E8E84-426E-40DD-AFC4-6F175D3DCCD1}">
              <a14:hiddenFill xmlns:a14="http://schemas.microsoft.com/office/drawing/2010/main">
                <a:solidFill>
                  <a:srgbClr val="FFFFFF"/>
                </a:solidFill>
              </a14:hiddenFill>
            </a:ext>
          </a:extLst>
        </p:spPr>
      </p:pic>
      <p:pic>
        <p:nvPicPr>
          <p:cNvPr id="56" name="Picture 2 - 1" descr="Drapeau des Pays-Bas — Wikipédia">
            <a:extLst>
              <a:ext uri="{FF2B5EF4-FFF2-40B4-BE49-F238E27FC236}">
                <a16:creationId xmlns:a16="http://schemas.microsoft.com/office/drawing/2014/main" id="{F49D5E34-80E5-4CFD-9344-E1CB277DD7F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460121" y="1026808"/>
            <a:ext cx="238894" cy="144000"/>
          </a:xfrm>
          <a:prstGeom prst="roundRect">
            <a:avLst/>
          </a:prstGeom>
          <a:noFill/>
          <a:extLst>
            <a:ext uri="{909E8E84-426E-40DD-AFC4-6F175D3DCCD1}">
              <a14:hiddenFill xmlns:a14="http://schemas.microsoft.com/office/drawing/2010/main">
                <a:solidFill>
                  <a:srgbClr val="FFFFFF"/>
                </a:solidFill>
              </a14:hiddenFill>
            </a:ext>
          </a:extLst>
        </p:spPr>
      </p:pic>
      <p:pic>
        <p:nvPicPr>
          <p:cNvPr id="58" name="Picture 2" descr="5 ft x 3 ft 150 x 90 cm-DRAPEAU BELGE Belgique 100% Polyester ...">
            <a:extLst>
              <a:ext uri="{FF2B5EF4-FFF2-40B4-BE49-F238E27FC236}">
                <a16:creationId xmlns:a16="http://schemas.microsoft.com/office/drawing/2014/main" id="{12F65750-6F34-45B2-B604-F17ABC347F1C}"/>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5726488" y="1026808"/>
            <a:ext cx="238896" cy="144000"/>
          </a:xfrm>
          <a:prstGeom prst="roundRect">
            <a:avLst/>
          </a:prstGeom>
          <a:noFill/>
          <a:extLst>
            <a:ext uri="{909E8E84-426E-40DD-AFC4-6F175D3DCCD1}">
              <a14:hiddenFill xmlns:a14="http://schemas.microsoft.com/office/drawing/2010/main">
                <a:solidFill>
                  <a:srgbClr val="FFFFFF"/>
                </a:solidFill>
              </a14:hiddenFill>
            </a:ext>
          </a:extLst>
        </p:spPr>
      </p:pic>
      <p:pic>
        <p:nvPicPr>
          <p:cNvPr id="62" name="Picture 2 - 2" descr="Drapeau du Luxembourg">
            <a:extLst>
              <a:ext uri="{FF2B5EF4-FFF2-40B4-BE49-F238E27FC236}">
                <a16:creationId xmlns:a16="http://schemas.microsoft.com/office/drawing/2014/main" id="{C7FF16E9-7FA1-49E3-88AE-7669D336CF9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992857" y="1026808"/>
            <a:ext cx="240003" cy="144000"/>
          </a:xfrm>
          <a:prstGeom prst="roundRect">
            <a:avLst/>
          </a:prstGeom>
          <a:solidFill>
            <a:schemeClr val="bg1"/>
          </a:solidFill>
          <a:ln w="9525" cap="flat" cmpd="sng" algn="ctr">
            <a:noFill/>
            <a:prstDash val="solid"/>
            <a:round/>
            <a:headEnd type="none" w="med" len="med"/>
            <a:tailEnd type="none" w="med" len="med"/>
          </a:ln>
          <a:effectLst/>
        </p:spPr>
      </p:pic>
      <p:sp>
        <p:nvSpPr>
          <p:cNvPr id="80" name="ZoneTexte 8">
            <a:extLst>
              <a:ext uri="{FF2B5EF4-FFF2-40B4-BE49-F238E27FC236}">
                <a16:creationId xmlns:a16="http://schemas.microsoft.com/office/drawing/2014/main" id="{F85FD96A-A79B-49DE-8777-DBACA67460E1}"/>
              </a:ext>
            </a:extLst>
          </p:cNvPr>
          <p:cNvSpPr txBox="1"/>
          <p:nvPr/>
        </p:nvSpPr>
        <p:spPr>
          <a:xfrm>
            <a:off x="5019852" y="3238509"/>
            <a:ext cx="5134235" cy="246221"/>
          </a:xfrm>
          <a:prstGeom prst="rect">
            <a:avLst/>
          </a:prstGeom>
          <a:noFill/>
        </p:spPr>
        <p:txBody>
          <a:bodyPr wrap="square" rtlCol="0">
            <a:spAutoFit/>
          </a:bodyPr>
          <a:lstStyle/>
          <a:p>
            <a:r>
              <a:rPr lang="en-GB" sz="1000" i="1">
                <a:latin typeface="Trebuchet MS" panose="020B0603020202020204" pitchFamily="34" charset="0"/>
              </a:rPr>
              <a:t>Expected growth of the compliance market, Benelux, 2017-2025F</a:t>
            </a:r>
            <a:endParaRPr lang="en-GB" sz="1000" i="1" baseline="30000">
              <a:latin typeface="Trebuchet MS" panose="020B0603020202020204" pitchFamily="34" charset="0"/>
            </a:endParaRPr>
          </a:p>
        </p:txBody>
      </p:sp>
      <p:sp>
        <p:nvSpPr>
          <p:cNvPr id="106" name="Rectangle 105">
            <a:extLst>
              <a:ext uri="{FF2B5EF4-FFF2-40B4-BE49-F238E27FC236}">
                <a16:creationId xmlns:a16="http://schemas.microsoft.com/office/drawing/2014/main" id="{58266FBD-2E8F-4FE3-8AC2-09AD83524CD9}"/>
              </a:ext>
            </a:extLst>
          </p:cNvPr>
          <p:cNvSpPr/>
          <p:nvPr/>
        </p:nvSpPr>
        <p:spPr bwMode="auto">
          <a:xfrm>
            <a:off x="3810599" y="5624645"/>
            <a:ext cx="5877334" cy="762125"/>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dirty="0">
                <a:ln>
                  <a:noFill/>
                </a:ln>
                <a:solidFill>
                  <a:schemeClr val="tx1"/>
                </a:solidFill>
                <a:effectLst/>
                <a:latin typeface="Trebuchet MS" panose="020B0603020202020204" pitchFamily="34" charset="0"/>
              </a:rPr>
              <a:t>“The Covid-19 will have no impact on all UBO processes but will have some on KYC/KYS in the short term. </a:t>
            </a:r>
            <a:r>
              <a:rPr kumimoji="0" lang="en-GB" sz="1000" b="0" i="1" u="none" strike="noStrike" cap="none" normalizeH="0" baseline="0" dirty="0">
                <a:ln>
                  <a:noFill/>
                </a:ln>
                <a:solidFill>
                  <a:schemeClr val="tx2"/>
                </a:solidFill>
                <a:effectLst/>
                <a:latin typeface="Trebuchet MS" panose="020B0603020202020204" pitchFamily="34" charset="0"/>
              </a:rPr>
              <a:t>Fraud is already appearing</a:t>
            </a:r>
            <a:r>
              <a:rPr kumimoji="0" lang="en-GB" sz="1000" b="0" i="1" u="none" strike="noStrike" cap="none" normalizeH="0" baseline="0" dirty="0">
                <a:ln>
                  <a:noFill/>
                </a:ln>
                <a:solidFill>
                  <a:schemeClr val="tx1"/>
                </a:solidFill>
                <a:effectLst/>
                <a:latin typeface="Trebuchet MS" panose="020B0603020202020204" pitchFamily="34" charset="0"/>
              </a:rPr>
              <a:t>, especially in the </a:t>
            </a:r>
            <a:r>
              <a:rPr kumimoji="0" lang="en-GB" sz="1000" b="0" i="1" u="none" strike="noStrike" cap="none" normalizeH="0" baseline="0" dirty="0">
                <a:ln>
                  <a:noFill/>
                </a:ln>
                <a:solidFill>
                  <a:schemeClr val="tx2"/>
                </a:solidFill>
                <a:effectLst/>
                <a:latin typeface="Trebuchet MS" panose="020B0603020202020204" pitchFamily="34" charset="0"/>
              </a:rPr>
              <a:t>sale of masks </a:t>
            </a:r>
            <a:r>
              <a:rPr kumimoji="0" lang="en-GB" sz="1000" b="0" i="1" u="none" strike="noStrike" cap="none" normalizeH="0" baseline="0" dirty="0">
                <a:ln>
                  <a:noFill/>
                </a:ln>
                <a:solidFill>
                  <a:schemeClr val="tx1"/>
                </a:solidFill>
                <a:effectLst/>
                <a:latin typeface="Trebuchet MS" panose="020B0603020202020204" pitchFamily="34" charset="0"/>
              </a:rPr>
              <a:t>for example. The </a:t>
            </a:r>
            <a:r>
              <a:rPr kumimoji="0" lang="en-GB" sz="1000" b="0" i="1" u="none" strike="noStrike" cap="none" normalizeH="0" baseline="0" dirty="0">
                <a:ln>
                  <a:noFill/>
                </a:ln>
                <a:solidFill>
                  <a:schemeClr val="tx2"/>
                </a:solidFill>
                <a:effectLst/>
                <a:latin typeface="Trebuchet MS" panose="020B0603020202020204" pitchFamily="34" charset="0"/>
              </a:rPr>
              <a:t>Covid-19</a:t>
            </a:r>
            <a:r>
              <a:rPr kumimoji="0" lang="en-GB" sz="1000" b="0" i="1" u="none" strike="noStrike" cap="none" normalizeH="0" baseline="0" dirty="0">
                <a:ln>
                  <a:noFill/>
                </a:ln>
                <a:solidFill>
                  <a:schemeClr val="tx1"/>
                </a:solidFill>
                <a:effectLst/>
                <a:latin typeface="Trebuchet MS" panose="020B0603020202020204" pitchFamily="34" charset="0"/>
              </a:rPr>
              <a:t> therefore </a:t>
            </a:r>
            <a:r>
              <a:rPr kumimoji="0" lang="en-GB" sz="1000" b="0" i="1" u="none" strike="noStrike" cap="none" normalizeH="0" baseline="0" dirty="0">
                <a:ln>
                  <a:noFill/>
                </a:ln>
                <a:solidFill>
                  <a:schemeClr val="tx2"/>
                </a:solidFill>
                <a:effectLst/>
                <a:latin typeface="Trebuchet MS" panose="020B0603020202020204" pitchFamily="34" charset="0"/>
              </a:rPr>
              <a:t>only</a:t>
            </a:r>
            <a:r>
              <a:rPr kumimoji="0" lang="en-GB" sz="1000" b="0" i="1" u="none" strike="noStrike" cap="none" normalizeH="0" baseline="0" dirty="0">
                <a:ln>
                  <a:noFill/>
                </a:ln>
                <a:solidFill>
                  <a:schemeClr val="tx1"/>
                </a:solidFill>
                <a:effectLst/>
                <a:latin typeface="Trebuchet MS" panose="020B0603020202020204" pitchFamily="34" charset="0"/>
              </a:rPr>
              <a:t> </a:t>
            </a:r>
            <a:r>
              <a:rPr kumimoji="0" lang="en-GB" sz="1000" b="0" i="1" u="none" strike="noStrike" cap="none" normalizeH="0" baseline="0" dirty="0">
                <a:ln>
                  <a:noFill/>
                </a:ln>
                <a:solidFill>
                  <a:schemeClr val="tx2"/>
                </a:solidFill>
                <a:effectLst/>
                <a:latin typeface="Trebuchet MS" panose="020B0603020202020204" pitchFamily="34" charset="0"/>
              </a:rPr>
              <a:t>offers</a:t>
            </a:r>
            <a:r>
              <a:rPr kumimoji="0" lang="en-GB" sz="1000" b="0" i="1" u="none" strike="noStrike" cap="none" normalizeH="0" baseline="0" dirty="0">
                <a:ln>
                  <a:noFill/>
                </a:ln>
                <a:solidFill>
                  <a:schemeClr val="tx1"/>
                </a:solidFill>
                <a:effectLst/>
                <a:latin typeface="Trebuchet MS" panose="020B0603020202020204" pitchFamily="34" charset="0"/>
              </a:rPr>
              <a:t> new </a:t>
            </a:r>
            <a:r>
              <a:rPr kumimoji="0" lang="en-GB" sz="1000" b="0" i="1" u="none" strike="noStrike" cap="none" normalizeH="0" baseline="0" dirty="0">
                <a:ln>
                  <a:noFill/>
                </a:ln>
                <a:solidFill>
                  <a:schemeClr val="tx2"/>
                </a:solidFill>
                <a:effectLst/>
                <a:latin typeface="Trebuchet MS" panose="020B0603020202020204" pitchFamily="34" charset="0"/>
              </a:rPr>
              <a:t>opportunities</a:t>
            </a:r>
            <a:r>
              <a:rPr kumimoji="0" lang="en-GB" sz="1000" b="0" i="1" u="none" strike="noStrike" cap="none" normalizeH="0" baseline="0" dirty="0">
                <a:ln>
                  <a:noFill/>
                </a:ln>
                <a:solidFill>
                  <a:schemeClr val="tx1"/>
                </a:solidFill>
                <a:effectLst/>
                <a:latin typeface="Trebuchet MS" panose="020B0603020202020204" pitchFamily="34" charset="0"/>
              </a:rPr>
              <a:t> for </a:t>
            </a:r>
            <a:r>
              <a:rPr kumimoji="0" lang="en-GB" sz="1000" b="0" i="1" u="none" strike="noStrike" cap="none" normalizeH="0" baseline="0" dirty="0">
                <a:ln>
                  <a:noFill/>
                </a:ln>
                <a:effectLst/>
                <a:latin typeface="Trebuchet MS" panose="020B0603020202020204" pitchFamily="34" charset="0"/>
              </a:rPr>
              <a:t>fraud but will not have any structural impact</a:t>
            </a:r>
            <a:r>
              <a:rPr kumimoji="0" lang="en-GB" sz="1000" b="0" i="1" u="none" strike="noStrike" cap="none" normalizeH="0" baseline="0" dirty="0">
                <a:ln>
                  <a:noFill/>
                </a:ln>
                <a:solidFill>
                  <a:schemeClr val="tx1"/>
                </a:solidFill>
                <a:effectLst/>
                <a:latin typeface="Trebuchet MS" panose="020B0603020202020204" pitchFamily="34" charset="0"/>
              </a:rPr>
              <a:t>”</a:t>
            </a:r>
          </a:p>
          <a:p>
            <a:pPr>
              <a:lnSpc>
                <a:spcPts val="1100"/>
              </a:lnSpc>
              <a:defRPr/>
            </a:pPr>
            <a:r>
              <a:rPr lang="en-GB" sz="1000" spc="-30" dirty="0">
                <a:latin typeface="Trebuchet MS" panose="020B0603020202020204" pitchFamily="34" charset="0"/>
              </a:rPr>
              <a:t>Former Managing Director at Graydon</a:t>
            </a:r>
            <a:endParaRPr lang="en-GB" sz="1000" dirty="0">
              <a:latin typeface="Trebuchet MS" panose="020B0603020202020204" pitchFamily="34" charset="0"/>
            </a:endParaRPr>
          </a:p>
        </p:txBody>
      </p:sp>
      <p:sp>
        <p:nvSpPr>
          <p:cNvPr id="107" name="Freeform 663">
            <a:extLst>
              <a:ext uri="{FF2B5EF4-FFF2-40B4-BE49-F238E27FC236}">
                <a16:creationId xmlns:a16="http://schemas.microsoft.com/office/drawing/2014/main" id="{9EB823E0-6591-45C8-8256-695C74AA436C}"/>
              </a:ext>
            </a:extLst>
          </p:cNvPr>
          <p:cNvSpPr>
            <a:spLocks noChangeAspect="1" noEditPoints="1"/>
          </p:cNvSpPr>
          <p:nvPr/>
        </p:nvSpPr>
        <p:spPr bwMode="auto">
          <a:xfrm>
            <a:off x="3664157" y="5867081"/>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69" name="ZoneTexte 68">
            <a:extLst>
              <a:ext uri="{FF2B5EF4-FFF2-40B4-BE49-F238E27FC236}">
                <a16:creationId xmlns:a16="http://schemas.microsoft.com/office/drawing/2014/main" id="{9CC0F9D8-B1D8-48FA-B68B-E3D05F72733C}"/>
              </a:ext>
            </a:extLst>
          </p:cNvPr>
          <p:cNvSpPr txBox="1"/>
          <p:nvPr/>
        </p:nvSpPr>
        <p:spPr>
          <a:xfrm>
            <a:off x="6248249" y="972585"/>
            <a:ext cx="2488997" cy="261610"/>
          </a:xfrm>
          <a:prstGeom prst="rect">
            <a:avLst/>
          </a:prstGeom>
          <a:solidFill>
            <a:schemeClr val="bg1"/>
          </a:solidFill>
        </p:spPr>
        <p:txBody>
          <a:bodyPr wrap="square" rtlCol="0">
            <a:spAutoFit/>
          </a:bodyPr>
          <a:lstStyle/>
          <a:p>
            <a:pPr algn="ctr"/>
            <a:r>
              <a:rPr lang="en-GB" sz="1100">
                <a:latin typeface="Trebuchet MS" panose="020B0603020202020204" pitchFamily="34" charset="0"/>
              </a:rPr>
              <a:t>Compliance market sizing in Benelux</a:t>
            </a:r>
          </a:p>
        </p:txBody>
      </p:sp>
      <p:sp>
        <p:nvSpPr>
          <p:cNvPr id="7" name="Rectangle 6">
            <a:extLst>
              <a:ext uri="{FF2B5EF4-FFF2-40B4-BE49-F238E27FC236}">
                <a16:creationId xmlns:a16="http://schemas.microsoft.com/office/drawing/2014/main" id="{2B63328D-76FA-4797-8AF0-F7CB209F2B98}"/>
              </a:ext>
            </a:extLst>
          </p:cNvPr>
          <p:cNvSpPr/>
          <p:nvPr/>
        </p:nvSpPr>
        <p:spPr bwMode="auto">
          <a:xfrm>
            <a:off x="259870" y="5584650"/>
            <a:ext cx="9486948" cy="839859"/>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 name="Rectangle 10">
            <a:extLst>
              <a:ext uri="{FF2B5EF4-FFF2-40B4-BE49-F238E27FC236}">
                <a16:creationId xmlns:a16="http://schemas.microsoft.com/office/drawing/2014/main" id="{9067A0C1-6385-4984-BD90-A2112863B001}"/>
              </a:ext>
            </a:extLst>
          </p:cNvPr>
          <p:cNvSpPr/>
          <p:nvPr/>
        </p:nvSpPr>
        <p:spPr bwMode="auto">
          <a:xfrm>
            <a:off x="346229" y="5814245"/>
            <a:ext cx="3259043" cy="562510"/>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Due to its regulatory nature and the type of customers addressed (i.e</a:t>
            </a:r>
            <a:r>
              <a:rPr lang="en-GB" sz="1000">
                <a:latin typeface="Trebuchet MS" panose="020B0603020202020204" pitchFamily="34" charset="0"/>
              </a:rPr>
              <a:t>. large accounts)</a:t>
            </a:r>
            <a:r>
              <a:rPr kumimoji="0" lang="en-GB" sz="1000" b="0" i="0" u="none" strike="noStrike" cap="none" normalizeH="0" baseline="0">
                <a:ln>
                  <a:noFill/>
                </a:ln>
                <a:solidFill>
                  <a:schemeClr val="tx1"/>
                </a:solidFill>
                <a:effectLst/>
                <a:latin typeface="Trebuchet MS" panose="020B0603020202020204" pitchFamily="34" charset="0"/>
              </a:rPr>
              <a:t>, the </a:t>
            </a:r>
            <a:r>
              <a:rPr kumimoji="0" lang="en-GB" sz="1000" b="0" i="0" u="none" strike="noStrike" cap="none" normalizeH="0" baseline="0">
                <a:ln>
                  <a:noFill/>
                </a:ln>
                <a:solidFill>
                  <a:schemeClr val="tx2"/>
                </a:solidFill>
                <a:effectLst/>
                <a:latin typeface="Trebuchet MS" panose="020B0603020202020204" pitchFamily="34" charset="0"/>
              </a:rPr>
              <a:t>compliance</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market</a:t>
            </a:r>
            <a:r>
              <a:rPr kumimoji="0" lang="en-GB" sz="1000" b="0" i="0" u="none" strike="noStrike" cap="none" normalizeH="0" baseline="0">
                <a:ln>
                  <a:noFill/>
                </a:ln>
                <a:solidFill>
                  <a:schemeClr val="tx1"/>
                </a:solidFill>
                <a:effectLst/>
                <a:latin typeface="Trebuchet MS" panose="020B0603020202020204" pitchFamily="34" charset="0"/>
              </a:rPr>
              <a:t> </a:t>
            </a:r>
            <a:r>
              <a:rPr lang="en-GB" sz="1000">
                <a:latin typeface="Trebuchet MS" panose="020B0603020202020204" pitchFamily="34" charset="0"/>
              </a:rPr>
              <a:t>seems</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protected</a:t>
            </a:r>
            <a:r>
              <a:rPr kumimoji="0" lang="en-GB" sz="1000" b="0" i="0" u="none" strike="noStrike" cap="none" normalizeH="0" baseline="0">
                <a:ln>
                  <a:noFill/>
                </a:ln>
                <a:solidFill>
                  <a:schemeClr val="tx1"/>
                </a:solidFill>
                <a:effectLst/>
                <a:latin typeface="Trebuchet MS" panose="020B0603020202020204" pitchFamily="34" charset="0"/>
              </a:rPr>
              <a:t> from the </a:t>
            </a:r>
            <a:r>
              <a:rPr kumimoji="0" lang="en-GB" sz="1000" b="0" i="0" u="none" strike="noStrike" cap="none" normalizeH="0" baseline="0">
                <a:ln>
                  <a:noFill/>
                </a:ln>
                <a:solidFill>
                  <a:schemeClr val="tx2"/>
                </a:solidFill>
                <a:effectLst/>
                <a:latin typeface="Trebuchet MS" panose="020B0603020202020204" pitchFamily="34" charset="0"/>
              </a:rPr>
              <a:t>economic</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fluctuations</a:t>
            </a:r>
            <a:r>
              <a:rPr kumimoji="0" lang="en-GB" sz="1000" b="0" i="0" u="none" strike="noStrike" cap="none" normalizeH="0" baseline="0">
                <a:ln>
                  <a:noFill/>
                </a:ln>
                <a:solidFill>
                  <a:schemeClr val="tx1"/>
                </a:solidFill>
                <a:effectLst/>
                <a:latin typeface="Trebuchet MS" panose="020B0603020202020204" pitchFamily="34" charset="0"/>
              </a:rPr>
              <a:t> and will therefore be little affected by the Covid-19 crisis</a:t>
            </a:r>
          </a:p>
        </p:txBody>
      </p:sp>
      <p:sp>
        <p:nvSpPr>
          <p:cNvPr id="16" name="ZoneTexte 15">
            <a:extLst>
              <a:ext uri="{FF2B5EF4-FFF2-40B4-BE49-F238E27FC236}">
                <a16:creationId xmlns:a16="http://schemas.microsoft.com/office/drawing/2014/main" id="{E20775C9-FAE8-42D1-BCEF-2F07B450DD25}"/>
              </a:ext>
            </a:extLst>
          </p:cNvPr>
          <p:cNvSpPr txBox="1"/>
          <p:nvPr/>
        </p:nvSpPr>
        <p:spPr>
          <a:xfrm>
            <a:off x="218067" y="5568606"/>
            <a:ext cx="1939335" cy="253916"/>
          </a:xfrm>
          <a:prstGeom prst="rect">
            <a:avLst/>
          </a:prstGeom>
          <a:noFill/>
        </p:spPr>
        <p:txBody>
          <a:bodyPr wrap="square" rtlCol="0">
            <a:spAutoFit/>
          </a:bodyPr>
          <a:lstStyle/>
          <a:p>
            <a:r>
              <a:rPr lang="en-GB" sz="1050" b="1" i="1" err="1">
                <a:latin typeface="Trebuchet MS" panose="020B0603020202020204" pitchFamily="34" charset="0"/>
              </a:rPr>
              <a:t>Covid</a:t>
            </a:r>
            <a:r>
              <a:rPr lang="en-GB" sz="1050" b="1" i="1">
                <a:latin typeface="Trebuchet MS" panose="020B0603020202020204" pitchFamily="34" charset="0"/>
              </a:rPr>
              <a:t> impact assessment</a:t>
            </a:r>
          </a:p>
        </p:txBody>
      </p:sp>
      <p:grpSp>
        <p:nvGrpSpPr>
          <p:cNvPr id="88" name="Groupe 87">
            <a:extLst>
              <a:ext uri="{FF2B5EF4-FFF2-40B4-BE49-F238E27FC236}">
                <a16:creationId xmlns:a16="http://schemas.microsoft.com/office/drawing/2014/main" id="{EBD322CC-05B2-4919-B928-53FE2DD15ADE}"/>
              </a:ext>
            </a:extLst>
          </p:cNvPr>
          <p:cNvGrpSpPr/>
          <p:nvPr/>
        </p:nvGrpSpPr>
        <p:grpSpPr>
          <a:xfrm>
            <a:off x="8448150" y="-11528"/>
            <a:ext cx="1435548" cy="588143"/>
            <a:chOff x="8448150" y="-11528"/>
            <a:chExt cx="1435548" cy="588143"/>
          </a:xfrm>
        </p:grpSpPr>
        <p:grpSp>
          <p:nvGrpSpPr>
            <p:cNvPr id="91" name="Groupe 90">
              <a:extLst>
                <a:ext uri="{FF2B5EF4-FFF2-40B4-BE49-F238E27FC236}">
                  <a16:creationId xmlns:a16="http://schemas.microsoft.com/office/drawing/2014/main" id="{E2A5B511-59A5-45BC-9996-ED9412F308AD}"/>
                </a:ext>
              </a:extLst>
            </p:cNvPr>
            <p:cNvGrpSpPr/>
            <p:nvPr/>
          </p:nvGrpSpPr>
          <p:grpSpPr>
            <a:xfrm>
              <a:off x="8448150" y="-11528"/>
              <a:ext cx="1435548" cy="555653"/>
              <a:chOff x="8448150" y="-11528"/>
              <a:chExt cx="1435548" cy="555653"/>
            </a:xfrm>
          </p:grpSpPr>
          <p:sp>
            <p:nvSpPr>
              <p:cNvPr id="93" name="Rectangle : coins arrondis 199">
                <a:extLst>
                  <a:ext uri="{FF2B5EF4-FFF2-40B4-BE49-F238E27FC236}">
                    <a16:creationId xmlns:a16="http://schemas.microsoft.com/office/drawing/2014/main" id="{DDFEFCEF-4837-41BC-A260-9BE5C972107A}"/>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4" name="Rectangle : coins arrondis 200">
                <a:extLst>
                  <a:ext uri="{FF2B5EF4-FFF2-40B4-BE49-F238E27FC236}">
                    <a16:creationId xmlns:a16="http://schemas.microsoft.com/office/drawing/2014/main" id="{F2C36C00-7BB1-4D7A-BAB9-41CB875114C8}"/>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5" name="Rectangle : coins arrondis 201">
                <a:extLst>
                  <a:ext uri="{FF2B5EF4-FFF2-40B4-BE49-F238E27FC236}">
                    <a16:creationId xmlns:a16="http://schemas.microsoft.com/office/drawing/2014/main" id="{82931FF9-B897-4D1E-B652-8E2AD16291D3}"/>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0" name="ZoneTexte 18">
                <a:extLst>
                  <a:ext uri="{FF2B5EF4-FFF2-40B4-BE49-F238E27FC236}">
                    <a16:creationId xmlns:a16="http://schemas.microsoft.com/office/drawing/2014/main" id="{4B111F22-D965-4654-A7A3-EB5A53FD3E21}"/>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11" name="Graphique 128" descr="Jauge">
                <a:extLst>
                  <a:ext uri="{FF2B5EF4-FFF2-40B4-BE49-F238E27FC236}">
                    <a16:creationId xmlns:a16="http://schemas.microsoft.com/office/drawing/2014/main" id="{0A9F681D-D0EA-4C23-86FC-A9B6A8AF6D5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553764" y="187516"/>
                <a:ext cx="234953" cy="218224"/>
              </a:xfrm>
              <a:prstGeom prst="rect">
                <a:avLst/>
              </a:prstGeom>
              <a:effectLst/>
            </p:spPr>
          </p:pic>
          <p:pic>
            <p:nvPicPr>
              <p:cNvPr id="112" name="Graphique 90" descr="Poignée de main">
                <a:extLst>
                  <a:ext uri="{FF2B5EF4-FFF2-40B4-BE49-F238E27FC236}">
                    <a16:creationId xmlns:a16="http://schemas.microsoft.com/office/drawing/2014/main" id="{7FA2795B-8580-4EB1-BAE5-3CA14DFF760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960868" y="152880"/>
                <a:ext cx="256313" cy="287496"/>
              </a:xfrm>
              <a:prstGeom prst="rect">
                <a:avLst/>
              </a:prstGeom>
              <a:effectLst/>
            </p:spPr>
          </p:pic>
          <p:pic>
            <p:nvPicPr>
              <p:cNvPr id="113" name="Graphique 74" descr="Mégaphone">
                <a:extLst>
                  <a:ext uri="{FF2B5EF4-FFF2-40B4-BE49-F238E27FC236}">
                    <a16:creationId xmlns:a16="http://schemas.microsoft.com/office/drawing/2014/main" id="{9299FAD7-0F88-4BD0-88BA-7110AEDD043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89331" y="181519"/>
                <a:ext cx="233011" cy="216420"/>
              </a:xfrm>
              <a:prstGeom prst="rect">
                <a:avLst/>
              </a:prstGeom>
              <a:effectLst/>
            </p:spPr>
          </p:pic>
          <p:pic>
            <p:nvPicPr>
              <p:cNvPr id="114" name="Picture 2" descr="Drapeau France">
                <a:extLst>
                  <a:ext uri="{FF2B5EF4-FFF2-40B4-BE49-F238E27FC236}">
                    <a16:creationId xmlns:a16="http://schemas.microsoft.com/office/drawing/2014/main" id="{AE01F6E4-B72E-4EC5-9558-A3885CF3ED8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15" name="Picture 2" descr="5 ft x 3 ft 150 x 90 cm-DRAPEAU BELGE Belgique 100% Polyester ...">
                <a:extLst>
                  <a:ext uri="{FF2B5EF4-FFF2-40B4-BE49-F238E27FC236}">
                    <a16:creationId xmlns:a16="http://schemas.microsoft.com/office/drawing/2014/main" id="{EA05296C-D98F-4228-B585-B16F2FC83FBB}"/>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16" name="Picture 2 - 1" descr="Drapeau des Pays-Bas — Wikipédia">
                <a:extLst>
                  <a:ext uri="{FF2B5EF4-FFF2-40B4-BE49-F238E27FC236}">
                    <a16:creationId xmlns:a16="http://schemas.microsoft.com/office/drawing/2014/main" id="{7008AB21-E8A5-49B9-A9D8-C70732B135C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17" name="Picture 2 - 2" descr="Drapeau du Luxembourg">
                <a:extLst>
                  <a:ext uri="{FF2B5EF4-FFF2-40B4-BE49-F238E27FC236}">
                    <a16:creationId xmlns:a16="http://schemas.microsoft.com/office/drawing/2014/main" id="{12C914AF-BB7C-4186-A95A-445500C2D64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92" name="ZoneTexte 18">
              <a:extLst>
                <a:ext uri="{FF2B5EF4-FFF2-40B4-BE49-F238E27FC236}">
                  <a16:creationId xmlns:a16="http://schemas.microsoft.com/office/drawing/2014/main" id="{EA15C148-2598-481F-87CB-344A1F132D1C}"/>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sp>
        <p:nvSpPr>
          <p:cNvPr id="100" name="ZoneTexte 99">
            <a:extLst>
              <a:ext uri="{FF2B5EF4-FFF2-40B4-BE49-F238E27FC236}">
                <a16:creationId xmlns:a16="http://schemas.microsoft.com/office/drawing/2014/main" id="{69C2E01A-60A3-446B-876B-AFF7D4475DE3}"/>
              </a:ext>
            </a:extLst>
          </p:cNvPr>
          <p:cNvSpPr txBox="1"/>
          <p:nvPr/>
        </p:nvSpPr>
        <p:spPr>
          <a:xfrm>
            <a:off x="5078884" y="1276531"/>
            <a:ext cx="4624812" cy="1969798"/>
          </a:xfrm>
          <a:prstGeom prst="rect">
            <a:avLst/>
          </a:prstGeom>
          <a:solidFill>
            <a:srgbClr val="F2F2F2"/>
          </a:solidFill>
        </p:spPr>
        <p:txBody>
          <a:bodyPr wrap="square" rIns="36000" rtlCol="0">
            <a:noAutofit/>
          </a:bodyPr>
          <a:lstStyle/>
          <a:p>
            <a:pPr>
              <a:spcAft>
                <a:spcPts val="200"/>
              </a:spcAft>
            </a:pPr>
            <a:r>
              <a:rPr lang="en-GB" sz="1000">
                <a:latin typeface="Trebuchet MS" panose="020B0603020202020204" pitchFamily="34" charset="0"/>
              </a:rPr>
              <a:t>The size of the Benelux compliance market depends on: </a:t>
            </a:r>
          </a:p>
          <a:p>
            <a:pPr marL="171450" indent="-171450">
              <a:spcAft>
                <a:spcPts val="200"/>
              </a:spcAft>
              <a:buFont typeface="Arial" panose="020B0604020202020204" pitchFamily="34" charset="0"/>
              <a:buChar char="•"/>
            </a:pPr>
            <a:r>
              <a:rPr lang="en-GB" sz="1000" b="1" i="1">
                <a:latin typeface="Trebuchet MS" panose="020B0603020202020204" pitchFamily="34" charset="0"/>
              </a:rPr>
              <a:t>The regulatory framework</a:t>
            </a:r>
            <a:r>
              <a:rPr lang="en-GB" sz="1000">
                <a:latin typeface="Trebuchet MS" panose="020B0603020202020204" pitchFamily="34" charset="0"/>
              </a:rPr>
              <a:t>: the market is more structured around AML, particularly due to recent </a:t>
            </a:r>
            <a:r>
              <a:rPr lang="en-GB" sz="1000">
                <a:solidFill>
                  <a:schemeClr val="tx2"/>
                </a:solidFill>
                <a:latin typeface="Trebuchet MS" panose="020B0603020202020204" pitchFamily="34" charset="0"/>
              </a:rPr>
              <a:t>highly mediatized sanctions </a:t>
            </a:r>
            <a:r>
              <a:rPr lang="en-GB" sz="1000">
                <a:latin typeface="Trebuchet MS" panose="020B0603020202020204" pitchFamily="34" charset="0"/>
              </a:rPr>
              <a:t>(e.g. ING) with Belgium and Dutch criminal codes (BCC, DCC) anti-corruption constraints less precise but concerning all companies</a:t>
            </a:r>
          </a:p>
          <a:p>
            <a:pPr marL="171450" indent="-171450">
              <a:spcAft>
                <a:spcPts val="200"/>
              </a:spcAft>
              <a:buFont typeface="Arial" panose="020B0604020202020204" pitchFamily="34" charset="0"/>
              <a:buChar char="•"/>
            </a:pPr>
            <a:r>
              <a:rPr lang="en-GB" sz="1000" b="1" i="1">
                <a:latin typeface="Trebuchet MS" panose="020B0603020202020204" pitchFamily="34" charset="0"/>
              </a:rPr>
              <a:t>The equipment rate</a:t>
            </a:r>
            <a:r>
              <a:rPr lang="en-GB" sz="1000">
                <a:latin typeface="Trebuchet MS" panose="020B0603020202020204" pitchFamily="34" charset="0"/>
              </a:rPr>
              <a:t>: this rate tends to be relatively high due to a business climate conductive to proactivity in terms of compliance (e.g. willingness to be seen as a </a:t>
            </a:r>
            <a:r>
              <a:rPr lang="en-GB" sz="1000">
                <a:solidFill>
                  <a:schemeClr val="tx2"/>
                </a:solidFill>
                <a:latin typeface="Trebuchet MS" panose="020B0603020202020204" pitchFamily="34" charset="0"/>
              </a:rPr>
              <a:t>trusted player</a:t>
            </a:r>
            <a:r>
              <a:rPr lang="en-GB" sz="1000">
                <a:latin typeface="Trebuchet MS" panose="020B0603020202020204" pitchFamily="34" charset="0"/>
              </a:rPr>
              <a:t>...)</a:t>
            </a:r>
          </a:p>
          <a:p>
            <a:pPr marL="171450" indent="-171450">
              <a:spcAft>
                <a:spcPts val="200"/>
              </a:spcAft>
              <a:buFont typeface="Arial" panose="020B0604020202020204" pitchFamily="34" charset="0"/>
              <a:buChar char="•"/>
            </a:pPr>
            <a:r>
              <a:rPr lang="en-GB" sz="1000" b="1" i="1">
                <a:latin typeface="Trebuchet MS" panose="020B0603020202020204" pitchFamily="34" charset="0"/>
              </a:rPr>
              <a:t>The average basket</a:t>
            </a:r>
            <a:r>
              <a:rPr lang="en-GB" sz="1000">
                <a:latin typeface="Trebuchet MS" panose="020B0603020202020204" pitchFamily="34" charset="0"/>
              </a:rPr>
              <a:t>: the need for </a:t>
            </a:r>
            <a:r>
              <a:rPr lang="en-GB" sz="1000">
                <a:solidFill>
                  <a:schemeClr val="tx2"/>
                </a:solidFill>
                <a:latin typeface="Trebuchet MS" panose="020B0603020202020204" pitchFamily="34" charset="0"/>
              </a:rPr>
              <a:t>larger and more complex projects </a:t>
            </a:r>
            <a:r>
              <a:rPr lang="en-GB" sz="1000">
                <a:latin typeface="Trebuchet MS" panose="020B0603020202020204" pitchFamily="34" charset="0"/>
              </a:rPr>
              <a:t>in the Benelux (more third parties to be integrated) with a systematic </a:t>
            </a:r>
            <a:r>
              <a:rPr lang="en-GB" sz="1000">
                <a:solidFill>
                  <a:schemeClr val="tx2"/>
                </a:solidFill>
                <a:latin typeface="Trebuchet MS" panose="020B0603020202020204" pitchFamily="34" charset="0"/>
              </a:rPr>
              <a:t>integration of companies’ CRM </a:t>
            </a:r>
            <a:r>
              <a:rPr lang="en-GB" sz="1000">
                <a:latin typeface="Trebuchet MS" panose="020B0603020202020204" pitchFamily="34" charset="0"/>
              </a:rPr>
              <a:t>(equipment rate of 60% in Benelux vs 20% in France) leading to a higher average basket than in France</a:t>
            </a:r>
          </a:p>
        </p:txBody>
      </p:sp>
      <p:graphicFrame>
        <p:nvGraphicFramePr>
          <p:cNvPr id="118" name="Chart 8">
            <a:extLst>
              <a:ext uri="{FF2B5EF4-FFF2-40B4-BE49-F238E27FC236}">
                <a16:creationId xmlns:a16="http://schemas.microsoft.com/office/drawing/2014/main" id="{BD48D37A-D929-4037-9DE3-FFB22A0667C7}"/>
              </a:ext>
            </a:extLst>
          </p:cNvPr>
          <p:cNvGraphicFramePr/>
          <p:nvPr/>
        </p:nvGraphicFramePr>
        <p:xfrm>
          <a:off x="363179" y="3314964"/>
          <a:ext cx="4100565" cy="2259265"/>
        </p:xfrm>
        <a:graphic>
          <a:graphicData uri="http://schemas.openxmlformats.org/drawingml/2006/chart">
            <c:chart xmlns:c="http://schemas.openxmlformats.org/drawingml/2006/chart" xmlns:r="http://schemas.openxmlformats.org/officeDocument/2006/relationships" r:id="rId17"/>
          </a:graphicData>
        </a:graphic>
      </p:graphicFrame>
      <p:cxnSp>
        <p:nvCxnSpPr>
          <p:cNvPr id="119" name="Connecteur droit avec flèche 10">
            <a:extLst>
              <a:ext uri="{FF2B5EF4-FFF2-40B4-BE49-F238E27FC236}">
                <a16:creationId xmlns:a16="http://schemas.microsoft.com/office/drawing/2014/main" id="{3736E79F-90C7-4212-80A3-0F547AB48D1B}"/>
              </a:ext>
            </a:extLst>
          </p:cNvPr>
          <p:cNvCxnSpPr>
            <a:cxnSpLocks/>
          </p:cNvCxnSpPr>
          <p:nvPr/>
        </p:nvCxnSpPr>
        <p:spPr bwMode="auto">
          <a:xfrm flipH="1">
            <a:off x="480600" y="4360484"/>
            <a:ext cx="1124074" cy="413976"/>
          </a:xfrm>
          <a:prstGeom prst="straightConnector1">
            <a:avLst/>
          </a:prstGeom>
          <a:solidFill>
            <a:schemeClr val="accent1"/>
          </a:solidFill>
          <a:ln w="9525" cap="flat" cmpd="sng" algn="ctr">
            <a:solidFill>
              <a:schemeClr val="tx1"/>
            </a:solidFill>
            <a:prstDash val="solid"/>
            <a:round/>
            <a:headEnd type="triangle" w="med" len="med"/>
            <a:tailEnd type="none" w="med" len="med"/>
          </a:ln>
          <a:effectLst/>
        </p:spPr>
      </p:cxnSp>
      <p:sp>
        <p:nvSpPr>
          <p:cNvPr id="120" name="Rectangle 119">
            <a:extLst>
              <a:ext uri="{FF2B5EF4-FFF2-40B4-BE49-F238E27FC236}">
                <a16:creationId xmlns:a16="http://schemas.microsoft.com/office/drawing/2014/main" id="{5F349B48-C2BC-40BF-9AC7-9FEE263ACADC}"/>
              </a:ext>
            </a:extLst>
          </p:cNvPr>
          <p:cNvSpPr/>
          <p:nvPr/>
        </p:nvSpPr>
        <p:spPr bwMode="auto">
          <a:xfrm>
            <a:off x="367357" y="4323495"/>
            <a:ext cx="940753" cy="146929"/>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17-19</a:t>
            </a:r>
            <a:r>
              <a:rPr lang="en-GB" sz="900">
                <a:latin typeface="Trebuchet MS" panose="020B0603020202020204" pitchFamily="34" charset="0"/>
              </a:rPr>
              <a:t>: +37%</a:t>
            </a:r>
            <a:endParaRPr kumimoji="0" lang="en-GB" sz="900" b="0" i="0" u="none" strike="noStrike" cap="none" normalizeH="0" baseline="0">
              <a:ln>
                <a:noFill/>
              </a:ln>
              <a:effectLst/>
              <a:latin typeface="Trebuchet MS" panose="020B0603020202020204" pitchFamily="34" charset="0"/>
            </a:endParaRPr>
          </a:p>
        </p:txBody>
      </p:sp>
      <p:cxnSp>
        <p:nvCxnSpPr>
          <p:cNvPr id="121" name="Connecteur droit avec flèche 10">
            <a:extLst>
              <a:ext uri="{FF2B5EF4-FFF2-40B4-BE49-F238E27FC236}">
                <a16:creationId xmlns:a16="http://schemas.microsoft.com/office/drawing/2014/main" id="{EC78F3B4-0B17-46F9-BCE5-0A9DA5837ED0}"/>
              </a:ext>
            </a:extLst>
          </p:cNvPr>
          <p:cNvCxnSpPr>
            <a:cxnSpLocks/>
          </p:cNvCxnSpPr>
          <p:nvPr/>
        </p:nvCxnSpPr>
        <p:spPr bwMode="auto">
          <a:xfrm flipH="1">
            <a:off x="1851424" y="3660463"/>
            <a:ext cx="2222635" cy="613353"/>
          </a:xfrm>
          <a:prstGeom prst="straightConnector1">
            <a:avLst/>
          </a:prstGeom>
          <a:solidFill>
            <a:schemeClr val="accent1"/>
          </a:solidFill>
          <a:ln w="9525" cap="flat" cmpd="sng" algn="ctr">
            <a:solidFill>
              <a:schemeClr val="tx1"/>
            </a:solidFill>
            <a:prstDash val="solid"/>
            <a:round/>
            <a:headEnd type="triangle" w="med" len="med"/>
            <a:tailEnd type="none" w="med" len="med"/>
          </a:ln>
          <a:effectLst/>
        </p:spPr>
      </p:cxnSp>
      <p:sp>
        <p:nvSpPr>
          <p:cNvPr id="122" name="Rectangle 121">
            <a:extLst>
              <a:ext uri="{FF2B5EF4-FFF2-40B4-BE49-F238E27FC236}">
                <a16:creationId xmlns:a16="http://schemas.microsoft.com/office/drawing/2014/main" id="{75CDC4F1-B76B-4CC1-821F-0CA754FAC086}"/>
              </a:ext>
            </a:extLst>
          </p:cNvPr>
          <p:cNvSpPr/>
          <p:nvPr/>
        </p:nvSpPr>
        <p:spPr bwMode="auto">
          <a:xfrm>
            <a:off x="1975750" y="3820210"/>
            <a:ext cx="940753" cy="146929"/>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20-25</a:t>
            </a:r>
            <a:r>
              <a:rPr lang="en-GB" sz="900">
                <a:latin typeface="Trebuchet MS" panose="020B0603020202020204" pitchFamily="34" charset="0"/>
              </a:rPr>
              <a:t>: +11.2%</a:t>
            </a:r>
            <a:endParaRPr kumimoji="0" lang="en-GB" sz="900" b="0" i="0" u="none" strike="noStrike" cap="none" normalizeH="0" baseline="0">
              <a:ln>
                <a:noFill/>
              </a:ln>
              <a:effectLst/>
              <a:latin typeface="Trebuchet MS" panose="020B0603020202020204" pitchFamily="34" charset="0"/>
            </a:endParaRPr>
          </a:p>
        </p:txBody>
      </p:sp>
      <p:graphicFrame>
        <p:nvGraphicFramePr>
          <p:cNvPr id="127" name="Chart 8">
            <a:extLst>
              <a:ext uri="{FF2B5EF4-FFF2-40B4-BE49-F238E27FC236}">
                <a16:creationId xmlns:a16="http://schemas.microsoft.com/office/drawing/2014/main" id="{E66854E5-D257-4C17-A005-3BF0BF4B329F}"/>
              </a:ext>
            </a:extLst>
          </p:cNvPr>
          <p:cNvGraphicFramePr/>
          <p:nvPr/>
        </p:nvGraphicFramePr>
        <p:xfrm>
          <a:off x="5341008" y="3314964"/>
          <a:ext cx="4100565" cy="2259265"/>
        </p:xfrm>
        <a:graphic>
          <a:graphicData uri="http://schemas.openxmlformats.org/drawingml/2006/chart">
            <c:chart xmlns:c="http://schemas.openxmlformats.org/drawingml/2006/chart" xmlns:r="http://schemas.openxmlformats.org/officeDocument/2006/relationships" r:id="rId18"/>
          </a:graphicData>
        </a:graphic>
      </p:graphicFrame>
      <p:cxnSp>
        <p:nvCxnSpPr>
          <p:cNvPr id="128" name="Connecteur droit avec flèche 10">
            <a:extLst>
              <a:ext uri="{FF2B5EF4-FFF2-40B4-BE49-F238E27FC236}">
                <a16:creationId xmlns:a16="http://schemas.microsoft.com/office/drawing/2014/main" id="{476481F8-774F-4063-BDC7-B6A4797E5330}"/>
              </a:ext>
            </a:extLst>
          </p:cNvPr>
          <p:cNvCxnSpPr>
            <a:cxnSpLocks/>
          </p:cNvCxnSpPr>
          <p:nvPr/>
        </p:nvCxnSpPr>
        <p:spPr bwMode="auto">
          <a:xfrm flipH="1">
            <a:off x="5406187" y="4341989"/>
            <a:ext cx="1215517" cy="283079"/>
          </a:xfrm>
          <a:prstGeom prst="straightConnector1">
            <a:avLst/>
          </a:prstGeom>
          <a:solidFill>
            <a:schemeClr val="accent1"/>
          </a:solidFill>
          <a:ln w="9525" cap="flat" cmpd="sng" algn="ctr">
            <a:solidFill>
              <a:schemeClr val="tx1"/>
            </a:solidFill>
            <a:prstDash val="solid"/>
            <a:round/>
            <a:headEnd type="triangle" w="med" len="med"/>
            <a:tailEnd type="none" w="med" len="med"/>
          </a:ln>
          <a:effectLst/>
        </p:spPr>
      </p:cxnSp>
      <p:sp>
        <p:nvSpPr>
          <p:cNvPr id="129" name="Rectangle 128">
            <a:extLst>
              <a:ext uri="{FF2B5EF4-FFF2-40B4-BE49-F238E27FC236}">
                <a16:creationId xmlns:a16="http://schemas.microsoft.com/office/drawing/2014/main" id="{980BBE29-D76D-4CED-8992-1A4450EDF52C}"/>
              </a:ext>
            </a:extLst>
          </p:cNvPr>
          <p:cNvSpPr/>
          <p:nvPr/>
        </p:nvSpPr>
        <p:spPr bwMode="auto">
          <a:xfrm>
            <a:off x="5375559" y="4208273"/>
            <a:ext cx="940753" cy="146929"/>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17-19</a:t>
            </a:r>
            <a:r>
              <a:rPr lang="en-GB" sz="900">
                <a:latin typeface="Trebuchet MS" panose="020B0603020202020204" pitchFamily="34" charset="0"/>
              </a:rPr>
              <a:t>: +15%</a:t>
            </a:r>
            <a:endParaRPr kumimoji="0" lang="en-GB" sz="900" b="0" i="0" u="none" strike="noStrike" cap="none" normalizeH="0" baseline="0">
              <a:ln>
                <a:noFill/>
              </a:ln>
              <a:effectLst/>
              <a:latin typeface="Trebuchet MS" panose="020B0603020202020204" pitchFamily="34" charset="0"/>
            </a:endParaRPr>
          </a:p>
        </p:txBody>
      </p:sp>
      <p:cxnSp>
        <p:nvCxnSpPr>
          <p:cNvPr id="130" name="Connecteur droit avec flèche 10">
            <a:extLst>
              <a:ext uri="{FF2B5EF4-FFF2-40B4-BE49-F238E27FC236}">
                <a16:creationId xmlns:a16="http://schemas.microsoft.com/office/drawing/2014/main" id="{49759EA6-267B-4434-B0E4-762B9EA476D4}"/>
              </a:ext>
            </a:extLst>
          </p:cNvPr>
          <p:cNvCxnSpPr>
            <a:cxnSpLocks/>
          </p:cNvCxnSpPr>
          <p:nvPr/>
        </p:nvCxnSpPr>
        <p:spPr bwMode="auto">
          <a:xfrm flipH="1">
            <a:off x="6777012" y="3660463"/>
            <a:ext cx="2440169" cy="613353"/>
          </a:xfrm>
          <a:prstGeom prst="straightConnector1">
            <a:avLst/>
          </a:prstGeom>
          <a:solidFill>
            <a:schemeClr val="accent1"/>
          </a:solidFill>
          <a:ln w="9525" cap="flat" cmpd="sng" algn="ctr">
            <a:solidFill>
              <a:schemeClr val="tx1"/>
            </a:solidFill>
            <a:prstDash val="solid"/>
            <a:round/>
            <a:headEnd type="triangle" w="med" len="med"/>
            <a:tailEnd type="none" w="med" len="med"/>
          </a:ln>
          <a:effectLst/>
        </p:spPr>
      </p:cxnSp>
      <p:sp>
        <p:nvSpPr>
          <p:cNvPr id="131" name="Rectangle 130">
            <a:extLst>
              <a:ext uri="{FF2B5EF4-FFF2-40B4-BE49-F238E27FC236}">
                <a16:creationId xmlns:a16="http://schemas.microsoft.com/office/drawing/2014/main" id="{665753CF-43A1-4AB9-971C-AF32375D6F52}"/>
              </a:ext>
            </a:extLst>
          </p:cNvPr>
          <p:cNvSpPr/>
          <p:nvPr/>
        </p:nvSpPr>
        <p:spPr bwMode="auto">
          <a:xfrm>
            <a:off x="6901337" y="3820210"/>
            <a:ext cx="940753" cy="146929"/>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20-25</a:t>
            </a:r>
            <a:r>
              <a:rPr lang="en-GB" sz="900">
                <a:latin typeface="Trebuchet MS" panose="020B0603020202020204" pitchFamily="34" charset="0"/>
              </a:rPr>
              <a:t>: +11%</a:t>
            </a:r>
            <a:endParaRPr kumimoji="0" lang="en-GB" sz="900" b="0" i="0" u="none" strike="noStrike" cap="none" normalizeH="0" baseline="0">
              <a:ln>
                <a:noFill/>
              </a:ln>
              <a:effectLst/>
              <a:latin typeface="Trebuchet MS" panose="020B0603020202020204" pitchFamily="34" charset="0"/>
            </a:endParaRPr>
          </a:p>
        </p:txBody>
      </p:sp>
    </p:spTree>
    <p:extLst>
      <p:ext uri="{BB962C8B-B14F-4D97-AF65-F5344CB8AC3E}">
        <p14:creationId xmlns:p14="http://schemas.microsoft.com/office/powerpoint/2010/main" val="3002270694"/>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4E8BB55-4454-4FE4-A0CA-08C2677BB30A}"/>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15C80389-6548-4E62-B1DE-3FED01EC77DC}"/>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5" name="Chevron">
            <a:extLst>
              <a:ext uri="{FF2B5EF4-FFF2-40B4-BE49-F238E27FC236}">
                <a16:creationId xmlns:a16="http://schemas.microsoft.com/office/drawing/2014/main" id="{E411076D-BD7D-4F3C-BA4F-785FA7DEB8E0}"/>
              </a:ext>
            </a:extLst>
          </p:cNvPr>
          <p:cNvSpPr/>
          <p:nvPr/>
        </p:nvSpPr>
        <p:spPr bwMode="auto">
          <a:xfrm>
            <a:off x="1418399" y="2181600"/>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 name="Section">
            <a:extLst>
              <a:ext uri="{FF2B5EF4-FFF2-40B4-BE49-F238E27FC236}">
                <a16:creationId xmlns:a16="http://schemas.microsoft.com/office/drawing/2014/main" id="{326B4D12-3A06-4913-AA9A-9843CDCAF5C5}"/>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2</a:t>
            </a:r>
          </a:p>
        </p:txBody>
      </p:sp>
      <p:sp>
        <p:nvSpPr>
          <p:cNvPr id="9" name="ZoneTexte 8">
            <a:extLst>
              <a:ext uri="{FF2B5EF4-FFF2-40B4-BE49-F238E27FC236}">
                <a16:creationId xmlns:a16="http://schemas.microsoft.com/office/drawing/2014/main" id="{624CC054-0A35-4E7C-A671-C465564E0783}"/>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marR="0" indent="-228600" defTabSz="914400" rtl="0" eaLnBrk="1" fontAlgn="base" latinLnBrk="0" hangingPunct="1">
              <a:lnSpc>
                <a:spcPct val="100000"/>
              </a:lnSpc>
              <a:spcBef>
                <a:spcPct val="0"/>
              </a:spcBef>
              <a:spcAft>
                <a:spcPct val="0"/>
              </a:spcAft>
              <a:buClrTx/>
              <a:buSzTx/>
              <a:buFont typeface="+mj-lt"/>
              <a:buAutoNum type="arabicPeriod"/>
              <a:tabLst/>
            </a:pPr>
            <a:r>
              <a:rPr kumimoji="0" lang="en-GB" sz="1200" b="0" u="none" strike="noStrike" cap="none" normalizeH="0" baseline="0">
                <a:ln>
                  <a:noFill/>
                </a:ln>
                <a:effectLst/>
                <a:latin typeface="Trebuchet MS" pitchFamily="34" charset="0"/>
              </a:rPr>
              <a:t>Overview of the BD&amp;A market addressed by </a:t>
            </a:r>
            <a:r>
              <a:rPr kumimoji="0" lang="en-GB" sz="1200" b="0" u="none" strike="noStrike" cap="none" normalizeH="0" baseline="0" err="1">
                <a:ln>
                  <a:noFill/>
                </a:ln>
                <a:effectLst/>
                <a:latin typeface="Trebuchet MS" pitchFamily="34" charset="0"/>
              </a:rPr>
              <a:t>Altares</a:t>
            </a:r>
            <a:endParaRPr kumimoji="0" lang="en-GB" sz="1200" b="0" u="none" strike="noStrike" cap="none" normalizeH="0" baseline="0">
              <a:ln>
                <a:noFill/>
              </a:ln>
              <a:effectLst/>
              <a:latin typeface="Trebuchet MS" pitchFamily="34" charset="0"/>
            </a:endParaRPr>
          </a:p>
          <a:p>
            <a:pPr marL="742950" lvl="1" indent="-285750">
              <a:buFont typeface="+mj-lt"/>
              <a:buAutoNum type="romanLcPeriod"/>
            </a:pPr>
            <a:r>
              <a:rPr kumimoji="0" lang="en-GB" sz="1200" b="0" u="none" strike="noStrike" cap="none" normalizeH="0" baseline="0">
                <a:ln>
                  <a:noFill/>
                </a:ln>
                <a:effectLst/>
                <a:latin typeface="Trebuchet MS" pitchFamily="34" charset="0"/>
              </a:rPr>
              <a:t>Key customers’ use cases related to BD&amp;A</a:t>
            </a:r>
          </a:p>
          <a:p>
            <a:pPr marL="742950" lvl="1" indent="-285750">
              <a:buFont typeface="+mj-lt"/>
              <a:buAutoNum type="romanLcPeriod"/>
            </a:pPr>
            <a:r>
              <a:rPr kumimoji="0" lang="en-GB" sz="1200" b="0" u="none" strike="noStrike" cap="none" normalizeH="0" baseline="0">
                <a:ln>
                  <a:noFill/>
                </a:ln>
                <a:effectLst/>
                <a:latin typeface="Trebuchet MS" pitchFamily="34" charset="0"/>
              </a:rPr>
              <a:t>Global market structure and </a:t>
            </a:r>
            <a:r>
              <a:rPr kumimoji="0" lang="en-GB" sz="1200" b="0" u="none" strike="noStrike" cap="none" normalizeH="0" baseline="0" err="1">
                <a:ln>
                  <a:noFill/>
                </a:ln>
                <a:effectLst/>
                <a:latin typeface="Trebuchet MS" pitchFamily="34" charset="0"/>
              </a:rPr>
              <a:t>Altares</a:t>
            </a:r>
            <a:r>
              <a:rPr kumimoji="0" lang="en-GB" sz="1200" b="0" u="none" strike="noStrike" cap="none" normalizeH="0" baseline="0">
                <a:ln>
                  <a:noFill/>
                </a:ln>
                <a:effectLst/>
                <a:latin typeface="Trebuchet MS" pitchFamily="34" charset="0"/>
              </a:rPr>
              <a:t> positioning</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Credit &amp; financial risk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solidFill>
                  <a:schemeClr val="tx2"/>
                </a:solidFill>
                <a:latin typeface="Trebuchet MS" panose="020B0603020202020204" pitchFamily="34" charset="0"/>
              </a:rPr>
              <a:t>Compliance market</a:t>
            </a:r>
          </a:p>
          <a:p>
            <a:pPr marL="742950" lvl="1" indent="-285750">
              <a:buFont typeface="+mj-lt"/>
              <a:buAutoNum type="romanLcPeriod"/>
            </a:pPr>
            <a:r>
              <a:rPr lang="en-GB" sz="1200">
                <a:latin typeface="Trebuchet MS" pitchFamily="34" charset="0"/>
              </a:rPr>
              <a:t>Market scope &amp; overview</a:t>
            </a:r>
          </a:p>
          <a:p>
            <a:pPr marL="742950" lvl="1" indent="-285750">
              <a:buFont typeface="+mj-lt"/>
              <a:buAutoNum type="romanLcPeriod"/>
            </a:pPr>
            <a:r>
              <a:rPr lang="en-GB" sz="1200">
                <a:solidFill>
                  <a:schemeClr val="tx2"/>
                </a:solidFill>
                <a:latin typeface="Trebuchet MS" pitchFamily="34" charset="0"/>
              </a:rPr>
              <a:t>Regulatory context &amp; key drivers</a:t>
            </a:r>
          </a:p>
          <a:p>
            <a:pPr marL="742950" marR="0" lvl="1" indent="-285750" defTabSz="914400" eaLnBrk="1" latinLnBrk="0" hangingPunct="1">
              <a:lnSpc>
                <a:spcPct val="100000"/>
              </a:lnSpc>
              <a:buClrTx/>
              <a:buSzTx/>
              <a:buFont typeface="+mj-lt"/>
              <a:buAutoNum type="romanLcPeriod"/>
              <a:tabLst/>
            </a:pPr>
            <a:r>
              <a:rPr lang="en-GB" sz="1200">
                <a:latin typeface="Trebuchet MS" pitchFamily="34" charset="0"/>
              </a:rPr>
              <a:t>Altares’ compliance ecosystem</a:t>
            </a:r>
            <a:endParaRPr lang="en-GB" sz="1200">
              <a:solidFill>
                <a:schemeClr val="tx2"/>
              </a:solidFill>
              <a:latin typeface="Trebuchet MS" panose="020B0603020202020204" pitchFamily="34" charset="0"/>
            </a:endParaRP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B2B Marketing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BD&amp;A market overview in Maghreb</a:t>
            </a:r>
          </a:p>
          <a:p>
            <a:endParaRPr lang="en-GB" sz="1200">
              <a:latin typeface="Trebuchet MS" pitchFamily="34" charset="0"/>
            </a:endParaRPr>
          </a:p>
        </p:txBody>
      </p:sp>
      <p:sp>
        <p:nvSpPr>
          <p:cNvPr id="4" name="Isosceles Triangle">
            <a:extLst>
              <a:ext uri="{FF2B5EF4-FFF2-40B4-BE49-F238E27FC236}">
                <a16:creationId xmlns:a16="http://schemas.microsoft.com/office/drawing/2014/main" id="{FB3CA906-550E-49DB-A6DC-CE4E06DCB5D1}"/>
              </a:ext>
            </a:extLst>
          </p:cNvPr>
          <p:cNvSpPr/>
          <p:nvPr/>
        </p:nvSpPr>
        <p:spPr bwMode="auto">
          <a:xfrm rot="5400000">
            <a:off x="5731200" y="2282400"/>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 name="Arrow: Pentagon">
            <a:extLst>
              <a:ext uri="{FF2B5EF4-FFF2-40B4-BE49-F238E27FC236}">
                <a16:creationId xmlns:a16="http://schemas.microsoft.com/office/drawing/2014/main" id="{51A3450F-BBF8-4225-96A2-FDC773C0FA82}"/>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18" name="Oval">
            <a:extLst>
              <a:ext uri="{FF2B5EF4-FFF2-40B4-BE49-F238E27FC236}">
                <a16:creationId xmlns:a16="http://schemas.microsoft.com/office/drawing/2014/main" id="{FD180EE7-45C2-44F4-9BDE-C4E58E3C9D51}"/>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19" name="Arrow: Pentagon">
            <a:extLst>
              <a:ext uri="{FF2B5EF4-FFF2-40B4-BE49-F238E27FC236}">
                <a16:creationId xmlns:a16="http://schemas.microsoft.com/office/drawing/2014/main" id="{3A786F55-A8FA-421A-8DFD-847D0BBD3814}"/>
              </a:ext>
            </a:extLst>
          </p:cNvPr>
          <p:cNvSpPr/>
          <p:nvPr/>
        </p:nvSpPr>
        <p:spPr bwMode="auto">
          <a:xfrm>
            <a:off x="1641599" y="2181600"/>
            <a:ext cx="4319994"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FFFFFF"/>
                </a:solidFill>
                <a:effectLst/>
                <a:latin typeface="Trebuchet MS" panose="020B0603020202020204" pitchFamily="34" charset="0"/>
              </a:rPr>
              <a:t>BD&amp;A Market &amp; Competition</a:t>
            </a:r>
          </a:p>
        </p:txBody>
      </p:sp>
      <p:sp>
        <p:nvSpPr>
          <p:cNvPr id="20" name="Oval">
            <a:extLst>
              <a:ext uri="{FF2B5EF4-FFF2-40B4-BE49-F238E27FC236}">
                <a16:creationId xmlns:a16="http://schemas.microsoft.com/office/drawing/2014/main" id="{8D591CAC-D9FB-4A94-89A7-473FBC54C347}"/>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21" name="Arrow: Pentagon">
            <a:extLst>
              <a:ext uri="{FF2B5EF4-FFF2-40B4-BE49-F238E27FC236}">
                <a16:creationId xmlns:a16="http://schemas.microsoft.com/office/drawing/2014/main" id="{236FE126-9AB2-4FFC-9CC9-04A01AA618C5}"/>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23" name="Arrow: Pentagon">
            <a:extLst>
              <a:ext uri="{FF2B5EF4-FFF2-40B4-BE49-F238E27FC236}">
                <a16:creationId xmlns:a16="http://schemas.microsoft.com/office/drawing/2014/main" id="{7EACDB78-621D-4C00-A832-94FAFA7925A9}"/>
              </a:ext>
            </a:extLst>
          </p:cNvPr>
          <p:cNvSpPr/>
          <p:nvPr/>
        </p:nvSpPr>
        <p:spPr bwMode="auto">
          <a:xfrm>
            <a:off x="1641599" y="2685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25" name="Oval">
            <a:extLst>
              <a:ext uri="{FF2B5EF4-FFF2-40B4-BE49-F238E27FC236}">
                <a16:creationId xmlns:a16="http://schemas.microsoft.com/office/drawing/2014/main" id="{B8D3F594-58F6-4A09-B643-4DD1EEA044BB}"/>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27" name="Arrow: Pentagon">
            <a:extLst>
              <a:ext uri="{FF2B5EF4-FFF2-40B4-BE49-F238E27FC236}">
                <a16:creationId xmlns:a16="http://schemas.microsoft.com/office/drawing/2014/main" id="{11D3F583-3BA9-4466-B143-F61E8CB26C91}"/>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29" name="Oval">
            <a:extLst>
              <a:ext uri="{FF2B5EF4-FFF2-40B4-BE49-F238E27FC236}">
                <a16:creationId xmlns:a16="http://schemas.microsoft.com/office/drawing/2014/main" id="{A9EDCC88-CC41-4103-98EA-4CB9E9FC9FAB}"/>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31" name="Oval">
            <a:extLst>
              <a:ext uri="{FF2B5EF4-FFF2-40B4-BE49-F238E27FC236}">
                <a16:creationId xmlns:a16="http://schemas.microsoft.com/office/drawing/2014/main" id="{F95D08A7-D139-470C-B587-565A475C0B76}"/>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3793351039"/>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Ellipse 116">
            <a:extLst>
              <a:ext uri="{FF2B5EF4-FFF2-40B4-BE49-F238E27FC236}">
                <a16:creationId xmlns:a16="http://schemas.microsoft.com/office/drawing/2014/main" id="{E9538D6F-BB06-436E-9591-7BA107FA0BE6}"/>
              </a:ext>
            </a:extLst>
          </p:cNvPr>
          <p:cNvSpPr>
            <a:spLocks noChangeAspect="1"/>
          </p:cNvSpPr>
          <p:nvPr/>
        </p:nvSpPr>
        <p:spPr bwMode="auto">
          <a:xfrm>
            <a:off x="5294997" y="5550986"/>
            <a:ext cx="935085" cy="875068"/>
          </a:xfrm>
          <a:prstGeom prst="ellipse">
            <a:avLst/>
          </a:prstGeom>
          <a:solidFill>
            <a:schemeClr val="bg2">
              <a:lumMod val="20000"/>
              <a:lumOff val="8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 name="Rectangle 7">
            <a:extLst>
              <a:ext uri="{FF2B5EF4-FFF2-40B4-BE49-F238E27FC236}">
                <a16:creationId xmlns:a16="http://schemas.microsoft.com/office/drawing/2014/main" id="{9A44C854-958B-4B99-AAA3-1B32EA610484}"/>
              </a:ext>
            </a:extLst>
          </p:cNvPr>
          <p:cNvSpPr/>
          <p:nvPr/>
        </p:nvSpPr>
        <p:spPr bwMode="auto">
          <a:xfrm>
            <a:off x="6423377" y="4355286"/>
            <a:ext cx="2052000" cy="205200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anose="020B0603020202020204" pitchFamily="34" charset="0"/>
              </a:rPr>
              <a:t>Market to be potentially addressable</a:t>
            </a:r>
          </a:p>
        </p:txBody>
      </p:sp>
      <p:graphicFrame>
        <p:nvGraphicFramePr>
          <p:cNvPr id="7" name="Object 6" hidden="1">
            <a:extLst>
              <a:ext uri="{FF2B5EF4-FFF2-40B4-BE49-F238E27FC236}">
                <a16:creationId xmlns:a16="http://schemas.microsoft.com/office/drawing/2014/main" id="{086FC499-DA31-4D9F-87F8-6570C6071B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086FC499-DA31-4D9F-87F8-6570C6071B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53123DB-4927-4904-B0B0-EC23B1985C74}"/>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56636E42-0540-4E27-BC14-662539852738}"/>
              </a:ext>
            </a:extLst>
          </p:cNvPr>
          <p:cNvSpPr>
            <a:spLocks noGrp="1"/>
          </p:cNvSpPr>
          <p:nvPr>
            <p:ph type="title"/>
          </p:nvPr>
        </p:nvSpPr>
        <p:spPr>
          <a:xfrm>
            <a:off x="165600" y="147600"/>
            <a:ext cx="8342812" cy="684000"/>
          </a:xfrm>
        </p:spPr>
        <p:txBody>
          <a:bodyPr/>
          <a:lstStyle/>
          <a:p>
            <a:r>
              <a:rPr lang="en-GB">
                <a:latin typeface="Trebuchet MS" panose="020B0603020202020204" pitchFamily="34" charset="0"/>
              </a:rPr>
              <a:t>Large European corporates are facing </a:t>
            </a:r>
            <a:r>
              <a:rPr lang="en-GB">
                <a:solidFill>
                  <a:schemeClr val="tx2"/>
                </a:solidFill>
                <a:latin typeface="Trebuchet MS" panose="020B0603020202020204" pitchFamily="34" charset="0"/>
              </a:rPr>
              <a:t>increasing and costly constraints from authorities</a:t>
            </a:r>
            <a:r>
              <a:rPr lang="en-GB">
                <a:latin typeface="Trebuchet MS" panose="020B0603020202020204" pitchFamily="34" charset="0"/>
              </a:rPr>
              <a:t> in terms of compliance processes, complicating the requirements implementation</a:t>
            </a:r>
          </a:p>
        </p:txBody>
      </p:sp>
      <p:sp>
        <p:nvSpPr>
          <p:cNvPr id="3" name="Espace réservé du texte 2">
            <a:extLst>
              <a:ext uri="{FF2B5EF4-FFF2-40B4-BE49-F238E27FC236}">
                <a16:creationId xmlns:a16="http://schemas.microsoft.com/office/drawing/2014/main" id="{53ED0692-1499-4BDC-9F73-06FDE8FE4C78}"/>
              </a:ext>
            </a:extLst>
          </p:cNvPr>
          <p:cNvSpPr>
            <a:spLocks noGrp="1"/>
          </p:cNvSpPr>
          <p:nvPr>
            <p:ph type="body" sz="quarter" idx="10"/>
          </p:nvPr>
        </p:nvSpPr>
        <p:spPr>
          <a:xfrm>
            <a:off x="1315275" y="6580025"/>
            <a:ext cx="6245390" cy="244800"/>
          </a:xfrm>
        </p:spPr>
        <p:txBody>
          <a:bodyPr/>
          <a:lstStyle/>
          <a:p>
            <a:r>
              <a:rPr lang="en-GB"/>
              <a:t>Sources: eleven research &amp; analysis, expert calls, </a:t>
            </a:r>
            <a:r>
              <a:rPr lang="en-GB" err="1"/>
              <a:t>Infogreffe</a:t>
            </a:r>
            <a:r>
              <a:rPr lang="en-GB"/>
              <a:t>, Les </a:t>
            </a:r>
            <a:r>
              <a:rPr lang="en-GB" err="1"/>
              <a:t>Echos</a:t>
            </a:r>
            <a:r>
              <a:rPr lang="en-GB"/>
              <a:t>, corporate websites, </a:t>
            </a:r>
            <a:r>
              <a:rPr lang="en-GB" err="1"/>
              <a:t>LegiFrance</a:t>
            </a:r>
            <a:r>
              <a:rPr lang="en-GB"/>
              <a:t>, LexisNexis, AMLD4/AMLD5 KYCC, Consult Hyperion, Thomson Reuters, AFSE, </a:t>
            </a:r>
            <a:r>
              <a:rPr lang="en-GB" err="1"/>
              <a:t>ethicorp</a:t>
            </a:r>
            <a:r>
              <a:rPr lang="en-GB"/>
              <a:t> </a:t>
            </a:r>
            <a:r>
              <a:rPr lang="en-GB" err="1"/>
              <a:t>Optimind</a:t>
            </a:r>
            <a:r>
              <a:rPr lang="en-GB"/>
              <a:t>, KPMG, Grant Thornton, 1. KYC (Know your Customer)</a:t>
            </a:r>
          </a:p>
        </p:txBody>
      </p:sp>
      <p:sp>
        <p:nvSpPr>
          <p:cNvPr id="18" name="Rectangle 17">
            <a:extLst>
              <a:ext uri="{FF2B5EF4-FFF2-40B4-BE49-F238E27FC236}">
                <a16:creationId xmlns:a16="http://schemas.microsoft.com/office/drawing/2014/main" id="{58DA846E-6205-408C-AEF8-9DC2D530FC04}"/>
              </a:ext>
            </a:extLst>
          </p:cNvPr>
          <p:cNvSpPr/>
          <p:nvPr/>
        </p:nvSpPr>
        <p:spPr bwMode="auto">
          <a:xfrm>
            <a:off x="272226" y="1378350"/>
            <a:ext cx="4388821" cy="263200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indent="-171450" defTabSz="914400" rtl="0" eaLnBrk="1" fontAlgn="base" latinLnBrk="0" hangingPunct="1">
              <a:lnSpc>
                <a:spcPct val="100000"/>
              </a:lnSpc>
              <a:spcBef>
                <a:spcPct val="0"/>
              </a:spcBef>
              <a:spcAft>
                <a:spcPts val="300"/>
              </a:spcAft>
              <a:buClrTx/>
              <a:buSzTx/>
              <a:buFont typeface="Arial" panose="020B0604020202020204" pitchFamily="34" charset="0"/>
              <a:buChar char="•"/>
              <a:tabLst/>
            </a:pPr>
            <a:r>
              <a:rPr lang="en-GB" sz="1000">
                <a:latin typeface="Trebuchet MS" panose="020B0603020202020204" pitchFamily="34" charset="0"/>
              </a:rPr>
              <a:t>Due to recent anti-corruption (</a:t>
            </a:r>
            <a:r>
              <a:rPr kumimoji="0" lang="en-GB" sz="1000" b="0" i="0" u="none" strike="noStrike" cap="none" normalizeH="0" baseline="0">
                <a:ln>
                  <a:noFill/>
                </a:ln>
                <a:solidFill>
                  <a:schemeClr val="tx1"/>
                </a:solidFill>
                <a:effectLst/>
                <a:latin typeface="Trebuchet MS" panose="020B0603020202020204" pitchFamily="34" charset="0"/>
              </a:rPr>
              <a:t>KYC</a:t>
            </a:r>
            <a:r>
              <a:rPr kumimoji="0" lang="en-GB" sz="1000" b="0" i="0" u="none" strike="noStrike" cap="none" normalizeH="0" baseline="30000">
                <a:ln>
                  <a:noFill/>
                </a:ln>
                <a:solidFill>
                  <a:schemeClr val="tx1"/>
                </a:solidFill>
                <a:effectLst/>
                <a:latin typeface="Trebuchet MS" panose="020B0603020202020204" pitchFamily="34" charset="0"/>
              </a:rPr>
              <a:t>1</a:t>
            </a:r>
            <a:r>
              <a:rPr kumimoji="0" lang="en-GB" sz="1000" b="0" i="0" u="none" strike="noStrike" cap="none" normalizeH="0" baseline="0">
                <a:ln>
                  <a:noFill/>
                </a:ln>
                <a:solidFill>
                  <a:schemeClr val="tx1"/>
                </a:solidFill>
                <a:effectLst/>
                <a:latin typeface="Trebuchet MS" panose="020B0603020202020204" pitchFamily="34" charset="0"/>
              </a:rPr>
              <a:t> / </a:t>
            </a:r>
            <a:r>
              <a:rPr kumimoji="0" lang="en-GB" sz="1000" b="0" i="0" u="none" strike="noStrike" cap="none" normalizeH="0" baseline="0" err="1">
                <a:ln>
                  <a:noFill/>
                </a:ln>
                <a:solidFill>
                  <a:schemeClr val="tx1"/>
                </a:solidFill>
                <a:effectLst/>
                <a:latin typeface="Trebuchet MS" panose="020B0603020202020204" pitchFamily="34" charset="0"/>
              </a:rPr>
              <a:t>Sapin</a:t>
            </a:r>
            <a:r>
              <a:rPr kumimoji="0" lang="en-GB" sz="1000" b="0" i="0" u="none" strike="noStrike" cap="none" normalizeH="0" baseline="0">
                <a:ln>
                  <a:noFill/>
                </a:ln>
                <a:solidFill>
                  <a:schemeClr val="tx1"/>
                </a:solidFill>
                <a:effectLst/>
                <a:latin typeface="Trebuchet MS" panose="020B0603020202020204" pitchFamily="34" charset="0"/>
              </a:rPr>
              <a:t> II / Dutch Criminal Code…) and </a:t>
            </a:r>
            <a:r>
              <a:rPr lang="en-GB" sz="1000">
                <a:latin typeface="Trebuchet MS" panose="020B0603020202020204" pitchFamily="34" charset="0"/>
              </a:rPr>
              <a:t>Anti Money Laundering (AML) laws</a:t>
            </a:r>
            <a:r>
              <a:rPr kumimoji="0" lang="en-GB" sz="1000" b="0" i="0" u="none" strike="noStrike" cap="none" normalizeH="0" baseline="0">
                <a:ln>
                  <a:noFill/>
                </a:ln>
                <a:solidFill>
                  <a:schemeClr val="tx1"/>
                </a:solidFill>
                <a:effectLst/>
                <a:latin typeface="Trebuchet MS" panose="020B0603020202020204" pitchFamily="34" charset="0"/>
              </a:rPr>
              <a:t>, European large corporations and financial companies need to </a:t>
            </a:r>
            <a:r>
              <a:rPr kumimoji="0" lang="en-GB" sz="1000" b="0" i="0" u="none" strike="noStrike" cap="none" normalizeH="0" baseline="0">
                <a:ln>
                  <a:noFill/>
                </a:ln>
                <a:solidFill>
                  <a:schemeClr val="tx2"/>
                </a:solidFill>
                <a:effectLst/>
                <a:latin typeface="Trebuchet MS" panose="020B0603020202020204" pitchFamily="34" charset="0"/>
              </a:rPr>
              <a:t>conduct a diligent evaluation of all their business partners </a:t>
            </a:r>
            <a:r>
              <a:rPr kumimoji="0" lang="en-GB" sz="1000" b="0" i="0" u="none" strike="noStrike" cap="none" normalizeH="0" baseline="0">
                <a:ln>
                  <a:noFill/>
                </a:ln>
                <a:solidFill>
                  <a:schemeClr val="tx1"/>
                </a:solidFill>
                <a:effectLst/>
                <a:latin typeface="Trebuchet MS" panose="020B0603020202020204" pitchFamily="34" charset="0"/>
              </a:rPr>
              <a:t>(e.g. customers and suppliers...) to estimate the associated risk of corruption and money laundering</a:t>
            </a:r>
          </a:p>
          <a:p>
            <a:pPr marL="355600" lvl="1" indent="-177800">
              <a:spcAft>
                <a:spcPts val="200"/>
              </a:spcAft>
              <a:buFont typeface="Courier New" panose="02070309020205020404" pitchFamily="49" charset="0"/>
              <a:buChar char="o"/>
            </a:pPr>
            <a:r>
              <a:rPr lang="en-GB" sz="1000">
                <a:latin typeface="Trebuchet MS" panose="020B0603020202020204" pitchFamily="34" charset="0"/>
              </a:rPr>
              <a:t>Identification of the “</a:t>
            </a:r>
            <a:r>
              <a:rPr lang="en-GB" sz="1000">
                <a:solidFill>
                  <a:schemeClr val="tx2"/>
                </a:solidFill>
                <a:latin typeface="Trebuchet MS" panose="020B0603020202020204" pitchFamily="34" charset="0"/>
              </a:rPr>
              <a:t>Ultimate</a:t>
            </a:r>
            <a:r>
              <a:rPr lang="en-GB" sz="1000">
                <a:latin typeface="Trebuchet MS" panose="020B0603020202020204" pitchFamily="34" charset="0"/>
              </a:rPr>
              <a:t> </a:t>
            </a:r>
            <a:r>
              <a:rPr lang="en-GB" sz="1000">
                <a:solidFill>
                  <a:schemeClr val="tx2"/>
                </a:solidFill>
                <a:latin typeface="Trebuchet MS" panose="020B0603020202020204" pitchFamily="34" charset="0"/>
              </a:rPr>
              <a:t>Beneficial</a:t>
            </a:r>
            <a:r>
              <a:rPr lang="en-GB" sz="1000">
                <a:latin typeface="Trebuchet MS" panose="020B0603020202020204" pitchFamily="34" charset="0"/>
              </a:rPr>
              <a:t> </a:t>
            </a:r>
            <a:r>
              <a:rPr lang="en-GB" sz="1000">
                <a:solidFill>
                  <a:schemeClr val="tx2"/>
                </a:solidFill>
                <a:latin typeface="Trebuchet MS" panose="020B0603020202020204" pitchFamily="34" charset="0"/>
              </a:rPr>
              <a:t>Owner</a:t>
            </a:r>
            <a:r>
              <a:rPr lang="en-GB" sz="1000">
                <a:latin typeface="Trebuchet MS" panose="020B0603020202020204" pitchFamily="34" charset="0"/>
              </a:rPr>
              <a:t>” (UBO) of the company, i.e. the physical person owning more than 25% of the company’s capital </a:t>
            </a:r>
          </a:p>
          <a:p>
            <a:pPr marL="355600" lvl="1" indent="-177800">
              <a:spcAft>
                <a:spcPts val="200"/>
              </a:spcAft>
              <a:buFont typeface="Courier New" panose="02070309020205020404" pitchFamily="49" charset="0"/>
              <a:buChar char="o"/>
            </a:pPr>
            <a:r>
              <a:rPr lang="en-GB" sz="1000">
                <a:latin typeface="Trebuchet MS" panose="020B0603020202020204" pitchFamily="34" charset="0"/>
              </a:rPr>
              <a:t>Identification of potential </a:t>
            </a:r>
            <a:r>
              <a:rPr lang="en-GB" sz="1000">
                <a:solidFill>
                  <a:schemeClr val="tx2"/>
                </a:solidFill>
                <a:latin typeface="Trebuchet MS" panose="020B0603020202020204" pitchFamily="34" charset="0"/>
              </a:rPr>
              <a:t>PEPs</a:t>
            </a:r>
            <a:r>
              <a:rPr lang="en-GB" sz="1000">
                <a:latin typeface="Trebuchet MS" pitchFamily="34" charset="0"/>
              </a:rPr>
              <a:t> (“Politically Exposed Persons”)</a:t>
            </a:r>
          </a:p>
          <a:p>
            <a:pPr marL="355600" lvl="1" indent="-177800">
              <a:spcAft>
                <a:spcPts val="200"/>
              </a:spcAft>
              <a:buFont typeface="Courier New" panose="02070309020205020404" pitchFamily="49" charset="0"/>
              <a:buChar char="o"/>
            </a:pPr>
            <a:r>
              <a:rPr lang="en-GB" sz="1000">
                <a:latin typeface="Trebuchet MS" pitchFamily="34" charset="0"/>
              </a:rPr>
              <a:t>Check of the partner on the international sanctions’ lists </a:t>
            </a:r>
          </a:p>
          <a:p>
            <a:pPr marL="355600" lvl="1" indent="-177800">
              <a:spcAft>
                <a:spcPts val="200"/>
              </a:spcAft>
              <a:buFont typeface="Courier New" panose="02070309020205020404" pitchFamily="49" charset="0"/>
              <a:buChar char="o"/>
            </a:pPr>
            <a:r>
              <a:rPr lang="en-GB" sz="1000">
                <a:latin typeface="Trebuchet MS" pitchFamily="34" charset="0"/>
              </a:rPr>
              <a:t>Potential unethical and / or harming behaviours</a:t>
            </a:r>
          </a:p>
          <a:p>
            <a:pPr marL="171450" indent="-171450">
              <a:spcAft>
                <a:spcPts val="30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Remediation of existing client portfolio </a:t>
            </a:r>
            <a:r>
              <a:rPr lang="en-GB" sz="1000">
                <a:latin typeface="Trebuchet MS" panose="020B0603020202020204" pitchFamily="34" charset="0"/>
              </a:rPr>
              <a:t>and </a:t>
            </a:r>
            <a:r>
              <a:rPr lang="en-GB" sz="1000">
                <a:solidFill>
                  <a:schemeClr val="tx2"/>
                </a:solidFill>
                <a:latin typeface="Trebuchet MS" panose="020B0603020202020204" pitchFamily="34" charset="0"/>
              </a:rPr>
              <a:t>regular monitoring efforts</a:t>
            </a:r>
            <a:r>
              <a:rPr lang="en-GB" sz="1000">
                <a:latin typeface="Trebuchet MS" panose="020B0603020202020204" pitchFamily="34" charset="0"/>
              </a:rPr>
              <a:t> must be performed as well, including the periodic update of evaluations throughout the commercial relationship with the peers</a:t>
            </a:r>
          </a:p>
        </p:txBody>
      </p:sp>
      <p:sp>
        <p:nvSpPr>
          <p:cNvPr id="81" name="Rectangle 80">
            <a:extLst>
              <a:ext uri="{FF2B5EF4-FFF2-40B4-BE49-F238E27FC236}">
                <a16:creationId xmlns:a16="http://schemas.microsoft.com/office/drawing/2014/main" id="{F6538891-4B78-4BA6-991D-FCF671087672}"/>
              </a:ext>
            </a:extLst>
          </p:cNvPr>
          <p:cNvSpPr/>
          <p:nvPr/>
        </p:nvSpPr>
        <p:spPr bwMode="auto">
          <a:xfrm>
            <a:off x="5294997" y="3006547"/>
            <a:ext cx="4238024" cy="581285"/>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714375" marR="0" defTabSz="914400" rtl="0" eaLnBrk="1" fontAlgn="base" latinLnBrk="0" hangingPunct="1">
              <a:lnSpc>
                <a:spcPct val="100000"/>
              </a:lnSpc>
              <a:spcBef>
                <a:spcPct val="0"/>
              </a:spcBef>
              <a:spcAft>
                <a:spcPts val="300"/>
              </a:spcAft>
              <a:buClrTx/>
              <a:buSzTx/>
              <a:buFontTx/>
              <a:buNone/>
              <a:tabLst/>
            </a:pPr>
            <a:r>
              <a:rPr kumimoji="0" lang="en-GB" sz="1000" b="0" i="0" u="none" strike="noStrike" cap="none" normalizeH="0" baseline="0">
                <a:ln>
                  <a:noFill/>
                </a:ln>
                <a:solidFill>
                  <a:schemeClr val="tx2"/>
                </a:solidFill>
                <a:effectLst/>
                <a:latin typeface="Trebuchet MS" panose="020B0603020202020204" pitchFamily="34" charset="0"/>
              </a:rPr>
              <a:t>Fine</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paid</a:t>
            </a:r>
            <a:r>
              <a:rPr kumimoji="0" lang="en-GB" sz="1000" b="0" i="0" u="none" strike="noStrike" cap="none" normalizeH="0" baseline="0">
                <a:ln>
                  <a:noFill/>
                </a:ln>
                <a:solidFill>
                  <a:schemeClr val="tx1"/>
                </a:solidFill>
                <a:effectLst/>
                <a:latin typeface="Trebuchet MS" panose="020B0603020202020204" pitchFamily="34" charset="0"/>
              </a:rPr>
              <a:t> by ING </a:t>
            </a:r>
            <a:r>
              <a:rPr kumimoji="0" lang="en-GB" sz="1000" b="0" i="0" u="none" strike="noStrike" cap="none" normalizeH="0" baseline="0">
                <a:ln>
                  <a:noFill/>
                </a:ln>
                <a:solidFill>
                  <a:schemeClr val="tx2"/>
                </a:solidFill>
                <a:effectLst/>
                <a:latin typeface="Trebuchet MS" panose="020B0603020202020204" pitchFamily="34" charset="0"/>
              </a:rPr>
              <a:t>Bank</a:t>
            </a:r>
            <a:r>
              <a:rPr kumimoji="0" lang="en-GB" sz="1000" b="0" i="0" u="none" strike="noStrike" cap="none" normalizeH="0" baseline="0">
                <a:ln>
                  <a:noFill/>
                </a:ln>
                <a:solidFill>
                  <a:schemeClr val="tx1"/>
                </a:solidFill>
                <a:effectLst/>
                <a:latin typeface="Trebuchet MS" panose="020B0603020202020204" pitchFamily="34" charset="0"/>
              </a:rPr>
              <a:t> N.V. to the </a:t>
            </a:r>
            <a:r>
              <a:rPr kumimoji="0" lang="en-GB" sz="1000" b="0" i="0" u="none" strike="noStrike" cap="none" normalizeH="0" baseline="0">
                <a:ln>
                  <a:noFill/>
                </a:ln>
                <a:solidFill>
                  <a:schemeClr val="tx2"/>
                </a:solidFill>
                <a:effectLst/>
                <a:latin typeface="Trebuchet MS" panose="020B0603020202020204" pitchFamily="34" charset="0"/>
              </a:rPr>
              <a:t>Dutch</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government</a:t>
            </a:r>
            <a:r>
              <a:rPr kumimoji="0" lang="en-GB" sz="1000" b="0" i="0" u="none" strike="noStrike" cap="none" normalizeH="0" baseline="0">
                <a:ln>
                  <a:noFill/>
                </a:ln>
                <a:solidFill>
                  <a:schemeClr val="tx1"/>
                </a:solidFill>
                <a:effectLst/>
                <a:latin typeface="Trebuchet MS" panose="020B0603020202020204" pitchFamily="34" charset="0"/>
              </a:rPr>
              <a:t> in 2018 in connection with an investigation for "</a:t>
            </a:r>
            <a:r>
              <a:rPr kumimoji="0" lang="en-GB" sz="1000" b="0" i="0" u="none" strike="noStrike" cap="none" normalizeH="0" baseline="0">
                <a:ln>
                  <a:noFill/>
                </a:ln>
                <a:solidFill>
                  <a:schemeClr val="tx2"/>
                </a:solidFill>
                <a:effectLst/>
                <a:latin typeface="Trebuchet MS" panose="020B0603020202020204" pitchFamily="34" charset="0"/>
              </a:rPr>
              <a:t>money</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laundering</a:t>
            </a:r>
            <a:r>
              <a:rPr kumimoji="0" lang="en-GB" sz="1000" b="0" i="0" u="none" strike="noStrike" cap="none" normalizeH="0" baseline="0">
                <a:ln>
                  <a:noFill/>
                </a:ln>
                <a:solidFill>
                  <a:schemeClr val="tx1"/>
                </a:solidFill>
                <a:effectLst/>
                <a:latin typeface="Trebuchet MS" panose="020B0603020202020204" pitchFamily="34" charset="0"/>
              </a:rPr>
              <a:t> and </a:t>
            </a:r>
            <a:r>
              <a:rPr kumimoji="0" lang="en-GB" sz="1000" b="0" i="0" u="none" strike="noStrike" cap="none" normalizeH="0" baseline="0">
                <a:ln>
                  <a:noFill/>
                </a:ln>
                <a:solidFill>
                  <a:schemeClr val="tx2"/>
                </a:solidFill>
                <a:effectLst/>
                <a:latin typeface="Trebuchet MS" panose="020B0603020202020204" pitchFamily="34" charset="0"/>
              </a:rPr>
              <a:t>corrupt</a:t>
            </a:r>
            <a:r>
              <a:rPr kumimoji="0" lang="en-GB" sz="1000" b="0" i="0" u="none" strike="noStrike" cap="none" normalizeH="0" baseline="0">
                <a:ln>
                  <a:noFill/>
                </a:ln>
                <a:solidFill>
                  <a:schemeClr val="tx1"/>
                </a:solidFill>
                <a:effectLst/>
                <a:latin typeface="Trebuchet MS" panose="020B0603020202020204" pitchFamily="34" charset="0"/>
              </a:rPr>
              <a:t> practices"</a:t>
            </a:r>
          </a:p>
        </p:txBody>
      </p:sp>
      <p:sp>
        <p:nvSpPr>
          <p:cNvPr id="115" name="ZoneTexte 114">
            <a:extLst>
              <a:ext uri="{FF2B5EF4-FFF2-40B4-BE49-F238E27FC236}">
                <a16:creationId xmlns:a16="http://schemas.microsoft.com/office/drawing/2014/main" id="{C4BFD170-741E-44F7-AB19-03743D1A0EE2}"/>
              </a:ext>
            </a:extLst>
          </p:cNvPr>
          <p:cNvSpPr txBox="1"/>
          <p:nvPr/>
        </p:nvSpPr>
        <p:spPr>
          <a:xfrm>
            <a:off x="5310319" y="1404000"/>
            <a:ext cx="4253676" cy="246221"/>
          </a:xfrm>
          <a:prstGeom prst="rect">
            <a:avLst/>
          </a:prstGeom>
          <a:noFill/>
        </p:spPr>
        <p:txBody>
          <a:bodyPr wrap="square" rtlCol="0">
            <a:spAutoFit/>
          </a:bodyPr>
          <a:lstStyle/>
          <a:p>
            <a:r>
              <a:rPr lang="en-GB" sz="1000" i="1">
                <a:latin typeface="Trebuchet MS" panose="020B0603020202020204" pitchFamily="34" charset="0"/>
              </a:rPr>
              <a:t>The cost associated with non-compliance is </a:t>
            </a:r>
            <a:r>
              <a:rPr lang="en-GB" sz="1000" i="1">
                <a:solidFill>
                  <a:schemeClr val="tx2"/>
                </a:solidFill>
                <a:latin typeface="Trebuchet MS" panose="020B0603020202020204" pitchFamily="34" charset="0"/>
              </a:rPr>
              <a:t>important and increasing</a:t>
            </a:r>
            <a:r>
              <a:rPr lang="en-GB" sz="1000" i="1">
                <a:latin typeface="Trebuchet MS" panose="020B0603020202020204" pitchFamily="34" charset="0"/>
              </a:rPr>
              <a:t>… </a:t>
            </a:r>
          </a:p>
        </p:txBody>
      </p:sp>
      <p:cxnSp>
        <p:nvCxnSpPr>
          <p:cNvPr id="9" name="Connecteur droit 8">
            <a:extLst>
              <a:ext uri="{FF2B5EF4-FFF2-40B4-BE49-F238E27FC236}">
                <a16:creationId xmlns:a16="http://schemas.microsoft.com/office/drawing/2014/main" id="{22BC088D-6AF8-40CE-B2DB-B184C0F3570B}"/>
              </a:ext>
            </a:extLst>
          </p:cNvPr>
          <p:cNvCxnSpPr>
            <a:cxnSpLocks/>
          </p:cNvCxnSpPr>
          <p:nvPr/>
        </p:nvCxnSpPr>
        <p:spPr bwMode="auto">
          <a:xfrm>
            <a:off x="272227" y="1165303"/>
            <a:ext cx="4680773"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6" name="ZoneTexte 15">
            <a:extLst>
              <a:ext uri="{FF2B5EF4-FFF2-40B4-BE49-F238E27FC236}">
                <a16:creationId xmlns:a16="http://schemas.microsoft.com/office/drawing/2014/main" id="{5C467E77-9F3E-48E1-AEEA-599D0795F842}"/>
              </a:ext>
            </a:extLst>
          </p:cNvPr>
          <p:cNvSpPr txBox="1"/>
          <p:nvPr/>
        </p:nvSpPr>
        <p:spPr>
          <a:xfrm>
            <a:off x="511097" y="944010"/>
            <a:ext cx="4203032" cy="430887"/>
          </a:xfrm>
          <a:prstGeom prst="rect">
            <a:avLst/>
          </a:prstGeom>
          <a:solidFill>
            <a:schemeClr val="bg1"/>
          </a:solidFill>
        </p:spPr>
        <p:txBody>
          <a:bodyPr wrap="square" lIns="0" rIns="0" rtlCol="0">
            <a:spAutoFit/>
          </a:bodyPr>
          <a:lstStyle/>
          <a:p>
            <a:pPr algn="ctr"/>
            <a:r>
              <a:rPr lang="en-GB" sz="1100">
                <a:latin typeface="Trebuchet MS" panose="020B0603020202020204" pitchFamily="34" charset="0"/>
              </a:rPr>
              <a:t>The regulator requires financial institutions and large corporates to perform </a:t>
            </a:r>
            <a:r>
              <a:rPr lang="en-GB" sz="1100">
                <a:solidFill>
                  <a:schemeClr val="tx2"/>
                </a:solidFill>
                <a:latin typeface="Trebuchet MS" panose="020B0603020202020204" pitchFamily="34" charset="0"/>
              </a:rPr>
              <a:t>numerous tasks to be compliant</a:t>
            </a:r>
            <a:endParaRPr lang="en-GB" sz="1100">
              <a:latin typeface="Trebuchet MS" panose="020B0603020202020204" pitchFamily="34" charset="0"/>
            </a:endParaRPr>
          </a:p>
        </p:txBody>
      </p:sp>
      <p:cxnSp>
        <p:nvCxnSpPr>
          <p:cNvPr id="70" name="Connecteur droit 69">
            <a:extLst>
              <a:ext uri="{FF2B5EF4-FFF2-40B4-BE49-F238E27FC236}">
                <a16:creationId xmlns:a16="http://schemas.microsoft.com/office/drawing/2014/main" id="{91E515E4-1BA1-41AD-B369-5BD7A432445E}"/>
              </a:ext>
            </a:extLst>
          </p:cNvPr>
          <p:cNvCxnSpPr>
            <a:cxnSpLocks/>
          </p:cNvCxnSpPr>
          <p:nvPr/>
        </p:nvCxnSpPr>
        <p:spPr bwMode="auto">
          <a:xfrm>
            <a:off x="5106409" y="1165303"/>
            <a:ext cx="445576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7" name="ZoneTexte 16">
            <a:extLst>
              <a:ext uri="{FF2B5EF4-FFF2-40B4-BE49-F238E27FC236}">
                <a16:creationId xmlns:a16="http://schemas.microsoft.com/office/drawing/2014/main" id="{B740B520-C75D-4338-8864-EA5F94FB00D1}"/>
              </a:ext>
            </a:extLst>
          </p:cNvPr>
          <p:cNvSpPr txBox="1"/>
          <p:nvPr/>
        </p:nvSpPr>
        <p:spPr>
          <a:xfrm>
            <a:off x="5313129" y="942331"/>
            <a:ext cx="4042324" cy="430887"/>
          </a:xfrm>
          <a:prstGeom prst="rect">
            <a:avLst/>
          </a:prstGeom>
          <a:solidFill>
            <a:schemeClr val="bg1"/>
          </a:solidFill>
        </p:spPr>
        <p:txBody>
          <a:bodyPr wrap="square" lIns="0" rIns="0" rtlCol="0">
            <a:spAutoFit/>
          </a:bodyPr>
          <a:lstStyle>
            <a:defPPr>
              <a:defRPr lang="en-US"/>
            </a:defPPr>
            <a:lvl1pPr algn="ctr">
              <a:defRPr sz="1200">
                <a:solidFill>
                  <a:schemeClr val="tx2"/>
                </a:solidFill>
                <a:latin typeface="+mj-lt"/>
              </a:defRPr>
            </a:lvl1pPr>
          </a:lstStyle>
          <a:p>
            <a:r>
              <a:rPr lang="en-GB" sz="1100">
                <a:solidFill>
                  <a:schemeClr val="tx1"/>
                </a:solidFill>
                <a:latin typeface="Trebuchet MS" panose="020B0603020202020204" pitchFamily="34" charset="0"/>
              </a:rPr>
              <a:t>The </a:t>
            </a:r>
            <a:r>
              <a:rPr lang="en-GB" sz="1100">
                <a:latin typeface="Trebuchet MS" panose="020B0603020202020204" pitchFamily="34" charset="0"/>
              </a:rPr>
              <a:t>financial</a:t>
            </a:r>
            <a:r>
              <a:rPr lang="en-GB" sz="1100">
                <a:solidFill>
                  <a:schemeClr val="tx1"/>
                </a:solidFill>
                <a:latin typeface="Trebuchet MS" panose="020B0603020202020204" pitchFamily="34" charset="0"/>
              </a:rPr>
              <a:t> </a:t>
            </a:r>
            <a:r>
              <a:rPr lang="en-GB" sz="1100">
                <a:latin typeface="Trebuchet MS" panose="020B0603020202020204" pitchFamily="34" charset="0"/>
              </a:rPr>
              <a:t>stakes</a:t>
            </a:r>
            <a:r>
              <a:rPr lang="en-GB" sz="1100">
                <a:solidFill>
                  <a:schemeClr val="tx1"/>
                </a:solidFill>
                <a:latin typeface="Trebuchet MS" panose="020B0603020202020204" pitchFamily="34" charset="0"/>
              </a:rPr>
              <a:t> and the </a:t>
            </a:r>
            <a:r>
              <a:rPr lang="en-GB" sz="1100">
                <a:latin typeface="Trebuchet MS" panose="020B0603020202020204" pitchFamily="34" charset="0"/>
              </a:rPr>
              <a:t>negative</a:t>
            </a:r>
            <a:r>
              <a:rPr lang="en-GB" sz="1100">
                <a:solidFill>
                  <a:schemeClr val="tx1"/>
                </a:solidFill>
                <a:latin typeface="Trebuchet MS" panose="020B0603020202020204" pitchFamily="34" charset="0"/>
              </a:rPr>
              <a:t> </a:t>
            </a:r>
            <a:r>
              <a:rPr lang="en-GB" sz="1100">
                <a:latin typeface="Trebuchet MS" panose="020B0603020202020204" pitchFamily="34" charset="0"/>
              </a:rPr>
              <a:t>impact</a:t>
            </a:r>
            <a:r>
              <a:rPr lang="en-GB" sz="1100">
                <a:solidFill>
                  <a:schemeClr val="tx1"/>
                </a:solidFill>
                <a:latin typeface="Trebuchet MS" panose="020B0603020202020204" pitchFamily="34" charset="0"/>
              </a:rPr>
              <a:t> in terms of image in case of sanction make compliance a </a:t>
            </a:r>
            <a:r>
              <a:rPr lang="en-GB" sz="1100">
                <a:latin typeface="Trebuchet MS" panose="020B0603020202020204" pitchFamily="34" charset="0"/>
              </a:rPr>
              <a:t>C-level</a:t>
            </a:r>
            <a:r>
              <a:rPr lang="en-GB" sz="1100">
                <a:solidFill>
                  <a:schemeClr val="tx1"/>
                </a:solidFill>
                <a:latin typeface="Trebuchet MS" panose="020B0603020202020204" pitchFamily="34" charset="0"/>
              </a:rPr>
              <a:t> </a:t>
            </a:r>
            <a:r>
              <a:rPr lang="en-GB" sz="1100">
                <a:latin typeface="Trebuchet MS" panose="020B0603020202020204" pitchFamily="34" charset="0"/>
              </a:rPr>
              <a:t>critical</a:t>
            </a:r>
            <a:r>
              <a:rPr lang="en-GB" sz="1100">
                <a:solidFill>
                  <a:schemeClr val="tx1"/>
                </a:solidFill>
                <a:latin typeface="Trebuchet MS" panose="020B0603020202020204" pitchFamily="34" charset="0"/>
              </a:rPr>
              <a:t> </a:t>
            </a:r>
            <a:r>
              <a:rPr lang="en-GB" sz="1100">
                <a:latin typeface="Trebuchet MS" panose="020B0603020202020204" pitchFamily="34" charset="0"/>
              </a:rPr>
              <a:t>issue</a:t>
            </a:r>
          </a:p>
        </p:txBody>
      </p:sp>
      <p:sp>
        <p:nvSpPr>
          <p:cNvPr id="91" name="Rectangle 90">
            <a:extLst>
              <a:ext uri="{FF2B5EF4-FFF2-40B4-BE49-F238E27FC236}">
                <a16:creationId xmlns:a16="http://schemas.microsoft.com/office/drawing/2014/main" id="{7B66ECC0-A573-4990-94B6-EE362A313094}"/>
              </a:ext>
            </a:extLst>
          </p:cNvPr>
          <p:cNvSpPr/>
          <p:nvPr/>
        </p:nvSpPr>
        <p:spPr bwMode="auto">
          <a:xfrm>
            <a:off x="6423377" y="4787286"/>
            <a:ext cx="1620000" cy="1620000"/>
          </a:xfrm>
          <a:prstGeom prst="rect">
            <a:avLst/>
          </a:prstGeom>
          <a:pattFill prst="wdUpDiag">
            <a:fgClr>
              <a:schemeClr val="tx2">
                <a:lumMod val="20000"/>
                <a:lumOff val="80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algn="ctr"/>
            <a:r>
              <a:rPr lang="en-GB" sz="1100">
                <a:latin typeface="Trebuchet MS" pitchFamily="34" charset="0"/>
              </a:rPr>
              <a:t>Addressable market</a:t>
            </a:r>
          </a:p>
          <a:p>
            <a:pPr algn="ctr"/>
            <a:endParaRPr lang="en-GB" sz="1100">
              <a:latin typeface="Trebuchet MS" pitchFamily="34" charset="0"/>
            </a:endParaRPr>
          </a:p>
        </p:txBody>
      </p:sp>
      <p:sp>
        <p:nvSpPr>
          <p:cNvPr id="103" name="Rectangle 102">
            <a:extLst>
              <a:ext uri="{FF2B5EF4-FFF2-40B4-BE49-F238E27FC236}">
                <a16:creationId xmlns:a16="http://schemas.microsoft.com/office/drawing/2014/main" id="{C3073759-75B1-48FD-87F0-76C9F9B283DB}"/>
              </a:ext>
            </a:extLst>
          </p:cNvPr>
          <p:cNvSpPr/>
          <p:nvPr/>
        </p:nvSpPr>
        <p:spPr bwMode="auto">
          <a:xfrm>
            <a:off x="6423377" y="5435286"/>
            <a:ext cx="972000" cy="972000"/>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a:latin typeface="Trebuchet MS" panose="020B0603020202020204" pitchFamily="34" charset="0"/>
              </a:rPr>
              <a:t>Currently addressed market</a:t>
            </a:r>
          </a:p>
        </p:txBody>
      </p:sp>
      <p:cxnSp>
        <p:nvCxnSpPr>
          <p:cNvPr id="64" name="Connecteur droit 69">
            <a:extLst>
              <a:ext uri="{FF2B5EF4-FFF2-40B4-BE49-F238E27FC236}">
                <a16:creationId xmlns:a16="http://schemas.microsoft.com/office/drawing/2014/main" id="{5BA4E452-42B4-494F-8ED2-7E4F8E51D122}"/>
              </a:ext>
            </a:extLst>
          </p:cNvPr>
          <p:cNvCxnSpPr>
            <a:cxnSpLocks/>
          </p:cNvCxnSpPr>
          <p:nvPr/>
        </p:nvCxnSpPr>
        <p:spPr bwMode="auto">
          <a:xfrm>
            <a:off x="5107993" y="3890097"/>
            <a:ext cx="445576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69" name="ZoneTexte 16">
            <a:extLst>
              <a:ext uri="{FF2B5EF4-FFF2-40B4-BE49-F238E27FC236}">
                <a16:creationId xmlns:a16="http://schemas.microsoft.com/office/drawing/2014/main" id="{057EE0BC-BA04-4EB5-9BB0-03C10FA01175}"/>
              </a:ext>
            </a:extLst>
          </p:cNvPr>
          <p:cNvSpPr txBox="1"/>
          <p:nvPr/>
        </p:nvSpPr>
        <p:spPr>
          <a:xfrm>
            <a:off x="5712994" y="3674653"/>
            <a:ext cx="3576721" cy="430887"/>
          </a:xfrm>
          <a:prstGeom prst="rect">
            <a:avLst/>
          </a:prstGeom>
          <a:solidFill>
            <a:schemeClr val="bg1"/>
          </a:solidFill>
        </p:spPr>
        <p:txBody>
          <a:bodyPr wrap="square" lIns="0" rIns="0" rtlCol="0">
            <a:spAutoFit/>
          </a:bodyPr>
          <a:lstStyle>
            <a:defPPr>
              <a:defRPr lang="en-US"/>
            </a:defPPr>
            <a:lvl1pPr algn="ctr">
              <a:defRPr sz="1200">
                <a:solidFill>
                  <a:schemeClr val="tx2"/>
                </a:solidFill>
                <a:latin typeface="+mj-lt"/>
              </a:defRPr>
            </a:lvl1pPr>
          </a:lstStyle>
          <a:p>
            <a:r>
              <a:rPr lang="en-GB" sz="1100">
                <a:solidFill>
                  <a:schemeClr val="tx1"/>
                </a:solidFill>
                <a:latin typeface="Trebuchet MS" panose="020B0603020202020204" pitchFamily="34" charset="0"/>
              </a:rPr>
              <a:t>The </a:t>
            </a:r>
            <a:r>
              <a:rPr lang="en-GB" sz="1100">
                <a:latin typeface="Trebuchet MS" panose="020B0603020202020204" pitchFamily="34" charset="0"/>
              </a:rPr>
              <a:t>size</a:t>
            </a:r>
            <a:r>
              <a:rPr lang="en-GB" sz="1100">
                <a:solidFill>
                  <a:schemeClr val="tx1"/>
                </a:solidFill>
                <a:latin typeface="Trebuchet MS" panose="020B0603020202020204" pitchFamily="34" charset="0"/>
              </a:rPr>
              <a:t> of the </a:t>
            </a:r>
            <a:r>
              <a:rPr lang="en-GB" sz="1100">
                <a:latin typeface="Trebuchet MS" panose="020B0603020202020204" pitchFamily="34" charset="0"/>
              </a:rPr>
              <a:t>addressable</a:t>
            </a:r>
            <a:r>
              <a:rPr lang="en-GB" sz="1100">
                <a:solidFill>
                  <a:schemeClr val="tx1"/>
                </a:solidFill>
                <a:latin typeface="Trebuchet MS" panose="020B0603020202020204" pitchFamily="34" charset="0"/>
              </a:rPr>
              <a:t> </a:t>
            </a:r>
            <a:r>
              <a:rPr lang="en-GB" sz="1100">
                <a:latin typeface="Trebuchet MS" panose="020B0603020202020204" pitchFamily="34" charset="0"/>
              </a:rPr>
              <a:t>market</a:t>
            </a:r>
            <a:r>
              <a:rPr lang="en-GB" sz="1100">
                <a:solidFill>
                  <a:schemeClr val="tx1"/>
                </a:solidFill>
                <a:latin typeface="Trebuchet MS" panose="020B0603020202020204" pitchFamily="34" charset="0"/>
              </a:rPr>
              <a:t> depends on both the </a:t>
            </a:r>
            <a:r>
              <a:rPr lang="en-GB" sz="1100">
                <a:latin typeface="Trebuchet MS" panose="020B0603020202020204" pitchFamily="34" charset="0"/>
              </a:rPr>
              <a:t>equipment</a:t>
            </a:r>
            <a:r>
              <a:rPr lang="en-GB" sz="1100">
                <a:solidFill>
                  <a:schemeClr val="tx1"/>
                </a:solidFill>
                <a:latin typeface="Trebuchet MS" panose="020B0603020202020204" pitchFamily="34" charset="0"/>
              </a:rPr>
              <a:t> rate and the </a:t>
            </a:r>
            <a:r>
              <a:rPr lang="en-GB" sz="1100">
                <a:latin typeface="Trebuchet MS" panose="020B0603020202020204" pitchFamily="34" charset="0"/>
              </a:rPr>
              <a:t>legislation</a:t>
            </a:r>
          </a:p>
        </p:txBody>
      </p:sp>
      <p:sp>
        <p:nvSpPr>
          <p:cNvPr id="100" name="Speech Bubble: Rectangle 99">
            <a:extLst>
              <a:ext uri="{FF2B5EF4-FFF2-40B4-BE49-F238E27FC236}">
                <a16:creationId xmlns:a16="http://schemas.microsoft.com/office/drawing/2014/main" id="{D480FCA0-FA71-498D-8200-991D1A243907}"/>
              </a:ext>
            </a:extLst>
          </p:cNvPr>
          <p:cNvSpPr/>
          <p:nvPr/>
        </p:nvSpPr>
        <p:spPr bwMode="auto">
          <a:xfrm>
            <a:off x="5182849" y="4215166"/>
            <a:ext cx="1355712" cy="981362"/>
          </a:xfrm>
          <a:prstGeom prst="wedgeRectCallout">
            <a:avLst>
              <a:gd name="adj1" fmla="val 45628"/>
              <a:gd name="adj2" fmla="val 65656"/>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tx1"/>
                </a:solidFill>
                <a:effectLst/>
                <a:latin typeface="Trebuchet MS" panose="020B0603020202020204" pitchFamily="34" charset="0"/>
              </a:rPr>
              <a:t>Companies subject to regulatory constraints that have started the compliance work but are not entirely compliant yet </a:t>
            </a:r>
          </a:p>
        </p:txBody>
      </p:sp>
      <p:sp>
        <p:nvSpPr>
          <p:cNvPr id="101" name="Speech Bubble: Rectangle 100">
            <a:extLst>
              <a:ext uri="{FF2B5EF4-FFF2-40B4-BE49-F238E27FC236}">
                <a16:creationId xmlns:a16="http://schemas.microsoft.com/office/drawing/2014/main" id="{14056EA4-415D-450B-8555-F65174200527}"/>
              </a:ext>
            </a:extLst>
          </p:cNvPr>
          <p:cNvSpPr/>
          <p:nvPr/>
        </p:nvSpPr>
        <p:spPr bwMode="auto">
          <a:xfrm>
            <a:off x="8573993" y="4956725"/>
            <a:ext cx="1141911" cy="1303518"/>
          </a:xfrm>
          <a:prstGeom prst="wedgeRectCallout">
            <a:avLst>
              <a:gd name="adj1" fmla="val -64070"/>
              <a:gd name="adj2" fmla="val 17366"/>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tx1"/>
                </a:solidFill>
                <a:effectLst/>
                <a:latin typeface="Trebuchet MS" panose="020B0603020202020204" pitchFamily="34" charset="0"/>
              </a:rPr>
              <a:t>Companies which are not yet forced to be compliant, but which could be concerned by a possible extension of the legislation</a:t>
            </a:r>
          </a:p>
        </p:txBody>
      </p:sp>
      <p:cxnSp>
        <p:nvCxnSpPr>
          <p:cNvPr id="152" name="Straight Arrow Connector 151">
            <a:extLst>
              <a:ext uri="{FF2B5EF4-FFF2-40B4-BE49-F238E27FC236}">
                <a16:creationId xmlns:a16="http://schemas.microsoft.com/office/drawing/2014/main" id="{46AED088-C58E-40C0-BAD1-64BA746E4318}"/>
              </a:ext>
            </a:extLst>
          </p:cNvPr>
          <p:cNvCxnSpPr/>
          <p:nvPr/>
        </p:nvCxnSpPr>
        <p:spPr bwMode="auto">
          <a:xfrm flipV="1">
            <a:off x="6329082" y="5435286"/>
            <a:ext cx="0" cy="97200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53" name="Rectangle 152">
            <a:extLst>
              <a:ext uri="{FF2B5EF4-FFF2-40B4-BE49-F238E27FC236}">
                <a16:creationId xmlns:a16="http://schemas.microsoft.com/office/drawing/2014/main" id="{407B283D-D963-4FA6-B16A-915528FD58F1}"/>
              </a:ext>
            </a:extLst>
          </p:cNvPr>
          <p:cNvSpPr/>
          <p:nvPr/>
        </p:nvSpPr>
        <p:spPr bwMode="auto">
          <a:xfrm>
            <a:off x="5263314" y="5788727"/>
            <a:ext cx="1024503" cy="584775"/>
          </a:xfrm>
          <a:prstGeom prst="rect">
            <a:avLst/>
          </a:prstGeom>
          <a:noFill/>
        </p:spPr>
        <p:txBody>
          <a:bodyPr wrap="square" rtlCol="0">
            <a:spAutoFit/>
          </a:bodyPr>
          <a:lstStyle/>
          <a:p>
            <a:pPr algn="ctr"/>
            <a:r>
              <a:rPr lang="en-GB" sz="800" b="1">
                <a:solidFill>
                  <a:schemeClr val="tx2"/>
                </a:solidFill>
                <a:latin typeface="Trebuchet MS" panose="020B0603020202020204" pitchFamily="34" charset="0"/>
              </a:rPr>
              <a:t>Equipment rate of targeted </a:t>
            </a:r>
            <a:r>
              <a:rPr lang="en-GB" sz="800" b="1" err="1">
                <a:solidFill>
                  <a:schemeClr val="tx2"/>
                </a:solidFill>
                <a:latin typeface="Trebuchet MS" panose="020B0603020202020204" pitchFamily="34" charset="0"/>
              </a:rPr>
              <a:t>cies</a:t>
            </a:r>
            <a:r>
              <a:rPr lang="en-GB" sz="800" b="1">
                <a:solidFill>
                  <a:schemeClr val="tx2"/>
                </a:solidFill>
                <a:latin typeface="Trebuchet MS" panose="020B0603020202020204" pitchFamily="34" charset="0"/>
              </a:rPr>
              <a:t>: </a:t>
            </a:r>
          </a:p>
          <a:p>
            <a:pPr algn="ctr"/>
            <a:r>
              <a:rPr lang="en-GB" sz="800" b="1">
                <a:solidFill>
                  <a:schemeClr val="tx2"/>
                </a:solidFill>
                <a:latin typeface="Trebuchet MS" panose="020B0603020202020204" pitchFamily="34" charset="0"/>
              </a:rPr>
              <a:t>~40% in France</a:t>
            </a:r>
          </a:p>
          <a:p>
            <a:pPr algn="ctr"/>
            <a:r>
              <a:rPr lang="en-GB" sz="800" b="1">
                <a:solidFill>
                  <a:schemeClr val="tx2"/>
                </a:solidFill>
                <a:latin typeface="Trebuchet MS" panose="020B0603020202020204" pitchFamily="34" charset="0"/>
              </a:rPr>
              <a:t>~35% in Benelux</a:t>
            </a:r>
          </a:p>
        </p:txBody>
      </p:sp>
      <p:grpSp>
        <p:nvGrpSpPr>
          <p:cNvPr id="19" name="Groupe 18">
            <a:extLst>
              <a:ext uri="{FF2B5EF4-FFF2-40B4-BE49-F238E27FC236}">
                <a16:creationId xmlns:a16="http://schemas.microsoft.com/office/drawing/2014/main" id="{813C5826-1382-426D-A7C6-B11B54E43D36}"/>
              </a:ext>
            </a:extLst>
          </p:cNvPr>
          <p:cNvGrpSpPr/>
          <p:nvPr/>
        </p:nvGrpSpPr>
        <p:grpSpPr>
          <a:xfrm>
            <a:off x="188801" y="4031059"/>
            <a:ext cx="4917608" cy="1751326"/>
            <a:chOff x="188801" y="3710504"/>
            <a:chExt cx="4917608" cy="1751326"/>
          </a:xfrm>
        </p:grpSpPr>
        <p:cxnSp>
          <p:nvCxnSpPr>
            <p:cNvPr id="55" name="Connecteur droit 54">
              <a:extLst>
                <a:ext uri="{FF2B5EF4-FFF2-40B4-BE49-F238E27FC236}">
                  <a16:creationId xmlns:a16="http://schemas.microsoft.com/office/drawing/2014/main" id="{C2674C17-D9A8-478F-B88A-EC2BDCE89ECE}"/>
                </a:ext>
              </a:extLst>
            </p:cNvPr>
            <p:cNvCxnSpPr>
              <a:cxnSpLocks/>
              <a:stCxn id="77" idx="5"/>
            </p:cNvCxnSpPr>
            <p:nvPr/>
          </p:nvCxnSpPr>
          <p:spPr bwMode="auto">
            <a:xfrm flipH="1">
              <a:off x="2294339" y="4025315"/>
              <a:ext cx="15278" cy="1001814"/>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3" name="Flèche : droite 22">
              <a:extLst>
                <a:ext uri="{FF2B5EF4-FFF2-40B4-BE49-F238E27FC236}">
                  <a16:creationId xmlns:a16="http://schemas.microsoft.com/office/drawing/2014/main" id="{0621E76A-66A9-43BC-A0D4-0DFDD6EBF9F4}"/>
                </a:ext>
              </a:extLst>
            </p:cNvPr>
            <p:cNvSpPr/>
            <p:nvPr/>
          </p:nvSpPr>
          <p:spPr bwMode="auto">
            <a:xfrm>
              <a:off x="222750" y="3710504"/>
              <a:ext cx="4542188" cy="472710"/>
            </a:xfrm>
            <a:prstGeom prst="rightArrow">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 name="ZoneTexte 3">
              <a:extLst>
                <a:ext uri="{FF2B5EF4-FFF2-40B4-BE49-F238E27FC236}">
                  <a16:creationId xmlns:a16="http://schemas.microsoft.com/office/drawing/2014/main" id="{47956439-DF1E-43C0-AF6E-53332A81B614}"/>
                </a:ext>
              </a:extLst>
            </p:cNvPr>
            <p:cNvSpPr txBox="1"/>
            <p:nvPr/>
          </p:nvSpPr>
          <p:spPr>
            <a:xfrm>
              <a:off x="1717866" y="4358624"/>
              <a:ext cx="855850" cy="507831"/>
            </a:xfrm>
            <a:prstGeom prst="rect">
              <a:avLst/>
            </a:prstGeom>
            <a:solidFill>
              <a:schemeClr val="bg1"/>
            </a:solidFill>
          </p:spPr>
          <p:txBody>
            <a:bodyPr wrap="square" rtlCol="0">
              <a:spAutoFit/>
            </a:bodyPr>
            <a:lstStyle/>
            <a:p>
              <a:pPr algn="ctr"/>
              <a:r>
                <a:rPr lang="en-GB" sz="900">
                  <a:latin typeface="Trebuchet MS" panose="020B0603020202020204" pitchFamily="34" charset="0"/>
                </a:rPr>
                <a:t>Adoption of the Sapin II law</a:t>
              </a:r>
            </a:p>
          </p:txBody>
        </p:sp>
        <p:sp>
          <p:nvSpPr>
            <p:cNvPr id="29" name="ZoneTexte 28">
              <a:extLst>
                <a:ext uri="{FF2B5EF4-FFF2-40B4-BE49-F238E27FC236}">
                  <a16:creationId xmlns:a16="http://schemas.microsoft.com/office/drawing/2014/main" id="{1D92FA05-F3C5-467D-9906-F557B81AE140}"/>
                </a:ext>
              </a:extLst>
            </p:cNvPr>
            <p:cNvSpPr txBox="1"/>
            <p:nvPr/>
          </p:nvSpPr>
          <p:spPr>
            <a:xfrm>
              <a:off x="1804361" y="4966063"/>
              <a:ext cx="566252" cy="230832"/>
            </a:xfrm>
            <a:prstGeom prst="rect">
              <a:avLst/>
            </a:prstGeom>
            <a:noFill/>
          </p:spPr>
          <p:txBody>
            <a:bodyPr wrap="square" rtlCol="0" anchor="ctr">
              <a:spAutoFit/>
            </a:bodyPr>
            <a:lstStyle/>
            <a:p>
              <a:pPr algn="ctr"/>
              <a:r>
                <a:rPr lang="en-GB" sz="900">
                  <a:latin typeface="Trebuchet MS" panose="020B0603020202020204" pitchFamily="34" charset="0"/>
                </a:rPr>
                <a:t>RGPD</a:t>
              </a:r>
            </a:p>
          </p:txBody>
        </p:sp>
        <p:sp>
          <p:nvSpPr>
            <p:cNvPr id="31" name="ZoneTexte 30">
              <a:extLst>
                <a:ext uri="{FF2B5EF4-FFF2-40B4-BE49-F238E27FC236}">
                  <a16:creationId xmlns:a16="http://schemas.microsoft.com/office/drawing/2014/main" id="{12C140D8-2D11-4201-B269-486B046C9E26}"/>
                </a:ext>
              </a:extLst>
            </p:cNvPr>
            <p:cNvSpPr txBox="1"/>
            <p:nvPr/>
          </p:nvSpPr>
          <p:spPr>
            <a:xfrm>
              <a:off x="188801" y="4318364"/>
              <a:ext cx="725829" cy="230832"/>
            </a:xfrm>
            <a:prstGeom prst="rect">
              <a:avLst/>
            </a:prstGeom>
            <a:noFill/>
          </p:spPr>
          <p:txBody>
            <a:bodyPr wrap="square" rtlCol="0">
              <a:spAutoFit/>
            </a:bodyPr>
            <a:lstStyle/>
            <a:p>
              <a:pPr algn="ctr"/>
              <a:r>
                <a:rPr lang="en-GB" sz="900">
                  <a:latin typeface="Trebuchet MS" panose="020B0603020202020204" pitchFamily="34" charset="0"/>
                </a:rPr>
                <a:t>MIFID II</a:t>
              </a:r>
            </a:p>
          </p:txBody>
        </p:sp>
        <p:cxnSp>
          <p:nvCxnSpPr>
            <p:cNvPr id="47" name="Connecteur droit 46">
              <a:extLst>
                <a:ext uri="{FF2B5EF4-FFF2-40B4-BE49-F238E27FC236}">
                  <a16:creationId xmlns:a16="http://schemas.microsoft.com/office/drawing/2014/main" id="{027A9371-9167-4A04-ACBB-0150756396E4}"/>
                </a:ext>
              </a:extLst>
            </p:cNvPr>
            <p:cNvCxnSpPr>
              <a:cxnSpLocks/>
            </p:cNvCxnSpPr>
            <p:nvPr/>
          </p:nvCxnSpPr>
          <p:spPr bwMode="auto">
            <a:xfrm flipH="1">
              <a:off x="2145791" y="4062230"/>
              <a:ext cx="356" cy="139995"/>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49" name="Connecteur droit 48">
              <a:extLst>
                <a:ext uri="{FF2B5EF4-FFF2-40B4-BE49-F238E27FC236}">
                  <a16:creationId xmlns:a16="http://schemas.microsoft.com/office/drawing/2014/main" id="{1A6D37D3-812E-4D20-89A4-1D75730BA6F0}"/>
                </a:ext>
              </a:extLst>
            </p:cNvPr>
            <p:cNvCxnSpPr>
              <a:cxnSpLocks/>
            </p:cNvCxnSpPr>
            <p:nvPr/>
          </p:nvCxnSpPr>
          <p:spPr bwMode="auto">
            <a:xfrm flipH="1">
              <a:off x="1346395" y="4062230"/>
              <a:ext cx="356" cy="139995"/>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51" name="ZoneTexte 50">
              <a:extLst>
                <a:ext uri="{FF2B5EF4-FFF2-40B4-BE49-F238E27FC236}">
                  <a16:creationId xmlns:a16="http://schemas.microsoft.com/office/drawing/2014/main" id="{A6DEA6AA-65C9-4B39-B75F-698F0C073EBC}"/>
                </a:ext>
              </a:extLst>
            </p:cNvPr>
            <p:cNvSpPr txBox="1"/>
            <p:nvPr/>
          </p:nvSpPr>
          <p:spPr>
            <a:xfrm>
              <a:off x="882342" y="4358624"/>
              <a:ext cx="930378" cy="646331"/>
            </a:xfrm>
            <a:prstGeom prst="rect">
              <a:avLst/>
            </a:prstGeom>
            <a:noFill/>
          </p:spPr>
          <p:txBody>
            <a:bodyPr wrap="square" rtlCol="0">
              <a:spAutoFit/>
            </a:bodyPr>
            <a:lstStyle/>
            <a:p>
              <a:pPr algn="ctr"/>
              <a:r>
                <a:rPr lang="en-GB" sz="900">
                  <a:latin typeface="Trebuchet MS" panose="020B0603020202020204" pitchFamily="34" charset="0"/>
                </a:rPr>
                <a:t>Adoption of the 4</a:t>
              </a:r>
              <a:r>
                <a:rPr lang="en-GB" sz="900" baseline="30000">
                  <a:latin typeface="Trebuchet MS" panose="020B0603020202020204" pitchFamily="34" charset="0"/>
                </a:rPr>
                <a:t>th</a:t>
              </a:r>
              <a:r>
                <a:rPr lang="en-GB" sz="900">
                  <a:latin typeface="Trebuchet MS" panose="020B0603020202020204" pitchFamily="34" charset="0"/>
                </a:rPr>
                <a:t> AML directive of the UE </a:t>
              </a:r>
            </a:p>
          </p:txBody>
        </p:sp>
        <p:cxnSp>
          <p:nvCxnSpPr>
            <p:cNvPr id="53" name="Connecteur droit 52">
              <a:extLst>
                <a:ext uri="{FF2B5EF4-FFF2-40B4-BE49-F238E27FC236}">
                  <a16:creationId xmlns:a16="http://schemas.microsoft.com/office/drawing/2014/main" id="{6928B9F1-1C82-4827-992A-C78CE32F725E}"/>
                </a:ext>
              </a:extLst>
            </p:cNvPr>
            <p:cNvCxnSpPr>
              <a:cxnSpLocks/>
            </p:cNvCxnSpPr>
            <p:nvPr/>
          </p:nvCxnSpPr>
          <p:spPr bwMode="auto">
            <a:xfrm flipH="1">
              <a:off x="543006" y="4062230"/>
              <a:ext cx="356" cy="139995"/>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58" name="Connecteur droit 57">
              <a:extLst>
                <a:ext uri="{FF2B5EF4-FFF2-40B4-BE49-F238E27FC236}">
                  <a16:creationId xmlns:a16="http://schemas.microsoft.com/office/drawing/2014/main" id="{CF6002E5-D5D0-4C4B-A5EB-24C23BC5BCA1}"/>
                </a:ext>
              </a:extLst>
            </p:cNvPr>
            <p:cNvCxnSpPr>
              <a:cxnSpLocks/>
            </p:cNvCxnSpPr>
            <p:nvPr/>
          </p:nvCxnSpPr>
          <p:spPr bwMode="auto">
            <a:xfrm flipH="1">
              <a:off x="3012476" y="4062230"/>
              <a:ext cx="356" cy="139995"/>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65" name="Connecteur droit 64">
              <a:extLst>
                <a:ext uri="{FF2B5EF4-FFF2-40B4-BE49-F238E27FC236}">
                  <a16:creationId xmlns:a16="http://schemas.microsoft.com/office/drawing/2014/main" id="{14992AED-4F23-445E-9150-1832545891C3}"/>
                </a:ext>
              </a:extLst>
            </p:cNvPr>
            <p:cNvCxnSpPr>
              <a:cxnSpLocks/>
            </p:cNvCxnSpPr>
            <p:nvPr/>
          </p:nvCxnSpPr>
          <p:spPr bwMode="auto">
            <a:xfrm>
              <a:off x="3721916" y="4079588"/>
              <a:ext cx="0" cy="86400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75" name="Ellipse 74">
              <a:extLst>
                <a:ext uri="{FF2B5EF4-FFF2-40B4-BE49-F238E27FC236}">
                  <a16:creationId xmlns:a16="http://schemas.microsoft.com/office/drawing/2014/main" id="{391349FA-D89D-4368-BA48-49DD324CBDF6}"/>
                </a:ext>
              </a:extLst>
            </p:cNvPr>
            <p:cNvSpPr/>
            <p:nvPr/>
          </p:nvSpPr>
          <p:spPr bwMode="auto">
            <a:xfrm>
              <a:off x="408917" y="3817219"/>
              <a:ext cx="233823" cy="243800"/>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6" name="Ellipse 75">
              <a:extLst>
                <a:ext uri="{FF2B5EF4-FFF2-40B4-BE49-F238E27FC236}">
                  <a16:creationId xmlns:a16="http://schemas.microsoft.com/office/drawing/2014/main" id="{D8F77AD5-509D-4F7C-9D9A-2F89457A75E3}"/>
                </a:ext>
              </a:extLst>
            </p:cNvPr>
            <p:cNvSpPr/>
            <p:nvPr/>
          </p:nvSpPr>
          <p:spPr bwMode="auto">
            <a:xfrm>
              <a:off x="1229141" y="3817219"/>
              <a:ext cx="233823" cy="243800"/>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7" name="Ellipse 76">
              <a:extLst>
                <a:ext uri="{FF2B5EF4-FFF2-40B4-BE49-F238E27FC236}">
                  <a16:creationId xmlns:a16="http://schemas.microsoft.com/office/drawing/2014/main" id="{1ED881CD-4474-4A28-AF25-251FC7E84BEB}"/>
                </a:ext>
              </a:extLst>
            </p:cNvPr>
            <p:cNvSpPr/>
            <p:nvPr/>
          </p:nvSpPr>
          <p:spPr bwMode="auto">
            <a:xfrm>
              <a:off x="2110037" y="3817219"/>
              <a:ext cx="233823" cy="243800"/>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8" name="Ellipse 77">
              <a:extLst>
                <a:ext uri="{FF2B5EF4-FFF2-40B4-BE49-F238E27FC236}">
                  <a16:creationId xmlns:a16="http://schemas.microsoft.com/office/drawing/2014/main" id="{1345DEE6-A962-48ED-9D35-60E985CFA47A}"/>
                </a:ext>
              </a:extLst>
            </p:cNvPr>
            <p:cNvSpPr/>
            <p:nvPr/>
          </p:nvSpPr>
          <p:spPr bwMode="auto">
            <a:xfrm>
              <a:off x="2896411" y="3817219"/>
              <a:ext cx="233823" cy="243800"/>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9" name="Ellipse 78">
              <a:extLst>
                <a:ext uri="{FF2B5EF4-FFF2-40B4-BE49-F238E27FC236}">
                  <a16:creationId xmlns:a16="http://schemas.microsoft.com/office/drawing/2014/main" id="{95452029-7176-432A-BC45-895B53D48102}"/>
                </a:ext>
              </a:extLst>
            </p:cNvPr>
            <p:cNvSpPr/>
            <p:nvPr/>
          </p:nvSpPr>
          <p:spPr bwMode="auto">
            <a:xfrm>
              <a:off x="3620193" y="3817219"/>
              <a:ext cx="233823" cy="243800"/>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6" name="ZoneTexte 45">
              <a:extLst>
                <a:ext uri="{FF2B5EF4-FFF2-40B4-BE49-F238E27FC236}">
                  <a16:creationId xmlns:a16="http://schemas.microsoft.com/office/drawing/2014/main" id="{F9EC2A7B-3F6F-44EF-8ABE-4A8675AE6001}"/>
                </a:ext>
              </a:extLst>
            </p:cNvPr>
            <p:cNvSpPr txBox="1"/>
            <p:nvPr/>
          </p:nvSpPr>
          <p:spPr>
            <a:xfrm>
              <a:off x="1998457" y="3816009"/>
              <a:ext cx="507602" cy="246221"/>
            </a:xfrm>
            <a:prstGeom prst="rect">
              <a:avLst/>
            </a:prstGeom>
            <a:noFill/>
          </p:spPr>
          <p:txBody>
            <a:bodyPr wrap="square" rtlCol="0">
              <a:spAutoFit/>
            </a:bodyPr>
            <a:lstStyle/>
            <a:p>
              <a:r>
                <a:rPr lang="en-GB" sz="1000">
                  <a:solidFill>
                    <a:schemeClr val="tx2"/>
                  </a:solidFill>
                  <a:latin typeface="Trebuchet MS" panose="020B0603020202020204" pitchFamily="34" charset="0"/>
                </a:rPr>
                <a:t>2016</a:t>
              </a:r>
            </a:p>
          </p:txBody>
        </p:sp>
        <p:sp>
          <p:nvSpPr>
            <p:cNvPr id="48" name="ZoneTexte 47">
              <a:extLst>
                <a:ext uri="{FF2B5EF4-FFF2-40B4-BE49-F238E27FC236}">
                  <a16:creationId xmlns:a16="http://schemas.microsoft.com/office/drawing/2014/main" id="{DC4D698F-3F38-45D4-AC78-86B4D233E4A2}"/>
                </a:ext>
              </a:extLst>
            </p:cNvPr>
            <p:cNvSpPr txBox="1"/>
            <p:nvPr/>
          </p:nvSpPr>
          <p:spPr>
            <a:xfrm>
              <a:off x="1120402" y="3816009"/>
              <a:ext cx="507602" cy="246221"/>
            </a:xfrm>
            <a:prstGeom prst="rect">
              <a:avLst/>
            </a:prstGeom>
            <a:noFill/>
          </p:spPr>
          <p:txBody>
            <a:bodyPr wrap="square" rtlCol="0">
              <a:spAutoFit/>
            </a:bodyPr>
            <a:lstStyle/>
            <a:p>
              <a:r>
                <a:rPr lang="en-GB" sz="1000">
                  <a:solidFill>
                    <a:schemeClr val="tx2"/>
                  </a:solidFill>
                  <a:latin typeface="Trebuchet MS" panose="020B0603020202020204" pitchFamily="34" charset="0"/>
                </a:rPr>
                <a:t>2015</a:t>
              </a:r>
            </a:p>
          </p:txBody>
        </p:sp>
        <p:sp>
          <p:nvSpPr>
            <p:cNvPr id="59" name="ZoneTexte 58">
              <a:extLst>
                <a:ext uri="{FF2B5EF4-FFF2-40B4-BE49-F238E27FC236}">
                  <a16:creationId xmlns:a16="http://schemas.microsoft.com/office/drawing/2014/main" id="{8EF3C066-F474-460C-BBF5-7DA4A22E7F08}"/>
                </a:ext>
              </a:extLst>
            </p:cNvPr>
            <p:cNvSpPr txBox="1"/>
            <p:nvPr/>
          </p:nvSpPr>
          <p:spPr>
            <a:xfrm>
              <a:off x="2790779" y="3816009"/>
              <a:ext cx="507602" cy="246221"/>
            </a:xfrm>
            <a:prstGeom prst="rect">
              <a:avLst/>
            </a:prstGeom>
            <a:noFill/>
          </p:spPr>
          <p:txBody>
            <a:bodyPr wrap="square" rtlCol="0">
              <a:spAutoFit/>
            </a:bodyPr>
            <a:lstStyle/>
            <a:p>
              <a:r>
                <a:rPr lang="en-GB" sz="1000">
                  <a:solidFill>
                    <a:schemeClr val="tx2"/>
                  </a:solidFill>
                  <a:latin typeface="Trebuchet MS" panose="020B0603020202020204" pitchFamily="34" charset="0"/>
                </a:rPr>
                <a:t>2017</a:t>
              </a:r>
            </a:p>
          </p:txBody>
        </p:sp>
        <p:sp>
          <p:nvSpPr>
            <p:cNvPr id="66" name="ZoneTexte 65">
              <a:extLst>
                <a:ext uri="{FF2B5EF4-FFF2-40B4-BE49-F238E27FC236}">
                  <a16:creationId xmlns:a16="http://schemas.microsoft.com/office/drawing/2014/main" id="{0A267233-26E1-42C7-BF43-6B0A44EF3503}"/>
                </a:ext>
              </a:extLst>
            </p:cNvPr>
            <p:cNvSpPr txBox="1"/>
            <p:nvPr/>
          </p:nvSpPr>
          <p:spPr>
            <a:xfrm>
              <a:off x="3509839" y="3816009"/>
              <a:ext cx="507602" cy="246221"/>
            </a:xfrm>
            <a:prstGeom prst="rect">
              <a:avLst/>
            </a:prstGeom>
            <a:noFill/>
          </p:spPr>
          <p:txBody>
            <a:bodyPr wrap="square" rtlCol="0">
              <a:spAutoFit/>
            </a:bodyPr>
            <a:lstStyle/>
            <a:p>
              <a:r>
                <a:rPr lang="en-GB" sz="1000">
                  <a:solidFill>
                    <a:schemeClr val="tx2"/>
                  </a:solidFill>
                  <a:latin typeface="Trebuchet MS" panose="020B0603020202020204" pitchFamily="34" charset="0"/>
                </a:rPr>
                <a:t>2018</a:t>
              </a:r>
            </a:p>
          </p:txBody>
        </p:sp>
        <p:sp>
          <p:nvSpPr>
            <p:cNvPr id="45" name="ZoneTexte 44">
              <a:extLst>
                <a:ext uri="{FF2B5EF4-FFF2-40B4-BE49-F238E27FC236}">
                  <a16:creationId xmlns:a16="http://schemas.microsoft.com/office/drawing/2014/main" id="{F518D1DA-1399-4A19-B2E7-1A17D362BF18}"/>
                </a:ext>
              </a:extLst>
            </p:cNvPr>
            <p:cNvSpPr txBox="1"/>
            <p:nvPr/>
          </p:nvSpPr>
          <p:spPr>
            <a:xfrm>
              <a:off x="299492" y="3816009"/>
              <a:ext cx="507602" cy="246221"/>
            </a:xfrm>
            <a:prstGeom prst="rect">
              <a:avLst/>
            </a:prstGeom>
            <a:noFill/>
          </p:spPr>
          <p:txBody>
            <a:bodyPr wrap="square" rtlCol="0">
              <a:spAutoFit/>
            </a:bodyPr>
            <a:lstStyle/>
            <a:p>
              <a:r>
                <a:rPr lang="en-GB" sz="1000">
                  <a:solidFill>
                    <a:schemeClr val="tx2"/>
                  </a:solidFill>
                  <a:latin typeface="Trebuchet MS" panose="020B0603020202020204" pitchFamily="34" charset="0"/>
                </a:rPr>
                <a:t>2014</a:t>
              </a:r>
            </a:p>
          </p:txBody>
        </p:sp>
        <p:sp>
          <p:nvSpPr>
            <p:cNvPr id="119" name="Ellipse 118">
              <a:extLst>
                <a:ext uri="{FF2B5EF4-FFF2-40B4-BE49-F238E27FC236}">
                  <a16:creationId xmlns:a16="http://schemas.microsoft.com/office/drawing/2014/main" id="{69DE2AF3-6B1B-495E-9133-2169345C5109}"/>
                </a:ext>
              </a:extLst>
            </p:cNvPr>
            <p:cNvSpPr/>
            <p:nvPr/>
          </p:nvSpPr>
          <p:spPr bwMode="auto">
            <a:xfrm>
              <a:off x="4197600" y="3817219"/>
              <a:ext cx="233823" cy="243800"/>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0" name="ZoneTexte 119">
              <a:extLst>
                <a:ext uri="{FF2B5EF4-FFF2-40B4-BE49-F238E27FC236}">
                  <a16:creationId xmlns:a16="http://schemas.microsoft.com/office/drawing/2014/main" id="{B7727CD2-622C-4B27-81BD-82B721D7471F}"/>
                </a:ext>
              </a:extLst>
            </p:cNvPr>
            <p:cNvSpPr txBox="1"/>
            <p:nvPr/>
          </p:nvSpPr>
          <p:spPr>
            <a:xfrm>
              <a:off x="4087246" y="3816009"/>
              <a:ext cx="507602" cy="246221"/>
            </a:xfrm>
            <a:prstGeom prst="rect">
              <a:avLst/>
            </a:prstGeom>
            <a:noFill/>
          </p:spPr>
          <p:txBody>
            <a:bodyPr wrap="square" rtlCol="0">
              <a:spAutoFit/>
            </a:bodyPr>
            <a:lstStyle/>
            <a:p>
              <a:r>
                <a:rPr lang="en-GB" sz="1000">
                  <a:solidFill>
                    <a:schemeClr val="tx2"/>
                  </a:solidFill>
                  <a:latin typeface="Trebuchet MS" panose="020B0603020202020204" pitchFamily="34" charset="0"/>
                </a:rPr>
                <a:t>2020</a:t>
              </a:r>
            </a:p>
          </p:txBody>
        </p:sp>
        <p:cxnSp>
          <p:nvCxnSpPr>
            <p:cNvPr id="121" name="Connecteur droit 120">
              <a:extLst>
                <a:ext uri="{FF2B5EF4-FFF2-40B4-BE49-F238E27FC236}">
                  <a16:creationId xmlns:a16="http://schemas.microsoft.com/office/drawing/2014/main" id="{C44A09DF-D95E-4578-8F49-218D446E2773}"/>
                </a:ext>
              </a:extLst>
            </p:cNvPr>
            <p:cNvCxnSpPr>
              <a:cxnSpLocks/>
            </p:cNvCxnSpPr>
            <p:nvPr/>
          </p:nvCxnSpPr>
          <p:spPr bwMode="auto">
            <a:xfrm>
              <a:off x="4316236" y="4062230"/>
              <a:ext cx="0" cy="139995"/>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23" name="ZoneTexte 122">
              <a:extLst>
                <a:ext uri="{FF2B5EF4-FFF2-40B4-BE49-F238E27FC236}">
                  <a16:creationId xmlns:a16="http://schemas.microsoft.com/office/drawing/2014/main" id="{309FC094-D175-4FD3-AABF-13FB60BB019B}"/>
                </a:ext>
              </a:extLst>
            </p:cNvPr>
            <p:cNvSpPr txBox="1"/>
            <p:nvPr/>
          </p:nvSpPr>
          <p:spPr>
            <a:xfrm>
              <a:off x="4050670" y="4375515"/>
              <a:ext cx="1055739" cy="369332"/>
            </a:xfrm>
            <a:prstGeom prst="rect">
              <a:avLst/>
            </a:prstGeom>
            <a:noFill/>
          </p:spPr>
          <p:txBody>
            <a:bodyPr wrap="square" rtlCol="0">
              <a:spAutoFit/>
            </a:bodyPr>
            <a:lstStyle/>
            <a:p>
              <a:pPr algn="r"/>
              <a:r>
                <a:rPr lang="en-GB" sz="900">
                  <a:latin typeface="Trebuchet MS" panose="020B0603020202020204" pitchFamily="34" charset="0"/>
                </a:rPr>
                <a:t>5</a:t>
              </a:r>
              <a:r>
                <a:rPr lang="en-GB" sz="900" baseline="30000">
                  <a:latin typeface="Trebuchet MS" panose="020B0603020202020204" pitchFamily="34" charset="0"/>
                </a:rPr>
                <a:t>th</a:t>
              </a:r>
              <a:r>
                <a:rPr lang="en-GB" sz="900">
                  <a:latin typeface="Trebuchet MS" panose="020B0603020202020204" pitchFamily="34" charset="0"/>
                </a:rPr>
                <a:t> AML directive of the UE </a:t>
              </a:r>
            </a:p>
          </p:txBody>
        </p:sp>
        <p:cxnSp>
          <p:nvCxnSpPr>
            <p:cNvPr id="92" name="Connecteur droit 64">
              <a:extLst>
                <a:ext uri="{FF2B5EF4-FFF2-40B4-BE49-F238E27FC236}">
                  <a16:creationId xmlns:a16="http://schemas.microsoft.com/office/drawing/2014/main" id="{4AD0393D-E38C-49BA-B488-1D9815FC93D2}"/>
                </a:ext>
              </a:extLst>
            </p:cNvPr>
            <p:cNvCxnSpPr>
              <a:cxnSpLocks/>
            </p:cNvCxnSpPr>
            <p:nvPr/>
          </p:nvCxnSpPr>
          <p:spPr bwMode="auto">
            <a:xfrm>
              <a:off x="3821435" y="4062230"/>
              <a:ext cx="8966" cy="1370221"/>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93" name="ZoneTexte 66">
              <a:extLst>
                <a:ext uri="{FF2B5EF4-FFF2-40B4-BE49-F238E27FC236}">
                  <a16:creationId xmlns:a16="http://schemas.microsoft.com/office/drawing/2014/main" id="{3EE7B248-E08F-44AE-9FA1-2E5FC795D693}"/>
                </a:ext>
              </a:extLst>
            </p:cNvPr>
            <p:cNvSpPr txBox="1"/>
            <p:nvPr/>
          </p:nvSpPr>
          <p:spPr>
            <a:xfrm>
              <a:off x="3816211" y="4786120"/>
              <a:ext cx="1078895" cy="646331"/>
            </a:xfrm>
            <a:prstGeom prst="rect">
              <a:avLst/>
            </a:prstGeom>
            <a:solidFill>
              <a:schemeClr val="bg1"/>
            </a:solidFill>
          </p:spPr>
          <p:txBody>
            <a:bodyPr wrap="square" rtlCol="0" anchor="ctr">
              <a:spAutoFit/>
            </a:bodyPr>
            <a:lstStyle/>
            <a:p>
              <a:r>
                <a:rPr lang="en-GB" sz="900">
                  <a:latin typeface="Trebuchet MS" panose="020B0603020202020204" pitchFamily="34" charset="0"/>
                </a:rPr>
                <a:t>AMLD IV integrated in the Dutch and Luxemburg laws</a:t>
              </a:r>
            </a:p>
          </p:txBody>
        </p:sp>
        <p:pic>
          <p:nvPicPr>
            <p:cNvPr id="12" name="Picture 11" descr="A picture containing flower, sunflower&#10;&#10;Description automatically generated">
              <a:extLst>
                <a:ext uri="{FF2B5EF4-FFF2-40B4-BE49-F238E27FC236}">
                  <a16:creationId xmlns:a16="http://schemas.microsoft.com/office/drawing/2014/main" id="{3BA8A953-D73B-46E5-A363-0518B461563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5257" y="4154089"/>
              <a:ext cx="252000" cy="168000"/>
            </a:xfrm>
            <a:prstGeom prst="roundRect">
              <a:avLst/>
            </a:prstGeom>
          </p:spPr>
        </p:pic>
        <p:pic>
          <p:nvPicPr>
            <p:cNvPr id="73" name="Picture 2" descr="Drapeau France">
              <a:extLst>
                <a:ext uri="{FF2B5EF4-FFF2-40B4-BE49-F238E27FC236}">
                  <a16:creationId xmlns:a16="http://schemas.microsoft.com/office/drawing/2014/main" id="{60BB5F63-18B3-471D-853E-3665656B3E7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06" b="16757"/>
            <a:stretch/>
          </p:blipFill>
          <p:spPr bwMode="auto">
            <a:xfrm>
              <a:off x="1939312" y="4166089"/>
              <a:ext cx="238894" cy="144000"/>
            </a:xfrm>
            <a:prstGeom prst="roundRect">
              <a:avLst/>
            </a:prstGeom>
            <a:noFill/>
            <a:extLst>
              <a:ext uri="{909E8E84-426E-40DD-AFC4-6F175D3DCCD1}">
                <a14:hiddenFill xmlns:a14="http://schemas.microsoft.com/office/drawing/2010/main">
                  <a:solidFill>
                    <a:srgbClr val="FFFFFF"/>
                  </a:solidFill>
                </a14:hiddenFill>
              </a:ext>
            </a:extLst>
          </p:spPr>
        </p:pic>
        <p:pic>
          <p:nvPicPr>
            <p:cNvPr id="87" name="Picture 2 - 2" descr="Drapeau du Luxembourg">
              <a:extLst>
                <a:ext uri="{FF2B5EF4-FFF2-40B4-BE49-F238E27FC236}">
                  <a16:creationId xmlns:a16="http://schemas.microsoft.com/office/drawing/2014/main" id="{474DCB3F-BFEF-4E92-8FBC-ED91DC34232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814243" y="4340559"/>
              <a:ext cx="240003" cy="144000"/>
            </a:xfrm>
            <a:prstGeom prst="roundRect">
              <a:avLst/>
            </a:prstGeom>
            <a:solidFill>
              <a:schemeClr val="bg1"/>
            </a:solidFill>
            <a:ln w="9525" cap="flat" cmpd="sng" algn="ctr">
              <a:noFill/>
              <a:prstDash val="solid"/>
              <a:round/>
              <a:headEnd type="none" w="med" len="med"/>
              <a:tailEnd type="none" w="med" len="med"/>
            </a:ln>
            <a:effectLst/>
          </p:spPr>
        </p:pic>
        <p:pic>
          <p:nvPicPr>
            <p:cNvPr id="88" name="Picture 2 - 1" descr="Drapeau des Pays-Bas — Wikipédia">
              <a:extLst>
                <a:ext uri="{FF2B5EF4-FFF2-40B4-BE49-F238E27FC236}">
                  <a16:creationId xmlns:a16="http://schemas.microsoft.com/office/drawing/2014/main" id="{E31E83E7-17F3-4BF4-9C75-B9A66E407B4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15352" y="4166089"/>
              <a:ext cx="238894" cy="144000"/>
            </a:xfrm>
            <a:prstGeom prst="roundRect">
              <a:avLst/>
            </a:prstGeom>
            <a:noFill/>
            <a:extLst>
              <a:ext uri="{909E8E84-426E-40DD-AFC4-6F175D3DCCD1}">
                <a14:hiddenFill xmlns:a14="http://schemas.microsoft.com/office/drawing/2010/main">
                  <a:solidFill>
                    <a:srgbClr val="FFFFFF"/>
                  </a:solidFill>
                </a14:hiddenFill>
              </a:ext>
            </a:extLst>
          </p:spPr>
        </p:pic>
        <p:pic>
          <p:nvPicPr>
            <p:cNvPr id="94" name="Picture 93" descr="A picture containing flower, sunflower&#10;&#10;Description automatically generated">
              <a:extLst>
                <a:ext uri="{FF2B5EF4-FFF2-40B4-BE49-F238E27FC236}">
                  <a16:creationId xmlns:a16="http://schemas.microsoft.com/office/drawing/2014/main" id="{66DAC856-DF5A-492F-8B38-7617305C8BF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20052" y="4154089"/>
              <a:ext cx="252000" cy="168000"/>
            </a:xfrm>
            <a:prstGeom prst="roundRect">
              <a:avLst/>
            </a:prstGeom>
          </p:spPr>
        </p:pic>
        <p:pic>
          <p:nvPicPr>
            <p:cNvPr id="95" name="Picture 94" descr="A picture containing flower, sunflower&#10;&#10;Description automatically generated">
              <a:extLst>
                <a:ext uri="{FF2B5EF4-FFF2-40B4-BE49-F238E27FC236}">
                  <a16:creationId xmlns:a16="http://schemas.microsoft.com/office/drawing/2014/main" id="{54DCE63E-85FC-4DD9-9424-6485A6C1415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58685" y="4154089"/>
              <a:ext cx="252000" cy="168000"/>
            </a:xfrm>
            <a:prstGeom prst="roundRect">
              <a:avLst/>
            </a:prstGeom>
          </p:spPr>
        </p:pic>
        <p:pic>
          <p:nvPicPr>
            <p:cNvPr id="99" name="Picture 2" descr="Drapeau France">
              <a:extLst>
                <a:ext uri="{FF2B5EF4-FFF2-40B4-BE49-F238E27FC236}">
                  <a16:creationId xmlns:a16="http://schemas.microsoft.com/office/drawing/2014/main" id="{F3AB9AFE-8265-42C7-97AA-64F3FF56FF5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06" b="16757"/>
            <a:stretch/>
          </p:blipFill>
          <p:spPr bwMode="auto">
            <a:xfrm>
              <a:off x="3508490" y="4166089"/>
              <a:ext cx="238894" cy="144000"/>
            </a:xfrm>
            <a:prstGeom prst="roundRect">
              <a:avLst/>
            </a:prstGeom>
            <a:noFill/>
            <a:extLst>
              <a:ext uri="{909E8E84-426E-40DD-AFC4-6F175D3DCCD1}">
                <a14:hiddenFill xmlns:a14="http://schemas.microsoft.com/office/drawing/2010/main">
                  <a:solidFill>
                    <a:srgbClr val="FFFFFF"/>
                  </a:solidFill>
                </a14:hiddenFill>
              </a:ext>
            </a:extLst>
          </p:spPr>
        </p:pic>
        <p:pic>
          <p:nvPicPr>
            <p:cNvPr id="102" name="Picture 101" descr="A picture containing flower, sunflower&#10;&#10;Description automatically generated">
              <a:extLst>
                <a:ext uri="{FF2B5EF4-FFF2-40B4-BE49-F238E27FC236}">
                  <a16:creationId xmlns:a16="http://schemas.microsoft.com/office/drawing/2014/main" id="{820D0111-3FB7-4821-B5B7-1D0C7F15FAC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53915" y="4154089"/>
              <a:ext cx="252000" cy="168000"/>
            </a:xfrm>
            <a:prstGeom prst="roundRect">
              <a:avLst/>
            </a:prstGeom>
          </p:spPr>
        </p:pic>
        <p:cxnSp>
          <p:nvCxnSpPr>
            <p:cNvPr id="105" name="Connecteur droit 64">
              <a:extLst>
                <a:ext uri="{FF2B5EF4-FFF2-40B4-BE49-F238E27FC236}">
                  <a16:creationId xmlns:a16="http://schemas.microsoft.com/office/drawing/2014/main" id="{E7311282-2C5B-4F6B-9781-0C47D4DC65E8}"/>
                </a:ext>
              </a:extLst>
            </p:cNvPr>
            <p:cNvCxnSpPr>
              <a:cxnSpLocks/>
            </p:cNvCxnSpPr>
            <p:nvPr/>
          </p:nvCxnSpPr>
          <p:spPr bwMode="auto">
            <a:xfrm flipH="1">
              <a:off x="3075081" y="4062230"/>
              <a:ext cx="6987" cy="1142229"/>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60" name="ZoneTexte 59">
              <a:extLst>
                <a:ext uri="{FF2B5EF4-FFF2-40B4-BE49-F238E27FC236}">
                  <a16:creationId xmlns:a16="http://schemas.microsoft.com/office/drawing/2014/main" id="{B48410F2-D72C-4755-8DA1-2674BB3B1813}"/>
                </a:ext>
              </a:extLst>
            </p:cNvPr>
            <p:cNvSpPr txBox="1"/>
            <p:nvPr/>
          </p:nvSpPr>
          <p:spPr>
            <a:xfrm>
              <a:off x="2493006" y="4348949"/>
              <a:ext cx="1103149" cy="507831"/>
            </a:xfrm>
            <a:prstGeom prst="rect">
              <a:avLst/>
            </a:prstGeom>
            <a:solidFill>
              <a:schemeClr val="bg1"/>
            </a:solidFill>
          </p:spPr>
          <p:txBody>
            <a:bodyPr wrap="square" rtlCol="0">
              <a:spAutoFit/>
            </a:bodyPr>
            <a:lstStyle/>
            <a:p>
              <a:pPr algn="ctr"/>
              <a:r>
                <a:rPr lang="en-GB" sz="900">
                  <a:latin typeface="Trebuchet MS" panose="020B0603020202020204" pitchFamily="34" charset="0"/>
                </a:rPr>
                <a:t>Implementation of the Sapin II law</a:t>
              </a:r>
            </a:p>
          </p:txBody>
        </p:sp>
        <p:pic>
          <p:nvPicPr>
            <p:cNvPr id="96" name="Picture 2" descr="Drapeau France">
              <a:extLst>
                <a:ext uri="{FF2B5EF4-FFF2-40B4-BE49-F238E27FC236}">
                  <a16:creationId xmlns:a16="http://schemas.microsoft.com/office/drawing/2014/main" id="{52DA3893-7700-449A-AFF9-A716BC0AB2E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06" b="16757"/>
            <a:stretch/>
          </p:blipFill>
          <p:spPr bwMode="auto">
            <a:xfrm>
              <a:off x="2772825" y="4166089"/>
              <a:ext cx="238894"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67" name="ZoneTexte 66">
              <a:extLst>
                <a:ext uri="{FF2B5EF4-FFF2-40B4-BE49-F238E27FC236}">
                  <a16:creationId xmlns:a16="http://schemas.microsoft.com/office/drawing/2014/main" id="{40CB132F-FA52-4320-BC33-146C6E5C3114}"/>
                </a:ext>
              </a:extLst>
            </p:cNvPr>
            <p:cNvSpPr txBox="1"/>
            <p:nvPr/>
          </p:nvSpPr>
          <p:spPr>
            <a:xfrm>
              <a:off x="3122718" y="4858673"/>
              <a:ext cx="659872" cy="553998"/>
            </a:xfrm>
            <a:prstGeom prst="rect">
              <a:avLst/>
            </a:prstGeom>
            <a:solidFill>
              <a:schemeClr val="bg1"/>
            </a:solidFill>
          </p:spPr>
          <p:txBody>
            <a:bodyPr wrap="square" lIns="0" tIns="0" rIns="0" bIns="0" rtlCol="0" anchor="ctr">
              <a:spAutoFit/>
            </a:bodyPr>
            <a:lstStyle/>
            <a:p>
              <a:pPr algn="r"/>
              <a:r>
                <a:rPr lang="en-GB" sz="900">
                  <a:latin typeface="Trebuchet MS" panose="020B0603020202020204" pitchFamily="34" charset="0"/>
                </a:rPr>
                <a:t>Due date for UBO declaration in France</a:t>
              </a:r>
            </a:p>
          </p:txBody>
        </p:sp>
        <p:sp>
          <p:nvSpPr>
            <p:cNvPr id="107" name="ZoneTexte 28">
              <a:extLst>
                <a:ext uri="{FF2B5EF4-FFF2-40B4-BE49-F238E27FC236}">
                  <a16:creationId xmlns:a16="http://schemas.microsoft.com/office/drawing/2014/main" id="{1E1976D2-542D-4FC7-9E78-A3116C9EE0B8}"/>
                </a:ext>
              </a:extLst>
            </p:cNvPr>
            <p:cNvSpPr txBox="1"/>
            <p:nvPr/>
          </p:nvSpPr>
          <p:spPr>
            <a:xfrm>
              <a:off x="2363908" y="4953999"/>
              <a:ext cx="918992" cy="507831"/>
            </a:xfrm>
            <a:prstGeom prst="rect">
              <a:avLst/>
            </a:prstGeom>
            <a:noFill/>
          </p:spPr>
          <p:txBody>
            <a:bodyPr wrap="square" rtlCol="0" anchor="ctr">
              <a:spAutoFit/>
            </a:bodyPr>
            <a:lstStyle/>
            <a:p>
              <a:r>
                <a:rPr lang="en-GB" sz="900">
                  <a:latin typeface="Trebuchet MS" panose="020B0603020202020204" pitchFamily="34" charset="0"/>
                </a:rPr>
                <a:t>AMLD IV integrated in Belgian law</a:t>
              </a:r>
            </a:p>
          </p:txBody>
        </p:sp>
        <p:pic>
          <p:nvPicPr>
            <p:cNvPr id="108" name="Picture 2" descr="5 ft x 3 ft 150 x 90 cm-DRAPEAU BELGE Belgique 100% Polyester ...">
              <a:extLst>
                <a:ext uri="{FF2B5EF4-FFF2-40B4-BE49-F238E27FC236}">
                  <a16:creationId xmlns:a16="http://schemas.microsoft.com/office/drawing/2014/main" id="{CF8B217F-0858-4D61-AB2C-E42BAD92EC03}"/>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973"/>
            <a:stretch/>
          </p:blipFill>
          <p:spPr bwMode="auto">
            <a:xfrm>
              <a:off x="3075081" y="4163577"/>
              <a:ext cx="238896" cy="144000"/>
            </a:xfrm>
            <a:prstGeom prst="roundRect">
              <a:avLst/>
            </a:prstGeom>
            <a:noFill/>
            <a:extLst>
              <a:ext uri="{909E8E84-426E-40DD-AFC4-6F175D3DCCD1}">
                <a14:hiddenFill xmlns:a14="http://schemas.microsoft.com/office/drawing/2010/main">
                  <a:solidFill>
                    <a:srgbClr val="FFFFFF"/>
                  </a:solidFill>
                </a14:hiddenFill>
              </a:ext>
            </a:extLst>
          </p:spPr>
        </p:pic>
      </p:grpSp>
      <p:sp>
        <p:nvSpPr>
          <p:cNvPr id="14" name="Speech Bubble: Rectangle 13">
            <a:extLst>
              <a:ext uri="{FF2B5EF4-FFF2-40B4-BE49-F238E27FC236}">
                <a16:creationId xmlns:a16="http://schemas.microsoft.com/office/drawing/2014/main" id="{2F0A1FE1-ABDF-4C59-9C96-F0CB64BBFCE4}"/>
              </a:ext>
            </a:extLst>
          </p:cNvPr>
          <p:cNvSpPr/>
          <p:nvPr/>
        </p:nvSpPr>
        <p:spPr bwMode="auto">
          <a:xfrm>
            <a:off x="5250288" y="5379746"/>
            <a:ext cx="1024503" cy="432545"/>
          </a:xfrm>
          <a:prstGeom prst="wedgeRectCallout">
            <a:avLst>
              <a:gd name="adj1" fmla="val 76672"/>
              <a:gd name="adj2" fmla="val 38360"/>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tx1"/>
                </a:solidFill>
                <a:effectLst/>
                <a:latin typeface="Trebuchet MS" panose="020B0603020202020204" pitchFamily="34" charset="0"/>
              </a:rPr>
              <a:t>100% compliant companies</a:t>
            </a:r>
          </a:p>
        </p:txBody>
      </p:sp>
      <p:sp>
        <p:nvSpPr>
          <p:cNvPr id="106" name="Ellipse 105">
            <a:extLst>
              <a:ext uri="{FF2B5EF4-FFF2-40B4-BE49-F238E27FC236}">
                <a16:creationId xmlns:a16="http://schemas.microsoft.com/office/drawing/2014/main" id="{D8E851FE-269F-4875-8FF0-D4EFF8BCD8E6}"/>
              </a:ext>
            </a:extLst>
          </p:cNvPr>
          <p:cNvSpPr>
            <a:spLocks noChangeAspect="1"/>
          </p:cNvSpPr>
          <p:nvPr/>
        </p:nvSpPr>
        <p:spPr bwMode="auto">
          <a:xfrm>
            <a:off x="5516314" y="3013703"/>
            <a:ext cx="436224" cy="408225"/>
          </a:xfrm>
          <a:prstGeom prst="ellipse">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9" name="ZoneTexte 108">
            <a:extLst>
              <a:ext uri="{FF2B5EF4-FFF2-40B4-BE49-F238E27FC236}">
                <a16:creationId xmlns:a16="http://schemas.microsoft.com/office/drawing/2014/main" id="{44D4BE40-8998-467F-9C6F-86C1D1839891}"/>
              </a:ext>
            </a:extLst>
          </p:cNvPr>
          <p:cNvSpPr txBox="1"/>
          <p:nvPr/>
        </p:nvSpPr>
        <p:spPr>
          <a:xfrm>
            <a:off x="5360360" y="3058207"/>
            <a:ext cx="902235" cy="307777"/>
          </a:xfrm>
          <a:prstGeom prst="rect">
            <a:avLst/>
          </a:prstGeom>
          <a:noFill/>
        </p:spPr>
        <p:txBody>
          <a:bodyPr wrap="square" rtlCol="0">
            <a:spAutoFit/>
          </a:bodyPr>
          <a:lstStyle/>
          <a:p>
            <a:r>
              <a:rPr lang="en-GB" b="1">
                <a:solidFill>
                  <a:schemeClr val="tx2"/>
                </a:solidFill>
                <a:latin typeface="Trebuchet MS" panose="020B0603020202020204" pitchFamily="34" charset="0"/>
              </a:rPr>
              <a:t>€750m</a:t>
            </a:r>
          </a:p>
        </p:txBody>
      </p:sp>
      <p:grpSp>
        <p:nvGrpSpPr>
          <p:cNvPr id="104" name="Groupe 103">
            <a:extLst>
              <a:ext uri="{FF2B5EF4-FFF2-40B4-BE49-F238E27FC236}">
                <a16:creationId xmlns:a16="http://schemas.microsoft.com/office/drawing/2014/main" id="{52B93DAD-C72C-40DD-9CE5-AC559A5BD176}"/>
              </a:ext>
            </a:extLst>
          </p:cNvPr>
          <p:cNvGrpSpPr/>
          <p:nvPr/>
        </p:nvGrpSpPr>
        <p:grpSpPr>
          <a:xfrm>
            <a:off x="8448150" y="-11528"/>
            <a:ext cx="1435548" cy="588143"/>
            <a:chOff x="8448150" y="-11528"/>
            <a:chExt cx="1435548" cy="588143"/>
          </a:xfrm>
        </p:grpSpPr>
        <p:grpSp>
          <p:nvGrpSpPr>
            <p:cNvPr id="110" name="Groupe 109">
              <a:extLst>
                <a:ext uri="{FF2B5EF4-FFF2-40B4-BE49-F238E27FC236}">
                  <a16:creationId xmlns:a16="http://schemas.microsoft.com/office/drawing/2014/main" id="{8FA19B2A-7F3B-47AC-B001-D241A4316D61}"/>
                </a:ext>
              </a:extLst>
            </p:cNvPr>
            <p:cNvGrpSpPr/>
            <p:nvPr/>
          </p:nvGrpSpPr>
          <p:grpSpPr>
            <a:xfrm>
              <a:off x="8448150" y="-11528"/>
              <a:ext cx="1435548" cy="555653"/>
              <a:chOff x="8448150" y="-11528"/>
              <a:chExt cx="1435548" cy="555653"/>
            </a:xfrm>
          </p:grpSpPr>
          <p:sp>
            <p:nvSpPr>
              <p:cNvPr id="112" name="Rectangle : coins arrondis 199">
                <a:extLst>
                  <a:ext uri="{FF2B5EF4-FFF2-40B4-BE49-F238E27FC236}">
                    <a16:creationId xmlns:a16="http://schemas.microsoft.com/office/drawing/2014/main" id="{AB2EDE16-F24F-4981-92EF-A6B8E5567EEB}"/>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3" name="Rectangle : coins arrondis 200">
                <a:extLst>
                  <a:ext uri="{FF2B5EF4-FFF2-40B4-BE49-F238E27FC236}">
                    <a16:creationId xmlns:a16="http://schemas.microsoft.com/office/drawing/2014/main" id="{9AD2D6A6-F8A9-4BA0-B39B-F9934A9D0159}"/>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4" name="Rectangle : coins arrondis 201">
                <a:extLst>
                  <a:ext uri="{FF2B5EF4-FFF2-40B4-BE49-F238E27FC236}">
                    <a16:creationId xmlns:a16="http://schemas.microsoft.com/office/drawing/2014/main" id="{566D2057-1299-401E-815E-E992B60E3C55}"/>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6" name="ZoneTexte 18">
                <a:extLst>
                  <a:ext uri="{FF2B5EF4-FFF2-40B4-BE49-F238E27FC236}">
                    <a16:creationId xmlns:a16="http://schemas.microsoft.com/office/drawing/2014/main" id="{62420C4F-D75E-4584-B261-04E6A879DAF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18" name="Graphique 128" descr="Jauge">
                <a:extLst>
                  <a:ext uri="{FF2B5EF4-FFF2-40B4-BE49-F238E27FC236}">
                    <a16:creationId xmlns:a16="http://schemas.microsoft.com/office/drawing/2014/main" id="{C5228FBF-6A4C-44CF-A4F5-19D26EF8964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53764" y="187516"/>
                <a:ext cx="234953" cy="218224"/>
              </a:xfrm>
              <a:prstGeom prst="rect">
                <a:avLst/>
              </a:prstGeom>
              <a:effectLst/>
            </p:spPr>
          </p:pic>
          <p:pic>
            <p:nvPicPr>
              <p:cNvPr id="122" name="Graphique 90" descr="Poignée de main">
                <a:extLst>
                  <a:ext uri="{FF2B5EF4-FFF2-40B4-BE49-F238E27FC236}">
                    <a16:creationId xmlns:a16="http://schemas.microsoft.com/office/drawing/2014/main" id="{CD3BE056-4004-4811-A4CB-7DB6F48156D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960868" y="152880"/>
                <a:ext cx="256313" cy="287496"/>
              </a:xfrm>
              <a:prstGeom prst="rect">
                <a:avLst/>
              </a:prstGeom>
              <a:effectLst/>
            </p:spPr>
          </p:pic>
          <p:pic>
            <p:nvPicPr>
              <p:cNvPr id="126" name="Graphique 74" descr="Mégaphone">
                <a:extLst>
                  <a:ext uri="{FF2B5EF4-FFF2-40B4-BE49-F238E27FC236}">
                    <a16:creationId xmlns:a16="http://schemas.microsoft.com/office/drawing/2014/main" id="{781484E9-0C77-4D4E-9E99-3F1DA0515CF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89331" y="181519"/>
                <a:ext cx="233011" cy="216420"/>
              </a:xfrm>
              <a:prstGeom prst="rect">
                <a:avLst/>
              </a:prstGeom>
              <a:effectLst/>
            </p:spPr>
          </p:pic>
          <p:pic>
            <p:nvPicPr>
              <p:cNvPr id="127" name="Picture 2" descr="Drapeau France">
                <a:extLst>
                  <a:ext uri="{FF2B5EF4-FFF2-40B4-BE49-F238E27FC236}">
                    <a16:creationId xmlns:a16="http://schemas.microsoft.com/office/drawing/2014/main" id="{AA1267F1-B5D1-4AB0-B448-199278A958A4}"/>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28" name="Picture 2" descr="5 ft x 3 ft 150 x 90 cm-DRAPEAU BELGE Belgique 100% Polyester ...">
                <a:extLst>
                  <a:ext uri="{FF2B5EF4-FFF2-40B4-BE49-F238E27FC236}">
                    <a16:creationId xmlns:a16="http://schemas.microsoft.com/office/drawing/2014/main" id="{D2C379EE-A330-4690-8FF1-3FA30A44DD6A}"/>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29" name="Picture 2 - 1" descr="Drapeau des Pays-Bas — Wikipédia">
                <a:extLst>
                  <a:ext uri="{FF2B5EF4-FFF2-40B4-BE49-F238E27FC236}">
                    <a16:creationId xmlns:a16="http://schemas.microsoft.com/office/drawing/2014/main" id="{6BAC9FD8-46C2-4D75-BD4F-259296D2A63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30" name="Picture 2 - 2" descr="Drapeau du Luxembourg">
                <a:extLst>
                  <a:ext uri="{FF2B5EF4-FFF2-40B4-BE49-F238E27FC236}">
                    <a16:creationId xmlns:a16="http://schemas.microsoft.com/office/drawing/2014/main" id="{0076A3F7-5D56-471C-8A70-39120B6B82C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111" name="ZoneTexte 18">
              <a:extLst>
                <a:ext uri="{FF2B5EF4-FFF2-40B4-BE49-F238E27FC236}">
                  <a16:creationId xmlns:a16="http://schemas.microsoft.com/office/drawing/2014/main" id="{6793F758-A552-4625-BCEA-FE32DA729AB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pic>
        <p:nvPicPr>
          <p:cNvPr id="34820" name="Picture 4" descr="Banque en ligne : ING">
            <a:extLst>
              <a:ext uri="{FF2B5EF4-FFF2-40B4-BE49-F238E27FC236}">
                <a16:creationId xmlns:a16="http://schemas.microsoft.com/office/drawing/2014/main" id="{BDC933D9-F2B5-4EFC-84B1-8975BD920756}"/>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417635" y="3400484"/>
            <a:ext cx="671959" cy="169758"/>
          </a:xfrm>
          <a:prstGeom prst="rect">
            <a:avLst/>
          </a:prstGeom>
          <a:noFill/>
          <a:extLst>
            <a:ext uri="{909E8E84-426E-40DD-AFC4-6F175D3DCCD1}">
              <a14:hiddenFill xmlns:a14="http://schemas.microsoft.com/office/drawing/2010/main">
                <a:solidFill>
                  <a:srgbClr val="FFFFFF"/>
                </a:solidFill>
              </a14:hiddenFill>
            </a:ext>
          </a:extLst>
        </p:spPr>
      </p:pic>
      <p:pic>
        <p:nvPicPr>
          <p:cNvPr id="97" name="Graphique 96">
            <a:extLst>
              <a:ext uri="{FF2B5EF4-FFF2-40B4-BE49-F238E27FC236}">
                <a16:creationId xmlns:a16="http://schemas.microsoft.com/office/drawing/2014/main" id="{6007E24F-D9FF-4322-A9C6-8FE90B6918A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078367" y="1322037"/>
            <a:ext cx="304800" cy="381000"/>
          </a:xfrm>
          <a:prstGeom prst="rect">
            <a:avLst/>
          </a:prstGeom>
        </p:spPr>
      </p:pic>
      <p:sp>
        <p:nvSpPr>
          <p:cNvPr id="98" name="Freeform 9">
            <a:extLst>
              <a:ext uri="{FF2B5EF4-FFF2-40B4-BE49-F238E27FC236}">
                <a16:creationId xmlns:a16="http://schemas.microsoft.com/office/drawing/2014/main" id="{C0A75675-C61C-4184-9F2E-4724E075FE31}"/>
              </a:ext>
            </a:extLst>
          </p:cNvPr>
          <p:cNvSpPr>
            <a:spLocks noEditPoints="1"/>
          </p:cNvSpPr>
          <p:nvPr/>
        </p:nvSpPr>
        <p:spPr bwMode="auto">
          <a:xfrm flipH="1">
            <a:off x="4359854" y="1803598"/>
            <a:ext cx="203753" cy="25888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137" name="Rectangle 136">
            <a:extLst>
              <a:ext uri="{FF2B5EF4-FFF2-40B4-BE49-F238E27FC236}">
                <a16:creationId xmlns:a16="http://schemas.microsoft.com/office/drawing/2014/main" id="{8A662744-2D2E-42B6-A4F1-4B618F65FFD8}"/>
              </a:ext>
            </a:extLst>
          </p:cNvPr>
          <p:cNvSpPr/>
          <p:nvPr/>
        </p:nvSpPr>
        <p:spPr bwMode="auto">
          <a:xfrm>
            <a:off x="272226" y="5828094"/>
            <a:ext cx="4377678" cy="64876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indent="-171450" defTabSz="914400" rtl="0" eaLnBrk="1" fontAlgn="base" latinLnBrk="0" hangingPunct="1">
              <a:lnSpc>
                <a:spcPct val="100000"/>
              </a:lnSpc>
              <a:spcBef>
                <a:spcPct val="0"/>
              </a:spcBef>
              <a:spcAft>
                <a:spcPts val="300"/>
              </a:spcAft>
              <a:buClrTx/>
              <a:buSzTx/>
              <a:buFont typeface="Arial" panose="020B0604020202020204" pitchFamily="34" charset="0"/>
              <a:buChar char="•"/>
              <a:tabLst/>
            </a:pPr>
            <a:r>
              <a:rPr lang="en-GB" sz="900">
                <a:latin typeface="Trebuchet MS" panose="020B0603020202020204" pitchFamily="34" charset="0"/>
              </a:rPr>
              <a:t>Belgian Criminal Code: the major provision on combating corruption are laid down in articles 246 to 252 of the BCC</a:t>
            </a:r>
          </a:p>
          <a:p>
            <a:pPr marL="171450" marR="0" indent="-171450" defTabSz="914400" rtl="0" eaLnBrk="1" fontAlgn="base" latinLnBrk="0" hangingPunct="1">
              <a:lnSpc>
                <a:spcPct val="100000"/>
              </a:lnSpc>
              <a:spcBef>
                <a:spcPct val="0"/>
              </a:spcBef>
              <a:spcAft>
                <a:spcPts val="300"/>
              </a:spcAft>
              <a:buClrTx/>
              <a:buSzTx/>
              <a:buFont typeface="Arial" panose="020B0604020202020204" pitchFamily="34" charset="0"/>
              <a:buChar char="•"/>
              <a:tabLst/>
            </a:pPr>
            <a:r>
              <a:rPr lang="en-GB" sz="900">
                <a:latin typeface="Trebuchet MS" panose="020B0603020202020204" pitchFamily="34" charset="0"/>
              </a:rPr>
              <a:t>Dutch Criminal Code: Both active and passive commercial corruption are criminalized in Article 328 of the DCC</a:t>
            </a:r>
          </a:p>
        </p:txBody>
      </p:sp>
      <p:pic>
        <p:nvPicPr>
          <p:cNvPr id="13" name="Graphique 12">
            <a:extLst>
              <a:ext uri="{FF2B5EF4-FFF2-40B4-BE49-F238E27FC236}">
                <a16:creationId xmlns:a16="http://schemas.microsoft.com/office/drawing/2014/main" id="{C6FE2DED-8AB4-4BBC-9050-7E835DCD8BD8}"/>
              </a:ext>
            </a:extLst>
          </p:cNvPr>
          <p:cNvPicPr>
            <a:picLocks noChangeAspect="1"/>
          </p:cNvPicPr>
          <p:nvPr/>
        </p:nvPicPr>
        <p:blipFill rotWithShape="1">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t="12491" b="26199"/>
          <a:stretch/>
        </p:blipFill>
        <p:spPr>
          <a:xfrm>
            <a:off x="5703832" y="1646950"/>
            <a:ext cx="377851" cy="289578"/>
          </a:xfrm>
          <a:prstGeom prst="rect">
            <a:avLst/>
          </a:prstGeom>
        </p:spPr>
      </p:pic>
      <p:pic>
        <p:nvPicPr>
          <p:cNvPr id="20" name="Graphique 19">
            <a:extLst>
              <a:ext uri="{FF2B5EF4-FFF2-40B4-BE49-F238E27FC236}">
                <a16:creationId xmlns:a16="http://schemas.microsoft.com/office/drawing/2014/main" id="{2FC994E8-5E4A-44F7-BBF6-812E4A6CB018}"/>
              </a:ext>
            </a:extLst>
          </p:cNvPr>
          <p:cNvPicPr>
            <a:picLocks noChangeAspect="1"/>
          </p:cNvPicPr>
          <p:nvPr/>
        </p:nvPicPr>
        <p:blipFill rotWithShape="1">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t="4492" b="27461"/>
          <a:stretch/>
        </p:blipFill>
        <p:spPr>
          <a:xfrm>
            <a:off x="7277188" y="1570304"/>
            <a:ext cx="403953" cy="343596"/>
          </a:xfrm>
          <a:prstGeom prst="rect">
            <a:avLst/>
          </a:prstGeom>
        </p:spPr>
      </p:pic>
      <p:pic>
        <p:nvPicPr>
          <p:cNvPr id="22" name="Graphique 21">
            <a:extLst>
              <a:ext uri="{FF2B5EF4-FFF2-40B4-BE49-F238E27FC236}">
                <a16:creationId xmlns:a16="http://schemas.microsoft.com/office/drawing/2014/main" id="{F1309378-723C-4BF3-9BE7-652EE98A183B}"/>
              </a:ext>
            </a:extLst>
          </p:cNvPr>
          <p:cNvPicPr>
            <a:picLocks noChangeAspect="1"/>
          </p:cNvPicPr>
          <p:nvPr/>
        </p:nvPicPr>
        <p:blipFill rotWithShape="1">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rcRect b="19486"/>
          <a:stretch/>
        </p:blipFill>
        <p:spPr>
          <a:xfrm>
            <a:off x="8876646" y="1657653"/>
            <a:ext cx="250823" cy="252433"/>
          </a:xfrm>
          <a:prstGeom prst="rect">
            <a:avLst/>
          </a:prstGeom>
        </p:spPr>
      </p:pic>
      <p:sp>
        <p:nvSpPr>
          <p:cNvPr id="138" name="ZoneTexte 137">
            <a:extLst>
              <a:ext uri="{FF2B5EF4-FFF2-40B4-BE49-F238E27FC236}">
                <a16:creationId xmlns:a16="http://schemas.microsoft.com/office/drawing/2014/main" id="{89C137EE-BF15-4E7C-BD37-E25267F37D6B}"/>
              </a:ext>
            </a:extLst>
          </p:cNvPr>
          <p:cNvSpPr txBox="1"/>
          <p:nvPr/>
        </p:nvSpPr>
        <p:spPr>
          <a:xfrm>
            <a:off x="5296821" y="1868780"/>
            <a:ext cx="1293681" cy="246221"/>
          </a:xfrm>
          <a:prstGeom prst="rect">
            <a:avLst/>
          </a:prstGeom>
          <a:noFill/>
        </p:spPr>
        <p:txBody>
          <a:bodyPr wrap="square" rtlCol="0">
            <a:spAutoFit/>
          </a:bodyPr>
          <a:lstStyle/>
          <a:p>
            <a:r>
              <a:rPr lang="en-GB" sz="1000" i="1">
                <a:latin typeface="Trebuchet MS" panose="020B0603020202020204" pitchFamily="34" charset="0"/>
              </a:rPr>
              <a:t>Financial sanctions</a:t>
            </a:r>
          </a:p>
        </p:txBody>
      </p:sp>
      <p:sp>
        <p:nvSpPr>
          <p:cNvPr id="139" name="ZoneTexte 138">
            <a:extLst>
              <a:ext uri="{FF2B5EF4-FFF2-40B4-BE49-F238E27FC236}">
                <a16:creationId xmlns:a16="http://schemas.microsoft.com/office/drawing/2014/main" id="{39484C7D-8B7B-4017-99B9-CDA35CDE454C}"/>
              </a:ext>
            </a:extLst>
          </p:cNvPr>
          <p:cNvSpPr txBox="1"/>
          <p:nvPr/>
        </p:nvSpPr>
        <p:spPr>
          <a:xfrm>
            <a:off x="6832323" y="1868780"/>
            <a:ext cx="1293681" cy="246221"/>
          </a:xfrm>
          <a:prstGeom prst="rect">
            <a:avLst/>
          </a:prstGeom>
          <a:noFill/>
        </p:spPr>
        <p:txBody>
          <a:bodyPr wrap="square" rtlCol="0">
            <a:spAutoFit/>
          </a:bodyPr>
          <a:lstStyle/>
          <a:p>
            <a:r>
              <a:rPr lang="en-GB" sz="1000" i="1">
                <a:latin typeface="Trebuchet MS" panose="020B0603020202020204" pitchFamily="34" charset="0"/>
              </a:rPr>
              <a:t>Criminal sanction</a:t>
            </a:r>
          </a:p>
        </p:txBody>
      </p:sp>
      <p:sp>
        <p:nvSpPr>
          <p:cNvPr id="140" name="ZoneTexte 139">
            <a:extLst>
              <a:ext uri="{FF2B5EF4-FFF2-40B4-BE49-F238E27FC236}">
                <a16:creationId xmlns:a16="http://schemas.microsoft.com/office/drawing/2014/main" id="{C2EA8CAD-CA69-4698-A437-ECD32626C348}"/>
              </a:ext>
            </a:extLst>
          </p:cNvPr>
          <p:cNvSpPr txBox="1"/>
          <p:nvPr/>
        </p:nvSpPr>
        <p:spPr>
          <a:xfrm>
            <a:off x="8355216" y="1868780"/>
            <a:ext cx="1293681" cy="246221"/>
          </a:xfrm>
          <a:prstGeom prst="rect">
            <a:avLst/>
          </a:prstGeom>
          <a:noFill/>
        </p:spPr>
        <p:txBody>
          <a:bodyPr wrap="square" rtlCol="0">
            <a:spAutoFit/>
          </a:bodyPr>
          <a:lstStyle/>
          <a:p>
            <a:pPr algn="ctr"/>
            <a:r>
              <a:rPr lang="en-GB" sz="1000" i="1">
                <a:latin typeface="Trebuchet MS" panose="020B0603020202020204" pitchFamily="34" charset="0"/>
              </a:rPr>
              <a:t>Bad press </a:t>
            </a:r>
          </a:p>
        </p:txBody>
      </p:sp>
      <p:sp>
        <p:nvSpPr>
          <p:cNvPr id="141" name="Rectangle 140">
            <a:extLst>
              <a:ext uri="{FF2B5EF4-FFF2-40B4-BE49-F238E27FC236}">
                <a16:creationId xmlns:a16="http://schemas.microsoft.com/office/drawing/2014/main" id="{70E6DDD4-798C-42C9-ACE1-BCEF32CF65AF}"/>
              </a:ext>
            </a:extLst>
          </p:cNvPr>
          <p:cNvSpPr/>
          <p:nvPr/>
        </p:nvSpPr>
        <p:spPr bwMode="auto">
          <a:xfrm>
            <a:off x="5582523" y="2246851"/>
            <a:ext cx="3779147" cy="68584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100"/>
              </a:lnSpc>
              <a:defRPr/>
            </a:pPr>
            <a:r>
              <a:rPr lang="en-GB" sz="1000" i="1">
                <a:latin typeface="Trebuchet MS" panose="020B0603020202020204" pitchFamily="34" charset="0"/>
              </a:rPr>
              <a:t>“It is the </a:t>
            </a:r>
            <a:r>
              <a:rPr lang="en-GB" sz="1000" i="1">
                <a:solidFill>
                  <a:schemeClr val="tx2"/>
                </a:solidFill>
                <a:latin typeface="Trebuchet MS" panose="020B0603020202020204" pitchFamily="34" charset="0"/>
              </a:rPr>
              <a:t>high risk of sanction by the AFA</a:t>
            </a:r>
            <a:r>
              <a:rPr lang="en-GB" sz="1000" i="1">
                <a:latin typeface="Trebuchet MS" panose="020B0603020202020204" pitchFamily="34" charset="0"/>
              </a:rPr>
              <a:t>, ranging from €2m or up to ten times the turnover with potential criminal sanctions that drive companies to be compliant”</a:t>
            </a:r>
          </a:p>
          <a:p>
            <a:pPr>
              <a:lnSpc>
                <a:spcPts val="1100"/>
              </a:lnSpc>
              <a:defRPr/>
            </a:pPr>
            <a:r>
              <a:rPr lang="en-GB" sz="1000">
                <a:latin typeface="Trebuchet MS" panose="020B0603020202020204" pitchFamily="34" charset="0"/>
              </a:rPr>
              <a:t>Legal &amp; Compliant Director, ABL Europe SAS</a:t>
            </a:r>
          </a:p>
        </p:txBody>
      </p:sp>
      <p:sp>
        <p:nvSpPr>
          <p:cNvPr id="142" name="Freeform 663">
            <a:extLst>
              <a:ext uri="{FF2B5EF4-FFF2-40B4-BE49-F238E27FC236}">
                <a16:creationId xmlns:a16="http://schemas.microsoft.com/office/drawing/2014/main" id="{9064F364-7F1C-4E1A-AC63-44F8A164F374}"/>
              </a:ext>
            </a:extLst>
          </p:cNvPr>
          <p:cNvSpPr>
            <a:spLocks noEditPoints="1"/>
          </p:cNvSpPr>
          <p:nvPr/>
        </p:nvSpPr>
        <p:spPr bwMode="auto">
          <a:xfrm>
            <a:off x="5465685" y="2463771"/>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pic>
        <p:nvPicPr>
          <p:cNvPr id="131" name="Picture 2" descr="5 ft x 3 ft 150 x 90 cm-DRAPEAU BELGE Belgique 100% Polyester ...">
            <a:extLst>
              <a:ext uri="{FF2B5EF4-FFF2-40B4-BE49-F238E27FC236}">
                <a16:creationId xmlns:a16="http://schemas.microsoft.com/office/drawing/2014/main" id="{2C4CCA24-3072-4A26-BD63-6E84C3869E3E}"/>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973"/>
          <a:stretch/>
        </p:blipFill>
        <p:spPr bwMode="auto">
          <a:xfrm>
            <a:off x="272226" y="5888790"/>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32" name="Picture 2 - 1" descr="Drapeau des Pays-Bas — Wikipédia">
            <a:extLst>
              <a:ext uri="{FF2B5EF4-FFF2-40B4-BE49-F238E27FC236}">
                <a16:creationId xmlns:a16="http://schemas.microsoft.com/office/drawing/2014/main" id="{7FBBF471-9750-43C8-8D07-53950767EB0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72227" y="6182822"/>
            <a:ext cx="179171" cy="108000"/>
          </a:xfrm>
          <a:prstGeom prst="rect">
            <a:avLst/>
          </a:prstGeom>
          <a:solidFill>
            <a:schemeClr val="bg1"/>
          </a:solidFill>
          <a:ln w="9525" cap="flat" cmpd="sng" algn="ctr">
            <a:noFill/>
            <a:prstDash val="solid"/>
            <a:round/>
            <a:headEnd type="none" w="med" len="med"/>
            <a:tailEnd type="none" w="med" len="med"/>
          </a:ln>
          <a:effectLst/>
        </p:spPr>
      </p:pic>
      <p:sp>
        <p:nvSpPr>
          <p:cNvPr id="124" name="Freeform 9">
            <a:extLst>
              <a:ext uri="{FF2B5EF4-FFF2-40B4-BE49-F238E27FC236}">
                <a16:creationId xmlns:a16="http://schemas.microsoft.com/office/drawing/2014/main" id="{0BF6FDE0-3EF9-46A9-9C2E-30BE8635C7AB}"/>
              </a:ext>
            </a:extLst>
          </p:cNvPr>
          <p:cNvSpPr>
            <a:spLocks noEditPoints="1"/>
          </p:cNvSpPr>
          <p:nvPr/>
        </p:nvSpPr>
        <p:spPr bwMode="auto">
          <a:xfrm>
            <a:off x="7585526" y="6571657"/>
            <a:ext cx="224594" cy="245165"/>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125" name="Espace réservé du texte 2">
            <a:extLst>
              <a:ext uri="{FF2B5EF4-FFF2-40B4-BE49-F238E27FC236}">
                <a16:creationId xmlns:a16="http://schemas.microsoft.com/office/drawing/2014/main" id="{DC8E29AD-5E86-4D2D-91B0-80D8793129F5}"/>
              </a:ext>
            </a:extLst>
          </p:cNvPr>
          <p:cNvSpPr txBox="1">
            <a:spLocks/>
          </p:cNvSpPr>
          <p:nvPr/>
        </p:nvSpPr>
        <p:spPr>
          <a:xfrm>
            <a:off x="7834982" y="6563866"/>
            <a:ext cx="935002" cy="212826"/>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GB"/>
              <a:t>Detailed in the following slides</a:t>
            </a:r>
          </a:p>
        </p:txBody>
      </p:sp>
      <p:sp>
        <p:nvSpPr>
          <p:cNvPr id="133" name="Espace réservé du texte 2">
            <a:extLst>
              <a:ext uri="{FF2B5EF4-FFF2-40B4-BE49-F238E27FC236}">
                <a16:creationId xmlns:a16="http://schemas.microsoft.com/office/drawing/2014/main" id="{D04997C9-A317-4D83-B20B-CDA0CC234137}"/>
              </a:ext>
            </a:extLst>
          </p:cNvPr>
          <p:cNvSpPr txBox="1">
            <a:spLocks/>
          </p:cNvSpPr>
          <p:nvPr/>
        </p:nvSpPr>
        <p:spPr>
          <a:xfrm>
            <a:off x="4540971" y="1820003"/>
            <a:ext cx="935002" cy="212826"/>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GB">
                <a:solidFill>
                  <a:schemeClr val="accent1"/>
                </a:solidFill>
              </a:rPr>
              <a:t>See infra</a:t>
            </a:r>
          </a:p>
        </p:txBody>
      </p:sp>
    </p:spTree>
    <p:extLst>
      <p:ext uri="{BB962C8B-B14F-4D97-AF65-F5344CB8AC3E}">
        <p14:creationId xmlns:p14="http://schemas.microsoft.com/office/powerpoint/2010/main" val="574623477"/>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3AC7458-9A89-4118-BB8F-CD10C3357A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93AC7458-9A89-4118-BB8F-CD10C3357A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C875C8D-B3C1-4B15-8639-4C789960BFB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B46A7790-EE45-495D-BCAE-6BFB38373F96}"/>
              </a:ext>
            </a:extLst>
          </p:cNvPr>
          <p:cNvSpPr>
            <a:spLocks noGrp="1"/>
          </p:cNvSpPr>
          <p:nvPr>
            <p:ph type="title"/>
          </p:nvPr>
        </p:nvSpPr>
        <p:spPr>
          <a:xfrm>
            <a:off x="688818" y="147600"/>
            <a:ext cx="8062257" cy="684000"/>
          </a:xfrm>
        </p:spPr>
        <p:txBody>
          <a:bodyPr/>
          <a:lstStyle/>
          <a:p>
            <a:r>
              <a:rPr lang="en-GB">
                <a:latin typeface="Trebuchet MS" panose="020B0603020202020204" pitchFamily="34" charset="0"/>
              </a:rPr>
              <a:t>With regards to the fight against corruption, the </a:t>
            </a:r>
            <a:r>
              <a:rPr lang="en-GB" err="1">
                <a:solidFill>
                  <a:schemeClr val="tx2"/>
                </a:solidFill>
                <a:latin typeface="Trebuchet MS" panose="020B0603020202020204" pitchFamily="34" charset="0"/>
              </a:rPr>
              <a:t>Sapin</a:t>
            </a:r>
            <a:r>
              <a:rPr lang="en-GB">
                <a:solidFill>
                  <a:schemeClr val="tx2"/>
                </a:solidFill>
                <a:latin typeface="Trebuchet MS" panose="020B0603020202020204" pitchFamily="34" charset="0"/>
              </a:rPr>
              <a:t> II law </a:t>
            </a:r>
            <a:r>
              <a:rPr lang="en-GB">
                <a:latin typeface="Trebuchet MS" panose="020B0603020202020204" pitchFamily="34" charset="0"/>
              </a:rPr>
              <a:t>have </a:t>
            </a:r>
            <a:r>
              <a:rPr lang="en-GB">
                <a:solidFill>
                  <a:schemeClr val="tx2"/>
                </a:solidFill>
                <a:latin typeface="Trebuchet MS" panose="020B0603020202020204" pitchFamily="34" charset="0"/>
              </a:rPr>
              <a:t>redefined</a:t>
            </a:r>
            <a:r>
              <a:rPr lang="en-GB">
                <a:latin typeface="Trebuchet MS" panose="020B0603020202020204" pitchFamily="34" charset="0"/>
              </a:rPr>
              <a:t> new </a:t>
            </a:r>
            <a:r>
              <a:rPr lang="en-GB">
                <a:solidFill>
                  <a:schemeClr val="tx2"/>
                </a:solidFill>
                <a:latin typeface="Trebuchet MS" panose="020B0603020202020204" pitchFamily="34" charset="0"/>
              </a:rPr>
              <a:t>regulatory</a:t>
            </a:r>
            <a:r>
              <a:rPr lang="en-GB">
                <a:latin typeface="Trebuchet MS" panose="020B0603020202020204" pitchFamily="34" charset="0"/>
              </a:rPr>
              <a:t> </a:t>
            </a:r>
            <a:r>
              <a:rPr lang="en-GB">
                <a:solidFill>
                  <a:schemeClr val="tx2"/>
                </a:solidFill>
                <a:latin typeface="Trebuchet MS" panose="020B0603020202020204" pitchFamily="34" charset="0"/>
              </a:rPr>
              <a:t>constraints</a:t>
            </a:r>
            <a:r>
              <a:rPr lang="en-GB">
                <a:latin typeface="Trebuchet MS" panose="020B0603020202020204" pitchFamily="34" charset="0"/>
              </a:rPr>
              <a:t> related to </a:t>
            </a:r>
            <a:r>
              <a:rPr lang="en-GB">
                <a:solidFill>
                  <a:schemeClr val="tx2"/>
                </a:solidFill>
                <a:latin typeface="Trebuchet MS" panose="020B0603020202020204" pitchFamily="34" charset="0"/>
              </a:rPr>
              <a:t>anti-corruption</a:t>
            </a:r>
            <a:r>
              <a:rPr lang="en-GB">
                <a:latin typeface="Trebuchet MS" panose="020B0603020202020204" pitchFamily="34" charset="0"/>
              </a:rPr>
              <a:t> processes in </a:t>
            </a:r>
            <a:r>
              <a:rPr lang="en-GB">
                <a:solidFill>
                  <a:schemeClr val="tx2"/>
                </a:solidFill>
                <a:latin typeface="Trebuchet MS" panose="020B0603020202020204" pitchFamily="34" charset="0"/>
              </a:rPr>
              <a:t>France</a:t>
            </a:r>
            <a:r>
              <a:rPr lang="en-GB">
                <a:latin typeface="Trebuchet MS" panose="020B0603020202020204" pitchFamily="34" charset="0"/>
              </a:rPr>
              <a:t>, increasing sanction risk for uncompliant businesses…</a:t>
            </a:r>
          </a:p>
        </p:txBody>
      </p:sp>
      <p:sp>
        <p:nvSpPr>
          <p:cNvPr id="3" name="Espace réservé du texte 2">
            <a:extLst>
              <a:ext uri="{FF2B5EF4-FFF2-40B4-BE49-F238E27FC236}">
                <a16:creationId xmlns:a16="http://schemas.microsoft.com/office/drawing/2014/main" id="{DAAD79E8-5156-4AC7-A78F-AB404520F6CB}"/>
              </a:ext>
            </a:extLst>
          </p:cNvPr>
          <p:cNvSpPr>
            <a:spLocks noGrp="1"/>
          </p:cNvSpPr>
          <p:nvPr>
            <p:ph type="body" sz="quarter" idx="10"/>
          </p:nvPr>
        </p:nvSpPr>
        <p:spPr/>
        <p:txBody>
          <a:bodyPr/>
          <a:lstStyle/>
          <a:p>
            <a:r>
              <a:rPr lang="en-GB"/>
              <a:t>Sources: eleven research &amp; analysis, expert calls, Europarl.Europa.eu</a:t>
            </a:r>
          </a:p>
          <a:p>
            <a:r>
              <a:rPr lang="en-GB"/>
              <a:t>1. Know your supplier</a:t>
            </a:r>
          </a:p>
        </p:txBody>
      </p:sp>
      <p:cxnSp>
        <p:nvCxnSpPr>
          <p:cNvPr id="79" name="Connecteur droit 78">
            <a:extLst>
              <a:ext uri="{FF2B5EF4-FFF2-40B4-BE49-F238E27FC236}">
                <a16:creationId xmlns:a16="http://schemas.microsoft.com/office/drawing/2014/main" id="{B5E46CC7-951E-4D93-BC7A-6E7FC923CF34}"/>
              </a:ext>
            </a:extLst>
          </p:cNvPr>
          <p:cNvCxnSpPr>
            <a:cxnSpLocks/>
          </p:cNvCxnSpPr>
          <p:nvPr/>
        </p:nvCxnSpPr>
        <p:spPr bwMode="auto">
          <a:xfrm>
            <a:off x="272227" y="1165303"/>
            <a:ext cx="451164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6" name="ZoneTexte 85">
            <a:extLst>
              <a:ext uri="{FF2B5EF4-FFF2-40B4-BE49-F238E27FC236}">
                <a16:creationId xmlns:a16="http://schemas.microsoft.com/office/drawing/2014/main" id="{36E1B686-F2F5-4668-9F1F-6EAE8FE875A9}"/>
              </a:ext>
            </a:extLst>
          </p:cNvPr>
          <p:cNvSpPr txBox="1"/>
          <p:nvPr/>
        </p:nvSpPr>
        <p:spPr>
          <a:xfrm>
            <a:off x="528522" y="944010"/>
            <a:ext cx="3999056" cy="430887"/>
          </a:xfrm>
          <a:prstGeom prst="rect">
            <a:avLst/>
          </a:prstGeom>
          <a:solidFill>
            <a:schemeClr val="bg1"/>
          </a:solidFill>
        </p:spPr>
        <p:txBody>
          <a:bodyPr wrap="square" rtlCol="0">
            <a:spAutoFit/>
          </a:bodyPr>
          <a:lstStyle/>
          <a:p>
            <a:pPr algn="ctr"/>
            <a:r>
              <a:rPr lang="en-GB" sz="1100">
                <a:solidFill>
                  <a:schemeClr val="tx2"/>
                </a:solidFill>
                <a:latin typeface="Trebuchet MS" panose="020B0603020202020204" pitchFamily="34" charset="0"/>
              </a:rPr>
              <a:t>The </a:t>
            </a:r>
            <a:r>
              <a:rPr lang="en-GB" sz="1100" err="1">
                <a:solidFill>
                  <a:schemeClr val="tx2"/>
                </a:solidFill>
                <a:latin typeface="Trebuchet MS" panose="020B0603020202020204" pitchFamily="34" charset="0"/>
              </a:rPr>
              <a:t>Sapin</a:t>
            </a:r>
            <a:r>
              <a:rPr lang="en-GB" sz="1100">
                <a:solidFill>
                  <a:schemeClr val="tx2"/>
                </a:solidFill>
                <a:latin typeface="Trebuchet MS" panose="020B0603020202020204" pitchFamily="34" charset="0"/>
              </a:rPr>
              <a:t> II law in France strongly increased the requirements for companies’ compliance departments…</a:t>
            </a:r>
          </a:p>
        </p:txBody>
      </p:sp>
      <p:sp>
        <p:nvSpPr>
          <p:cNvPr id="92" name="Rectangle 91">
            <a:extLst>
              <a:ext uri="{FF2B5EF4-FFF2-40B4-BE49-F238E27FC236}">
                <a16:creationId xmlns:a16="http://schemas.microsoft.com/office/drawing/2014/main" id="{D9D9F08E-B027-4B85-8840-FB0E30E39398}"/>
              </a:ext>
            </a:extLst>
          </p:cNvPr>
          <p:cNvSpPr/>
          <p:nvPr/>
        </p:nvSpPr>
        <p:spPr bwMode="auto">
          <a:xfrm>
            <a:off x="278283" y="1399588"/>
            <a:ext cx="4505589" cy="201494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36000" rIns="91440" bIns="45720" numCol="1" rtlCol="0" anchor="ctr" anchorCtr="0" compatLnSpc="1">
            <a:prstTxWarp prst="textNoShape">
              <a:avLst/>
            </a:prstTxWarp>
          </a:bodyPr>
          <a:lstStyle/>
          <a:p>
            <a:pPr marL="171450" marR="0" indent="-171450" defTabSz="914400" rtl="0" eaLnBrk="1" fontAlgn="base" latinLnBrk="0" hangingPunct="1">
              <a:lnSpc>
                <a:spcPct val="100000"/>
              </a:lnSpc>
              <a:spcBef>
                <a:spcPct val="0"/>
              </a:spcBef>
              <a:spcAft>
                <a:spcPts val="200"/>
              </a:spcAft>
              <a:buClrTx/>
              <a:buSzTx/>
              <a:buFont typeface="Arial" panose="020B0604020202020204" pitchFamily="34" charset="0"/>
              <a:buChar char="•"/>
              <a:tabLst/>
            </a:pPr>
            <a:r>
              <a:rPr lang="en-GB" sz="1000" dirty="0">
                <a:latin typeface="Trebuchet MS" pitchFamily="34" charset="0"/>
              </a:rPr>
              <a:t>The </a:t>
            </a:r>
            <a:r>
              <a:rPr lang="en-GB" sz="1000" dirty="0" err="1">
                <a:latin typeface="Trebuchet MS" pitchFamily="34" charset="0"/>
              </a:rPr>
              <a:t>Sapin</a:t>
            </a:r>
            <a:r>
              <a:rPr lang="en-GB" sz="1000" dirty="0">
                <a:latin typeface="Trebuchet MS" pitchFamily="34" charset="0"/>
              </a:rPr>
              <a:t> II law, implemented in France from June 1st, 2017, aims at increasing the anti-money laundering, anti-corruption and anti-terrorism processes in France </a:t>
            </a:r>
          </a:p>
          <a:p>
            <a:pPr marL="171450" marR="0" indent="-171450" defTabSz="914400" rtl="0" eaLnBrk="1" fontAlgn="base" latinLnBrk="0" hangingPunct="1">
              <a:lnSpc>
                <a:spcPct val="100000"/>
              </a:lnSpc>
              <a:spcBef>
                <a:spcPct val="0"/>
              </a:spcBef>
              <a:spcAft>
                <a:spcPts val="200"/>
              </a:spcAft>
              <a:buClrTx/>
              <a:buSzTx/>
              <a:buFont typeface="Arial" panose="020B0604020202020204" pitchFamily="34" charset="0"/>
              <a:buChar char="•"/>
              <a:tabLst/>
            </a:pPr>
            <a:r>
              <a:rPr lang="en-GB" sz="1000" dirty="0">
                <a:latin typeface="Trebuchet MS" pitchFamily="34" charset="0"/>
              </a:rPr>
              <a:t>Companies are subjected to the law if they have more than 500 employees and more than €100m of revenue, if they are French or subsidiary to a French company (representing around 1.600 companies as of 2019)</a:t>
            </a:r>
          </a:p>
          <a:p>
            <a:pPr marL="171450" marR="0" indent="-171450" defTabSz="914400" rtl="0" eaLnBrk="1" fontAlgn="base" latinLnBrk="0" hangingPunct="1">
              <a:lnSpc>
                <a:spcPct val="100000"/>
              </a:lnSpc>
              <a:spcBef>
                <a:spcPct val="0"/>
              </a:spcBef>
              <a:spcAft>
                <a:spcPts val="200"/>
              </a:spcAft>
              <a:buClrTx/>
              <a:buSzTx/>
              <a:buFont typeface="Arial" panose="020B0604020202020204" pitchFamily="34" charset="0"/>
              <a:buChar char="•"/>
              <a:tabLst/>
            </a:pPr>
            <a:r>
              <a:rPr lang="en-GB" sz="1000" dirty="0">
                <a:latin typeface="Trebuchet MS" pitchFamily="34" charset="0"/>
              </a:rPr>
              <a:t>The law is requiring these businesses to set-up an </a:t>
            </a:r>
            <a:r>
              <a:rPr lang="en-GB" sz="1000" dirty="0">
                <a:solidFill>
                  <a:schemeClr val="tx2"/>
                </a:solidFill>
                <a:latin typeface="Trebuchet MS" pitchFamily="34" charset="0"/>
              </a:rPr>
              <a:t>anti-corruption plan based on 8 pillars</a:t>
            </a:r>
          </a:p>
          <a:p>
            <a:pPr marL="171450" marR="0" indent="-171450" defTabSz="914400" rtl="0" eaLnBrk="1" fontAlgn="base" latinLnBrk="0" hangingPunct="1">
              <a:lnSpc>
                <a:spcPct val="100000"/>
              </a:lnSpc>
              <a:spcBef>
                <a:spcPct val="0"/>
              </a:spcBef>
              <a:spcAft>
                <a:spcPts val="200"/>
              </a:spcAft>
              <a:buClrTx/>
              <a:buSzTx/>
              <a:buFont typeface="Arial" panose="020B0604020202020204" pitchFamily="34" charset="0"/>
              <a:buChar char="•"/>
              <a:tabLst/>
            </a:pPr>
            <a:r>
              <a:rPr lang="en-GB" sz="1000" dirty="0">
                <a:latin typeface="Trebuchet MS" panose="020B0603020202020204" pitchFamily="34" charset="0"/>
              </a:rPr>
              <a:t>Therefore, large corporates must now perform a diligent identification of UBOs and PEPs for each one of their peers, every time they sign a new contract, and maintain these information regularly throughout the commercial relationship</a:t>
            </a:r>
          </a:p>
        </p:txBody>
      </p:sp>
      <p:cxnSp>
        <p:nvCxnSpPr>
          <p:cNvPr id="93" name="Connecteur droit 92">
            <a:extLst>
              <a:ext uri="{FF2B5EF4-FFF2-40B4-BE49-F238E27FC236}">
                <a16:creationId xmlns:a16="http://schemas.microsoft.com/office/drawing/2014/main" id="{B79D19E5-2DE7-4655-8753-C42B749F50B0}"/>
              </a:ext>
            </a:extLst>
          </p:cNvPr>
          <p:cNvCxnSpPr>
            <a:cxnSpLocks/>
          </p:cNvCxnSpPr>
          <p:nvPr/>
        </p:nvCxnSpPr>
        <p:spPr bwMode="auto">
          <a:xfrm>
            <a:off x="178224" y="3649864"/>
            <a:ext cx="451164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94" name="ZoneTexte 93">
            <a:extLst>
              <a:ext uri="{FF2B5EF4-FFF2-40B4-BE49-F238E27FC236}">
                <a16:creationId xmlns:a16="http://schemas.microsoft.com/office/drawing/2014/main" id="{E2672835-D157-41D7-AD67-C5F73A387E09}"/>
              </a:ext>
            </a:extLst>
          </p:cNvPr>
          <p:cNvSpPr txBox="1"/>
          <p:nvPr/>
        </p:nvSpPr>
        <p:spPr>
          <a:xfrm>
            <a:off x="448623" y="3434607"/>
            <a:ext cx="3999056" cy="430887"/>
          </a:xfrm>
          <a:prstGeom prst="rect">
            <a:avLst/>
          </a:prstGeom>
          <a:solidFill>
            <a:schemeClr val="bg1"/>
          </a:solidFill>
        </p:spPr>
        <p:txBody>
          <a:bodyPr wrap="square" rtlCol="0">
            <a:spAutoFit/>
          </a:bodyPr>
          <a:lstStyle/>
          <a:p>
            <a:pPr algn="ctr"/>
            <a:r>
              <a:rPr lang="en-GB" sz="1100">
                <a:solidFill>
                  <a:schemeClr val="tx2"/>
                </a:solidFill>
                <a:latin typeface="Trebuchet MS" panose="020B0603020202020204" pitchFamily="34" charset="0"/>
              </a:rPr>
              <a:t>… and has put in place a significant penalty regime for non-compliant companies</a:t>
            </a:r>
          </a:p>
        </p:txBody>
      </p:sp>
      <p:sp>
        <p:nvSpPr>
          <p:cNvPr id="95" name="Rectangle 94">
            <a:extLst>
              <a:ext uri="{FF2B5EF4-FFF2-40B4-BE49-F238E27FC236}">
                <a16:creationId xmlns:a16="http://schemas.microsoft.com/office/drawing/2014/main" id="{45B50EDB-B8B0-40E3-8C93-6EBD15D25C17}"/>
              </a:ext>
            </a:extLst>
          </p:cNvPr>
          <p:cNvSpPr/>
          <p:nvPr/>
        </p:nvSpPr>
        <p:spPr bwMode="auto">
          <a:xfrm>
            <a:off x="272227" y="3865473"/>
            <a:ext cx="4505589" cy="1672920"/>
          </a:xfrm>
          <a:prstGeom prst="rect">
            <a:avLst/>
          </a:prstGeom>
          <a:solidFill>
            <a:srgbClr val="F2F2F2"/>
          </a:solidFill>
          <a:ln w="9525" cap="flat" cmpd="sng" algn="ctr">
            <a:no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marL="542925" marR="0" defTabSz="914400" rtl="0" eaLnBrk="1" fontAlgn="base" latinLnBrk="0" hangingPunct="1">
              <a:lnSpc>
                <a:spcPct val="100000"/>
              </a:lnSpc>
              <a:spcBef>
                <a:spcPct val="0"/>
              </a:spcBef>
              <a:spcAft>
                <a:spcPts val="200"/>
              </a:spcAft>
              <a:buClrTx/>
              <a:buSzTx/>
              <a:tabLst/>
            </a:pPr>
            <a:r>
              <a:rPr lang="en-GB" sz="1000">
                <a:latin typeface="Trebuchet MS" panose="020B0603020202020204" pitchFamily="34" charset="0"/>
              </a:rPr>
              <a:t>The </a:t>
            </a:r>
            <a:r>
              <a:rPr lang="en-GB" sz="1000">
                <a:solidFill>
                  <a:schemeClr val="tx2"/>
                </a:solidFill>
                <a:latin typeface="Trebuchet MS" panose="020B0603020202020204" pitchFamily="34" charset="0"/>
              </a:rPr>
              <a:t>French Anticorruption Agency </a:t>
            </a:r>
            <a:r>
              <a:rPr lang="en-GB" sz="1000">
                <a:latin typeface="Trebuchet MS" panose="020B0603020202020204" pitchFamily="34" charset="0"/>
              </a:rPr>
              <a:t>(“AFA”), created with the </a:t>
            </a:r>
            <a:r>
              <a:rPr lang="en-GB" sz="1000" err="1">
                <a:latin typeface="Trebuchet MS" panose="020B0603020202020204" pitchFamily="34" charset="0"/>
              </a:rPr>
              <a:t>Sapin</a:t>
            </a:r>
            <a:r>
              <a:rPr lang="en-GB" sz="1000">
                <a:latin typeface="Trebuchet MS" panose="020B0603020202020204" pitchFamily="34" charset="0"/>
              </a:rPr>
              <a:t> II law, has started controlling companies from October 2017 (50 public companies and 50 private per year), and asks for: </a:t>
            </a:r>
          </a:p>
          <a:p>
            <a:pPr marL="355600" lvl="1" indent="-171450">
              <a:spcAft>
                <a:spcPts val="200"/>
              </a:spcAft>
              <a:buFont typeface="Courier New" panose="02070309020205020404" pitchFamily="49" charset="0"/>
              <a:buChar char="o"/>
            </a:pPr>
            <a:r>
              <a:rPr lang="en-GB" sz="1000">
                <a:latin typeface="Trebuchet MS" panose="020B0603020202020204" pitchFamily="34" charset="0"/>
              </a:rPr>
              <a:t>A list of </a:t>
            </a:r>
            <a:r>
              <a:rPr lang="en-GB" sz="1000">
                <a:solidFill>
                  <a:schemeClr val="tx2"/>
                </a:solidFill>
                <a:latin typeface="Trebuchet MS" panose="020B0603020202020204" pitchFamily="34" charset="0"/>
              </a:rPr>
              <a:t>legal documents </a:t>
            </a:r>
            <a:r>
              <a:rPr lang="en-GB" sz="1000">
                <a:latin typeface="Trebuchet MS" panose="020B0603020202020204" pitchFamily="34" charset="0"/>
              </a:rPr>
              <a:t>including charter, articles, </a:t>
            </a:r>
            <a:r>
              <a:rPr lang="en-GB" sz="1000" err="1">
                <a:latin typeface="Trebuchet MS" panose="020B0603020202020204" pitchFamily="34" charset="0"/>
              </a:rPr>
              <a:t>Kbis</a:t>
            </a:r>
            <a:r>
              <a:rPr lang="en-GB" sz="1000">
                <a:latin typeface="Trebuchet MS" panose="020B0603020202020204" pitchFamily="34" charset="0"/>
              </a:rPr>
              <a:t>, etc.</a:t>
            </a:r>
          </a:p>
          <a:p>
            <a:pPr marL="355600" lvl="1" indent="-171450">
              <a:spcAft>
                <a:spcPts val="200"/>
              </a:spcAft>
              <a:buFont typeface="Courier New" panose="02070309020205020404" pitchFamily="49" charset="0"/>
              <a:buChar char="o"/>
            </a:pPr>
            <a:r>
              <a:rPr lang="en-GB" sz="1000">
                <a:latin typeface="Trebuchet MS" panose="020B0603020202020204" pitchFamily="34" charset="0"/>
              </a:rPr>
              <a:t>A questionnaire of more than 150 questions about the ongoing initiatives aiming at fighting against corruption internally</a:t>
            </a:r>
          </a:p>
          <a:p>
            <a:pPr marL="355600" lvl="1" indent="-171450">
              <a:spcAft>
                <a:spcPts val="200"/>
              </a:spcAft>
              <a:buFont typeface="Courier New" panose="02070309020205020404" pitchFamily="49" charset="0"/>
              <a:buChar char="o"/>
            </a:pPr>
            <a:r>
              <a:rPr lang="en-GB" sz="1000">
                <a:latin typeface="Trebuchet MS" panose="020B0603020202020204" pitchFamily="34" charset="0"/>
              </a:rPr>
              <a:t>The corporate </a:t>
            </a:r>
            <a:r>
              <a:rPr lang="en-GB" sz="1000">
                <a:solidFill>
                  <a:schemeClr val="tx2"/>
                </a:solidFill>
                <a:latin typeface="Trebuchet MS" panose="020B0603020202020204" pitchFamily="34" charset="0"/>
              </a:rPr>
              <a:t>cartography of risk</a:t>
            </a:r>
          </a:p>
          <a:p>
            <a:pPr marL="355600" lvl="1" indent="-171450">
              <a:spcAft>
                <a:spcPts val="200"/>
              </a:spcAft>
              <a:buFont typeface="Courier New" panose="02070309020205020404" pitchFamily="49" charset="0"/>
              <a:buChar char="o"/>
            </a:pPr>
            <a:r>
              <a:rPr lang="en-GB" sz="1000">
                <a:latin typeface="Trebuchet MS" panose="020B0603020202020204" pitchFamily="34" charset="0"/>
              </a:rPr>
              <a:t>Their portfolio of clients to check if the KYC and KYS</a:t>
            </a:r>
            <a:r>
              <a:rPr lang="en-GB" sz="1000" baseline="30000">
                <a:latin typeface="Trebuchet MS" panose="020B0603020202020204" pitchFamily="34" charset="0"/>
              </a:rPr>
              <a:t>1</a:t>
            </a:r>
            <a:r>
              <a:rPr lang="en-GB" sz="1000">
                <a:latin typeface="Trebuchet MS" panose="020B0603020202020204" pitchFamily="34" charset="0"/>
              </a:rPr>
              <a:t> processes have been performed diligently</a:t>
            </a:r>
          </a:p>
        </p:txBody>
      </p:sp>
      <p:cxnSp>
        <p:nvCxnSpPr>
          <p:cNvPr id="114" name="Connecteur droit 113">
            <a:extLst>
              <a:ext uri="{FF2B5EF4-FFF2-40B4-BE49-F238E27FC236}">
                <a16:creationId xmlns:a16="http://schemas.microsoft.com/office/drawing/2014/main" id="{7A3B2A78-4533-4C32-802E-ED8685390B8E}"/>
              </a:ext>
            </a:extLst>
          </p:cNvPr>
          <p:cNvCxnSpPr>
            <a:cxnSpLocks/>
          </p:cNvCxnSpPr>
          <p:nvPr/>
        </p:nvCxnSpPr>
        <p:spPr bwMode="auto">
          <a:xfrm>
            <a:off x="5133467" y="1165303"/>
            <a:ext cx="451164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15" name="ZoneTexte 114">
            <a:extLst>
              <a:ext uri="{FF2B5EF4-FFF2-40B4-BE49-F238E27FC236}">
                <a16:creationId xmlns:a16="http://schemas.microsoft.com/office/drawing/2014/main" id="{DB2BD2CB-492C-45C3-B620-BCB3C3183109}"/>
              </a:ext>
            </a:extLst>
          </p:cNvPr>
          <p:cNvSpPr txBox="1"/>
          <p:nvPr/>
        </p:nvSpPr>
        <p:spPr>
          <a:xfrm>
            <a:off x="5407527" y="956821"/>
            <a:ext cx="3999056" cy="430887"/>
          </a:xfrm>
          <a:prstGeom prst="rect">
            <a:avLst/>
          </a:prstGeom>
          <a:solidFill>
            <a:schemeClr val="bg1"/>
          </a:solidFill>
        </p:spPr>
        <p:txBody>
          <a:bodyPr wrap="square" rtlCol="0">
            <a:spAutoFit/>
          </a:bodyPr>
          <a:lstStyle/>
          <a:p>
            <a:pPr algn="ctr"/>
            <a:r>
              <a:rPr lang="en-GB" sz="1100" err="1">
                <a:solidFill>
                  <a:schemeClr val="tx2"/>
                </a:solidFill>
                <a:latin typeface="Trebuchet MS" panose="020B0603020202020204" pitchFamily="34" charset="0"/>
              </a:rPr>
              <a:t>Sapin</a:t>
            </a:r>
            <a:r>
              <a:rPr lang="en-GB" sz="1100">
                <a:solidFill>
                  <a:schemeClr val="tx2"/>
                </a:solidFill>
                <a:latin typeface="Trebuchet MS" panose="020B0603020202020204" pitchFamily="34" charset="0"/>
              </a:rPr>
              <a:t> II law’s eight pillars provide a regulatory framework to the fight against corruption</a:t>
            </a:r>
          </a:p>
        </p:txBody>
      </p:sp>
      <p:sp>
        <p:nvSpPr>
          <p:cNvPr id="116" name="Rectangle 115">
            <a:extLst>
              <a:ext uri="{FF2B5EF4-FFF2-40B4-BE49-F238E27FC236}">
                <a16:creationId xmlns:a16="http://schemas.microsoft.com/office/drawing/2014/main" id="{2D77EBD7-2543-49C6-B83B-32DB425BC33B}"/>
              </a:ext>
            </a:extLst>
          </p:cNvPr>
          <p:cNvSpPr/>
          <p:nvPr/>
        </p:nvSpPr>
        <p:spPr bwMode="auto">
          <a:xfrm>
            <a:off x="5663628" y="1499007"/>
            <a:ext cx="3999057" cy="4356090"/>
          </a:xfrm>
          <a:prstGeom prst="rect">
            <a:avLst/>
          </a:prstGeom>
          <a:noFill/>
          <a:ln w="9525" cap="flat" cmpd="sng" algn="ctr">
            <a:noFill/>
            <a:prstDash val="solid"/>
            <a:round/>
            <a:headEnd type="none" w="med" len="med"/>
            <a:tailEnd type="none" w="med" len="med"/>
          </a:ln>
          <a:effectLst/>
        </p:spPr>
        <p:txBody>
          <a:bodyPr vert="horz" wrap="square" lIns="91440" tIns="36000" rIns="91440" bIns="45720" numCol="1" rtlCol="0" anchor="ctr" anchorCtr="0" compatLnSpc="1">
            <a:prstTxWarp prst="textNoShape">
              <a:avLst/>
            </a:prstTxWarp>
          </a:bodyPr>
          <a:lstStyle/>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r>
              <a:rPr lang="en-GB" sz="1000">
                <a:solidFill>
                  <a:schemeClr val="tx2"/>
                </a:solidFill>
                <a:latin typeface="Trebuchet MS" panose="020B0603020202020204" pitchFamily="34" charset="0"/>
              </a:rPr>
              <a:t>Elaboration</a:t>
            </a:r>
            <a:r>
              <a:rPr lang="en-GB" sz="1000">
                <a:latin typeface="Trebuchet MS" panose="020B0603020202020204" pitchFamily="34" charset="0"/>
              </a:rPr>
              <a:t> and </a:t>
            </a:r>
            <a:r>
              <a:rPr lang="en-GB" sz="1000">
                <a:solidFill>
                  <a:schemeClr val="tx2"/>
                </a:solidFill>
                <a:latin typeface="Trebuchet MS" panose="020B0603020202020204" pitchFamily="34" charset="0"/>
              </a:rPr>
              <a:t>adoption</a:t>
            </a:r>
            <a:r>
              <a:rPr lang="en-GB" sz="1000">
                <a:latin typeface="Trebuchet MS" panose="020B0603020202020204" pitchFamily="34" charset="0"/>
              </a:rPr>
              <a:t> of a </a:t>
            </a:r>
            <a:r>
              <a:rPr lang="en-GB" sz="1000">
                <a:solidFill>
                  <a:schemeClr val="tx2"/>
                </a:solidFill>
                <a:latin typeface="Trebuchet MS" panose="020B0603020202020204" pitchFamily="34" charset="0"/>
              </a:rPr>
              <a:t>code</a:t>
            </a:r>
            <a:r>
              <a:rPr lang="en-GB" sz="1000">
                <a:latin typeface="Trebuchet MS" panose="020B0603020202020204" pitchFamily="34" charset="0"/>
              </a:rPr>
              <a:t> </a:t>
            </a:r>
            <a:r>
              <a:rPr lang="en-GB" sz="1000">
                <a:solidFill>
                  <a:schemeClr val="tx2"/>
                </a:solidFill>
                <a:latin typeface="Trebuchet MS" panose="020B0603020202020204" pitchFamily="34" charset="0"/>
              </a:rPr>
              <a:t>of</a:t>
            </a:r>
            <a:r>
              <a:rPr lang="en-GB" sz="1000">
                <a:latin typeface="Trebuchet MS" panose="020B0603020202020204" pitchFamily="34" charset="0"/>
              </a:rPr>
              <a:t> </a:t>
            </a:r>
            <a:r>
              <a:rPr lang="en-GB" sz="1000">
                <a:solidFill>
                  <a:schemeClr val="tx2"/>
                </a:solidFill>
                <a:latin typeface="Trebuchet MS" panose="020B0603020202020204" pitchFamily="34" charset="0"/>
              </a:rPr>
              <a:t>conduct</a:t>
            </a:r>
            <a:r>
              <a:rPr lang="en-GB" sz="1000">
                <a:latin typeface="Trebuchet MS" panose="020B0603020202020204" pitchFamily="34" charset="0"/>
              </a:rPr>
              <a:t> defining and illustrating the different types of </a:t>
            </a:r>
            <a:r>
              <a:rPr lang="en-GB" sz="1000" err="1">
                <a:latin typeface="Trebuchet MS" panose="020B0603020202020204" pitchFamily="34" charset="0"/>
              </a:rPr>
              <a:t>behavior</a:t>
            </a:r>
            <a:r>
              <a:rPr lang="en-GB" sz="1000">
                <a:latin typeface="Trebuchet MS" pitchFamily="34" charset="0"/>
              </a:rPr>
              <a:t> likely to characterize acts of corruption or influence peddling</a:t>
            </a: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endParaRPr lang="en-GB" sz="1000">
              <a:latin typeface="Trebuchet MS" pitchFamily="34" charset="0"/>
            </a:endParaRP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r>
              <a:rPr lang="en-GB" sz="1000">
                <a:solidFill>
                  <a:schemeClr val="tx2"/>
                </a:solidFill>
                <a:latin typeface="Trebuchet MS" panose="020B0603020202020204" pitchFamily="34" charset="0"/>
              </a:rPr>
              <a:t>Implementation</a:t>
            </a:r>
            <a:r>
              <a:rPr lang="en-GB" sz="1000">
                <a:latin typeface="Trebuchet MS" panose="020B0603020202020204" pitchFamily="34" charset="0"/>
              </a:rPr>
              <a:t> of an internal </a:t>
            </a:r>
            <a:r>
              <a:rPr lang="en-GB" sz="1000">
                <a:solidFill>
                  <a:schemeClr val="tx2"/>
                </a:solidFill>
                <a:latin typeface="Trebuchet MS" panose="020B0603020202020204" pitchFamily="34" charset="0"/>
              </a:rPr>
              <a:t>alert</a:t>
            </a:r>
            <a:r>
              <a:rPr lang="en-GB" sz="1000">
                <a:latin typeface="Trebuchet MS" panose="020B0603020202020204" pitchFamily="34" charset="0"/>
              </a:rPr>
              <a:t> </a:t>
            </a:r>
            <a:r>
              <a:rPr lang="en-GB" sz="1000">
                <a:solidFill>
                  <a:schemeClr val="tx2"/>
                </a:solidFill>
                <a:latin typeface="Trebuchet MS" pitchFamily="34" charset="0"/>
              </a:rPr>
              <a:t>system</a:t>
            </a: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endParaRPr lang="en-GB" sz="1000">
              <a:solidFill>
                <a:schemeClr val="tx2"/>
              </a:solidFill>
              <a:latin typeface="Trebuchet MS" pitchFamily="34" charset="0"/>
            </a:endParaRP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r>
              <a:rPr lang="en-GB" sz="1000">
                <a:solidFill>
                  <a:schemeClr val="tx2"/>
                </a:solidFill>
                <a:latin typeface="Trebuchet MS" pitchFamily="34" charset="0"/>
              </a:rPr>
              <a:t>Define</a:t>
            </a:r>
            <a:r>
              <a:rPr lang="en-GB" sz="1000">
                <a:latin typeface="Trebuchet MS" panose="020B0603020202020204" pitchFamily="34" charset="0"/>
              </a:rPr>
              <a:t> a </a:t>
            </a:r>
            <a:r>
              <a:rPr lang="en-GB" sz="1000">
                <a:solidFill>
                  <a:schemeClr val="tx2"/>
                </a:solidFill>
                <a:latin typeface="Trebuchet MS" panose="020B0603020202020204" pitchFamily="34" charset="0"/>
              </a:rPr>
              <a:t>risk</a:t>
            </a:r>
            <a:r>
              <a:rPr lang="en-GB" sz="1000">
                <a:latin typeface="Trebuchet MS" panose="020B0603020202020204" pitchFamily="34" charset="0"/>
              </a:rPr>
              <a:t> </a:t>
            </a:r>
            <a:r>
              <a:rPr lang="en-GB" sz="1000">
                <a:solidFill>
                  <a:schemeClr val="tx2"/>
                </a:solidFill>
                <a:latin typeface="Trebuchet MS" panose="020B0603020202020204" pitchFamily="34" charset="0"/>
              </a:rPr>
              <a:t>mapping</a:t>
            </a:r>
            <a:r>
              <a:rPr lang="en-GB" sz="1000">
                <a:latin typeface="Trebuchet MS" panose="020B0603020202020204" pitchFamily="34" charset="0"/>
              </a:rPr>
              <a:t> designed to identify, </a:t>
            </a:r>
            <a:r>
              <a:rPr lang="en-GB" sz="1000" err="1">
                <a:latin typeface="Trebuchet MS" panose="020B0603020202020204" pitchFamily="34" charset="0"/>
              </a:rPr>
              <a:t>analyze</a:t>
            </a:r>
            <a:r>
              <a:rPr lang="en-GB" sz="1000">
                <a:latin typeface="Trebuchet MS" panose="020B0603020202020204" pitchFamily="34" charset="0"/>
              </a:rPr>
              <a:t> and prioritize exposure risks according to business sectors and geographical areas</a:t>
            </a: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endParaRPr lang="en-GB" sz="1000">
              <a:latin typeface="Trebuchet MS" panose="020B0603020202020204" pitchFamily="34" charset="0"/>
            </a:endParaRP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r>
              <a:rPr lang="en-GB" sz="1000">
                <a:solidFill>
                  <a:schemeClr val="tx2"/>
                </a:solidFill>
                <a:latin typeface="Trebuchet MS" panose="020B0603020202020204" pitchFamily="34" charset="0"/>
              </a:rPr>
              <a:t>Implementation</a:t>
            </a:r>
            <a:r>
              <a:rPr lang="en-GB" sz="1000">
                <a:latin typeface="Trebuchet MS" panose="020B0603020202020204" pitchFamily="34" charset="0"/>
              </a:rPr>
              <a:t> of </a:t>
            </a:r>
            <a:r>
              <a:rPr lang="en-GB" sz="1000">
                <a:solidFill>
                  <a:schemeClr val="tx2"/>
                </a:solidFill>
                <a:latin typeface="Trebuchet MS" panose="020B0603020202020204" pitchFamily="34" charset="0"/>
              </a:rPr>
              <a:t>procedures</a:t>
            </a:r>
            <a:r>
              <a:rPr lang="en-GB" sz="1000">
                <a:latin typeface="Trebuchet MS" panose="020B0603020202020204" pitchFamily="34" charset="0"/>
              </a:rPr>
              <a:t> for </a:t>
            </a:r>
            <a:r>
              <a:rPr lang="en-GB" sz="1000">
                <a:solidFill>
                  <a:schemeClr val="tx2"/>
                </a:solidFill>
                <a:latin typeface="Trebuchet MS" panose="020B0603020202020204" pitchFamily="34" charset="0"/>
              </a:rPr>
              <a:t>assessing</a:t>
            </a:r>
            <a:r>
              <a:rPr lang="en-GB" sz="1000">
                <a:latin typeface="Trebuchet MS" panose="020B0603020202020204" pitchFamily="34" charset="0"/>
              </a:rPr>
              <a:t> the situation of </a:t>
            </a:r>
            <a:r>
              <a:rPr lang="en-GB" sz="1000">
                <a:solidFill>
                  <a:schemeClr val="tx2"/>
                </a:solidFill>
                <a:latin typeface="Trebuchet MS" panose="020B0603020202020204" pitchFamily="34" charset="0"/>
              </a:rPr>
              <a:t>customers</a:t>
            </a:r>
            <a:r>
              <a:rPr lang="en-GB" sz="1000">
                <a:latin typeface="Trebuchet MS" panose="020B0603020202020204" pitchFamily="34" charset="0"/>
              </a:rPr>
              <a:t>, first-tier </a:t>
            </a:r>
            <a:r>
              <a:rPr lang="en-GB" sz="1000">
                <a:solidFill>
                  <a:schemeClr val="tx2"/>
                </a:solidFill>
                <a:latin typeface="Trebuchet MS" panose="020B0603020202020204" pitchFamily="34" charset="0"/>
              </a:rPr>
              <a:t>suppliers</a:t>
            </a:r>
            <a:r>
              <a:rPr lang="en-GB" sz="1000">
                <a:latin typeface="Trebuchet MS" panose="020B0603020202020204" pitchFamily="34" charset="0"/>
              </a:rPr>
              <a:t> and </a:t>
            </a:r>
            <a:r>
              <a:rPr lang="en-GB" sz="1000">
                <a:solidFill>
                  <a:schemeClr val="tx2"/>
                </a:solidFill>
                <a:latin typeface="Trebuchet MS" panose="020B0603020202020204" pitchFamily="34" charset="0"/>
              </a:rPr>
              <a:t>intermediaries</a:t>
            </a:r>
            <a:r>
              <a:rPr lang="en-GB" sz="1000">
                <a:latin typeface="Trebuchet MS" pitchFamily="34" charset="0"/>
              </a:rPr>
              <a:t> with regards to risk mapping</a:t>
            </a: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endParaRPr lang="en-GB" sz="1000">
              <a:latin typeface="Trebuchet MS" pitchFamily="34" charset="0"/>
            </a:endParaRP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r>
              <a:rPr lang="en-GB" sz="1000">
                <a:solidFill>
                  <a:schemeClr val="tx2"/>
                </a:solidFill>
                <a:latin typeface="Trebuchet MS" panose="020B0603020202020204" pitchFamily="34" charset="0"/>
              </a:rPr>
              <a:t>Implementation</a:t>
            </a:r>
            <a:r>
              <a:rPr lang="en-GB" sz="1000">
                <a:latin typeface="Trebuchet MS" panose="020B0603020202020204" pitchFamily="34" charset="0"/>
              </a:rPr>
              <a:t> of accounting </a:t>
            </a:r>
            <a:r>
              <a:rPr lang="en-GB" sz="1000">
                <a:solidFill>
                  <a:schemeClr val="tx2"/>
                </a:solidFill>
                <a:latin typeface="Trebuchet MS" panose="020B0603020202020204" pitchFamily="34" charset="0"/>
              </a:rPr>
              <a:t>control</a:t>
            </a:r>
            <a:r>
              <a:rPr lang="en-GB" sz="1000">
                <a:latin typeface="Trebuchet MS" panose="020B0603020202020204" pitchFamily="34" charset="0"/>
              </a:rPr>
              <a:t> </a:t>
            </a:r>
            <a:r>
              <a:rPr lang="en-GB" sz="1000">
                <a:solidFill>
                  <a:schemeClr val="tx2"/>
                </a:solidFill>
                <a:latin typeface="Trebuchet MS" panose="020B0603020202020204" pitchFamily="34" charset="0"/>
              </a:rPr>
              <a:t>procedures</a:t>
            </a: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endParaRPr lang="en-GB" sz="1000">
              <a:latin typeface="Trebuchet MS" panose="020B0603020202020204" pitchFamily="34" charset="0"/>
            </a:endParaRP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r>
              <a:rPr lang="en-GB" sz="1000">
                <a:solidFill>
                  <a:schemeClr val="tx2"/>
                </a:solidFill>
                <a:latin typeface="Trebuchet MS" panose="020B0603020202020204" pitchFamily="34" charset="0"/>
              </a:rPr>
              <a:t>Development</a:t>
            </a:r>
            <a:r>
              <a:rPr lang="en-GB" sz="1000">
                <a:latin typeface="Trebuchet MS" panose="020B0603020202020204" pitchFamily="34" charset="0"/>
              </a:rPr>
              <a:t> of </a:t>
            </a:r>
            <a:r>
              <a:rPr lang="en-GB" sz="1000">
                <a:solidFill>
                  <a:schemeClr val="tx2"/>
                </a:solidFill>
                <a:latin typeface="Trebuchet MS" panose="020B0603020202020204" pitchFamily="34" charset="0"/>
              </a:rPr>
              <a:t>training</a:t>
            </a:r>
            <a:r>
              <a:rPr lang="en-GB" sz="1000">
                <a:latin typeface="Trebuchet MS" panose="020B0603020202020204" pitchFamily="34" charset="0"/>
              </a:rPr>
              <a:t> </a:t>
            </a:r>
            <a:r>
              <a:rPr lang="en-GB" sz="1000">
                <a:solidFill>
                  <a:schemeClr val="tx2"/>
                </a:solidFill>
                <a:latin typeface="Trebuchet MS" panose="020B0603020202020204" pitchFamily="34" charset="0"/>
              </a:rPr>
              <a:t>systems</a:t>
            </a:r>
            <a:r>
              <a:rPr lang="en-GB" sz="1000">
                <a:latin typeface="Trebuchet MS" panose="020B0603020202020204" pitchFamily="34" charset="0"/>
              </a:rPr>
              <a:t> for the c-levels, managers and the personnel most exposed to the risks of corruption and influence peddling</a:t>
            </a: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endParaRPr lang="en-GB" sz="1000">
              <a:solidFill>
                <a:schemeClr val="tx2"/>
              </a:solidFill>
              <a:latin typeface="Trebuchet MS" pitchFamily="34" charset="0"/>
            </a:endParaRP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r>
              <a:rPr lang="en-GB" sz="1000">
                <a:solidFill>
                  <a:schemeClr val="tx2"/>
                </a:solidFill>
                <a:latin typeface="Trebuchet MS" pitchFamily="34" charset="0"/>
              </a:rPr>
              <a:t>Implementation</a:t>
            </a:r>
            <a:r>
              <a:rPr lang="en-GB" sz="1000">
                <a:latin typeface="Trebuchet MS" panose="020B0603020202020204" pitchFamily="34" charset="0"/>
              </a:rPr>
              <a:t> of a </a:t>
            </a:r>
            <a:r>
              <a:rPr lang="en-GB" sz="1000">
                <a:solidFill>
                  <a:schemeClr val="tx2"/>
                </a:solidFill>
                <a:latin typeface="Trebuchet MS" panose="020B0603020202020204" pitchFamily="34" charset="0"/>
              </a:rPr>
              <a:t>disciplinary</a:t>
            </a:r>
            <a:r>
              <a:rPr lang="en-GB" sz="1000">
                <a:latin typeface="Trebuchet MS" panose="020B0603020202020204" pitchFamily="34" charset="0"/>
              </a:rPr>
              <a:t> </a:t>
            </a:r>
            <a:r>
              <a:rPr lang="en-GB" sz="1000">
                <a:solidFill>
                  <a:schemeClr val="tx2"/>
                </a:solidFill>
                <a:latin typeface="Trebuchet MS" panose="020B0603020202020204" pitchFamily="34" charset="0"/>
              </a:rPr>
              <a:t>system</a:t>
            </a:r>
            <a:r>
              <a:rPr lang="en-GB" sz="1000">
                <a:latin typeface="Trebuchet MS" pitchFamily="34" charset="0"/>
              </a:rPr>
              <a:t> for sanctioning employees in the event of violation of the company’s code of conduct</a:t>
            </a: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endParaRPr lang="en-GB" sz="1000">
              <a:latin typeface="Trebuchet MS" pitchFamily="34" charset="0"/>
            </a:endParaRP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r>
              <a:rPr lang="en-GB" sz="1000">
                <a:solidFill>
                  <a:schemeClr val="tx2"/>
                </a:solidFill>
                <a:latin typeface="Trebuchet MS" panose="020B0603020202020204" pitchFamily="34" charset="0"/>
              </a:rPr>
              <a:t>Implementation</a:t>
            </a:r>
            <a:r>
              <a:rPr lang="en-GB" sz="1000">
                <a:latin typeface="Trebuchet MS" panose="020B0603020202020204" pitchFamily="34" charset="0"/>
              </a:rPr>
              <a:t> of a </a:t>
            </a:r>
            <a:r>
              <a:rPr lang="en-GB" sz="1000">
                <a:solidFill>
                  <a:schemeClr val="tx2"/>
                </a:solidFill>
                <a:latin typeface="Trebuchet MS" panose="020B0603020202020204" pitchFamily="34" charset="0"/>
              </a:rPr>
              <a:t>control</a:t>
            </a:r>
            <a:r>
              <a:rPr lang="en-GB" sz="1000">
                <a:latin typeface="Trebuchet MS" panose="020B0603020202020204" pitchFamily="34" charset="0"/>
              </a:rPr>
              <a:t> and </a:t>
            </a:r>
            <a:r>
              <a:rPr lang="en-GB" sz="1000">
                <a:solidFill>
                  <a:schemeClr val="tx2"/>
                </a:solidFill>
                <a:latin typeface="Trebuchet MS" panose="020B0603020202020204" pitchFamily="34" charset="0"/>
              </a:rPr>
              <a:t>evaluation</a:t>
            </a:r>
            <a:r>
              <a:rPr lang="en-GB" sz="1000">
                <a:latin typeface="Trebuchet MS" panose="020B0603020202020204" pitchFamily="34" charset="0"/>
              </a:rPr>
              <a:t> system for the implemented </a:t>
            </a:r>
            <a:r>
              <a:rPr lang="en-GB" sz="1000">
                <a:solidFill>
                  <a:schemeClr val="tx2"/>
                </a:solidFill>
                <a:latin typeface="Trebuchet MS" pitchFamily="34" charset="0"/>
              </a:rPr>
              <a:t>measures</a:t>
            </a:r>
          </a:p>
          <a:p>
            <a:pPr marL="228600" marR="0" indent="-228600" algn="r" defTabSz="914400" rtl="0" eaLnBrk="1" fontAlgn="base" latinLnBrk="0" hangingPunct="1">
              <a:lnSpc>
                <a:spcPct val="100000"/>
              </a:lnSpc>
              <a:spcBef>
                <a:spcPct val="0"/>
              </a:spcBef>
              <a:spcAft>
                <a:spcPts val="200"/>
              </a:spcAft>
              <a:buClr>
                <a:schemeClr val="tx2"/>
              </a:buClr>
              <a:buSzPct val="150000"/>
              <a:buFont typeface="+mj-lt"/>
              <a:buAutoNum type="arabicPeriod"/>
              <a:tabLst/>
            </a:pPr>
            <a:endParaRPr lang="en-GB" sz="1000">
              <a:solidFill>
                <a:schemeClr val="tx2"/>
              </a:solidFill>
              <a:latin typeface="Trebuchet MS" pitchFamily="34" charset="0"/>
            </a:endParaRPr>
          </a:p>
        </p:txBody>
      </p:sp>
      <p:sp>
        <p:nvSpPr>
          <p:cNvPr id="8" name="Rectangle 7">
            <a:extLst>
              <a:ext uri="{FF2B5EF4-FFF2-40B4-BE49-F238E27FC236}">
                <a16:creationId xmlns:a16="http://schemas.microsoft.com/office/drawing/2014/main" id="{ACB05554-3708-48DA-94CF-5697D8CF0224}"/>
              </a:ext>
            </a:extLst>
          </p:cNvPr>
          <p:cNvSpPr/>
          <p:nvPr/>
        </p:nvSpPr>
        <p:spPr bwMode="auto">
          <a:xfrm>
            <a:off x="5663628" y="3073561"/>
            <a:ext cx="3921416" cy="517930"/>
          </a:xfrm>
          <a:prstGeom prst="rect">
            <a:avLst/>
          </a:prstGeom>
          <a:noFill/>
          <a:ln w="19050" cap="flat" cmpd="sng" algn="ctr">
            <a:solidFill>
              <a:schemeClr val="accent2">
                <a:lumMod val="50000"/>
              </a:schemeClr>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9" name="Rectangle 118">
            <a:extLst>
              <a:ext uri="{FF2B5EF4-FFF2-40B4-BE49-F238E27FC236}">
                <a16:creationId xmlns:a16="http://schemas.microsoft.com/office/drawing/2014/main" id="{DD1F7526-9ACB-481A-A424-3A7D417E5889}"/>
              </a:ext>
            </a:extLst>
          </p:cNvPr>
          <p:cNvSpPr/>
          <p:nvPr/>
        </p:nvSpPr>
        <p:spPr bwMode="auto">
          <a:xfrm>
            <a:off x="6097534" y="6626260"/>
            <a:ext cx="312839" cy="152330"/>
          </a:xfrm>
          <a:prstGeom prst="rect">
            <a:avLst/>
          </a:prstGeom>
          <a:noFill/>
          <a:ln w="19050" cap="flat" cmpd="sng" algn="ctr">
            <a:solidFill>
              <a:schemeClr val="accent2">
                <a:lumMod val="50000"/>
              </a:schemeClr>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0" name="Espace réservé du texte 2">
            <a:extLst>
              <a:ext uri="{FF2B5EF4-FFF2-40B4-BE49-F238E27FC236}">
                <a16:creationId xmlns:a16="http://schemas.microsoft.com/office/drawing/2014/main" id="{20F7CBB8-D0FC-4D3E-A69E-1E08DA071689}"/>
              </a:ext>
            </a:extLst>
          </p:cNvPr>
          <p:cNvSpPr txBox="1">
            <a:spLocks/>
          </p:cNvSpPr>
          <p:nvPr/>
        </p:nvSpPr>
        <p:spPr>
          <a:xfrm>
            <a:off x="6509188" y="6580025"/>
            <a:ext cx="1453712" cy="244800"/>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GB" dirty="0"/>
              <a:t>Perimeter addressed by </a:t>
            </a:r>
            <a:r>
              <a:rPr lang="en-GB" dirty="0" err="1"/>
              <a:t>Altares</a:t>
            </a:r>
            <a:r>
              <a:rPr lang="en-GB" dirty="0"/>
              <a:t> offerings and services</a:t>
            </a:r>
          </a:p>
        </p:txBody>
      </p:sp>
      <p:grpSp>
        <p:nvGrpSpPr>
          <p:cNvPr id="31" name="Groupe 30">
            <a:extLst>
              <a:ext uri="{FF2B5EF4-FFF2-40B4-BE49-F238E27FC236}">
                <a16:creationId xmlns:a16="http://schemas.microsoft.com/office/drawing/2014/main" id="{08A7E298-05CD-4AED-B7A6-770A41208FFF}"/>
              </a:ext>
            </a:extLst>
          </p:cNvPr>
          <p:cNvGrpSpPr/>
          <p:nvPr/>
        </p:nvGrpSpPr>
        <p:grpSpPr>
          <a:xfrm>
            <a:off x="8448150" y="-11528"/>
            <a:ext cx="1435548" cy="588143"/>
            <a:chOff x="8448150" y="-11528"/>
            <a:chExt cx="1435548" cy="588143"/>
          </a:xfrm>
        </p:grpSpPr>
        <p:grpSp>
          <p:nvGrpSpPr>
            <p:cNvPr id="32" name="Groupe 31">
              <a:extLst>
                <a:ext uri="{FF2B5EF4-FFF2-40B4-BE49-F238E27FC236}">
                  <a16:creationId xmlns:a16="http://schemas.microsoft.com/office/drawing/2014/main" id="{26EB14AA-8545-474F-A671-64E60B0AA19B}"/>
                </a:ext>
              </a:extLst>
            </p:cNvPr>
            <p:cNvGrpSpPr/>
            <p:nvPr/>
          </p:nvGrpSpPr>
          <p:grpSpPr>
            <a:xfrm>
              <a:off x="8448150" y="-11528"/>
              <a:ext cx="1435548" cy="451904"/>
              <a:chOff x="8448150" y="-11528"/>
              <a:chExt cx="1435548" cy="451904"/>
            </a:xfrm>
          </p:grpSpPr>
          <p:sp>
            <p:nvSpPr>
              <p:cNvPr id="34" name="Rectangle : coins arrondis 199">
                <a:extLst>
                  <a:ext uri="{FF2B5EF4-FFF2-40B4-BE49-F238E27FC236}">
                    <a16:creationId xmlns:a16="http://schemas.microsoft.com/office/drawing/2014/main" id="{51FCC616-C15B-4A3B-A096-745FD6763016}"/>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5" name="Rectangle : coins arrondis 200">
                <a:extLst>
                  <a:ext uri="{FF2B5EF4-FFF2-40B4-BE49-F238E27FC236}">
                    <a16:creationId xmlns:a16="http://schemas.microsoft.com/office/drawing/2014/main" id="{56BB9412-782D-4380-AEFA-232D451CE4D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6" name="Rectangle : coins arrondis 201">
                <a:extLst>
                  <a:ext uri="{FF2B5EF4-FFF2-40B4-BE49-F238E27FC236}">
                    <a16:creationId xmlns:a16="http://schemas.microsoft.com/office/drawing/2014/main" id="{E75A137A-9430-445E-B599-3201899F867B}"/>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7" name="ZoneTexte 18">
                <a:extLst>
                  <a:ext uri="{FF2B5EF4-FFF2-40B4-BE49-F238E27FC236}">
                    <a16:creationId xmlns:a16="http://schemas.microsoft.com/office/drawing/2014/main" id="{B8DA572F-2B41-4A4A-B618-02C5BD679570}"/>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38" name="Graphique 128" descr="Jauge">
                <a:extLst>
                  <a:ext uri="{FF2B5EF4-FFF2-40B4-BE49-F238E27FC236}">
                    <a16:creationId xmlns:a16="http://schemas.microsoft.com/office/drawing/2014/main" id="{EF0F8BFF-BEA3-4219-8123-EB11F295A89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39" name="Graphique 90" descr="Poignée de main">
                <a:extLst>
                  <a:ext uri="{FF2B5EF4-FFF2-40B4-BE49-F238E27FC236}">
                    <a16:creationId xmlns:a16="http://schemas.microsoft.com/office/drawing/2014/main" id="{C442824F-5C1F-446D-94EE-A132C4EC8EC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40" name="Graphique 74" descr="Mégaphone">
                <a:extLst>
                  <a:ext uri="{FF2B5EF4-FFF2-40B4-BE49-F238E27FC236}">
                    <a16:creationId xmlns:a16="http://schemas.microsoft.com/office/drawing/2014/main" id="{2DB2E63E-FEC8-4BEF-A3CA-7077F49BAB3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41" name="Picture 2" descr="Drapeau France">
                <a:extLst>
                  <a:ext uri="{FF2B5EF4-FFF2-40B4-BE49-F238E27FC236}">
                    <a16:creationId xmlns:a16="http://schemas.microsoft.com/office/drawing/2014/main" id="{B8F695DF-C4AC-413E-8167-614BA79AAC57}"/>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33" name="ZoneTexte 18">
              <a:extLst>
                <a:ext uri="{FF2B5EF4-FFF2-40B4-BE49-F238E27FC236}">
                  <a16:creationId xmlns:a16="http://schemas.microsoft.com/office/drawing/2014/main" id="{AADFA459-0814-4143-82E2-EC1EED0B31E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grpSp>
        <p:nvGrpSpPr>
          <p:cNvPr id="10" name="Groupe 9">
            <a:extLst>
              <a:ext uri="{FF2B5EF4-FFF2-40B4-BE49-F238E27FC236}">
                <a16:creationId xmlns:a16="http://schemas.microsoft.com/office/drawing/2014/main" id="{D0BCA056-C04A-4512-B451-4423451AE658}"/>
              </a:ext>
            </a:extLst>
          </p:cNvPr>
          <p:cNvGrpSpPr/>
          <p:nvPr/>
        </p:nvGrpSpPr>
        <p:grpSpPr>
          <a:xfrm>
            <a:off x="4991156" y="1294779"/>
            <a:ext cx="650570" cy="4487460"/>
            <a:chOff x="4868148" y="1374897"/>
            <a:chExt cx="650570" cy="4819531"/>
          </a:xfrm>
        </p:grpSpPr>
        <p:pic>
          <p:nvPicPr>
            <p:cNvPr id="7" name="Graphique 6">
              <a:extLst>
                <a:ext uri="{FF2B5EF4-FFF2-40B4-BE49-F238E27FC236}">
                  <a16:creationId xmlns:a16="http://schemas.microsoft.com/office/drawing/2014/main" id="{15E0C893-BBDB-4101-8397-CCB00BE23D5E}"/>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15889"/>
            <a:stretch/>
          </p:blipFill>
          <p:spPr>
            <a:xfrm>
              <a:off x="4868148" y="1374897"/>
              <a:ext cx="650570" cy="732253"/>
            </a:xfrm>
            <a:prstGeom prst="rect">
              <a:avLst/>
            </a:prstGeom>
          </p:spPr>
        </p:pic>
        <p:pic>
          <p:nvPicPr>
            <p:cNvPr id="45" name="Graphique 44">
              <a:extLst>
                <a:ext uri="{FF2B5EF4-FFF2-40B4-BE49-F238E27FC236}">
                  <a16:creationId xmlns:a16="http://schemas.microsoft.com/office/drawing/2014/main" id="{D128072A-BAA0-49FC-822B-582BDCC44548}"/>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t="41747" b="28150"/>
            <a:stretch/>
          </p:blipFill>
          <p:spPr>
            <a:xfrm>
              <a:off x="4868148" y="2005013"/>
              <a:ext cx="650570" cy="3633159"/>
            </a:xfrm>
            <a:prstGeom prst="rect">
              <a:avLst/>
            </a:prstGeom>
          </p:spPr>
        </p:pic>
        <p:pic>
          <p:nvPicPr>
            <p:cNvPr id="46" name="Graphique 45">
              <a:extLst>
                <a:ext uri="{FF2B5EF4-FFF2-40B4-BE49-F238E27FC236}">
                  <a16:creationId xmlns:a16="http://schemas.microsoft.com/office/drawing/2014/main" id="{A400AC45-8A44-4E10-B6C9-C49D91A135C7}"/>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15889"/>
            <a:stretch/>
          </p:blipFill>
          <p:spPr>
            <a:xfrm rot="10800000">
              <a:off x="4868148" y="5510428"/>
              <a:ext cx="650570" cy="684000"/>
            </a:xfrm>
            <a:prstGeom prst="rect">
              <a:avLst/>
            </a:prstGeom>
          </p:spPr>
        </p:pic>
      </p:grpSp>
      <p:sp>
        <p:nvSpPr>
          <p:cNvPr id="47" name="Speech Bubble: Rectangle 99">
            <a:extLst>
              <a:ext uri="{FF2B5EF4-FFF2-40B4-BE49-F238E27FC236}">
                <a16:creationId xmlns:a16="http://schemas.microsoft.com/office/drawing/2014/main" id="{242034A2-E0C7-432B-8EE4-45C40E31AFA4}"/>
              </a:ext>
            </a:extLst>
          </p:cNvPr>
          <p:cNvSpPr/>
          <p:nvPr/>
        </p:nvSpPr>
        <p:spPr bwMode="auto">
          <a:xfrm>
            <a:off x="5641726" y="2923617"/>
            <a:ext cx="3146991" cy="149943"/>
          </a:xfrm>
          <a:prstGeom prst="wedgeRectCallout">
            <a:avLst>
              <a:gd name="adj1" fmla="val 28195"/>
              <a:gd name="adj2" fmla="val 34636"/>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accent1">
                    <a:lumMod val="75000"/>
                  </a:schemeClr>
                </a:solidFill>
                <a:effectLst/>
                <a:latin typeface="Trebuchet MS" panose="020B0603020202020204" pitchFamily="34" charset="0"/>
              </a:rPr>
              <a:t>Pillar 4 is dependent on the implementation of Pillar 3</a:t>
            </a:r>
          </a:p>
        </p:txBody>
      </p:sp>
      <p:pic>
        <p:nvPicPr>
          <p:cNvPr id="15" name="Graphique 14" descr="Flèche : courbe dans le sens des aiguilles d’une montre">
            <a:extLst>
              <a:ext uri="{FF2B5EF4-FFF2-40B4-BE49-F238E27FC236}">
                <a16:creationId xmlns:a16="http://schemas.microsoft.com/office/drawing/2014/main" id="{983E972D-4D9A-45C4-A49A-A29A8CCC349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rot="11925937">
            <a:off x="5327909" y="2688494"/>
            <a:ext cx="516155" cy="516155"/>
          </a:xfrm>
          <a:prstGeom prst="rect">
            <a:avLst/>
          </a:prstGeom>
        </p:spPr>
      </p:pic>
      <p:sp>
        <p:nvSpPr>
          <p:cNvPr id="6" name="Parenthèse ouvrante 5">
            <a:extLst>
              <a:ext uri="{FF2B5EF4-FFF2-40B4-BE49-F238E27FC236}">
                <a16:creationId xmlns:a16="http://schemas.microsoft.com/office/drawing/2014/main" id="{302C4F2A-5E15-4020-B23F-CE7DF712A1DA}"/>
              </a:ext>
            </a:extLst>
          </p:cNvPr>
          <p:cNvSpPr/>
          <p:nvPr/>
        </p:nvSpPr>
        <p:spPr bwMode="auto">
          <a:xfrm rot="16200000">
            <a:off x="5281889" y="1908618"/>
            <a:ext cx="69105" cy="320119"/>
          </a:xfrm>
          <a:prstGeom prst="leftBracket">
            <a:avLst>
              <a:gd name="adj" fmla="val 208480"/>
            </a:avLst>
          </a:prstGeom>
          <a:no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48" name="Parenthèse ouvrante 47">
            <a:extLst>
              <a:ext uri="{FF2B5EF4-FFF2-40B4-BE49-F238E27FC236}">
                <a16:creationId xmlns:a16="http://schemas.microsoft.com/office/drawing/2014/main" id="{29F7F871-AA83-4AF0-B648-B8C761A55F02}"/>
              </a:ext>
            </a:extLst>
          </p:cNvPr>
          <p:cNvSpPr/>
          <p:nvPr/>
        </p:nvSpPr>
        <p:spPr bwMode="auto">
          <a:xfrm rot="16200000">
            <a:off x="5281889" y="2316661"/>
            <a:ext cx="69105" cy="320119"/>
          </a:xfrm>
          <a:prstGeom prst="leftBracket">
            <a:avLst>
              <a:gd name="adj" fmla="val 208480"/>
            </a:avLst>
          </a:prstGeom>
          <a:no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49" name="Parenthèse ouvrante 48">
            <a:extLst>
              <a:ext uri="{FF2B5EF4-FFF2-40B4-BE49-F238E27FC236}">
                <a16:creationId xmlns:a16="http://schemas.microsoft.com/office/drawing/2014/main" id="{92346253-A60E-4C41-8A45-4295AF2C5DD6}"/>
              </a:ext>
            </a:extLst>
          </p:cNvPr>
          <p:cNvSpPr/>
          <p:nvPr/>
        </p:nvSpPr>
        <p:spPr bwMode="auto">
          <a:xfrm rot="16200000">
            <a:off x="5281889" y="2874185"/>
            <a:ext cx="69105" cy="320119"/>
          </a:xfrm>
          <a:prstGeom prst="leftBracket">
            <a:avLst>
              <a:gd name="adj" fmla="val 208480"/>
            </a:avLst>
          </a:prstGeom>
          <a:no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50" name="Parenthèse ouvrante 49">
            <a:extLst>
              <a:ext uri="{FF2B5EF4-FFF2-40B4-BE49-F238E27FC236}">
                <a16:creationId xmlns:a16="http://schemas.microsoft.com/office/drawing/2014/main" id="{3A4C9BB6-E0FD-4387-BCCA-F4D1C5523FDB}"/>
              </a:ext>
            </a:extLst>
          </p:cNvPr>
          <p:cNvSpPr/>
          <p:nvPr/>
        </p:nvSpPr>
        <p:spPr bwMode="auto">
          <a:xfrm rot="16200000">
            <a:off x="5281889" y="3608129"/>
            <a:ext cx="69105" cy="320119"/>
          </a:xfrm>
          <a:prstGeom prst="leftBracket">
            <a:avLst>
              <a:gd name="adj" fmla="val 208480"/>
            </a:avLst>
          </a:prstGeom>
          <a:no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51" name="Parenthèse ouvrante 50">
            <a:extLst>
              <a:ext uri="{FF2B5EF4-FFF2-40B4-BE49-F238E27FC236}">
                <a16:creationId xmlns:a16="http://schemas.microsoft.com/office/drawing/2014/main" id="{8CF8C7EC-0928-4D28-8B5A-09FC910D2736}"/>
              </a:ext>
            </a:extLst>
          </p:cNvPr>
          <p:cNvSpPr/>
          <p:nvPr/>
        </p:nvSpPr>
        <p:spPr bwMode="auto">
          <a:xfrm rot="16200000">
            <a:off x="5281889" y="3992961"/>
            <a:ext cx="69105" cy="320119"/>
          </a:xfrm>
          <a:prstGeom prst="leftBracket">
            <a:avLst>
              <a:gd name="adj" fmla="val 208480"/>
            </a:avLst>
          </a:prstGeom>
          <a:no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52" name="Parenthèse ouvrante 51">
            <a:extLst>
              <a:ext uri="{FF2B5EF4-FFF2-40B4-BE49-F238E27FC236}">
                <a16:creationId xmlns:a16="http://schemas.microsoft.com/office/drawing/2014/main" id="{C1572801-694D-4079-9FD0-D8EFA19E8A50}"/>
              </a:ext>
            </a:extLst>
          </p:cNvPr>
          <p:cNvSpPr/>
          <p:nvPr/>
        </p:nvSpPr>
        <p:spPr bwMode="auto">
          <a:xfrm rot="16200000">
            <a:off x="5281889" y="4651387"/>
            <a:ext cx="69105" cy="320119"/>
          </a:xfrm>
          <a:prstGeom prst="leftBracket">
            <a:avLst>
              <a:gd name="adj" fmla="val 208480"/>
            </a:avLst>
          </a:prstGeom>
          <a:no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53" name="Parenthèse ouvrante 52">
            <a:extLst>
              <a:ext uri="{FF2B5EF4-FFF2-40B4-BE49-F238E27FC236}">
                <a16:creationId xmlns:a16="http://schemas.microsoft.com/office/drawing/2014/main" id="{C648C527-D165-4606-AD9D-BF2B158C465F}"/>
              </a:ext>
            </a:extLst>
          </p:cNvPr>
          <p:cNvSpPr/>
          <p:nvPr/>
        </p:nvSpPr>
        <p:spPr bwMode="auto">
          <a:xfrm rot="16200000">
            <a:off x="5281889" y="5190874"/>
            <a:ext cx="69105" cy="320119"/>
          </a:xfrm>
          <a:prstGeom prst="leftBracket">
            <a:avLst>
              <a:gd name="adj" fmla="val 208480"/>
            </a:avLst>
          </a:prstGeom>
          <a:no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43" name="Freeform 9">
            <a:extLst>
              <a:ext uri="{FF2B5EF4-FFF2-40B4-BE49-F238E27FC236}">
                <a16:creationId xmlns:a16="http://schemas.microsoft.com/office/drawing/2014/main" id="{0C2C7F61-A2B8-42DA-9ADA-B50662F27D36}"/>
              </a:ext>
            </a:extLst>
          </p:cNvPr>
          <p:cNvSpPr>
            <a:spLocks noEditPoints="1"/>
          </p:cNvSpPr>
          <p:nvPr/>
        </p:nvSpPr>
        <p:spPr bwMode="auto">
          <a:xfrm>
            <a:off x="152836" y="229262"/>
            <a:ext cx="382759" cy="416927"/>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grpSp>
        <p:nvGrpSpPr>
          <p:cNvPr id="54" name="Groupe 53">
            <a:extLst>
              <a:ext uri="{FF2B5EF4-FFF2-40B4-BE49-F238E27FC236}">
                <a16:creationId xmlns:a16="http://schemas.microsoft.com/office/drawing/2014/main" id="{AA4A8730-2478-4FFD-AD98-2184ECF7C845}"/>
              </a:ext>
            </a:extLst>
          </p:cNvPr>
          <p:cNvGrpSpPr/>
          <p:nvPr/>
        </p:nvGrpSpPr>
        <p:grpSpPr>
          <a:xfrm>
            <a:off x="9466708" y="546080"/>
            <a:ext cx="311267" cy="348069"/>
            <a:chOff x="10655921" y="3792390"/>
            <a:chExt cx="914400" cy="1075485"/>
          </a:xfrm>
          <a:solidFill>
            <a:schemeClr val="accent1">
              <a:lumMod val="75000"/>
            </a:schemeClr>
          </a:solidFill>
        </p:grpSpPr>
        <p:pic>
          <p:nvPicPr>
            <p:cNvPr id="55" name="Graphique 54" descr="Main ouverte">
              <a:extLst>
                <a:ext uri="{FF2B5EF4-FFF2-40B4-BE49-F238E27FC236}">
                  <a16:creationId xmlns:a16="http://schemas.microsoft.com/office/drawing/2014/main" id="{6CDF7AB0-0F32-4119-9CC7-036303BBA64E}"/>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655921" y="3953475"/>
              <a:ext cx="914400" cy="914400"/>
            </a:xfrm>
            <a:prstGeom prst="rect">
              <a:avLst/>
            </a:prstGeom>
          </p:spPr>
        </p:pic>
        <p:pic>
          <p:nvPicPr>
            <p:cNvPr id="56" name="Graphique 55" descr="Argent">
              <a:extLst>
                <a:ext uri="{FF2B5EF4-FFF2-40B4-BE49-F238E27FC236}">
                  <a16:creationId xmlns:a16="http://schemas.microsoft.com/office/drawing/2014/main" id="{2CC342F6-F821-40F2-9310-61D541DF983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821856" y="3792390"/>
              <a:ext cx="533404" cy="533404"/>
            </a:xfrm>
            <a:prstGeom prst="rect">
              <a:avLst/>
            </a:prstGeom>
          </p:spPr>
        </p:pic>
      </p:grpSp>
      <p:sp>
        <p:nvSpPr>
          <p:cNvPr id="57" name="ZoneTexte 56">
            <a:extLst>
              <a:ext uri="{FF2B5EF4-FFF2-40B4-BE49-F238E27FC236}">
                <a16:creationId xmlns:a16="http://schemas.microsoft.com/office/drawing/2014/main" id="{45D6B198-5DD2-44D5-B8FA-2B5BBE1B496F}"/>
              </a:ext>
            </a:extLst>
          </p:cNvPr>
          <p:cNvSpPr txBox="1"/>
          <p:nvPr/>
        </p:nvSpPr>
        <p:spPr>
          <a:xfrm>
            <a:off x="8390877" y="533393"/>
            <a:ext cx="1304683" cy="338554"/>
          </a:xfrm>
          <a:prstGeom prst="rect">
            <a:avLst/>
          </a:prstGeom>
          <a:noFill/>
        </p:spPr>
        <p:txBody>
          <a:bodyPr wrap="square">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i="1">
                <a:solidFill>
                  <a:schemeClr val="accent1">
                    <a:lumMod val="75000"/>
                  </a:schemeClr>
                </a:solidFill>
                <a:latin typeface="Trebuchet MS" panose="020B0603020202020204" pitchFamily="34" charset="0"/>
              </a:rPr>
              <a:t>Anti-corruption regulations</a:t>
            </a:r>
          </a:p>
        </p:txBody>
      </p:sp>
      <p:sp>
        <p:nvSpPr>
          <p:cNvPr id="60" name="Rectangle 59">
            <a:extLst>
              <a:ext uri="{FF2B5EF4-FFF2-40B4-BE49-F238E27FC236}">
                <a16:creationId xmlns:a16="http://schemas.microsoft.com/office/drawing/2014/main" id="{8EC1D199-0CDA-4011-B9F5-54A04C74779F}"/>
              </a:ext>
            </a:extLst>
          </p:cNvPr>
          <p:cNvSpPr/>
          <p:nvPr/>
        </p:nvSpPr>
        <p:spPr bwMode="auto">
          <a:xfrm>
            <a:off x="5133466" y="5875166"/>
            <a:ext cx="4540169" cy="479420"/>
          </a:xfrm>
          <a:prstGeom prst="rect">
            <a:avLst/>
          </a:prstGeom>
          <a:solidFill>
            <a:srgbClr val="F2F2F2"/>
          </a:solidFill>
          <a:ln w="9525" cap="flat" cmpd="sng" algn="ctr">
            <a:no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marR="0" defTabSz="914400" rtl="0" eaLnBrk="1" fontAlgn="base" latinLnBrk="0" hangingPunct="1">
              <a:lnSpc>
                <a:spcPct val="100000"/>
              </a:lnSpc>
              <a:spcBef>
                <a:spcPct val="0"/>
              </a:spcBef>
              <a:spcAft>
                <a:spcPts val="200"/>
              </a:spcAft>
              <a:buClrTx/>
              <a:buSzTx/>
              <a:tabLst/>
            </a:pPr>
            <a:r>
              <a:rPr lang="en-GB" sz="1000">
                <a:latin typeface="Trebuchet MS" panose="020B0603020202020204" pitchFamily="34" charset="0"/>
              </a:rPr>
              <a:t>Depending on the maturity of the organization, compliance support is provided by the finance, management control or legal departments</a:t>
            </a:r>
          </a:p>
        </p:txBody>
      </p:sp>
      <p:pic>
        <p:nvPicPr>
          <p:cNvPr id="12" name="Image 11">
            <a:extLst>
              <a:ext uri="{FF2B5EF4-FFF2-40B4-BE49-F238E27FC236}">
                <a16:creationId xmlns:a16="http://schemas.microsoft.com/office/drawing/2014/main" id="{2A5B185A-D9FC-4A23-9BBA-CCE8E58BF49B}"/>
              </a:ext>
            </a:extLst>
          </p:cNvPr>
          <p:cNvPicPr>
            <a:picLocks noChangeAspect="1"/>
          </p:cNvPicPr>
          <p:nvPr/>
        </p:nvPicPr>
        <p:blipFill>
          <a:blip r:embed="rId22">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322397" y="4060758"/>
            <a:ext cx="437895" cy="225492"/>
          </a:xfrm>
          <a:prstGeom prst="rect">
            <a:avLst/>
          </a:prstGeom>
          <a:solidFill>
            <a:schemeClr val="bg1"/>
          </a:solidFill>
        </p:spPr>
      </p:pic>
      <p:sp>
        <p:nvSpPr>
          <p:cNvPr id="61" name="ZoneTexte 60">
            <a:extLst>
              <a:ext uri="{FF2B5EF4-FFF2-40B4-BE49-F238E27FC236}">
                <a16:creationId xmlns:a16="http://schemas.microsoft.com/office/drawing/2014/main" id="{D998016A-8E5F-4074-A96A-0126234D8A7B}"/>
              </a:ext>
            </a:extLst>
          </p:cNvPr>
          <p:cNvSpPr txBox="1"/>
          <p:nvPr/>
        </p:nvSpPr>
        <p:spPr>
          <a:xfrm>
            <a:off x="952874" y="5791963"/>
            <a:ext cx="3589742" cy="400110"/>
          </a:xfrm>
          <a:prstGeom prst="rect">
            <a:avLst/>
          </a:prstGeom>
          <a:noFill/>
        </p:spPr>
        <p:txBody>
          <a:bodyPr wrap="square" rtlCol="0">
            <a:spAutoFit/>
          </a:bodyPr>
          <a:lstStyle/>
          <a:p>
            <a:pPr marL="190500" lvl="1">
              <a:spcAft>
                <a:spcPts val="200"/>
              </a:spcAft>
              <a:buClr>
                <a:schemeClr val="tx1"/>
              </a:buClr>
            </a:pPr>
            <a:r>
              <a:rPr lang="en-GB" sz="1000">
                <a:solidFill>
                  <a:schemeClr val="tx2"/>
                </a:solidFill>
                <a:latin typeface="Trebuchet MS" panose="020B0603020202020204" pitchFamily="34" charset="0"/>
              </a:rPr>
              <a:t>€1m </a:t>
            </a:r>
            <a:r>
              <a:rPr lang="en-GB" sz="1000">
                <a:latin typeface="Trebuchet MS" panose="020B0603020202020204" pitchFamily="34" charset="0"/>
              </a:rPr>
              <a:t>for companies (€200k for the director) </a:t>
            </a:r>
            <a:r>
              <a:rPr lang="en-GB" sz="1000">
                <a:solidFill>
                  <a:schemeClr val="tx2"/>
                </a:solidFill>
                <a:latin typeface="Trebuchet MS" panose="020B0603020202020204" pitchFamily="34" charset="0"/>
              </a:rPr>
              <a:t>for non-application </a:t>
            </a:r>
            <a:r>
              <a:rPr lang="en-GB" sz="1000">
                <a:latin typeface="Trebuchet MS" panose="020B0603020202020204" pitchFamily="34" charset="0"/>
              </a:rPr>
              <a:t>or required anti-corruption processes</a:t>
            </a:r>
          </a:p>
        </p:txBody>
      </p:sp>
      <p:sp>
        <p:nvSpPr>
          <p:cNvPr id="62" name="ZoneTexte 61">
            <a:extLst>
              <a:ext uri="{FF2B5EF4-FFF2-40B4-BE49-F238E27FC236}">
                <a16:creationId xmlns:a16="http://schemas.microsoft.com/office/drawing/2014/main" id="{5110515E-1F1C-45F0-B51B-54A0DE119F77}"/>
              </a:ext>
            </a:extLst>
          </p:cNvPr>
          <p:cNvSpPr txBox="1"/>
          <p:nvPr/>
        </p:nvSpPr>
        <p:spPr>
          <a:xfrm>
            <a:off x="952874" y="6240875"/>
            <a:ext cx="4000126" cy="246221"/>
          </a:xfrm>
          <a:prstGeom prst="rect">
            <a:avLst/>
          </a:prstGeom>
          <a:noFill/>
        </p:spPr>
        <p:txBody>
          <a:bodyPr wrap="square" rtlCol="0">
            <a:spAutoFit/>
          </a:bodyPr>
          <a:lstStyle/>
          <a:p>
            <a:pPr marL="190500" lvl="1">
              <a:spcAft>
                <a:spcPts val="200"/>
              </a:spcAft>
              <a:buClr>
                <a:schemeClr val="tx1"/>
              </a:buClr>
            </a:pPr>
            <a:r>
              <a:rPr lang="en-GB" sz="1000">
                <a:solidFill>
                  <a:schemeClr val="tx2"/>
                </a:solidFill>
                <a:latin typeface="Trebuchet MS" panose="020B0603020202020204" pitchFamily="34" charset="0"/>
              </a:rPr>
              <a:t>€2m </a:t>
            </a:r>
            <a:r>
              <a:rPr lang="en-GB" sz="1000">
                <a:latin typeface="Trebuchet MS" panose="020B0603020202020204" pitchFamily="34" charset="0"/>
              </a:rPr>
              <a:t>for companies for violation of the anti-corruption laws</a:t>
            </a:r>
          </a:p>
        </p:txBody>
      </p:sp>
      <p:grpSp>
        <p:nvGrpSpPr>
          <p:cNvPr id="14" name="Groupe 13">
            <a:extLst>
              <a:ext uri="{FF2B5EF4-FFF2-40B4-BE49-F238E27FC236}">
                <a16:creationId xmlns:a16="http://schemas.microsoft.com/office/drawing/2014/main" id="{3CF5833E-F2E6-44FE-B095-1956CAC14894}"/>
              </a:ext>
            </a:extLst>
          </p:cNvPr>
          <p:cNvGrpSpPr/>
          <p:nvPr/>
        </p:nvGrpSpPr>
        <p:grpSpPr>
          <a:xfrm>
            <a:off x="572830" y="5829079"/>
            <a:ext cx="528924" cy="337376"/>
            <a:chOff x="448623" y="5799869"/>
            <a:chExt cx="528924" cy="337376"/>
          </a:xfrm>
        </p:grpSpPr>
        <p:sp>
          <p:nvSpPr>
            <p:cNvPr id="63" name="Ellipse 62">
              <a:extLst>
                <a:ext uri="{FF2B5EF4-FFF2-40B4-BE49-F238E27FC236}">
                  <a16:creationId xmlns:a16="http://schemas.microsoft.com/office/drawing/2014/main" id="{5368D231-990E-47CE-9EC6-F2A5715ECE75}"/>
                </a:ext>
              </a:extLst>
            </p:cNvPr>
            <p:cNvSpPr>
              <a:spLocks noChangeAspect="1"/>
            </p:cNvSpPr>
            <p:nvPr/>
          </p:nvSpPr>
          <p:spPr bwMode="auto">
            <a:xfrm>
              <a:off x="532828" y="5799869"/>
              <a:ext cx="360515" cy="337376"/>
            </a:xfrm>
            <a:prstGeom prst="ellipse">
              <a:avLst/>
            </a:prstGeom>
            <a:solidFill>
              <a:schemeClr val="bg2">
                <a:lumMod val="20000"/>
                <a:lumOff val="8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4" name="ZoneTexte 63">
              <a:extLst>
                <a:ext uri="{FF2B5EF4-FFF2-40B4-BE49-F238E27FC236}">
                  <a16:creationId xmlns:a16="http://schemas.microsoft.com/office/drawing/2014/main" id="{C46A13FE-C698-4725-AEAF-F5D909032B69}"/>
                </a:ext>
              </a:extLst>
            </p:cNvPr>
            <p:cNvSpPr txBox="1"/>
            <p:nvPr/>
          </p:nvSpPr>
          <p:spPr>
            <a:xfrm>
              <a:off x="448623" y="5827999"/>
              <a:ext cx="528924" cy="276999"/>
            </a:xfrm>
            <a:prstGeom prst="rect">
              <a:avLst/>
            </a:prstGeom>
            <a:noFill/>
          </p:spPr>
          <p:txBody>
            <a:bodyPr wrap="square" rtlCol="0">
              <a:spAutoFit/>
            </a:bodyPr>
            <a:lstStyle/>
            <a:p>
              <a:r>
                <a:rPr lang="en-GB" sz="1200" b="1">
                  <a:solidFill>
                    <a:schemeClr val="tx2"/>
                  </a:solidFill>
                  <a:latin typeface="Trebuchet MS" panose="020B0603020202020204" pitchFamily="34" charset="0"/>
                </a:rPr>
                <a:t>€1m</a:t>
              </a:r>
            </a:p>
          </p:txBody>
        </p:sp>
      </p:grpSp>
      <p:grpSp>
        <p:nvGrpSpPr>
          <p:cNvPr id="13" name="Groupe 12">
            <a:extLst>
              <a:ext uri="{FF2B5EF4-FFF2-40B4-BE49-F238E27FC236}">
                <a16:creationId xmlns:a16="http://schemas.microsoft.com/office/drawing/2014/main" id="{45DBD6A9-D454-4C7E-A953-78C58710E117}"/>
              </a:ext>
            </a:extLst>
          </p:cNvPr>
          <p:cNvGrpSpPr/>
          <p:nvPr/>
        </p:nvGrpSpPr>
        <p:grpSpPr>
          <a:xfrm>
            <a:off x="590349" y="6180026"/>
            <a:ext cx="567717" cy="337376"/>
            <a:chOff x="-4822217" y="2307165"/>
            <a:chExt cx="567717" cy="337376"/>
          </a:xfrm>
        </p:grpSpPr>
        <p:sp>
          <p:nvSpPr>
            <p:cNvPr id="65" name="Ellipse 64">
              <a:extLst>
                <a:ext uri="{FF2B5EF4-FFF2-40B4-BE49-F238E27FC236}">
                  <a16:creationId xmlns:a16="http://schemas.microsoft.com/office/drawing/2014/main" id="{176B6962-FE38-456C-8B8C-32EE80906241}"/>
                </a:ext>
              </a:extLst>
            </p:cNvPr>
            <p:cNvSpPr>
              <a:spLocks noChangeAspect="1"/>
            </p:cNvSpPr>
            <p:nvPr/>
          </p:nvSpPr>
          <p:spPr bwMode="auto">
            <a:xfrm>
              <a:off x="-4755531" y="2307165"/>
              <a:ext cx="360515" cy="337376"/>
            </a:xfrm>
            <a:prstGeom prst="ellipse">
              <a:avLst/>
            </a:prstGeom>
            <a:solidFill>
              <a:schemeClr val="bg2">
                <a:lumMod val="20000"/>
                <a:lumOff val="8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6" name="ZoneTexte 65">
              <a:extLst>
                <a:ext uri="{FF2B5EF4-FFF2-40B4-BE49-F238E27FC236}">
                  <a16:creationId xmlns:a16="http://schemas.microsoft.com/office/drawing/2014/main" id="{1082E8CF-8D73-467C-BB75-BB213C658338}"/>
                </a:ext>
              </a:extLst>
            </p:cNvPr>
            <p:cNvSpPr txBox="1"/>
            <p:nvPr/>
          </p:nvSpPr>
          <p:spPr>
            <a:xfrm>
              <a:off x="-4822217" y="2331856"/>
              <a:ext cx="567717" cy="276999"/>
            </a:xfrm>
            <a:prstGeom prst="rect">
              <a:avLst/>
            </a:prstGeom>
            <a:noFill/>
          </p:spPr>
          <p:txBody>
            <a:bodyPr wrap="square" rtlCol="0">
              <a:spAutoFit/>
            </a:bodyPr>
            <a:lstStyle/>
            <a:p>
              <a:r>
                <a:rPr lang="en-GB" sz="1200" b="1">
                  <a:solidFill>
                    <a:schemeClr val="tx2"/>
                  </a:solidFill>
                  <a:latin typeface="Trebuchet MS" panose="020B0603020202020204" pitchFamily="34" charset="0"/>
                </a:rPr>
                <a:t>€2m</a:t>
              </a:r>
            </a:p>
          </p:txBody>
        </p:sp>
      </p:grpSp>
      <p:sp>
        <p:nvSpPr>
          <p:cNvPr id="67" name="Speech Bubble: Rectangle 99">
            <a:extLst>
              <a:ext uri="{FF2B5EF4-FFF2-40B4-BE49-F238E27FC236}">
                <a16:creationId xmlns:a16="http://schemas.microsoft.com/office/drawing/2014/main" id="{204B429C-5157-4F7C-A409-AB216D389498}"/>
              </a:ext>
            </a:extLst>
          </p:cNvPr>
          <p:cNvSpPr/>
          <p:nvPr/>
        </p:nvSpPr>
        <p:spPr bwMode="auto">
          <a:xfrm>
            <a:off x="214225" y="5604116"/>
            <a:ext cx="4627650" cy="149943"/>
          </a:xfrm>
          <a:prstGeom prst="wedgeRectCallout">
            <a:avLst>
              <a:gd name="adj1" fmla="val 28195"/>
              <a:gd name="adj2" fmla="val 34636"/>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i="1">
                <a:latin typeface="Trebuchet MS" panose="020B0603020202020204" pitchFamily="34" charset="0"/>
              </a:rPr>
              <a:t>Beyond publications affection reputation (“shaming”), </a:t>
            </a:r>
            <a:r>
              <a:rPr lang="en-GB" sz="1000" i="1">
                <a:solidFill>
                  <a:schemeClr val="tx2"/>
                </a:solidFill>
                <a:latin typeface="Trebuchet MS" panose="020B0603020202020204" pitchFamily="34" charset="0"/>
              </a:rPr>
              <a:t>sanctions</a:t>
            </a:r>
            <a:r>
              <a:rPr lang="en-GB" sz="1000" i="1">
                <a:latin typeface="Trebuchet MS" panose="020B0603020202020204" pitchFamily="34" charset="0"/>
              </a:rPr>
              <a:t> are up to</a:t>
            </a:r>
            <a:endParaRPr kumimoji="0" lang="en-GB" sz="1000" b="0" i="1" u="none" strike="noStrike" cap="none" normalizeH="0" baseline="0">
              <a:ln>
                <a:noFill/>
              </a:ln>
              <a:effectLst/>
              <a:latin typeface="Trebuchet MS" panose="020B0603020202020204" pitchFamily="34" charset="0"/>
            </a:endParaRPr>
          </a:p>
        </p:txBody>
      </p:sp>
      <p:pic>
        <p:nvPicPr>
          <p:cNvPr id="74" name="Graphique 73">
            <a:extLst>
              <a:ext uri="{FF2B5EF4-FFF2-40B4-BE49-F238E27FC236}">
                <a16:creationId xmlns:a16="http://schemas.microsoft.com/office/drawing/2014/main" id="{4CF02718-1D6C-4486-A42F-7E03D991252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25969" y="5970001"/>
            <a:ext cx="304800" cy="381000"/>
          </a:xfrm>
          <a:prstGeom prst="rect">
            <a:avLst/>
          </a:prstGeom>
        </p:spPr>
      </p:pic>
    </p:spTree>
    <p:extLst>
      <p:ext uri="{BB962C8B-B14F-4D97-AF65-F5344CB8AC3E}">
        <p14:creationId xmlns:p14="http://schemas.microsoft.com/office/powerpoint/2010/main" val="4222955874"/>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3AC7458-9A89-4118-BB8F-CD10C3357A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93AC7458-9A89-4118-BB8F-CD10C3357A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C875C8D-B3C1-4B15-8639-4C789960BFB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5" name="Rectangle 34">
            <a:extLst>
              <a:ext uri="{FF2B5EF4-FFF2-40B4-BE49-F238E27FC236}">
                <a16:creationId xmlns:a16="http://schemas.microsoft.com/office/drawing/2014/main" id="{5514C184-27BF-4091-A840-D938845B7D26}"/>
              </a:ext>
            </a:extLst>
          </p:cNvPr>
          <p:cNvSpPr/>
          <p:nvPr/>
        </p:nvSpPr>
        <p:spPr bwMode="auto">
          <a:xfrm>
            <a:off x="6678296" y="2632099"/>
            <a:ext cx="2939692" cy="987257"/>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21600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Legal information about companies should be </a:t>
            </a:r>
            <a:r>
              <a:rPr kumimoji="0" lang="en-GB" sz="1000" b="0" i="0" u="none" strike="noStrike" cap="none" normalizeH="0" baseline="0">
                <a:ln>
                  <a:noFill/>
                </a:ln>
                <a:solidFill>
                  <a:schemeClr val="tx2"/>
                </a:solidFill>
                <a:effectLst/>
                <a:latin typeface="Trebuchet MS" panose="020B0603020202020204" pitchFamily="34" charset="0"/>
              </a:rPr>
              <a:t>updated at least every 2 years </a:t>
            </a:r>
            <a:r>
              <a:rPr kumimoji="0" lang="en-GB" sz="1000" b="0" i="0" u="none" strike="noStrike" cap="none" normalizeH="0" baseline="0">
                <a:ln>
                  <a:noFill/>
                </a:ln>
                <a:solidFill>
                  <a:schemeClr val="tx1"/>
                </a:solidFill>
                <a:effectLst/>
                <a:latin typeface="Trebuchet MS" panose="020B0603020202020204" pitchFamily="34" charset="0"/>
              </a:rPr>
              <a:t>on average, which should foster the “</a:t>
            </a:r>
            <a:r>
              <a:rPr kumimoji="0" lang="en-GB" sz="1000" b="0" i="0" u="none" strike="noStrike" cap="none" normalizeH="0" baseline="0">
                <a:ln>
                  <a:noFill/>
                </a:ln>
                <a:solidFill>
                  <a:schemeClr val="tx2"/>
                </a:solidFill>
                <a:effectLst/>
                <a:latin typeface="Trebuchet MS" panose="020B0603020202020204" pitchFamily="34" charset="0"/>
              </a:rPr>
              <a:t>portfolio monitoring</a:t>
            </a:r>
            <a:r>
              <a:rPr kumimoji="0" lang="en-GB" sz="1000" b="0" i="0" u="none" strike="noStrike" cap="none" normalizeH="0" baseline="0">
                <a:ln>
                  <a:noFill/>
                </a:ln>
                <a:solidFill>
                  <a:schemeClr val="tx1"/>
                </a:solidFill>
                <a:effectLst/>
                <a:latin typeface="Trebuchet MS" panose="020B0603020202020204" pitchFamily="34" charset="0"/>
              </a:rPr>
              <a:t>” offer since 2019 onwards</a:t>
            </a:r>
          </a:p>
        </p:txBody>
      </p:sp>
      <p:sp>
        <p:nvSpPr>
          <p:cNvPr id="99" name="Rectangle 98">
            <a:extLst>
              <a:ext uri="{FF2B5EF4-FFF2-40B4-BE49-F238E27FC236}">
                <a16:creationId xmlns:a16="http://schemas.microsoft.com/office/drawing/2014/main" id="{2BBADB4E-0030-459C-8E6F-D15ED13504AC}"/>
              </a:ext>
            </a:extLst>
          </p:cNvPr>
          <p:cNvSpPr/>
          <p:nvPr/>
        </p:nvSpPr>
        <p:spPr bwMode="auto">
          <a:xfrm>
            <a:off x="6668262" y="1506242"/>
            <a:ext cx="2939692" cy="987257"/>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21600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The need for a </a:t>
            </a:r>
            <a:r>
              <a:rPr kumimoji="0" lang="en-GB" sz="1000" b="0" i="0" u="none" strike="noStrike" cap="none" normalizeH="0" baseline="0">
                <a:ln>
                  <a:noFill/>
                </a:ln>
                <a:solidFill>
                  <a:schemeClr val="tx2"/>
                </a:solidFill>
                <a:effectLst/>
                <a:latin typeface="Trebuchet MS" panose="020B0603020202020204" pitchFamily="34" charset="0"/>
              </a:rPr>
              <a:t>complete remediation </a:t>
            </a:r>
            <a:r>
              <a:rPr kumimoji="0" lang="en-GB" sz="1000" b="0" i="0" u="none" strike="noStrike" cap="none" normalizeH="0" baseline="0">
                <a:ln>
                  <a:noFill/>
                </a:ln>
                <a:solidFill>
                  <a:schemeClr val="tx1"/>
                </a:solidFill>
                <a:effectLst/>
                <a:latin typeface="Trebuchet MS" panose="020B0603020202020204" pitchFamily="34" charset="0"/>
              </a:rPr>
              <a:t>of the existing portfolio following recent regulations should be </a:t>
            </a:r>
            <a:r>
              <a:rPr kumimoji="0" lang="en-GB" sz="1000" b="0" i="0" u="none" strike="noStrike" cap="none" normalizeH="0" baseline="0">
                <a:ln>
                  <a:noFill/>
                </a:ln>
                <a:solidFill>
                  <a:schemeClr val="tx2"/>
                </a:solidFill>
                <a:effectLst/>
                <a:latin typeface="Trebuchet MS" panose="020B0603020202020204" pitchFamily="34" charset="0"/>
              </a:rPr>
              <a:t>supporting</a:t>
            </a:r>
            <a:r>
              <a:rPr kumimoji="0" lang="en-GB" sz="1000" b="0" i="0" u="none" strike="noStrike" cap="none" normalizeH="0" baseline="0">
                <a:ln>
                  <a:noFill/>
                </a:ln>
                <a:solidFill>
                  <a:schemeClr val="tx1"/>
                </a:solidFill>
                <a:effectLst/>
                <a:latin typeface="Trebuchet MS" panose="020B0603020202020204" pitchFamily="34" charset="0"/>
              </a:rPr>
              <a:t> the estimated </a:t>
            </a:r>
            <a:r>
              <a:rPr lang="en-GB" sz="1000">
                <a:solidFill>
                  <a:schemeClr val="tx2"/>
                </a:solidFill>
                <a:latin typeface="Trebuchet MS" panose="020B0603020202020204" pitchFamily="34" charset="0"/>
              </a:rPr>
              <a:t>10</a:t>
            </a:r>
            <a:r>
              <a:rPr kumimoji="0" lang="en-GB" sz="1000" b="0" i="0" u="none" strike="noStrike" cap="none" normalizeH="0" baseline="0">
                <a:ln>
                  <a:noFill/>
                </a:ln>
                <a:solidFill>
                  <a:schemeClr val="tx2"/>
                </a:solidFill>
                <a:effectLst/>
                <a:latin typeface="Trebuchet MS" panose="020B0603020202020204" pitchFamily="34" charset="0"/>
              </a:rPr>
              <a:t>%</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growth</a:t>
            </a:r>
            <a:r>
              <a:rPr kumimoji="0" lang="en-GB" sz="1000" b="0" i="0" u="none" strike="noStrike" cap="none" normalizeH="0" baseline="0">
                <a:ln>
                  <a:noFill/>
                </a:ln>
                <a:solidFill>
                  <a:schemeClr val="tx1"/>
                </a:solidFill>
                <a:effectLst/>
                <a:latin typeface="Trebuchet MS" panose="020B0603020202020204" pitchFamily="34" charset="0"/>
              </a:rPr>
              <a:t> of the market in the short term</a:t>
            </a:r>
          </a:p>
        </p:txBody>
      </p:sp>
      <p:sp>
        <p:nvSpPr>
          <p:cNvPr id="2" name="Titre 1">
            <a:extLst>
              <a:ext uri="{FF2B5EF4-FFF2-40B4-BE49-F238E27FC236}">
                <a16:creationId xmlns:a16="http://schemas.microsoft.com/office/drawing/2014/main" id="{B46A7790-EE45-495D-BCAE-6BFB38373F96}"/>
              </a:ext>
            </a:extLst>
          </p:cNvPr>
          <p:cNvSpPr>
            <a:spLocks noGrp="1"/>
          </p:cNvSpPr>
          <p:nvPr>
            <p:ph type="title"/>
          </p:nvPr>
        </p:nvSpPr>
        <p:spPr>
          <a:xfrm>
            <a:off x="688819" y="147600"/>
            <a:ext cx="7864946" cy="684000"/>
          </a:xfrm>
        </p:spPr>
        <p:txBody>
          <a:bodyPr/>
          <a:lstStyle/>
          <a:p>
            <a:r>
              <a:rPr lang="en-GB">
                <a:latin typeface="Trebuchet MS" panose="020B0603020202020204" pitchFamily="34" charset="0"/>
              </a:rPr>
              <a:t>… and partly </a:t>
            </a:r>
            <a:r>
              <a:rPr lang="en-GB">
                <a:solidFill>
                  <a:schemeClr val="tx2"/>
                </a:solidFill>
                <a:latin typeface="Trebuchet MS" panose="020B0603020202020204" pitchFamily="34" charset="0"/>
              </a:rPr>
              <a:t>contributing</a:t>
            </a:r>
            <a:r>
              <a:rPr lang="en-GB">
                <a:latin typeface="Trebuchet MS" panose="020B0603020202020204" pitchFamily="34" charset="0"/>
              </a:rPr>
              <a:t> to the </a:t>
            </a:r>
            <a:r>
              <a:rPr lang="en-GB">
                <a:solidFill>
                  <a:schemeClr val="tx2"/>
                </a:solidFill>
                <a:latin typeface="Trebuchet MS" panose="020B0603020202020204" pitchFamily="34" charset="0"/>
              </a:rPr>
              <a:t>future</a:t>
            </a:r>
            <a:r>
              <a:rPr lang="en-GB">
                <a:latin typeface="Trebuchet MS" panose="020B0603020202020204" pitchFamily="34" charset="0"/>
              </a:rPr>
              <a:t> </a:t>
            </a:r>
            <a:r>
              <a:rPr lang="en-GB">
                <a:solidFill>
                  <a:schemeClr val="tx2"/>
                </a:solidFill>
                <a:latin typeface="Trebuchet MS" panose="020B0603020202020204" pitchFamily="34" charset="0"/>
              </a:rPr>
              <a:t>growth</a:t>
            </a:r>
            <a:r>
              <a:rPr lang="en-GB">
                <a:latin typeface="Trebuchet MS" panose="020B0603020202020204" pitchFamily="34" charset="0"/>
              </a:rPr>
              <a:t> of the </a:t>
            </a:r>
            <a:r>
              <a:rPr lang="en-GB">
                <a:solidFill>
                  <a:schemeClr val="tx2"/>
                </a:solidFill>
                <a:latin typeface="Trebuchet MS" panose="020B0603020202020204" pitchFamily="34" charset="0"/>
              </a:rPr>
              <a:t>French</a:t>
            </a:r>
            <a:r>
              <a:rPr lang="en-GB">
                <a:latin typeface="Trebuchet MS" panose="020B0603020202020204" pitchFamily="34" charset="0"/>
              </a:rPr>
              <a:t> </a:t>
            </a:r>
            <a:r>
              <a:rPr lang="en-GB">
                <a:solidFill>
                  <a:schemeClr val="tx2"/>
                </a:solidFill>
                <a:latin typeface="Trebuchet MS" panose="020B0603020202020204" pitchFamily="34" charset="0"/>
              </a:rPr>
              <a:t>compliance</a:t>
            </a:r>
            <a:r>
              <a:rPr lang="en-GB">
                <a:latin typeface="Trebuchet MS" panose="020B0603020202020204" pitchFamily="34" charset="0"/>
              </a:rPr>
              <a:t> </a:t>
            </a:r>
            <a:r>
              <a:rPr lang="en-GB">
                <a:solidFill>
                  <a:schemeClr val="tx2"/>
                </a:solidFill>
                <a:latin typeface="Trebuchet MS" panose="020B0603020202020204" pitchFamily="34" charset="0"/>
              </a:rPr>
              <a:t>market</a:t>
            </a:r>
            <a:r>
              <a:rPr lang="en-GB">
                <a:latin typeface="Trebuchet MS" panose="020B0603020202020204" pitchFamily="34" charset="0"/>
              </a:rPr>
              <a:t> thanks to remediation, monitoring and onboarding processes imposed to the companies targeted by the law</a:t>
            </a:r>
            <a:endParaRPr lang="en-GB">
              <a:solidFill>
                <a:schemeClr val="tx2"/>
              </a:solidFill>
              <a:latin typeface="Trebuchet MS" panose="020B0603020202020204" pitchFamily="34" charset="0"/>
            </a:endParaRPr>
          </a:p>
        </p:txBody>
      </p:sp>
      <p:sp>
        <p:nvSpPr>
          <p:cNvPr id="3" name="Espace réservé du texte 2">
            <a:extLst>
              <a:ext uri="{FF2B5EF4-FFF2-40B4-BE49-F238E27FC236}">
                <a16:creationId xmlns:a16="http://schemas.microsoft.com/office/drawing/2014/main" id="{DAAD79E8-5156-4AC7-A78F-AB404520F6CB}"/>
              </a:ext>
            </a:extLst>
          </p:cNvPr>
          <p:cNvSpPr>
            <a:spLocks noGrp="1"/>
          </p:cNvSpPr>
          <p:nvPr>
            <p:ph type="body" sz="quarter" idx="10"/>
          </p:nvPr>
        </p:nvSpPr>
        <p:spPr/>
        <p:txBody>
          <a:bodyPr/>
          <a:lstStyle/>
          <a:p>
            <a:r>
              <a:rPr lang="en-GB"/>
              <a:t>Sources: eleven research &amp; analysis, expert calls, Europarl.Europa.eu</a:t>
            </a:r>
          </a:p>
        </p:txBody>
      </p:sp>
      <p:sp>
        <p:nvSpPr>
          <p:cNvPr id="103" name="Rectangle 102">
            <a:extLst>
              <a:ext uri="{FF2B5EF4-FFF2-40B4-BE49-F238E27FC236}">
                <a16:creationId xmlns:a16="http://schemas.microsoft.com/office/drawing/2014/main" id="{5D463D54-9D35-4AF6-877C-D0103FF6C72B}"/>
              </a:ext>
            </a:extLst>
          </p:cNvPr>
          <p:cNvSpPr/>
          <p:nvPr/>
        </p:nvSpPr>
        <p:spPr bwMode="auto">
          <a:xfrm>
            <a:off x="2182126" y="5244910"/>
            <a:ext cx="498776" cy="141499"/>
          </a:xfrm>
          <a:prstGeom prst="rect">
            <a:avLst/>
          </a:prstGeom>
          <a:solidFill>
            <a:schemeClr val="tx1">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0" name="ZoneTexte 39">
            <a:extLst>
              <a:ext uri="{FF2B5EF4-FFF2-40B4-BE49-F238E27FC236}">
                <a16:creationId xmlns:a16="http://schemas.microsoft.com/office/drawing/2014/main" id="{74B43DBD-BFDA-41C9-A1E4-8926C43F7ABB}"/>
              </a:ext>
            </a:extLst>
          </p:cNvPr>
          <p:cNvSpPr txBox="1"/>
          <p:nvPr/>
        </p:nvSpPr>
        <p:spPr>
          <a:xfrm>
            <a:off x="1474610" y="5190864"/>
            <a:ext cx="787034" cy="246221"/>
          </a:xfrm>
          <a:prstGeom prst="rect">
            <a:avLst/>
          </a:prstGeom>
          <a:noFill/>
        </p:spPr>
        <p:txBody>
          <a:bodyPr wrap="square" rtlCol="0">
            <a:spAutoFit/>
          </a:bodyPr>
          <a:lstStyle/>
          <a:p>
            <a:r>
              <a:rPr lang="en-GB" sz="1000">
                <a:latin typeface="Trebuchet MS" panose="020B0603020202020204" pitchFamily="34" charset="0"/>
              </a:rPr>
              <a:t>Legend: </a:t>
            </a:r>
          </a:p>
        </p:txBody>
      </p:sp>
      <p:sp>
        <p:nvSpPr>
          <p:cNvPr id="42" name="ZoneTexte 41">
            <a:extLst>
              <a:ext uri="{FF2B5EF4-FFF2-40B4-BE49-F238E27FC236}">
                <a16:creationId xmlns:a16="http://schemas.microsoft.com/office/drawing/2014/main" id="{0C3B24B9-2A8C-44FF-962E-77E310953AB2}"/>
              </a:ext>
            </a:extLst>
          </p:cNvPr>
          <p:cNvSpPr txBox="1"/>
          <p:nvPr/>
        </p:nvSpPr>
        <p:spPr>
          <a:xfrm>
            <a:off x="2813760" y="5174968"/>
            <a:ext cx="3410074" cy="246221"/>
          </a:xfrm>
          <a:prstGeom prst="rect">
            <a:avLst/>
          </a:prstGeom>
          <a:noFill/>
        </p:spPr>
        <p:txBody>
          <a:bodyPr wrap="square" rtlCol="0">
            <a:spAutoFit/>
          </a:bodyPr>
          <a:lstStyle/>
          <a:p>
            <a:r>
              <a:rPr lang="en-GB" sz="1000" dirty="0">
                <a:latin typeface="Trebuchet MS" panose="020B0603020202020204" pitchFamily="34" charset="0"/>
              </a:rPr>
              <a:t>Expected revenue from the offer (relative size)</a:t>
            </a:r>
          </a:p>
        </p:txBody>
      </p:sp>
      <p:cxnSp>
        <p:nvCxnSpPr>
          <p:cNvPr id="49" name="Connecteur droit avec flèche 48">
            <a:extLst>
              <a:ext uri="{FF2B5EF4-FFF2-40B4-BE49-F238E27FC236}">
                <a16:creationId xmlns:a16="http://schemas.microsoft.com/office/drawing/2014/main" id="{08624E5A-C9D8-46AC-A6E8-CD556479925E}"/>
              </a:ext>
            </a:extLst>
          </p:cNvPr>
          <p:cNvCxnSpPr>
            <a:cxnSpLocks/>
          </p:cNvCxnSpPr>
          <p:nvPr/>
        </p:nvCxnSpPr>
        <p:spPr bwMode="auto">
          <a:xfrm>
            <a:off x="2770873" y="5169069"/>
            <a:ext cx="0" cy="279287"/>
          </a:xfrm>
          <a:prstGeom prst="straightConnector1">
            <a:avLst/>
          </a:prstGeom>
          <a:solidFill>
            <a:schemeClr val="accent1"/>
          </a:solidFill>
          <a:ln w="9525" cap="flat" cmpd="sng" algn="ctr">
            <a:solidFill>
              <a:schemeClr val="tx1"/>
            </a:solidFill>
            <a:prstDash val="solid"/>
            <a:round/>
            <a:headEnd type="triangle"/>
            <a:tailEnd type="triangle"/>
          </a:ln>
          <a:effectLst/>
        </p:spPr>
      </p:cxnSp>
      <p:cxnSp>
        <p:nvCxnSpPr>
          <p:cNvPr id="54" name="Connecteur droit 53">
            <a:extLst>
              <a:ext uri="{FF2B5EF4-FFF2-40B4-BE49-F238E27FC236}">
                <a16:creationId xmlns:a16="http://schemas.microsoft.com/office/drawing/2014/main" id="{450B1B99-911C-4DBA-A6CF-F456538016A9}"/>
              </a:ext>
            </a:extLst>
          </p:cNvPr>
          <p:cNvCxnSpPr>
            <a:cxnSpLocks/>
          </p:cNvCxnSpPr>
          <p:nvPr/>
        </p:nvCxnSpPr>
        <p:spPr bwMode="auto">
          <a:xfrm>
            <a:off x="594802" y="1189719"/>
            <a:ext cx="8716397"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7" name="ZoneTexte 31">
            <a:extLst>
              <a:ext uri="{FF2B5EF4-FFF2-40B4-BE49-F238E27FC236}">
                <a16:creationId xmlns:a16="http://schemas.microsoft.com/office/drawing/2014/main" id="{61B2A45B-71F6-4194-98EE-52DE41A4FE70}"/>
              </a:ext>
            </a:extLst>
          </p:cNvPr>
          <p:cNvSpPr txBox="1"/>
          <p:nvPr/>
        </p:nvSpPr>
        <p:spPr>
          <a:xfrm>
            <a:off x="2479078" y="1057449"/>
            <a:ext cx="4947844" cy="261610"/>
          </a:xfrm>
          <a:prstGeom prst="rect">
            <a:avLst/>
          </a:prstGeom>
          <a:solidFill>
            <a:schemeClr val="bg1"/>
          </a:solidFill>
        </p:spPr>
        <p:txBody>
          <a:bodyPr wrap="square" rtlCol="0">
            <a:spAutoFit/>
          </a:bodyPr>
          <a:lstStyle/>
          <a:p>
            <a:pPr algn="ctr"/>
            <a:r>
              <a:rPr lang="en-GB" sz="1100">
                <a:latin typeface="Trebuchet MS" panose="020B0603020202020204" pitchFamily="34" charset="0"/>
              </a:rPr>
              <a:t>Illustration of the expected evolution of the market in the coming years</a:t>
            </a:r>
          </a:p>
        </p:txBody>
      </p:sp>
      <p:sp>
        <p:nvSpPr>
          <p:cNvPr id="100" name="Rectangle 99">
            <a:extLst>
              <a:ext uri="{FF2B5EF4-FFF2-40B4-BE49-F238E27FC236}">
                <a16:creationId xmlns:a16="http://schemas.microsoft.com/office/drawing/2014/main" id="{61B9CF27-8B12-4EE8-B926-391ADE73675B}"/>
              </a:ext>
            </a:extLst>
          </p:cNvPr>
          <p:cNvSpPr/>
          <p:nvPr/>
        </p:nvSpPr>
        <p:spPr bwMode="auto">
          <a:xfrm>
            <a:off x="6666202" y="3731695"/>
            <a:ext cx="2939692" cy="987257"/>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21600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A </a:t>
            </a:r>
            <a:r>
              <a:rPr kumimoji="0" lang="en-GB" sz="1000" b="0" i="0" u="none" strike="noStrike" cap="none" normalizeH="0" baseline="0">
                <a:ln>
                  <a:noFill/>
                </a:ln>
                <a:solidFill>
                  <a:schemeClr val="tx2"/>
                </a:solidFill>
                <a:effectLst/>
                <a:latin typeface="Trebuchet MS" panose="020B0603020202020204" pitchFamily="34" charset="0"/>
              </a:rPr>
              <a:t>potential</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broadening</a:t>
            </a:r>
            <a:r>
              <a:rPr kumimoji="0" lang="en-GB" sz="1000" b="0" i="0" u="none" strike="noStrike" cap="none" normalizeH="0" baseline="0">
                <a:ln>
                  <a:noFill/>
                </a:ln>
                <a:solidFill>
                  <a:schemeClr val="tx1"/>
                </a:solidFill>
                <a:effectLst/>
                <a:latin typeface="Trebuchet MS" panose="020B0603020202020204" pitchFamily="34" charset="0"/>
              </a:rPr>
              <a:t> of the </a:t>
            </a:r>
            <a:r>
              <a:rPr kumimoji="0" lang="en-GB" sz="1000" b="0" i="0" u="none" strike="noStrike" cap="none" normalizeH="0" baseline="0">
                <a:ln>
                  <a:noFill/>
                </a:ln>
                <a:solidFill>
                  <a:schemeClr val="tx2"/>
                </a:solidFill>
                <a:effectLst/>
                <a:latin typeface="Trebuchet MS" panose="020B0603020202020204" pitchFamily="34" charset="0"/>
              </a:rPr>
              <a:t>companies</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concerned</a:t>
            </a:r>
            <a:r>
              <a:rPr kumimoji="0" lang="en-GB" sz="1000" b="0" i="0" u="none" strike="noStrike" cap="none" normalizeH="0" baseline="0">
                <a:ln>
                  <a:noFill/>
                </a:ln>
                <a:solidFill>
                  <a:schemeClr val="tx1"/>
                </a:solidFill>
                <a:effectLst/>
                <a:latin typeface="Trebuchet MS" panose="020B0603020202020204" pitchFamily="34" charset="0"/>
              </a:rPr>
              <a:t> by the regulatory constraints in KYC/KYS can be envisaged over the coming years and participate in </a:t>
            </a:r>
            <a:r>
              <a:rPr kumimoji="0" lang="en-GB" sz="1000" b="0" i="0" u="none" strike="noStrike" cap="none" normalizeH="0" baseline="0">
                <a:ln>
                  <a:noFill/>
                </a:ln>
                <a:solidFill>
                  <a:schemeClr val="tx2"/>
                </a:solidFill>
                <a:effectLst/>
                <a:latin typeface="Trebuchet MS" panose="020B0603020202020204" pitchFamily="34" charset="0"/>
              </a:rPr>
              <a:t>new</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revenue</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streams</a:t>
            </a:r>
          </a:p>
        </p:txBody>
      </p:sp>
      <p:grpSp>
        <p:nvGrpSpPr>
          <p:cNvPr id="86" name="Groupe 85">
            <a:extLst>
              <a:ext uri="{FF2B5EF4-FFF2-40B4-BE49-F238E27FC236}">
                <a16:creationId xmlns:a16="http://schemas.microsoft.com/office/drawing/2014/main" id="{F7F118DD-C919-4F0C-ADC0-E2376512145C}"/>
              </a:ext>
            </a:extLst>
          </p:cNvPr>
          <p:cNvGrpSpPr/>
          <p:nvPr/>
        </p:nvGrpSpPr>
        <p:grpSpPr>
          <a:xfrm>
            <a:off x="8448150" y="-11528"/>
            <a:ext cx="1435548" cy="588143"/>
            <a:chOff x="8448150" y="-11528"/>
            <a:chExt cx="1435548" cy="588143"/>
          </a:xfrm>
        </p:grpSpPr>
        <p:grpSp>
          <p:nvGrpSpPr>
            <p:cNvPr id="94" name="Groupe 93">
              <a:extLst>
                <a:ext uri="{FF2B5EF4-FFF2-40B4-BE49-F238E27FC236}">
                  <a16:creationId xmlns:a16="http://schemas.microsoft.com/office/drawing/2014/main" id="{FC8AB6B5-812A-41BB-A8C7-90E1B7CEE973}"/>
                </a:ext>
              </a:extLst>
            </p:cNvPr>
            <p:cNvGrpSpPr/>
            <p:nvPr/>
          </p:nvGrpSpPr>
          <p:grpSpPr>
            <a:xfrm>
              <a:off x="8448150" y="-11528"/>
              <a:ext cx="1435548" cy="451904"/>
              <a:chOff x="8448150" y="-11528"/>
              <a:chExt cx="1435548" cy="451904"/>
            </a:xfrm>
          </p:grpSpPr>
          <p:sp>
            <p:nvSpPr>
              <p:cNvPr id="98" name="Rectangle : coins arrondis 199">
                <a:extLst>
                  <a:ext uri="{FF2B5EF4-FFF2-40B4-BE49-F238E27FC236}">
                    <a16:creationId xmlns:a16="http://schemas.microsoft.com/office/drawing/2014/main" id="{B709EE46-379A-4CE2-B172-C40F5A8BE22C}"/>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0" name="Rectangle : coins arrondis 200">
                <a:extLst>
                  <a:ext uri="{FF2B5EF4-FFF2-40B4-BE49-F238E27FC236}">
                    <a16:creationId xmlns:a16="http://schemas.microsoft.com/office/drawing/2014/main" id="{B4D7F15E-B736-46A9-AE30-97F142E5DBE2}"/>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1" name="Rectangle : coins arrondis 201">
                <a:extLst>
                  <a:ext uri="{FF2B5EF4-FFF2-40B4-BE49-F238E27FC236}">
                    <a16:creationId xmlns:a16="http://schemas.microsoft.com/office/drawing/2014/main" id="{96754791-60D5-4440-A4A3-A5324267D77F}"/>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2" name="ZoneTexte 18">
                <a:extLst>
                  <a:ext uri="{FF2B5EF4-FFF2-40B4-BE49-F238E27FC236}">
                    <a16:creationId xmlns:a16="http://schemas.microsoft.com/office/drawing/2014/main" id="{9F62F452-C394-4430-B681-47D693DCCA14}"/>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13" name="Graphique 128" descr="Jauge">
                <a:extLst>
                  <a:ext uri="{FF2B5EF4-FFF2-40B4-BE49-F238E27FC236}">
                    <a16:creationId xmlns:a16="http://schemas.microsoft.com/office/drawing/2014/main" id="{B59B9F0D-5502-4061-8537-461D15380CF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114" name="Graphique 90" descr="Poignée de main">
                <a:extLst>
                  <a:ext uri="{FF2B5EF4-FFF2-40B4-BE49-F238E27FC236}">
                    <a16:creationId xmlns:a16="http://schemas.microsoft.com/office/drawing/2014/main" id="{A58D4861-A410-4EE9-A336-59A0AE97BFE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115" name="Graphique 74" descr="Mégaphone">
                <a:extLst>
                  <a:ext uri="{FF2B5EF4-FFF2-40B4-BE49-F238E27FC236}">
                    <a16:creationId xmlns:a16="http://schemas.microsoft.com/office/drawing/2014/main" id="{5B0D75E0-79FB-4E4F-A6A7-C552378FAD2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116" name="Picture 2" descr="Drapeau France">
                <a:extLst>
                  <a:ext uri="{FF2B5EF4-FFF2-40B4-BE49-F238E27FC236}">
                    <a16:creationId xmlns:a16="http://schemas.microsoft.com/office/drawing/2014/main" id="{97AF3F5C-34E5-4789-9E4E-A0A0600C0A5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95" name="ZoneTexte 18">
              <a:extLst>
                <a:ext uri="{FF2B5EF4-FFF2-40B4-BE49-F238E27FC236}">
                  <a16:creationId xmlns:a16="http://schemas.microsoft.com/office/drawing/2014/main" id="{F73B88B8-9664-4696-94A1-BC66A5F1E41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sp>
        <p:nvSpPr>
          <p:cNvPr id="63" name="ZoneTexte 62">
            <a:extLst>
              <a:ext uri="{FF2B5EF4-FFF2-40B4-BE49-F238E27FC236}">
                <a16:creationId xmlns:a16="http://schemas.microsoft.com/office/drawing/2014/main" id="{69283F0B-7CD1-4EF1-8620-F57D9F78079C}"/>
              </a:ext>
            </a:extLst>
          </p:cNvPr>
          <p:cNvSpPr txBox="1"/>
          <p:nvPr/>
        </p:nvSpPr>
        <p:spPr>
          <a:xfrm>
            <a:off x="6184750" y="4856474"/>
            <a:ext cx="796347" cy="261610"/>
          </a:xfrm>
          <a:prstGeom prst="rect">
            <a:avLst/>
          </a:prstGeom>
          <a:noFill/>
        </p:spPr>
        <p:txBody>
          <a:bodyPr wrap="square" rtlCol="0">
            <a:spAutoFit/>
          </a:bodyPr>
          <a:lstStyle/>
          <a:p>
            <a:r>
              <a:rPr lang="en-GB" sz="1050">
                <a:latin typeface="Trebuchet MS" panose="020B0603020202020204" pitchFamily="34" charset="0"/>
              </a:rPr>
              <a:t>2023</a:t>
            </a:r>
          </a:p>
        </p:txBody>
      </p:sp>
      <p:grpSp>
        <p:nvGrpSpPr>
          <p:cNvPr id="6" name="Groupe 5">
            <a:extLst>
              <a:ext uri="{FF2B5EF4-FFF2-40B4-BE49-F238E27FC236}">
                <a16:creationId xmlns:a16="http://schemas.microsoft.com/office/drawing/2014/main" id="{159B387B-AC22-439D-8770-1122BEC1047A}"/>
              </a:ext>
            </a:extLst>
          </p:cNvPr>
          <p:cNvGrpSpPr/>
          <p:nvPr/>
        </p:nvGrpSpPr>
        <p:grpSpPr>
          <a:xfrm>
            <a:off x="295547" y="1451329"/>
            <a:ext cx="6149547" cy="3666755"/>
            <a:chOff x="295547" y="1714411"/>
            <a:chExt cx="6149547" cy="3666755"/>
          </a:xfrm>
        </p:grpSpPr>
        <p:sp>
          <p:nvSpPr>
            <p:cNvPr id="73" name="Rectangle 72">
              <a:extLst>
                <a:ext uri="{FF2B5EF4-FFF2-40B4-BE49-F238E27FC236}">
                  <a16:creationId xmlns:a16="http://schemas.microsoft.com/office/drawing/2014/main" id="{EF4D966A-EF5D-46CC-9464-D92BDE7F0BC6}"/>
                </a:ext>
              </a:extLst>
            </p:cNvPr>
            <p:cNvSpPr/>
            <p:nvPr/>
          </p:nvSpPr>
          <p:spPr bwMode="auto">
            <a:xfrm>
              <a:off x="1298039" y="3943299"/>
              <a:ext cx="5138079" cy="1093164"/>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4" name="Rectangle 73">
              <a:extLst>
                <a:ext uri="{FF2B5EF4-FFF2-40B4-BE49-F238E27FC236}">
                  <a16:creationId xmlns:a16="http://schemas.microsoft.com/office/drawing/2014/main" id="{1FFC91AA-CD1E-4426-B073-7AC72D748D44}"/>
                </a:ext>
              </a:extLst>
            </p:cNvPr>
            <p:cNvSpPr/>
            <p:nvPr/>
          </p:nvSpPr>
          <p:spPr bwMode="auto">
            <a:xfrm>
              <a:off x="1298040" y="1714411"/>
              <a:ext cx="5138075" cy="1093164"/>
            </a:xfrm>
            <a:prstGeom prst="rect">
              <a:avLst/>
            </a:prstGeom>
            <a:solidFill>
              <a:srgbClr val="EBF9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6" name="ZoneTexte 35">
              <a:extLst>
                <a:ext uri="{FF2B5EF4-FFF2-40B4-BE49-F238E27FC236}">
                  <a16:creationId xmlns:a16="http://schemas.microsoft.com/office/drawing/2014/main" id="{5F3D0B5F-00B0-4FA9-95AC-B8ADBDF3E7FD}"/>
                </a:ext>
              </a:extLst>
            </p:cNvPr>
            <p:cNvSpPr txBox="1"/>
            <p:nvPr/>
          </p:nvSpPr>
          <p:spPr>
            <a:xfrm>
              <a:off x="1082581" y="5119556"/>
              <a:ext cx="796347" cy="261610"/>
            </a:xfrm>
            <a:prstGeom prst="rect">
              <a:avLst/>
            </a:prstGeom>
            <a:noFill/>
          </p:spPr>
          <p:txBody>
            <a:bodyPr wrap="square" rtlCol="0">
              <a:spAutoFit/>
            </a:bodyPr>
            <a:lstStyle/>
            <a:p>
              <a:r>
                <a:rPr lang="en-GB" sz="1050">
                  <a:latin typeface="Trebuchet MS" panose="020B0603020202020204" pitchFamily="34" charset="0"/>
                </a:rPr>
                <a:t>2017</a:t>
              </a:r>
            </a:p>
          </p:txBody>
        </p:sp>
        <p:cxnSp>
          <p:nvCxnSpPr>
            <p:cNvPr id="56" name="Connecteur droit avec flèche 55">
              <a:extLst>
                <a:ext uri="{FF2B5EF4-FFF2-40B4-BE49-F238E27FC236}">
                  <a16:creationId xmlns:a16="http://schemas.microsoft.com/office/drawing/2014/main" id="{80081F48-A9DA-49AF-AF0E-DF0B040D6B4B}"/>
                </a:ext>
              </a:extLst>
            </p:cNvPr>
            <p:cNvCxnSpPr>
              <a:cxnSpLocks/>
            </p:cNvCxnSpPr>
            <p:nvPr/>
          </p:nvCxnSpPr>
          <p:spPr bwMode="auto">
            <a:xfrm flipV="1">
              <a:off x="1276965" y="1719962"/>
              <a:ext cx="0" cy="3321260"/>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cxnSp>
          <p:nvCxnSpPr>
            <p:cNvPr id="57" name="Connecteur droit avec flèche 56">
              <a:extLst>
                <a:ext uri="{FF2B5EF4-FFF2-40B4-BE49-F238E27FC236}">
                  <a16:creationId xmlns:a16="http://schemas.microsoft.com/office/drawing/2014/main" id="{7A226DDF-EF08-4128-AE21-AFA44EB2561B}"/>
                </a:ext>
              </a:extLst>
            </p:cNvPr>
            <p:cNvCxnSpPr>
              <a:cxnSpLocks/>
            </p:cNvCxnSpPr>
            <p:nvPr/>
          </p:nvCxnSpPr>
          <p:spPr bwMode="auto">
            <a:xfrm>
              <a:off x="1276965" y="5041221"/>
              <a:ext cx="5168129" cy="0"/>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sp>
          <p:nvSpPr>
            <p:cNvPr id="58" name="ZoneTexte 57">
              <a:extLst>
                <a:ext uri="{FF2B5EF4-FFF2-40B4-BE49-F238E27FC236}">
                  <a16:creationId xmlns:a16="http://schemas.microsoft.com/office/drawing/2014/main" id="{70C5804B-338C-4F93-8665-8A023F41A016}"/>
                </a:ext>
              </a:extLst>
            </p:cNvPr>
            <p:cNvSpPr txBox="1"/>
            <p:nvPr/>
          </p:nvSpPr>
          <p:spPr>
            <a:xfrm>
              <a:off x="1806356" y="5119556"/>
              <a:ext cx="796347" cy="261610"/>
            </a:xfrm>
            <a:prstGeom prst="rect">
              <a:avLst/>
            </a:prstGeom>
            <a:noFill/>
          </p:spPr>
          <p:txBody>
            <a:bodyPr wrap="square" rtlCol="0">
              <a:spAutoFit/>
            </a:bodyPr>
            <a:lstStyle/>
            <a:p>
              <a:r>
                <a:rPr lang="en-GB" sz="1050">
                  <a:latin typeface="Trebuchet MS" panose="020B0603020202020204" pitchFamily="34" charset="0"/>
                </a:rPr>
                <a:t>2018</a:t>
              </a:r>
            </a:p>
          </p:txBody>
        </p:sp>
        <p:sp>
          <p:nvSpPr>
            <p:cNvPr id="59" name="ZoneTexte 58">
              <a:extLst>
                <a:ext uri="{FF2B5EF4-FFF2-40B4-BE49-F238E27FC236}">
                  <a16:creationId xmlns:a16="http://schemas.microsoft.com/office/drawing/2014/main" id="{1FD83A48-8A44-4B23-9392-EDD82A6C0CB8}"/>
                </a:ext>
              </a:extLst>
            </p:cNvPr>
            <p:cNvSpPr txBox="1"/>
            <p:nvPr/>
          </p:nvSpPr>
          <p:spPr>
            <a:xfrm>
              <a:off x="2655620" y="5119556"/>
              <a:ext cx="796347" cy="261610"/>
            </a:xfrm>
            <a:prstGeom prst="rect">
              <a:avLst/>
            </a:prstGeom>
            <a:noFill/>
          </p:spPr>
          <p:txBody>
            <a:bodyPr wrap="square" rtlCol="0">
              <a:spAutoFit/>
            </a:bodyPr>
            <a:lstStyle/>
            <a:p>
              <a:r>
                <a:rPr lang="en-GB" sz="1050">
                  <a:latin typeface="Trebuchet MS" panose="020B0603020202020204" pitchFamily="34" charset="0"/>
                </a:rPr>
                <a:t>2019</a:t>
              </a:r>
            </a:p>
          </p:txBody>
        </p:sp>
        <p:sp>
          <p:nvSpPr>
            <p:cNvPr id="60" name="ZoneTexte 59">
              <a:extLst>
                <a:ext uri="{FF2B5EF4-FFF2-40B4-BE49-F238E27FC236}">
                  <a16:creationId xmlns:a16="http://schemas.microsoft.com/office/drawing/2014/main" id="{027DEE61-E6B0-4D60-8C08-916312CC5222}"/>
                </a:ext>
              </a:extLst>
            </p:cNvPr>
            <p:cNvSpPr txBox="1"/>
            <p:nvPr/>
          </p:nvSpPr>
          <p:spPr>
            <a:xfrm>
              <a:off x="3550828" y="5119556"/>
              <a:ext cx="796347" cy="261610"/>
            </a:xfrm>
            <a:prstGeom prst="rect">
              <a:avLst/>
            </a:prstGeom>
            <a:noFill/>
          </p:spPr>
          <p:txBody>
            <a:bodyPr wrap="square" rtlCol="0">
              <a:spAutoFit/>
            </a:bodyPr>
            <a:lstStyle/>
            <a:p>
              <a:r>
                <a:rPr lang="en-GB" sz="1050">
                  <a:latin typeface="Trebuchet MS" panose="020B0603020202020204" pitchFamily="34" charset="0"/>
                </a:rPr>
                <a:t>2020</a:t>
              </a:r>
            </a:p>
          </p:txBody>
        </p:sp>
        <p:sp>
          <p:nvSpPr>
            <p:cNvPr id="61" name="ZoneTexte 60">
              <a:extLst>
                <a:ext uri="{FF2B5EF4-FFF2-40B4-BE49-F238E27FC236}">
                  <a16:creationId xmlns:a16="http://schemas.microsoft.com/office/drawing/2014/main" id="{E07D780C-C859-4C6C-A2A9-D1E06EFA4A04}"/>
                </a:ext>
              </a:extLst>
            </p:cNvPr>
            <p:cNvSpPr txBox="1"/>
            <p:nvPr/>
          </p:nvSpPr>
          <p:spPr>
            <a:xfrm>
              <a:off x="4446036" y="5119556"/>
              <a:ext cx="796347" cy="261610"/>
            </a:xfrm>
            <a:prstGeom prst="rect">
              <a:avLst/>
            </a:prstGeom>
            <a:noFill/>
          </p:spPr>
          <p:txBody>
            <a:bodyPr wrap="square" rtlCol="0">
              <a:spAutoFit/>
            </a:bodyPr>
            <a:lstStyle/>
            <a:p>
              <a:r>
                <a:rPr lang="en-GB" sz="1050">
                  <a:latin typeface="Trebuchet MS" panose="020B0603020202020204" pitchFamily="34" charset="0"/>
                </a:rPr>
                <a:t>2021</a:t>
              </a:r>
            </a:p>
          </p:txBody>
        </p:sp>
        <p:sp>
          <p:nvSpPr>
            <p:cNvPr id="62" name="ZoneTexte 61">
              <a:extLst>
                <a:ext uri="{FF2B5EF4-FFF2-40B4-BE49-F238E27FC236}">
                  <a16:creationId xmlns:a16="http://schemas.microsoft.com/office/drawing/2014/main" id="{A18B9EE2-9934-4292-A7CF-88FB7E9982F4}"/>
                </a:ext>
              </a:extLst>
            </p:cNvPr>
            <p:cNvSpPr txBox="1"/>
            <p:nvPr/>
          </p:nvSpPr>
          <p:spPr>
            <a:xfrm>
              <a:off x="5308474" y="5119556"/>
              <a:ext cx="796347" cy="261610"/>
            </a:xfrm>
            <a:prstGeom prst="rect">
              <a:avLst/>
            </a:prstGeom>
            <a:noFill/>
          </p:spPr>
          <p:txBody>
            <a:bodyPr wrap="square" rtlCol="0">
              <a:spAutoFit/>
            </a:bodyPr>
            <a:lstStyle/>
            <a:p>
              <a:r>
                <a:rPr lang="en-GB" sz="1050">
                  <a:latin typeface="Trebuchet MS" panose="020B0603020202020204" pitchFamily="34" charset="0"/>
                </a:rPr>
                <a:t>2022</a:t>
              </a:r>
            </a:p>
          </p:txBody>
        </p:sp>
        <p:cxnSp>
          <p:nvCxnSpPr>
            <p:cNvPr id="23" name="Connecteur droit 22">
              <a:extLst>
                <a:ext uri="{FF2B5EF4-FFF2-40B4-BE49-F238E27FC236}">
                  <a16:creationId xmlns:a16="http://schemas.microsoft.com/office/drawing/2014/main" id="{490C1DEE-B2C6-4E29-90DE-57502161E2E3}"/>
                </a:ext>
              </a:extLst>
            </p:cNvPr>
            <p:cNvCxnSpPr/>
            <p:nvPr/>
          </p:nvCxnSpPr>
          <p:spPr bwMode="auto">
            <a:xfrm>
              <a:off x="2033675" y="4936680"/>
              <a:ext cx="0" cy="17594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65" name="Connecteur droit 64">
              <a:extLst>
                <a:ext uri="{FF2B5EF4-FFF2-40B4-BE49-F238E27FC236}">
                  <a16:creationId xmlns:a16="http://schemas.microsoft.com/office/drawing/2014/main" id="{EB020250-30D2-4120-A68D-DB49960C4BD2}"/>
                </a:ext>
              </a:extLst>
            </p:cNvPr>
            <p:cNvCxnSpPr/>
            <p:nvPr/>
          </p:nvCxnSpPr>
          <p:spPr bwMode="auto">
            <a:xfrm>
              <a:off x="2915959" y="4936680"/>
              <a:ext cx="0" cy="17594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66" name="Connecteur droit 65">
              <a:extLst>
                <a:ext uri="{FF2B5EF4-FFF2-40B4-BE49-F238E27FC236}">
                  <a16:creationId xmlns:a16="http://schemas.microsoft.com/office/drawing/2014/main" id="{DEEF0281-3E29-463E-899F-226F0F970ED9}"/>
                </a:ext>
              </a:extLst>
            </p:cNvPr>
            <p:cNvCxnSpPr/>
            <p:nvPr/>
          </p:nvCxnSpPr>
          <p:spPr bwMode="auto">
            <a:xfrm>
              <a:off x="3798243" y="4936680"/>
              <a:ext cx="0" cy="17594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67" name="Connecteur droit 66">
              <a:extLst>
                <a:ext uri="{FF2B5EF4-FFF2-40B4-BE49-F238E27FC236}">
                  <a16:creationId xmlns:a16="http://schemas.microsoft.com/office/drawing/2014/main" id="{DCDC9231-2D38-4062-82C3-90C78A076A3B}"/>
                </a:ext>
              </a:extLst>
            </p:cNvPr>
            <p:cNvCxnSpPr/>
            <p:nvPr/>
          </p:nvCxnSpPr>
          <p:spPr bwMode="auto">
            <a:xfrm>
              <a:off x="4680527" y="4936680"/>
              <a:ext cx="0" cy="17594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68" name="Connecteur droit 67">
              <a:extLst>
                <a:ext uri="{FF2B5EF4-FFF2-40B4-BE49-F238E27FC236}">
                  <a16:creationId xmlns:a16="http://schemas.microsoft.com/office/drawing/2014/main" id="{483DBB56-4A47-429D-8482-ADE480CCF7AD}"/>
                </a:ext>
              </a:extLst>
            </p:cNvPr>
            <p:cNvCxnSpPr/>
            <p:nvPr/>
          </p:nvCxnSpPr>
          <p:spPr bwMode="auto">
            <a:xfrm>
              <a:off x="5562811" y="4936680"/>
              <a:ext cx="0" cy="17594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69" name="Connecteur droit 68">
              <a:extLst>
                <a:ext uri="{FF2B5EF4-FFF2-40B4-BE49-F238E27FC236}">
                  <a16:creationId xmlns:a16="http://schemas.microsoft.com/office/drawing/2014/main" id="{E8E43B2B-A88F-4FB1-AD11-A9BD7DC3BFC5}"/>
                </a:ext>
              </a:extLst>
            </p:cNvPr>
            <p:cNvCxnSpPr>
              <a:cxnSpLocks/>
            </p:cNvCxnSpPr>
            <p:nvPr/>
          </p:nvCxnSpPr>
          <p:spPr bwMode="auto">
            <a:xfrm>
              <a:off x="6445094" y="4903742"/>
              <a:ext cx="0" cy="175940"/>
            </a:xfrm>
            <a:prstGeom prst="line">
              <a:avLst/>
            </a:prstGeom>
            <a:solidFill>
              <a:schemeClr val="accent1"/>
            </a:solidFill>
            <a:ln w="28575" cap="flat" cmpd="sng" algn="ctr">
              <a:solidFill>
                <a:schemeClr val="tx1"/>
              </a:solidFill>
              <a:prstDash val="solid"/>
              <a:round/>
              <a:headEnd type="none" w="med" len="med"/>
              <a:tailEnd type="none" w="med" len="med"/>
            </a:ln>
            <a:effectLst/>
          </p:spPr>
        </p:cxnSp>
        <p:sp>
          <p:nvSpPr>
            <p:cNvPr id="72" name="Rectangle 71">
              <a:extLst>
                <a:ext uri="{FF2B5EF4-FFF2-40B4-BE49-F238E27FC236}">
                  <a16:creationId xmlns:a16="http://schemas.microsoft.com/office/drawing/2014/main" id="{83E62A6F-CBF9-4DCE-A0EB-53D0B08028DA}"/>
                </a:ext>
              </a:extLst>
            </p:cNvPr>
            <p:cNvSpPr/>
            <p:nvPr/>
          </p:nvSpPr>
          <p:spPr bwMode="auto">
            <a:xfrm>
              <a:off x="1298040" y="2830890"/>
              <a:ext cx="5138074" cy="109316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5" name="Rectangle 74">
              <a:extLst>
                <a:ext uri="{FF2B5EF4-FFF2-40B4-BE49-F238E27FC236}">
                  <a16:creationId xmlns:a16="http://schemas.microsoft.com/office/drawing/2014/main" id="{468E3F19-A461-4681-A1F7-6F057D009CED}"/>
                </a:ext>
              </a:extLst>
            </p:cNvPr>
            <p:cNvSpPr/>
            <p:nvPr/>
          </p:nvSpPr>
          <p:spPr bwMode="auto">
            <a:xfrm>
              <a:off x="295547" y="2862450"/>
              <a:ext cx="889280" cy="1051772"/>
            </a:xfrm>
            <a:prstGeom prst="rect">
              <a:avLst/>
            </a:prstGeom>
            <a:solidFill>
              <a:schemeClr val="tx1"/>
            </a:solidFill>
            <a:ln w="9525" cap="flat" cmpd="sng" algn="ctr">
              <a:noFill/>
              <a:prstDash val="solid"/>
              <a:round/>
              <a:headEnd type="none" w="med" len="med"/>
              <a:tailEnd type="none" w="med" len="med"/>
            </a:ln>
            <a:effectLst/>
          </p:spPr>
          <p:txBody>
            <a:bodyPr vert="horz" wrap="square" lIns="36000" tIns="288000" rIns="3600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Regular Monitoring of portfolio </a:t>
              </a:r>
            </a:p>
          </p:txBody>
        </p:sp>
        <p:sp>
          <p:nvSpPr>
            <p:cNvPr id="90" name="Rectangle 89">
              <a:extLst>
                <a:ext uri="{FF2B5EF4-FFF2-40B4-BE49-F238E27FC236}">
                  <a16:creationId xmlns:a16="http://schemas.microsoft.com/office/drawing/2014/main" id="{0E58BB99-0FBB-4B33-8998-A92E2A93C1D8}"/>
                </a:ext>
              </a:extLst>
            </p:cNvPr>
            <p:cNvSpPr/>
            <p:nvPr/>
          </p:nvSpPr>
          <p:spPr bwMode="auto">
            <a:xfrm>
              <a:off x="2915959" y="3324949"/>
              <a:ext cx="3520153" cy="167217"/>
            </a:xfrm>
            <a:prstGeom prst="rect">
              <a:avLst/>
            </a:prstGeom>
            <a:solidFill>
              <a:schemeClr val="tx1">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82" name="Graphique 81">
              <a:extLst>
                <a:ext uri="{FF2B5EF4-FFF2-40B4-BE49-F238E27FC236}">
                  <a16:creationId xmlns:a16="http://schemas.microsoft.com/office/drawing/2014/main" id="{19F2ADE3-6321-4C77-8519-869689D4D716}"/>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17009"/>
            <a:stretch/>
          </p:blipFill>
          <p:spPr>
            <a:xfrm>
              <a:off x="612908" y="2908877"/>
              <a:ext cx="229001" cy="237563"/>
            </a:xfrm>
            <a:prstGeom prst="rect">
              <a:avLst/>
            </a:prstGeom>
          </p:spPr>
        </p:pic>
        <p:cxnSp>
          <p:nvCxnSpPr>
            <p:cNvPr id="97" name="Connecteur droit 96">
              <a:extLst>
                <a:ext uri="{FF2B5EF4-FFF2-40B4-BE49-F238E27FC236}">
                  <a16:creationId xmlns:a16="http://schemas.microsoft.com/office/drawing/2014/main" id="{397CF4FA-80C2-42F1-AE11-DF22766E7D46}"/>
                </a:ext>
              </a:extLst>
            </p:cNvPr>
            <p:cNvCxnSpPr/>
            <p:nvPr/>
          </p:nvCxnSpPr>
          <p:spPr bwMode="auto">
            <a:xfrm>
              <a:off x="1276965" y="4936680"/>
              <a:ext cx="0" cy="175940"/>
            </a:xfrm>
            <a:prstGeom prst="line">
              <a:avLst/>
            </a:prstGeom>
            <a:solidFill>
              <a:schemeClr val="accent1"/>
            </a:solidFill>
            <a:ln w="28575" cap="flat" cmpd="sng" algn="ctr">
              <a:solidFill>
                <a:schemeClr val="tx1"/>
              </a:solidFill>
              <a:prstDash val="solid"/>
              <a:round/>
              <a:headEnd type="none" w="med" len="med"/>
              <a:tailEnd type="none" w="med" len="med"/>
            </a:ln>
            <a:effectLst/>
          </p:spPr>
        </p:cxnSp>
        <p:sp>
          <p:nvSpPr>
            <p:cNvPr id="76" name="Rectangle 75">
              <a:extLst>
                <a:ext uri="{FF2B5EF4-FFF2-40B4-BE49-F238E27FC236}">
                  <a16:creationId xmlns:a16="http://schemas.microsoft.com/office/drawing/2014/main" id="{889DCB6E-96E1-445D-951F-A7E8611C5B58}"/>
                </a:ext>
              </a:extLst>
            </p:cNvPr>
            <p:cNvSpPr/>
            <p:nvPr/>
          </p:nvSpPr>
          <p:spPr bwMode="auto">
            <a:xfrm>
              <a:off x="295547" y="3989449"/>
              <a:ext cx="889280" cy="1051772"/>
            </a:xfrm>
            <a:prstGeom prst="rect">
              <a:avLst/>
            </a:prstGeom>
            <a:solidFill>
              <a:schemeClr val="tx2"/>
            </a:solidFill>
            <a:ln w="9525" cap="flat" cmpd="sng" algn="ctr">
              <a:noFill/>
              <a:prstDash val="solid"/>
              <a:round/>
              <a:headEnd type="none" w="med" len="med"/>
              <a:tailEnd type="none" w="med" len="med"/>
            </a:ln>
            <a:effectLst/>
          </p:spPr>
          <p:txBody>
            <a:bodyPr vert="horz" wrap="square" lIns="36000" tIns="28800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normalizeH="0">
                  <a:ln>
                    <a:noFill/>
                  </a:ln>
                  <a:solidFill>
                    <a:schemeClr val="bg1"/>
                  </a:solidFill>
                  <a:effectLst/>
                  <a:latin typeface="Trebuchet MS" panose="020B0603020202020204" pitchFamily="34" charset="0"/>
                </a:rPr>
                <a:t>Onboarding of new clients / </a:t>
              </a:r>
              <a:br>
                <a:rPr kumimoji="0" lang="en-GB" sz="1000" b="1" i="0" u="none" strike="noStrike" normalizeH="0">
                  <a:ln>
                    <a:noFill/>
                  </a:ln>
                  <a:solidFill>
                    <a:schemeClr val="bg1"/>
                  </a:solidFill>
                  <a:effectLst/>
                  <a:latin typeface="Trebuchet MS" panose="020B0603020202020204" pitchFamily="34" charset="0"/>
                </a:rPr>
              </a:br>
              <a:r>
                <a:rPr kumimoji="0" lang="en-GB" sz="1000" b="1" i="0" u="none" strike="noStrike" normalizeH="0">
                  <a:ln>
                    <a:noFill/>
                  </a:ln>
                  <a:solidFill>
                    <a:schemeClr val="bg1"/>
                  </a:solidFill>
                  <a:effectLst/>
                  <a:latin typeface="Trebuchet MS" panose="020B0603020202020204" pitchFamily="34" charset="0"/>
                </a:rPr>
                <a:t>suppliers</a:t>
              </a:r>
            </a:p>
          </p:txBody>
        </p:sp>
        <p:sp>
          <p:nvSpPr>
            <p:cNvPr id="34" name="Rectangle 33">
              <a:extLst>
                <a:ext uri="{FF2B5EF4-FFF2-40B4-BE49-F238E27FC236}">
                  <a16:creationId xmlns:a16="http://schemas.microsoft.com/office/drawing/2014/main" id="{636EF01C-84E2-4E3D-A199-941DBC5E4A50}"/>
                </a:ext>
              </a:extLst>
            </p:cNvPr>
            <p:cNvSpPr/>
            <p:nvPr/>
          </p:nvSpPr>
          <p:spPr bwMode="auto">
            <a:xfrm>
              <a:off x="1355396" y="4445740"/>
              <a:ext cx="5080715" cy="89353"/>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80" name="Graphique 79">
              <a:extLst>
                <a:ext uri="{FF2B5EF4-FFF2-40B4-BE49-F238E27FC236}">
                  <a16:creationId xmlns:a16="http://schemas.microsoft.com/office/drawing/2014/main" id="{91649CA9-1F10-4FF0-AAB0-EB02A520518D}"/>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19107"/>
            <a:stretch/>
          </p:blipFill>
          <p:spPr>
            <a:xfrm>
              <a:off x="610705" y="4046376"/>
              <a:ext cx="241213" cy="243904"/>
            </a:xfrm>
            <a:prstGeom prst="rect">
              <a:avLst/>
            </a:prstGeom>
          </p:spPr>
        </p:pic>
        <p:sp>
          <p:nvSpPr>
            <p:cNvPr id="30" name="Rectangle 29">
              <a:extLst>
                <a:ext uri="{FF2B5EF4-FFF2-40B4-BE49-F238E27FC236}">
                  <a16:creationId xmlns:a16="http://schemas.microsoft.com/office/drawing/2014/main" id="{FD4E7352-15A7-49E8-97BD-7A774DBD2FE3}"/>
                </a:ext>
              </a:extLst>
            </p:cNvPr>
            <p:cNvSpPr/>
            <p:nvPr/>
          </p:nvSpPr>
          <p:spPr bwMode="auto">
            <a:xfrm>
              <a:off x="295547" y="1735451"/>
              <a:ext cx="889280" cy="1051772"/>
            </a:xfrm>
            <a:prstGeom prst="rect">
              <a:avLst/>
            </a:prstGeom>
            <a:solidFill>
              <a:schemeClr val="accent1">
                <a:lumMod val="75000"/>
              </a:schemeClr>
            </a:solidFill>
            <a:ln w="9525" cap="flat" cmpd="sng" algn="ctr">
              <a:noFill/>
              <a:prstDash val="solid"/>
              <a:round/>
              <a:headEnd type="none" w="med" len="med"/>
              <a:tailEnd type="none" w="med" len="med"/>
            </a:ln>
            <a:effectLst/>
          </p:spPr>
          <p:txBody>
            <a:bodyPr vert="horz" wrap="square" lIns="36000" tIns="28800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bg1"/>
                  </a:solidFill>
                  <a:latin typeface="Trebuchet MS" panose="020B0603020202020204" pitchFamily="34" charset="0"/>
                </a:rPr>
                <a:t>Remediation of existing portfolio</a:t>
              </a:r>
              <a:endParaRPr kumimoji="0" lang="en-GB" sz="1000" b="1" i="0" u="none" strike="noStrike" normalizeH="0">
                <a:ln>
                  <a:noFill/>
                </a:ln>
                <a:solidFill>
                  <a:schemeClr val="bg1"/>
                </a:solidFill>
                <a:effectLst/>
                <a:latin typeface="Trebuchet MS" panose="020B0603020202020204" pitchFamily="34" charset="0"/>
              </a:endParaRPr>
            </a:p>
          </p:txBody>
        </p:sp>
        <p:sp>
          <p:nvSpPr>
            <p:cNvPr id="77" name="Rectangle 76">
              <a:extLst>
                <a:ext uri="{FF2B5EF4-FFF2-40B4-BE49-F238E27FC236}">
                  <a16:creationId xmlns:a16="http://schemas.microsoft.com/office/drawing/2014/main" id="{56F10CA0-3598-4C7C-A228-B8D24AD9BC20}"/>
                </a:ext>
              </a:extLst>
            </p:cNvPr>
            <p:cNvSpPr/>
            <p:nvPr/>
          </p:nvSpPr>
          <p:spPr bwMode="auto">
            <a:xfrm>
              <a:off x="1355395" y="2148253"/>
              <a:ext cx="5080717" cy="306092"/>
            </a:xfrm>
            <a:prstGeom prst="rect">
              <a:avLst/>
            </a:prstGeom>
            <a:solidFill>
              <a:schemeClr val="accent2">
                <a:lumMod val="9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81" name="Graphique 80">
              <a:extLst>
                <a:ext uri="{FF2B5EF4-FFF2-40B4-BE49-F238E27FC236}">
                  <a16:creationId xmlns:a16="http://schemas.microsoft.com/office/drawing/2014/main" id="{7A54F684-6425-4574-AD6C-9A08AA504B94}"/>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b="30800"/>
            <a:stretch/>
          </p:blipFill>
          <p:spPr>
            <a:xfrm>
              <a:off x="598466" y="1835174"/>
              <a:ext cx="250823" cy="216962"/>
            </a:xfrm>
            <a:prstGeom prst="rect">
              <a:avLst/>
            </a:prstGeom>
          </p:spPr>
        </p:pic>
        <p:cxnSp>
          <p:nvCxnSpPr>
            <p:cNvPr id="88" name="Connecteur droit 87">
              <a:extLst>
                <a:ext uri="{FF2B5EF4-FFF2-40B4-BE49-F238E27FC236}">
                  <a16:creationId xmlns:a16="http://schemas.microsoft.com/office/drawing/2014/main" id="{1AE19E9E-9275-4656-8338-093BE1EEE652}"/>
                </a:ext>
              </a:extLst>
            </p:cNvPr>
            <p:cNvCxnSpPr/>
            <p:nvPr/>
          </p:nvCxnSpPr>
          <p:spPr bwMode="auto">
            <a:xfrm flipV="1">
              <a:off x="3802718" y="1752901"/>
              <a:ext cx="0" cy="3283562"/>
            </a:xfrm>
            <a:prstGeom prst="line">
              <a:avLst/>
            </a:prstGeom>
            <a:solidFill>
              <a:schemeClr val="accent1"/>
            </a:solidFill>
            <a:ln w="12700" cap="flat" cmpd="sng" algn="ctr">
              <a:solidFill>
                <a:schemeClr val="accent1"/>
              </a:solidFill>
              <a:prstDash val="dash"/>
              <a:round/>
              <a:headEnd type="none" w="med" len="med"/>
              <a:tailEnd type="none" w="med" len="med"/>
            </a:ln>
            <a:effectLst/>
          </p:spPr>
        </p:cxnSp>
        <p:sp>
          <p:nvSpPr>
            <p:cNvPr id="102" name="ZoneTexte 51">
              <a:extLst>
                <a:ext uri="{FF2B5EF4-FFF2-40B4-BE49-F238E27FC236}">
                  <a16:creationId xmlns:a16="http://schemas.microsoft.com/office/drawing/2014/main" id="{AF0C3CD5-E686-4D74-B2C6-F072E6DA7A36}"/>
                </a:ext>
              </a:extLst>
            </p:cNvPr>
            <p:cNvSpPr txBox="1"/>
            <p:nvPr/>
          </p:nvSpPr>
          <p:spPr>
            <a:xfrm>
              <a:off x="1474610" y="2938903"/>
              <a:ext cx="1560803" cy="688256"/>
            </a:xfrm>
            <a:prstGeom prst="wedgeRectCallout">
              <a:avLst>
                <a:gd name="adj1" fmla="val 78222"/>
                <a:gd name="adj2" fmla="val 14183"/>
              </a:avLst>
            </a:prstGeom>
            <a:solidFill>
              <a:schemeClr val="bg1"/>
            </a:solidFill>
            <a:ln>
              <a:solidFill>
                <a:schemeClr val="bg1">
                  <a:lumMod val="75000"/>
                </a:schemeClr>
              </a:solidFill>
            </a:ln>
          </p:spPr>
          <p:txBody>
            <a:bodyPr wrap="square" lIns="36000" tIns="36000" rIns="36000" bIns="36000" rtlCol="0">
              <a:spAutoFit/>
            </a:bodyPr>
            <a:lstStyle/>
            <a:p>
              <a:pPr algn="ctr"/>
              <a:r>
                <a:rPr lang="en-GB" sz="1000" i="1">
                  <a:latin typeface="Trebuchet MS" panose="020B0603020202020204" pitchFamily="34" charset="0"/>
                </a:rPr>
                <a:t>Regular </a:t>
              </a:r>
              <a:r>
                <a:rPr lang="en-GB" sz="1000" i="1">
                  <a:solidFill>
                    <a:schemeClr val="tx2"/>
                  </a:solidFill>
                  <a:latin typeface="Trebuchet MS" panose="020B0603020202020204" pitchFamily="34" charset="0"/>
                </a:rPr>
                <a:t>monitoring</a:t>
              </a:r>
              <a:r>
                <a:rPr lang="en-GB" sz="1000" i="1">
                  <a:latin typeface="Trebuchet MS" panose="020B0603020202020204" pitchFamily="34" charset="0"/>
                </a:rPr>
                <a:t> budget represents approximatively</a:t>
              </a:r>
              <a:r>
                <a:rPr lang="en-GB" sz="1000" i="1">
                  <a:solidFill>
                    <a:schemeClr val="tx2"/>
                  </a:solidFill>
                  <a:latin typeface="Trebuchet MS" panose="020B0603020202020204" pitchFamily="34" charset="0"/>
                </a:rPr>
                <a:t> 2/3 </a:t>
              </a:r>
              <a:r>
                <a:rPr lang="en-GB" sz="1000" i="1">
                  <a:latin typeface="Trebuchet MS" panose="020B0603020202020204" pitchFamily="34" charset="0"/>
                </a:rPr>
                <a:t>of the </a:t>
              </a:r>
              <a:r>
                <a:rPr lang="en-GB" sz="1000" i="1">
                  <a:solidFill>
                    <a:schemeClr val="tx2"/>
                  </a:solidFill>
                  <a:latin typeface="Trebuchet MS" panose="020B0603020202020204" pitchFamily="34" charset="0"/>
                </a:rPr>
                <a:t>remediation budget</a:t>
              </a:r>
            </a:p>
          </p:txBody>
        </p:sp>
        <p:sp>
          <p:nvSpPr>
            <p:cNvPr id="104" name="ZoneTexte 51">
              <a:extLst>
                <a:ext uri="{FF2B5EF4-FFF2-40B4-BE49-F238E27FC236}">
                  <a16:creationId xmlns:a16="http://schemas.microsoft.com/office/drawing/2014/main" id="{F6BDB4F8-5770-4847-9FD6-C10902E59480}"/>
                </a:ext>
              </a:extLst>
            </p:cNvPr>
            <p:cNvSpPr txBox="1"/>
            <p:nvPr/>
          </p:nvSpPr>
          <p:spPr>
            <a:xfrm>
              <a:off x="1474610" y="3713426"/>
              <a:ext cx="1560803" cy="842145"/>
            </a:xfrm>
            <a:prstGeom prst="wedgeRectCallout">
              <a:avLst>
                <a:gd name="adj1" fmla="val 66017"/>
                <a:gd name="adj2" fmla="val 45552"/>
              </a:avLst>
            </a:prstGeom>
            <a:solidFill>
              <a:schemeClr val="bg1"/>
            </a:solidFill>
            <a:ln>
              <a:solidFill>
                <a:schemeClr val="bg1">
                  <a:lumMod val="75000"/>
                </a:schemeClr>
              </a:solidFill>
            </a:ln>
          </p:spPr>
          <p:txBody>
            <a:bodyPr wrap="square" lIns="36000" tIns="36000" rIns="36000" bIns="36000" rtlCol="0">
              <a:spAutoFit/>
            </a:bodyPr>
            <a:lstStyle/>
            <a:p>
              <a:pPr algn="ctr"/>
              <a:r>
                <a:rPr lang="en-GB" sz="1000" i="1">
                  <a:solidFill>
                    <a:schemeClr val="tx2"/>
                  </a:solidFill>
                  <a:latin typeface="Trebuchet MS" panose="020B0603020202020204" pitchFamily="34" charset="0"/>
                </a:rPr>
                <a:t>Onboarding</a:t>
              </a:r>
              <a:r>
                <a:rPr lang="en-GB" sz="1000" i="1">
                  <a:latin typeface="Trebuchet MS" panose="020B0603020202020204" pitchFamily="34" charset="0"/>
                </a:rPr>
                <a:t> of new clients/suppliers budget can be estimated between </a:t>
              </a:r>
              <a:r>
                <a:rPr lang="en-GB" sz="1000" i="1">
                  <a:solidFill>
                    <a:schemeClr val="tx2"/>
                  </a:solidFill>
                  <a:latin typeface="Trebuchet MS" panose="020B0603020202020204" pitchFamily="34" charset="0"/>
                </a:rPr>
                <a:t>10%</a:t>
              </a:r>
              <a:r>
                <a:rPr lang="en-GB" sz="1000" i="1">
                  <a:latin typeface="Trebuchet MS" panose="020B0603020202020204" pitchFamily="34" charset="0"/>
                </a:rPr>
                <a:t> and </a:t>
              </a:r>
              <a:r>
                <a:rPr lang="en-GB" sz="1000" i="1">
                  <a:solidFill>
                    <a:schemeClr val="tx2"/>
                  </a:solidFill>
                  <a:latin typeface="Trebuchet MS" panose="020B0603020202020204" pitchFamily="34" charset="0"/>
                </a:rPr>
                <a:t>20%</a:t>
              </a:r>
              <a:r>
                <a:rPr lang="en-GB" sz="1000" i="1">
                  <a:latin typeface="Trebuchet MS" panose="020B0603020202020204" pitchFamily="34" charset="0"/>
                </a:rPr>
                <a:t> of </a:t>
              </a:r>
              <a:r>
                <a:rPr lang="en-GB" sz="1000" i="1">
                  <a:solidFill>
                    <a:schemeClr val="tx2"/>
                  </a:solidFill>
                  <a:latin typeface="Trebuchet MS" panose="020B0603020202020204" pitchFamily="34" charset="0"/>
                </a:rPr>
                <a:t>remediation</a:t>
              </a:r>
            </a:p>
          </p:txBody>
        </p:sp>
      </p:grpSp>
      <p:sp>
        <p:nvSpPr>
          <p:cNvPr id="83" name="Freeform 9">
            <a:extLst>
              <a:ext uri="{FF2B5EF4-FFF2-40B4-BE49-F238E27FC236}">
                <a16:creationId xmlns:a16="http://schemas.microsoft.com/office/drawing/2014/main" id="{0FC983B7-FA0C-493D-A32D-6864567F63B4}"/>
              </a:ext>
            </a:extLst>
          </p:cNvPr>
          <p:cNvSpPr>
            <a:spLocks noEditPoints="1"/>
          </p:cNvSpPr>
          <p:nvPr/>
        </p:nvSpPr>
        <p:spPr bwMode="auto">
          <a:xfrm>
            <a:off x="152836" y="229262"/>
            <a:ext cx="382759" cy="416927"/>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grpSp>
        <p:nvGrpSpPr>
          <p:cNvPr id="70" name="Groupe 69">
            <a:extLst>
              <a:ext uri="{FF2B5EF4-FFF2-40B4-BE49-F238E27FC236}">
                <a16:creationId xmlns:a16="http://schemas.microsoft.com/office/drawing/2014/main" id="{BFA72349-82B7-48D8-A211-8F0D346F7FD3}"/>
              </a:ext>
            </a:extLst>
          </p:cNvPr>
          <p:cNvGrpSpPr/>
          <p:nvPr/>
        </p:nvGrpSpPr>
        <p:grpSpPr>
          <a:xfrm>
            <a:off x="9466708" y="546080"/>
            <a:ext cx="311267" cy="348069"/>
            <a:chOff x="10655921" y="3792390"/>
            <a:chExt cx="914400" cy="1075485"/>
          </a:xfrm>
          <a:solidFill>
            <a:schemeClr val="accent1">
              <a:lumMod val="75000"/>
            </a:schemeClr>
          </a:solidFill>
        </p:grpSpPr>
        <p:pic>
          <p:nvPicPr>
            <p:cNvPr id="79" name="Graphique 78" descr="Main ouverte">
              <a:extLst>
                <a:ext uri="{FF2B5EF4-FFF2-40B4-BE49-F238E27FC236}">
                  <a16:creationId xmlns:a16="http://schemas.microsoft.com/office/drawing/2014/main" id="{52C89E2E-2D59-47C3-9CAE-2480609D3C2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655921" y="3953475"/>
              <a:ext cx="914400" cy="914400"/>
            </a:xfrm>
            <a:prstGeom prst="rect">
              <a:avLst/>
            </a:prstGeom>
          </p:spPr>
        </p:pic>
        <p:pic>
          <p:nvPicPr>
            <p:cNvPr id="89" name="Graphique 88" descr="Argent">
              <a:extLst>
                <a:ext uri="{FF2B5EF4-FFF2-40B4-BE49-F238E27FC236}">
                  <a16:creationId xmlns:a16="http://schemas.microsoft.com/office/drawing/2014/main" id="{1ADA649A-E2E1-483C-91CE-774671D3223E}"/>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0821856" y="3792390"/>
              <a:ext cx="533404" cy="533404"/>
            </a:xfrm>
            <a:prstGeom prst="rect">
              <a:avLst/>
            </a:prstGeom>
          </p:spPr>
        </p:pic>
      </p:grpSp>
      <p:sp>
        <p:nvSpPr>
          <p:cNvPr id="92" name="ZoneTexte 91">
            <a:extLst>
              <a:ext uri="{FF2B5EF4-FFF2-40B4-BE49-F238E27FC236}">
                <a16:creationId xmlns:a16="http://schemas.microsoft.com/office/drawing/2014/main" id="{F8EADC77-8B25-4E3D-964C-5600F0D487F5}"/>
              </a:ext>
            </a:extLst>
          </p:cNvPr>
          <p:cNvSpPr txBox="1"/>
          <p:nvPr/>
        </p:nvSpPr>
        <p:spPr>
          <a:xfrm>
            <a:off x="8390877" y="533393"/>
            <a:ext cx="1304683" cy="338554"/>
          </a:xfrm>
          <a:prstGeom prst="rect">
            <a:avLst/>
          </a:prstGeom>
          <a:noFill/>
        </p:spPr>
        <p:txBody>
          <a:bodyPr wrap="square">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i="1">
                <a:solidFill>
                  <a:schemeClr val="accent1">
                    <a:lumMod val="75000"/>
                  </a:schemeClr>
                </a:solidFill>
                <a:latin typeface="Trebuchet MS" panose="020B0603020202020204" pitchFamily="34" charset="0"/>
              </a:rPr>
              <a:t>Anti-corruption regulations</a:t>
            </a:r>
          </a:p>
        </p:txBody>
      </p:sp>
      <p:sp>
        <p:nvSpPr>
          <p:cNvPr id="106" name="Rectangle 105">
            <a:extLst>
              <a:ext uri="{FF2B5EF4-FFF2-40B4-BE49-F238E27FC236}">
                <a16:creationId xmlns:a16="http://schemas.microsoft.com/office/drawing/2014/main" id="{48B2F8A0-1C2C-46E7-B32D-FDE28E5559D7}"/>
              </a:ext>
            </a:extLst>
          </p:cNvPr>
          <p:cNvSpPr/>
          <p:nvPr/>
        </p:nvSpPr>
        <p:spPr bwMode="auto">
          <a:xfrm>
            <a:off x="4887971" y="5584854"/>
            <a:ext cx="4890004" cy="863975"/>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a:ln>
                  <a:noFill/>
                </a:ln>
                <a:solidFill>
                  <a:schemeClr val="tx1"/>
                </a:solidFill>
                <a:effectLst/>
                <a:latin typeface="Trebuchet MS" panose="020B0603020202020204" pitchFamily="34" charset="0"/>
              </a:rPr>
              <a:t>“The </a:t>
            </a:r>
            <a:r>
              <a:rPr kumimoji="0" lang="en-GB" sz="1000" b="0" i="1" u="none" strike="noStrike" cap="none" normalizeH="0" baseline="0">
                <a:ln>
                  <a:noFill/>
                </a:ln>
                <a:solidFill>
                  <a:schemeClr val="tx2"/>
                </a:solidFill>
                <a:effectLst/>
                <a:latin typeface="Trebuchet MS" panose="020B0603020202020204" pitchFamily="34" charset="0"/>
              </a:rPr>
              <a:t>market</a:t>
            </a:r>
            <a:r>
              <a:rPr kumimoji="0" lang="en-GB" sz="1000" b="0" i="1" u="none" strike="noStrike" cap="none" normalizeH="0" baseline="0">
                <a:ln>
                  <a:noFill/>
                </a:ln>
                <a:solidFill>
                  <a:schemeClr val="tx1"/>
                </a:solidFill>
                <a:effectLst/>
                <a:latin typeface="Trebuchet MS" panose="020B0603020202020204" pitchFamily="34" charset="0"/>
              </a:rPr>
              <a:t> related to the </a:t>
            </a:r>
            <a:r>
              <a:rPr kumimoji="0" lang="en-GB" sz="1000" b="0" i="1" u="none" strike="noStrike" cap="none" normalizeH="0" baseline="0" err="1">
                <a:ln>
                  <a:noFill/>
                </a:ln>
                <a:solidFill>
                  <a:schemeClr val="tx1"/>
                </a:solidFill>
                <a:effectLst/>
                <a:latin typeface="Trebuchet MS" panose="020B0603020202020204" pitchFamily="34" charset="0"/>
              </a:rPr>
              <a:t>Sapin</a:t>
            </a:r>
            <a:r>
              <a:rPr kumimoji="0" lang="en-GB" sz="1000" b="0" i="1" u="none" strike="noStrike" cap="none" normalizeH="0" baseline="0">
                <a:ln>
                  <a:noFill/>
                </a:ln>
                <a:solidFill>
                  <a:schemeClr val="tx1"/>
                </a:solidFill>
                <a:effectLst/>
                <a:latin typeface="Trebuchet MS" panose="020B0603020202020204" pitchFamily="34" charset="0"/>
              </a:rPr>
              <a:t> II Law </a:t>
            </a:r>
            <a:r>
              <a:rPr kumimoji="0" lang="en-GB" sz="1000" b="0" i="1" u="none" strike="noStrike" cap="none" normalizeH="0" baseline="0">
                <a:ln>
                  <a:noFill/>
                </a:ln>
                <a:solidFill>
                  <a:schemeClr val="tx2"/>
                </a:solidFill>
                <a:effectLst/>
                <a:latin typeface="Trebuchet MS" panose="020B0603020202020204" pitchFamily="34" charset="0"/>
              </a:rPr>
              <a:t>will</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expand</a:t>
            </a:r>
            <a:r>
              <a:rPr kumimoji="0" lang="en-GB" sz="1000" b="0" i="1" u="none" strike="noStrike" cap="none" normalizeH="0" baseline="0">
                <a:ln>
                  <a:noFill/>
                </a:ln>
                <a:solidFill>
                  <a:schemeClr val="tx1"/>
                </a:solidFill>
                <a:effectLst/>
                <a:latin typeface="Trebuchet MS" panose="020B0603020202020204" pitchFamily="34" charset="0"/>
              </a:rPr>
              <a:t> in the coming years as the </a:t>
            </a:r>
            <a:r>
              <a:rPr kumimoji="0" lang="en-GB" sz="1000" b="0" i="1" u="none" strike="noStrike" cap="none" normalizeH="0" baseline="0">
                <a:ln>
                  <a:noFill/>
                </a:ln>
                <a:solidFill>
                  <a:schemeClr val="tx2"/>
                </a:solidFill>
                <a:effectLst/>
                <a:latin typeface="Trebuchet MS" panose="020B0603020202020204" pitchFamily="34" charset="0"/>
              </a:rPr>
              <a:t>law</a:t>
            </a:r>
            <a:r>
              <a:rPr kumimoji="0" lang="en-GB" sz="1000" b="0" i="1" u="none" strike="noStrike" cap="none" normalizeH="0" baseline="0">
                <a:ln>
                  <a:noFill/>
                </a:ln>
                <a:solidFill>
                  <a:schemeClr val="tx1"/>
                </a:solidFill>
                <a:effectLst/>
                <a:latin typeface="Trebuchet MS" panose="020B0603020202020204" pitchFamily="34" charset="0"/>
              </a:rPr>
              <a:t> will be </a:t>
            </a:r>
            <a:r>
              <a:rPr kumimoji="0" lang="en-GB" sz="1000" b="0" i="1" u="none" strike="noStrike" cap="none" normalizeH="0" baseline="0">
                <a:ln>
                  <a:noFill/>
                </a:ln>
                <a:solidFill>
                  <a:schemeClr val="tx2"/>
                </a:solidFill>
                <a:effectLst/>
                <a:latin typeface="Trebuchet MS" panose="020B0603020202020204" pitchFamily="34" charset="0"/>
              </a:rPr>
              <a:t>amended</a:t>
            </a:r>
            <a:r>
              <a:rPr kumimoji="0" lang="en-GB" sz="1000" b="0" i="1" u="none" strike="noStrike" cap="none" normalizeH="0" baseline="0">
                <a:ln>
                  <a:noFill/>
                </a:ln>
                <a:solidFill>
                  <a:schemeClr val="tx1"/>
                </a:solidFill>
                <a:effectLst/>
                <a:latin typeface="Trebuchet MS" panose="020B0603020202020204" pitchFamily="34" charset="0"/>
              </a:rPr>
              <a:t> as new loopholes and corruption mechanisms are discovered and the number of </a:t>
            </a:r>
            <a:r>
              <a:rPr kumimoji="0" lang="en-GB" sz="1000" b="0" i="1" u="none" strike="noStrike" cap="none" normalizeH="0" baseline="0">
                <a:ln>
                  <a:noFill/>
                </a:ln>
                <a:solidFill>
                  <a:schemeClr val="tx2"/>
                </a:solidFill>
                <a:effectLst/>
                <a:latin typeface="Trebuchet MS" panose="020B0603020202020204" pitchFamily="34" charset="0"/>
              </a:rPr>
              <a:t>companies</a:t>
            </a:r>
            <a:r>
              <a:rPr kumimoji="0" lang="en-GB" sz="1000" b="0" i="1" u="none" strike="noStrike" cap="none" normalizeH="0" baseline="0">
                <a:ln>
                  <a:noFill/>
                </a:ln>
                <a:solidFill>
                  <a:schemeClr val="tx1"/>
                </a:solidFill>
                <a:effectLst/>
                <a:latin typeface="Trebuchet MS" panose="020B0603020202020204" pitchFamily="34" charset="0"/>
              </a:rPr>
              <a:t> involved will </a:t>
            </a:r>
            <a:r>
              <a:rPr kumimoji="0" lang="en-GB" sz="1000" b="0" i="1" u="none" strike="noStrike" cap="none" normalizeH="0" baseline="0">
                <a:ln>
                  <a:noFill/>
                </a:ln>
                <a:solidFill>
                  <a:schemeClr val="tx2"/>
                </a:solidFill>
                <a:effectLst/>
                <a:latin typeface="Trebuchet MS" panose="020B0603020202020204" pitchFamily="34" charset="0"/>
              </a:rPr>
              <a:t>increase</a:t>
            </a:r>
            <a:r>
              <a:rPr kumimoji="0" lang="en-GB" sz="1000" b="0" i="1" u="none" strike="noStrike" cap="none" normalizeH="0" baseline="0">
                <a:ln>
                  <a:noFill/>
                </a:ln>
                <a:solidFill>
                  <a:schemeClr val="tx1"/>
                </a:solidFill>
                <a:effectLst/>
                <a:latin typeface="Trebuchet MS" panose="020B0603020202020204" pitchFamily="34" charset="0"/>
              </a:rPr>
              <a:t>. Today, the 2</a:t>
            </a:r>
            <a:r>
              <a:rPr kumimoji="0" lang="en-GB" sz="1000" b="0" i="1" u="none" strike="noStrike" cap="none" normalizeH="0" baseline="30000">
                <a:ln>
                  <a:noFill/>
                </a:ln>
                <a:solidFill>
                  <a:schemeClr val="tx1"/>
                </a:solidFill>
                <a:effectLst/>
                <a:latin typeface="Trebuchet MS" panose="020B0603020202020204" pitchFamily="34" charset="0"/>
              </a:rPr>
              <a:t>nd</a:t>
            </a:r>
            <a:r>
              <a:rPr kumimoji="0" lang="en-GB" sz="1000" b="0" i="1" u="none" strike="noStrike" cap="none" normalizeH="0" baseline="0">
                <a:ln>
                  <a:noFill/>
                </a:ln>
                <a:solidFill>
                  <a:schemeClr val="tx1"/>
                </a:solidFill>
                <a:effectLst/>
                <a:latin typeface="Trebuchet MS" panose="020B0603020202020204" pitchFamily="34" charset="0"/>
              </a:rPr>
              <a:t> pilar is already compulsory for all the companies of more than 50 employees” </a:t>
            </a:r>
          </a:p>
          <a:p>
            <a:pPr>
              <a:lnSpc>
                <a:spcPts val="1100"/>
              </a:lnSpc>
            </a:pPr>
            <a:r>
              <a:rPr lang="en-GB" sz="1000" spc="-30">
                <a:latin typeface="Trebuchet MS" panose="020B0603020202020204" pitchFamily="34" charset="0"/>
              </a:rPr>
              <a:t>Legal &amp; Compliance Director, ABL Europe</a:t>
            </a:r>
          </a:p>
        </p:txBody>
      </p:sp>
      <p:sp>
        <p:nvSpPr>
          <p:cNvPr id="107" name="Freeform 663">
            <a:extLst>
              <a:ext uri="{FF2B5EF4-FFF2-40B4-BE49-F238E27FC236}">
                <a16:creationId xmlns:a16="http://schemas.microsoft.com/office/drawing/2014/main" id="{EEA509BC-9ADF-4D9A-87E1-84283657EEE2}"/>
              </a:ext>
            </a:extLst>
          </p:cNvPr>
          <p:cNvSpPr>
            <a:spLocks noChangeAspect="1" noEditPoints="1"/>
          </p:cNvSpPr>
          <p:nvPr/>
        </p:nvSpPr>
        <p:spPr bwMode="auto">
          <a:xfrm>
            <a:off x="4749345" y="5878216"/>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93" name="Rectangle 92">
            <a:extLst>
              <a:ext uri="{FF2B5EF4-FFF2-40B4-BE49-F238E27FC236}">
                <a16:creationId xmlns:a16="http://schemas.microsoft.com/office/drawing/2014/main" id="{EC3903E5-556F-4C9F-88DF-E0CC88932EB0}"/>
              </a:ext>
            </a:extLst>
          </p:cNvPr>
          <p:cNvSpPr/>
          <p:nvPr/>
        </p:nvSpPr>
        <p:spPr bwMode="auto">
          <a:xfrm>
            <a:off x="216015" y="5584853"/>
            <a:ext cx="4514915" cy="86397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7675" marR="0" indent="-228600"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effectLst/>
                <a:latin typeface="Trebuchet MS" pitchFamily="34" charset="0"/>
              </a:rPr>
              <a:t>The compliance </a:t>
            </a:r>
            <a:r>
              <a:rPr kumimoji="0" lang="en-GB" sz="1050" b="0" i="0" u="none" strike="noStrike" cap="none" normalizeH="0" baseline="0">
                <a:ln>
                  <a:noFill/>
                </a:ln>
                <a:solidFill>
                  <a:schemeClr val="tx2"/>
                </a:solidFill>
                <a:effectLst/>
                <a:latin typeface="Trebuchet MS" pitchFamily="34" charset="0"/>
              </a:rPr>
              <a:t>market</a:t>
            </a:r>
            <a:r>
              <a:rPr kumimoji="0" lang="en-GB" sz="1050" b="0" i="0" u="none" strike="noStrike" cap="none" normalizeH="0" baseline="0">
                <a:ln>
                  <a:noFill/>
                </a:ln>
                <a:effectLst/>
                <a:latin typeface="Trebuchet MS" pitchFamily="34" charset="0"/>
              </a:rPr>
              <a:t> related to the Sapin Law II is </a:t>
            </a:r>
            <a:r>
              <a:rPr kumimoji="0" lang="en-GB" sz="1050" b="0" i="0" u="none" strike="noStrike" cap="none" normalizeH="0" baseline="0">
                <a:ln>
                  <a:noFill/>
                </a:ln>
                <a:solidFill>
                  <a:schemeClr val="tx2"/>
                </a:solidFill>
                <a:effectLst/>
                <a:latin typeface="Trebuchet MS" pitchFamily="34" charset="0"/>
              </a:rPr>
              <a:t>likely</a:t>
            </a:r>
            <a:r>
              <a:rPr kumimoji="0" lang="en-GB" sz="1050" b="0" i="0" u="none" strike="noStrike" cap="none" normalizeH="0" baseline="0">
                <a:ln>
                  <a:noFill/>
                </a:ln>
                <a:effectLst/>
                <a:latin typeface="Trebuchet MS" pitchFamily="34" charset="0"/>
              </a:rPr>
              <a:t> to be </a:t>
            </a:r>
            <a:r>
              <a:rPr kumimoji="0" lang="en-GB" sz="1050" b="0" i="0" u="none" strike="noStrike" cap="none" normalizeH="0" baseline="0">
                <a:ln>
                  <a:noFill/>
                </a:ln>
                <a:solidFill>
                  <a:schemeClr val="tx2"/>
                </a:solidFill>
                <a:effectLst/>
                <a:latin typeface="Trebuchet MS" pitchFamily="34" charset="0"/>
              </a:rPr>
              <a:t>constantly</a:t>
            </a:r>
            <a:r>
              <a:rPr kumimoji="0" lang="en-GB" sz="1050" b="0" i="0" u="none" strike="noStrike" cap="none" normalizeH="0" baseline="0">
                <a:ln>
                  <a:noFill/>
                </a:ln>
                <a:effectLst/>
                <a:latin typeface="Trebuchet MS" pitchFamily="34" charset="0"/>
              </a:rPr>
              <a:t> </a:t>
            </a:r>
            <a:r>
              <a:rPr kumimoji="0" lang="en-GB" sz="1050" b="0" i="0" u="none" strike="noStrike" cap="none" normalizeH="0" baseline="0">
                <a:ln>
                  <a:noFill/>
                </a:ln>
                <a:solidFill>
                  <a:schemeClr val="tx2"/>
                </a:solidFill>
                <a:effectLst/>
                <a:latin typeface="Trebuchet MS" pitchFamily="34" charset="0"/>
              </a:rPr>
              <a:t>changing</a:t>
            </a:r>
            <a:r>
              <a:rPr kumimoji="0" lang="en-GB" sz="1050" b="0" i="0" u="none" strike="noStrike" cap="none" normalizeH="0" baseline="0">
                <a:ln>
                  <a:noFill/>
                </a:ln>
                <a:effectLst/>
                <a:latin typeface="Trebuchet MS" pitchFamily="34" charset="0"/>
              </a:rPr>
              <a:t> due:</a:t>
            </a:r>
          </a:p>
          <a:p>
            <a:pPr marL="447675" marR="0" indent="-228600" defTabSz="914400" rtl="0" eaLnBrk="1" fontAlgn="base" latinLnBrk="0" hangingPunct="1">
              <a:lnSpc>
                <a:spcPct val="100000"/>
              </a:lnSpc>
              <a:spcBef>
                <a:spcPct val="0"/>
              </a:spcBef>
              <a:spcAft>
                <a:spcPct val="0"/>
              </a:spcAft>
              <a:buClr>
                <a:schemeClr val="tx1"/>
              </a:buClr>
              <a:buSzTx/>
              <a:buFont typeface="+mj-lt"/>
              <a:buAutoNum type="arabicPeriod"/>
              <a:tabLst/>
            </a:pPr>
            <a:r>
              <a:rPr kumimoji="0" lang="en-GB" sz="1050" b="0" i="0" u="none" strike="noStrike" cap="none" normalizeH="0" baseline="0">
                <a:ln>
                  <a:noFill/>
                </a:ln>
                <a:solidFill>
                  <a:schemeClr val="tx2"/>
                </a:solidFill>
                <a:effectLst/>
                <a:latin typeface="Trebuchet MS" pitchFamily="34" charset="0"/>
              </a:rPr>
              <a:t>Regulatory</a:t>
            </a:r>
            <a:r>
              <a:rPr kumimoji="0" lang="en-GB" sz="1050" b="0" i="0" u="none" strike="noStrike" cap="none" normalizeH="0" baseline="0">
                <a:ln>
                  <a:noFill/>
                </a:ln>
                <a:effectLst/>
                <a:latin typeface="Trebuchet MS" pitchFamily="34" charset="0"/>
              </a:rPr>
              <a:t> changes and evolutions</a:t>
            </a:r>
          </a:p>
          <a:p>
            <a:pPr marL="447675" marR="0" indent="-228600" defTabSz="914400" rtl="0" eaLnBrk="1" fontAlgn="base" latinLnBrk="0" hangingPunct="1">
              <a:lnSpc>
                <a:spcPct val="100000"/>
              </a:lnSpc>
              <a:spcBef>
                <a:spcPct val="0"/>
              </a:spcBef>
              <a:spcAft>
                <a:spcPct val="0"/>
              </a:spcAft>
              <a:buClr>
                <a:schemeClr val="tx1"/>
              </a:buClr>
              <a:buSzTx/>
              <a:buFont typeface="+mj-lt"/>
              <a:buAutoNum type="arabicPeriod"/>
              <a:tabLst/>
            </a:pPr>
            <a:r>
              <a:rPr lang="en-GB" sz="1050">
                <a:solidFill>
                  <a:schemeClr val="tx2"/>
                </a:solidFill>
                <a:latin typeface="Trebuchet MS" pitchFamily="34" charset="0"/>
              </a:rPr>
              <a:t>Enlargement</a:t>
            </a:r>
            <a:r>
              <a:rPr lang="en-GB" sz="1050">
                <a:latin typeface="Trebuchet MS" pitchFamily="34" charset="0"/>
              </a:rPr>
              <a:t> of the </a:t>
            </a:r>
            <a:r>
              <a:rPr lang="en-GB" sz="1050">
                <a:solidFill>
                  <a:schemeClr val="tx2"/>
                </a:solidFill>
                <a:latin typeface="Trebuchet MS" pitchFamily="34" charset="0"/>
              </a:rPr>
              <a:t>scope</a:t>
            </a:r>
            <a:r>
              <a:rPr lang="en-GB" sz="1050">
                <a:latin typeface="Trebuchet MS" pitchFamily="34" charset="0"/>
              </a:rPr>
              <a:t> of the </a:t>
            </a:r>
            <a:r>
              <a:rPr lang="en-GB" sz="1050">
                <a:solidFill>
                  <a:schemeClr val="tx2"/>
                </a:solidFill>
                <a:latin typeface="Trebuchet MS" pitchFamily="34" charset="0"/>
              </a:rPr>
              <a:t>companies</a:t>
            </a:r>
            <a:r>
              <a:rPr lang="en-GB" sz="1050">
                <a:latin typeface="Trebuchet MS" pitchFamily="34" charset="0"/>
              </a:rPr>
              <a:t> targeted by the law</a:t>
            </a:r>
            <a:endParaRPr kumimoji="0" lang="en-GB" sz="1050" b="0" i="0" u="none" strike="noStrike" cap="none" normalizeH="0" baseline="0">
              <a:ln>
                <a:noFill/>
              </a:ln>
              <a:effectLst/>
              <a:latin typeface="Trebuchet MS" pitchFamily="34" charset="0"/>
            </a:endParaRPr>
          </a:p>
        </p:txBody>
      </p:sp>
      <p:sp>
        <p:nvSpPr>
          <p:cNvPr id="7" name="Triangle isocèle 6">
            <a:extLst>
              <a:ext uri="{FF2B5EF4-FFF2-40B4-BE49-F238E27FC236}">
                <a16:creationId xmlns:a16="http://schemas.microsoft.com/office/drawing/2014/main" id="{7C3BFADE-2D02-4299-A91B-F931F530E2E6}"/>
              </a:ext>
            </a:extLst>
          </p:cNvPr>
          <p:cNvSpPr/>
          <p:nvPr/>
        </p:nvSpPr>
        <p:spPr bwMode="auto">
          <a:xfrm rot="5400000">
            <a:off x="6239284" y="1960709"/>
            <a:ext cx="687277" cy="140291"/>
          </a:xfrm>
          <a:prstGeom prst="triangle">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5" name="Triangle isocèle 104">
            <a:extLst>
              <a:ext uri="{FF2B5EF4-FFF2-40B4-BE49-F238E27FC236}">
                <a16:creationId xmlns:a16="http://schemas.microsoft.com/office/drawing/2014/main" id="{55884101-2AA7-4780-A5CD-C241AFE4F88C}"/>
              </a:ext>
            </a:extLst>
          </p:cNvPr>
          <p:cNvSpPr/>
          <p:nvPr/>
        </p:nvSpPr>
        <p:spPr bwMode="auto">
          <a:xfrm rot="5400000">
            <a:off x="6239284" y="3075066"/>
            <a:ext cx="687277" cy="140291"/>
          </a:xfrm>
          <a:prstGeom prst="triangl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8" name="Triangle isocèle 107">
            <a:extLst>
              <a:ext uri="{FF2B5EF4-FFF2-40B4-BE49-F238E27FC236}">
                <a16:creationId xmlns:a16="http://schemas.microsoft.com/office/drawing/2014/main" id="{1D4D85F5-CBB8-49B5-9795-1AEE1ABE9CC1}"/>
              </a:ext>
            </a:extLst>
          </p:cNvPr>
          <p:cNvSpPr/>
          <p:nvPr/>
        </p:nvSpPr>
        <p:spPr bwMode="auto">
          <a:xfrm rot="5400000">
            <a:off x="6239284" y="4151737"/>
            <a:ext cx="687277" cy="140291"/>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17" name="Groupe 21">
            <a:extLst>
              <a:ext uri="{FF2B5EF4-FFF2-40B4-BE49-F238E27FC236}">
                <a16:creationId xmlns:a16="http://schemas.microsoft.com/office/drawing/2014/main" id="{FFADA0E7-A3D8-495E-A389-51755A08EB9B}"/>
              </a:ext>
            </a:extLst>
          </p:cNvPr>
          <p:cNvGrpSpPr/>
          <p:nvPr/>
        </p:nvGrpSpPr>
        <p:grpSpPr>
          <a:xfrm>
            <a:off x="40313" y="5788871"/>
            <a:ext cx="451426" cy="455941"/>
            <a:chOff x="195390" y="5861727"/>
            <a:chExt cx="335805" cy="335805"/>
          </a:xfrm>
        </p:grpSpPr>
        <p:sp>
          <p:nvSpPr>
            <p:cNvPr id="118" name="Ellipse 22">
              <a:extLst>
                <a:ext uri="{FF2B5EF4-FFF2-40B4-BE49-F238E27FC236}">
                  <a16:creationId xmlns:a16="http://schemas.microsoft.com/office/drawing/2014/main" id="{7224BE29-F469-4CA6-89D1-8180E934FCF2}"/>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119" name="Group 5">
              <a:extLst>
                <a:ext uri="{FF2B5EF4-FFF2-40B4-BE49-F238E27FC236}">
                  <a16:creationId xmlns:a16="http://schemas.microsoft.com/office/drawing/2014/main" id="{E145947C-033F-4433-8A42-BE583BD11F5F}"/>
                </a:ext>
              </a:extLst>
            </p:cNvPr>
            <p:cNvGrpSpPr>
              <a:grpSpLocks noChangeAspect="1"/>
            </p:cNvGrpSpPr>
            <p:nvPr/>
          </p:nvGrpSpPr>
          <p:grpSpPr bwMode="auto">
            <a:xfrm>
              <a:off x="249663" y="5915997"/>
              <a:ext cx="227258" cy="227255"/>
              <a:chOff x="788" y="800"/>
              <a:chExt cx="742" cy="742"/>
            </a:xfrm>
            <a:solidFill>
              <a:schemeClr val="tx2"/>
            </a:solidFill>
          </p:grpSpPr>
          <p:sp>
            <p:nvSpPr>
              <p:cNvPr id="120" name="Freeform 6">
                <a:extLst>
                  <a:ext uri="{FF2B5EF4-FFF2-40B4-BE49-F238E27FC236}">
                    <a16:creationId xmlns:a16="http://schemas.microsoft.com/office/drawing/2014/main" id="{3FD3301F-A05A-4F60-A0B9-7F8529D6A3B2}"/>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21" name="Freeform 7">
                <a:extLst>
                  <a:ext uri="{FF2B5EF4-FFF2-40B4-BE49-F238E27FC236}">
                    <a16:creationId xmlns:a16="http://schemas.microsoft.com/office/drawing/2014/main" id="{AE4DD8B6-5128-4D26-9839-7061227CCCD3}"/>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22" name="Freeform 8">
                <a:extLst>
                  <a:ext uri="{FF2B5EF4-FFF2-40B4-BE49-F238E27FC236}">
                    <a16:creationId xmlns:a16="http://schemas.microsoft.com/office/drawing/2014/main" id="{8264BB3A-1FE8-4EED-AC4C-C45AC7B55CEF}"/>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23" name="Freeform 9">
                <a:extLst>
                  <a:ext uri="{FF2B5EF4-FFF2-40B4-BE49-F238E27FC236}">
                    <a16:creationId xmlns:a16="http://schemas.microsoft.com/office/drawing/2014/main" id="{8ABE6DA8-C845-4757-8825-8E183920EED7}"/>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24" name="Freeform 10">
                <a:extLst>
                  <a:ext uri="{FF2B5EF4-FFF2-40B4-BE49-F238E27FC236}">
                    <a16:creationId xmlns:a16="http://schemas.microsoft.com/office/drawing/2014/main" id="{068EA62D-F3A3-4230-A58A-65FA658D90FA}"/>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25" name="Freeform 11">
                <a:extLst>
                  <a:ext uri="{FF2B5EF4-FFF2-40B4-BE49-F238E27FC236}">
                    <a16:creationId xmlns:a16="http://schemas.microsoft.com/office/drawing/2014/main" id="{97192235-D555-4080-AB9E-88AF9325FA87}"/>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26" name="Freeform 12">
                <a:extLst>
                  <a:ext uri="{FF2B5EF4-FFF2-40B4-BE49-F238E27FC236}">
                    <a16:creationId xmlns:a16="http://schemas.microsoft.com/office/drawing/2014/main" id="{CFED9D0C-E538-4D1B-8703-411172ABB12B}"/>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spTree>
    <p:extLst>
      <p:ext uri="{BB962C8B-B14F-4D97-AF65-F5344CB8AC3E}">
        <p14:creationId xmlns:p14="http://schemas.microsoft.com/office/powerpoint/2010/main" val="3253080124"/>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7E237457-6CDF-412F-BB83-97BB7473CC1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15" name="Objet 14" hidden="1">
                        <a:extLst>
                          <a:ext uri="{FF2B5EF4-FFF2-40B4-BE49-F238E27FC236}">
                            <a16:creationId xmlns:a16="http://schemas.microsoft.com/office/drawing/2014/main" id="{7E237457-6CDF-412F-BB83-97BB7473CC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2" name="Connecteur droit 21">
            <a:extLst>
              <a:ext uri="{FF2B5EF4-FFF2-40B4-BE49-F238E27FC236}">
                <a16:creationId xmlns:a16="http://schemas.microsoft.com/office/drawing/2014/main" id="{DADA19B1-4264-41B9-98A2-BC90CA8014D4}"/>
              </a:ext>
            </a:extLst>
          </p:cNvPr>
          <p:cNvCxnSpPr>
            <a:cxnSpLocks/>
          </p:cNvCxnSpPr>
          <p:nvPr/>
        </p:nvCxnSpPr>
        <p:spPr bwMode="auto">
          <a:xfrm>
            <a:off x="5106409" y="1211483"/>
            <a:ext cx="445576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0" name="ZoneTexte 9">
            <a:extLst>
              <a:ext uri="{FF2B5EF4-FFF2-40B4-BE49-F238E27FC236}">
                <a16:creationId xmlns:a16="http://schemas.microsoft.com/office/drawing/2014/main" id="{34767758-FA4D-4727-967E-124A31051E8B}"/>
              </a:ext>
            </a:extLst>
          </p:cNvPr>
          <p:cNvSpPr txBox="1"/>
          <p:nvPr/>
        </p:nvSpPr>
        <p:spPr>
          <a:xfrm>
            <a:off x="5401691" y="990190"/>
            <a:ext cx="3865199" cy="430887"/>
          </a:xfrm>
          <a:prstGeom prst="rect">
            <a:avLst/>
          </a:prstGeom>
          <a:solidFill>
            <a:schemeClr val="bg1"/>
          </a:solidFill>
        </p:spPr>
        <p:txBody>
          <a:bodyPr wrap="square" rtlCol="0">
            <a:spAutoFit/>
          </a:bodyPr>
          <a:lstStyle>
            <a:defPPr>
              <a:defRPr lang="en-US"/>
            </a:defPPr>
            <a:lvl1pPr algn="ctr">
              <a:defRPr sz="1100">
                <a:solidFill>
                  <a:schemeClr val="tx2"/>
                </a:solidFill>
                <a:latin typeface="+mj-lt"/>
              </a:defRPr>
            </a:lvl1pPr>
          </a:lstStyle>
          <a:p>
            <a:r>
              <a:rPr lang="en-GB">
                <a:solidFill>
                  <a:schemeClr val="tx1"/>
                </a:solidFill>
                <a:latin typeface="Trebuchet MS" panose="020B0603020202020204" pitchFamily="34" charset="0"/>
              </a:rPr>
              <a:t>… but players like </a:t>
            </a:r>
            <a:r>
              <a:rPr lang="en-GB" err="1">
                <a:solidFill>
                  <a:schemeClr val="tx1"/>
                </a:solidFill>
                <a:latin typeface="Trebuchet MS" panose="020B0603020202020204" pitchFamily="34" charset="0"/>
              </a:rPr>
              <a:t>Altares</a:t>
            </a:r>
            <a:r>
              <a:rPr lang="en-GB">
                <a:solidFill>
                  <a:schemeClr val="tx1"/>
                </a:solidFill>
                <a:latin typeface="Trebuchet MS" panose="020B0603020202020204" pitchFamily="34" charset="0"/>
              </a:rPr>
              <a:t> stay relevant for the UBO identification offer</a:t>
            </a:r>
          </a:p>
        </p:txBody>
      </p:sp>
      <p:sp>
        <p:nvSpPr>
          <p:cNvPr id="2" name="Espace réservé du texte 1">
            <a:extLst>
              <a:ext uri="{FF2B5EF4-FFF2-40B4-BE49-F238E27FC236}">
                <a16:creationId xmlns:a16="http://schemas.microsoft.com/office/drawing/2014/main" id="{62F2303A-8FFD-49AE-90E9-089CC3634CFA}"/>
              </a:ext>
            </a:extLst>
          </p:cNvPr>
          <p:cNvSpPr>
            <a:spLocks noGrp="1"/>
          </p:cNvSpPr>
          <p:nvPr>
            <p:ph type="body" sz="quarter" idx="10"/>
          </p:nvPr>
        </p:nvSpPr>
        <p:spPr/>
        <p:txBody>
          <a:bodyPr/>
          <a:lstStyle/>
          <a:p>
            <a:r>
              <a:rPr lang="en-GB"/>
              <a:t>Sources: eleven research &amp; analysis, expert calls, INPI: </a:t>
            </a:r>
            <a:r>
              <a:rPr lang="en-GB" err="1"/>
              <a:t>Institut</a:t>
            </a:r>
            <a:r>
              <a:rPr lang="en-GB"/>
              <a:t> National de la </a:t>
            </a:r>
            <a:r>
              <a:rPr lang="en-GB" err="1"/>
              <a:t>Propriété</a:t>
            </a:r>
            <a:r>
              <a:rPr lang="en-GB"/>
              <a:t> </a:t>
            </a:r>
            <a:r>
              <a:rPr lang="en-GB" err="1"/>
              <a:t>Intellectuelle</a:t>
            </a:r>
            <a:endParaRPr lang="en-GB"/>
          </a:p>
        </p:txBody>
      </p:sp>
      <p:sp>
        <p:nvSpPr>
          <p:cNvPr id="3" name="Freeform 9">
            <a:extLst>
              <a:ext uri="{FF2B5EF4-FFF2-40B4-BE49-F238E27FC236}">
                <a16:creationId xmlns:a16="http://schemas.microsoft.com/office/drawing/2014/main" id="{03F0CE59-59F1-4F12-B8CF-F41C488F73F1}"/>
              </a:ext>
            </a:extLst>
          </p:cNvPr>
          <p:cNvSpPr>
            <a:spLocks noEditPoints="1"/>
          </p:cNvSpPr>
          <p:nvPr/>
        </p:nvSpPr>
        <p:spPr bwMode="auto">
          <a:xfrm>
            <a:off x="152836" y="229262"/>
            <a:ext cx="382759" cy="416927"/>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grpSp>
        <p:nvGrpSpPr>
          <p:cNvPr id="5" name="Groupe 4">
            <a:extLst>
              <a:ext uri="{FF2B5EF4-FFF2-40B4-BE49-F238E27FC236}">
                <a16:creationId xmlns:a16="http://schemas.microsoft.com/office/drawing/2014/main" id="{CFA7C004-CFF4-450F-820D-345E520D658D}"/>
              </a:ext>
            </a:extLst>
          </p:cNvPr>
          <p:cNvGrpSpPr/>
          <p:nvPr/>
        </p:nvGrpSpPr>
        <p:grpSpPr>
          <a:xfrm>
            <a:off x="5267001" y="5451012"/>
            <a:ext cx="4438594" cy="979566"/>
            <a:chOff x="4952176" y="4010917"/>
            <a:chExt cx="4438594" cy="979566"/>
          </a:xfrm>
        </p:grpSpPr>
        <p:sp>
          <p:nvSpPr>
            <p:cNvPr id="6" name="Rectangle 5">
              <a:extLst>
                <a:ext uri="{FF2B5EF4-FFF2-40B4-BE49-F238E27FC236}">
                  <a16:creationId xmlns:a16="http://schemas.microsoft.com/office/drawing/2014/main" id="{A9769DEA-AB65-4D3C-B8E5-4E4F18B42E1B}"/>
                </a:ext>
              </a:extLst>
            </p:cNvPr>
            <p:cNvSpPr/>
            <p:nvPr/>
          </p:nvSpPr>
          <p:spPr bwMode="auto">
            <a:xfrm>
              <a:off x="5087319" y="4010917"/>
              <a:ext cx="4303451" cy="979566"/>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a:ln>
                    <a:noFill/>
                  </a:ln>
                  <a:solidFill>
                    <a:schemeClr val="tx1"/>
                  </a:solidFill>
                  <a:effectLst/>
                  <a:latin typeface="Trebuchet MS" pitchFamily="34" charset="0"/>
                </a:rPr>
                <a:t>“The 5</a:t>
              </a:r>
              <a:r>
                <a:rPr kumimoji="0" lang="en-GB" sz="1000" b="0" i="1" u="none" strike="noStrike" cap="none" normalizeH="0" baseline="30000">
                  <a:ln>
                    <a:noFill/>
                  </a:ln>
                  <a:solidFill>
                    <a:schemeClr val="tx1"/>
                  </a:solidFill>
                  <a:effectLst/>
                  <a:latin typeface="Trebuchet MS" pitchFamily="34" charset="0"/>
                </a:rPr>
                <a:t>th</a:t>
              </a:r>
              <a:r>
                <a:rPr kumimoji="0" lang="en-GB" sz="1000" b="0" i="1" u="none" strike="noStrike" cap="none" normalizeH="0" baseline="0">
                  <a:ln>
                    <a:noFill/>
                  </a:ln>
                  <a:solidFill>
                    <a:schemeClr val="tx1"/>
                  </a:solidFill>
                  <a:effectLst/>
                  <a:latin typeface="Trebuchet MS" pitchFamily="34" charset="0"/>
                </a:rPr>
                <a:t> AML directive will lead to the creation of a public register of UBOs (if this project becomes a reality), but players such as </a:t>
              </a:r>
              <a:r>
                <a:rPr kumimoji="0" lang="en-GB" sz="1000" b="0" i="1" u="none" strike="noStrike" cap="none" normalizeH="0" baseline="0">
                  <a:ln>
                    <a:noFill/>
                  </a:ln>
                  <a:solidFill>
                    <a:schemeClr val="tx2"/>
                  </a:solidFill>
                  <a:effectLst/>
                  <a:latin typeface="Trebuchet MS" pitchFamily="34" charset="0"/>
                </a:rPr>
                <a:t>Altares</a:t>
              </a:r>
              <a:r>
                <a:rPr kumimoji="0" lang="en-GB" sz="1000" b="0" i="1" u="none" strike="noStrike" cap="none" normalizeH="0" baseline="0">
                  <a:ln>
                    <a:noFill/>
                  </a:ln>
                  <a:solidFill>
                    <a:schemeClr val="tx1"/>
                  </a:solidFill>
                  <a:effectLst/>
                  <a:latin typeface="Trebuchet MS" pitchFamily="34" charset="0"/>
                </a:rPr>
                <a:t> should keep a </a:t>
              </a:r>
              <a:r>
                <a:rPr kumimoji="0" lang="en-GB" sz="1000" b="0" i="1" u="none" strike="noStrike" cap="none" normalizeH="0" baseline="0">
                  <a:ln>
                    <a:noFill/>
                  </a:ln>
                  <a:solidFill>
                    <a:schemeClr val="tx2"/>
                  </a:solidFill>
                  <a:effectLst/>
                  <a:latin typeface="Trebuchet MS" pitchFamily="34" charset="0"/>
                </a:rPr>
                <a:t>competitive</a:t>
              </a:r>
              <a:r>
                <a:rPr kumimoji="0" lang="en-GB" sz="1000" b="0" i="1" u="none" strike="noStrike" cap="none" normalizeH="0" baseline="0">
                  <a:ln>
                    <a:noFill/>
                  </a:ln>
                  <a:solidFill>
                    <a:schemeClr val="tx1"/>
                  </a:solidFill>
                  <a:effectLst/>
                  <a:latin typeface="Trebuchet MS" pitchFamily="34" charset="0"/>
                </a:rPr>
                <a:t> </a:t>
              </a:r>
              <a:r>
                <a:rPr kumimoji="0" lang="en-GB" sz="1000" b="0" i="1" u="none" strike="noStrike" cap="none" normalizeH="0" baseline="0">
                  <a:ln>
                    <a:noFill/>
                  </a:ln>
                  <a:solidFill>
                    <a:schemeClr val="tx2"/>
                  </a:solidFill>
                  <a:effectLst/>
                  <a:latin typeface="Trebuchet MS" pitchFamily="34" charset="0"/>
                </a:rPr>
                <a:t>advantage</a:t>
              </a:r>
              <a:r>
                <a:rPr kumimoji="0" lang="en-GB" sz="1000" b="0" i="1" u="none" strike="noStrike" cap="none" normalizeH="0" baseline="0">
                  <a:ln>
                    <a:noFill/>
                  </a:ln>
                  <a:solidFill>
                    <a:schemeClr val="tx1"/>
                  </a:solidFill>
                  <a:effectLst/>
                  <a:latin typeface="Trebuchet MS" pitchFamily="34" charset="0"/>
                </a:rPr>
                <a:t> because of the superior </a:t>
              </a:r>
              <a:r>
                <a:rPr kumimoji="0" lang="en-GB" sz="1000" b="0" i="1" u="none" strike="noStrike" cap="none" normalizeH="0" baseline="0">
                  <a:ln>
                    <a:noFill/>
                  </a:ln>
                  <a:solidFill>
                    <a:schemeClr val="tx2"/>
                  </a:solidFill>
                  <a:effectLst/>
                  <a:latin typeface="Trebuchet MS" pitchFamily="34" charset="0"/>
                </a:rPr>
                <a:t>quality</a:t>
              </a:r>
              <a:r>
                <a:rPr kumimoji="0" lang="en-GB" sz="1000" b="0" i="1" u="none" strike="noStrike" cap="none" normalizeH="0" baseline="0">
                  <a:ln>
                    <a:noFill/>
                  </a:ln>
                  <a:solidFill>
                    <a:schemeClr val="tx1"/>
                  </a:solidFill>
                  <a:effectLst/>
                  <a:latin typeface="Trebuchet MS" pitchFamily="34" charset="0"/>
                </a:rPr>
                <a:t> of their </a:t>
              </a:r>
              <a:r>
                <a:rPr kumimoji="0" lang="en-GB" sz="1000" b="0" i="1" u="none" strike="noStrike" cap="none" normalizeH="0" baseline="0">
                  <a:ln>
                    <a:noFill/>
                  </a:ln>
                  <a:solidFill>
                    <a:schemeClr val="tx2"/>
                  </a:solidFill>
                  <a:effectLst/>
                  <a:latin typeface="Trebuchet MS" pitchFamily="34" charset="0"/>
                </a:rPr>
                <a:t>data</a:t>
              </a:r>
              <a:r>
                <a:rPr kumimoji="0" lang="en-GB" sz="1000" b="0" i="1" u="none" strike="noStrike" cap="none" normalizeH="0" baseline="0">
                  <a:ln>
                    <a:noFill/>
                  </a:ln>
                  <a:solidFill>
                    <a:schemeClr val="tx1"/>
                  </a:solidFill>
                  <a:effectLst/>
                  <a:latin typeface="Trebuchet MS" pitchFamily="34" charset="0"/>
                </a:rPr>
                <a:t> and the </a:t>
              </a:r>
              <a:r>
                <a:rPr kumimoji="0" lang="en-GB" sz="1000" b="0" i="1" u="none" strike="noStrike" cap="none" normalizeH="0" baseline="0">
                  <a:ln>
                    <a:noFill/>
                  </a:ln>
                  <a:solidFill>
                    <a:schemeClr val="tx2"/>
                  </a:solidFill>
                  <a:effectLst/>
                  <a:latin typeface="Trebuchet MS" pitchFamily="34" charset="0"/>
                </a:rPr>
                <a:t>intelligence</a:t>
              </a:r>
              <a:r>
                <a:rPr kumimoji="0" lang="en-GB" sz="1000" b="0" i="1" u="none" strike="noStrike" cap="none" normalizeH="0" baseline="0">
                  <a:ln>
                    <a:noFill/>
                  </a:ln>
                  <a:solidFill>
                    <a:schemeClr val="tx1"/>
                  </a:solidFill>
                  <a:effectLst/>
                  <a:latin typeface="Trebuchet MS" pitchFamily="34" charset="0"/>
                </a:rPr>
                <a:t> they bring to their </a:t>
              </a:r>
              <a:r>
                <a:rPr kumimoji="0" lang="en-GB" sz="1000" b="0" i="1" u="none" strike="noStrike" cap="none" normalizeH="0" baseline="0">
                  <a:ln>
                    <a:noFill/>
                  </a:ln>
                  <a:solidFill>
                    <a:schemeClr val="tx2"/>
                  </a:solidFill>
                  <a:effectLst/>
                  <a:latin typeface="Trebuchet MS" pitchFamily="34" charset="0"/>
                </a:rPr>
                <a:t>analysis”</a:t>
              </a:r>
            </a:p>
            <a:p>
              <a:r>
                <a:rPr lang="en-GB" sz="1000">
                  <a:latin typeface="Trebuchet MS" pitchFamily="34" charset="0"/>
                </a:rPr>
                <a:t>Altares Compliance Operation Director Benelux</a:t>
              </a:r>
            </a:p>
          </p:txBody>
        </p:sp>
        <p:sp>
          <p:nvSpPr>
            <p:cNvPr id="7" name="Freeform 663">
              <a:extLst>
                <a:ext uri="{FF2B5EF4-FFF2-40B4-BE49-F238E27FC236}">
                  <a16:creationId xmlns:a16="http://schemas.microsoft.com/office/drawing/2014/main" id="{0E1A1CF0-1A17-40C4-AB13-398172392B3C}"/>
                </a:ext>
              </a:extLst>
            </p:cNvPr>
            <p:cNvSpPr>
              <a:spLocks noChangeAspect="1" noEditPoints="1"/>
            </p:cNvSpPr>
            <p:nvPr/>
          </p:nvSpPr>
          <p:spPr bwMode="auto">
            <a:xfrm>
              <a:off x="4952176" y="4362074"/>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sp>
        <p:nvSpPr>
          <p:cNvPr id="8" name="Titre 1">
            <a:extLst>
              <a:ext uri="{FF2B5EF4-FFF2-40B4-BE49-F238E27FC236}">
                <a16:creationId xmlns:a16="http://schemas.microsoft.com/office/drawing/2014/main" id="{28881FAE-6B02-430E-BF3C-B9D97CADFD68}"/>
              </a:ext>
            </a:extLst>
          </p:cNvPr>
          <p:cNvSpPr txBox="1">
            <a:spLocks/>
          </p:cNvSpPr>
          <p:nvPr/>
        </p:nvSpPr>
        <p:spPr>
          <a:xfrm>
            <a:off x="609600" y="147600"/>
            <a:ext cx="7944159" cy="684000"/>
          </a:xfrm>
          <a:prstGeom prst="rect">
            <a:avLst/>
          </a:prstGeom>
        </p:spPr>
        <p:txBody>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kern="0" dirty="0">
                <a:latin typeface="Trebuchet MS" panose="020B0603020202020204" pitchFamily="34" charset="0"/>
              </a:rPr>
              <a:t>Regarding AML, the implementation of the </a:t>
            </a:r>
            <a:r>
              <a:rPr lang="en-GB" kern="0" dirty="0">
                <a:solidFill>
                  <a:schemeClr val="tx2"/>
                </a:solidFill>
                <a:latin typeface="Trebuchet MS" panose="020B0603020202020204" pitchFamily="34" charset="0"/>
              </a:rPr>
              <a:t>5</a:t>
            </a:r>
            <a:r>
              <a:rPr lang="en-GB" kern="0" baseline="30000" dirty="0">
                <a:solidFill>
                  <a:schemeClr val="tx2"/>
                </a:solidFill>
                <a:latin typeface="Trebuchet MS" panose="020B0603020202020204" pitchFamily="34" charset="0"/>
              </a:rPr>
              <a:t>th</a:t>
            </a:r>
            <a:r>
              <a:rPr lang="en-GB" kern="0" dirty="0">
                <a:solidFill>
                  <a:schemeClr val="tx2"/>
                </a:solidFill>
                <a:latin typeface="Trebuchet MS" panose="020B0603020202020204" pitchFamily="34" charset="0"/>
              </a:rPr>
              <a:t> AML directive of the European Union </a:t>
            </a:r>
            <a:r>
              <a:rPr lang="en-GB" kern="0" dirty="0">
                <a:latin typeface="Trebuchet MS" panose="020B0603020202020204" pitchFamily="34" charset="0"/>
              </a:rPr>
              <a:t>related to UBO identification should have a </a:t>
            </a:r>
            <a:r>
              <a:rPr lang="en-GB" kern="0" dirty="0">
                <a:solidFill>
                  <a:schemeClr val="tx2"/>
                </a:solidFill>
                <a:latin typeface="Trebuchet MS" panose="020B0603020202020204" pitchFamily="34" charset="0"/>
              </a:rPr>
              <a:t>moderate effect </a:t>
            </a:r>
            <a:r>
              <a:rPr lang="en-GB" kern="0" dirty="0">
                <a:latin typeface="Trebuchet MS" panose="020B0603020202020204" pitchFamily="34" charset="0"/>
              </a:rPr>
              <a:t>on</a:t>
            </a:r>
            <a:r>
              <a:rPr lang="en-GB" kern="0" dirty="0">
                <a:solidFill>
                  <a:schemeClr val="tx2"/>
                </a:solidFill>
                <a:latin typeface="Trebuchet MS" panose="020B0603020202020204" pitchFamily="34" charset="0"/>
              </a:rPr>
              <a:t> </a:t>
            </a:r>
            <a:r>
              <a:rPr lang="en-GB" kern="0" dirty="0">
                <a:latin typeface="Trebuchet MS" panose="020B0603020202020204" pitchFamily="34" charset="0"/>
              </a:rPr>
              <a:t>the</a:t>
            </a:r>
            <a:r>
              <a:rPr lang="en-GB" kern="0" dirty="0">
                <a:solidFill>
                  <a:schemeClr val="tx2"/>
                </a:solidFill>
                <a:latin typeface="Trebuchet MS" panose="020B0603020202020204" pitchFamily="34" charset="0"/>
              </a:rPr>
              <a:t> market for BD&amp;A players in both France and Benelux</a:t>
            </a:r>
            <a:endParaRPr lang="en-GB" kern="0" dirty="0">
              <a:latin typeface="Trebuchet MS" panose="020B0603020202020204" pitchFamily="34" charset="0"/>
            </a:endParaRPr>
          </a:p>
        </p:txBody>
      </p:sp>
      <p:sp>
        <p:nvSpPr>
          <p:cNvPr id="12" name="ZoneTexte 11">
            <a:extLst>
              <a:ext uri="{FF2B5EF4-FFF2-40B4-BE49-F238E27FC236}">
                <a16:creationId xmlns:a16="http://schemas.microsoft.com/office/drawing/2014/main" id="{5FD86F9F-EB58-4C00-8DF3-9621A83E6677}"/>
              </a:ext>
            </a:extLst>
          </p:cNvPr>
          <p:cNvSpPr txBox="1"/>
          <p:nvPr/>
        </p:nvSpPr>
        <p:spPr>
          <a:xfrm>
            <a:off x="278285" y="1358287"/>
            <a:ext cx="4546286" cy="2323713"/>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en-GB" sz="1000">
                <a:latin typeface="Trebuchet MS" panose="020B0603020202020204" pitchFamily="34" charset="0"/>
              </a:rPr>
              <a:t>The “</a:t>
            </a:r>
            <a:r>
              <a:rPr lang="en-GB" sz="1000">
                <a:solidFill>
                  <a:schemeClr val="tx2"/>
                </a:solidFill>
                <a:latin typeface="Trebuchet MS" panose="020B0603020202020204" pitchFamily="34" charset="0"/>
              </a:rPr>
              <a:t>5</a:t>
            </a:r>
            <a:r>
              <a:rPr lang="en-GB" sz="1000" baseline="30000">
                <a:solidFill>
                  <a:schemeClr val="tx2"/>
                </a:solidFill>
                <a:latin typeface="Trebuchet MS" panose="020B0603020202020204" pitchFamily="34" charset="0"/>
              </a:rPr>
              <a:t>th</a:t>
            </a:r>
            <a:r>
              <a:rPr lang="en-GB" sz="1000">
                <a:solidFill>
                  <a:schemeClr val="tx2"/>
                </a:solidFill>
                <a:latin typeface="Trebuchet MS" panose="020B0603020202020204" pitchFamily="34" charset="0"/>
              </a:rPr>
              <a:t> directive of the European Parliament </a:t>
            </a:r>
            <a:r>
              <a:rPr lang="en-GB" sz="1000">
                <a:latin typeface="Trebuchet MS" panose="020B0603020202020204" pitchFamily="34" charset="0"/>
              </a:rPr>
              <a:t>on the prevention of the use of the financial system for the purposes of money laundering or terrorist financing”, which was published at the “Journal </a:t>
            </a:r>
            <a:r>
              <a:rPr lang="en-GB" sz="1000" err="1">
                <a:latin typeface="Trebuchet MS" panose="020B0603020202020204" pitchFamily="34" charset="0"/>
              </a:rPr>
              <a:t>Officiel</a:t>
            </a:r>
            <a:r>
              <a:rPr lang="en-GB" sz="1000">
                <a:latin typeface="Trebuchet MS" panose="020B0603020202020204" pitchFamily="34" charset="0"/>
              </a:rPr>
              <a:t>” of the European Union in June 2018 and should be implemented in member countries </a:t>
            </a:r>
            <a:r>
              <a:rPr lang="en-GB" sz="1000">
                <a:solidFill>
                  <a:schemeClr val="tx2"/>
                </a:solidFill>
                <a:latin typeface="Trebuchet MS" panose="020B0603020202020204" pitchFamily="34" charset="0"/>
              </a:rPr>
              <a:t>from 2020</a:t>
            </a:r>
            <a:r>
              <a:rPr lang="en-GB" sz="1000">
                <a:latin typeface="Trebuchet MS" panose="020B0603020202020204" pitchFamily="34" charset="0"/>
              </a:rPr>
              <a:t>, should, among other points, modify the regulation concerning the </a:t>
            </a:r>
            <a:r>
              <a:rPr lang="en-GB" sz="1000">
                <a:solidFill>
                  <a:schemeClr val="tx2"/>
                </a:solidFill>
                <a:latin typeface="Trebuchet MS" panose="020B0603020202020204" pitchFamily="34" charset="0"/>
              </a:rPr>
              <a:t>identification of Ultimate Beneficial Owners </a:t>
            </a:r>
            <a:r>
              <a:rPr lang="en-GB" sz="1000">
                <a:latin typeface="Trebuchet MS" panose="020B0603020202020204" pitchFamily="34" charset="0"/>
              </a:rPr>
              <a:t>(UBOs): </a:t>
            </a:r>
          </a:p>
          <a:p>
            <a:pPr marL="361950" lvl="1" indent="-171450">
              <a:spcAft>
                <a:spcPts val="200"/>
              </a:spcAft>
              <a:buClr>
                <a:schemeClr val="tx1"/>
              </a:buClr>
              <a:buFont typeface="Courier New" panose="02070309020205020404" pitchFamily="49" charset="0"/>
              <a:buChar char="o"/>
            </a:pPr>
            <a:r>
              <a:rPr lang="en-GB" sz="1000">
                <a:solidFill>
                  <a:schemeClr val="tx2"/>
                </a:solidFill>
                <a:latin typeface="Trebuchet MS" panose="020B0603020202020204" pitchFamily="34" charset="0"/>
              </a:rPr>
              <a:t>A public register of UBOs for European companies </a:t>
            </a:r>
            <a:r>
              <a:rPr lang="en-GB" sz="1000">
                <a:latin typeface="Trebuchet MS" panose="020B0603020202020204" pitchFamily="34" charset="0"/>
              </a:rPr>
              <a:t>will be created and </a:t>
            </a:r>
            <a:r>
              <a:rPr lang="en-GB" sz="1000">
                <a:solidFill>
                  <a:schemeClr val="tx2"/>
                </a:solidFill>
                <a:latin typeface="Trebuchet MS" panose="020B0603020202020204" pitchFamily="34" charset="0"/>
              </a:rPr>
              <a:t>made accessible to all European citizens</a:t>
            </a:r>
            <a:r>
              <a:rPr lang="en-GB" sz="1000">
                <a:latin typeface="Trebuchet MS" panose="020B0603020202020204" pitchFamily="34" charset="0"/>
              </a:rPr>
              <a:t>, which will not have to prove their “</a:t>
            </a:r>
            <a:r>
              <a:rPr lang="en-GB" sz="1000">
                <a:solidFill>
                  <a:schemeClr val="tx2"/>
                </a:solidFill>
                <a:latin typeface="Trebuchet MS" panose="020B0603020202020204" pitchFamily="34" charset="0"/>
              </a:rPr>
              <a:t>legitimate interest</a:t>
            </a:r>
            <a:r>
              <a:rPr lang="en-GB" sz="1000">
                <a:latin typeface="Trebuchet MS" panose="020B0603020202020204" pitchFamily="34" charset="0"/>
              </a:rPr>
              <a:t>” to access this information anymore</a:t>
            </a:r>
          </a:p>
          <a:p>
            <a:pPr marL="361950" lvl="1" indent="-171450">
              <a:spcAft>
                <a:spcPts val="200"/>
              </a:spcAft>
              <a:buClr>
                <a:schemeClr val="tx1"/>
              </a:buClr>
              <a:buFont typeface="Courier New" panose="02070309020205020404" pitchFamily="49" charset="0"/>
              <a:buChar char="o"/>
            </a:pPr>
            <a:r>
              <a:rPr lang="en-GB" sz="1000">
                <a:latin typeface="Trebuchet MS" panose="020B0603020202020204" pitchFamily="34" charset="0"/>
              </a:rPr>
              <a:t>This public register will be made through the </a:t>
            </a:r>
            <a:r>
              <a:rPr lang="en-GB" sz="1000">
                <a:solidFill>
                  <a:schemeClr val="tx2"/>
                </a:solidFill>
                <a:latin typeface="Trebuchet MS" panose="020B0603020202020204" pitchFamily="34" charset="0"/>
              </a:rPr>
              <a:t>interconnexion of member states’ national registers</a:t>
            </a:r>
          </a:p>
          <a:p>
            <a:pPr marL="361950" lvl="1" indent="-171450">
              <a:spcAft>
                <a:spcPts val="200"/>
              </a:spcAft>
              <a:buClr>
                <a:schemeClr val="tx1"/>
              </a:buClr>
              <a:buFont typeface="Courier New" panose="02070309020205020404" pitchFamily="49" charset="0"/>
              <a:buChar char="o"/>
            </a:pPr>
            <a:r>
              <a:rPr lang="en-GB" sz="1000">
                <a:latin typeface="Trebuchet MS" panose="020B0603020202020204" pitchFamily="34" charset="0"/>
              </a:rPr>
              <a:t>In particular, the name, date of birth, nationality, country of residence and </a:t>
            </a:r>
            <a:r>
              <a:rPr lang="en-GB" sz="1000">
                <a:solidFill>
                  <a:schemeClr val="tx2"/>
                </a:solidFill>
                <a:latin typeface="Trebuchet MS" panose="020B0603020202020204" pitchFamily="34" charset="0"/>
              </a:rPr>
              <a:t>extent of the detained interests </a:t>
            </a:r>
            <a:r>
              <a:rPr lang="en-GB" sz="1000">
                <a:latin typeface="Trebuchet MS" panose="020B0603020202020204" pitchFamily="34" charset="0"/>
              </a:rPr>
              <a:t>of UBOs should be made public</a:t>
            </a:r>
          </a:p>
        </p:txBody>
      </p:sp>
      <p:sp>
        <p:nvSpPr>
          <p:cNvPr id="13" name="Rectangle 12">
            <a:extLst>
              <a:ext uri="{FF2B5EF4-FFF2-40B4-BE49-F238E27FC236}">
                <a16:creationId xmlns:a16="http://schemas.microsoft.com/office/drawing/2014/main" id="{F3B38A53-AE1A-4D50-8CC1-D12920A71E03}"/>
              </a:ext>
            </a:extLst>
          </p:cNvPr>
          <p:cNvSpPr/>
          <p:nvPr/>
        </p:nvSpPr>
        <p:spPr bwMode="auto">
          <a:xfrm>
            <a:off x="401375" y="3821880"/>
            <a:ext cx="4423195" cy="196822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Font typeface="Arial" panose="020B0604020202020204" pitchFamily="34" charset="0"/>
              <a:buChar char="•"/>
            </a:pPr>
            <a:r>
              <a:rPr lang="en-GB" sz="1000">
                <a:latin typeface="Trebuchet MS" panose="020B0603020202020204" pitchFamily="34" charset="0"/>
              </a:rPr>
              <a:t>In France, the register of UBOs of French companies is currently maintained by </a:t>
            </a:r>
            <a:r>
              <a:rPr lang="en-GB" sz="1000" err="1">
                <a:solidFill>
                  <a:schemeClr val="tx2"/>
                </a:solidFill>
                <a:latin typeface="Trebuchet MS" panose="020B0603020202020204" pitchFamily="34" charset="0"/>
              </a:rPr>
              <a:t>Infogreffe</a:t>
            </a:r>
            <a:r>
              <a:rPr lang="en-GB" sz="1000">
                <a:latin typeface="Trebuchet MS" panose="020B0603020202020204" pitchFamily="34" charset="0"/>
              </a:rPr>
              <a:t>, which centralizes this information on behalf of the French government since the implementation of the 4</a:t>
            </a:r>
            <a:r>
              <a:rPr lang="en-GB" sz="1000" baseline="30000">
                <a:latin typeface="Trebuchet MS" panose="020B0603020202020204" pitchFamily="34" charset="0"/>
              </a:rPr>
              <a:t>th</a:t>
            </a:r>
            <a:r>
              <a:rPr lang="en-GB" sz="1000">
                <a:latin typeface="Trebuchet MS" pitchFamily="34" charset="0"/>
              </a:rPr>
              <a:t> European Directive. The UBOs list will be available from the INPI* by October 2020</a:t>
            </a:r>
          </a:p>
          <a:p>
            <a:pPr marL="171450" indent="-171450">
              <a:buFont typeface="Arial" panose="020B0604020202020204" pitchFamily="34" charset="0"/>
              <a:buChar char="•"/>
            </a:pPr>
            <a:r>
              <a:rPr lang="en-GB" sz="1000">
                <a:latin typeface="Trebuchet MS" pitchFamily="34" charset="0"/>
              </a:rPr>
              <a:t>Such registers exist in every country of the European Union</a:t>
            </a:r>
            <a:endParaRPr kumimoji="0" lang="en-GB" sz="1000" b="0" i="0" u="none" strike="noStrike" cap="none" normalizeH="0" baseline="0">
              <a:ln>
                <a:noFill/>
              </a:ln>
              <a:solidFill>
                <a:schemeClr val="tx1"/>
              </a:solidFill>
              <a:effectLst/>
              <a:latin typeface="Trebuchet MS" panose="020B0603020202020204" pitchFamily="34" charset="0"/>
            </a:endParaRP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000" b="0" i="0" u="none" strike="noStrike" cap="none" normalizeH="0" baseline="0">
                <a:ln>
                  <a:noFill/>
                </a:ln>
                <a:solidFill>
                  <a:schemeClr val="tx1"/>
                </a:solidFill>
                <a:effectLst/>
                <a:latin typeface="Trebuchet MS" panose="020B0603020202020204" pitchFamily="34" charset="0"/>
              </a:rPr>
              <a:t>Today, in order to be given access to the information about the UBOs of a French company, one must </a:t>
            </a:r>
            <a:r>
              <a:rPr kumimoji="0" lang="en-GB" sz="1000" b="0" i="0" u="none" strike="noStrike" cap="none" normalizeH="0" baseline="0">
                <a:ln>
                  <a:noFill/>
                </a:ln>
                <a:solidFill>
                  <a:schemeClr val="tx2"/>
                </a:solidFill>
                <a:effectLst/>
                <a:latin typeface="Trebuchet MS" panose="020B0603020202020204" pitchFamily="34" charset="0"/>
              </a:rPr>
              <a:t>demonstrate a “legitimate interest”</a:t>
            </a:r>
            <a:r>
              <a:rPr kumimoji="0" lang="en-GB" sz="1000" b="0" i="0" u="none" strike="noStrike" cap="none" normalizeH="0" baseline="0">
                <a:ln>
                  <a:noFill/>
                </a:ln>
                <a:solidFill>
                  <a:schemeClr val="tx1"/>
                </a:solidFill>
                <a:effectLst/>
                <a:latin typeface="Trebuchet MS" panose="020B0603020202020204" pitchFamily="34" charset="0"/>
              </a:rPr>
              <a:t> to a judge</a:t>
            </a: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000" b="0" i="0" u="none" strike="noStrike" cap="none" normalizeH="0" baseline="0">
                <a:ln>
                  <a:noFill/>
                </a:ln>
                <a:solidFill>
                  <a:schemeClr val="tx1"/>
                </a:solidFill>
                <a:effectLst/>
                <a:latin typeface="Trebuchet MS" panose="020B0603020202020204" pitchFamily="34" charset="0"/>
              </a:rPr>
              <a:t>Practically, only the government and some </a:t>
            </a:r>
            <a:r>
              <a:rPr kumimoji="0" lang="en-GB" sz="1000" b="0" i="0" u="none" strike="noStrike" cap="none" normalizeH="0" baseline="0">
                <a:ln>
                  <a:noFill/>
                </a:ln>
                <a:solidFill>
                  <a:schemeClr val="tx2"/>
                </a:solidFill>
                <a:effectLst/>
                <a:latin typeface="Trebuchet MS" panose="020B0603020202020204" pitchFamily="34" charset="0"/>
              </a:rPr>
              <a:t>restricted professionals </a:t>
            </a:r>
            <a:r>
              <a:rPr kumimoji="0" lang="en-GB" sz="1000" b="0" i="0" u="none" strike="noStrike" cap="none" normalizeH="0" baseline="0">
                <a:ln>
                  <a:noFill/>
                </a:ln>
                <a:solidFill>
                  <a:schemeClr val="tx1"/>
                </a:solidFill>
                <a:effectLst/>
                <a:latin typeface="Trebuchet MS" panose="020B0603020202020204" pitchFamily="34" charset="0"/>
              </a:rPr>
              <a:t>(e.g. journalists, lobbyists...) can have access to this information, under strict conditions – </a:t>
            </a:r>
            <a:r>
              <a:rPr kumimoji="0" lang="en-GB" sz="1000" b="0" i="1" u="none" strike="noStrike" cap="none" normalizeH="0" baseline="0">
                <a:ln>
                  <a:noFill/>
                </a:ln>
                <a:solidFill>
                  <a:schemeClr val="tx1"/>
                </a:solidFill>
                <a:effectLst/>
                <a:latin typeface="Trebuchet MS" panose="020B0603020202020204" pitchFamily="34" charset="0"/>
              </a:rPr>
              <a:t>which prevents companies like </a:t>
            </a:r>
            <a:r>
              <a:rPr kumimoji="0" lang="en-GB" sz="1000" b="0" i="1" u="none" strike="noStrike" cap="none" normalizeH="0" baseline="0" err="1">
                <a:ln>
                  <a:noFill/>
                </a:ln>
                <a:solidFill>
                  <a:schemeClr val="tx1"/>
                </a:solidFill>
                <a:effectLst/>
                <a:latin typeface="Trebuchet MS" panose="020B0603020202020204" pitchFamily="34" charset="0"/>
              </a:rPr>
              <a:t>Altares</a:t>
            </a:r>
            <a:r>
              <a:rPr kumimoji="0" lang="en-GB" sz="1000" b="0" i="1" u="none" strike="noStrike" cap="none" normalizeH="0" baseline="0">
                <a:ln>
                  <a:noFill/>
                </a:ln>
                <a:solidFill>
                  <a:schemeClr val="tx1"/>
                </a:solidFill>
                <a:effectLst/>
                <a:latin typeface="Trebuchet MS" panose="020B0603020202020204" pitchFamily="34" charset="0"/>
              </a:rPr>
              <a:t> to source this data through this channel</a:t>
            </a:r>
          </a:p>
        </p:txBody>
      </p:sp>
      <p:sp>
        <p:nvSpPr>
          <p:cNvPr id="16" name="ZoneTexte 15">
            <a:extLst>
              <a:ext uri="{FF2B5EF4-FFF2-40B4-BE49-F238E27FC236}">
                <a16:creationId xmlns:a16="http://schemas.microsoft.com/office/drawing/2014/main" id="{1AB8EDE3-93BE-4204-89F9-F7528E3DDFFF}"/>
              </a:ext>
            </a:extLst>
          </p:cNvPr>
          <p:cNvSpPr txBox="1"/>
          <p:nvPr/>
        </p:nvSpPr>
        <p:spPr>
          <a:xfrm>
            <a:off x="344215" y="3597296"/>
            <a:ext cx="3226408" cy="246221"/>
          </a:xfrm>
          <a:prstGeom prst="rect">
            <a:avLst/>
          </a:prstGeom>
          <a:noFill/>
        </p:spPr>
        <p:txBody>
          <a:bodyPr wrap="square" rtlCol="0">
            <a:spAutoFit/>
          </a:bodyPr>
          <a:lstStyle/>
          <a:p>
            <a:r>
              <a:rPr lang="en-GB" sz="1000" b="1">
                <a:latin typeface="Trebuchet MS" panose="020B0603020202020204" pitchFamily="34" charset="0"/>
              </a:rPr>
              <a:t>How does it work currently? </a:t>
            </a:r>
          </a:p>
        </p:txBody>
      </p:sp>
      <p:sp>
        <p:nvSpPr>
          <p:cNvPr id="17" name="ZoneTexte 16">
            <a:extLst>
              <a:ext uri="{FF2B5EF4-FFF2-40B4-BE49-F238E27FC236}">
                <a16:creationId xmlns:a16="http://schemas.microsoft.com/office/drawing/2014/main" id="{A288E874-9442-4EDE-925F-CF5FFBF5C20F}"/>
              </a:ext>
            </a:extLst>
          </p:cNvPr>
          <p:cNvSpPr txBox="1"/>
          <p:nvPr/>
        </p:nvSpPr>
        <p:spPr>
          <a:xfrm>
            <a:off x="5176764" y="1415437"/>
            <a:ext cx="4546286" cy="3862596"/>
          </a:xfrm>
          <a:prstGeom prst="rect">
            <a:avLst/>
          </a:prstGeom>
          <a:noFill/>
        </p:spPr>
        <p:txBody>
          <a:bodyPr wrap="square" rtlCol="0">
            <a:spAutoFit/>
          </a:bodyPr>
          <a:lstStyle/>
          <a:p>
            <a:pPr>
              <a:spcAft>
                <a:spcPts val="600"/>
              </a:spcAft>
            </a:pPr>
            <a:r>
              <a:rPr lang="en-GB" sz="1000" dirty="0">
                <a:latin typeface="Trebuchet MS" panose="020B0603020202020204" pitchFamily="34" charset="0"/>
              </a:rPr>
              <a:t>Despite this common and public UBO register, </a:t>
            </a:r>
            <a:r>
              <a:rPr lang="en-GB" sz="1000" dirty="0">
                <a:solidFill>
                  <a:schemeClr val="tx2"/>
                </a:solidFill>
                <a:latin typeface="Trebuchet MS" panose="020B0603020202020204" pitchFamily="34" charset="0"/>
              </a:rPr>
              <a:t>BD&amp;A players should stay relevant</a:t>
            </a:r>
            <a:r>
              <a:rPr lang="en-GB" sz="1000" dirty="0">
                <a:latin typeface="Trebuchet MS" panose="020B0603020202020204" pitchFamily="34" charset="0"/>
              </a:rPr>
              <a:t> with their UBO identification offer: </a:t>
            </a:r>
          </a:p>
          <a:p>
            <a:pPr>
              <a:spcAft>
                <a:spcPts val="600"/>
              </a:spcAft>
            </a:pPr>
            <a:r>
              <a:rPr lang="en-GB" sz="1000" b="1" dirty="0">
                <a:solidFill>
                  <a:schemeClr val="tx2"/>
                </a:solidFill>
                <a:latin typeface="Trebuchet MS" panose="020B0603020202020204" pitchFamily="34" charset="0"/>
              </a:rPr>
              <a:t>1) The register should not meet financial institutions and large corporates’ requirements: </a:t>
            </a:r>
          </a:p>
          <a:p>
            <a:pPr marL="447675" indent="-228600">
              <a:spcAft>
                <a:spcPts val="600"/>
              </a:spcAft>
              <a:buClr>
                <a:schemeClr val="bg1"/>
              </a:buClr>
              <a:buFont typeface="+mj-lt"/>
              <a:buAutoNum type="arabicPeriod"/>
            </a:pPr>
            <a:r>
              <a:rPr lang="en-GB" sz="1000" dirty="0">
                <a:latin typeface="Trebuchet MS" panose="020B0603020202020204" pitchFamily="34" charset="0"/>
              </a:rPr>
              <a:t>The public register will contain the information about </a:t>
            </a:r>
            <a:r>
              <a:rPr lang="en-GB" sz="1000" dirty="0">
                <a:solidFill>
                  <a:schemeClr val="tx2"/>
                </a:solidFill>
                <a:latin typeface="Trebuchet MS" panose="020B0603020202020204" pitchFamily="34" charset="0"/>
              </a:rPr>
              <a:t>European companies only</a:t>
            </a:r>
            <a:r>
              <a:rPr lang="en-GB" sz="1000" dirty="0">
                <a:latin typeface="Trebuchet MS" panose="020B0603020202020204" pitchFamily="34" charset="0"/>
              </a:rPr>
              <a:t>, while BD&amp;A players offer their service for international companies, where the risk of compliance-related issues is often more important</a:t>
            </a:r>
          </a:p>
          <a:p>
            <a:pPr marL="447675" indent="-228600">
              <a:spcAft>
                <a:spcPts val="600"/>
              </a:spcAft>
              <a:buClr>
                <a:schemeClr val="bg1"/>
              </a:buClr>
              <a:buFont typeface="+mj-lt"/>
              <a:buAutoNum type="arabicPeriod"/>
            </a:pPr>
            <a:r>
              <a:rPr lang="en-GB" sz="1000" dirty="0">
                <a:latin typeface="Trebuchet MS" panose="020B0603020202020204" pitchFamily="34" charset="0"/>
              </a:rPr>
              <a:t>It is still unclear if and how the information that will be provided in this register could be </a:t>
            </a:r>
            <a:r>
              <a:rPr lang="en-GB" sz="1000" dirty="0">
                <a:solidFill>
                  <a:schemeClr val="tx2"/>
                </a:solidFill>
                <a:latin typeface="Trebuchet MS" panose="020B0603020202020204" pitchFamily="34" charset="0"/>
              </a:rPr>
              <a:t>seamlessly interfaced with financial institutions’ systems</a:t>
            </a:r>
            <a:r>
              <a:rPr lang="en-GB" sz="1000" dirty="0">
                <a:latin typeface="Trebuchet MS" panose="020B0603020202020204" pitchFamily="34" charset="0"/>
              </a:rPr>
              <a:t>, and how regularly this information will be updated</a:t>
            </a:r>
          </a:p>
          <a:p>
            <a:pPr>
              <a:spcAft>
                <a:spcPts val="600"/>
              </a:spcAft>
              <a:buClr>
                <a:schemeClr val="bg1"/>
              </a:buClr>
            </a:pPr>
            <a:r>
              <a:rPr lang="en-GB" sz="1000" b="1" dirty="0">
                <a:solidFill>
                  <a:schemeClr val="tx2"/>
                </a:solidFill>
                <a:latin typeface="Trebuchet MS" panose="020B0603020202020204" pitchFamily="34" charset="0"/>
              </a:rPr>
              <a:t>2) BD&amp;A players’ offerings go beyond than simple UBO identifications</a:t>
            </a:r>
          </a:p>
          <a:p>
            <a:pPr marL="447675" indent="-228600">
              <a:spcAft>
                <a:spcPts val="600"/>
              </a:spcAft>
              <a:buClr>
                <a:schemeClr val="bg1"/>
              </a:buClr>
              <a:buFont typeface="+mj-lt"/>
              <a:buAutoNum type="arabicPeriod"/>
            </a:pPr>
            <a:r>
              <a:rPr lang="en-GB" sz="1000" dirty="0">
                <a:latin typeface="Trebuchet MS" panose="020B0603020202020204" pitchFamily="34" charset="0"/>
              </a:rPr>
              <a:t>The identity of the UBO is important to know for AML purposes, but it has value for financial institutions and large corporates only by comparing it to the </a:t>
            </a:r>
            <a:r>
              <a:rPr lang="en-GB" sz="1000" dirty="0">
                <a:solidFill>
                  <a:schemeClr val="tx2"/>
                </a:solidFill>
                <a:latin typeface="Trebuchet MS" panose="020B0603020202020204" pitchFamily="34" charset="0"/>
              </a:rPr>
              <a:t>Politically Exposed Persons </a:t>
            </a:r>
            <a:r>
              <a:rPr lang="en-GB" sz="1000" dirty="0">
                <a:latin typeface="Trebuchet MS" panose="020B0603020202020204" pitchFamily="34" charset="0"/>
              </a:rPr>
              <a:t>and </a:t>
            </a:r>
            <a:r>
              <a:rPr lang="en-GB" sz="1000" dirty="0">
                <a:solidFill>
                  <a:schemeClr val="tx2"/>
                </a:solidFill>
                <a:latin typeface="Trebuchet MS" panose="020B0603020202020204" pitchFamily="34" charset="0"/>
              </a:rPr>
              <a:t>sanctions lists </a:t>
            </a:r>
            <a:r>
              <a:rPr lang="en-GB" sz="1000" dirty="0">
                <a:latin typeface="Trebuchet MS" panose="020B0603020202020204" pitchFamily="34" charset="0"/>
              </a:rPr>
              <a:t>to know if identified individuals represent a risk</a:t>
            </a:r>
            <a:br>
              <a:rPr lang="en-GB" sz="1000" dirty="0">
                <a:latin typeface="Trebuchet MS" panose="020B0603020202020204" pitchFamily="34" charset="0"/>
              </a:rPr>
            </a:br>
            <a:r>
              <a:rPr lang="en-GB" sz="1000" dirty="0">
                <a:latin typeface="Trebuchet MS" panose="020B0603020202020204" pitchFamily="34" charset="0"/>
              </a:rPr>
              <a:t>With their offerings and thanks to the partnerships they made with players like Refinitiv or LexisNexis, BD&amp;A players are providing a </a:t>
            </a:r>
            <a:r>
              <a:rPr lang="en-GB" sz="1000" dirty="0">
                <a:solidFill>
                  <a:schemeClr val="tx2"/>
                </a:solidFill>
                <a:latin typeface="Trebuchet MS" panose="020B0603020202020204" pitchFamily="34" charset="0"/>
              </a:rPr>
              <a:t>turnkey tool</a:t>
            </a:r>
            <a:r>
              <a:rPr lang="en-GB" sz="1000" dirty="0">
                <a:latin typeface="Trebuchet MS" panose="020B0603020202020204" pitchFamily="34" charset="0"/>
              </a:rPr>
              <a:t> combining </a:t>
            </a:r>
            <a:r>
              <a:rPr lang="en-GB" sz="1000" dirty="0">
                <a:solidFill>
                  <a:schemeClr val="tx2"/>
                </a:solidFill>
                <a:latin typeface="Trebuchet MS" panose="020B0603020202020204" pitchFamily="34" charset="0"/>
              </a:rPr>
              <a:t>UBO identification and lists verification </a:t>
            </a:r>
            <a:r>
              <a:rPr lang="en-GB" sz="1000" dirty="0">
                <a:latin typeface="Trebuchet MS" panose="020B0603020202020204" pitchFamily="34" charset="0"/>
              </a:rPr>
              <a:t>to create </a:t>
            </a:r>
            <a:r>
              <a:rPr lang="en-GB" sz="1000" dirty="0">
                <a:solidFill>
                  <a:schemeClr val="tx2"/>
                </a:solidFill>
                <a:latin typeface="Trebuchet MS" panose="020B0603020202020204" pitchFamily="34" charset="0"/>
              </a:rPr>
              <a:t>compliance risk scores</a:t>
            </a:r>
            <a:r>
              <a:rPr lang="en-GB" sz="1000" dirty="0">
                <a:latin typeface="Trebuchet MS" panose="020B0603020202020204" pitchFamily="34" charset="0"/>
              </a:rPr>
              <a:t>, which can be further enriched with adverse news identification, reputational risks, etc. </a:t>
            </a:r>
          </a:p>
        </p:txBody>
      </p:sp>
      <p:sp>
        <p:nvSpPr>
          <p:cNvPr id="18" name="Triangle isocèle 17">
            <a:extLst>
              <a:ext uri="{FF2B5EF4-FFF2-40B4-BE49-F238E27FC236}">
                <a16:creationId xmlns:a16="http://schemas.microsoft.com/office/drawing/2014/main" id="{EA8F80C3-7CAF-4DDE-AB29-1A2729C26376}"/>
              </a:ext>
            </a:extLst>
          </p:cNvPr>
          <p:cNvSpPr/>
          <p:nvPr/>
        </p:nvSpPr>
        <p:spPr bwMode="auto">
          <a:xfrm rot="5400000">
            <a:off x="3962173" y="3509486"/>
            <a:ext cx="2171700" cy="190047"/>
          </a:xfrm>
          <a:prstGeom prst="triangle">
            <a:avLst/>
          </a:prstGeom>
          <a:solidFill>
            <a:schemeClr val="bg2"/>
          </a:solid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GB" sz="1200">
              <a:latin typeface="Trebuchet MS" pitchFamily="34" charset="0"/>
            </a:endParaRPr>
          </a:p>
        </p:txBody>
      </p:sp>
      <p:cxnSp>
        <p:nvCxnSpPr>
          <p:cNvPr id="19" name="Connecteur droit 18">
            <a:extLst>
              <a:ext uri="{FF2B5EF4-FFF2-40B4-BE49-F238E27FC236}">
                <a16:creationId xmlns:a16="http://schemas.microsoft.com/office/drawing/2014/main" id="{C105B959-6176-41F3-ACBA-1154D8E4E04D}"/>
              </a:ext>
            </a:extLst>
          </p:cNvPr>
          <p:cNvCxnSpPr>
            <a:cxnSpLocks/>
          </p:cNvCxnSpPr>
          <p:nvPr/>
        </p:nvCxnSpPr>
        <p:spPr bwMode="auto">
          <a:xfrm>
            <a:off x="4953000" y="1174843"/>
            <a:ext cx="0" cy="5198585"/>
          </a:xfrm>
          <a:prstGeom prst="line">
            <a:avLst/>
          </a:prstGeom>
          <a:solidFill>
            <a:schemeClr val="accent1"/>
          </a:solidFill>
          <a:ln w="9525" cap="flat" cmpd="sng" algn="ctr">
            <a:solidFill>
              <a:schemeClr val="bg2"/>
            </a:solidFill>
            <a:prstDash val="solid"/>
            <a:round/>
            <a:headEnd type="none" w="med" len="med"/>
            <a:tailEnd type="none" w="med" len="med"/>
          </a:ln>
          <a:effectLst/>
        </p:spPr>
      </p:cxnSp>
      <p:pic>
        <p:nvPicPr>
          <p:cNvPr id="21" name="Graphique 20">
            <a:extLst>
              <a:ext uri="{FF2B5EF4-FFF2-40B4-BE49-F238E27FC236}">
                <a16:creationId xmlns:a16="http://schemas.microsoft.com/office/drawing/2014/main" id="{908F6C37-EE74-46C6-A421-E65A73454FD3}"/>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16901"/>
          <a:stretch/>
        </p:blipFill>
        <p:spPr>
          <a:xfrm>
            <a:off x="5343554" y="2395687"/>
            <a:ext cx="228021" cy="236855"/>
          </a:xfrm>
          <a:prstGeom prst="rect">
            <a:avLst/>
          </a:prstGeom>
        </p:spPr>
      </p:pic>
      <p:pic>
        <p:nvPicPr>
          <p:cNvPr id="25" name="Graphique 24">
            <a:extLst>
              <a:ext uri="{FF2B5EF4-FFF2-40B4-BE49-F238E27FC236}">
                <a16:creationId xmlns:a16="http://schemas.microsoft.com/office/drawing/2014/main" id="{7BDDB2AD-C51C-43DD-96C3-027E34DC906B}"/>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16795"/>
          <a:stretch/>
        </p:blipFill>
        <p:spPr>
          <a:xfrm>
            <a:off x="5343554" y="3071504"/>
            <a:ext cx="235028" cy="244444"/>
          </a:xfrm>
          <a:prstGeom prst="rect">
            <a:avLst/>
          </a:prstGeom>
        </p:spPr>
      </p:pic>
      <p:pic>
        <p:nvPicPr>
          <p:cNvPr id="31" name="Graphique 30">
            <a:extLst>
              <a:ext uri="{FF2B5EF4-FFF2-40B4-BE49-F238E27FC236}">
                <a16:creationId xmlns:a16="http://schemas.microsoft.com/office/drawing/2014/main" id="{D6703C20-61A8-47B2-8C0D-7FF81679878D}"/>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l="12077" t="7065" r="10872" b="26036"/>
          <a:stretch/>
        </p:blipFill>
        <p:spPr>
          <a:xfrm>
            <a:off x="5357456" y="4351947"/>
            <a:ext cx="200215" cy="217293"/>
          </a:xfrm>
          <a:prstGeom prst="rect">
            <a:avLst/>
          </a:prstGeom>
        </p:spPr>
      </p:pic>
      <p:cxnSp>
        <p:nvCxnSpPr>
          <p:cNvPr id="20" name="Connecteur droit 19">
            <a:extLst>
              <a:ext uri="{FF2B5EF4-FFF2-40B4-BE49-F238E27FC236}">
                <a16:creationId xmlns:a16="http://schemas.microsoft.com/office/drawing/2014/main" id="{32A9EB87-1D78-41D1-9326-8ED55A13CBF0}"/>
              </a:ext>
            </a:extLst>
          </p:cNvPr>
          <p:cNvCxnSpPr>
            <a:cxnSpLocks/>
          </p:cNvCxnSpPr>
          <p:nvPr/>
        </p:nvCxnSpPr>
        <p:spPr bwMode="auto">
          <a:xfrm>
            <a:off x="272227" y="1211483"/>
            <a:ext cx="4537581"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9" name="ZoneTexte 8">
            <a:extLst>
              <a:ext uri="{FF2B5EF4-FFF2-40B4-BE49-F238E27FC236}">
                <a16:creationId xmlns:a16="http://schemas.microsoft.com/office/drawing/2014/main" id="{C237F50B-4DB3-46F3-9CF8-B6C9E7C70672}"/>
              </a:ext>
            </a:extLst>
          </p:cNvPr>
          <p:cNvSpPr txBox="1"/>
          <p:nvPr/>
        </p:nvSpPr>
        <p:spPr>
          <a:xfrm>
            <a:off x="589092" y="990190"/>
            <a:ext cx="3903851" cy="430887"/>
          </a:xfrm>
          <a:prstGeom prst="rect">
            <a:avLst/>
          </a:prstGeom>
          <a:solidFill>
            <a:schemeClr val="bg1"/>
          </a:solidFill>
        </p:spPr>
        <p:txBody>
          <a:bodyPr wrap="square" rtlCol="0">
            <a:spAutoFit/>
          </a:bodyPr>
          <a:lstStyle/>
          <a:p>
            <a:pPr algn="ctr"/>
            <a:r>
              <a:rPr lang="en-GB" sz="1100">
                <a:latin typeface="Trebuchet MS" panose="020B0603020202020204" pitchFamily="34" charset="0"/>
              </a:rPr>
              <a:t>The 5</a:t>
            </a:r>
            <a:r>
              <a:rPr lang="en-GB" sz="1100" baseline="30000">
                <a:latin typeface="Trebuchet MS" panose="020B0603020202020204" pitchFamily="34" charset="0"/>
              </a:rPr>
              <a:t>th</a:t>
            </a:r>
            <a:r>
              <a:rPr lang="en-GB" sz="1100">
                <a:latin typeface="Trebuchet MS" panose="020B0603020202020204" pitchFamily="34" charset="0"/>
              </a:rPr>
              <a:t> Directive should create a public register of UBOs for European companies…</a:t>
            </a:r>
          </a:p>
        </p:txBody>
      </p:sp>
      <p:grpSp>
        <p:nvGrpSpPr>
          <p:cNvPr id="23" name="Groupe 22">
            <a:extLst>
              <a:ext uri="{FF2B5EF4-FFF2-40B4-BE49-F238E27FC236}">
                <a16:creationId xmlns:a16="http://schemas.microsoft.com/office/drawing/2014/main" id="{CEB2CF89-F2F0-4214-853C-15144295BA44}"/>
              </a:ext>
            </a:extLst>
          </p:cNvPr>
          <p:cNvGrpSpPr/>
          <p:nvPr/>
        </p:nvGrpSpPr>
        <p:grpSpPr>
          <a:xfrm>
            <a:off x="8448150" y="-11528"/>
            <a:ext cx="1435548" cy="588143"/>
            <a:chOff x="8448150" y="-11528"/>
            <a:chExt cx="1435548" cy="588143"/>
          </a:xfrm>
        </p:grpSpPr>
        <p:grpSp>
          <p:nvGrpSpPr>
            <p:cNvPr id="24" name="Groupe 23">
              <a:extLst>
                <a:ext uri="{FF2B5EF4-FFF2-40B4-BE49-F238E27FC236}">
                  <a16:creationId xmlns:a16="http://schemas.microsoft.com/office/drawing/2014/main" id="{09262026-F3C9-475E-AD81-39F5D5AF0D4D}"/>
                </a:ext>
              </a:extLst>
            </p:cNvPr>
            <p:cNvGrpSpPr/>
            <p:nvPr/>
          </p:nvGrpSpPr>
          <p:grpSpPr>
            <a:xfrm>
              <a:off x="8448150" y="-11528"/>
              <a:ext cx="1435548" cy="555653"/>
              <a:chOff x="8448150" y="-11528"/>
              <a:chExt cx="1435548" cy="555653"/>
            </a:xfrm>
          </p:grpSpPr>
          <p:sp>
            <p:nvSpPr>
              <p:cNvPr id="27" name="Rectangle : coins arrondis 199">
                <a:extLst>
                  <a:ext uri="{FF2B5EF4-FFF2-40B4-BE49-F238E27FC236}">
                    <a16:creationId xmlns:a16="http://schemas.microsoft.com/office/drawing/2014/main" id="{B48A42D3-5A83-4432-A2B0-517BC028186C}"/>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8" name="Rectangle : coins arrondis 200">
                <a:extLst>
                  <a:ext uri="{FF2B5EF4-FFF2-40B4-BE49-F238E27FC236}">
                    <a16:creationId xmlns:a16="http://schemas.microsoft.com/office/drawing/2014/main" id="{9D4D8BA4-F73C-4876-B0F4-34B649CF5C78}"/>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9" name="Rectangle : coins arrondis 201">
                <a:extLst>
                  <a:ext uri="{FF2B5EF4-FFF2-40B4-BE49-F238E27FC236}">
                    <a16:creationId xmlns:a16="http://schemas.microsoft.com/office/drawing/2014/main" id="{516ADA86-2952-4A0C-991E-2A30A6CF44A6}"/>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0" name="ZoneTexte 18">
                <a:extLst>
                  <a:ext uri="{FF2B5EF4-FFF2-40B4-BE49-F238E27FC236}">
                    <a16:creationId xmlns:a16="http://schemas.microsoft.com/office/drawing/2014/main" id="{4E7B87E1-92BA-450A-9F36-726D0EF51474}"/>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32" name="Graphique 128" descr="Jauge">
                <a:extLst>
                  <a:ext uri="{FF2B5EF4-FFF2-40B4-BE49-F238E27FC236}">
                    <a16:creationId xmlns:a16="http://schemas.microsoft.com/office/drawing/2014/main" id="{03779D65-0A7A-424E-BCF3-9E106F60E17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53764" y="187516"/>
                <a:ext cx="234953" cy="218224"/>
              </a:xfrm>
              <a:prstGeom prst="rect">
                <a:avLst/>
              </a:prstGeom>
              <a:effectLst/>
            </p:spPr>
          </p:pic>
          <p:pic>
            <p:nvPicPr>
              <p:cNvPr id="33" name="Graphique 90" descr="Poignée de main">
                <a:extLst>
                  <a:ext uri="{FF2B5EF4-FFF2-40B4-BE49-F238E27FC236}">
                    <a16:creationId xmlns:a16="http://schemas.microsoft.com/office/drawing/2014/main" id="{44C5073E-21BE-4D53-AF61-A1D51D9DE0C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960868" y="152880"/>
                <a:ext cx="256313" cy="287496"/>
              </a:xfrm>
              <a:prstGeom prst="rect">
                <a:avLst/>
              </a:prstGeom>
              <a:effectLst/>
            </p:spPr>
          </p:pic>
          <p:pic>
            <p:nvPicPr>
              <p:cNvPr id="34" name="Graphique 74" descr="Mégaphone">
                <a:extLst>
                  <a:ext uri="{FF2B5EF4-FFF2-40B4-BE49-F238E27FC236}">
                    <a16:creationId xmlns:a16="http://schemas.microsoft.com/office/drawing/2014/main" id="{B47731E3-4428-4C68-B857-DB4C430E3E7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89331" y="181519"/>
                <a:ext cx="233011" cy="216420"/>
              </a:xfrm>
              <a:prstGeom prst="rect">
                <a:avLst/>
              </a:prstGeom>
              <a:effectLst/>
            </p:spPr>
          </p:pic>
          <p:pic>
            <p:nvPicPr>
              <p:cNvPr id="35" name="Picture 2" descr="Drapeau France">
                <a:extLst>
                  <a:ext uri="{FF2B5EF4-FFF2-40B4-BE49-F238E27FC236}">
                    <a16:creationId xmlns:a16="http://schemas.microsoft.com/office/drawing/2014/main" id="{70347D76-39FA-4A2A-B8D6-03D2D567C86A}"/>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36" name="Picture 2" descr="5 ft x 3 ft 150 x 90 cm-DRAPEAU BELGE Belgique 100% Polyester ...">
                <a:extLst>
                  <a:ext uri="{FF2B5EF4-FFF2-40B4-BE49-F238E27FC236}">
                    <a16:creationId xmlns:a16="http://schemas.microsoft.com/office/drawing/2014/main" id="{522FBAFA-7962-4A17-B7F8-12A3400E5BB6}"/>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37" name="Picture 2 - 1" descr="Drapeau des Pays-Bas — Wikipédia">
                <a:extLst>
                  <a:ext uri="{FF2B5EF4-FFF2-40B4-BE49-F238E27FC236}">
                    <a16:creationId xmlns:a16="http://schemas.microsoft.com/office/drawing/2014/main" id="{989AE193-354F-42CA-A836-4E81E959E52D}"/>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38" name="Picture 2 - 2" descr="Drapeau du Luxembourg">
                <a:extLst>
                  <a:ext uri="{FF2B5EF4-FFF2-40B4-BE49-F238E27FC236}">
                    <a16:creationId xmlns:a16="http://schemas.microsoft.com/office/drawing/2014/main" id="{10B42162-B829-4BE6-9280-258417326AA8}"/>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26" name="ZoneTexte 18">
              <a:extLst>
                <a:ext uri="{FF2B5EF4-FFF2-40B4-BE49-F238E27FC236}">
                  <a16:creationId xmlns:a16="http://schemas.microsoft.com/office/drawing/2014/main" id="{E8204433-CF00-4E32-8CB4-3A1FCCF19E18}"/>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sp>
        <p:nvSpPr>
          <p:cNvPr id="40" name="ZoneTexte 39">
            <a:extLst>
              <a:ext uri="{FF2B5EF4-FFF2-40B4-BE49-F238E27FC236}">
                <a16:creationId xmlns:a16="http://schemas.microsoft.com/office/drawing/2014/main" id="{DC5F025D-74B2-45E0-A7BF-BF389E0BE4CC}"/>
              </a:ext>
            </a:extLst>
          </p:cNvPr>
          <p:cNvSpPr txBox="1"/>
          <p:nvPr/>
        </p:nvSpPr>
        <p:spPr>
          <a:xfrm>
            <a:off x="8390877" y="533393"/>
            <a:ext cx="1304683" cy="338554"/>
          </a:xfrm>
          <a:prstGeom prst="rect">
            <a:avLst/>
          </a:prstGeom>
          <a:noFill/>
        </p:spPr>
        <p:txBody>
          <a:bodyPr wrap="square">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accent1">
                    <a:lumMod val="75000"/>
                  </a:schemeClr>
                </a:solidFill>
                <a:latin typeface="Trebuchet MS" panose="020B0603020202020204" pitchFamily="34" charset="0"/>
              </a:rPr>
              <a:t>Anti-money laundering (AML) regulations</a:t>
            </a:r>
          </a:p>
        </p:txBody>
      </p:sp>
      <p:pic>
        <p:nvPicPr>
          <p:cNvPr id="41" name="Graphique 40" descr="Argent volant">
            <a:extLst>
              <a:ext uri="{FF2B5EF4-FFF2-40B4-BE49-F238E27FC236}">
                <a16:creationId xmlns:a16="http://schemas.microsoft.com/office/drawing/2014/main" id="{B9961A81-3416-44DE-BD92-765A5E4A53AE}"/>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617547" y="594244"/>
            <a:ext cx="251509" cy="235947"/>
          </a:xfrm>
          <a:prstGeom prst="rect">
            <a:avLst/>
          </a:prstGeom>
        </p:spPr>
      </p:pic>
      <p:sp>
        <p:nvSpPr>
          <p:cNvPr id="42" name="Rectangle 41">
            <a:extLst>
              <a:ext uri="{FF2B5EF4-FFF2-40B4-BE49-F238E27FC236}">
                <a16:creationId xmlns:a16="http://schemas.microsoft.com/office/drawing/2014/main" id="{3873F056-C298-4A4C-892F-D20EC80C5790}"/>
              </a:ext>
            </a:extLst>
          </p:cNvPr>
          <p:cNvSpPr/>
          <p:nvPr/>
        </p:nvSpPr>
        <p:spPr bwMode="auto">
          <a:xfrm>
            <a:off x="401375" y="5790106"/>
            <a:ext cx="4423195" cy="67736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defTabSz="914400" rtl="0" eaLnBrk="1" fontAlgn="base" latinLnBrk="0" hangingPunct="1">
              <a:lnSpc>
                <a:spcPct val="100000"/>
              </a:lnSpc>
              <a:spcBef>
                <a:spcPct val="0"/>
              </a:spcBef>
              <a:spcAft>
                <a:spcPct val="0"/>
              </a:spcAft>
              <a:buClrTx/>
              <a:buSzTx/>
              <a:tabLst/>
            </a:pPr>
            <a:r>
              <a:rPr kumimoji="0" lang="en-GB" sz="1000" b="0" u="none" strike="noStrike" cap="none" normalizeH="0" baseline="0">
                <a:ln>
                  <a:noFill/>
                </a:ln>
                <a:solidFill>
                  <a:schemeClr val="tx1"/>
                </a:solidFill>
                <a:effectLst/>
                <a:latin typeface="Trebuchet MS" panose="020B0603020202020204" pitchFamily="34" charset="0"/>
              </a:rPr>
              <a:t>In parallel, </a:t>
            </a:r>
            <a:r>
              <a:rPr kumimoji="0" lang="en-GB" sz="1000" b="0" u="none" strike="noStrike" cap="none" normalizeH="0" baseline="0">
                <a:ln>
                  <a:noFill/>
                </a:ln>
                <a:solidFill>
                  <a:schemeClr val="tx2"/>
                </a:solidFill>
                <a:effectLst/>
                <a:latin typeface="Trebuchet MS" panose="020B0603020202020204" pitchFamily="34" charset="0"/>
              </a:rPr>
              <a:t>private initiatives </a:t>
            </a:r>
            <a:r>
              <a:rPr kumimoji="0" lang="en-GB" sz="1000" b="0" u="none" strike="noStrike" cap="none" normalizeH="0" baseline="0">
                <a:ln>
                  <a:noFill/>
                </a:ln>
                <a:solidFill>
                  <a:schemeClr val="tx1"/>
                </a:solidFill>
                <a:effectLst/>
                <a:latin typeface="Trebuchet MS" panose="020B0603020202020204" pitchFamily="34" charset="0"/>
              </a:rPr>
              <a:t>are implemented</a:t>
            </a:r>
            <a:r>
              <a:rPr lang="en-GB" sz="1000">
                <a:solidFill>
                  <a:schemeClr val="tx2"/>
                </a:solidFill>
                <a:latin typeface="Trebuchet MS" panose="020B0603020202020204" pitchFamily="34" charset="0"/>
              </a:rPr>
              <a:t> to simplify compliance processes. </a:t>
            </a:r>
            <a:r>
              <a:rPr lang="en-GB" sz="1000">
                <a:latin typeface="Trebuchet MS" panose="020B0603020202020204" pitchFamily="34" charset="0"/>
              </a:rPr>
              <a:t>In 2020, four Belgian banks, associated with Isabel Group, created</a:t>
            </a:r>
            <a:r>
              <a:rPr lang="en-GB" sz="1000">
                <a:solidFill>
                  <a:schemeClr val="tx2"/>
                </a:solidFill>
                <a:latin typeface="Trebuchet MS" panose="020B0603020202020204" pitchFamily="34" charset="0"/>
              </a:rPr>
              <a:t> </a:t>
            </a:r>
            <a:r>
              <a:rPr lang="en-GB" sz="1000" err="1">
                <a:solidFill>
                  <a:schemeClr val="tx2"/>
                </a:solidFill>
                <a:latin typeface="Trebuchet MS" panose="020B0603020202020204" pitchFamily="34" charset="0"/>
              </a:rPr>
              <a:t>Kube</a:t>
            </a:r>
            <a:r>
              <a:rPr lang="en-GB" sz="1000">
                <a:solidFill>
                  <a:schemeClr val="tx2"/>
                </a:solidFill>
                <a:latin typeface="Trebuchet MS" panose="020B0603020202020204" pitchFamily="34" charset="0"/>
              </a:rPr>
              <a:t>, </a:t>
            </a:r>
            <a:r>
              <a:rPr lang="en-GB" sz="1000">
                <a:latin typeface="Trebuchet MS" panose="020B0603020202020204" pitchFamily="34" charset="0"/>
              </a:rPr>
              <a:t>a </a:t>
            </a:r>
            <a:r>
              <a:rPr lang="en-GB" sz="1000">
                <a:solidFill>
                  <a:schemeClr val="tx2"/>
                </a:solidFill>
                <a:latin typeface="Trebuchet MS" panose="020B0603020202020204" pitchFamily="34" charset="0"/>
              </a:rPr>
              <a:t>blockchain</a:t>
            </a:r>
            <a:r>
              <a:rPr lang="en-GB" sz="1000">
                <a:latin typeface="Trebuchet MS" panose="020B0603020202020204" pitchFamily="34" charset="0"/>
              </a:rPr>
              <a:t> </a:t>
            </a:r>
            <a:r>
              <a:rPr lang="en-GB" sz="1000">
                <a:solidFill>
                  <a:schemeClr val="tx2"/>
                </a:solidFill>
                <a:latin typeface="Trebuchet MS" panose="020B0603020202020204" pitchFamily="34" charset="0"/>
              </a:rPr>
              <a:t>application</a:t>
            </a:r>
            <a:r>
              <a:rPr lang="en-GB" sz="1000">
                <a:latin typeface="Trebuchet MS" panose="020B0603020202020204" pitchFamily="34" charset="0"/>
              </a:rPr>
              <a:t> facilitating the </a:t>
            </a:r>
            <a:r>
              <a:rPr lang="en-GB" sz="1000">
                <a:solidFill>
                  <a:schemeClr val="tx2"/>
                </a:solidFill>
                <a:latin typeface="Trebuchet MS" panose="020B0603020202020204" pitchFamily="34" charset="0"/>
              </a:rPr>
              <a:t>sharing</a:t>
            </a:r>
            <a:r>
              <a:rPr lang="en-GB" sz="1000">
                <a:latin typeface="Trebuchet MS" panose="020B0603020202020204" pitchFamily="34" charset="0"/>
              </a:rPr>
              <a:t> of corporate </a:t>
            </a:r>
            <a:r>
              <a:rPr lang="en-GB" sz="1000">
                <a:solidFill>
                  <a:schemeClr val="tx2"/>
                </a:solidFill>
                <a:latin typeface="Trebuchet MS" panose="020B0603020202020204" pitchFamily="34" charset="0"/>
              </a:rPr>
              <a:t>data</a:t>
            </a:r>
            <a:r>
              <a:rPr lang="en-GB" sz="1000">
                <a:latin typeface="Trebuchet MS" panose="020B0603020202020204" pitchFamily="34" charset="0"/>
              </a:rPr>
              <a:t> for corporate identity verification and maintenance</a:t>
            </a:r>
            <a:endParaRPr kumimoji="0" lang="en-GB" sz="1000" b="0" u="none" strike="noStrike" cap="none" normalizeH="0" baseline="0">
              <a:ln>
                <a:noFill/>
              </a:ln>
              <a:solidFill>
                <a:schemeClr val="tx1"/>
              </a:solidFill>
              <a:effectLst/>
              <a:latin typeface="Trebuchet MS" panose="020B0603020202020204" pitchFamily="34" charset="0"/>
            </a:endParaRPr>
          </a:p>
        </p:txBody>
      </p:sp>
    </p:spTree>
    <p:extLst>
      <p:ext uri="{BB962C8B-B14F-4D97-AF65-F5344CB8AC3E}">
        <p14:creationId xmlns:p14="http://schemas.microsoft.com/office/powerpoint/2010/main" val="740883891"/>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4E8BB55-4454-4FE4-A0CA-08C2677BB30A}"/>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15C80389-6548-4E62-B1DE-3FED01EC77DC}"/>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5" name="Chevron">
            <a:extLst>
              <a:ext uri="{FF2B5EF4-FFF2-40B4-BE49-F238E27FC236}">
                <a16:creationId xmlns:a16="http://schemas.microsoft.com/office/drawing/2014/main" id="{E411076D-BD7D-4F3C-BA4F-785FA7DEB8E0}"/>
              </a:ext>
            </a:extLst>
          </p:cNvPr>
          <p:cNvSpPr/>
          <p:nvPr/>
        </p:nvSpPr>
        <p:spPr bwMode="auto">
          <a:xfrm>
            <a:off x="1418399" y="2181600"/>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 name="Section">
            <a:extLst>
              <a:ext uri="{FF2B5EF4-FFF2-40B4-BE49-F238E27FC236}">
                <a16:creationId xmlns:a16="http://schemas.microsoft.com/office/drawing/2014/main" id="{326B4D12-3A06-4913-AA9A-9843CDCAF5C5}"/>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2</a:t>
            </a:r>
          </a:p>
        </p:txBody>
      </p:sp>
      <p:sp>
        <p:nvSpPr>
          <p:cNvPr id="9" name="ZoneTexte 8">
            <a:extLst>
              <a:ext uri="{FF2B5EF4-FFF2-40B4-BE49-F238E27FC236}">
                <a16:creationId xmlns:a16="http://schemas.microsoft.com/office/drawing/2014/main" id="{624CC054-0A35-4E7C-A671-C465564E0783}"/>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marR="0" indent="-228600" defTabSz="914400" rtl="0" eaLnBrk="1" fontAlgn="base" latinLnBrk="0" hangingPunct="1">
              <a:lnSpc>
                <a:spcPct val="100000"/>
              </a:lnSpc>
              <a:spcBef>
                <a:spcPct val="0"/>
              </a:spcBef>
              <a:spcAft>
                <a:spcPct val="0"/>
              </a:spcAft>
              <a:buClrTx/>
              <a:buSzTx/>
              <a:buFont typeface="+mj-lt"/>
              <a:buAutoNum type="arabicPeriod"/>
              <a:tabLst/>
            </a:pPr>
            <a:r>
              <a:rPr kumimoji="0" lang="en-GB" sz="1200" b="0" u="none" strike="noStrike" cap="none" normalizeH="0" baseline="0">
                <a:ln>
                  <a:noFill/>
                </a:ln>
                <a:effectLst/>
                <a:latin typeface="Trebuchet MS" pitchFamily="34" charset="0"/>
              </a:rPr>
              <a:t>Overview of the BD&amp;A market addressed by </a:t>
            </a:r>
            <a:r>
              <a:rPr kumimoji="0" lang="en-GB" sz="1200" b="0" u="none" strike="noStrike" cap="none" normalizeH="0" baseline="0" err="1">
                <a:ln>
                  <a:noFill/>
                </a:ln>
                <a:effectLst/>
                <a:latin typeface="Trebuchet MS" pitchFamily="34" charset="0"/>
              </a:rPr>
              <a:t>Altares</a:t>
            </a:r>
            <a:endParaRPr kumimoji="0" lang="en-GB" sz="1200" b="0" u="none" strike="noStrike" cap="none" normalizeH="0" baseline="0">
              <a:ln>
                <a:noFill/>
              </a:ln>
              <a:effectLst/>
              <a:latin typeface="Trebuchet MS" pitchFamily="34" charset="0"/>
            </a:endParaRPr>
          </a:p>
          <a:p>
            <a:pPr marL="742950" lvl="1" indent="-285750">
              <a:buFont typeface="+mj-lt"/>
              <a:buAutoNum type="romanLcPeriod"/>
            </a:pPr>
            <a:r>
              <a:rPr kumimoji="0" lang="en-GB" sz="1200" b="0" u="none" strike="noStrike" cap="none" normalizeH="0" baseline="0">
                <a:ln>
                  <a:noFill/>
                </a:ln>
                <a:effectLst/>
                <a:latin typeface="Trebuchet MS" pitchFamily="34" charset="0"/>
              </a:rPr>
              <a:t>Key customers’ use cases related to BD&amp;A</a:t>
            </a:r>
          </a:p>
          <a:p>
            <a:pPr marL="742950" lvl="1" indent="-285750">
              <a:buFont typeface="+mj-lt"/>
              <a:buAutoNum type="romanLcPeriod"/>
            </a:pPr>
            <a:r>
              <a:rPr kumimoji="0" lang="en-GB" sz="1200" b="0" u="none" strike="noStrike" cap="none" normalizeH="0" baseline="0">
                <a:ln>
                  <a:noFill/>
                </a:ln>
                <a:effectLst/>
                <a:latin typeface="Trebuchet MS" pitchFamily="34" charset="0"/>
              </a:rPr>
              <a:t>Global market structure and </a:t>
            </a:r>
            <a:r>
              <a:rPr kumimoji="0" lang="en-GB" sz="1200" b="0" u="none" strike="noStrike" cap="none" normalizeH="0" baseline="0" err="1">
                <a:ln>
                  <a:noFill/>
                </a:ln>
                <a:effectLst/>
                <a:latin typeface="Trebuchet MS" pitchFamily="34" charset="0"/>
              </a:rPr>
              <a:t>Altares</a:t>
            </a:r>
            <a:r>
              <a:rPr kumimoji="0" lang="en-GB" sz="1200" b="0" u="none" strike="noStrike" cap="none" normalizeH="0" baseline="0">
                <a:ln>
                  <a:noFill/>
                </a:ln>
                <a:effectLst/>
                <a:latin typeface="Trebuchet MS" pitchFamily="34" charset="0"/>
              </a:rPr>
              <a:t> positioning</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Credit &amp; financial risk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solidFill>
                  <a:schemeClr val="tx2"/>
                </a:solidFill>
                <a:latin typeface="Trebuchet MS" panose="020B0603020202020204" pitchFamily="34" charset="0"/>
              </a:rPr>
              <a:t>Compliance market</a:t>
            </a:r>
          </a:p>
          <a:p>
            <a:pPr marL="742950" lvl="1" indent="-285750">
              <a:buFont typeface="+mj-lt"/>
              <a:buAutoNum type="romanLcPeriod"/>
            </a:pPr>
            <a:r>
              <a:rPr lang="en-GB" sz="1200">
                <a:latin typeface="Trebuchet MS" pitchFamily="34" charset="0"/>
              </a:rPr>
              <a:t>Market scope &amp; overview</a:t>
            </a:r>
          </a:p>
          <a:p>
            <a:pPr marL="742950" lvl="1" indent="-285750">
              <a:buFont typeface="+mj-lt"/>
              <a:buAutoNum type="romanLcPeriod"/>
            </a:pPr>
            <a:r>
              <a:rPr lang="en-GB" sz="1200">
                <a:latin typeface="Trebuchet MS" pitchFamily="34" charset="0"/>
              </a:rPr>
              <a:t>Regulatory context &amp; key drivers</a:t>
            </a:r>
          </a:p>
          <a:p>
            <a:pPr marL="742950" marR="0" lvl="1" indent="-285750" defTabSz="914400" eaLnBrk="1" latinLnBrk="0" hangingPunct="1">
              <a:lnSpc>
                <a:spcPct val="100000"/>
              </a:lnSpc>
              <a:buClrTx/>
              <a:buSzTx/>
              <a:buFont typeface="+mj-lt"/>
              <a:buAutoNum type="romanLcPeriod"/>
              <a:tabLst/>
            </a:pPr>
            <a:r>
              <a:rPr lang="en-GB" sz="1200">
                <a:solidFill>
                  <a:schemeClr val="tx2"/>
                </a:solidFill>
                <a:latin typeface="Trebuchet MS" pitchFamily="34" charset="0"/>
              </a:rPr>
              <a:t>Altares’ compliance ecosystem</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B2B Marketing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BD&amp;A market overview in Maghreb</a:t>
            </a:r>
          </a:p>
          <a:p>
            <a:endParaRPr lang="en-GB" sz="1200">
              <a:latin typeface="Trebuchet MS" pitchFamily="34" charset="0"/>
            </a:endParaRPr>
          </a:p>
        </p:txBody>
      </p:sp>
      <p:sp>
        <p:nvSpPr>
          <p:cNvPr id="4" name="Isosceles Triangle">
            <a:extLst>
              <a:ext uri="{FF2B5EF4-FFF2-40B4-BE49-F238E27FC236}">
                <a16:creationId xmlns:a16="http://schemas.microsoft.com/office/drawing/2014/main" id="{FB3CA906-550E-49DB-A6DC-CE4E06DCB5D1}"/>
              </a:ext>
            </a:extLst>
          </p:cNvPr>
          <p:cNvSpPr/>
          <p:nvPr/>
        </p:nvSpPr>
        <p:spPr bwMode="auto">
          <a:xfrm rot="5400000">
            <a:off x="5731200" y="2282400"/>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 name="Arrow: Pentagon">
            <a:extLst>
              <a:ext uri="{FF2B5EF4-FFF2-40B4-BE49-F238E27FC236}">
                <a16:creationId xmlns:a16="http://schemas.microsoft.com/office/drawing/2014/main" id="{51A3450F-BBF8-4225-96A2-FDC773C0FA82}"/>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18" name="Oval">
            <a:extLst>
              <a:ext uri="{FF2B5EF4-FFF2-40B4-BE49-F238E27FC236}">
                <a16:creationId xmlns:a16="http://schemas.microsoft.com/office/drawing/2014/main" id="{FD180EE7-45C2-44F4-9BDE-C4E58E3C9D51}"/>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19" name="Arrow: Pentagon">
            <a:extLst>
              <a:ext uri="{FF2B5EF4-FFF2-40B4-BE49-F238E27FC236}">
                <a16:creationId xmlns:a16="http://schemas.microsoft.com/office/drawing/2014/main" id="{3A786F55-A8FA-421A-8DFD-847D0BBD3814}"/>
              </a:ext>
            </a:extLst>
          </p:cNvPr>
          <p:cNvSpPr/>
          <p:nvPr/>
        </p:nvSpPr>
        <p:spPr bwMode="auto">
          <a:xfrm>
            <a:off x="1641599" y="2181600"/>
            <a:ext cx="4319994"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FFFFFF"/>
                </a:solidFill>
                <a:effectLst/>
                <a:latin typeface="Trebuchet MS" panose="020B0603020202020204" pitchFamily="34" charset="0"/>
              </a:rPr>
              <a:t>BD&amp;A Market &amp; Competition</a:t>
            </a:r>
          </a:p>
        </p:txBody>
      </p:sp>
      <p:sp>
        <p:nvSpPr>
          <p:cNvPr id="20" name="Oval">
            <a:extLst>
              <a:ext uri="{FF2B5EF4-FFF2-40B4-BE49-F238E27FC236}">
                <a16:creationId xmlns:a16="http://schemas.microsoft.com/office/drawing/2014/main" id="{8D591CAC-D9FB-4A94-89A7-473FBC54C347}"/>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21" name="Arrow: Pentagon">
            <a:extLst>
              <a:ext uri="{FF2B5EF4-FFF2-40B4-BE49-F238E27FC236}">
                <a16:creationId xmlns:a16="http://schemas.microsoft.com/office/drawing/2014/main" id="{236FE126-9AB2-4FFC-9CC9-04A01AA618C5}"/>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23" name="Arrow: Pentagon">
            <a:extLst>
              <a:ext uri="{FF2B5EF4-FFF2-40B4-BE49-F238E27FC236}">
                <a16:creationId xmlns:a16="http://schemas.microsoft.com/office/drawing/2014/main" id="{7EACDB78-621D-4C00-A832-94FAFA7925A9}"/>
              </a:ext>
            </a:extLst>
          </p:cNvPr>
          <p:cNvSpPr/>
          <p:nvPr/>
        </p:nvSpPr>
        <p:spPr bwMode="auto">
          <a:xfrm>
            <a:off x="1641599" y="2685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25" name="Oval">
            <a:extLst>
              <a:ext uri="{FF2B5EF4-FFF2-40B4-BE49-F238E27FC236}">
                <a16:creationId xmlns:a16="http://schemas.microsoft.com/office/drawing/2014/main" id="{B8D3F594-58F6-4A09-B643-4DD1EEA044BB}"/>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27" name="Arrow: Pentagon">
            <a:extLst>
              <a:ext uri="{FF2B5EF4-FFF2-40B4-BE49-F238E27FC236}">
                <a16:creationId xmlns:a16="http://schemas.microsoft.com/office/drawing/2014/main" id="{11D3F583-3BA9-4466-B143-F61E8CB26C91}"/>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29" name="Oval">
            <a:extLst>
              <a:ext uri="{FF2B5EF4-FFF2-40B4-BE49-F238E27FC236}">
                <a16:creationId xmlns:a16="http://schemas.microsoft.com/office/drawing/2014/main" id="{A9EDCC88-CC41-4103-98EA-4CB9E9FC9FAB}"/>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31" name="Oval">
            <a:extLst>
              <a:ext uri="{FF2B5EF4-FFF2-40B4-BE49-F238E27FC236}">
                <a16:creationId xmlns:a16="http://schemas.microsoft.com/office/drawing/2014/main" id="{F95D08A7-D139-470C-B587-565A475C0B76}"/>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3679436148"/>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5" name="Connecteur droit 84">
            <a:extLst>
              <a:ext uri="{FF2B5EF4-FFF2-40B4-BE49-F238E27FC236}">
                <a16:creationId xmlns:a16="http://schemas.microsoft.com/office/drawing/2014/main" id="{CA5CBCDA-81EC-40DB-9673-C39973352CBD}"/>
              </a:ext>
            </a:extLst>
          </p:cNvPr>
          <p:cNvCxnSpPr>
            <a:cxnSpLocks/>
          </p:cNvCxnSpPr>
          <p:nvPr/>
        </p:nvCxnSpPr>
        <p:spPr bwMode="auto">
          <a:xfrm>
            <a:off x="272227" y="1165303"/>
            <a:ext cx="450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cxnSp>
        <p:nvCxnSpPr>
          <p:cNvPr id="86" name="Connecteur droit 85">
            <a:extLst>
              <a:ext uri="{FF2B5EF4-FFF2-40B4-BE49-F238E27FC236}">
                <a16:creationId xmlns:a16="http://schemas.microsoft.com/office/drawing/2014/main" id="{9C7A257C-A7D8-4514-B8BF-9DF4EC0DD026}"/>
              </a:ext>
            </a:extLst>
          </p:cNvPr>
          <p:cNvCxnSpPr>
            <a:cxnSpLocks/>
          </p:cNvCxnSpPr>
          <p:nvPr/>
        </p:nvCxnSpPr>
        <p:spPr bwMode="auto">
          <a:xfrm>
            <a:off x="5106409" y="1165303"/>
            <a:ext cx="450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graphicFrame>
        <p:nvGraphicFramePr>
          <p:cNvPr id="6" name="Object 5" hidden="1">
            <a:extLst>
              <a:ext uri="{FF2B5EF4-FFF2-40B4-BE49-F238E27FC236}">
                <a16:creationId xmlns:a16="http://schemas.microsoft.com/office/drawing/2014/main" id="{8454A621-0729-49B0-873F-528B973A13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8454A621-0729-49B0-873F-528B973A13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0405687-1983-497B-BFE2-6759881CBEB0}"/>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02" name="Rectangle 101">
            <a:extLst>
              <a:ext uri="{FF2B5EF4-FFF2-40B4-BE49-F238E27FC236}">
                <a16:creationId xmlns:a16="http://schemas.microsoft.com/office/drawing/2014/main" id="{EF7B682B-B125-4FD7-A55E-BB6C6277EC3A}"/>
              </a:ext>
            </a:extLst>
          </p:cNvPr>
          <p:cNvSpPr/>
          <p:nvPr/>
        </p:nvSpPr>
        <p:spPr bwMode="auto">
          <a:xfrm>
            <a:off x="165600" y="1865433"/>
            <a:ext cx="4644208" cy="2439186"/>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1" name="Rectangle 160">
            <a:extLst>
              <a:ext uri="{FF2B5EF4-FFF2-40B4-BE49-F238E27FC236}">
                <a16:creationId xmlns:a16="http://schemas.microsoft.com/office/drawing/2014/main" id="{EA404FBD-510D-4A62-8B1B-F195F3484671}"/>
              </a:ext>
            </a:extLst>
          </p:cNvPr>
          <p:cNvSpPr/>
          <p:nvPr/>
        </p:nvSpPr>
        <p:spPr bwMode="auto">
          <a:xfrm>
            <a:off x="5337317" y="2578374"/>
            <a:ext cx="4261382" cy="221886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8" name="Rectangle 97">
            <a:extLst>
              <a:ext uri="{FF2B5EF4-FFF2-40B4-BE49-F238E27FC236}">
                <a16:creationId xmlns:a16="http://schemas.microsoft.com/office/drawing/2014/main" id="{04AB31F6-FF6B-42BC-99B7-34EC8CAA169A}"/>
              </a:ext>
            </a:extLst>
          </p:cNvPr>
          <p:cNvSpPr/>
          <p:nvPr/>
        </p:nvSpPr>
        <p:spPr bwMode="auto">
          <a:xfrm>
            <a:off x="165600" y="4371012"/>
            <a:ext cx="4644208" cy="200241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4" name="Trapèze 43">
            <a:extLst>
              <a:ext uri="{FF2B5EF4-FFF2-40B4-BE49-F238E27FC236}">
                <a16:creationId xmlns:a16="http://schemas.microsoft.com/office/drawing/2014/main" id="{0F687173-BC55-430F-90F5-08006A56846C}"/>
              </a:ext>
            </a:extLst>
          </p:cNvPr>
          <p:cNvSpPr/>
          <p:nvPr/>
        </p:nvSpPr>
        <p:spPr bwMode="auto">
          <a:xfrm rot="10800000">
            <a:off x="868264" y="3782455"/>
            <a:ext cx="1207847" cy="171089"/>
          </a:xfrm>
          <a:prstGeom prst="trapezoid">
            <a:avLst/>
          </a:prstGeom>
          <a:solidFill>
            <a:schemeClr val="tx1">
              <a:lumMod val="60000"/>
              <a:lumOff val="40000"/>
            </a:schemeClr>
          </a:solidFill>
          <a:ln w="9525" cap="flat" cmpd="sng" algn="ctr">
            <a:noFill/>
            <a:prstDash val="solid"/>
            <a:round/>
            <a:headEnd type="none" w="med" len="med"/>
            <a:tailEnd type="none" w="med" len="med"/>
          </a:ln>
          <a:effectLst>
            <a:outerShdw blurRad="50800" dist="38100" dir="2700000" algn="tl" rotWithShape="0">
              <a:schemeClr val="tx1">
                <a:alpha val="40000"/>
              </a:scheme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2" name="ZoneTexte 51">
            <a:extLst>
              <a:ext uri="{FF2B5EF4-FFF2-40B4-BE49-F238E27FC236}">
                <a16:creationId xmlns:a16="http://schemas.microsoft.com/office/drawing/2014/main" id="{6A3A6DDC-5EA2-4628-84D0-1E45F8457938}"/>
              </a:ext>
            </a:extLst>
          </p:cNvPr>
          <p:cNvSpPr txBox="1"/>
          <p:nvPr/>
        </p:nvSpPr>
        <p:spPr>
          <a:xfrm>
            <a:off x="768310" y="3744589"/>
            <a:ext cx="1408897" cy="246221"/>
          </a:xfrm>
          <a:prstGeom prst="rect">
            <a:avLst/>
          </a:prstGeom>
          <a:noFill/>
        </p:spPr>
        <p:txBody>
          <a:bodyPr wrap="square" rtlCol="0">
            <a:spAutoFit/>
          </a:bodyPr>
          <a:lstStyle/>
          <a:p>
            <a:pPr algn="ctr"/>
            <a:r>
              <a:rPr lang="en-GB" sz="1000">
                <a:solidFill>
                  <a:schemeClr val="bg1"/>
                </a:solidFill>
                <a:latin typeface="Trebuchet MS" panose="020B0603020202020204" pitchFamily="34" charset="0"/>
              </a:rPr>
              <a:t>High risk accounts</a:t>
            </a:r>
          </a:p>
        </p:txBody>
      </p:sp>
      <p:sp>
        <p:nvSpPr>
          <p:cNvPr id="3" name="Titre 2">
            <a:extLst>
              <a:ext uri="{FF2B5EF4-FFF2-40B4-BE49-F238E27FC236}">
                <a16:creationId xmlns:a16="http://schemas.microsoft.com/office/drawing/2014/main" id="{46892B3D-A94D-4043-8373-A84DE486645E}"/>
              </a:ext>
            </a:extLst>
          </p:cNvPr>
          <p:cNvSpPr>
            <a:spLocks noGrp="1"/>
          </p:cNvSpPr>
          <p:nvPr>
            <p:ph type="title"/>
          </p:nvPr>
        </p:nvSpPr>
        <p:spPr>
          <a:xfrm>
            <a:off x="165600" y="147600"/>
            <a:ext cx="8360227" cy="684000"/>
          </a:xfrm>
        </p:spPr>
        <p:txBody>
          <a:bodyPr/>
          <a:lstStyle/>
          <a:p>
            <a:r>
              <a:rPr lang="en-GB">
                <a:latin typeface="Trebuchet MS" panose="020B0603020202020204" pitchFamily="34" charset="0"/>
              </a:rPr>
              <a:t>Due to their </a:t>
            </a:r>
            <a:r>
              <a:rPr lang="en-GB">
                <a:solidFill>
                  <a:schemeClr val="tx2"/>
                </a:solidFill>
                <a:latin typeface="Trebuchet MS" panose="020B0603020202020204" pitchFamily="34" charset="0"/>
              </a:rPr>
              <a:t>high-level of complexity</a:t>
            </a:r>
            <a:r>
              <a:rPr lang="en-GB">
                <a:latin typeface="Trebuchet MS" panose="020B0603020202020204" pitchFamily="34" charset="0"/>
              </a:rPr>
              <a:t> and the </a:t>
            </a:r>
            <a:r>
              <a:rPr lang="en-GB">
                <a:solidFill>
                  <a:schemeClr val="tx2"/>
                </a:solidFill>
                <a:latin typeface="Trebuchet MS" panose="020B0603020202020204" pitchFamily="34" charset="0"/>
              </a:rPr>
              <a:t>sanctions</a:t>
            </a:r>
            <a:r>
              <a:rPr lang="en-GB">
                <a:latin typeface="Trebuchet MS" panose="020B0603020202020204" pitchFamily="34" charset="0"/>
              </a:rPr>
              <a:t> in case of non-compliance, the regulatory requirements are fostering the </a:t>
            </a:r>
            <a:r>
              <a:rPr lang="en-GB">
                <a:solidFill>
                  <a:schemeClr val="tx2"/>
                </a:solidFill>
                <a:latin typeface="Trebuchet MS" panose="020B0603020202020204" pitchFamily="34" charset="0"/>
              </a:rPr>
              <a:t>need for dedicated compliance solutions </a:t>
            </a:r>
            <a:r>
              <a:rPr lang="en-GB">
                <a:latin typeface="Trebuchet MS" panose="020B0603020202020204" pitchFamily="34" charset="0"/>
              </a:rPr>
              <a:t>from external service providers</a:t>
            </a:r>
          </a:p>
        </p:txBody>
      </p:sp>
      <p:sp>
        <p:nvSpPr>
          <p:cNvPr id="4" name="Espace réservé du texte 3">
            <a:extLst>
              <a:ext uri="{FF2B5EF4-FFF2-40B4-BE49-F238E27FC236}">
                <a16:creationId xmlns:a16="http://schemas.microsoft.com/office/drawing/2014/main" id="{D8606062-948A-43FA-B1CC-E700D8B483DB}"/>
              </a:ext>
            </a:extLst>
          </p:cNvPr>
          <p:cNvSpPr>
            <a:spLocks noGrp="1"/>
          </p:cNvSpPr>
          <p:nvPr>
            <p:ph type="body" sz="quarter" idx="10"/>
          </p:nvPr>
        </p:nvSpPr>
        <p:spPr/>
        <p:txBody>
          <a:bodyPr/>
          <a:lstStyle/>
          <a:p>
            <a:r>
              <a:rPr lang="en-GB"/>
              <a:t>Sources: eleven research &amp; analysis, expert calls, Accuity, Thomson Reuters </a:t>
            </a:r>
          </a:p>
        </p:txBody>
      </p:sp>
      <p:sp>
        <p:nvSpPr>
          <p:cNvPr id="7" name="Trapèze 6">
            <a:extLst>
              <a:ext uri="{FF2B5EF4-FFF2-40B4-BE49-F238E27FC236}">
                <a16:creationId xmlns:a16="http://schemas.microsoft.com/office/drawing/2014/main" id="{435B9F27-B1BD-4B3C-A2F6-1EE2E3F7FB14}"/>
              </a:ext>
            </a:extLst>
          </p:cNvPr>
          <p:cNvSpPr/>
          <p:nvPr/>
        </p:nvSpPr>
        <p:spPr bwMode="auto">
          <a:xfrm rot="10800000">
            <a:off x="450594" y="2144906"/>
            <a:ext cx="2044897" cy="901656"/>
          </a:xfrm>
          <a:prstGeom prst="trapezoid">
            <a:avLst/>
          </a:prstGeom>
          <a:solidFill>
            <a:schemeClr val="tx2"/>
          </a:solidFill>
          <a:ln w="9525" cap="flat" cmpd="sng" algn="ctr">
            <a:noFill/>
            <a:prstDash val="solid"/>
            <a:round/>
            <a:headEnd type="none" w="med" len="med"/>
            <a:tailEnd type="none" w="med" len="med"/>
          </a:ln>
          <a:effectLst>
            <a:outerShdw blurRad="50800" dist="38100" dir="2700000" algn="tl" rotWithShape="0">
              <a:schemeClr val="tx1">
                <a:alpha val="40000"/>
              </a:scheme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bg1"/>
              </a:solidFill>
              <a:effectLst/>
              <a:latin typeface="Trebuchet MS" pitchFamily="34" charset="0"/>
            </a:endParaRPr>
          </a:p>
        </p:txBody>
      </p:sp>
      <p:sp>
        <p:nvSpPr>
          <p:cNvPr id="8" name="Trapèze 7">
            <a:extLst>
              <a:ext uri="{FF2B5EF4-FFF2-40B4-BE49-F238E27FC236}">
                <a16:creationId xmlns:a16="http://schemas.microsoft.com/office/drawing/2014/main" id="{AAD72BBF-A4CA-461C-B638-44AC7A6488A4}"/>
              </a:ext>
            </a:extLst>
          </p:cNvPr>
          <p:cNvSpPr/>
          <p:nvPr/>
        </p:nvSpPr>
        <p:spPr bwMode="auto">
          <a:xfrm rot="10800000">
            <a:off x="702206" y="3138135"/>
            <a:ext cx="1538151" cy="560402"/>
          </a:xfrm>
          <a:prstGeom prst="trapezoid">
            <a:avLst/>
          </a:prstGeom>
          <a:solidFill>
            <a:srgbClr val="69D878"/>
          </a:solidFill>
          <a:ln w="9525" cap="flat" cmpd="sng" algn="ctr">
            <a:noFill/>
            <a:prstDash val="solid"/>
            <a:round/>
            <a:headEnd type="none" w="med" len="med"/>
            <a:tailEnd type="none" w="med" len="med"/>
          </a:ln>
          <a:effectLst>
            <a:outerShdw blurRad="50800" dist="38100" dir="2700000" algn="tl" rotWithShape="0">
              <a:schemeClr val="tx1">
                <a:alpha val="40000"/>
              </a:scheme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10" name="Connecteur droit avec flèche 9">
            <a:extLst>
              <a:ext uri="{FF2B5EF4-FFF2-40B4-BE49-F238E27FC236}">
                <a16:creationId xmlns:a16="http://schemas.microsoft.com/office/drawing/2014/main" id="{3A072F80-994D-4872-8F86-8E6F77E4BF13}"/>
              </a:ext>
            </a:extLst>
          </p:cNvPr>
          <p:cNvCxnSpPr>
            <a:cxnSpLocks/>
          </p:cNvCxnSpPr>
          <p:nvPr/>
        </p:nvCxnSpPr>
        <p:spPr bwMode="auto">
          <a:xfrm flipH="1">
            <a:off x="2469458" y="2181823"/>
            <a:ext cx="235808" cy="853489"/>
          </a:xfrm>
          <a:prstGeom prst="straightConnector1">
            <a:avLst/>
          </a:prstGeom>
          <a:solidFill>
            <a:schemeClr val="accent1"/>
          </a:solidFill>
          <a:ln w="9525" cap="flat" cmpd="sng" algn="ctr">
            <a:solidFill>
              <a:schemeClr val="tx1"/>
            </a:solidFill>
            <a:prstDash val="solid"/>
            <a:round/>
            <a:headEnd type="triangle"/>
            <a:tailEnd type="triangle"/>
          </a:ln>
          <a:effectLst/>
        </p:spPr>
      </p:cxnSp>
      <p:sp>
        <p:nvSpPr>
          <p:cNvPr id="13" name="Rectangle 12">
            <a:extLst>
              <a:ext uri="{FF2B5EF4-FFF2-40B4-BE49-F238E27FC236}">
                <a16:creationId xmlns:a16="http://schemas.microsoft.com/office/drawing/2014/main" id="{3DC1EDB4-E48E-478F-865E-918F522F9571}"/>
              </a:ext>
            </a:extLst>
          </p:cNvPr>
          <p:cNvSpPr/>
          <p:nvPr/>
        </p:nvSpPr>
        <p:spPr bwMode="auto">
          <a:xfrm>
            <a:off x="2449486" y="2491842"/>
            <a:ext cx="374876" cy="267792"/>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200" i="1">
                <a:solidFill>
                  <a:schemeClr val="tx2"/>
                </a:solidFill>
                <a:latin typeface="Trebuchet MS" panose="020B0603020202020204" pitchFamily="34" charset="0"/>
              </a:rPr>
              <a:t>~</a:t>
            </a:r>
            <a:r>
              <a:rPr kumimoji="0" lang="en-GB" sz="1200" b="0" i="0" u="none" strike="noStrike" cap="none" normalizeH="0" baseline="0">
                <a:ln>
                  <a:noFill/>
                </a:ln>
                <a:solidFill>
                  <a:schemeClr val="tx2"/>
                </a:solidFill>
                <a:effectLst/>
                <a:latin typeface="Trebuchet MS" panose="020B0603020202020204" pitchFamily="34" charset="0"/>
              </a:rPr>
              <a:t>90%</a:t>
            </a:r>
          </a:p>
        </p:txBody>
      </p:sp>
      <p:sp>
        <p:nvSpPr>
          <p:cNvPr id="18" name="ZoneTexte 17">
            <a:extLst>
              <a:ext uri="{FF2B5EF4-FFF2-40B4-BE49-F238E27FC236}">
                <a16:creationId xmlns:a16="http://schemas.microsoft.com/office/drawing/2014/main" id="{CB2D50C3-5F5C-4E32-B512-4E1C7C85EC03}"/>
              </a:ext>
            </a:extLst>
          </p:cNvPr>
          <p:cNvSpPr txBox="1"/>
          <p:nvPr/>
        </p:nvSpPr>
        <p:spPr>
          <a:xfrm>
            <a:off x="917183" y="4101254"/>
            <a:ext cx="3078650" cy="246221"/>
          </a:xfrm>
          <a:prstGeom prst="rect">
            <a:avLst/>
          </a:prstGeom>
          <a:noFill/>
        </p:spPr>
        <p:txBody>
          <a:bodyPr wrap="square" rtlCol="0">
            <a:spAutoFit/>
          </a:bodyPr>
          <a:lstStyle/>
          <a:p>
            <a:pPr algn="ctr"/>
            <a:r>
              <a:rPr lang="en-GB" sz="1000" i="1">
                <a:latin typeface="Trebuchet MS" panose="020B0603020202020204" pitchFamily="34" charset="0"/>
              </a:rPr>
              <a:t>Need for </a:t>
            </a:r>
            <a:r>
              <a:rPr lang="en-GB" sz="1000" i="1">
                <a:solidFill>
                  <a:schemeClr val="tx2"/>
                </a:solidFill>
                <a:latin typeface="Trebuchet MS" panose="020B0603020202020204" pitchFamily="34" charset="0"/>
              </a:rPr>
              <a:t>complementary data</a:t>
            </a:r>
          </a:p>
        </p:txBody>
      </p:sp>
      <p:sp>
        <p:nvSpPr>
          <p:cNvPr id="32" name="ZoneTexte 31">
            <a:extLst>
              <a:ext uri="{FF2B5EF4-FFF2-40B4-BE49-F238E27FC236}">
                <a16:creationId xmlns:a16="http://schemas.microsoft.com/office/drawing/2014/main" id="{C939D34D-C7FA-4A02-A1A5-8107C77E496C}"/>
              </a:ext>
            </a:extLst>
          </p:cNvPr>
          <p:cNvSpPr txBox="1"/>
          <p:nvPr/>
        </p:nvSpPr>
        <p:spPr>
          <a:xfrm>
            <a:off x="734015" y="944010"/>
            <a:ext cx="3757197" cy="430887"/>
          </a:xfrm>
          <a:prstGeom prst="rect">
            <a:avLst/>
          </a:prstGeom>
          <a:solidFill>
            <a:schemeClr val="bg1"/>
          </a:solidFill>
        </p:spPr>
        <p:txBody>
          <a:bodyPr wrap="square" rtlCol="0">
            <a:spAutoFit/>
          </a:bodyPr>
          <a:lstStyle/>
          <a:p>
            <a:pPr algn="ctr"/>
            <a:r>
              <a:rPr lang="en-GB" sz="1100">
                <a:latin typeface="Trebuchet MS" panose="020B0603020202020204" pitchFamily="34" charset="0"/>
              </a:rPr>
              <a:t>Achieving compliance-related tasks are </a:t>
            </a:r>
            <a:r>
              <a:rPr lang="en-GB" sz="1100">
                <a:solidFill>
                  <a:schemeClr val="tx2"/>
                </a:solidFill>
                <a:latin typeface="Trebuchet MS" panose="020B0603020202020204" pitchFamily="34" charset="0"/>
              </a:rPr>
              <a:t>time consuming: </a:t>
            </a:r>
          </a:p>
          <a:p>
            <a:pPr algn="ctr"/>
            <a:r>
              <a:rPr lang="en-GB" sz="1100" i="1">
                <a:latin typeface="Trebuchet MS" panose="020B0603020202020204" pitchFamily="34" charset="0"/>
              </a:rPr>
              <a:t>the example of Peer Evaluation</a:t>
            </a:r>
          </a:p>
        </p:txBody>
      </p:sp>
      <p:sp>
        <p:nvSpPr>
          <p:cNvPr id="33" name="Triangle isocèle 32">
            <a:extLst>
              <a:ext uri="{FF2B5EF4-FFF2-40B4-BE49-F238E27FC236}">
                <a16:creationId xmlns:a16="http://schemas.microsoft.com/office/drawing/2014/main" id="{BAF004BE-B230-40A7-90C0-9DDB4F5E8C1A}"/>
              </a:ext>
            </a:extLst>
          </p:cNvPr>
          <p:cNvSpPr/>
          <p:nvPr/>
        </p:nvSpPr>
        <p:spPr bwMode="auto">
          <a:xfrm rot="5400000">
            <a:off x="3962173" y="3509486"/>
            <a:ext cx="2171700" cy="190047"/>
          </a:xfrm>
          <a:prstGeom prst="triangle">
            <a:avLst/>
          </a:prstGeom>
          <a:solidFill>
            <a:schemeClr val="bg2"/>
          </a:solid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GB" sz="1200">
              <a:latin typeface="Trebuchet MS" pitchFamily="34" charset="0"/>
            </a:endParaRPr>
          </a:p>
        </p:txBody>
      </p:sp>
      <p:sp>
        <p:nvSpPr>
          <p:cNvPr id="34" name="ZoneTexte 33">
            <a:extLst>
              <a:ext uri="{FF2B5EF4-FFF2-40B4-BE49-F238E27FC236}">
                <a16:creationId xmlns:a16="http://schemas.microsoft.com/office/drawing/2014/main" id="{52AF4BC8-AE04-4315-8FD9-CABBB6359651}"/>
              </a:ext>
            </a:extLst>
          </p:cNvPr>
          <p:cNvSpPr txBox="1"/>
          <p:nvPr/>
        </p:nvSpPr>
        <p:spPr>
          <a:xfrm>
            <a:off x="5553300" y="944010"/>
            <a:ext cx="3561980" cy="430887"/>
          </a:xfrm>
          <a:prstGeom prst="rect">
            <a:avLst/>
          </a:prstGeom>
          <a:solidFill>
            <a:schemeClr val="bg1"/>
          </a:solidFill>
        </p:spPr>
        <p:txBody>
          <a:bodyPr wrap="square" rtlCol="0">
            <a:spAutoFit/>
          </a:bodyPr>
          <a:lstStyle/>
          <a:p>
            <a:pPr algn="ctr"/>
            <a:r>
              <a:rPr lang="en-GB" sz="1100">
                <a:latin typeface="Trebuchet MS" panose="020B0603020202020204" pitchFamily="34" charset="0"/>
              </a:rPr>
              <a:t>Consequently, institutions and corporates tend to </a:t>
            </a:r>
            <a:r>
              <a:rPr lang="en-GB" sz="1100">
                <a:solidFill>
                  <a:schemeClr val="tx2"/>
                </a:solidFill>
                <a:latin typeface="Trebuchet MS" panose="020B0603020202020204" pitchFamily="34" charset="0"/>
              </a:rPr>
              <a:t>outsource these processes </a:t>
            </a:r>
            <a:r>
              <a:rPr lang="en-GB" sz="1100">
                <a:latin typeface="Trebuchet MS" panose="020B0603020202020204" pitchFamily="34" charset="0"/>
              </a:rPr>
              <a:t>to specialists</a:t>
            </a:r>
          </a:p>
        </p:txBody>
      </p:sp>
      <p:sp>
        <p:nvSpPr>
          <p:cNvPr id="35" name="Rectangle 34">
            <a:extLst>
              <a:ext uri="{FF2B5EF4-FFF2-40B4-BE49-F238E27FC236}">
                <a16:creationId xmlns:a16="http://schemas.microsoft.com/office/drawing/2014/main" id="{E4B8C5A5-69F0-47C3-A8CA-E61527A42DBB}"/>
              </a:ext>
            </a:extLst>
          </p:cNvPr>
          <p:cNvSpPr/>
          <p:nvPr/>
        </p:nvSpPr>
        <p:spPr bwMode="auto">
          <a:xfrm>
            <a:off x="2751686" y="2390316"/>
            <a:ext cx="1905497" cy="51950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u="none" strike="noStrike" cap="none" normalizeH="0" baseline="0">
                <a:ln>
                  <a:noFill/>
                </a:ln>
                <a:effectLst/>
                <a:latin typeface="Trebuchet MS" panose="020B0603020202020204" pitchFamily="34" charset="0"/>
              </a:rPr>
              <a:t>Companies for which </a:t>
            </a:r>
            <a:r>
              <a:rPr kumimoji="0" lang="en-GB" sz="1000" b="0" u="none" strike="noStrike" cap="none" normalizeH="0" baseline="0">
                <a:ln>
                  <a:noFill/>
                </a:ln>
                <a:solidFill>
                  <a:schemeClr val="tx2"/>
                </a:solidFill>
                <a:effectLst/>
                <a:latin typeface="Trebuchet MS" panose="020B0603020202020204" pitchFamily="34" charset="0"/>
              </a:rPr>
              <a:t>existing documentation </a:t>
            </a:r>
            <a:r>
              <a:rPr kumimoji="0" lang="en-GB" sz="1000" b="0" u="none" strike="noStrike" cap="none" normalizeH="0" baseline="0">
                <a:ln>
                  <a:noFill/>
                </a:ln>
                <a:effectLst/>
                <a:latin typeface="Trebuchet MS" panose="020B0603020202020204" pitchFamily="34" charset="0"/>
              </a:rPr>
              <a:t>is enough (large corporations, historical business partners, etc.)</a:t>
            </a:r>
          </a:p>
        </p:txBody>
      </p:sp>
      <p:sp>
        <p:nvSpPr>
          <p:cNvPr id="38" name="ZoneTexte 37">
            <a:extLst>
              <a:ext uri="{FF2B5EF4-FFF2-40B4-BE49-F238E27FC236}">
                <a16:creationId xmlns:a16="http://schemas.microsoft.com/office/drawing/2014/main" id="{102F71C5-4EFC-41A5-A648-4F896BEF6753}"/>
              </a:ext>
            </a:extLst>
          </p:cNvPr>
          <p:cNvSpPr txBox="1"/>
          <p:nvPr/>
        </p:nvSpPr>
        <p:spPr>
          <a:xfrm>
            <a:off x="751551" y="2480099"/>
            <a:ext cx="1458540" cy="246221"/>
          </a:xfrm>
          <a:prstGeom prst="rect">
            <a:avLst/>
          </a:prstGeom>
          <a:noFill/>
        </p:spPr>
        <p:txBody>
          <a:bodyPr wrap="square" rtlCol="0">
            <a:spAutoFit/>
          </a:bodyPr>
          <a:lstStyle/>
          <a:p>
            <a:pPr algn="ctr"/>
            <a:r>
              <a:rPr lang="en-GB" sz="1000">
                <a:solidFill>
                  <a:schemeClr val="bg1"/>
                </a:solidFill>
                <a:latin typeface="Trebuchet MS" panose="020B0603020202020204" pitchFamily="34" charset="0"/>
              </a:rPr>
              <a:t>Low-risk accounts</a:t>
            </a:r>
          </a:p>
        </p:txBody>
      </p:sp>
      <p:sp>
        <p:nvSpPr>
          <p:cNvPr id="39" name="ZoneTexte 38">
            <a:extLst>
              <a:ext uri="{FF2B5EF4-FFF2-40B4-BE49-F238E27FC236}">
                <a16:creationId xmlns:a16="http://schemas.microsoft.com/office/drawing/2014/main" id="{5DD3D8CB-0540-46AE-83D0-CDC126BC02F1}"/>
              </a:ext>
            </a:extLst>
          </p:cNvPr>
          <p:cNvSpPr txBox="1"/>
          <p:nvPr/>
        </p:nvSpPr>
        <p:spPr>
          <a:xfrm>
            <a:off x="751551" y="1866245"/>
            <a:ext cx="1458540" cy="246221"/>
          </a:xfrm>
          <a:prstGeom prst="rect">
            <a:avLst/>
          </a:prstGeom>
          <a:noFill/>
        </p:spPr>
        <p:txBody>
          <a:bodyPr wrap="square" rtlCol="0">
            <a:spAutoFit/>
          </a:bodyPr>
          <a:lstStyle/>
          <a:p>
            <a:pPr algn="ctr"/>
            <a:r>
              <a:rPr lang="en-GB" sz="1000" b="1" i="1">
                <a:latin typeface="Trebuchet MS" panose="020B0603020202020204" pitchFamily="34" charset="0"/>
              </a:rPr>
              <a:t>Type of accounts</a:t>
            </a:r>
          </a:p>
        </p:txBody>
      </p:sp>
      <p:sp>
        <p:nvSpPr>
          <p:cNvPr id="42" name="ZoneTexte 41">
            <a:extLst>
              <a:ext uri="{FF2B5EF4-FFF2-40B4-BE49-F238E27FC236}">
                <a16:creationId xmlns:a16="http://schemas.microsoft.com/office/drawing/2014/main" id="{D33E7FDE-7897-4F5A-9CE5-A05D725289A3}"/>
              </a:ext>
            </a:extLst>
          </p:cNvPr>
          <p:cNvSpPr txBox="1"/>
          <p:nvPr/>
        </p:nvSpPr>
        <p:spPr>
          <a:xfrm>
            <a:off x="754120" y="3314374"/>
            <a:ext cx="1415645" cy="246221"/>
          </a:xfrm>
          <a:prstGeom prst="rect">
            <a:avLst/>
          </a:prstGeom>
          <a:noFill/>
        </p:spPr>
        <p:txBody>
          <a:bodyPr wrap="square" rtlCol="0">
            <a:spAutoFit/>
          </a:bodyPr>
          <a:lstStyle/>
          <a:p>
            <a:pPr algn="ctr"/>
            <a:r>
              <a:rPr lang="en-GB" sz="1000">
                <a:solidFill>
                  <a:schemeClr val="bg1"/>
                </a:solidFill>
                <a:latin typeface="Trebuchet MS" panose="020B0603020202020204" pitchFamily="34" charset="0"/>
              </a:rPr>
              <a:t>Middle-risk accounts</a:t>
            </a:r>
          </a:p>
        </p:txBody>
      </p:sp>
      <p:sp>
        <p:nvSpPr>
          <p:cNvPr id="45" name="Rectangle 44">
            <a:extLst>
              <a:ext uri="{FF2B5EF4-FFF2-40B4-BE49-F238E27FC236}">
                <a16:creationId xmlns:a16="http://schemas.microsoft.com/office/drawing/2014/main" id="{0423039B-D003-4607-B4ED-E062873E6E7D}"/>
              </a:ext>
            </a:extLst>
          </p:cNvPr>
          <p:cNvSpPr/>
          <p:nvPr/>
        </p:nvSpPr>
        <p:spPr bwMode="auto">
          <a:xfrm>
            <a:off x="2117979" y="3737590"/>
            <a:ext cx="310836" cy="267792"/>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200" i="1">
                <a:solidFill>
                  <a:schemeClr val="dk1"/>
                </a:solidFill>
                <a:latin typeface="Trebuchet MS" panose="020B0603020202020204" pitchFamily="34" charset="0"/>
              </a:rPr>
              <a:t>~</a:t>
            </a:r>
            <a:r>
              <a:rPr kumimoji="0" lang="en-GB" sz="1200" b="0" i="0" u="none" strike="noStrike" cap="none" normalizeH="0" baseline="0">
                <a:ln>
                  <a:noFill/>
                </a:ln>
                <a:solidFill>
                  <a:schemeClr val="tx1"/>
                </a:solidFill>
                <a:effectLst/>
                <a:latin typeface="Trebuchet MS" panose="020B0603020202020204" pitchFamily="34" charset="0"/>
              </a:rPr>
              <a:t>1%</a:t>
            </a:r>
          </a:p>
        </p:txBody>
      </p:sp>
      <p:sp>
        <p:nvSpPr>
          <p:cNvPr id="53" name="Rectangle 52">
            <a:extLst>
              <a:ext uri="{FF2B5EF4-FFF2-40B4-BE49-F238E27FC236}">
                <a16:creationId xmlns:a16="http://schemas.microsoft.com/office/drawing/2014/main" id="{861B5060-3961-43F3-A998-34DF3E2806B0}"/>
              </a:ext>
            </a:extLst>
          </p:cNvPr>
          <p:cNvSpPr/>
          <p:nvPr/>
        </p:nvSpPr>
        <p:spPr bwMode="auto">
          <a:xfrm>
            <a:off x="2747424" y="3230223"/>
            <a:ext cx="2097920" cy="30233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GB" sz="1000">
                <a:latin typeface="Trebuchet MS" panose="020B0603020202020204" pitchFamily="34" charset="0"/>
              </a:rPr>
              <a:t>Companies for which </a:t>
            </a:r>
            <a:r>
              <a:rPr lang="en-GB" sz="1000">
                <a:solidFill>
                  <a:schemeClr val="tx2"/>
                </a:solidFill>
                <a:latin typeface="Trebuchet MS" panose="020B0603020202020204" pitchFamily="34" charset="0"/>
              </a:rPr>
              <a:t>further evaluation </a:t>
            </a:r>
            <a:r>
              <a:rPr lang="en-GB" sz="1000">
                <a:latin typeface="Trebuchet MS" panose="020B0603020202020204" pitchFamily="34" charset="0"/>
              </a:rPr>
              <a:t>is required (new accounts, foreign partners, etc.)</a:t>
            </a:r>
          </a:p>
        </p:txBody>
      </p:sp>
      <p:sp>
        <p:nvSpPr>
          <p:cNvPr id="54" name="Rectangle 53">
            <a:extLst>
              <a:ext uri="{FF2B5EF4-FFF2-40B4-BE49-F238E27FC236}">
                <a16:creationId xmlns:a16="http://schemas.microsoft.com/office/drawing/2014/main" id="{B6C3162D-39D0-4110-8488-7D1433ECF0C6}"/>
              </a:ext>
            </a:extLst>
          </p:cNvPr>
          <p:cNvSpPr/>
          <p:nvPr/>
        </p:nvSpPr>
        <p:spPr bwMode="auto">
          <a:xfrm>
            <a:off x="2777931" y="3654592"/>
            <a:ext cx="1846931" cy="302335"/>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r>
              <a:rPr lang="en-GB" sz="1000">
                <a:latin typeface="Trebuchet MS" panose="020B0603020202020204" pitchFamily="34" charset="0"/>
              </a:rPr>
              <a:t>Companies for which a </a:t>
            </a:r>
            <a:r>
              <a:rPr lang="en-GB" sz="1000">
                <a:solidFill>
                  <a:schemeClr val="tx2"/>
                </a:solidFill>
                <a:latin typeface="Trebuchet MS" panose="020B0603020202020204" pitchFamily="34" charset="0"/>
              </a:rPr>
              <a:t>detailed analysis </a:t>
            </a:r>
            <a:r>
              <a:rPr lang="en-GB" sz="1000">
                <a:latin typeface="Trebuchet MS" panose="020B0603020202020204" pitchFamily="34" charset="0"/>
              </a:rPr>
              <a:t>is necessary</a:t>
            </a:r>
          </a:p>
        </p:txBody>
      </p:sp>
      <p:cxnSp>
        <p:nvCxnSpPr>
          <p:cNvPr id="58" name="Connecteur droit avec flèche 57">
            <a:extLst>
              <a:ext uri="{FF2B5EF4-FFF2-40B4-BE49-F238E27FC236}">
                <a16:creationId xmlns:a16="http://schemas.microsoft.com/office/drawing/2014/main" id="{7342BA76-7751-4C5C-8F0A-22F29A13E559}"/>
              </a:ext>
            </a:extLst>
          </p:cNvPr>
          <p:cNvCxnSpPr>
            <a:cxnSpLocks/>
          </p:cNvCxnSpPr>
          <p:nvPr/>
        </p:nvCxnSpPr>
        <p:spPr bwMode="auto">
          <a:xfrm flipH="1">
            <a:off x="2293428" y="3136844"/>
            <a:ext cx="146539" cy="592232"/>
          </a:xfrm>
          <a:prstGeom prst="straightConnector1">
            <a:avLst/>
          </a:prstGeom>
          <a:solidFill>
            <a:schemeClr val="accent1"/>
          </a:solidFill>
          <a:ln w="9525" cap="flat" cmpd="sng" algn="ctr">
            <a:solidFill>
              <a:schemeClr val="tx1"/>
            </a:solidFill>
            <a:prstDash val="solid"/>
            <a:round/>
            <a:headEnd type="triangle"/>
            <a:tailEnd type="triangle"/>
          </a:ln>
          <a:effectLst/>
        </p:spPr>
      </p:cxnSp>
      <p:sp>
        <p:nvSpPr>
          <p:cNvPr id="49" name="Rectangle 48">
            <a:extLst>
              <a:ext uri="{FF2B5EF4-FFF2-40B4-BE49-F238E27FC236}">
                <a16:creationId xmlns:a16="http://schemas.microsoft.com/office/drawing/2014/main" id="{189071B0-AD82-43AA-A2F3-B017F82C90EA}"/>
              </a:ext>
            </a:extLst>
          </p:cNvPr>
          <p:cNvSpPr/>
          <p:nvPr/>
        </p:nvSpPr>
        <p:spPr bwMode="auto">
          <a:xfrm>
            <a:off x="2249795" y="3297352"/>
            <a:ext cx="393245" cy="267792"/>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200" i="1">
                <a:solidFill>
                  <a:schemeClr val="bg2">
                    <a:lumMod val="75000"/>
                  </a:schemeClr>
                </a:solidFill>
                <a:latin typeface="Trebuchet MS" panose="020B0603020202020204" pitchFamily="34" charset="0"/>
              </a:rPr>
              <a:t>~</a:t>
            </a:r>
            <a:r>
              <a:rPr lang="en-GB" sz="1200">
                <a:solidFill>
                  <a:schemeClr val="bg2">
                    <a:lumMod val="75000"/>
                  </a:schemeClr>
                </a:solidFill>
                <a:latin typeface="Trebuchet MS" panose="020B0603020202020204" pitchFamily="34" charset="0"/>
              </a:rPr>
              <a:t>1</a:t>
            </a:r>
            <a:r>
              <a:rPr kumimoji="0" lang="en-GB" sz="1200" b="0" i="0" u="none" strike="noStrike" cap="none" normalizeH="0" baseline="0">
                <a:ln>
                  <a:noFill/>
                </a:ln>
                <a:solidFill>
                  <a:schemeClr val="bg2">
                    <a:lumMod val="75000"/>
                  </a:schemeClr>
                </a:solidFill>
                <a:effectLst/>
                <a:latin typeface="Trebuchet MS" panose="020B0603020202020204" pitchFamily="34" charset="0"/>
              </a:rPr>
              <a:t>0%</a:t>
            </a:r>
          </a:p>
        </p:txBody>
      </p:sp>
      <p:sp>
        <p:nvSpPr>
          <p:cNvPr id="62" name="ZoneTexte 61">
            <a:extLst>
              <a:ext uri="{FF2B5EF4-FFF2-40B4-BE49-F238E27FC236}">
                <a16:creationId xmlns:a16="http://schemas.microsoft.com/office/drawing/2014/main" id="{5AD5EA41-567F-4CA9-907D-E3F8BAE0D01E}"/>
              </a:ext>
            </a:extLst>
          </p:cNvPr>
          <p:cNvSpPr txBox="1"/>
          <p:nvPr/>
        </p:nvSpPr>
        <p:spPr>
          <a:xfrm>
            <a:off x="2578407" y="1866245"/>
            <a:ext cx="349163" cy="246221"/>
          </a:xfrm>
          <a:prstGeom prst="rect">
            <a:avLst/>
          </a:prstGeom>
          <a:noFill/>
        </p:spPr>
        <p:txBody>
          <a:bodyPr wrap="square" rtlCol="0">
            <a:spAutoFit/>
          </a:bodyPr>
          <a:lstStyle/>
          <a:p>
            <a:pPr algn="ctr"/>
            <a:r>
              <a:rPr lang="en-GB" sz="1000" b="1" i="1">
                <a:latin typeface="Trebuchet MS" panose="020B0603020202020204" pitchFamily="34" charset="0"/>
              </a:rPr>
              <a:t>%</a:t>
            </a:r>
          </a:p>
        </p:txBody>
      </p:sp>
      <p:sp>
        <p:nvSpPr>
          <p:cNvPr id="64" name="ZoneTexte 63">
            <a:extLst>
              <a:ext uri="{FF2B5EF4-FFF2-40B4-BE49-F238E27FC236}">
                <a16:creationId xmlns:a16="http://schemas.microsoft.com/office/drawing/2014/main" id="{7FD14E1F-BDAB-4878-9096-BB82BE96364D}"/>
              </a:ext>
            </a:extLst>
          </p:cNvPr>
          <p:cNvSpPr txBox="1"/>
          <p:nvPr/>
        </p:nvSpPr>
        <p:spPr>
          <a:xfrm>
            <a:off x="165600" y="1452700"/>
            <a:ext cx="4644207" cy="400110"/>
          </a:xfrm>
          <a:prstGeom prst="rect">
            <a:avLst/>
          </a:prstGeom>
          <a:noFill/>
        </p:spPr>
        <p:txBody>
          <a:bodyPr wrap="square" rtlCol="0">
            <a:spAutoFit/>
          </a:bodyPr>
          <a:lstStyle/>
          <a:p>
            <a:r>
              <a:rPr lang="en-GB" sz="1000">
                <a:latin typeface="Trebuchet MS" panose="020B0603020202020204" pitchFamily="34" charset="0"/>
              </a:rPr>
              <a:t>The </a:t>
            </a:r>
            <a:r>
              <a:rPr lang="en-GB" sz="1000">
                <a:solidFill>
                  <a:schemeClr val="tx2"/>
                </a:solidFill>
                <a:latin typeface="Trebuchet MS" panose="020B0603020202020204" pitchFamily="34" charset="0"/>
              </a:rPr>
              <a:t>peer evaluation process </a:t>
            </a:r>
            <a:r>
              <a:rPr lang="en-GB" sz="1000">
                <a:latin typeface="Trebuchet MS" panose="020B0603020202020204" pitchFamily="34" charset="0"/>
              </a:rPr>
              <a:t>is typically handled as a funnel with a </a:t>
            </a:r>
            <a:r>
              <a:rPr lang="en-GB" sz="1000">
                <a:solidFill>
                  <a:schemeClr val="tx2"/>
                </a:solidFill>
                <a:latin typeface="Trebuchet MS" panose="020B0603020202020204" pitchFamily="34" charset="0"/>
              </a:rPr>
              <a:t>level</a:t>
            </a:r>
            <a:r>
              <a:rPr lang="en-GB" sz="1000">
                <a:latin typeface="Trebuchet MS" panose="020B0603020202020204" pitchFamily="34" charset="0"/>
              </a:rPr>
              <a:t> of </a:t>
            </a:r>
            <a:r>
              <a:rPr lang="en-GB" sz="1000">
                <a:solidFill>
                  <a:schemeClr val="tx2"/>
                </a:solidFill>
                <a:latin typeface="Trebuchet MS" panose="020B0603020202020204" pitchFamily="34" charset="0"/>
              </a:rPr>
              <a:t>complexity</a:t>
            </a:r>
            <a:r>
              <a:rPr lang="en-GB" sz="1000">
                <a:latin typeface="Trebuchet MS" panose="020B0603020202020204" pitchFamily="34" charset="0"/>
              </a:rPr>
              <a:t> </a:t>
            </a:r>
            <a:r>
              <a:rPr lang="en-GB" sz="1000">
                <a:solidFill>
                  <a:schemeClr val="tx2"/>
                </a:solidFill>
                <a:latin typeface="Trebuchet MS" panose="020B0603020202020204" pitchFamily="34" charset="0"/>
              </a:rPr>
              <a:t>correlated</a:t>
            </a:r>
            <a:r>
              <a:rPr lang="en-GB" sz="1000">
                <a:latin typeface="Trebuchet MS" panose="020B0603020202020204" pitchFamily="34" charset="0"/>
              </a:rPr>
              <a:t> to the client's level of </a:t>
            </a:r>
            <a:r>
              <a:rPr lang="en-GB" sz="1000">
                <a:solidFill>
                  <a:schemeClr val="tx2"/>
                </a:solidFill>
                <a:latin typeface="Trebuchet MS" panose="020B0603020202020204" pitchFamily="34" charset="0"/>
              </a:rPr>
              <a:t>risk</a:t>
            </a:r>
          </a:p>
        </p:txBody>
      </p:sp>
      <p:sp>
        <p:nvSpPr>
          <p:cNvPr id="74" name="Triangle isocèle 73">
            <a:extLst>
              <a:ext uri="{FF2B5EF4-FFF2-40B4-BE49-F238E27FC236}">
                <a16:creationId xmlns:a16="http://schemas.microsoft.com/office/drawing/2014/main" id="{FB8B01D0-DE3C-47C2-8D5E-3E7AB71B7075}"/>
              </a:ext>
            </a:extLst>
          </p:cNvPr>
          <p:cNvSpPr/>
          <p:nvPr/>
        </p:nvSpPr>
        <p:spPr bwMode="auto">
          <a:xfrm rot="10800000">
            <a:off x="1434889" y="4043955"/>
            <a:ext cx="2171700" cy="95023"/>
          </a:xfrm>
          <a:prstGeom prst="triangle">
            <a:avLst/>
          </a:prstGeom>
          <a:solidFill>
            <a:srgbClr val="A7A7A7"/>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GB" sz="1200">
              <a:latin typeface="Trebuchet MS" pitchFamily="34" charset="0"/>
            </a:endParaRPr>
          </a:p>
        </p:txBody>
      </p:sp>
      <p:sp>
        <p:nvSpPr>
          <p:cNvPr id="75" name="Rectangle 74">
            <a:extLst>
              <a:ext uri="{FF2B5EF4-FFF2-40B4-BE49-F238E27FC236}">
                <a16:creationId xmlns:a16="http://schemas.microsoft.com/office/drawing/2014/main" id="{67E081B7-5B9E-4FF0-AF32-DFFC32BD18FD}"/>
              </a:ext>
            </a:extLst>
          </p:cNvPr>
          <p:cNvSpPr/>
          <p:nvPr/>
        </p:nvSpPr>
        <p:spPr bwMode="auto">
          <a:xfrm>
            <a:off x="5479984" y="1501139"/>
            <a:ext cx="3903444" cy="884803"/>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a:ln>
                  <a:noFill/>
                </a:ln>
                <a:solidFill>
                  <a:schemeClr val="tx1"/>
                </a:solidFill>
                <a:effectLst/>
                <a:latin typeface="Trebuchet MS" panose="020B0603020202020204" pitchFamily="34" charset="0"/>
              </a:rPr>
              <a:t>“</a:t>
            </a:r>
            <a:r>
              <a:rPr lang="en-GB" sz="1000" i="1">
                <a:latin typeface="Trebuchet MS" panose="020B0603020202020204" pitchFamily="34" charset="0"/>
              </a:rPr>
              <a:t>Most </a:t>
            </a:r>
            <a:r>
              <a:rPr lang="en-GB" sz="1000" i="1">
                <a:solidFill>
                  <a:schemeClr val="tx2"/>
                </a:solidFill>
                <a:latin typeface="Trebuchet MS" panose="020B0603020202020204" pitchFamily="34" charset="0"/>
              </a:rPr>
              <a:t>large</a:t>
            </a:r>
            <a:r>
              <a:rPr lang="en-GB" sz="1000" i="1">
                <a:latin typeface="Trebuchet MS" panose="020B0603020202020204" pitchFamily="34" charset="0"/>
              </a:rPr>
              <a:t> </a:t>
            </a:r>
            <a:r>
              <a:rPr lang="en-GB" sz="1000" i="1">
                <a:solidFill>
                  <a:schemeClr val="tx2"/>
                </a:solidFill>
                <a:latin typeface="Trebuchet MS" panose="020B0603020202020204" pitchFamily="34" charset="0"/>
              </a:rPr>
              <a:t>companies</a:t>
            </a:r>
            <a:r>
              <a:rPr lang="en-GB" sz="1000" i="1">
                <a:latin typeface="Trebuchet MS" panose="020B0603020202020204" pitchFamily="34" charset="0"/>
              </a:rPr>
              <a:t> </a:t>
            </a:r>
            <a:r>
              <a:rPr lang="en-GB" sz="1000" i="1">
                <a:solidFill>
                  <a:schemeClr val="tx2"/>
                </a:solidFill>
                <a:latin typeface="Trebuchet MS" panose="020B0603020202020204" pitchFamily="34" charset="0"/>
              </a:rPr>
              <a:t>outsource</a:t>
            </a:r>
            <a:r>
              <a:rPr lang="en-GB" sz="1000" i="1">
                <a:latin typeface="Trebuchet MS" panose="020B0603020202020204" pitchFamily="34" charset="0"/>
              </a:rPr>
              <a:t> part of their compliance processes as they </a:t>
            </a:r>
            <a:r>
              <a:rPr lang="en-GB" sz="1000" i="1">
                <a:solidFill>
                  <a:schemeClr val="tx2"/>
                </a:solidFill>
                <a:latin typeface="Trebuchet MS" panose="020B0603020202020204" pitchFamily="34" charset="0"/>
              </a:rPr>
              <a:t>don’t</a:t>
            </a:r>
            <a:r>
              <a:rPr lang="en-GB" sz="1000" i="1">
                <a:latin typeface="Trebuchet MS" panose="020B0603020202020204" pitchFamily="34" charset="0"/>
              </a:rPr>
              <a:t> </a:t>
            </a:r>
            <a:r>
              <a:rPr lang="en-GB" sz="1000" i="1">
                <a:solidFill>
                  <a:schemeClr val="tx2"/>
                </a:solidFill>
                <a:latin typeface="Trebuchet MS" panose="020B0603020202020204" pitchFamily="34" charset="0"/>
              </a:rPr>
              <a:t>have</a:t>
            </a:r>
            <a:r>
              <a:rPr lang="en-GB" sz="1000" i="1">
                <a:latin typeface="Trebuchet MS" panose="020B0603020202020204" pitchFamily="34" charset="0"/>
              </a:rPr>
              <a:t> </a:t>
            </a:r>
            <a:r>
              <a:rPr lang="en-GB" sz="1000" i="1">
                <a:solidFill>
                  <a:schemeClr val="tx2"/>
                </a:solidFill>
                <a:latin typeface="Trebuchet MS" panose="020B0603020202020204" pitchFamily="34" charset="0"/>
              </a:rPr>
              <a:t>access</a:t>
            </a:r>
            <a:r>
              <a:rPr lang="en-GB" sz="1000" i="1">
                <a:latin typeface="Trebuchet MS" panose="020B0603020202020204" pitchFamily="34" charset="0"/>
              </a:rPr>
              <a:t> to the necessary </a:t>
            </a:r>
            <a:r>
              <a:rPr lang="en-GB" sz="1000" i="1">
                <a:solidFill>
                  <a:schemeClr val="tx2"/>
                </a:solidFill>
                <a:latin typeface="Trebuchet MS" panose="020B0603020202020204" pitchFamily="34" charset="0"/>
              </a:rPr>
              <a:t>data</a:t>
            </a:r>
            <a:r>
              <a:rPr lang="en-GB" sz="1000" i="1">
                <a:latin typeface="Trebuchet MS" panose="020B0603020202020204" pitchFamily="34" charset="0"/>
              </a:rPr>
              <a:t> and have no interest in buying it directly from the source because of the </a:t>
            </a:r>
            <a:r>
              <a:rPr lang="en-GB" sz="1000" i="1">
                <a:solidFill>
                  <a:schemeClr val="tx2"/>
                </a:solidFill>
                <a:latin typeface="Trebuchet MS" panose="020B0603020202020204" pitchFamily="34" charset="0"/>
              </a:rPr>
              <a:t>cost</a:t>
            </a:r>
            <a:r>
              <a:rPr kumimoji="0" lang="en-GB" sz="1000" b="0" i="1" u="none" strike="noStrike" cap="none" normalizeH="0" baseline="0">
                <a:ln>
                  <a:noFill/>
                </a:ln>
                <a:solidFill>
                  <a:schemeClr val="tx1"/>
                </a:solidFill>
                <a:effectLst/>
                <a:latin typeface="Trebuchet MS" panose="020B0603020202020204" pitchFamily="34" charset="0"/>
              </a:rPr>
              <a:t>”</a:t>
            </a:r>
          </a:p>
          <a:p>
            <a:pPr>
              <a:spcAft>
                <a:spcPts val="300"/>
              </a:spcAft>
            </a:pPr>
            <a:r>
              <a:rPr kumimoji="0" lang="en-GB" sz="1000" b="0" i="0" u="none" strike="noStrike" cap="none" normalizeH="0" baseline="0">
                <a:ln>
                  <a:noFill/>
                </a:ln>
                <a:solidFill>
                  <a:schemeClr val="tx1"/>
                </a:solidFill>
                <a:effectLst/>
                <a:latin typeface="Trebuchet MS" panose="020B0603020202020204" pitchFamily="34" charset="0"/>
              </a:rPr>
              <a:t>Compliance product manager at </a:t>
            </a:r>
            <a:r>
              <a:rPr kumimoji="0" lang="en-GB" sz="1000" b="0" i="0" u="none" strike="noStrike" cap="none" normalizeH="0" baseline="0" err="1">
                <a:ln>
                  <a:noFill/>
                </a:ln>
                <a:solidFill>
                  <a:schemeClr val="tx1"/>
                </a:solidFill>
                <a:effectLst/>
                <a:latin typeface="Trebuchet MS" panose="020B0603020202020204" pitchFamily="34" charset="0"/>
              </a:rPr>
              <a:t>Altares</a:t>
            </a:r>
            <a:endParaRPr kumimoji="0" lang="en-GB" sz="1000" b="0" i="0" u="none" strike="noStrike" cap="none" normalizeH="0" baseline="0">
              <a:ln>
                <a:noFill/>
              </a:ln>
              <a:solidFill>
                <a:schemeClr val="tx1"/>
              </a:solidFill>
              <a:effectLst/>
              <a:latin typeface="Trebuchet MS" panose="020B0603020202020204" pitchFamily="34" charset="0"/>
            </a:endParaRPr>
          </a:p>
        </p:txBody>
      </p:sp>
      <p:sp>
        <p:nvSpPr>
          <p:cNvPr id="76" name="Freeform 663">
            <a:extLst>
              <a:ext uri="{FF2B5EF4-FFF2-40B4-BE49-F238E27FC236}">
                <a16:creationId xmlns:a16="http://schemas.microsoft.com/office/drawing/2014/main" id="{1660F69F-383B-4082-9E01-85578359A202}"/>
              </a:ext>
            </a:extLst>
          </p:cNvPr>
          <p:cNvSpPr>
            <a:spLocks noChangeAspect="1" noEditPoints="1"/>
          </p:cNvSpPr>
          <p:nvPr/>
        </p:nvSpPr>
        <p:spPr bwMode="auto">
          <a:xfrm>
            <a:off x="5344838" y="1836066"/>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78" name="ZoneTexte 77">
            <a:extLst>
              <a:ext uri="{FF2B5EF4-FFF2-40B4-BE49-F238E27FC236}">
                <a16:creationId xmlns:a16="http://schemas.microsoft.com/office/drawing/2014/main" id="{691947C0-F796-4E53-ADD7-5211E9182CE3}"/>
              </a:ext>
            </a:extLst>
          </p:cNvPr>
          <p:cNvSpPr txBox="1"/>
          <p:nvPr/>
        </p:nvSpPr>
        <p:spPr>
          <a:xfrm>
            <a:off x="2786703" y="1866245"/>
            <a:ext cx="1764833" cy="246221"/>
          </a:xfrm>
          <a:prstGeom prst="rect">
            <a:avLst/>
          </a:prstGeom>
          <a:noFill/>
        </p:spPr>
        <p:txBody>
          <a:bodyPr wrap="square" rtlCol="0">
            <a:spAutoFit/>
          </a:bodyPr>
          <a:lstStyle/>
          <a:p>
            <a:pPr algn="ctr"/>
            <a:r>
              <a:rPr lang="en-GB" sz="1000" b="1" i="1">
                <a:latin typeface="Trebuchet MS" panose="020B0603020202020204" pitchFamily="34" charset="0"/>
              </a:rPr>
              <a:t>Evaluation Requirements</a:t>
            </a:r>
          </a:p>
        </p:txBody>
      </p:sp>
      <p:cxnSp>
        <p:nvCxnSpPr>
          <p:cNvPr id="80" name="Connecteur droit 79">
            <a:extLst>
              <a:ext uri="{FF2B5EF4-FFF2-40B4-BE49-F238E27FC236}">
                <a16:creationId xmlns:a16="http://schemas.microsoft.com/office/drawing/2014/main" id="{65153EFE-DB8C-4054-A77F-9BCCA73BC9D1}"/>
              </a:ext>
            </a:extLst>
          </p:cNvPr>
          <p:cNvCxnSpPr>
            <a:cxnSpLocks/>
          </p:cNvCxnSpPr>
          <p:nvPr/>
        </p:nvCxnSpPr>
        <p:spPr bwMode="auto">
          <a:xfrm>
            <a:off x="360817" y="2105511"/>
            <a:ext cx="403757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83" name="Connecteur droit 82">
            <a:extLst>
              <a:ext uri="{FF2B5EF4-FFF2-40B4-BE49-F238E27FC236}">
                <a16:creationId xmlns:a16="http://schemas.microsoft.com/office/drawing/2014/main" id="{EEF920B4-273C-4F9E-A559-1F7731E322DA}"/>
              </a:ext>
            </a:extLst>
          </p:cNvPr>
          <p:cNvCxnSpPr>
            <a:cxnSpLocks/>
          </p:cNvCxnSpPr>
          <p:nvPr/>
        </p:nvCxnSpPr>
        <p:spPr bwMode="auto">
          <a:xfrm>
            <a:off x="4953000" y="1174843"/>
            <a:ext cx="0" cy="5198585"/>
          </a:xfrm>
          <a:prstGeom prst="line">
            <a:avLst/>
          </a:prstGeom>
          <a:solidFill>
            <a:schemeClr val="accent1"/>
          </a:solidFill>
          <a:ln w="9525" cap="flat" cmpd="sng" algn="ctr">
            <a:solidFill>
              <a:schemeClr val="bg2"/>
            </a:solidFill>
            <a:prstDash val="solid"/>
            <a:round/>
            <a:headEnd type="none" w="med" len="med"/>
            <a:tailEnd type="none" w="med" len="med"/>
          </a:ln>
          <a:effectLst/>
        </p:spPr>
      </p:cxnSp>
      <p:sp>
        <p:nvSpPr>
          <p:cNvPr id="73" name="Rectangle 72">
            <a:extLst>
              <a:ext uri="{FF2B5EF4-FFF2-40B4-BE49-F238E27FC236}">
                <a16:creationId xmlns:a16="http://schemas.microsoft.com/office/drawing/2014/main" id="{C3136EAB-7736-472C-BC82-1C34F6667101}"/>
              </a:ext>
            </a:extLst>
          </p:cNvPr>
          <p:cNvSpPr/>
          <p:nvPr/>
        </p:nvSpPr>
        <p:spPr bwMode="auto">
          <a:xfrm>
            <a:off x="608281" y="3096163"/>
            <a:ext cx="4146117" cy="909219"/>
          </a:xfrm>
          <a:prstGeom prst="rect">
            <a:avLst/>
          </a:prstGeom>
          <a:noFill/>
          <a:ln w="190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5" name="Groupe 4">
            <a:extLst>
              <a:ext uri="{FF2B5EF4-FFF2-40B4-BE49-F238E27FC236}">
                <a16:creationId xmlns:a16="http://schemas.microsoft.com/office/drawing/2014/main" id="{37CF15D4-F057-4B2B-B182-B264CB4273F1}"/>
              </a:ext>
            </a:extLst>
          </p:cNvPr>
          <p:cNvGrpSpPr>
            <a:grpSpLocks noChangeAspect="1"/>
          </p:cNvGrpSpPr>
          <p:nvPr/>
        </p:nvGrpSpPr>
        <p:grpSpPr>
          <a:xfrm>
            <a:off x="470262" y="4625294"/>
            <a:ext cx="3833123" cy="855464"/>
            <a:chOff x="288033" y="4649622"/>
            <a:chExt cx="4216427" cy="941009"/>
          </a:xfrm>
        </p:grpSpPr>
        <p:pic>
          <p:nvPicPr>
            <p:cNvPr id="97" name="Graphique 96">
              <a:extLst>
                <a:ext uri="{FF2B5EF4-FFF2-40B4-BE49-F238E27FC236}">
                  <a16:creationId xmlns:a16="http://schemas.microsoft.com/office/drawing/2014/main" id="{56CCD51D-1DEB-4B48-97B6-49FEE9282C23}"/>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78"/>
            <a:stretch/>
          </p:blipFill>
          <p:spPr>
            <a:xfrm>
              <a:off x="627666" y="4810910"/>
              <a:ext cx="303495" cy="313060"/>
            </a:xfrm>
            <a:prstGeom prst="rect">
              <a:avLst/>
            </a:prstGeom>
          </p:spPr>
        </p:pic>
        <p:sp>
          <p:nvSpPr>
            <p:cNvPr id="99" name="ZoneTexte 98">
              <a:extLst>
                <a:ext uri="{FF2B5EF4-FFF2-40B4-BE49-F238E27FC236}">
                  <a16:creationId xmlns:a16="http://schemas.microsoft.com/office/drawing/2014/main" id="{F6EEE0DD-1AE4-4D88-AF84-0E04ACAF6C4F}"/>
                </a:ext>
              </a:extLst>
            </p:cNvPr>
            <p:cNvSpPr txBox="1"/>
            <p:nvPr/>
          </p:nvSpPr>
          <p:spPr>
            <a:xfrm>
              <a:off x="288033" y="5109045"/>
              <a:ext cx="956185" cy="270843"/>
            </a:xfrm>
            <a:prstGeom prst="rect">
              <a:avLst/>
            </a:prstGeom>
            <a:noFill/>
          </p:spPr>
          <p:txBody>
            <a:bodyPr wrap="square" rtlCol="0">
              <a:spAutoFit/>
            </a:bodyPr>
            <a:lstStyle/>
            <a:p>
              <a:pPr algn="ctr"/>
              <a:r>
                <a:rPr lang="en-GB" sz="1000">
                  <a:latin typeface="+mj-lt"/>
                </a:rPr>
                <a:t>Client</a:t>
              </a:r>
            </a:p>
          </p:txBody>
        </p:sp>
        <p:pic>
          <p:nvPicPr>
            <p:cNvPr id="100" name="Graphique 99">
              <a:extLst>
                <a:ext uri="{FF2B5EF4-FFF2-40B4-BE49-F238E27FC236}">
                  <a16:creationId xmlns:a16="http://schemas.microsoft.com/office/drawing/2014/main" id="{BE4D9DF6-376E-46A2-A929-1EA6FE21CBE8}"/>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78"/>
            <a:stretch/>
          </p:blipFill>
          <p:spPr>
            <a:xfrm>
              <a:off x="1942724" y="4658632"/>
              <a:ext cx="275905" cy="284600"/>
            </a:xfrm>
            <a:prstGeom prst="rect">
              <a:avLst/>
            </a:prstGeom>
          </p:spPr>
        </p:pic>
        <p:pic>
          <p:nvPicPr>
            <p:cNvPr id="101" name="Graphique 100">
              <a:extLst>
                <a:ext uri="{FF2B5EF4-FFF2-40B4-BE49-F238E27FC236}">
                  <a16:creationId xmlns:a16="http://schemas.microsoft.com/office/drawing/2014/main" id="{7AA8C947-2CE1-4D04-BCFF-B259F223E06A}"/>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78"/>
            <a:stretch/>
          </p:blipFill>
          <p:spPr>
            <a:xfrm>
              <a:off x="1942724" y="5077658"/>
              <a:ext cx="275905" cy="284600"/>
            </a:xfrm>
            <a:prstGeom prst="rect">
              <a:avLst/>
            </a:prstGeom>
          </p:spPr>
        </p:pic>
        <p:cxnSp>
          <p:nvCxnSpPr>
            <p:cNvPr id="103" name="Connecteur : en angle 102">
              <a:extLst>
                <a:ext uri="{FF2B5EF4-FFF2-40B4-BE49-F238E27FC236}">
                  <a16:creationId xmlns:a16="http://schemas.microsoft.com/office/drawing/2014/main" id="{788996DC-CF68-4BB6-84FB-437566D6E98A}"/>
                </a:ext>
              </a:extLst>
            </p:cNvPr>
            <p:cNvCxnSpPr/>
            <p:nvPr/>
          </p:nvCxnSpPr>
          <p:spPr bwMode="auto">
            <a:xfrm flipV="1">
              <a:off x="1078772" y="4818778"/>
              <a:ext cx="774700" cy="258880"/>
            </a:xfrm>
            <a:prstGeom prst="bentConnector3">
              <a:avLst/>
            </a:prstGeom>
            <a:solidFill>
              <a:schemeClr val="accent1"/>
            </a:solidFill>
            <a:ln w="9525" cap="flat" cmpd="sng" algn="ctr">
              <a:solidFill>
                <a:schemeClr val="tx1"/>
              </a:solidFill>
              <a:prstDash val="solid"/>
              <a:round/>
              <a:headEnd type="none" w="med" len="med"/>
              <a:tailEnd type="triangle"/>
            </a:ln>
            <a:effectLst/>
          </p:spPr>
        </p:cxnSp>
        <p:cxnSp>
          <p:nvCxnSpPr>
            <p:cNvPr id="104" name="Connecteur : en angle 103">
              <a:extLst>
                <a:ext uri="{FF2B5EF4-FFF2-40B4-BE49-F238E27FC236}">
                  <a16:creationId xmlns:a16="http://schemas.microsoft.com/office/drawing/2014/main" id="{067A5C1A-3AAA-44E1-BD8D-63CD74AF8809}"/>
                </a:ext>
              </a:extLst>
            </p:cNvPr>
            <p:cNvCxnSpPr>
              <a:cxnSpLocks/>
            </p:cNvCxnSpPr>
            <p:nvPr/>
          </p:nvCxnSpPr>
          <p:spPr bwMode="auto">
            <a:xfrm>
              <a:off x="1475684" y="5077658"/>
              <a:ext cx="381396" cy="151748"/>
            </a:xfrm>
            <a:prstGeom prst="bentConnector3">
              <a:avLst>
                <a:gd name="adj1" fmla="val -2445"/>
              </a:avLst>
            </a:prstGeom>
            <a:solidFill>
              <a:schemeClr val="accent1"/>
            </a:solidFill>
            <a:ln w="9525" cap="flat" cmpd="sng" algn="ctr">
              <a:solidFill>
                <a:schemeClr val="tx1"/>
              </a:solidFill>
              <a:prstDash val="solid"/>
              <a:round/>
              <a:headEnd type="none" w="med" len="med"/>
              <a:tailEnd type="triangle"/>
            </a:ln>
            <a:effectLst/>
          </p:spPr>
        </p:cxnSp>
        <p:sp>
          <p:nvSpPr>
            <p:cNvPr id="111" name="ZoneTexte 110">
              <a:extLst>
                <a:ext uri="{FF2B5EF4-FFF2-40B4-BE49-F238E27FC236}">
                  <a16:creationId xmlns:a16="http://schemas.microsoft.com/office/drawing/2014/main" id="{965B25B2-9B80-4C05-BB9C-73D39306A1AD}"/>
                </a:ext>
              </a:extLst>
            </p:cNvPr>
            <p:cNvSpPr txBox="1"/>
            <p:nvPr/>
          </p:nvSpPr>
          <p:spPr>
            <a:xfrm>
              <a:off x="1602444" y="5318463"/>
              <a:ext cx="956185" cy="270843"/>
            </a:xfrm>
            <a:prstGeom prst="rect">
              <a:avLst/>
            </a:prstGeom>
            <a:noFill/>
          </p:spPr>
          <p:txBody>
            <a:bodyPr wrap="square" rtlCol="0">
              <a:spAutoFit/>
            </a:bodyPr>
            <a:lstStyle/>
            <a:p>
              <a:pPr algn="ctr"/>
              <a:r>
                <a:rPr lang="en-GB" sz="1000">
                  <a:latin typeface="+mj-lt"/>
                </a:rPr>
                <a:t>Parent 2</a:t>
              </a:r>
            </a:p>
          </p:txBody>
        </p:sp>
        <p:sp>
          <p:nvSpPr>
            <p:cNvPr id="112" name="ZoneTexte 111">
              <a:extLst>
                <a:ext uri="{FF2B5EF4-FFF2-40B4-BE49-F238E27FC236}">
                  <a16:creationId xmlns:a16="http://schemas.microsoft.com/office/drawing/2014/main" id="{B152ECF9-A339-4898-A09E-76691BE19DDC}"/>
                </a:ext>
              </a:extLst>
            </p:cNvPr>
            <p:cNvSpPr txBox="1"/>
            <p:nvPr/>
          </p:nvSpPr>
          <p:spPr>
            <a:xfrm>
              <a:off x="1602444" y="4872269"/>
              <a:ext cx="956185" cy="270843"/>
            </a:xfrm>
            <a:prstGeom prst="rect">
              <a:avLst/>
            </a:prstGeom>
            <a:noFill/>
          </p:spPr>
          <p:txBody>
            <a:bodyPr wrap="square" rtlCol="0">
              <a:spAutoFit/>
            </a:bodyPr>
            <a:lstStyle/>
            <a:p>
              <a:pPr algn="ctr"/>
              <a:r>
                <a:rPr lang="en-GB" sz="1000">
                  <a:latin typeface="+mj-lt"/>
                </a:rPr>
                <a:t>Parent 1</a:t>
              </a:r>
            </a:p>
          </p:txBody>
        </p:sp>
        <p:cxnSp>
          <p:nvCxnSpPr>
            <p:cNvPr id="114" name="Connecteur droit avec flèche 113">
              <a:extLst>
                <a:ext uri="{FF2B5EF4-FFF2-40B4-BE49-F238E27FC236}">
                  <a16:creationId xmlns:a16="http://schemas.microsoft.com/office/drawing/2014/main" id="{9F5927A6-99C6-4495-9DBC-3CAAB41B4A4D}"/>
                </a:ext>
              </a:extLst>
            </p:cNvPr>
            <p:cNvCxnSpPr/>
            <p:nvPr/>
          </p:nvCxnSpPr>
          <p:spPr bwMode="auto">
            <a:xfrm>
              <a:off x="2391950" y="4818778"/>
              <a:ext cx="496033"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pic>
          <p:nvPicPr>
            <p:cNvPr id="116" name="Graphique 115">
              <a:extLst>
                <a:ext uri="{FF2B5EF4-FFF2-40B4-BE49-F238E27FC236}">
                  <a16:creationId xmlns:a16="http://schemas.microsoft.com/office/drawing/2014/main" id="{CA997BA6-2693-4A76-A8CE-F4C775836CAB}"/>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9045"/>
            <a:stretch/>
          </p:blipFill>
          <p:spPr>
            <a:xfrm>
              <a:off x="2985106" y="5077658"/>
              <a:ext cx="169268" cy="265629"/>
            </a:xfrm>
            <a:prstGeom prst="rect">
              <a:avLst/>
            </a:prstGeom>
          </p:spPr>
        </p:pic>
        <p:cxnSp>
          <p:nvCxnSpPr>
            <p:cNvPr id="117" name="Connecteur droit avec flèche 116">
              <a:extLst>
                <a:ext uri="{FF2B5EF4-FFF2-40B4-BE49-F238E27FC236}">
                  <a16:creationId xmlns:a16="http://schemas.microsoft.com/office/drawing/2014/main" id="{B47DBB24-E464-4B04-A643-88C626AD0ECD}"/>
                </a:ext>
              </a:extLst>
            </p:cNvPr>
            <p:cNvCxnSpPr/>
            <p:nvPr/>
          </p:nvCxnSpPr>
          <p:spPr bwMode="auto">
            <a:xfrm>
              <a:off x="2391950" y="5229406"/>
              <a:ext cx="496033"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pic>
          <p:nvPicPr>
            <p:cNvPr id="118" name="Graphique 117">
              <a:extLst>
                <a:ext uri="{FF2B5EF4-FFF2-40B4-BE49-F238E27FC236}">
                  <a16:creationId xmlns:a16="http://schemas.microsoft.com/office/drawing/2014/main" id="{4C2D0144-0F19-40E7-B482-102A8D793D55}"/>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78"/>
            <a:stretch/>
          </p:blipFill>
          <p:spPr>
            <a:xfrm>
              <a:off x="2959097" y="4657329"/>
              <a:ext cx="275905" cy="284600"/>
            </a:xfrm>
            <a:prstGeom prst="rect">
              <a:avLst/>
            </a:prstGeom>
          </p:spPr>
        </p:pic>
        <p:cxnSp>
          <p:nvCxnSpPr>
            <p:cNvPr id="119" name="Connecteur droit avec flèche 118">
              <a:extLst>
                <a:ext uri="{FF2B5EF4-FFF2-40B4-BE49-F238E27FC236}">
                  <a16:creationId xmlns:a16="http://schemas.microsoft.com/office/drawing/2014/main" id="{1EFC457C-245D-4F3A-BD34-0D9B4D556160}"/>
                </a:ext>
              </a:extLst>
            </p:cNvPr>
            <p:cNvCxnSpPr/>
            <p:nvPr/>
          </p:nvCxnSpPr>
          <p:spPr bwMode="auto">
            <a:xfrm>
              <a:off x="3319244" y="4818778"/>
              <a:ext cx="496033"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20" name="ZoneTexte 119">
              <a:extLst>
                <a:ext uri="{FF2B5EF4-FFF2-40B4-BE49-F238E27FC236}">
                  <a16:creationId xmlns:a16="http://schemas.microsoft.com/office/drawing/2014/main" id="{1D56F3BA-989B-4711-8EB3-5B611082CB15}"/>
                </a:ext>
              </a:extLst>
            </p:cNvPr>
            <p:cNvSpPr txBox="1"/>
            <p:nvPr/>
          </p:nvSpPr>
          <p:spPr>
            <a:xfrm>
              <a:off x="2629688" y="4872269"/>
              <a:ext cx="956185" cy="270843"/>
            </a:xfrm>
            <a:prstGeom prst="rect">
              <a:avLst/>
            </a:prstGeom>
            <a:noFill/>
          </p:spPr>
          <p:txBody>
            <a:bodyPr wrap="square" rtlCol="0">
              <a:spAutoFit/>
            </a:bodyPr>
            <a:lstStyle/>
            <a:p>
              <a:pPr algn="ctr"/>
              <a:r>
                <a:rPr lang="en-GB" sz="1000">
                  <a:latin typeface="+mj-lt"/>
                </a:rPr>
                <a:t>Holding 1</a:t>
              </a:r>
            </a:p>
          </p:txBody>
        </p:sp>
        <p:sp>
          <p:nvSpPr>
            <p:cNvPr id="121" name="ZoneTexte 120">
              <a:extLst>
                <a:ext uri="{FF2B5EF4-FFF2-40B4-BE49-F238E27FC236}">
                  <a16:creationId xmlns:a16="http://schemas.microsoft.com/office/drawing/2014/main" id="{8801569B-2922-4FB9-A66A-EED4A3B8C29C}"/>
                </a:ext>
              </a:extLst>
            </p:cNvPr>
            <p:cNvSpPr txBox="1"/>
            <p:nvPr/>
          </p:nvSpPr>
          <p:spPr>
            <a:xfrm>
              <a:off x="2591647" y="5319788"/>
              <a:ext cx="956185" cy="270843"/>
            </a:xfrm>
            <a:prstGeom prst="rect">
              <a:avLst/>
            </a:prstGeom>
            <a:noFill/>
          </p:spPr>
          <p:txBody>
            <a:bodyPr wrap="square" rtlCol="0">
              <a:spAutoFit/>
            </a:bodyPr>
            <a:lstStyle/>
            <a:p>
              <a:pPr algn="ctr"/>
              <a:r>
                <a:rPr lang="en-GB" sz="1000">
                  <a:latin typeface="+mj-lt"/>
                </a:rPr>
                <a:t>Owner 2</a:t>
              </a:r>
            </a:p>
          </p:txBody>
        </p:sp>
        <p:pic>
          <p:nvPicPr>
            <p:cNvPr id="122" name="Graphique 121">
              <a:extLst>
                <a:ext uri="{FF2B5EF4-FFF2-40B4-BE49-F238E27FC236}">
                  <a16:creationId xmlns:a16="http://schemas.microsoft.com/office/drawing/2014/main" id="{E3829493-20A7-40E2-87DB-6ADA2D9770EA}"/>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9045"/>
            <a:stretch/>
          </p:blipFill>
          <p:spPr>
            <a:xfrm>
              <a:off x="3948935" y="4649622"/>
              <a:ext cx="169268" cy="265629"/>
            </a:xfrm>
            <a:prstGeom prst="rect">
              <a:avLst/>
            </a:prstGeom>
          </p:spPr>
        </p:pic>
        <p:sp>
          <p:nvSpPr>
            <p:cNvPr id="123" name="ZoneTexte 122">
              <a:extLst>
                <a:ext uri="{FF2B5EF4-FFF2-40B4-BE49-F238E27FC236}">
                  <a16:creationId xmlns:a16="http://schemas.microsoft.com/office/drawing/2014/main" id="{45BD7119-0632-4639-A5E5-015C8E6129FF}"/>
                </a:ext>
              </a:extLst>
            </p:cNvPr>
            <p:cNvSpPr txBox="1"/>
            <p:nvPr/>
          </p:nvSpPr>
          <p:spPr>
            <a:xfrm>
              <a:off x="3548275" y="4867866"/>
              <a:ext cx="956185" cy="270843"/>
            </a:xfrm>
            <a:prstGeom prst="rect">
              <a:avLst/>
            </a:prstGeom>
            <a:noFill/>
          </p:spPr>
          <p:txBody>
            <a:bodyPr wrap="square" rtlCol="0">
              <a:spAutoFit/>
            </a:bodyPr>
            <a:lstStyle/>
            <a:p>
              <a:pPr algn="ctr"/>
              <a:r>
                <a:rPr lang="en-GB" sz="1000">
                  <a:latin typeface="+mj-lt"/>
                </a:rPr>
                <a:t>Owner 1</a:t>
              </a:r>
            </a:p>
          </p:txBody>
        </p:sp>
      </p:grpSp>
      <p:sp>
        <p:nvSpPr>
          <p:cNvPr id="124" name="ZoneTexte 123">
            <a:extLst>
              <a:ext uri="{FF2B5EF4-FFF2-40B4-BE49-F238E27FC236}">
                <a16:creationId xmlns:a16="http://schemas.microsoft.com/office/drawing/2014/main" id="{4B3377DB-6C8C-4CAF-9227-F08D462DDFA6}"/>
              </a:ext>
            </a:extLst>
          </p:cNvPr>
          <p:cNvSpPr txBox="1"/>
          <p:nvPr/>
        </p:nvSpPr>
        <p:spPr>
          <a:xfrm>
            <a:off x="288033" y="4367106"/>
            <a:ext cx="4419405" cy="246221"/>
          </a:xfrm>
          <a:prstGeom prst="rect">
            <a:avLst/>
          </a:prstGeom>
          <a:noFill/>
        </p:spPr>
        <p:txBody>
          <a:bodyPr wrap="square" rtlCol="0">
            <a:spAutoFit/>
          </a:bodyPr>
          <a:lstStyle/>
          <a:p>
            <a:r>
              <a:rPr lang="en-GB" sz="1000" b="1">
                <a:latin typeface="Trebuchet MS" panose="020B0603020202020204" pitchFamily="34" charset="0"/>
              </a:rPr>
              <a:t>Examples of UBO identification and PEP verification process: </a:t>
            </a:r>
          </a:p>
        </p:txBody>
      </p:sp>
      <p:sp>
        <p:nvSpPr>
          <p:cNvPr id="149" name="ZoneTexte 148">
            <a:extLst>
              <a:ext uri="{FF2B5EF4-FFF2-40B4-BE49-F238E27FC236}">
                <a16:creationId xmlns:a16="http://schemas.microsoft.com/office/drawing/2014/main" id="{1F0EBA45-FB3F-43DC-9C1A-EC53D2C50F6F}"/>
              </a:ext>
            </a:extLst>
          </p:cNvPr>
          <p:cNvSpPr txBox="1"/>
          <p:nvPr/>
        </p:nvSpPr>
        <p:spPr>
          <a:xfrm>
            <a:off x="5316373" y="2579599"/>
            <a:ext cx="4282326" cy="246221"/>
          </a:xfrm>
          <a:prstGeom prst="rect">
            <a:avLst/>
          </a:prstGeom>
          <a:noFill/>
        </p:spPr>
        <p:txBody>
          <a:bodyPr wrap="square" rtlCol="0">
            <a:spAutoFit/>
          </a:bodyPr>
          <a:lstStyle/>
          <a:p>
            <a:r>
              <a:rPr lang="en-GB" sz="1000" b="1" i="1">
                <a:latin typeface="Trebuchet MS" panose="020B0603020202020204" pitchFamily="34" charset="0"/>
              </a:rPr>
              <a:t>Main reasons for outsourcing all or part of compliance processes: </a:t>
            </a:r>
          </a:p>
        </p:txBody>
      </p:sp>
      <p:sp>
        <p:nvSpPr>
          <p:cNvPr id="156" name="Rectangle 155">
            <a:extLst>
              <a:ext uri="{FF2B5EF4-FFF2-40B4-BE49-F238E27FC236}">
                <a16:creationId xmlns:a16="http://schemas.microsoft.com/office/drawing/2014/main" id="{EDA3BD6A-69E2-458F-A126-5F412E1C186D}"/>
              </a:ext>
            </a:extLst>
          </p:cNvPr>
          <p:cNvSpPr/>
          <p:nvPr/>
        </p:nvSpPr>
        <p:spPr bwMode="auto">
          <a:xfrm>
            <a:off x="5388157" y="2794798"/>
            <a:ext cx="1193269" cy="34204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anose="020B0603020202020204" pitchFamily="34" charset="0"/>
              </a:rPr>
              <a:t>Need for additional assurance on compliance processes</a:t>
            </a:r>
          </a:p>
        </p:txBody>
      </p:sp>
      <p:sp>
        <p:nvSpPr>
          <p:cNvPr id="157" name="Rectangle 156">
            <a:extLst>
              <a:ext uri="{FF2B5EF4-FFF2-40B4-BE49-F238E27FC236}">
                <a16:creationId xmlns:a16="http://schemas.microsoft.com/office/drawing/2014/main" id="{B33E565A-75D9-40FF-B6F5-BEE5743E2440}"/>
              </a:ext>
            </a:extLst>
          </p:cNvPr>
          <p:cNvSpPr/>
          <p:nvPr/>
        </p:nvSpPr>
        <p:spPr bwMode="auto">
          <a:xfrm>
            <a:off x="5474197" y="3985078"/>
            <a:ext cx="1107229" cy="24622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anose="020B0603020202020204" pitchFamily="34" charset="0"/>
              </a:rPr>
              <a:t>Other</a:t>
            </a:r>
          </a:p>
        </p:txBody>
      </p:sp>
      <p:sp>
        <p:nvSpPr>
          <p:cNvPr id="158" name="Rectangle 157">
            <a:extLst>
              <a:ext uri="{FF2B5EF4-FFF2-40B4-BE49-F238E27FC236}">
                <a16:creationId xmlns:a16="http://schemas.microsoft.com/office/drawing/2014/main" id="{E1E52FF8-7295-4D48-9762-866497F5A021}"/>
              </a:ext>
            </a:extLst>
          </p:cNvPr>
          <p:cNvSpPr/>
          <p:nvPr/>
        </p:nvSpPr>
        <p:spPr bwMode="auto">
          <a:xfrm>
            <a:off x="5474197" y="3230223"/>
            <a:ext cx="1107229" cy="24622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anose="020B0603020202020204" pitchFamily="34" charset="0"/>
              </a:rPr>
              <a:t>Lack of in-house compliance skills</a:t>
            </a:r>
          </a:p>
        </p:txBody>
      </p:sp>
      <p:sp>
        <p:nvSpPr>
          <p:cNvPr id="159" name="Rectangle 158">
            <a:extLst>
              <a:ext uri="{FF2B5EF4-FFF2-40B4-BE49-F238E27FC236}">
                <a16:creationId xmlns:a16="http://schemas.microsoft.com/office/drawing/2014/main" id="{B288E49B-351E-43FC-BB36-E8D3A0704E35}"/>
              </a:ext>
            </a:extLst>
          </p:cNvPr>
          <p:cNvSpPr/>
          <p:nvPr/>
        </p:nvSpPr>
        <p:spPr bwMode="auto">
          <a:xfrm>
            <a:off x="5474197" y="3657962"/>
            <a:ext cx="1107229" cy="24622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anose="020B0603020202020204" pitchFamily="34" charset="0"/>
              </a:rPr>
              <a:t>Cost</a:t>
            </a:r>
          </a:p>
        </p:txBody>
      </p:sp>
      <p:sp>
        <p:nvSpPr>
          <p:cNvPr id="160" name="Rectangle 159">
            <a:extLst>
              <a:ext uri="{FF2B5EF4-FFF2-40B4-BE49-F238E27FC236}">
                <a16:creationId xmlns:a16="http://schemas.microsoft.com/office/drawing/2014/main" id="{45FE3BF8-23E9-45CB-8FDD-F5E7387747CA}"/>
              </a:ext>
            </a:extLst>
          </p:cNvPr>
          <p:cNvSpPr/>
          <p:nvPr/>
        </p:nvSpPr>
        <p:spPr bwMode="auto">
          <a:xfrm>
            <a:off x="5474197" y="4289100"/>
            <a:ext cx="1107229" cy="24622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anose="020B0603020202020204" pitchFamily="34" charset="0"/>
              </a:rPr>
              <a:t>Lack of in-house language skills</a:t>
            </a:r>
          </a:p>
        </p:txBody>
      </p:sp>
      <p:sp>
        <p:nvSpPr>
          <p:cNvPr id="168" name="ZoneTexte 167">
            <a:extLst>
              <a:ext uri="{FF2B5EF4-FFF2-40B4-BE49-F238E27FC236}">
                <a16:creationId xmlns:a16="http://schemas.microsoft.com/office/drawing/2014/main" id="{D92B35D9-C369-4365-B338-48B1338D2E58}"/>
              </a:ext>
            </a:extLst>
          </p:cNvPr>
          <p:cNvSpPr txBox="1"/>
          <p:nvPr/>
        </p:nvSpPr>
        <p:spPr>
          <a:xfrm>
            <a:off x="7032339" y="4387884"/>
            <a:ext cx="850394" cy="261610"/>
          </a:xfrm>
          <a:prstGeom prst="rect">
            <a:avLst/>
          </a:prstGeom>
          <a:noFill/>
        </p:spPr>
        <p:txBody>
          <a:bodyPr wrap="square" rtlCol="0">
            <a:spAutoFit/>
          </a:bodyPr>
          <a:lstStyle/>
          <a:p>
            <a:r>
              <a:rPr lang="en-GB" sz="1050">
                <a:solidFill>
                  <a:schemeClr val="tx2"/>
                </a:solidFill>
                <a:latin typeface="Trebuchet MS" panose="020B0603020202020204" pitchFamily="34" charset="0"/>
              </a:rPr>
              <a:t>8%</a:t>
            </a:r>
          </a:p>
        </p:txBody>
      </p:sp>
      <p:sp>
        <p:nvSpPr>
          <p:cNvPr id="169" name="ZoneTexte 168">
            <a:extLst>
              <a:ext uri="{FF2B5EF4-FFF2-40B4-BE49-F238E27FC236}">
                <a16:creationId xmlns:a16="http://schemas.microsoft.com/office/drawing/2014/main" id="{04EC7436-2BD2-40BB-B99C-5A9420039838}"/>
              </a:ext>
            </a:extLst>
          </p:cNvPr>
          <p:cNvSpPr txBox="1"/>
          <p:nvPr/>
        </p:nvSpPr>
        <p:spPr>
          <a:xfrm>
            <a:off x="7246818" y="4005382"/>
            <a:ext cx="850394" cy="261610"/>
          </a:xfrm>
          <a:prstGeom prst="rect">
            <a:avLst/>
          </a:prstGeom>
          <a:noFill/>
        </p:spPr>
        <p:txBody>
          <a:bodyPr wrap="square" rtlCol="0">
            <a:spAutoFit/>
          </a:bodyPr>
          <a:lstStyle/>
          <a:p>
            <a:r>
              <a:rPr lang="en-GB" sz="1050">
                <a:solidFill>
                  <a:schemeClr val="tx2"/>
                </a:solidFill>
                <a:latin typeface="Trebuchet MS" panose="020B0603020202020204" pitchFamily="34" charset="0"/>
              </a:rPr>
              <a:t>14%</a:t>
            </a:r>
          </a:p>
        </p:txBody>
      </p:sp>
      <p:sp>
        <p:nvSpPr>
          <p:cNvPr id="170" name="ZoneTexte 169">
            <a:extLst>
              <a:ext uri="{FF2B5EF4-FFF2-40B4-BE49-F238E27FC236}">
                <a16:creationId xmlns:a16="http://schemas.microsoft.com/office/drawing/2014/main" id="{68411403-EAB2-4BC3-A17D-456FCAD8FE81}"/>
              </a:ext>
            </a:extLst>
          </p:cNvPr>
          <p:cNvSpPr txBox="1"/>
          <p:nvPr/>
        </p:nvSpPr>
        <p:spPr>
          <a:xfrm>
            <a:off x="8382617" y="3617650"/>
            <a:ext cx="850394" cy="261610"/>
          </a:xfrm>
          <a:prstGeom prst="rect">
            <a:avLst/>
          </a:prstGeom>
          <a:noFill/>
        </p:spPr>
        <p:txBody>
          <a:bodyPr wrap="square" rtlCol="0">
            <a:spAutoFit/>
          </a:bodyPr>
          <a:lstStyle/>
          <a:p>
            <a:r>
              <a:rPr lang="en-GB" sz="1050">
                <a:solidFill>
                  <a:schemeClr val="tx2"/>
                </a:solidFill>
                <a:latin typeface="Trebuchet MS" panose="020B0603020202020204" pitchFamily="34" charset="0"/>
              </a:rPr>
              <a:t>41%</a:t>
            </a:r>
          </a:p>
        </p:txBody>
      </p:sp>
      <p:sp>
        <p:nvSpPr>
          <p:cNvPr id="171" name="ZoneTexte 170">
            <a:extLst>
              <a:ext uri="{FF2B5EF4-FFF2-40B4-BE49-F238E27FC236}">
                <a16:creationId xmlns:a16="http://schemas.microsoft.com/office/drawing/2014/main" id="{B815DE1D-8112-431A-9AEA-93B436C795D8}"/>
              </a:ext>
            </a:extLst>
          </p:cNvPr>
          <p:cNvSpPr txBox="1"/>
          <p:nvPr/>
        </p:nvSpPr>
        <p:spPr>
          <a:xfrm>
            <a:off x="8720223" y="3238716"/>
            <a:ext cx="850394" cy="261610"/>
          </a:xfrm>
          <a:prstGeom prst="rect">
            <a:avLst/>
          </a:prstGeom>
          <a:noFill/>
        </p:spPr>
        <p:txBody>
          <a:bodyPr wrap="square" rtlCol="0">
            <a:spAutoFit/>
          </a:bodyPr>
          <a:lstStyle/>
          <a:p>
            <a:r>
              <a:rPr lang="en-GB" sz="1050">
                <a:solidFill>
                  <a:schemeClr val="tx2"/>
                </a:solidFill>
                <a:latin typeface="Trebuchet MS" panose="020B0603020202020204" pitchFamily="34" charset="0"/>
              </a:rPr>
              <a:t>48%</a:t>
            </a:r>
          </a:p>
        </p:txBody>
      </p:sp>
      <p:sp>
        <p:nvSpPr>
          <p:cNvPr id="172" name="ZoneTexte 171">
            <a:extLst>
              <a:ext uri="{FF2B5EF4-FFF2-40B4-BE49-F238E27FC236}">
                <a16:creationId xmlns:a16="http://schemas.microsoft.com/office/drawing/2014/main" id="{60E95D88-35AC-4053-A889-19A3F4EDFA5C}"/>
              </a:ext>
            </a:extLst>
          </p:cNvPr>
          <p:cNvSpPr txBox="1"/>
          <p:nvPr/>
        </p:nvSpPr>
        <p:spPr>
          <a:xfrm>
            <a:off x="9173502" y="2864741"/>
            <a:ext cx="850394" cy="261610"/>
          </a:xfrm>
          <a:prstGeom prst="rect">
            <a:avLst/>
          </a:prstGeom>
          <a:noFill/>
        </p:spPr>
        <p:txBody>
          <a:bodyPr wrap="square" rtlCol="0">
            <a:spAutoFit/>
          </a:bodyPr>
          <a:lstStyle/>
          <a:p>
            <a:r>
              <a:rPr lang="en-GB" sz="1050">
                <a:solidFill>
                  <a:schemeClr val="tx2"/>
                </a:solidFill>
                <a:latin typeface="Trebuchet MS" panose="020B0603020202020204" pitchFamily="34" charset="0"/>
              </a:rPr>
              <a:t>53%</a:t>
            </a:r>
          </a:p>
        </p:txBody>
      </p:sp>
      <p:sp>
        <p:nvSpPr>
          <p:cNvPr id="176" name="ZoneTexte 175">
            <a:extLst>
              <a:ext uri="{FF2B5EF4-FFF2-40B4-BE49-F238E27FC236}">
                <a16:creationId xmlns:a16="http://schemas.microsoft.com/office/drawing/2014/main" id="{F1C1CD5A-7D34-4900-8C9B-280FE4756EB5}"/>
              </a:ext>
            </a:extLst>
          </p:cNvPr>
          <p:cNvSpPr txBox="1"/>
          <p:nvPr/>
        </p:nvSpPr>
        <p:spPr>
          <a:xfrm>
            <a:off x="5316373" y="4892292"/>
            <a:ext cx="4070828" cy="400110"/>
          </a:xfrm>
          <a:prstGeom prst="rect">
            <a:avLst/>
          </a:prstGeom>
          <a:noFill/>
        </p:spPr>
        <p:txBody>
          <a:bodyPr wrap="square" rtlCol="0">
            <a:spAutoFit/>
          </a:bodyPr>
          <a:lstStyle/>
          <a:p>
            <a:r>
              <a:rPr lang="en-GB" sz="1000" b="1" i="1">
                <a:latin typeface="Trebuchet MS" panose="020B0603020202020204" pitchFamily="34" charset="0"/>
              </a:rPr>
              <a:t>Types of compliance services that can be outsourced: </a:t>
            </a:r>
          </a:p>
          <a:p>
            <a:pPr marL="628650" lvl="1" indent="-171450">
              <a:buFont typeface="Courier New" panose="02070309020205020404" pitchFamily="49" charset="0"/>
              <a:buChar char="o"/>
            </a:pPr>
            <a:endParaRPr lang="en-GB" sz="1000" b="1" i="1">
              <a:latin typeface="Trebuchet MS" panose="020B0603020202020204" pitchFamily="34" charset="0"/>
            </a:endParaRPr>
          </a:p>
        </p:txBody>
      </p:sp>
      <p:sp>
        <p:nvSpPr>
          <p:cNvPr id="179" name="Rectangle 178">
            <a:extLst>
              <a:ext uri="{FF2B5EF4-FFF2-40B4-BE49-F238E27FC236}">
                <a16:creationId xmlns:a16="http://schemas.microsoft.com/office/drawing/2014/main" id="{26F240B3-12E8-40D3-9533-559C696B4154}"/>
              </a:ext>
            </a:extLst>
          </p:cNvPr>
          <p:cNvSpPr/>
          <p:nvPr/>
        </p:nvSpPr>
        <p:spPr>
          <a:xfrm>
            <a:off x="7092144" y="5136692"/>
            <a:ext cx="2811734" cy="1272143"/>
          </a:xfrm>
          <a:prstGeom prst="rect">
            <a:avLst/>
          </a:prstGeom>
        </p:spPr>
        <p:txBody>
          <a:bodyPr wrap="square">
            <a:spAutoFit/>
          </a:bodyPr>
          <a:lstStyle/>
          <a:p>
            <a:pPr marL="628650" lvl="1" indent="-171450">
              <a:spcAft>
                <a:spcPts val="200"/>
              </a:spcAft>
              <a:buFont typeface="Arial" panose="020B0604020202020204" pitchFamily="34" charset="0"/>
              <a:buChar char="•"/>
            </a:pPr>
            <a:r>
              <a:rPr lang="en-GB" sz="1000">
                <a:latin typeface="Trebuchet MS" panose="020B0603020202020204" pitchFamily="34" charset="0"/>
              </a:rPr>
              <a:t>Monitoring of </a:t>
            </a:r>
            <a:r>
              <a:rPr lang="en-GB" sz="1000">
                <a:solidFill>
                  <a:schemeClr val="tx2"/>
                </a:solidFill>
                <a:latin typeface="Trebuchet MS" panose="020B0603020202020204" pitchFamily="34" charset="0"/>
              </a:rPr>
              <a:t>adverse news </a:t>
            </a:r>
            <a:r>
              <a:rPr lang="en-GB" sz="1000">
                <a:latin typeface="Trebuchet MS" panose="020B0603020202020204" pitchFamily="34" charset="0"/>
              </a:rPr>
              <a:t>about business partners</a:t>
            </a:r>
          </a:p>
          <a:p>
            <a:pPr marL="628650" lvl="1" indent="-171450">
              <a:spcAft>
                <a:spcPts val="200"/>
              </a:spcAft>
              <a:buFont typeface="Arial" panose="020B0604020202020204" pitchFamily="34" charset="0"/>
              <a:buChar char="•"/>
            </a:pPr>
            <a:r>
              <a:rPr lang="en-GB" sz="1000">
                <a:latin typeface="Trebuchet MS" panose="020B0603020202020204" pitchFamily="34" charset="0"/>
              </a:rPr>
              <a:t>Client </a:t>
            </a:r>
            <a:r>
              <a:rPr lang="en-GB" sz="1000">
                <a:solidFill>
                  <a:schemeClr val="tx2"/>
                </a:solidFill>
                <a:latin typeface="Trebuchet MS" panose="020B0603020202020204" pitchFamily="34" charset="0"/>
              </a:rPr>
              <a:t>onboarding decisions</a:t>
            </a:r>
          </a:p>
          <a:p>
            <a:pPr marL="628650" lvl="1" indent="-171450">
              <a:spcAft>
                <a:spcPts val="200"/>
              </a:spcAft>
              <a:buFont typeface="Arial" panose="020B0604020202020204" pitchFamily="34" charset="0"/>
              <a:buChar char="•"/>
            </a:pPr>
            <a:r>
              <a:rPr lang="en-GB" sz="1000">
                <a:latin typeface="Trebuchet MS" panose="020B0603020202020204" pitchFamily="34" charset="0"/>
              </a:rPr>
              <a:t>Dynamic monitoring and </a:t>
            </a:r>
            <a:r>
              <a:rPr lang="en-GB" sz="1000">
                <a:solidFill>
                  <a:schemeClr val="tx2"/>
                </a:solidFill>
                <a:latin typeface="Trebuchet MS" panose="020B0603020202020204" pitchFamily="34" charset="0"/>
              </a:rPr>
              <a:t>update</a:t>
            </a:r>
            <a:r>
              <a:rPr lang="en-GB" sz="1000">
                <a:latin typeface="Trebuchet MS" panose="020B0603020202020204" pitchFamily="34" charset="0"/>
              </a:rPr>
              <a:t> of client legal data</a:t>
            </a:r>
          </a:p>
          <a:p>
            <a:pPr marL="628650" lvl="1" indent="-171450">
              <a:spcAft>
                <a:spcPts val="20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Client service </a:t>
            </a:r>
            <a:r>
              <a:rPr lang="en-GB" sz="1000">
                <a:latin typeface="Trebuchet MS" panose="020B0603020202020204" pitchFamily="34" charset="0"/>
              </a:rPr>
              <a:t>related to GDPR</a:t>
            </a:r>
          </a:p>
          <a:p>
            <a:pPr marL="628650" lvl="1" indent="-171450">
              <a:spcAft>
                <a:spcPts val="200"/>
              </a:spcAft>
              <a:buFont typeface="Arial" panose="020B0604020202020204" pitchFamily="34" charset="0"/>
              <a:buChar char="•"/>
            </a:pPr>
            <a:r>
              <a:rPr lang="en-GB" sz="1000">
                <a:latin typeface="Trebuchet MS" panose="020B0603020202020204" pitchFamily="34" charset="0"/>
              </a:rPr>
              <a:t>…</a:t>
            </a:r>
          </a:p>
        </p:txBody>
      </p:sp>
      <p:sp>
        <p:nvSpPr>
          <p:cNvPr id="181" name="Rectangle 180">
            <a:extLst>
              <a:ext uri="{FF2B5EF4-FFF2-40B4-BE49-F238E27FC236}">
                <a16:creationId xmlns:a16="http://schemas.microsoft.com/office/drawing/2014/main" id="{078FD15E-6785-4E8E-B2C5-70F1E4B77FF6}"/>
              </a:ext>
            </a:extLst>
          </p:cNvPr>
          <p:cNvSpPr/>
          <p:nvPr/>
        </p:nvSpPr>
        <p:spPr>
          <a:xfrm>
            <a:off x="4713053" y="5136692"/>
            <a:ext cx="2980477" cy="1272143"/>
          </a:xfrm>
          <a:prstGeom prst="rect">
            <a:avLst/>
          </a:prstGeom>
        </p:spPr>
        <p:txBody>
          <a:bodyPr wrap="square">
            <a:spAutoFit/>
          </a:bodyPr>
          <a:lstStyle/>
          <a:p>
            <a:pPr marL="628650" lvl="1" indent="-171450">
              <a:spcAft>
                <a:spcPts val="200"/>
              </a:spcAft>
              <a:buFont typeface="Arial" panose="020B0604020202020204" pitchFamily="34" charset="0"/>
              <a:buChar char="•"/>
            </a:pPr>
            <a:r>
              <a:rPr lang="en-GB" sz="1000">
                <a:latin typeface="Trebuchet MS" panose="020B0603020202020204" pitchFamily="34" charset="0"/>
              </a:rPr>
              <a:t>Monitoring of the evolution of the </a:t>
            </a:r>
            <a:r>
              <a:rPr lang="en-GB" sz="1000">
                <a:solidFill>
                  <a:schemeClr val="tx2"/>
                </a:solidFill>
                <a:latin typeface="Trebuchet MS" panose="020B0603020202020204" pitchFamily="34" charset="0"/>
              </a:rPr>
              <a:t>regulatory framework</a:t>
            </a:r>
          </a:p>
          <a:p>
            <a:pPr marL="628650" lvl="1" indent="-171450">
              <a:spcAft>
                <a:spcPts val="200"/>
              </a:spcAft>
              <a:buFont typeface="Arial" panose="020B0604020202020204" pitchFamily="34" charset="0"/>
              <a:buChar char="•"/>
            </a:pPr>
            <a:r>
              <a:rPr lang="en-GB" sz="1000">
                <a:latin typeface="Trebuchet MS" panose="020B0603020202020204" pitchFamily="34" charset="0"/>
              </a:rPr>
              <a:t>Mapping of the </a:t>
            </a:r>
            <a:r>
              <a:rPr lang="en-GB" sz="1000">
                <a:solidFill>
                  <a:schemeClr val="tx2"/>
                </a:solidFill>
                <a:latin typeface="Trebuchet MS" panose="020B0603020202020204" pitchFamily="34" charset="0"/>
              </a:rPr>
              <a:t>corporate risk </a:t>
            </a:r>
            <a:r>
              <a:rPr lang="en-GB" sz="1000">
                <a:latin typeface="Trebuchet MS" panose="020B0603020202020204" pitchFamily="34" charset="0"/>
              </a:rPr>
              <a:t>about corruption</a:t>
            </a:r>
          </a:p>
          <a:p>
            <a:pPr marL="628650" lvl="1" indent="-171450">
              <a:spcAft>
                <a:spcPts val="20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UBO identification </a:t>
            </a:r>
            <a:r>
              <a:rPr lang="en-GB" sz="1000">
                <a:latin typeface="Trebuchet MS" panose="020B0603020202020204" pitchFamily="34" charset="0"/>
              </a:rPr>
              <a:t>for new accounts</a:t>
            </a:r>
          </a:p>
          <a:p>
            <a:pPr marL="628650" lvl="1" indent="-171450">
              <a:spcAft>
                <a:spcPts val="20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PEP verification</a:t>
            </a:r>
          </a:p>
          <a:p>
            <a:pPr marL="628650" lvl="1" indent="-171450">
              <a:spcAft>
                <a:spcPts val="20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Remediation</a:t>
            </a:r>
            <a:r>
              <a:rPr lang="en-GB" sz="1000">
                <a:latin typeface="Trebuchet MS" panose="020B0603020202020204" pitchFamily="34" charset="0"/>
              </a:rPr>
              <a:t> of customers portfolio</a:t>
            </a:r>
          </a:p>
        </p:txBody>
      </p:sp>
      <p:grpSp>
        <p:nvGrpSpPr>
          <p:cNvPr id="17" name="Groupe 16">
            <a:extLst>
              <a:ext uri="{FF2B5EF4-FFF2-40B4-BE49-F238E27FC236}">
                <a16:creationId xmlns:a16="http://schemas.microsoft.com/office/drawing/2014/main" id="{023C0D20-6288-43F7-A5B9-D87D9AF82D72}"/>
              </a:ext>
            </a:extLst>
          </p:cNvPr>
          <p:cNvGrpSpPr>
            <a:grpSpLocks noChangeAspect="1"/>
          </p:cNvGrpSpPr>
          <p:nvPr/>
        </p:nvGrpSpPr>
        <p:grpSpPr>
          <a:xfrm>
            <a:off x="425861" y="2470067"/>
            <a:ext cx="300461" cy="289406"/>
            <a:chOff x="-200233" y="1437957"/>
            <a:chExt cx="300461" cy="289406"/>
          </a:xfrm>
        </p:grpSpPr>
        <p:sp>
          <p:nvSpPr>
            <p:cNvPr id="16" name="Ellipse 15">
              <a:extLst>
                <a:ext uri="{FF2B5EF4-FFF2-40B4-BE49-F238E27FC236}">
                  <a16:creationId xmlns:a16="http://schemas.microsoft.com/office/drawing/2014/main" id="{2FC29DD7-EB5A-4F66-84FD-690F2921EBD9}"/>
                </a:ext>
              </a:extLst>
            </p:cNvPr>
            <p:cNvSpPr/>
            <p:nvPr/>
          </p:nvSpPr>
          <p:spPr bwMode="auto">
            <a:xfrm>
              <a:off x="-147292" y="1494659"/>
              <a:ext cx="190589" cy="188702"/>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4" name="Graphique 13">
              <a:extLst>
                <a:ext uri="{FF2B5EF4-FFF2-40B4-BE49-F238E27FC236}">
                  <a16:creationId xmlns:a16="http://schemas.microsoft.com/office/drawing/2014/main" id="{D8F73FFE-D28F-4B62-81EF-17014AE25D16}"/>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b="23284"/>
            <a:stretch/>
          </p:blipFill>
          <p:spPr>
            <a:xfrm>
              <a:off x="-200233" y="1437957"/>
              <a:ext cx="300461" cy="289406"/>
            </a:xfrm>
            <a:prstGeom prst="rect">
              <a:avLst/>
            </a:prstGeom>
          </p:spPr>
        </p:pic>
      </p:grpSp>
      <p:grpSp>
        <p:nvGrpSpPr>
          <p:cNvPr id="21" name="Groupe 20">
            <a:extLst>
              <a:ext uri="{FF2B5EF4-FFF2-40B4-BE49-F238E27FC236}">
                <a16:creationId xmlns:a16="http://schemas.microsoft.com/office/drawing/2014/main" id="{E1B22F90-ADBF-485C-A9BE-BC3ED6C616C6}"/>
              </a:ext>
            </a:extLst>
          </p:cNvPr>
          <p:cNvGrpSpPr/>
          <p:nvPr/>
        </p:nvGrpSpPr>
        <p:grpSpPr>
          <a:xfrm>
            <a:off x="620459" y="3345839"/>
            <a:ext cx="215710" cy="218225"/>
            <a:chOff x="10054299" y="2512979"/>
            <a:chExt cx="215710" cy="218225"/>
          </a:xfrm>
        </p:grpSpPr>
        <p:sp>
          <p:nvSpPr>
            <p:cNvPr id="106" name="Ellipse 105">
              <a:extLst>
                <a:ext uri="{FF2B5EF4-FFF2-40B4-BE49-F238E27FC236}">
                  <a16:creationId xmlns:a16="http://schemas.microsoft.com/office/drawing/2014/main" id="{59CE9247-69AF-4256-9661-2547B3923C7A}"/>
                </a:ext>
              </a:extLst>
            </p:cNvPr>
            <p:cNvSpPr/>
            <p:nvPr/>
          </p:nvSpPr>
          <p:spPr bwMode="auto">
            <a:xfrm>
              <a:off x="10066861" y="2526769"/>
              <a:ext cx="190589" cy="188702"/>
            </a:xfrm>
            <a:prstGeom prst="ellipse">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20" name="Graphique 19">
              <a:extLst>
                <a:ext uri="{FF2B5EF4-FFF2-40B4-BE49-F238E27FC236}">
                  <a16:creationId xmlns:a16="http://schemas.microsoft.com/office/drawing/2014/main" id="{3C57ED66-B77A-48F8-B2BC-E09ADF74343B}"/>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b="19067"/>
            <a:stretch/>
          </p:blipFill>
          <p:spPr>
            <a:xfrm>
              <a:off x="10054299" y="2512979"/>
              <a:ext cx="215710" cy="218225"/>
            </a:xfrm>
            <a:prstGeom prst="rect">
              <a:avLst/>
            </a:prstGeom>
          </p:spPr>
        </p:pic>
      </p:grpSp>
      <p:sp>
        <p:nvSpPr>
          <p:cNvPr id="109" name="Ellipse 108">
            <a:extLst>
              <a:ext uri="{FF2B5EF4-FFF2-40B4-BE49-F238E27FC236}">
                <a16:creationId xmlns:a16="http://schemas.microsoft.com/office/drawing/2014/main" id="{425ADA15-2169-4F9A-8283-3FAD7C6DF0F8}"/>
              </a:ext>
            </a:extLst>
          </p:cNvPr>
          <p:cNvSpPr/>
          <p:nvPr/>
        </p:nvSpPr>
        <p:spPr bwMode="auto">
          <a:xfrm>
            <a:off x="727020" y="3777218"/>
            <a:ext cx="184985" cy="183152"/>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26" name="Graphique 25">
            <a:extLst>
              <a:ext uri="{FF2B5EF4-FFF2-40B4-BE49-F238E27FC236}">
                <a16:creationId xmlns:a16="http://schemas.microsoft.com/office/drawing/2014/main" id="{475C541F-0923-4C27-8A16-6BCCFC52E165}"/>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b="20047"/>
          <a:stretch/>
        </p:blipFill>
        <p:spPr>
          <a:xfrm>
            <a:off x="715431" y="3764650"/>
            <a:ext cx="208162" cy="208037"/>
          </a:xfrm>
          <a:prstGeom prst="rect">
            <a:avLst/>
          </a:prstGeom>
        </p:spPr>
      </p:pic>
      <p:graphicFrame>
        <p:nvGraphicFramePr>
          <p:cNvPr id="96" name="Graphique 95">
            <a:extLst>
              <a:ext uri="{FF2B5EF4-FFF2-40B4-BE49-F238E27FC236}">
                <a16:creationId xmlns:a16="http://schemas.microsoft.com/office/drawing/2014/main" id="{CA904837-B0C0-4169-8D3E-A6AE0BAA02FC}"/>
              </a:ext>
            </a:extLst>
          </p:cNvPr>
          <p:cNvGraphicFramePr/>
          <p:nvPr/>
        </p:nvGraphicFramePr>
        <p:xfrm>
          <a:off x="6420765" y="2662266"/>
          <a:ext cx="2980477" cy="2394254"/>
        </p:xfrm>
        <a:graphic>
          <a:graphicData uri="http://schemas.openxmlformats.org/drawingml/2006/chart">
            <c:chart xmlns:c="http://schemas.openxmlformats.org/drawingml/2006/chart" xmlns:r="http://schemas.openxmlformats.org/officeDocument/2006/relationships" r:id="rId17"/>
          </a:graphicData>
        </a:graphic>
      </p:graphicFrame>
      <p:sp>
        <p:nvSpPr>
          <p:cNvPr id="105" name="Ellipse 104">
            <a:extLst>
              <a:ext uri="{FF2B5EF4-FFF2-40B4-BE49-F238E27FC236}">
                <a16:creationId xmlns:a16="http://schemas.microsoft.com/office/drawing/2014/main" id="{D556BB4A-A2C1-404E-9F9B-331E2B5BFF88}"/>
              </a:ext>
            </a:extLst>
          </p:cNvPr>
          <p:cNvSpPr>
            <a:spLocks noChangeAspect="1"/>
          </p:cNvSpPr>
          <p:nvPr/>
        </p:nvSpPr>
        <p:spPr bwMode="auto">
          <a:xfrm>
            <a:off x="423869" y="5616628"/>
            <a:ext cx="436224" cy="408225"/>
          </a:xfrm>
          <a:prstGeom prst="ellipse">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7" name="ZoneTexte 106">
            <a:extLst>
              <a:ext uri="{FF2B5EF4-FFF2-40B4-BE49-F238E27FC236}">
                <a16:creationId xmlns:a16="http://schemas.microsoft.com/office/drawing/2014/main" id="{1342B815-7362-4B87-8C6E-A6BAD1D29205}"/>
              </a:ext>
            </a:extLst>
          </p:cNvPr>
          <p:cNvSpPr txBox="1"/>
          <p:nvPr/>
        </p:nvSpPr>
        <p:spPr>
          <a:xfrm>
            <a:off x="387093" y="5666851"/>
            <a:ext cx="902235" cy="307777"/>
          </a:xfrm>
          <a:prstGeom prst="rect">
            <a:avLst/>
          </a:prstGeom>
          <a:noFill/>
        </p:spPr>
        <p:txBody>
          <a:bodyPr wrap="square" rtlCol="0">
            <a:spAutoFit/>
          </a:bodyPr>
          <a:lstStyle/>
          <a:p>
            <a:r>
              <a:rPr lang="en-GB" b="1">
                <a:solidFill>
                  <a:schemeClr val="tx2"/>
                </a:solidFill>
                <a:latin typeface="Trebuchet MS" panose="020B0603020202020204" pitchFamily="34" charset="0"/>
              </a:rPr>
              <a:t>69%</a:t>
            </a:r>
          </a:p>
        </p:txBody>
      </p:sp>
      <p:sp>
        <p:nvSpPr>
          <p:cNvPr id="108" name="ZoneTexte 107">
            <a:extLst>
              <a:ext uri="{FF2B5EF4-FFF2-40B4-BE49-F238E27FC236}">
                <a16:creationId xmlns:a16="http://schemas.microsoft.com/office/drawing/2014/main" id="{9F637803-E08C-4C60-BBFA-8AAC7A0ED0EA}"/>
              </a:ext>
            </a:extLst>
          </p:cNvPr>
          <p:cNvSpPr txBox="1"/>
          <p:nvPr/>
        </p:nvSpPr>
        <p:spPr>
          <a:xfrm>
            <a:off x="940691" y="5456982"/>
            <a:ext cx="3813707" cy="861774"/>
          </a:xfrm>
          <a:prstGeom prst="rect">
            <a:avLst/>
          </a:prstGeom>
          <a:noFill/>
        </p:spPr>
        <p:txBody>
          <a:bodyPr wrap="square" rtlCol="0">
            <a:spAutoFit/>
          </a:bodyPr>
          <a:lstStyle/>
          <a:p>
            <a:r>
              <a:rPr lang="en-GB" sz="1000">
                <a:latin typeface="Trebuchet MS" panose="020B0603020202020204" pitchFamily="34" charset="0"/>
              </a:rPr>
              <a:t>Percentage of financial institutions that describe the </a:t>
            </a:r>
            <a:r>
              <a:rPr lang="en-GB" sz="1000">
                <a:solidFill>
                  <a:schemeClr val="tx2"/>
                </a:solidFill>
                <a:latin typeface="Trebuchet MS" panose="020B0603020202020204" pitchFamily="34" charset="0"/>
              </a:rPr>
              <a:t>collect of accurate ownership and UBO information as “extremely challenging”</a:t>
            </a:r>
            <a:r>
              <a:rPr lang="en-GB" sz="1000">
                <a:latin typeface="Trebuchet MS" panose="020B0603020202020204" pitchFamily="34" charset="0"/>
              </a:rPr>
              <a:t> (27%) or “very challenging” (42%), first aspect before “</a:t>
            </a:r>
            <a:r>
              <a:rPr lang="en-GB" sz="1000">
                <a:solidFill>
                  <a:schemeClr val="tx2"/>
                </a:solidFill>
                <a:latin typeface="Trebuchet MS" panose="020B0603020202020204" pitchFamily="34" charset="0"/>
              </a:rPr>
              <a:t>Updating KYC information</a:t>
            </a:r>
            <a:r>
              <a:rPr lang="en-GB" sz="1000">
                <a:latin typeface="Trebuchet MS" panose="020B0603020202020204" pitchFamily="34" charset="0"/>
              </a:rPr>
              <a:t>” and “</a:t>
            </a:r>
            <a:r>
              <a:rPr lang="en-GB" sz="1000">
                <a:solidFill>
                  <a:schemeClr val="tx2"/>
                </a:solidFill>
                <a:latin typeface="Trebuchet MS" panose="020B0603020202020204" pitchFamily="34" charset="0"/>
              </a:rPr>
              <a:t>Collecting accurate PEP and Sanctions data</a:t>
            </a:r>
            <a:r>
              <a:rPr lang="en-GB" sz="1000">
                <a:latin typeface="Trebuchet MS" panose="020B0603020202020204" pitchFamily="34" charset="0"/>
              </a:rPr>
              <a:t>”</a:t>
            </a:r>
          </a:p>
        </p:txBody>
      </p:sp>
      <p:cxnSp>
        <p:nvCxnSpPr>
          <p:cNvPr id="22" name="Connecteur droit avec flèche 21">
            <a:extLst>
              <a:ext uri="{FF2B5EF4-FFF2-40B4-BE49-F238E27FC236}">
                <a16:creationId xmlns:a16="http://schemas.microsoft.com/office/drawing/2014/main" id="{A0862585-9568-4DF3-B713-C653B4C67B2D}"/>
              </a:ext>
            </a:extLst>
          </p:cNvPr>
          <p:cNvCxnSpPr>
            <a:cxnSpLocks/>
          </p:cNvCxnSpPr>
          <p:nvPr/>
        </p:nvCxnSpPr>
        <p:spPr bwMode="auto">
          <a:xfrm flipH="1">
            <a:off x="419745" y="2137952"/>
            <a:ext cx="863" cy="1906003"/>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10" name="ZoneTexte 109">
            <a:extLst>
              <a:ext uri="{FF2B5EF4-FFF2-40B4-BE49-F238E27FC236}">
                <a16:creationId xmlns:a16="http://schemas.microsoft.com/office/drawing/2014/main" id="{9608DF1A-8CF0-4543-A92D-179A9C7E48F1}"/>
              </a:ext>
            </a:extLst>
          </p:cNvPr>
          <p:cNvSpPr txBox="1"/>
          <p:nvPr/>
        </p:nvSpPr>
        <p:spPr>
          <a:xfrm rot="16200000">
            <a:off x="-592203" y="2989331"/>
            <a:ext cx="1682210" cy="246221"/>
          </a:xfrm>
          <a:prstGeom prst="rect">
            <a:avLst/>
          </a:prstGeom>
          <a:noFill/>
        </p:spPr>
        <p:txBody>
          <a:bodyPr wrap="square" rtlCol="0">
            <a:spAutoFit/>
          </a:bodyPr>
          <a:lstStyle/>
          <a:p>
            <a:pPr algn="ctr"/>
            <a:r>
              <a:rPr lang="en-GB" sz="1000">
                <a:latin typeface="Trebuchet MS" panose="020B0603020202020204" pitchFamily="34" charset="0"/>
              </a:rPr>
              <a:t>Complexity of the process</a:t>
            </a:r>
          </a:p>
        </p:txBody>
      </p:sp>
      <p:sp>
        <p:nvSpPr>
          <p:cNvPr id="113" name="ZoneTexte 112">
            <a:extLst>
              <a:ext uri="{FF2B5EF4-FFF2-40B4-BE49-F238E27FC236}">
                <a16:creationId xmlns:a16="http://schemas.microsoft.com/office/drawing/2014/main" id="{42A3D6FE-02E6-4742-A849-9FAD883277F2}"/>
              </a:ext>
            </a:extLst>
          </p:cNvPr>
          <p:cNvSpPr txBox="1"/>
          <p:nvPr/>
        </p:nvSpPr>
        <p:spPr>
          <a:xfrm>
            <a:off x="147925" y="3849962"/>
            <a:ext cx="299306" cy="256480"/>
          </a:xfrm>
          <a:prstGeom prst="rect">
            <a:avLst/>
          </a:prstGeom>
          <a:noFill/>
        </p:spPr>
        <p:txBody>
          <a:bodyPr wrap="square" rtlCol="0" anchor="ctr">
            <a:spAutoFit/>
          </a:bodyPr>
          <a:lstStyle/>
          <a:p>
            <a:pPr algn="ctr"/>
            <a:r>
              <a:rPr lang="en-GB" sz="1600" baseline="-25000">
                <a:latin typeface="Trebuchet MS" panose="020B0603020202020204" pitchFamily="34" charset="0"/>
              </a:rPr>
              <a:t>+</a:t>
            </a:r>
          </a:p>
        </p:txBody>
      </p:sp>
      <p:sp>
        <p:nvSpPr>
          <p:cNvPr id="126" name="ZoneTexte 125">
            <a:extLst>
              <a:ext uri="{FF2B5EF4-FFF2-40B4-BE49-F238E27FC236}">
                <a16:creationId xmlns:a16="http://schemas.microsoft.com/office/drawing/2014/main" id="{D33B99F4-A84D-4CC9-8F38-F90B45EF2C65}"/>
              </a:ext>
            </a:extLst>
          </p:cNvPr>
          <p:cNvSpPr txBox="1"/>
          <p:nvPr/>
        </p:nvSpPr>
        <p:spPr>
          <a:xfrm>
            <a:off x="147925" y="2058470"/>
            <a:ext cx="299306" cy="256480"/>
          </a:xfrm>
          <a:prstGeom prst="rect">
            <a:avLst/>
          </a:prstGeom>
          <a:noFill/>
        </p:spPr>
        <p:txBody>
          <a:bodyPr wrap="square" rtlCol="0" anchor="ctr">
            <a:spAutoFit/>
          </a:bodyPr>
          <a:lstStyle/>
          <a:p>
            <a:pPr algn="ctr"/>
            <a:r>
              <a:rPr lang="en-GB" sz="1600" baseline="-25000">
                <a:latin typeface="Trebuchet MS" panose="020B0603020202020204" pitchFamily="34" charset="0"/>
              </a:rPr>
              <a:t>-</a:t>
            </a:r>
          </a:p>
        </p:txBody>
      </p:sp>
      <p:grpSp>
        <p:nvGrpSpPr>
          <p:cNvPr id="95" name="Groupe 94">
            <a:extLst>
              <a:ext uri="{FF2B5EF4-FFF2-40B4-BE49-F238E27FC236}">
                <a16:creationId xmlns:a16="http://schemas.microsoft.com/office/drawing/2014/main" id="{B42C5E06-AD55-4714-AFB8-B927AE3EB2B1}"/>
              </a:ext>
            </a:extLst>
          </p:cNvPr>
          <p:cNvGrpSpPr/>
          <p:nvPr/>
        </p:nvGrpSpPr>
        <p:grpSpPr>
          <a:xfrm>
            <a:off x="8448150" y="-11528"/>
            <a:ext cx="1435548" cy="588143"/>
            <a:chOff x="8448150" y="-11528"/>
            <a:chExt cx="1435548" cy="588143"/>
          </a:xfrm>
        </p:grpSpPr>
        <p:grpSp>
          <p:nvGrpSpPr>
            <p:cNvPr id="115" name="Groupe 114">
              <a:extLst>
                <a:ext uri="{FF2B5EF4-FFF2-40B4-BE49-F238E27FC236}">
                  <a16:creationId xmlns:a16="http://schemas.microsoft.com/office/drawing/2014/main" id="{E4191E73-61A6-432F-ABD5-5F10BBE11992}"/>
                </a:ext>
              </a:extLst>
            </p:cNvPr>
            <p:cNvGrpSpPr/>
            <p:nvPr/>
          </p:nvGrpSpPr>
          <p:grpSpPr>
            <a:xfrm>
              <a:off x="8448150" y="-11528"/>
              <a:ext cx="1435548" cy="555653"/>
              <a:chOff x="8448150" y="-11528"/>
              <a:chExt cx="1435548" cy="555653"/>
            </a:xfrm>
          </p:grpSpPr>
          <p:sp>
            <p:nvSpPr>
              <p:cNvPr id="127" name="Rectangle : coins arrondis 199">
                <a:extLst>
                  <a:ext uri="{FF2B5EF4-FFF2-40B4-BE49-F238E27FC236}">
                    <a16:creationId xmlns:a16="http://schemas.microsoft.com/office/drawing/2014/main" id="{505764C8-D764-45E3-9061-88462717BCBF}"/>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8" name="Rectangle : coins arrondis 200">
                <a:extLst>
                  <a:ext uri="{FF2B5EF4-FFF2-40B4-BE49-F238E27FC236}">
                    <a16:creationId xmlns:a16="http://schemas.microsoft.com/office/drawing/2014/main" id="{40636C22-6AFC-47DB-A1BF-0AB0B3D1BFE8}"/>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9" name="Rectangle : coins arrondis 201">
                <a:extLst>
                  <a:ext uri="{FF2B5EF4-FFF2-40B4-BE49-F238E27FC236}">
                    <a16:creationId xmlns:a16="http://schemas.microsoft.com/office/drawing/2014/main" id="{4534F817-1E09-49F1-8798-0CA95915F31E}"/>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0" name="ZoneTexte 18">
                <a:extLst>
                  <a:ext uri="{FF2B5EF4-FFF2-40B4-BE49-F238E27FC236}">
                    <a16:creationId xmlns:a16="http://schemas.microsoft.com/office/drawing/2014/main" id="{7A9AE601-7433-4671-9F7F-51431CE55736}"/>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31" name="Graphique 128" descr="Jauge">
                <a:extLst>
                  <a:ext uri="{FF2B5EF4-FFF2-40B4-BE49-F238E27FC236}">
                    <a16:creationId xmlns:a16="http://schemas.microsoft.com/office/drawing/2014/main" id="{28584A82-F8D8-4630-BBB1-E95247B7CB66}"/>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553764" y="187516"/>
                <a:ext cx="234953" cy="218224"/>
              </a:xfrm>
              <a:prstGeom prst="rect">
                <a:avLst/>
              </a:prstGeom>
              <a:effectLst/>
            </p:spPr>
          </p:pic>
          <p:pic>
            <p:nvPicPr>
              <p:cNvPr id="132" name="Graphique 90" descr="Poignée de main">
                <a:extLst>
                  <a:ext uri="{FF2B5EF4-FFF2-40B4-BE49-F238E27FC236}">
                    <a16:creationId xmlns:a16="http://schemas.microsoft.com/office/drawing/2014/main" id="{587B22F4-2E90-4297-9D6A-EB6A1F61410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960868" y="152880"/>
                <a:ext cx="256313" cy="287496"/>
              </a:xfrm>
              <a:prstGeom prst="rect">
                <a:avLst/>
              </a:prstGeom>
              <a:effectLst/>
            </p:spPr>
          </p:pic>
          <p:pic>
            <p:nvPicPr>
              <p:cNvPr id="133" name="Graphique 74" descr="Mégaphone">
                <a:extLst>
                  <a:ext uri="{FF2B5EF4-FFF2-40B4-BE49-F238E27FC236}">
                    <a16:creationId xmlns:a16="http://schemas.microsoft.com/office/drawing/2014/main" id="{6A995C22-4C82-48AE-918C-9CEAD01F7123}"/>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389331" y="181519"/>
                <a:ext cx="233011" cy="216420"/>
              </a:xfrm>
              <a:prstGeom prst="rect">
                <a:avLst/>
              </a:prstGeom>
              <a:effectLst/>
            </p:spPr>
          </p:pic>
          <p:pic>
            <p:nvPicPr>
              <p:cNvPr id="134" name="Picture 2" descr="Drapeau France">
                <a:extLst>
                  <a:ext uri="{FF2B5EF4-FFF2-40B4-BE49-F238E27FC236}">
                    <a16:creationId xmlns:a16="http://schemas.microsoft.com/office/drawing/2014/main" id="{F22CA553-3D0C-46F7-B8CD-751255B14083}"/>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35" name="Picture 2" descr="5 ft x 3 ft 150 x 90 cm-DRAPEAU BELGE Belgique 100% Polyester ...">
                <a:extLst>
                  <a:ext uri="{FF2B5EF4-FFF2-40B4-BE49-F238E27FC236}">
                    <a16:creationId xmlns:a16="http://schemas.microsoft.com/office/drawing/2014/main" id="{3B7073C9-F0AB-437E-A3E7-D620A2DC6809}"/>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36" name="Picture 2 - 1" descr="Drapeau des Pays-Bas — Wikipédia">
                <a:extLst>
                  <a:ext uri="{FF2B5EF4-FFF2-40B4-BE49-F238E27FC236}">
                    <a16:creationId xmlns:a16="http://schemas.microsoft.com/office/drawing/2014/main" id="{F5F99CCD-4811-4122-87F9-6D01EF9BBCB7}"/>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37" name="Picture 2 - 2" descr="Drapeau du Luxembourg">
                <a:extLst>
                  <a:ext uri="{FF2B5EF4-FFF2-40B4-BE49-F238E27FC236}">
                    <a16:creationId xmlns:a16="http://schemas.microsoft.com/office/drawing/2014/main" id="{327C480D-E969-4DFC-84D0-106BFAD99B96}"/>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125" name="ZoneTexte 18">
              <a:extLst>
                <a:ext uri="{FF2B5EF4-FFF2-40B4-BE49-F238E27FC236}">
                  <a16:creationId xmlns:a16="http://schemas.microsoft.com/office/drawing/2014/main" id="{D59EFAD0-0342-4B9E-82AE-5E8B0233566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spTree>
    <p:extLst>
      <p:ext uri="{BB962C8B-B14F-4D97-AF65-F5344CB8AC3E}">
        <p14:creationId xmlns:p14="http://schemas.microsoft.com/office/powerpoint/2010/main" val="56233329"/>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t 26" hidden="1">
            <a:extLst>
              <a:ext uri="{FF2B5EF4-FFF2-40B4-BE49-F238E27FC236}">
                <a16:creationId xmlns:a16="http://schemas.microsoft.com/office/drawing/2014/main" id="{A06A6130-E7F5-4859-8664-FC7B65C6AC54}"/>
              </a:ext>
            </a:extLst>
          </p:cNvPr>
          <p:cNvGraphicFramePr>
            <a:graphicFrameLocks noChangeAspect="1"/>
          </p:cNvGraphicFramePr>
          <p:nvPr>
            <p:custDataLst>
              <p:tags r:id="rId1"/>
            </p:custDataLst>
            <p:extLst>
              <p:ext uri="{D42A27DB-BD31-4B8C-83A1-F6EECF244321}">
                <p14:modId xmlns:p14="http://schemas.microsoft.com/office/powerpoint/2010/main" val="3244876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27" name="Objet 26" hidden="1">
                        <a:extLst>
                          <a:ext uri="{FF2B5EF4-FFF2-40B4-BE49-F238E27FC236}">
                            <a16:creationId xmlns:a16="http://schemas.microsoft.com/office/drawing/2014/main" id="{A06A6130-E7F5-4859-8664-FC7B65C6AC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EEACA642-3543-4E9F-9143-E2AE5F782C8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cxnSp>
        <p:nvCxnSpPr>
          <p:cNvPr id="31" name="Connecteur droit 30">
            <a:extLst>
              <a:ext uri="{FF2B5EF4-FFF2-40B4-BE49-F238E27FC236}">
                <a16:creationId xmlns:a16="http://schemas.microsoft.com/office/drawing/2014/main" id="{7215B479-7A1B-4B68-97AF-B2A76D3F0ED7}"/>
              </a:ext>
            </a:extLst>
          </p:cNvPr>
          <p:cNvCxnSpPr>
            <a:cxnSpLocks/>
          </p:cNvCxnSpPr>
          <p:nvPr/>
        </p:nvCxnSpPr>
        <p:spPr bwMode="auto">
          <a:xfrm>
            <a:off x="273000" y="1079433"/>
            <a:ext cx="9360000"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4" name="Titre 3">
            <a:extLst>
              <a:ext uri="{FF2B5EF4-FFF2-40B4-BE49-F238E27FC236}">
                <a16:creationId xmlns:a16="http://schemas.microsoft.com/office/drawing/2014/main" id="{58EE8423-27F7-4C4F-A4E7-D6A43D2CE58A}"/>
              </a:ext>
            </a:extLst>
          </p:cNvPr>
          <p:cNvSpPr>
            <a:spLocks noGrp="1"/>
          </p:cNvSpPr>
          <p:nvPr>
            <p:ph type="title"/>
          </p:nvPr>
        </p:nvSpPr>
        <p:spPr>
          <a:xfrm>
            <a:off x="165600" y="147600"/>
            <a:ext cx="8585475" cy="684000"/>
          </a:xfrm>
        </p:spPr>
        <p:txBody>
          <a:bodyPr/>
          <a:lstStyle/>
          <a:p>
            <a:r>
              <a:rPr lang="en-GB" err="1">
                <a:solidFill>
                  <a:schemeClr val="tx2"/>
                </a:solidFill>
                <a:latin typeface="Trebuchet MS" panose="020B0603020202020204" pitchFamily="34" charset="0"/>
              </a:rPr>
              <a:t>Altares</a:t>
            </a:r>
            <a:r>
              <a:rPr lang="en-GB">
                <a:solidFill>
                  <a:schemeClr val="tx2"/>
                </a:solidFill>
                <a:latin typeface="Trebuchet MS" panose="020B0603020202020204" pitchFamily="34" charset="0"/>
              </a:rPr>
              <a:t> Group</a:t>
            </a:r>
            <a:r>
              <a:rPr lang="en-GB">
                <a:latin typeface="Trebuchet MS" panose="020B0603020202020204" pitchFamily="34" charset="0"/>
              </a:rPr>
              <a:t>, a leading player of the </a:t>
            </a:r>
            <a:r>
              <a:rPr lang="en-GB">
                <a:solidFill>
                  <a:schemeClr val="tx2"/>
                </a:solidFill>
                <a:latin typeface="Trebuchet MS" panose="020B0603020202020204" pitchFamily="34" charset="0"/>
              </a:rPr>
              <a:t>Business Data &amp; Analytics market</a:t>
            </a:r>
            <a:r>
              <a:rPr lang="en-GB">
                <a:latin typeface="Trebuchet MS" panose="020B0603020202020204" pitchFamily="34" charset="0"/>
              </a:rPr>
              <a:t>, delivers high value information to </a:t>
            </a:r>
            <a:r>
              <a:rPr lang="en-GB">
                <a:solidFill>
                  <a:schemeClr val="tx2"/>
                </a:solidFill>
                <a:latin typeface="Trebuchet MS" panose="020B0603020202020204" pitchFamily="34" charset="0"/>
              </a:rPr>
              <a:t>B2B clients </a:t>
            </a:r>
            <a:r>
              <a:rPr lang="en-GB">
                <a:latin typeface="Trebuchet MS" panose="020B0603020202020204" pitchFamily="34" charset="0"/>
              </a:rPr>
              <a:t>related to their potential risks and opportunities in </a:t>
            </a:r>
            <a:r>
              <a:rPr lang="en-GB">
                <a:solidFill>
                  <a:schemeClr val="tx2"/>
                </a:solidFill>
                <a:latin typeface="Trebuchet MS" panose="020B0603020202020204" pitchFamily="34" charset="0"/>
              </a:rPr>
              <a:t>three market verticals </a:t>
            </a:r>
            <a:r>
              <a:rPr lang="en-GB">
                <a:latin typeface="Trebuchet MS" panose="020B0603020202020204" pitchFamily="34" charset="0"/>
              </a:rPr>
              <a:t>(i.e. Credit &amp; financial risk, Compliance, B2B marketing)</a:t>
            </a:r>
          </a:p>
        </p:txBody>
      </p:sp>
      <p:sp>
        <p:nvSpPr>
          <p:cNvPr id="5" name="Espace réservé du texte 4">
            <a:extLst>
              <a:ext uri="{FF2B5EF4-FFF2-40B4-BE49-F238E27FC236}">
                <a16:creationId xmlns:a16="http://schemas.microsoft.com/office/drawing/2014/main" id="{E94AA131-FA5F-4874-B3F5-D569D0AF09AB}"/>
              </a:ext>
            </a:extLst>
          </p:cNvPr>
          <p:cNvSpPr>
            <a:spLocks noGrp="1"/>
          </p:cNvSpPr>
          <p:nvPr>
            <p:ph type="body" sz="quarter" idx="10"/>
          </p:nvPr>
        </p:nvSpPr>
        <p:spPr/>
        <p:txBody>
          <a:bodyPr/>
          <a:lstStyle/>
          <a:p>
            <a:r>
              <a:rPr lang="en-GB" dirty="0"/>
              <a:t>Sources: eleven research &amp; analysis, company data, interviews with management	1. Excluding revenue from Maghreb and IAA </a:t>
            </a:r>
          </a:p>
          <a:p>
            <a:r>
              <a:rPr lang="en-GB" dirty="0"/>
              <a:t>2. Ultimate Beneficiary Owner, Politically Exposed Persons, Know your customer/supplier, Anti-Money Laundering </a:t>
            </a:r>
          </a:p>
        </p:txBody>
      </p:sp>
      <p:pic>
        <p:nvPicPr>
          <p:cNvPr id="10" name="Graphic 64" descr="Statistics">
            <a:extLst>
              <a:ext uri="{FF2B5EF4-FFF2-40B4-BE49-F238E27FC236}">
                <a16:creationId xmlns:a16="http://schemas.microsoft.com/office/drawing/2014/main" id="{6973250E-6620-472A-946A-08CF648B113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44189" y="3542519"/>
            <a:ext cx="264869" cy="264869"/>
          </a:xfrm>
          <a:prstGeom prst="rect">
            <a:avLst/>
          </a:prstGeom>
        </p:spPr>
      </p:pic>
      <p:pic>
        <p:nvPicPr>
          <p:cNvPr id="34" name="Picture 2" descr="Drapeau France">
            <a:extLst>
              <a:ext uri="{FF2B5EF4-FFF2-40B4-BE49-F238E27FC236}">
                <a16:creationId xmlns:a16="http://schemas.microsoft.com/office/drawing/2014/main" id="{E8E012D9-2E8C-49F5-81F2-19521BE9882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06" b="16757"/>
          <a:stretch/>
        </p:blipFill>
        <p:spPr bwMode="auto">
          <a:xfrm>
            <a:off x="368706" y="3594876"/>
            <a:ext cx="166602" cy="110353"/>
          </a:xfrm>
          <a:prstGeom prst="rect">
            <a:avLst/>
          </a:prstGeom>
          <a:solidFill>
            <a:schemeClr val="bg1"/>
          </a:solidFill>
          <a:ln w="9525" cap="flat" cmpd="sng" algn="ctr">
            <a:noFill/>
            <a:prstDash val="solid"/>
            <a:round/>
            <a:headEnd type="none" w="med" len="med"/>
            <a:tailEnd type="none" w="med" len="med"/>
          </a:ln>
          <a:effectLst/>
        </p:spPr>
      </p:pic>
      <p:pic>
        <p:nvPicPr>
          <p:cNvPr id="36" name="Picture 2" descr="5 ft x 3 ft 150 x 90 cm-DRAPEAU BELGE Belgique 100% Polyester ...">
            <a:extLst>
              <a:ext uri="{FF2B5EF4-FFF2-40B4-BE49-F238E27FC236}">
                <a16:creationId xmlns:a16="http://schemas.microsoft.com/office/drawing/2014/main" id="{CACDB83D-C91D-4B40-AA01-A8DFC9BE067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567184" y="3597539"/>
            <a:ext cx="174240" cy="105027"/>
          </a:xfrm>
          <a:prstGeom prst="rect">
            <a:avLst/>
          </a:prstGeom>
          <a:solidFill>
            <a:schemeClr val="bg1"/>
          </a:solidFill>
          <a:ln w="9525" cap="flat" cmpd="sng" algn="ctr">
            <a:noFill/>
            <a:prstDash val="solid"/>
            <a:round/>
            <a:headEnd type="none" w="med" len="med"/>
            <a:tailEnd type="none" w="med" len="med"/>
          </a:ln>
          <a:effectLst/>
        </p:spPr>
      </p:pic>
      <p:pic>
        <p:nvPicPr>
          <p:cNvPr id="38" name="Picture 2 - 1" descr="Drapeau des Pays-Bas — Wikipédia">
            <a:extLst>
              <a:ext uri="{FF2B5EF4-FFF2-40B4-BE49-F238E27FC236}">
                <a16:creationId xmlns:a16="http://schemas.microsoft.com/office/drawing/2014/main" id="{A0BB8A3A-05CE-4419-8788-379D5B0B61B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3300" y="3597538"/>
            <a:ext cx="174240" cy="105028"/>
          </a:xfrm>
          <a:prstGeom prst="rect">
            <a:avLst/>
          </a:prstGeom>
          <a:solidFill>
            <a:schemeClr val="bg1"/>
          </a:solidFill>
          <a:ln w="9525" cap="flat" cmpd="sng" algn="ctr">
            <a:noFill/>
            <a:prstDash val="solid"/>
            <a:round/>
            <a:headEnd type="none" w="med" len="med"/>
            <a:tailEnd type="none" w="med" len="med"/>
          </a:ln>
          <a:effectLst/>
        </p:spPr>
      </p:pic>
      <p:pic>
        <p:nvPicPr>
          <p:cNvPr id="40" name="Picture 2 - 2" descr="Drapeau du Luxembourg">
            <a:extLst>
              <a:ext uri="{FF2B5EF4-FFF2-40B4-BE49-F238E27FC236}">
                <a16:creationId xmlns:a16="http://schemas.microsoft.com/office/drawing/2014/main" id="{BDE32034-D935-47B0-9C60-8B0459CC824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79417" y="3597781"/>
            <a:ext cx="174240" cy="104543"/>
          </a:xfrm>
          <a:prstGeom prst="rect">
            <a:avLst/>
          </a:prstGeom>
          <a:solidFill>
            <a:schemeClr val="bg1"/>
          </a:solidFill>
          <a:ln w="9525" cap="flat" cmpd="sng" algn="ctr">
            <a:noFill/>
            <a:prstDash val="solid"/>
            <a:round/>
            <a:headEnd type="none" w="med" len="med"/>
            <a:tailEnd type="none" w="med" len="med"/>
          </a:ln>
          <a:effectLst/>
        </p:spPr>
      </p:pic>
      <p:sp>
        <p:nvSpPr>
          <p:cNvPr id="12" name="Rectangle 11">
            <a:extLst>
              <a:ext uri="{FF2B5EF4-FFF2-40B4-BE49-F238E27FC236}">
                <a16:creationId xmlns:a16="http://schemas.microsoft.com/office/drawing/2014/main" id="{171ACDF8-EE1E-47AD-8A9B-342E663FCEDF}"/>
              </a:ext>
            </a:extLst>
          </p:cNvPr>
          <p:cNvSpPr/>
          <p:nvPr/>
        </p:nvSpPr>
        <p:spPr bwMode="auto">
          <a:xfrm>
            <a:off x="453000" y="3830417"/>
            <a:ext cx="90000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Business Data &amp; Analytics help companies make </a:t>
            </a:r>
            <a:r>
              <a:rPr lang="en-GB" sz="1000">
                <a:solidFill>
                  <a:schemeClr val="tx2"/>
                </a:solidFill>
                <a:latin typeface="Trebuchet MS" panose="020B0603020202020204" pitchFamily="34" charset="0"/>
              </a:rPr>
              <a:t>strategic</a:t>
            </a:r>
            <a:r>
              <a:rPr lang="en-GB" sz="1000">
                <a:latin typeface="Trebuchet MS" panose="020B0603020202020204" pitchFamily="34" charset="0"/>
              </a:rPr>
              <a:t> </a:t>
            </a:r>
            <a:r>
              <a:rPr lang="en-GB" sz="1000">
                <a:solidFill>
                  <a:schemeClr val="tx2"/>
                </a:solidFill>
                <a:latin typeface="Trebuchet MS" panose="020B0603020202020204" pitchFamily="34" charset="0"/>
              </a:rPr>
              <a:t>decisions</a:t>
            </a:r>
            <a:r>
              <a:rPr lang="en-GB" sz="1000">
                <a:latin typeface="Trebuchet MS" panose="020B0603020202020204" pitchFamily="34" charset="0"/>
              </a:rPr>
              <a:t> and manage their operations by </a:t>
            </a:r>
            <a:r>
              <a:rPr lang="en-GB" sz="1000">
                <a:solidFill>
                  <a:schemeClr val="tx2"/>
                </a:solidFill>
                <a:latin typeface="Trebuchet MS" panose="020B0603020202020204" pitchFamily="34" charset="0"/>
              </a:rPr>
              <a:t>sourcing</a:t>
            </a:r>
            <a:r>
              <a:rPr lang="en-GB" sz="1000">
                <a:latin typeface="Trebuchet MS" panose="020B0603020202020204" pitchFamily="34" charset="0"/>
              </a:rPr>
              <a:t>, </a:t>
            </a:r>
            <a:r>
              <a:rPr lang="en-GB" sz="1000">
                <a:solidFill>
                  <a:schemeClr val="tx2"/>
                </a:solidFill>
                <a:latin typeface="Trebuchet MS" panose="020B0603020202020204" pitchFamily="34" charset="0"/>
              </a:rPr>
              <a:t>analysing</a:t>
            </a:r>
            <a:r>
              <a:rPr lang="en-GB" sz="1000">
                <a:latin typeface="Trebuchet MS" panose="020B0603020202020204" pitchFamily="34" charset="0"/>
              </a:rPr>
              <a:t> and </a:t>
            </a:r>
            <a:r>
              <a:rPr lang="en-GB" sz="1000">
                <a:solidFill>
                  <a:schemeClr val="tx2"/>
                </a:solidFill>
                <a:latin typeface="Trebuchet MS" panose="020B0603020202020204" pitchFamily="34" charset="0"/>
              </a:rPr>
              <a:t>augmenting</a:t>
            </a:r>
            <a:r>
              <a:rPr lang="en-GB" sz="1000">
                <a:latin typeface="Trebuchet MS" panose="020B0603020202020204" pitchFamily="34" charset="0"/>
              </a:rPr>
              <a:t> both structured and unstructured </a:t>
            </a:r>
            <a:r>
              <a:rPr lang="en-GB" sz="1000">
                <a:solidFill>
                  <a:schemeClr val="tx2"/>
                </a:solidFill>
                <a:latin typeface="Trebuchet MS" panose="020B0603020202020204" pitchFamily="34" charset="0"/>
              </a:rPr>
              <a:t>data </a:t>
            </a:r>
            <a:r>
              <a:rPr lang="en-GB" sz="1000">
                <a:latin typeface="Trebuchet MS" panose="020B0603020202020204" pitchFamily="34" charset="0"/>
              </a:rPr>
              <a:t>regarding the </a:t>
            </a:r>
            <a:r>
              <a:rPr lang="en-GB" sz="1000">
                <a:solidFill>
                  <a:schemeClr val="tx2"/>
                </a:solidFill>
                <a:latin typeface="Trebuchet MS" panose="020B0603020202020204" pitchFamily="34" charset="0"/>
              </a:rPr>
              <a:t>risks and opportunities of third parties </a:t>
            </a:r>
          </a:p>
        </p:txBody>
      </p:sp>
      <p:sp>
        <p:nvSpPr>
          <p:cNvPr id="84" name="ZoneTexte 83">
            <a:extLst>
              <a:ext uri="{FF2B5EF4-FFF2-40B4-BE49-F238E27FC236}">
                <a16:creationId xmlns:a16="http://schemas.microsoft.com/office/drawing/2014/main" id="{A0F78EA6-C9B5-4271-94B2-DA21C95FFA12}"/>
              </a:ext>
            </a:extLst>
          </p:cNvPr>
          <p:cNvSpPr txBox="1"/>
          <p:nvPr/>
        </p:nvSpPr>
        <p:spPr>
          <a:xfrm>
            <a:off x="253668" y="5516348"/>
            <a:ext cx="490165" cy="215444"/>
          </a:xfrm>
          <a:prstGeom prst="rect">
            <a:avLst/>
          </a:prstGeom>
          <a:noFill/>
        </p:spPr>
        <p:txBody>
          <a:bodyPr wrap="square" rtlCol="0">
            <a:spAutoFit/>
          </a:bodyPr>
          <a:lstStyle/>
          <a:p>
            <a:pPr algn="ctr"/>
            <a:r>
              <a:rPr lang="en-GB" sz="800" i="1">
                <a:latin typeface="Trebuchet MS" panose="020B0603020202020204" pitchFamily="34" charset="0"/>
              </a:rPr>
              <a:t>What</a:t>
            </a:r>
          </a:p>
        </p:txBody>
      </p:sp>
      <p:sp>
        <p:nvSpPr>
          <p:cNvPr id="86" name="ZoneTexte 85">
            <a:extLst>
              <a:ext uri="{FF2B5EF4-FFF2-40B4-BE49-F238E27FC236}">
                <a16:creationId xmlns:a16="http://schemas.microsoft.com/office/drawing/2014/main" id="{3E21D219-E26F-4FF1-A988-465FE52EC9DE}"/>
              </a:ext>
            </a:extLst>
          </p:cNvPr>
          <p:cNvSpPr txBox="1"/>
          <p:nvPr/>
        </p:nvSpPr>
        <p:spPr>
          <a:xfrm>
            <a:off x="253668" y="5992561"/>
            <a:ext cx="490165" cy="215444"/>
          </a:xfrm>
          <a:prstGeom prst="rect">
            <a:avLst/>
          </a:prstGeom>
          <a:noFill/>
        </p:spPr>
        <p:txBody>
          <a:bodyPr wrap="square" rtlCol="0">
            <a:spAutoFit/>
          </a:bodyPr>
          <a:lstStyle/>
          <a:p>
            <a:pPr algn="ctr"/>
            <a:r>
              <a:rPr lang="en-GB" sz="800" i="1">
                <a:latin typeface="Trebuchet MS" panose="020B0603020202020204" pitchFamily="34" charset="0"/>
              </a:rPr>
              <a:t>How</a:t>
            </a:r>
          </a:p>
        </p:txBody>
      </p:sp>
      <p:sp>
        <p:nvSpPr>
          <p:cNvPr id="88" name="ZoneTexte 87">
            <a:extLst>
              <a:ext uri="{FF2B5EF4-FFF2-40B4-BE49-F238E27FC236}">
                <a16:creationId xmlns:a16="http://schemas.microsoft.com/office/drawing/2014/main" id="{832F5ABD-8252-4E59-B97F-D06E6BE8E7C0}"/>
              </a:ext>
            </a:extLst>
          </p:cNvPr>
          <p:cNvSpPr txBox="1"/>
          <p:nvPr/>
        </p:nvSpPr>
        <p:spPr>
          <a:xfrm>
            <a:off x="139925" y="4653953"/>
            <a:ext cx="717651" cy="338554"/>
          </a:xfrm>
          <a:prstGeom prst="rect">
            <a:avLst/>
          </a:prstGeom>
          <a:noFill/>
        </p:spPr>
        <p:txBody>
          <a:bodyPr wrap="square" rtlCol="0">
            <a:spAutoFit/>
          </a:bodyPr>
          <a:lstStyle/>
          <a:p>
            <a:pPr algn="ctr"/>
            <a:r>
              <a:rPr lang="en-GB" sz="800" i="1">
                <a:latin typeface="Trebuchet MS" panose="020B0603020202020204" pitchFamily="34" charset="0"/>
              </a:rPr>
              <a:t>Market (CAGR</a:t>
            </a:r>
            <a:r>
              <a:rPr lang="en-GB" sz="800" i="1" baseline="-25000">
                <a:latin typeface="Trebuchet MS" panose="020B0603020202020204" pitchFamily="34" charset="0"/>
              </a:rPr>
              <a:t>21-25</a:t>
            </a:r>
            <a:r>
              <a:rPr lang="en-GB" sz="800" i="1">
                <a:latin typeface="Trebuchet MS" panose="020B0603020202020204" pitchFamily="34" charset="0"/>
              </a:rPr>
              <a:t>)</a:t>
            </a:r>
          </a:p>
        </p:txBody>
      </p:sp>
      <p:sp>
        <p:nvSpPr>
          <p:cNvPr id="98" name="Rectangle 97">
            <a:extLst>
              <a:ext uri="{FF2B5EF4-FFF2-40B4-BE49-F238E27FC236}">
                <a16:creationId xmlns:a16="http://schemas.microsoft.com/office/drawing/2014/main" id="{1EC5E53B-D898-4E00-86D6-4BD6C9874CB4}"/>
              </a:ext>
            </a:extLst>
          </p:cNvPr>
          <p:cNvSpPr/>
          <p:nvPr/>
        </p:nvSpPr>
        <p:spPr bwMode="auto">
          <a:xfrm>
            <a:off x="183000" y="3528837"/>
            <a:ext cx="9540000" cy="2835658"/>
          </a:xfrm>
          <a:prstGeom prst="rect">
            <a:avLst/>
          </a:prstGeom>
          <a:noFill/>
          <a:ln w="12700"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a:solidFill>
                  <a:schemeClr val="accent1">
                    <a:lumMod val="75000"/>
                  </a:schemeClr>
                </a:solidFill>
                <a:latin typeface="Trebuchet MS" panose="020B0603020202020204" pitchFamily="34" charset="0"/>
              </a:rPr>
              <a:t>Business Data &amp; Analytics (BD&amp;A) markets in France and Benelux</a:t>
            </a:r>
          </a:p>
        </p:txBody>
      </p:sp>
      <p:sp>
        <p:nvSpPr>
          <p:cNvPr id="2" name="ZoneTexte 1">
            <a:extLst>
              <a:ext uri="{FF2B5EF4-FFF2-40B4-BE49-F238E27FC236}">
                <a16:creationId xmlns:a16="http://schemas.microsoft.com/office/drawing/2014/main" id="{A70C1519-DBAE-4766-A4DA-9E19EF0E0A94}"/>
              </a:ext>
            </a:extLst>
          </p:cNvPr>
          <p:cNvSpPr txBox="1"/>
          <p:nvPr/>
        </p:nvSpPr>
        <p:spPr>
          <a:xfrm>
            <a:off x="8809845" y="3528836"/>
            <a:ext cx="1073438" cy="246221"/>
          </a:xfrm>
          <a:prstGeom prst="rect">
            <a:avLst/>
          </a:prstGeom>
          <a:noFill/>
        </p:spPr>
        <p:txBody>
          <a:bodyPr wrap="square" rtlCol="0">
            <a:spAutoFit/>
          </a:bodyPr>
          <a:lstStyle/>
          <a:p>
            <a:r>
              <a:rPr lang="en-GB" sz="1000" i="1">
                <a:latin typeface="Trebuchet MS" panose="020B0603020202020204" pitchFamily="34" charset="0"/>
              </a:rPr>
              <a:t>Core markets</a:t>
            </a:r>
          </a:p>
        </p:txBody>
      </p:sp>
      <p:sp>
        <p:nvSpPr>
          <p:cNvPr id="121" name="ZoneTexte 120">
            <a:extLst>
              <a:ext uri="{FF2B5EF4-FFF2-40B4-BE49-F238E27FC236}">
                <a16:creationId xmlns:a16="http://schemas.microsoft.com/office/drawing/2014/main" id="{A2EC2276-48A1-4F77-BFF0-4B98F6787A19}"/>
              </a:ext>
            </a:extLst>
          </p:cNvPr>
          <p:cNvSpPr txBox="1"/>
          <p:nvPr/>
        </p:nvSpPr>
        <p:spPr>
          <a:xfrm>
            <a:off x="139925" y="4965882"/>
            <a:ext cx="717650" cy="461665"/>
          </a:xfrm>
          <a:prstGeom prst="rect">
            <a:avLst/>
          </a:prstGeom>
          <a:noFill/>
        </p:spPr>
        <p:txBody>
          <a:bodyPr wrap="square" rtlCol="0">
            <a:spAutoFit/>
          </a:bodyPr>
          <a:lstStyle/>
          <a:p>
            <a:pPr algn="ctr"/>
            <a:r>
              <a:rPr lang="en-GB" sz="800" i="1" err="1">
                <a:latin typeface="Trebuchet MS" panose="020B0603020202020204" pitchFamily="34" charset="0"/>
              </a:rPr>
              <a:t>Altares</a:t>
            </a:r>
            <a:r>
              <a:rPr lang="en-GB" sz="800" i="1">
                <a:latin typeface="Trebuchet MS" panose="020B0603020202020204" pitchFamily="34" charset="0"/>
              </a:rPr>
              <a:t> 2019 rev.</a:t>
            </a:r>
            <a:r>
              <a:rPr lang="en-GB" sz="800" i="1" baseline="30000">
                <a:latin typeface="Trebuchet MS" panose="020B0603020202020204" pitchFamily="34" charset="0"/>
              </a:rPr>
              <a:t>1</a:t>
            </a:r>
            <a:r>
              <a:rPr lang="en-GB" sz="800" i="1">
                <a:latin typeface="Trebuchet MS" panose="020B0603020202020204" pitchFamily="34" charset="0"/>
              </a:rPr>
              <a:t> (mkt share)</a:t>
            </a:r>
          </a:p>
        </p:txBody>
      </p:sp>
      <p:sp>
        <p:nvSpPr>
          <p:cNvPr id="20" name="Rectangle 19">
            <a:extLst>
              <a:ext uri="{FF2B5EF4-FFF2-40B4-BE49-F238E27FC236}">
                <a16:creationId xmlns:a16="http://schemas.microsoft.com/office/drawing/2014/main" id="{1F3BC778-06F9-4F21-8A91-35A03CD2D5F6}"/>
              </a:ext>
            </a:extLst>
          </p:cNvPr>
          <p:cNvSpPr/>
          <p:nvPr/>
        </p:nvSpPr>
        <p:spPr bwMode="auto">
          <a:xfrm>
            <a:off x="3693000" y="5332034"/>
            <a:ext cx="2520000" cy="50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Information to </a:t>
            </a:r>
            <a:r>
              <a:rPr lang="en-GB" sz="1000">
                <a:solidFill>
                  <a:schemeClr val="tx2"/>
                </a:solidFill>
                <a:latin typeface="Trebuchet MS" panose="020B0603020202020204" pitchFamily="34" charset="0"/>
              </a:rPr>
              <a:t>support</a:t>
            </a:r>
            <a:r>
              <a:rPr lang="en-GB" sz="1000">
                <a:latin typeface="Trebuchet MS" panose="020B0603020202020204" pitchFamily="34" charset="0"/>
              </a:rPr>
              <a:t> </a:t>
            </a:r>
            <a:r>
              <a:rPr lang="en-GB" sz="1000">
                <a:solidFill>
                  <a:schemeClr val="tx2"/>
                </a:solidFill>
                <a:latin typeface="Trebuchet MS" panose="020B0603020202020204" pitchFamily="34" charset="0"/>
              </a:rPr>
              <a:t>compliance</a:t>
            </a:r>
            <a:r>
              <a:rPr lang="en-GB" sz="1000">
                <a:latin typeface="Trebuchet MS" panose="020B0603020202020204" pitchFamily="34" charset="0"/>
              </a:rPr>
              <a:t> with regulatory and legal requirements</a:t>
            </a:r>
          </a:p>
        </p:txBody>
      </p:sp>
      <p:sp>
        <p:nvSpPr>
          <p:cNvPr id="24" name="Rectangle 23">
            <a:extLst>
              <a:ext uri="{FF2B5EF4-FFF2-40B4-BE49-F238E27FC236}">
                <a16:creationId xmlns:a16="http://schemas.microsoft.com/office/drawing/2014/main" id="{A8F63C90-20B3-4106-B780-799761E1DAC5}"/>
              </a:ext>
            </a:extLst>
          </p:cNvPr>
          <p:cNvSpPr/>
          <p:nvPr/>
        </p:nvSpPr>
        <p:spPr bwMode="auto">
          <a:xfrm>
            <a:off x="3693000" y="5938283"/>
            <a:ext cx="2520000" cy="32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Customer and supplier due diligence (UBO, PEP, KYC/S, AML laws…)</a:t>
            </a:r>
            <a:r>
              <a:rPr lang="en-GB" sz="1000" baseline="30000">
                <a:latin typeface="Trebuchet MS" panose="020B0603020202020204" pitchFamily="34" charset="0"/>
              </a:rPr>
              <a:t>²</a:t>
            </a:r>
            <a:endParaRPr lang="en-GB" sz="1000">
              <a:latin typeface="Trebuchet MS" panose="020B0603020202020204" pitchFamily="34" charset="0"/>
            </a:endParaRPr>
          </a:p>
        </p:txBody>
      </p:sp>
      <p:sp>
        <p:nvSpPr>
          <p:cNvPr id="44" name="Rectangle 43">
            <a:extLst>
              <a:ext uri="{FF2B5EF4-FFF2-40B4-BE49-F238E27FC236}">
                <a16:creationId xmlns:a16="http://schemas.microsoft.com/office/drawing/2014/main" id="{2C7BC25D-BCF9-44AD-9C20-CFED101136B1}"/>
              </a:ext>
            </a:extLst>
          </p:cNvPr>
          <p:cNvSpPr/>
          <p:nvPr/>
        </p:nvSpPr>
        <p:spPr bwMode="auto">
          <a:xfrm>
            <a:off x="3693000" y="4461656"/>
            <a:ext cx="2520000" cy="81373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200" b="1">
                <a:solidFill>
                  <a:schemeClr val="tx2"/>
                </a:solidFill>
                <a:latin typeface="Trebuchet MS" pitchFamily="34" charset="0"/>
              </a:rPr>
              <a:t>Compliance services</a:t>
            </a:r>
          </a:p>
          <a:p>
            <a:pPr algn="ctr"/>
            <a:endParaRPr lang="en-GB" sz="1200" b="1">
              <a:solidFill>
                <a:schemeClr val="tx2"/>
              </a:solidFill>
              <a:latin typeface="Trebuchet MS" pitchFamily="34" charset="0"/>
            </a:endParaRPr>
          </a:p>
          <a:p>
            <a:pPr algn="ctr"/>
            <a:endParaRPr lang="en-GB" sz="1200" b="1">
              <a:solidFill>
                <a:schemeClr val="tx2"/>
              </a:solidFill>
              <a:latin typeface="Trebuchet MS" pitchFamily="34" charset="0"/>
            </a:endParaRPr>
          </a:p>
        </p:txBody>
      </p:sp>
      <p:sp>
        <p:nvSpPr>
          <p:cNvPr id="92" name="Isosceles Triangle 57">
            <a:extLst>
              <a:ext uri="{FF2B5EF4-FFF2-40B4-BE49-F238E27FC236}">
                <a16:creationId xmlns:a16="http://schemas.microsoft.com/office/drawing/2014/main" id="{5D296F6B-E756-47F5-BCE1-43077E2F9BAD}"/>
              </a:ext>
            </a:extLst>
          </p:cNvPr>
          <p:cNvSpPr/>
          <p:nvPr/>
        </p:nvSpPr>
        <p:spPr bwMode="auto">
          <a:xfrm rot="10800000">
            <a:off x="4738469" y="5835426"/>
            <a:ext cx="429063" cy="104239"/>
          </a:xfrm>
          <a:prstGeom prst="triangle">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 name="Rectangle 13">
            <a:extLst>
              <a:ext uri="{FF2B5EF4-FFF2-40B4-BE49-F238E27FC236}">
                <a16:creationId xmlns:a16="http://schemas.microsoft.com/office/drawing/2014/main" id="{F4C77B4E-C013-4233-8AF7-3B4290E04932}"/>
              </a:ext>
            </a:extLst>
          </p:cNvPr>
          <p:cNvSpPr/>
          <p:nvPr/>
        </p:nvSpPr>
        <p:spPr bwMode="auto">
          <a:xfrm>
            <a:off x="814780" y="5332034"/>
            <a:ext cx="2520000" cy="50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a:r>
              <a:rPr lang="en-GB" sz="1000">
                <a:latin typeface="Trebuchet MS" panose="020B0603020202020204" pitchFamily="34" charset="0"/>
              </a:rPr>
              <a:t>Information to </a:t>
            </a:r>
            <a:r>
              <a:rPr lang="en-GB" sz="1000">
                <a:solidFill>
                  <a:schemeClr val="tx2"/>
                </a:solidFill>
                <a:latin typeface="Trebuchet MS" panose="020B0603020202020204" pitchFamily="34" charset="0"/>
              </a:rPr>
              <a:t>support</a:t>
            </a:r>
            <a:r>
              <a:rPr lang="en-GB" sz="1000">
                <a:latin typeface="Trebuchet MS" panose="020B0603020202020204" pitchFamily="34" charset="0"/>
              </a:rPr>
              <a:t> </a:t>
            </a:r>
            <a:r>
              <a:rPr lang="en-GB" sz="1000">
                <a:solidFill>
                  <a:schemeClr val="tx2"/>
                </a:solidFill>
                <a:latin typeface="Trebuchet MS" panose="020B0603020202020204" pitchFamily="34" charset="0"/>
              </a:rPr>
              <a:t>credit</a:t>
            </a:r>
            <a:r>
              <a:rPr lang="en-GB" sz="1000">
                <a:latin typeface="Trebuchet MS" panose="020B0603020202020204" pitchFamily="34" charset="0"/>
              </a:rPr>
              <a:t> </a:t>
            </a:r>
            <a:r>
              <a:rPr lang="en-GB" sz="1000">
                <a:solidFill>
                  <a:schemeClr val="tx2"/>
                </a:solidFill>
                <a:latin typeface="Trebuchet MS" panose="020B0603020202020204" pitchFamily="34" charset="0"/>
              </a:rPr>
              <a:t>referencing</a:t>
            </a:r>
            <a:r>
              <a:rPr lang="en-GB" sz="1000">
                <a:latin typeface="Trebuchet MS" panose="020B0603020202020204" pitchFamily="34" charset="0"/>
              </a:rPr>
              <a:t> </a:t>
            </a:r>
            <a:r>
              <a:rPr lang="en-GB" sz="1000">
                <a:solidFill>
                  <a:schemeClr val="tx2"/>
                </a:solidFill>
                <a:latin typeface="Trebuchet MS" panose="020B0603020202020204" pitchFamily="34" charset="0"/>
              </a:rPr>
              <a:t>process</a:t>
            </a:r>
            <a:r>
              <a:rPr lang="en-GB" sz="1000">
                <a:latin typeface="Trebuchet MS" panose="020B0603020202020204" pitchFamily="34" charset="0"/>
              </a:rPr>
              <a:t> and assess creditworthiness of clients and suppliers</a:t>
            </a:r>
          </a:p>
        </p:txBody>
      </p:sp>
      <p:sp>
        <p:nvSpPr>
          <p:cNvPr id="18" name="Rectangle 17">
            <a:extLst>
              <a:ext uri="{FF2B5EF4-FFF2-40B4-BE49-F238E27FC236}">
                <a16:creationId xmlns:a16="http://schemas.microsoft.com/office/drawing/2014/main" id="{BF6E4CDA-5EF5-4B9B-8C24-C3F80E14E3BA}"/>
              </a:ext>
            </a:extLst>
          </p:cNvPr>
          <p:cNvSpPr/>
          <p:nvPr/>
        </p:nvSpPr>
        <p:spPr bwMode="auto">
          <a:xfrm>
            <a:off x="814780" y="5938283"/>
            <a:ext cx="2520000" cy="32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B2B default risk scoring and assessment</a:t>
            </a:r>
          </a:p>
        </p:txBody>
      </p:sp>
      <p:sp>
        <p:nvSpPr>
          <p:cNvPr id="26" name="Rectangle 25">
            <a:extLst>
              <a:ext uri="{FF2B5EF4-FFF2-40B4-BE49-F238E27FC236}">
                <a16:creationId xmlns:a16="http://schemas.microsoft.com/office/drawing/2014/main" id="{9114945C-C4DA-4F8E-9E43-3D256141DE5B}"/>
              </a:ext>
            </a:extLst>
          </p:cNvPr>
          <p:cNvSpPr/>
          <p:nvPr/>
        </p:nvSpPr>
        <p:spPr bwMode="auto">
          <a:xfrm>
            <a:off x="6582353" y="5332034"/>
            <a:ext cx="2520000" cy="50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Information to </a:t>
            </a:r>
            <a:r>
              <a:rPr lang="en-GB" sz="1000">
                <a:solidFill>
                  <a:schemeClr val="tx2"/>
                </a:solidFill>
                <a:latin typeface="Trebuchet MS" panose="020B0603020202020204" pitchFamily="34" charset="0"/>
              </a:rPr>
              <a:t>support</a:t>
            </a:r>
            <a:r>
              <a:rPr lang="en-GB" sz="1000">
                <a:latin typeface="Trebuchet MS" panose="020B0603020202020204" pitchFamily="34" charset="0"/>
              </a:rPr>
              <a:t> </a:t>
            </a:r>
            <a:r>
              <a:rPr lang="en-GB" sz="1000">
                <a:solidFill>
                  <a:schemeClr val="tx2"/>
                </a:solidFill>
                <a:latin typeface="Trebuchet MS" panose="020B0603020202020204" pitchFamily="34" charset="0"/>
              </a:rPr>
              <a:t>B2B</a:t>
            </a:r>
            <a:r>
              <a:rPr lang="en-GB" sz="1000">
                <a:latin typeface="Trebuchet MS" panose="020B0603020202020204" pitchFamily="34" charset="0"/>
              </a:rPr>
              <a:t> </a:t>
            </a:r>
            <a:r>
              <a:rPr lang="en-GB" sz="1000">
                <a:solidFill>
                  <a:schemeClr val="tx2"/>
                </a:solidFill>
                <a:latin typeface="Trebuchet MS" panose="020B0603020202020204" pitchFamily="34" charset="0"/>
              </a:rPr>
              <a:t>sales</a:t>
            </a:r>
            <a:r>
              <a:rPr lang="en-GB" sz="1000">
                <a:latin typeface="Trebuchet MS" panose="020B0603020202020204" pitchFamily="34" charset="0"/>
              </a:rPr>
              <a:t> and </a:t>
            </a:r>
            <a:r>
              <a:rPr lang="en-GB" sz="1000">
                <a:solidFill>
                  <a:schemeClr val="tx2"/>
                </a:solidFill>
                <a:latin typeface="Trebuchet MS" panose="020B0603020202020204" pitchFamily="34" charset="0"/>
              </a:rPr>
              <a:t>marketing</a:t>
            </a:r>
            <a:r>
              <a:rPr lang="en-GB" sz="1000">
                <a:latin typeface="Trebuchet MS" panose="020B0603020202020204" pitchFamily="34" charset="0"/>
              </a:rPr>
              <a:t> activities </a:t>
            </a:r>
          </a:p>
        </p:txBody>
      </p:sp>
      <p:sp>
        <p:nvSpPr>
          <p:cNvPr id="30" name="Rectangle 29">
            <a:extLst>
              <a:ext uri="{FF2B5EF4-FFF2-40B4-BE49-F238E27FC236}">
                <a16:creationId xmlns:a16="http://schemas.microsoft.com/office/drawing/2014/main" id="{FE03F10F-19C5-40C1-8929-DED41CB6B709}"/>
              </a:ext>
            </a:extLst>
          </p:cNvPr>
          <p:cNvSpPr/>
          <p:nvPr/>
        </p:nvSpPr>
        <p:spPr bwMode="auto">
          <a:xfrm>
            <a:off x="6582353" y="5938283"/>
            <a:ext cx="2520000" cy="32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Enrichment of B2B customers/leads and client targeting services</a:t>
            </a:r>
          </a:p>
        </p:txBody>
      </p:sp>
      <p:sp>
        <p:nvSpPr>
          <p:cNvPr id="32" name="Rectangle 31">
            <a:extLst>
              <a:ext uri="{FF2B5EF4-FFF2-40B4-BE49-F238E27FC236}">
                <a16:creationId xmlns:a16="http://schemas.microsoft.com/office/drawing/2014/main" id="{19F804CA-B144-4418-B881-641896D36FED}"/>
              </a:ext>
            </a:extLst>
          </p:cNvPr>
          <p:cNvSpPr/>
          <p:nvPr/>
        </p:nvSpPr>
        <p:spPr bwMode="auto">
          <a:xfrm>
            <a:off x="814780" y="4461656"/>
            <a:ext cx="2520000" cy="81373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200" b="1">
                <a:solidFill>
                  <a:schemeClr val="tx2"/>
                </a:solidFill>
                <a:latin typeface="Trebuchet MS" panose="020B0603020202020204" pitchFamily="34" charset="0"/>
              </a:rPr>
              <a:t>Credit &amp; financial risk</a:t>
            </a:r>
          </a:p>
          <a:p>
            <a:pPr algn="ctr"/>
            <a:endParaRPr lang="en-GB" sz="1200" b="1">
              <a:solidFill>
                <a:schemeClr val="tx2"/>
              </a:solidFill>
              <a:latin typeface="Trebuchet MS" panose="020B0603020202020204" pitchFamily="34" charset="0"/>
            </a:endParaRPr>
          </a:p>
          <a:p>
            <a:pPr algn="ctr"/>
            <a:endParaRPr lang="en-GB" sz="1200" b="1">
              <a:solidFill>
                <a:schemeClr val="tx2"/>
              </a:solidFill>
              <a:latin typeface="Trebuchet MS" panose="020B0603020202020204" pitchFamily="34" charset="0"/>
            </a:endParaRPr>
          </a:p>
        </p:txBody>
      </p:sp>
      <p:pic>
        <p:nvPicPr>
          <p:cNvPr id="42" name="Graphique 128" descr="Jauge">
            <a:extLst>
              <a:ext uri="{FF2B5EF4-FFF2-40B4-BE49-F238E27FC236}">
                <a16:creationId xmlns:a16="http://schemas.microsoft.com/office/drawing/2014/main" id="{251A4B6F-C843-405A-8B4A-49C705F171D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18704" y="4511605"/>
            <a:ext cx="234953" cy="218224"/>
          </a:xfrm>
          <a:prstGeom prst="rect">
            <a:avLst/>
          </a:prstGeom>
          <a:effectLst/>
        </p:spPr>
      </p:pic>
      <p:pic>
        <p:nvPicPr>
          <p:cNvPr id="46" name="Graphique 90" descr="Poignée de main">
            <a:extLst>
              <a:ext uri="{FF2B5EF4-FFF2-40B4-BE49-F238E27FC236}">
                <a16:creationId xmlns:a16="http://schemas.microsoft.com/office/drawing/2014/main" id="{A91589F1-4A4A-46A2-AD29-2CF5E097887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880574" y="4476969"/>
            <a:ext cx="256313" cy="287496"/>
          </a:xfrm>
          <a:prstGeom prst="rect">
            <a:avLst/>
          </a:prstGeom>
          <a:effectLst/>
        </p:spPr>
      </p:pic>
      <p:sp>
        <p:nvSpPr>
          <p:cNvPr id="48" name="Rectangle 47">
            <a:extLst>
              <a:ext uri="{FF2B5EF4-FFF2-40B4-BE49-F238E27FC236}">
                <a16:creationId xmlns:a16="http://schemas.microsoft.com/office/drawing/2014/main" id="{52D7DD6B-2A23-4437-907C-7C220122734B}"/>
              </a:ext>
            </a:extLst>
          </p:cNvPr>
          <p:cNvSpPr/>
          <p:nvPr/>
        </p:nvSpPr>
        <p:spPr bwMode="auto">
          <a:xfrm>
            <a:off x="6582353" y="4472284"/>
            <a:ext cx="2520000" cy="81373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200" b="1">
                <a:solidFill>
                  <a:schemeClr val="tx2"/>
                </a:solidFill>
                <a:latin typeface="Trebuchet MS" pitchFamily="34" charset="0"/>
              </a:rPr>
              <a:t>B2B marketing</a:t>
            </a:r>
          </a:p>
          <a:p>
            <a:pPr algn="ctr"/>
            <a:endParaRPr lang="en-GB" sz="1200" b="1">
              <a:solidFill>
                <a:schemeClr val="tx2"/>
              </a:solidFill>
              <a:latin typeface="Trebuchet MS" pitchFamily="34" charset="0"/>
            </a:endParaRPr>
          </a:p>
          <a:p>
            <a:pPr algn="ctr"/>
            <a:endParaRPr lang="en-GB" sz="1200" b="1">
              <a:solidFill>
                <a:schemeClr val="tx2"/>
              </a:solidFill>
              <a:latin typeface="Trebuchet MS" pitchFamily="34" charset="0"/>
            </a:endParaRPr>
          </a:p>
        </p:txBody>
      </p:sp>
      <p:pic>
        <p:nvPicPr>
          <p:cNvPr id="50" name="Graphique 74" descr="Mégaphone">
            <a:extLst>
              <a:ext uri="{FF2B5EF4-FFF2-40B4-BE49-F238E27FC236}">
                <a16:creationId xmlns:a16="http://schemas.microsoft.com/office/drawing/2014/main" id="{1B2327C4-68E8-4E40-A1EC-B81BBECC173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943018" y="4512507"/>
            <a:ext cx="233011" cy="216420"/>
          </a:xfrm>
          <a:prstGeom prst="rect">
            <a:avLst/>
          </a:prstGeom>
          <a:effectLst/>
        </p:spPr>
      </p:pic>
      <p:sp>
        <p:nvSpPr>
          <p:cNvPr id="52" name="Isosceles Triangle 57">
            <a:extLst>
              <a:ext uri="{FF2B5EF4-FFF2-40B4-BE49-F238E27FC236}">
                <a16:creationId xmlns:a16="http://schemas.microsoft.com/office/drawing/2014/main" id="{CC115F78-F92C-4AE1-AEFE-583913FE4E5D}"/>
              </a:ext>
            </a:extLst>
          </p:cNvPr>
          <p:cNvSpPr/>
          <p:nvPr/>
        </p:nvSpPr>
        <p:spPr bwMode="auto">
          <a:xfrm rot="10800000">
            <a:off x="1049613" y="4280201"/>
            <a:ext cx="1971532" cy="13874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4" name="Isosceles Triangle 59">
            <a:extLst>
              <a:ext uri="{FF2B5EF4-FFF2-40B4-BE49-F238E27FC236}">
                <a16:creationId xmlns:a16="http://schemas.microsoft.com/office/drawing/2014/main" id="{EEF7AC83-0252-46E1-A55E-005BA817019C}"/>
              </a:ext>
            </a:extLst>
          </p:cNvPr>
          <p:cNvSpPr/>
          <p:nvPr/>
        </p:nvSpPr>
        <p:spPr bwMode="auto">
          <a:xfrm rot="10800000">
            <a:off x="3967253" y="4280201"/>
            <a:ext cx="1971532" cy="13874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6" name="Isosceles Triangle 61">
            <a:extLst>
              <a:ext uri="{FF2B5EF4-FFF2-40B4-BE49-F238E27FC236}">
                <a16:creationId xmlns:a16="http://schemas.microsoft.com/office/drawing/2014/main" id="{1C04DF61-8FE2-463F-98D5-ACF9FC1A7453}"/>
              </a:ext>
            </a:extLst>
          </p:cNvPr>
          <p:cNvSpPr/>
          <p:nvPr/>
        </p:nvSpPr>
        <p:spPr bwMode="auto">
          <a:xfrm rot="10800000">
            <a:off x="6817185" y="4280201"/>
            <a:ext cx="1971532" cy="13874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2" name="Rectangle: Rounded Corners 4">
            <a:extLst>
              <a:ext uri="{FF2B5EF4-FFF2-40B4-BE49-F238E27FC236}">
                <a16:creationId xmlns:a16="http://schemas.microsoft.com/office/drawing/2014/main" id="{E4B1E067-2FF4-4E01-9628-9FA628DDA4B8}"/>
              </a:ext>
            </a:extLst>
          </p:cNvPr>
          <p:cNvSpPr/>
          <p:nvPr/>
        </p:nvSpPr>
        <p:spPr bwMode="auto">
          <a:xfrm>
            <a:off x="1240502" y="4713769"/>
            <a:ext cx="1668556" cy="324413"/>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i="1">
                <a:latin typeface="Trebuchet MS" panose="020B0603020202020204" pitchFamily="34" charset="0"/>
              </a:rPr>
              <a:t>~ €341m (~ +0.1%)</a:t>
            </a:r>
            <a:endParaRPr kumimoji="0" lang="en-GB" sz="120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p:txBody>
      </p:sp>
      <p:sp>
        <p:nvSpPr>
          <p:cNvPr id="64" name="Rectangle: Rounded Corners 4">
            <a:extLst>
              <a:ext uri="{FF2B5EF4-FFF2-40B4-BE49-F238E27FC236}">
                <a16:creationId xmlns:a16="http://schemas.microsoft.com/office/drawing/2014/main" id="{D8F2DC72-DA78-434F-BB8B-BD3788AB90C1}"/>
              </a:ext>
            </a:extLst>
          </p:cNvPr>
          <p:cNvSpPr/>
          <p:nvPr/>
        </p:nvSpPr>
        <p:spPr bwMode="auto">
          <a:xfrm>
            <a:off x="4118722" y="4713769"/>
            <a:ext cx="1668556" cy="324413"/>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i="1">
                <a:latin typeface="Trebuchet MS" panose="020B0603020202020204" pitchFamily="34" charset="0"/>
              </a:rPr>
              <a:t>~ €35m (~ +10%)</a:t>
            </a:r>
          </a:p>
        </p:txBody>
      </p:sp>
      <p:sp>
        <p:nvSpPr>
          <p:cNvPr id="66" name="Rectangle: Rounded Corners 4">
            <a:extLst>
              <a:ext uri="{FF2B5EF4-FFF2-40B4-BE49-F238E27FC236}">
                <a16:creationId xmlns:a16="http://schemas.microsoft.com/office/drawing/2014/main" id="{55A1A28B-DE60-4968-B784-CF428432A647}"/>
              </a:ext>
            </a:extLst>
          </p:cNvPr>
          <p:cNvSpPr/>
          <p:nvPr/>
        </p:nvSpPr>
        <p:spPr bwMode="auto">
          <a:xfrm>
            <a:off x="6924647" y="4713769"/>
            <a:ext cx="1835412" cy="324413"/>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i="1">
                <a:latin typeface="Trebuchet MS" panose="020B0603020202020204" pitchFamily="34" charset="0"/>
              </a:rPr>
              <a:t>~ €146m (~ +6%)</a:t>
            </a:r>
          </a:p>
        </p:txBody>
      </p:sp>
      <p:sp>
        <p:nvSpPr>
          <p:cNvPr id="90" name="Isosceles Triangle 57">
            <a:extLst>
              <a:ext uri="{FF2B5EF4-FFF2-40B4-BE49-F238E27FC236}">
                <a16:creationId xmlns:a16="http://schemas.microsoft.com/office/drawing/2014/main" id="{AFAFE15B-B0F1-4074-B164-16D657E1E6C7}"/>
              </a:ext>
            </a:extLst>
          </p:cNvPr>
          <p:cNvSpPr/>
          <p:nvPr/>
        </p:nvSpPr>
        <p:spPr bwMode="auto">
          <a:xfrm rot="10800000">
            <a:off x="1820847" y="5835426"/>
            <a:ext cx="429063" cy="104239"/>
          </a:xfrm>
          <a:prstGeom prst="triangle">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4" name="Isosceles Triangle 57">
            <a:extLst>
              <a:ext uri="{FF2B5EF4-FFF2-40B4-BE49-F238E27FC236}">
                <a16:creationId xmlns:a16="http://schemas.microsoft.com/office/drawing/2014/main" id="{DC4EAED0-8FC5-43BA-9E9C-3E62F0E10000}"/>
              </a:ext>
            </a:extLst>
          </p:cNvPr>
          <p:cNvSpPr/>
          <p:nvPr/>
        </p:nvSpPr>
        <p:spPr bwMode="auto">
          <a:xfrm rot="10800000">
            <a:off x="7627822" y="5835426"/>
            <a:ext cx="429063" cy="104239"/>
          </a:xfrm>
          <a:prstGeom prst="triangle">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2" name="Rectangle: Rounded Corners 4">
            <a:extLst>
              <a:ext uri="{FF2B5EF4-FFF2-40B4-BE49-F238E27FC236}">
                <a16:creationId xmlns:a16="http://schemas.microsoft.com/office/drawing/2014/main" id="{611980C5-B8E8-4A06-A0DD-C1DC437F7452}"/>
              </a:ext>
            </a:extLst>
          </p:cNvPr>
          <p:cNvSpPr/>
          <p:nvPr/>
        </p:nvSpPr>
        <p:spPr bwMode="auto">
          <a:xfrm>
            <a:off x="1447975" y="4991364"/>
            <a:ext cx="1253611" cy="324413"/>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50" i="1">
                <a:latin typeface="Trebuchet MS" panose="020B0603020202020204" pitchFamily="34" charset="0"/>
              </a:rPr>
              <a:t>~ €65m* (19%)</a:t>
            </a:r>
            <a:endParaRPr kumimoji="0" lang="en-GB" sz="1050" i="1" u="none" strike="noStrike" cap="none" normalizeH="0" baseline="0">
              <a:ln>
                <a:noFill/>
              </a:ln>
              <a:effectLst/>
              <a:latin typeface="Trebuchet MS" panose="020B0603020202020204" pitchFamily="34" charset="0"/>
            </a:endParaRPr>
          </a:p>
        </p:txBody>
      </p:sp>
      <p:sp>
        <p:nvSpPr>
          <p:cNvPr id="123" name="Rectangle: Rounded Corners 4">
            <a:extLst>
              <a:ext uri="{FF2B5EF4-FFF2-40B4-BE49-F238E27FC236}">
                <a16:creationId xmlns:a16="http://schemas.microsoft.com/office/drawing/2014/main" id="{3D129C01-246C-4963-A54B-DAA619F4FE7F}"/>
              </a:ext>
            </a:extLst>
          </p:cNvPr>
          <p:cNvSpPr/>
          <p:nvPr/>
        </p:nvSpPr>
        <p:spPr bwMode="auto">
          <a:xfrm>
            <a:off x="4263514" y="4991364"/>
            <a:ext cx="1378972" cy="324413"/>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50" i="1">
                <a:latin typeface="Trebuchet MS" panose="020B0603020202020204" pitchFamily="34" charset="0"/>
              </a:rPr>
              <a:t>~ €10m* (29%)</a:t>
            </a:r>
            <a:endParaRPr kumimoji="0" lang="en-GB" sz="1050" i="1" u="none" strike="noStrike" cap="none" normalizeH="0" baseline="0">
              <a:ln>
                <a:noFill/>
              </a:ln>
              <a:effectLst/>
              <a:latin typeface="Trebuchet MS" panose="020B0603020202020204" pitchFamily="34" charset="0"/>
            </a:endParaRPr>
          </a:p>
        </p:txBody>
      </p:sp>
      <p:sp>
        <p:nvSpPr>
          <p:cNvPr id="124" name="Rectangle: Rounded Corners 4">
            <a:extLst>
              <a:ext uri="{FF2B5EF4-FFF2-40B4-BE49-F238E27FC236}">
                <a16:creationId xmlns:a16="http://schemas.microsoft.com/office/drawing/2014/main" id="{0BFDC203-8C9F-4D05-8B9B-FE62A1DB7B83}"/>
              </a:ext>
            </a:extLst>
          </p:cNvPr>
          <p:cNvSpPr/>
          <p:nvPr/>
        </p:nvSpPr>
        <p:spPr bwMode="auto">
          <a:xfrm>
            <a:off x="7152867" y="4991364"/>
            <a:ext cx="1378972" cy="324413"/>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50" i="1">
                <a:latin typeface="Trebuchet MS" panose="020B0603020202020204" pitchFamily="34" charset="0"/>
              </a:rPr>
              <a:t>~ €21m* (14%)</a:t>
            </a:r>
            <a:endParaRPr kumimoji="0" lang="en-GB" sz="1050" i="1" u="none" strike="noStrike" cap="none" normalizeH="0" baseline="0">
              <a:ln>
                <a:noFill/>
              </a:ln>
              <a:effectLst/>
              <a:latin typeface="Trebuchet MS" panose="020B0603020202020204" pitchFamily="34" charset="0"/>
            </a:endParaRPr>
          </a:p>
        </p:txBody>
      </p:sp>
      <p:sp>
        <p:nvSpPr>
          <p:cNvPr id="102" name="Rectangle 84">
            <a:extLst>
              <a:ext uri="{FF2B5EF4-FFF2-40B4-BE49-F238E27FC236}">
                <a16:creationId xmlns:a16="http://schemas.microsoft.com/office/drawing/2014/main" id="{0D9BF2CF-7F33-4D54-B5BD-47EE5F77E107}"/>
              </a:ext>
            </a:extLst>
          </p:cNvPr>
          <p:cNvSpPr/>
          <p:nvPr/>
        </p:nvSpPr>
        <p:spPr bwMode="auto">
          <a:xfrm>
            <a:off x="3993051" y="942818"/>
            <a:ext cx="1919898"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a:solidFill>
                  <a:schemeClr val="accent1">
                    <a:lumMod val="75000"/>
                  </a:schemeClr>
                </a:solidFill>
                <a:latin typeface="Trebuchet MS" panose="020B0603020202020204" pitchFamily="34" charset="0"/>
              </a:rPr>
              <a:t>Overview of </a:t>
            </a:r>
            <a:r>
              <a:rPr lang="en-GB" sz="1100" err="1">
                <a:solidFill>
                  <a:schemeClr val="accent1">
                    <a:lumMod val="75000"/>
                  </a:schemeClr>
                </a:solidFill>
                <a:latin typeface="Trebuchet MS" panose="020B0603020202020204" pitchFamily="34" charset="0"/>
              </a:rPr>
              <a:t>Altares</a:t>
            </a:r>
            <a:r>
              <a:rPr lang="en-GB" sz="1100">
                <a:solidFill>
                  <a:schemeClr val="accent1">
                    <a:lumMod val="75000"/>
                  </a:schemeClr>
                </a:solidFill>
                <a:latin typeface="Trebuchet MS" panose="020B0603020202020204" pitchFamily="34" charset="0"/>
              </a:rPr>
              <a:t> Group</a:t>
            </a:r>
          </a:p>
        </p:txBody>
      </p:sp>
      <p:sp>
        <p:nvSpPr>
          <p:cNvPr id="37" name="Rectangle 36">
            <a:extLst>
              <a:ext uri="{FF2B5EF4-FFF2-40B4-BE49-F238E27FC236}">
                <a16:creationId xmlns:a16="http://schemas.microsoft.com/office/drawing/2014/main" id="{81754BBD-8999-4089-8EAE-C35F87794C71}"/>
              </a:ext>
            </a:extLst>
          </p:cNvPr>
          <p:cNvSpPr/>
          <p:nvPr/>
        </p:nvSpPr>
        <p:spPr>
          <a:xfrm>
            <a:off x="4767593" y="1243842"/>
            <a:ext cx="2867509" cy="230832"/>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1" i="1">
                <a:latin typeface="Trebuchet MS" panose="020B0603020202020204" pitchFamily="34" charset="0"/>
              </a:rPr>
              <a:t>2019 Revenue and geographical footprint, in €m</a:t>
            </a:r>
            <a:endParaRPr kumimoji="0" lang="en-GB" sz="900" b="1" i="1" u="none" strike="noStrike" kern="1200" cap="none" spc="0" normalizeH="0" baseline="0" noProof="0">
              <a:ln>
                <a:noFill/>
              </a:ln>
              <a:effectLst/>
              <a:uLnTx/>
              <a:uFillTx/>
              <a:latin typeface="Trebuchet MS" panose="020B0603020202020204" pitchFamily="34" charset="0"/>
              <a:ea typeface="+mn-ea"/>
              <a:cs typeface="Arial" pitchFamily="34" charset="0"/>
            </a:endParaRPr>
          </a:p>
        </p:txBody>
      </p:sp>
      <p:grpSp>
        <p:nvGrpSpPr>
          <p:cNvPr id="21" name="Groupe 20">
            <a:extLst>
              <a:ext uri="{FF2B5EF4-FFF2-40B4-BE49-F238E27FC236}">
                <a16:creationId xmlns:a16="http://schemas.microsoft.com/office/drawing/2014/main" id="{DB3BDDBC-BBFE-4CE1-B394-E8E6A97A4C3B}"/>
              </a:ext>
            </a:extLst>
          </p:cNvPr>
          <p:cNvGrpSpPr/>
          <p:nvPr/>
        </p:nvGrpSpPr>
        <p:grpSpPr>
          <a:xfrm>
            <a:off x="6634734" y="2583741"/>
            <a:ext cx="1290143" cy="600164"/>
            <a:chOff x="8755577" y="2441000"/>
            <a:chExt cx="1290143" cy="600164"/>
          </a:xfrm>
        </p:grpSpPr>
        <p:sp>
          <p:nvSpPr>
            <p:cNvPr id="114" name="Forme libre : forme 113">
              <a:extLst>
                <a:ext uri="{FF2B5EF4-FFF2-40B4-BE49-F238E27FC236}">
                  <a16:creationId xmlns:a16="http://schemas.microsoft.com/office/drawing/2014/main" id="{A42F797D-3A6E-487C-A93A-DC4B72B06316}"/>
                </a:ext>
              </a:extLst>
            </p:cNvPr>
            <p:cNvSpPr/>
            <p:nvPr/>
          </p:nvSpPr>
          <p:spPr>
            <a:xfrm>
              <a:off x="8757753" y="2470488"/>
              <a:ext cx="112940" cy="142235"/>
            </a:xfrm>
            <a:custGeom>
              <a:avLst/>
              <a:gdLst>
                <a:gd name="connsiteX0" fmla="*/ 100068 w 200080"/>
                <a:gd name="connsiteY0" fmla="*/ 140109 h 304891"/>
                <a:gd name="connsiteX1" fmla="*/ 59111 w 200080"/>
                <a:gd name="connsiteY1" fmla="*/ 97246 h 304891"/>
                <a:gd name="connsiteX2" fmla="*/ 101021 w 200080"/>
                <a:gd name="connsiteY2" fmla="*/ 55336 h 304891"/>
                <a:gd name="connsiteX3" fmla="*/ 142931 w 200080"/>
                <a:gd name="connsiteY3" fmla="*/ 97246 h 304891"/>
                <a:gd name="connsiteX4" fmla="*/ 130548 w 200080"/>
                <a:gd name="connsiteY4" fmla="*/ 126774 h 304891"/>
                <a:gd name="connsiteX5" fmla="*/ 100068 w 200080"/>
                <a:gd name="connsiteY5" fmla="*/ 140109 h 304891"/>
                <a:gd name="connsiteX6" fmla="*/ 59111 w 200080"/>
                <a:gd name="connsiteY6" fmla="*/ 7711 h 304891"/>
                <a:gd name="connsiteX7" fmla="*/ 11486 w 200080"/>
                <a:gd name="connsiteY7" fmla="*/ 50574 h 304891"/>
                <a:gd name="connsiteX8" fmla="*/ 6723 w 200080"/>
                <a:gd name="connsiteY8" fmla="*/ 132489 h 304891"/>
                <a:gd name="connsiteX9" fmla="*/ 52443 w 200080"/>
                <a:gd name="connsiteY9" fmla="*/ 231549 h 304891"/>
                <a:gd name="connsiteX10" fmla="*/ 82923 w 200080"/>
                <a:gd name="connsiteY10" fmla="*/ 294414 h 304891"/>
                <a:gd name="connsiteX11" fmla="*/ 100068 w 200080"/>
                <a:gd name="connsiteY11" fmla="*/ 304891 h 304891"/>
                <a:gd name="connsiteX12" fmla="*/ 117213 w 200080"/>
                <a:gd name="connsiteY12" fmla="*/ 294414 h 304891"/>
                <a:gd name="connsiteX13" fmla="*/ 147693 w 200080"/>
                <a:gd name="connsiteY13" fmla="*/ 231549 h 304891"/>
                <a:gd name="connsiteX14" fmla="*/ 193413 w 200080"/>
                <a:gd name="connsiteY14" fmla="*/ 133441 h 304891"/>
                <a:gd name="connsiteX15" fmla="*/ 200081 w 200080"/>
                <a:gd name="connsiteY15" fmla="*/ 97246 h 304891"/>
                <a:gd name="connsiteX16" fmla="*/ 59111 w 200080"/>
                <a:gd name="connsiteY16" fmla="*/ 7711 h 30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80" h="304891">
                  <a:moveTo>
                    <a:pt x="100068" y="140109"/>
                  </a:moveTo>
                  <a:cubicBezTo>
                    <a:pt x="77208" y="140109"/>
                    <a:pt x="58158" y="121059"/>
                    <a:pt x="59111" y="97246"/>
                  </a:cubicBezTo>
                  <a:cubicBezTo>
                    <a:pt x="59111" y="74386"/>
                    <a:pt x="78161" y="55336"/>
                    <a:pt x="101021" y="55336"/>
                  </a:cubicBezTo>
                  <a:cubicBezTo>
                    <a:pt x="123881" y="55336"/>
                    <a:pt x="142931" y="74386"/>
                    <a:pt x="142931" y="97246"/>
                  </a:cubicBezTo>
                  <a:cubicBezTo>
                    <a:pt x="142931" y="108676"/>
                    <a:pt x="138168" y="119154"/>
                    <a:pt x="130548" y="126774"/>
                  </a:cubicBezTo>
                  <a:cubicBezTo>
                    <a:pt x="121976" y="135346"/>
                    <a:pt x="111498" y="140109"/>
                    <a:pt x="100068" y="140109"/>
                  </a:cubicBezTo>
                  <a:close/>
                  <a:moveTo>
                    <a:pt x="59111" y="7711"/>
                  </a:moveTo>
                  <a:cubicBezTo>
                    <a:pt x="38156" y="15331"/>
                    <a:pt x="21963" y="31524"/>
                    <a:pt x="11486" y="50574"/>
                  </a:cubicBezTo>
                  <a:cubicBezTo>
                    <a:pt x="-1849" y="76291"/>
                    <a:pt x="-3754" y="105819"/>
                    <a:pt x="6723" y="132489"/>
                  </a:cubicBezTo>
                  <a:lnTo>
                    <a:pt x="52443" y="231549"/>
                  </a:lnTo>
                  <a:lnTo>
                    <a:pt x="82923" y="294414"/>
                  </a:lnTo>
                  <a:cubicBezTo>
                    <a:pt x="85781" y="301081"/>
                    <a:pt x="92448" y="304891"/>
                    <a:pt x="100068" y="304891"/>
                  </a:cubicBezTo>
                  <a:cubicBezTo>
                    <a:pt x="107688" y="304891"/>
                    <a:pt x="114356" y="301081"/>
                    <a:pt x="117213" y="294414"/>
                  </a:cubicBezTo>
                  <a:lnTo>
                    <a:pt x="147693" y="231549"/>
                  </a:lnTo>
                  <a:lnTo>
                    <a:pt x="193413" y="133441"/>
                  </a:lnTo>
                  <a:cubicBezTo>
                    <a:pt x="198176" y="122011"/>
                    <a:pt x="200081" y="109629"/>
                    <a:pt x="200081" y="97246"/>
                  </a:cubicBezTo>
                  <a:cubicBezTo>
                    <a:pt x="200081" y="30571"/>
                    <a:pt x="131501" y="-19911"/>
                    <a:pt x="59111" y="7711"/>
                  </a:cubicBezTo>
                  <a:close/>
                </a:path>
              </a:pathLst>
            </a:custGeom>
            <a:solidFill>
              <a:schemeClr val="tx2"/>
            </a:solidFill>
            <a:ln w="9525" cap="flat">
              <a:solidFill>
                <a:schemeClr val="bg1"/>
              </a:solidFill>
              <a:prstDash val="solid"/>
              <a:miter/>
            </a:ln>
          </p:spPr>
          <p:txBody>
            <a:bodyPr rtlCol="0" anchor="ctr"/>
            <a:lstStyle/>
            <a:p>
              <a:endParaRPr lang="en-GB"/>
            </a:p>
          </p:txBody>
        </p:sp>
        <p:sp>
          <p:nvSpPr>
            <p:cNvPr id="17" name="ZoneTexte 16">
              <a:extLst>
                <a:ext uri="{FF2B5EF4-FFF2-40B4-BE49-F238E27FC236}">
                  <a16:creationId xmlns:a16="http://schemas.microsoft.com/office/drawing/2014/main" id="{A835DE48-DDC4-4554-BBE8-C1F29FCFB14D}"/>
                </a:ext>
              </a:extLst>
            </p:cNvPr>
            <p:cNvSpPr txBox="1"/>
            <p:nvPr/>
          </p:nvSpPr>
          <p:spPr>
            <a:xfrm>
              <a:off x="8802473" y="2441000"/>
              <a:ext cx="1243247" cy="600164"/>
            </a:xfrm>
            <a:prstGeom prst="rect">
              <a:avLst/>
            </a:prstGeom>
            <a:noFill/>
          </p:spPr>
          <p:txBody>
            <a:bodyPr wrap="square" rtlCol="0">
              <a:spAutoFit/>
            </a:bodyPr>
            <a:lstStyle/>
            <a:p>
              <a:pPr>
                <a:spcBef>
                  <a:spcPts val="200"/>
                </a:spcBef>
              </a:pPr>
              <a:r>
                <a:rPr lang="en-GB" sz="700" i="1">
                  <a:latin typeface="+mj-lt"/>
                </a:rPr>
                <a:t>Headquarters (France)</a:t>
              </a:r>
            </a:p>
            <a:p>
              <a:pPr>
                <a:spcBef>
                  <a:spcPts val="200"/>
                </a:spcBef>
              </a:pPr>
              <a:r>
                <a:rPr lang="en-GB" sz="700" i="1">
                  <a:latin typeface="+mj-lt"/>
                </a:rPr>
                <a:t>Benelux entity</a:t>
              </a:r>
            </a:p>
            <a:p>
              <a:pPr>
                <a:spcBef>
                  <a:spcPts val="200"/>
                </a:spcBef>
              </a:pPr>
              <a:r>
                <a:rPr lang="en-GB" sz="700" i="1" err="1">
                  <a:latin typeface="+mj-lt"/>
                </a:rPr>
                <a:t>Manageo</a:t>
              </a:r>
              <a:r>
                <a:rPr lang="en-GB" sz="700" i="1">
                  <a:latin typeface="+mj-lt"/>
                </a:rPr>
                <a:t> entity</a:t>
              </a:r>
            </a:p>
            <a:p>
              <a:pPr>
                <a:spcBef>
                  <a:spcPts val="200"/>
                </a:spcBef>
              </a:pPr>
              <a:r>
                <a:rPr lang="en-GB" sz="700" i="1">
                  <a:latin typeface="+mj-lt"/>
                </a:rPr>
                <a:t>Joint Venture (Maghreb)</a:t>
              </a:r>
            </a:p>
          </p:txBody>
        </p:sp>
        <p:sp>
          <p:nvSpPr>
            <p:cNvPr id="116" name="Forme libre : forme 115">
              <a:extLst>
                <a:ext uri="{FF2B5EF4-FFF2-40B4-BE49-F238E27FC236}">
                  <a16:creationId xmlns:a16="http://schemas.microsoft.com/office/drawing/2014/main" id="{F3F023CD-76CF-4746-BB86-4E5987504A3A}"/>
                </a:ext>
              </a:extLst>
            </p:cNvPr>
            <p:cNvSpPr/>
            <p:nvPr/>
          </p:nvSpPr>
          <p:spPr>
            <a:xfrm>
              <a:off x="8755577" y="2603531"/>
              <a:ext cx="112940" cy="142235"/>
            </a:xfrm>
            <a:custGeom>
              <a:avLst/>
              <a:gdLst>
                <a:gd name="connsiteX0" fmla="*/ 100068 w 200080"/>
                <a:gd name="connsiteY0" fmla="*/ 140109 h 304891"/>
                <a:gd name="connsiteX1" fmla="*/ 59111 w 200080"/>
                <a:gd name="connsiteY1" fmla="*/ 97246 h 304891"/>
                <a:gd name="connsiteX2" fmla="*/ 101021 w 200080"/>
                <a:gd name="connsiteY2" fmla="*/ 55336 h 304891"/>
                <a:gd name="connsiteX3" fmla="*/ 142931 w 200080"/>
                <a:gd name="connsiteY3" fmla="*/ 97246 h 304891"/>
                <a:gd name="connsiteX4" fmla="*/ 130548 w 200080"/>
                <a:gd name="connsiteY4" fmla="*/ 126774 h 304891"/>
                <a:gd name="connsiteX5" fmla="*/ 100068 w 200080"/>
                <a:gd name="connsiteY5" fmla="*/ 140109 h 304891"/>
                <a:gd name="connsiteX6" fmla="*/ 59111 w 200080"/>
                <a:gd name="connsiteY6" fmla="*/ 7711 h 304891"/>
                <a:gd name="connsiteX7" fmla="*/ 11486 w 200080"/>
                <a:gd name="connsiteY7" fmla="*/ 50574 h 304891"/>
                <a:gd name="connsiteX8" fmla="*/ 6723 w 200080"/>
                <a:gd name="connsiteY8" fmla="*/ 132489 h 304891"/>
                <a:gd name="connsiteX9" fmla="*/ 52443 w 200080"/>
                <a:gd name="connsiteY9" fmla="*/ 231549 h 304891"/>
                <a:gd name="connsiteX10" fmla="*/ 82923 w 200080"/>
                <a:gd name="connsiteY10" fmla="*/ 294414 h 304891"/>
                <a:gd name="connsiteX11" fmla="*/ 100068 w 200080"/>
                <a:gd name="connsiteY11" fmla="*/ 304891 h 304891"/>
                <a:gd name="connsiteX12" fmla="*/ 117213 w 200080"/>
                <a:gd name="connsiteY12" fmla="*/ 294414 h 304891"/>
                <a:gd name="connsiteX13" fmla="*/ 147693 w 200080"/>
                <a:gd name="connsiteY13" fmla="*/ 231549 h 304891"/>
                <a:gd name="connsiteX14" fmla="*/ 193413 w 200080"/>
                <a:gd name="connsiteY14" fmla="*/ 133441 h 304891"/>
                <a:gd name="connsiteX15" fmla="*/ 200081 w 200080"/>
                <a:gd name="connsiteY15" fmla="*/ 97246 h 304891"/>
                <a:gd name="connsiteX16" fmla="*/ 59111 w 200080"/>
                <a:gd name="connsiteY16" fmla="*/ 7711 h 30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80" h="304891">
                  <a:moveTo>
                    <a:pt x="100068" y="140109"/>
                  </a:moveTo>
                  <a:cubicBezTo>
                    <a:pt x="77208" y="140109"/>
                    <a:pt x="58158" y="121059"/>
                    <a:pt x="59111" y="97246"/>
                  </a:cubicBezTo>
                  <a:cubicBezTo>
                    <a:pt x="59111" y="74386"/>
                    <a:pt x="78161" y="55336"/>
                    <a:pt x="101021" y="55336"/>
                  </a:cubicBezTo>
                  <a:cubicBezTo>
                    <a:pt x="123881" y="55336"/>
                    <a:pt x="142931" y="74386"/>
                    <a:pt x="142931" y="97246"/>
                  </a:cubicBezTo>
                  <a:cubicBezTo>
                    <a:pt x="142931" y="108676"/>
                    <a:pt x="138168" y="119154"/>
                    <a:pt x="130548" y="126774"/>
                  </a:cubicBezTo>
                  <a:cubicBezTo>
                    <a:pt x="121976" y="135346"/>
                    <a:pt x="111498" y="140109"/>
                    <a:pt x="100068" y="140109"/>
                  </a:cubicBezTo>
                  <a:close/>
                  <a:moveTo>
                    <a:pt x="59111" y="7711"/>
                  </a:moveTo>
                  <a:cubicBezTo>
                    <a:pt x="38156" y="15331"/>
                    <a:pt x="21963" y="31524"/>
                    <a:pt x="11486" y="50574"/>
                  </a:cubicBezTo>
                  <a:cubicBezTo>
                    <a:pt x="-1849" y="76291"/>
                    <a:pt x="-3754" y="105819"/>
                    <a:pt x="6723" y="132489"/>
                  </a:cubicBezTo>
                  <a:lnTo>
                    <a:pt x="52443" y="231549"/>
                  </a:lnTo>
                  <a:lnTo>
                    <a:pt x="82923" y="294414"/>
                  </a:lnTo>
                  <a:cubicBezTo>
                    <a:pt x="85781" y="301081"/>
                    <a:pt x="92448" y="304891"/>
                    <a:pt x="100068" y="304891"/>
                  </a:cubicBezTo>
                  <a:cubicBezTo>
                    <a:pt x="107688" y="304891"/>
                    <a:pt x="114356" y="301081"/>
                    <a:pt x="117213" y="294414"/>
                  </a:cubicBezTo>
                  <a:lnTo>
                    <a:pt x="147693" y="231549"/>
                  </a:lnTo>
                  <a:lnTo>
                    <a:pt x="193413" y="133441"/>
                  </a:lnTo>
                  <a:cubicBezTo>
                    <a:pt x="198176" y="122011"/>
                    <a:pt x="200081" y="109629"/>
                    <a:pt x="200081" y="97246"/>
                  </a:cubicBezTo>
                  <a:cubicBezTo>
                    <a:pt x="200081" y="30571"/>
                    <a:pt x="131501" y="-19911"/>
                    <a:pt x="59111" y="7711"/>
                  </a:cubicBezTo>
                  <a:close/>
                </a:path>
              </a:pathLst>
            </a:custGeom>
            <a:solidFill>
              <a:schemeClr val="accent1"/>
            </a:solidFill>
            <a:ln w="9525" cap="flat">
              <a:solidFill>
                <a:schemeClr val="bg1"/>
              </a:solidFill>
              <a:prstDash val="solid"/>
              <a:miter/>
            </a:ln>
          </p:spPr>
          <p:txBody>
            <a:bodyPr rtlCol="0" anchor="ctr"/>
            <a:lstStyle/>
            <a:p>
              <a:endParaRPr lang="en-GB"/>
            </a:p>
          </p:txBody>
        </p:sp>
        <p:sp>
          <p:nvSpPr>
            <p:cNvPr id="163" name="Forme libre : forme 162">
              <a:extLst>
                <a:ext uri="{FF2B5EF4-FFF2-40B4-BE49-F238E27FC236}">
                  <a16:creationId xmlns:a16="http://schemas.microsoft.com/office/drawing/2014/main" id="{3A04B92C-8433-4148-949E-155AFD5C5320}"/>
                </a:ext>
              </a:extLst>
            </p:cNvPr>
            <p:cNvSpPr/>
            <p:nvPr/>
          </p:nvSpPr>
          <p:spPr>
            <a:xfrm>
              <a:off x="8755577" y="2736574"/>
              <a:ext cx="112940" cy="142235"/>
            </a:xfrm>
            <a:custGeom>
              <a:avLst/>
              <a:gdLst>
                <a:gd name="connsiteX0" fmla="*/ 100068 w 200080"/>
                <a:gd name="connsiteY0" fmla="*/ 140109 h 304891"/>
                <a:gd name="connsiteX1" fmla="*/ 59111 w 200080"/>
                <a:gd name="connsiteY1" fmla="*/ 97246 h 304891"/>
                <a:gd name="connsiteX2" fmla="*/ 101021 w 200080"/>
                <a:gd name="connsiteY2" fmla="*/ 55336 h 304891"/>
                <a:gd name="connsiteX3" fmla="*/ 142931 w 200080"/>
                <a:gd name="connsiteY3" fmla="*/ 97246 h 304891"/>
                <a:gd name="connsiteX4" fmla="*/ 130548 w 200080"/>
                <a:gd name="connsiteY4" fmla="*/ 126774 h 304891"/>
                <a:gd name="connsiteX5" fmla="*/ 100068 w 200080"/>
                <a:gd name="connsiteY5" fmla="*/ 140109 h 304891"/>
                <a:gd name="connsiteX6" fmla="*/ 59111 w 200080"/>
                <a:gd name="connsiteY6" fmla="*/ 7711 h 304891"/>
                <a:gd name="connsiteX7" fmla="*/ 11486 w 200080"/>
                <a:gd name="connsiteY7" fmla="*/ 50574 h 304891"/>
                <a:gd name="connsiteX8" fmla="*/ 6723 w 200080"/>
                <a:gd name="connsiteY8" fmla="*/ 132489 h 304891"/>
                <a:gd name="connsiteX9" fmla="*/ 52443 w 200080"/>
                <a:gd name="connsiteY9" fmla="*/ 231549 h 304891"/>
                <a:gd name="connsiteX10" fmla="*/ 82923 w 200080"/>
                <a:gd name="connsiteY10" fmla="*/ 294414 h 304891"/>
                <a:gd name="connsiteX11" fmla="*/ 100068 w 200080"/>
                <a:gd name="connsiteY11" fmla="*/ 304891 h 304891"/>
                <a:gd name="connsiteX12" fmla="*/ 117213 w 200080"/>
                <a:gd name="connsiteY12" fmla="*/ 294414 h 304891"/>
                <a:gd name="connsiteX13" fmla="*/ 147693 w 200080"/>
                <a:gd name="connsiteY13" fmla="*/ 231549 h 304891"/>
                <a:gd name="connsiteX14" fmla="*/ 193413 w 200080"/>
                <a:gd name="connsiteY14" fmla="*/ 133441 h 304891"/>
                <a:gd name="connsiteX15" fmla="*/ 200081 w 200080"/>
                <a:gd name="connsiteY15" fmla="*/ 97246 h 304891"/>
                <a:gd name="connsiteX16" fmla="*/ 59111 w 200080"/>
                <a:gd name="connsiteY16" fmla="*/ 7711 h 30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80" h="304891">
                  <a:moveTo>
                    <a:pt x="100068" y="140109"/>
                  </a:moveTo>
                  <a:cubicBezTo>
                    <a:pt x="77208" y="140109"/>
                    <a:pt x="58158" y="121059"/>
                    <a:pt x="59111" y="97246"/>
                  </a:cubicBezTo>
                  <a:cubicBezTo>
                    <a:pt x="59111" y="74386"/>
                    <a:pt x="78161" y="55336"/>
                    <a:pt x="101021" y="55336"/>
                  </a:cubicBezTo>
                  <a:cubicBezTo>
                    <a:pt x="123881" y="55336"/>
                    <a:pt x="142931" y="74386"/>
                    <a:pt x="142931" y="97246"/>
                  </a:cubicBezTo>
                  <a:cubicBezTo>
                    <a:pt x="142931" y="108676"/>
                    <a:pt x="138168" y="119154"/>
                    <a:pt x="130548" y="126774"/>
                  </a:cubicBezTo>
                  <a:cubicBezTo>
                    <a:pt x="121976" y="135346"/>
                    <a:pt x="111498" y="140109"/>
                    <a:pt x="100068" y="140109"/>
                  </a:cubicBezTo>
                  <a:close/>
                  <a:moveTo>
                    <a:pt x="59111" y="7711"/>
                  </a:moveTo>
                  <a:cubicBezTo>
                    <a:pt x="38156" y="15331"/>
                    <a:pt x="21963" y="31524"/>
                    <a:pt x="11486" y="50574"/>
                  </a:cubicBezTo>
                  <a:cubicBezTo>
                    <a:pt x="-1849" y="76291"/>
                    <a:pt x="-3754" y="105819"/>
                    <a:pt x="6723" y="132489"/>
                  </a:cubicBezTo>
                  <a:lnTo>
                    <a:pt x="52443" y="231549"/>
                  </a:lnTo>
                  <a:lnTo>
                    <a:pt x="82923" y="294414"/>
                  </a:lnTo>
                  <a:cubicBezTo>
                    <a:pt x="85781" y="301081"/>
                    <a:pt x="92448" y="304891"/>
                    <a:pt x="100068" y="304891"/>
                  </a:cubicBezTo>
                  <a:cubicBezTo>
                    <a:pt x="107688" y="304891"/>
                    <a:pt x="114356" y="301081"/>
                    <a:pt x="117213" y="294414"/>
                  </a:cubicBezTo>
                  <a:lnTo>
                    <a:pt x="147693" y="231549"/>
                  </a:lnTo>
                  <a:lnTo>
                    <a:pt x="193413" y="133441"/>
                  </a:lnTo>
                  <a:cubicBezTo>
                    <a:pt x="198176" y="122011"/>
                    <a:pt x="200081" y="109629"/>
                    <a:pt x="200081" y="97246"/>
                  </a:cubicBezTo>
                  <a:cubicBezTo>
                    <a:pt x="200081" y="30571"/>
                    <a:pt x="131501" y="-19911"/>
                    <a:pt x="59111" y="7711"/>
                  </a:cubicBezTo>
                  <a:close/>
                </a:path>
              </a:pathLst>
            </a:custGeom>
            <a:solidFill>
              <a:schemeClr val="tx2">
                <a:lumMod val="75000"/>
              </a:schemeClr>
            </a:solidFill>
            <a:ln w="9525" cap="flat">
              <a:solidFill>
                <a:schemeClr val="bg1"/>
              </a:solidFill>
              <a:prstDash val="solid"/>
              <a:miter/>
            </a:ln>
          </p:spPr>
          <p:txBody>
            <a:bodyPr rtlCol="0" anchor="ctr"/>
            <a:lstStyle/>
            <a:p>
              <a:endParaRPr lang="en-GB"/>
            </a:p>
          </p:txBody>
        </p:sp>
        <p:sp>
          <p:nvSpPr>
            <p:cNvPr id="119" name="Forme libre : forme 118">
              <a:extLst>
                <a:ext uri="{FF2B5EF4-FFF2-40B4-BE49-F238E27FC236}">
                  <a16:creationId xmlns:a16="http://schemas.microsoft.com/office/drawing/2014/main" id="{10E33265-B7D0-40CF-A23C-B4349B41D66F}"/>
                </a:ext>
              </a:extLst>
            </p:cNvPr>
            <p:cNvSpPr/>
            <p:nvPr/>
          </p:nvSpPr>
          <p:spPr>
            <a:xfrm>
              <a:off x="8755577" y="2869617"/>
              <a:ext cx="112940" cy="142235"/>
            </a:xfrm>
            <a:custGeom>
              <a:avLst/>
              <a:gdLst>
                <a:gd name="connsiteX0" fmla="*/ 100068 w 200080"/>
                <a:gd name="connsiteY0" fmla="*/ 140109 h 304891"/>
                <a:gd name="connsiteX1" fmla="*/ 59111 w 200080"/>
                <a:gd name="connsiteY1" fmla="*/ 97246 h 304891"/>
                <a:gd name="connsiteX2" fmla="*/ 101021 w 200080"/>
                <a:gd name="connsiteY2" fmla="*/ 55336 h 304891"/>
                <a:gd name="connsiteX3" fmla="*/ 142931 w 200080"/>
                <a:gd name="connsiteY3" fmla="*/ 97246 h 304891"/>
                <a:gd name="connsiteX4" fmla="*/ 130548 w 200080"/>
                <a:gd name="connsiteY4" fmla="*/ 126774 h 304891"/>
                <a:gd name="connsiteX5" fmla="*/ 100068 w 200080"/>
                <a:gd name="connsiteY5" fmla="*/ 140109 h 304891"/>
                <a:gd name="connsiteX6" fmla="*/ 59111 w 200080"/>
                <a:gd name="connsiteY6" fmla="*/ 7711 h 304891"/>
                <a:gd name="connsiteX7" fmla="*/ 11486 w 200080"/>
                <a:gd name="connsiteY7" fmla="*/ 50574 h 304891"/>
                <a:gd name="connsiteX8" fmla="*/ 6723 w 200080"/>
                <a:gd name="connsiteY8" fmla="*/ 132489 h 304891"/>
                <a:gd name="connsiteX9" fmla="*/ 52443 w 200080"/>
                <a:gd name="connsiteY9" fmla="*/ 231549 h 304891"/>
                <a:gd name="connsiteX10" fmla="*/ 82923 w 200080"/>
                <a:gd name="connsiteY10" fmla="*/ 294414 h 304891"/>
                <a:gd name="connsiteX11" fmla="*/ 100068 w 200080"/>
                <a:gd name="connsiteY11" fmla="*/ 304891 h 304891"/>
                <a:gd name="connsiteX12" fmla="*/ 117213 w 200080"/>
                <a:gd name="connsiteY12" fmla="*/ 294414 h 304891"/>
                <a:gd name="connsiteX13" fmla="*/ 147693 w 200080"/>
                <a:gd name="connsiteY13" fmla="*/ 231549 h 304891"/>
                <a:gd name="connsiteX14" fmla="*/ 193413 w 200080"/>
                <a:gd name="connsiteY14" fmla="*/ 133441 h 304891"/>
                <a:gd name="connsiteX15" fmla="*/ 200081 w 200080"/>
                <a:gd name="connsiteY15" fmla="*/ 97246 h 304891"/>
                <a:gd name="connsiteX16" fmla="*/ 59111 w 200080"/>
                <a:gd name="connsiteY16" fmla="*/ 7711 h 30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80" h="304891">
                  <a:moveTo>
                    <a:pt x="100068" y="140109"/>
                  </a:moveTo>
                  <a:cubicBezTo>
                    <a:pt x="77208" y="140109"/>
                    <a:pt x="58158" y="121059"/>
                    <a:pt x="59111" y="97246"/>
                  </a:cubicBezTo>
                  <a:cubicBezTo>
                    <a:pt x="59111" y="74386"/>
                    <a:pt x="78161" y="55336"/>
                    <a:pt x="101021" y="55336"/>
                  </a:cubicBezTo>
                  <a:cubicBezTo>
                    <a:pt x="123881" y="55336"/>
                    <a:pt x="142931" y="74386"/>
                    <a:pt x="142931" y="97246"/>
                  </a:cubicBezTo>
                  <a:cubicBezTo>
                    <a:pt x="142931" y="108676"/>
                    <a:pt x="138168" y="119154"/>
                    <a:pt x="130548" y="126774"/>
                  </a:cubicBezTo>
                  <a:cubicBezTo>
                    <a:pt x="121976" y="135346"/>
                    <a:pt x="111498" y="140109"/>
                    <a:pt x="100068" y="140109"/>
                  </a:cubicBezTo>
                  <a:close/>
                  <a:moveTo>
                    <a:pt x="59111" y="7711"/>
                  </a:moveTo>
                  <a:cubicBezTo>
                    <a:pt x="38156" y="15331"/>
                    <a:pt x="21963" y="31524"/>
                    <a:pt x="11486" y="50574"/>
                  </a:cubicBezTo>
                  <a:cubicBezTo>
                    <a:pt x="-1849" y="76291"/>
                    <a:pt x="-3754" y="105819"/>
                    <a:pt x="6723" y="132489"/>
                  </a:cubicBezTo>
                  <a:lnTo>
                    <a:pt x="52443" y="231549"/>
                  </a:lnTo>
                  <a:lnTo>
                    <a:pt x="82923" y="294414"/>
                  </a:lnTo>
                  <a:cubicBezTo>
                    <a:pt x="85781" y="301081"/>
                    <a:pt x="92448" y="304891"/>
                    <a:pt x="100068" y="304891"/>
                  </a:cubicBezTo>
                  <a:cubicBezTo>
                    <a:pt x="107688" y="304891"/>
                    <a:pt x="114356" y="301081"/>
                    <a:pt x="117213" y="294414"/>
                  </a:cubicBezTo>
                  <a:lnTo>
                    <a:pt x="147693" y="231549"/>
                  </a:lnTo>
                  <a:lnTo>
                    <a:pt x="193413" y="133441"/>
                  </a:lnTo>
                  <a:cubicBezTo>
                    <a:pt x="198176" y="122011"/>
                    <a:pt x="200081" y="109629"/>
                    <a:pt x="200081" y="97246"/>
                  </a:cubicBezTo>
                  <a:cubicBezTo>
                    <a:pt x="200081" y="30571"/>
                    <a:pt x="131501" y="-19911"/>
                    <a:pt x="59111" y="7711"/>
                  </a:cubicBezTo>
                  <a:close/>
                </a:path>
              </a:pathLst>
            </a:custGeom>
            <a:solidFill>
              <a:schemeClr val="tx1"/>
            </a:solidFill>
            <a:ln w="9525" cap="flat">
              <a:solidFill>
                <a:schemeClr val="bg1"/>
              </a:solidFill>
              <a:prstDash val="solid"/>
              <a:miter/>
            </a:ln>
          </p:spPr>
          <p:txBody>
            <a:bodyPr rtlCol="0" anchor="ctr"/>
            <a:lstStyle/>
            <a:p>
              <a:endParaRPr lang="en-GB"/>
            </a:p>
          </p:txBody>
        </p:sp>
      </p:grpSp>
      <p:grpSp>
        <p:nvGrpSpPr>
          <p:cNvPr id="41" name="Groupe 40">
            <a:extLst>
              <a:ext uri="{FF2B5EF4-FFF2-40B4-BE49-F238E27FC236}">
                <a16:creationId xmlns:a16="http://schemas.microsoft.com/office/drawing/2014/main" id="{DEB67A05-FEF6-4E8C-8CAA-3B1B6B67C1A5}"/>
              </a:ext>
            </a:extLst>
          </p:cNvPr>
          <p:cNvGrpSpPr>
            <a:grpSpLocks noChangeAspect="1"/>
          </p:cNvGrpSpPr>
          <p:nvPr/>
        </p:nvGrpSpPr>
        <p:grpSpPr>
          <a:xfrm>
            <a:off x="7981170" y="1204622"/>
            <a:ext cx="1724430" cy="2217638"/>
            <a:chOff x="8315576" y="1098924"/>
            <a:chExt cx="1407424" cy="1809964"/>
          </a:xfrm>
        </p:grpSpPr>
        <p:pic>
          <p:nvPicPr>
            <p:cNvPr id="25" name="Image 24">
              <a:extLst>
                <a:ext uri="{FF2B5EF4-FFF2-40B4-BE49-F238E27FC236}">
                  <a16:creationId xmlns:a16="http://schemas.microsoft.com/office/drawing/2014/main" id="{7EF85D9C-AA01-4DD5-BF2F-9424220615ED}"/>
                </a:ext>
              </a:extLst>
            </p:cNvPr>
            <p:cNvPicPr>
              <a:picLocks noChangeAspect="1"/>
            </p:cNvPicPr>
            <p:nvPr/>
          </p:nvPicPr>
          <p:blipFill rotWithShape="1">
            <a:blip r:embed="rId18"/>
            <a:srcRect l="11903" t="33715" r="30174" b="27575"/>
            <a:stretch/>
          </p:blipFill>
          <p:spPr>
            <a:xfrm>
              <a:off x="8315576" y="1098924"/>
              <a:ext cx="1407424" cy="1809964"/>
            </a:xfrm>
            <a:prstGeom prst="rect">
              <a:avLst/>
            </a:prstGeom>
          </p:spPr>
        </p:pic>
        <p:sp>
          <p:nvSpPr>
            <p:cNvPr id="29" name="Forme libre : forme 28">
              <a:extLst>
                <a:ext uri="{FF2B5EF4-FFF2-40B4-BE49-F238E27FC236}">
                  <a16:creationId xmlns:a16="http://schemas.microsoft.com/office/drawing/2014/main" id="{F9DB3B94-35B2-4CE2-AAE3-415F6263A427}"/>
                </a:ext>
              </a:extLst>
            </p:cNvPr>
            <p:cNvSpPr/>
            <p:nvPr/>
          </p:nvSpPr>
          <p:spPr>
            <a:xfrm>
              <a:off x="9100677" y="1367561"/>
              <a:ext cx="112940" cy="142235"/>
            </a:xfrm>
            <a:custGeom>
              <a:avLst/>
              <a:gdLst>
                <a:gd name="connsiteX0" fmla="*/ 100068 w 200080"/>
                <a:gd name="connsiteY0" fmla="*/ 140109 h 304891"/>
                <a:gd name="connsiteX1" fmla="*/ 59111 w 200080"/>
                <a:gd name="connsiteY1" fmla="*/ 97246 h 304891"/>
                <a:gd name="connsiteX2" fmla="*/ 101021 w 200080"/>
                <a:gd name="connsiteY2" fmla="*/ 55336 h 304891"/>
                <a:gd name="connsiteX3" fmla="*/ 142931 w 200080"/>
                <a:gd name="connsiteY3" fmla="*/ 97246 h 304891"/>
                <a:gd name="connsiteX4" fmla="*/ 130548 w 200080"/>
                <a:gd name="connsiteY4" fmla="*/ 126774 h 304891"/>
                <a:gd name="connsiteX5" fmla="*/ 100068 w 200080"/>
                <a:gd name="connsiteY5" fmla="*/ 140109 h 304891"/>
                <a:gd name="connsiteX6" fmla="*/ 59111 w 200080"/>
                <a:gd name="connsiteY6" fmla="*/ 7711 h 304891"/>
                <a:gd name="connsiteX7" fmla="*/ 11486 w 200080"/>
                <a:gd name="connsiteY7" fmla="*/ 50574 h 304891"/>
                <a:gd name="connsiteX8" fmla="*/ 6723 w 200080"/>
                <a:gd name="connsiteY8" fmla="*/ 132489 h 304891"/>
                <a:gd name="connsiteX9" fmla="*/ 52443 w 200080"/>
                <a:gd name="connsiteY9" fmla="*/ 231549 h 304891"/>
                <a:gd name="connsiteX10" fmla="*/ 82923 w 200080"/>
                <a:gd name="connsiteY10" fmla="*/ 294414 h 304891"/>
                <a:gd name="connsiteX11" fmla="*/ 100068 w 200080"/>
                <a:gd name="connsiteY11" fmla="*/ 304891 h 304891"/>
                <a:gd name="connsiteX12" fmla="*/ 117213 w 200080"/>
                <a:gd name="connsiteY12" fmla="*/ 294414 h 304891"/>
                <a:gd name="connsiteX13" fmla="*/ 147693 w 200080"/>
                <a:gd name="connsiteY13" fmla="*/ 231549 h 304891"/>
                <a:gd name="connsiteX14" fmla="*/ 193413 w 200080"/>
                <a:gd name="connsiteY14" fmla="*/ 133441 h 304891"/>
                <a:gd name="connsiteX15" fmla="*/ 200081 w 200080"/>
                <a:gd name="connsiteY15" fmla="*/ 97246 h 304891"/>
                <a:gd name="connsiteX16" fmla="*/ 59111 w 200080"/>
                <a:gd name="connsiteY16" fmla="*/ 7711 h 30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80" h="304891">
                  <a:moveTo>
                    <a:pt x="100068" y="140109"/>
                  </a:moveTo>
                  <a:cubicBezTo>
                    <a:pt x="77208" y="140109"/>
                    <a:pt x="58158" y="121059"/>
                    <a:pt x="59111" y="97246"/>
                  </a:cubicBezTo>
                  <a:cubicBezTo>
                    <a:pt x="59111" y="74386"/>
                    <a:pt x="78161" y="55336"/>
                    <a:pt x="101021" y="55336"/>
                  </a:cubicBezTo>
                  <a:cubicBezTo>
                    <a:pt x="123881" y="55336"/>
                    <a:pt x="142931" y="74386"/>
                    <a:pt x="142931" y="97246"/>
                  </a:cubicBezTo>
                  <a:cubicBezTo>
                    <a:pt x="142931" y="108676"/>
                    <a:pt x="138168" y="119154"/>
                    <a:pt x="130548" y="126774"/>
                  </a:cubicBezTo>
                  <a:cubicBezTo>
                    <a:pt x="121976" y="135346"/>
                    <a:pt x="111498" y="140109"/>
                    <a:pt x="100068" y="140109"/>
                  </a:cubicBezTo>
                  <a:close/>
                  <a:moveTo>
                    <a:pt x="59111" y="7711"/>
                  </a:moveTo>
                  <a:cubicBezTo>
                    <a:pt x="38156" y="15331"/>
                    <a:pt x="21963" y="31524"/>
                    <a:pt x="11486" y="50574"/>
                  </a:cubicBezTo>
                  <a:cubicBezTo>
                    <a:pt x="-1849" y="76291"/>
                    <a:pt x="-3754" y="105819"/>
                    <a:pt x="6723" y="132489"/>
                  </a:cubicBezTo>
                  <a:lnTo>
                    <a:pt x="52443" y="231549"/>
                  </a:lnTo>
                  <a:lnTo>
                    <a:pt x="82923" y="294414"/>
                  </a:lnTo>
                  <a:cubicBezTo>
                    <a:pt x="85781" y="301081"/>
                    <a:pt x="92448" y="304891"/>
                    <a:pt x="100068" y="304891"/>
                  </a:cubicBezTo>
                  <a:cubicBezTo>
                    <a:pt x="107688" y="304891"/>
                    <a:pt x="114356" y="301081"/>
                    <a:pt x="117213" y="294414"/>
                  </a:cubicBezTo>
                  <a:lnTo>
                    <a:pt x="147693" y="231549"/>
                  </a:lnTo>
                  <a:lnTo>
                    <a:pt x="193413" y="133441"/>
                  </a:lnTo>
                  <a:cubicBezTo>
                    <a:pt x="198176" y="122011"/>
                    <a:pt x="200081" y="109629"/>
                    <a:pt x="200081" y="97246"/>
                  </a:cubicBezTo>
                  <a:cubicBezTo>
                    <a:pt x="200081" y="30571"/>
                    <a:pt x="131501" y="-19911"/>
                    <a:pt x="59111" y="7711"/>
                  </a:cubicBezTo>
                  <a:close/>
                </a:path>
              </a:pathLst>
            </a:custGeom>
            <a:solidFill>
              <a:schemeClr val="tx2"/>
            </a:solidFill>
            <a:ln w="9525" cap="flat">
              <a:solidFill>
                <a:schemeClr val="bg1"/>
              </a:solidFill>
              <a:prstDash val="solid"/>
              <a:miter/>
            </a:ln>
          </p:spPr>
          <p:txBody>
            <a:bodyPr rtlCol="0" anchor="ctr"/>
            <a:lstStyle/>
            <a:p>
              <a:endParaRPr lang="en-GB"/>
            </a:p>
          </p:txBody>
        </p:sp>
        <p:sp>
          <p:nvSpPr>
            <p:cNvPr id="33" name="Forme libre : forme 32">
              <a:extLst>
                <a:ext uri="{FF2B5EF4-FFF2-40B4-BE49-F238E27FC236}">
                  <a16:creationId xmlns:a16="http://schemas.microsoft.com/office/drawing/2014/main" id="{AC2FDC00-E591-4631-B03A-B3C7C8D48056}"/>
                </a:ext>
              </a:extLst>
            </p:cNvPr>
            <p:cNvSpPr/>
            <p:nvPr/>
          </p:nvSpPr>
          <p:spPr>
            <a:xfrm>
              <a:off x="9206378" y="1121138"/>
              <a:ext cx="112940" cy="142235"/>
            </a:xfrm>
            <a:custGeom>
              <a:avLst/>
              <a:gdLst>
                <a:gd name="connsiteX0" fmla="*/ 100068 w 200080"/>
                <a:gd name="connsiteY0" fmla="*/ 140109 h 304891"/>
                <a:gd name="connsiteX1" fmla="*/ 59111 w 200080"/>
                <a:gd name="connsiteY1" fmla="*/ 97246 h 304891"/>
                <a:gd name="connsiteX2" fmla="*/ 101021 w 200080"/>
                <a:gd name="connsiteY2" fmla="*/ 55336 h 304891"/>
                <a:gd name="connsiteX3" fmla="*/ 142931 w 200080"/>
                <a:gd name="connsiteY3" fmla="*/ 97246 h 304891"/>
                <a:gd name="connsiteX4" fmla="*/ 130548 w 200080"/>
                <a:gd name="connsiteY4" fmla="*/ 126774 h 304891"/>
                <a:gd name="connsiteX5" fmla="*/ 100068 w 200080"/>
                <a:gd name="connsiteY5" fmla="*/ 140109 h 304891"/>
                <a:gd name="connsiteX6" fmla="*/ 59111 w 200080"/>
                <a:gd name="connsiteY6" fmla="*/ 7711 h 304891"/>
                <a:gd name="connsiteX7" fmla="*/ 11486 w 200080"/>
                <a:gd name="connsiteY7" fmla="*/ 50574 h 304891"/>
                <a:gd name="connsiteX8" fmla="*/ 6723 w 200080"/>
                <a:gd name="connsiteY8" fmla="*/ 132489 h 304891"/>
                <a:gd name="connsiteX9" fmla="*/ 52443 w 200080"/>
                <a:gd name="connsiteY9" fmla="*/ 231549 h 304891"/>
                <a:gd name="connsiteX10" fmla="*/ 82923 w 200080"/>
                <a:gd name="connsiteY10" fmla="*/ 294414 h 304891"/>
                <a:gd name="connsiteX11" fmla="*/ 100068 w 200080"/>
                <a:gd name="connsiteY11" fmla="*/ 304891 h 304891"/>
                <a:gd name="connsiteX12" fmla="*/ 117213 w 200080"/>
                <a:gd name="connsiteY12" fmla="*/ 294414 h 304891"/>
                <a:gd name="connsiteX13" fmla="*/ 147693 w 200080"/>
                <a:gd name="connsiteY13" fmla="*/ 231549 h 304891"/>
                <a:gd name="connsiteX14" fmla="*/ 193413 w 200080"/>
                <a:gd name="connsiteY14" fmla="*/ 133441 h 304891"/>
                <a:gd name="connsiteX15" fmla="*/ 200081 w 200080"/>
                <a:gd name="connsiteY15" fmla="*/ 97246 h 304891"/>
                <a:gd name="connsiteX16" fmla="*/ 59111 w 200080"/>
                <a:gd name="connsiteY16" fmla="*/ 7711 h 30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80" h="304891">
                  <a:moveTo>
                    <a:pt x="100068" y="140109"/>
                  </a:moveTo>
                  <a:cubicBezTo>
                    <a:pt x="77208" y="140109"/>
                    <a:pt x="58158" y="121059"/>
                    <a:pt x="59111" y="97246"/>
                  </a:cubicBezTo>
                  <a:cubicBezTo>
                    <a:pt x="59111" y="74386"/>
                    <a:pt x="78161" y="55336"/>
                    <a:pt x="101021" y="55336"/>
                  </a:cubicBezTo>
                  <a:cubicBezTo>
                    <a:pt x="123881" y="55336"/>
                    <a:pt x="142931" y="74386"/>
                    <a:pt x="142931" y="97246"/>
                  </a:cubicBezTo>
                  <a:cubicBezTo>
                    <a:pt x="142931" y="108676"/>
                    <a:pt x="138168" y="119154"/>
                    <a:pt x="130548" y="126774"/>
                  </a:cubicBezTo>
                  <a:cubicBezTo>
                    <a:pt x="121976" y="135346"/>
                    <a:pt x="111498" y="140109"/>
                    <a:pt x="100068" y="140109"/>
                  </a:cubicBezTo>
                  <a:close/>
                  <a:moveTo>
                    <a:pt x="59111" y="7711"/>
                  </a:moveTo>
                  <a:cubicBezTo>
                    <a:pt x="38156" y="15331"/>
                    <a:pt x="21963" y="31524"/>
                    <a:pt x="11486" y="50574"/>
                  </a:cubicBezTo>
                  <a:cubicBezTo>
                    <a:pt x="-1849" y="76291"/>
                    <a:pt x="-3754" y="105819"/>
                    <a:pt x="6723" y="132489"/>
                  </a:cubicBezTo>
                  <a:lnTo>
                    <a:pt x="52443" y="231549"/>
                  </a:lnTo>
                  <a:lnTo>
                    <a:pt x="82923" y="294414"/>
                  </a:lnTo>
                  <a:cubicBezTo>
                    <a:pt x="85781" y="301081"/>
                    <a:pt x="92448" y="304891"/>
                    <a:pt x="100068" y="304891"/>
                  </a:cubicBezTo>
                  <a:cubicBezTo>
                    <a:pt x="107688" y="304891"/>
                    <a:pt x="114356" y="301081"/>
                    <a:pt x="117213" y="294414"/>
                  </a:cubicBezTo>
                  <a:lnTo>
                    <a:pt x="147693" y="231549"/>
                  </a:lnTo>
                  <a:lnTo>
                    <a:pt x="193413" y="133441"/>
                  </a:lnTo>
                  <a:cubicBezTo>
                    <a:pt x="198176" y="122011"/>
                    <a:pt x="200081" y="109629"/>
                    <a:pt x="200081" y="97246"/>
                  </a:cubicBezTo>
                  <a:cubicBezTo>
                    <a:pt x="200081" y="30571"/>
                    <a:pt x="131501" y="-19911"/>
                    <a:pt x="59111" y="7711"/>
                  </a:cubicBezTo>
                  <a:close/>
                </a:path>
              </a:pathLst>
            </a:custGeom>
            <a:solidFill>
              <a:schemeClr val="accent1"/>
            </a:solidFill>
            <a:ln w="9525" cap="flat">
              <a:solidFill>
                <a:schemeClr val="bg1"/>
              </a:solidFill>
              <a:prstDash val="solid"/>
              <a:miter/>
            </a:ln>
          </p:spPr>
          <p:txBody>
            <a:bodyPr rtlCol="0" anchor="ctr"/>
            <a:lstStyle/>
            <a:p>
              <a:endParaRPr lang="en-GB"/>
            </a:p>
          </p:txBody>
        </p:sp>
        <p:sp>
          <p:nvSpPr>
            <p:cNvPr id="39" name="Forme libre : forme 38">
              <a:extLst>
                <a:ext uri="{FF2B5EF4-FFF2-40B4-BE49-F238E27FC236}">
                  <a16:creationId xmlns:a16="http://schemas.microsoft.com/office/drawing/2014/main" id="{83F06308-6E65-4E2B-8976-ED4A9E4F625F}"/>
                </a:ext>
              </a:extLst>
            </p:cNvPr>
            <p:cNvSpPr/>
            <p:nvPr/>
          </p:nvSpPr>
          <p:spPr>
            <a:xfrm>
              <a:off x="8694810" y="2469433"/>
              <a:ext cx="112940" cy="142235"/>
            </a:xfrm>
            <a:custGeom>
              <a:avLst/>
              <a:gdLst>
                <a:gd name="connsiteX0" fmla="*/ 100068 w 200080"/>
                <a:gd name="connsiteY0" fmla="*/ 140109 h 304891"/>
                <a:gd name="connsiteX1" fmla="*/ 59111 w 200080"/>
                <a:gd name="connsiteY1" fmla="*/ 97246 h 304891"/>
                <a:gd name="connsiteX2" fmla="*/ 101021 w 200080"/>
                <a:gd name="connsiteY2" fmla="*/ 55336 h 304891"/>
                <a:gd name="connsiteX3" fmla="*/ 142931 w 200080"/>
                <a:gd name="connsiteY3" fmla="*/ 97246 h 304891"/>
                <a:gd name="connsiteX4" fmla="*/ 130548 w 200080"/>
                <a:gd name="connsiteY4" fmla="*/ 126774 h 304891"/>
                <a:gd name="connsiteX5" fmla="*/ 100068 w 200080"/>
                <a:gd name="connsiteY5" fmla="*/ 140109 h 304891"/>
                <a:gd name="connsiteX6" fmla="*/ 59111 w 200080"/>
                <a:gd name="connsiteY6" fmla="*/ 7711 h 304891"/>
                <a:gd name="connsiteX7" fmla="*/ 11486 w 200080"/>
                <a:gd name="connsiteY7" fmla="*/ 50574 h 304891"/>
                <a:gd name="connsiteX8" fmla="*/ 6723 w 200080"/>
                <a:gd name="connsiteY8" fmla="*/ 132489 h 304891"/>
                <a:gd name="connsiteX9" fmla="*/ 52443 w 200080"/>
                <a:gd name="connsiteY9" fmla="*/ 231549 h 304891"/>
                <a:gd name="connsiteX10" fmla="*/ 82923 w 200080"/>
                <a:gd name="connsiteY10" fmla="*/ 294414 h 304891"/>
                <a:gd name="connsiteX11" fmla="*/ 100068 w 200080"/>
                <a:gd name="connsiteY11" fmla="*/ 304891 h 304891"/>
                <a:gd name="connsiteX12" fmla="*/ 117213 w 200080"/>
                <a:gd name="connsiteY12" fmla="*/ 294414 h 304891"/>
                <a:gd name="connsiteX13" fmla="*/ 147693 w 200080"/>
                <a:gd name="connsiteY13" fmla="*/ 231549 h 304891"/>
                <a:gd name="connsiteX14" fmla="*/ 193413 w 200080"/>
                <a:gd name="connsiteY14" fmla="*/ 133441 h 304891"/>
                <a:gd name="connsiteX15" fmla="*/ 200081 w 200080"/>
                <a:gd name="connsiteY15" fmla="*/ 97246 h 304891"/>
                <a:gd name="connsiteX16" fmla="*/ 59111 w 200080"/>
                <a:gd name="connsiteY16" fmla="*/ 7711 h 30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80" h="304891">
                  <a:moveTo>
                    <a:pt x="100068" y="140109"/>
                  </a:moveTo>
                  <a:cubicBezTo>
                    <a:pt x="77208" y="140109"/>
                    <a:pt x="58158" y="121059"/>
                    <a:pt x="59111" y="97246"/>
                  </a:cubicBezTo>
                  <a:cubicBezTo>
                    <a:pt x="59111" y="74386"/>
                    <a:pt x="78161" y="55336"/>
                    <a:pt x="101021" y="55336"/>
                  </a:cubicBezTo>
                  <a:cubicBezTo>
                    <a:pt x="123881" y="55336"/>
                    <a:pt x="142931" y="74386"/>
                    <a:pt x="142931" y="97246"/>
                  </a:cubicBezTo>
                  <a:cubicBezTo>
                    <a:pt x="142931" y="108676"/>
                    <a:pt x="138168" y="119154"/>
                    <a:pt x="130548" y="126774"/>
                  </a:cubicBezTo>
                  <a:cubicBezTo>
                    <a:pt x="121976" y="135346"/>
                    <a:pt x="111498" y="140109"/>
                    <a:pt x="100068" y="140109"/>
                  </a:cubicBezTo>
                  <a:close/>
                  <a:moveTo>
                    <a:pt x="59111" y="7711"/>
                  </a:moveTo>
                  <a:cubicBezTo>
                    <a:pt x="38156" y="15331"/>
                    <a:pt x="21963" y="31524"/>
                    <a:pt x="11486" y="50574"/>
                  </a:cubicBezTo>
                  <a:cubicBezTo>
                    <a:pt x="-1849" y="76291"/>
                    <a:pt x="-3754" y="105819"/>
                    <a:pt x="6723" y="132489"/>
                  </a:cubicBezTo>
                  <a:lnTo>
                    <a:pt x="52443" y="231549"/>
                  </a:lnTo>
                  <a:lnTo>
                    <a:pt x="82923" y="294414"/>
                  </a:lnTo>
                  <a:cubicBezTo>
                    <a:pt x="85781" y="301081"/>
                    <a:pt x="92448" y="304891"/>
                    <a:pt x="100068" y="304891"/>
                  </a:cubicBezTo>
                  <a:cubicBezTo>
                    <a:pt x="107688" y="304891"/>
                    <a:pt x="114356" y="301081"/>
                    <a:pt x="117213" y="294414"/>
                  </a:cubicBezTo>
                  <a:lnTo>
                    <a:pt x="147693" y="231549"/>
                  </a:lnTo>
                  <a:lnTo>
                    <a:pt x="193413" y="133441"/>
                  </a:lnTo>
                  <a:cubicBezTo>
                    <a:pt x="198176" y="122011"/>
                    <a:pt x="200081" y="109629"/>
                    <a:pt x="200081" y="97246"/>
                  </a:cubicBezTo>
                  <a:cubicBezTo>
                    <a:pt x="200081" y="30571"/>
                    <a:pt x="131501" y="-19911"/>
                    <a:pt x="59111" y="7711"/>
                  </a:cubicBezTo>
                  <a:close/>
                </a:path>
              </a:pathLst>
            </a:custGeom>
            <a:solidFill>
              <a:schemeClr val="tx1"/>
            </a:solidFill>
            <a:ln w="9525" cap="flat">
              <a:solidFill>
                <a:schemeClr val="bg1"/>
              </a:solidFill>
              <a:prstDash val="solid"/>
              <a:miter/>
            </a:ln>
          </p:spPr>
          <p:txBody>
            <a:bodyPr rtlCol="0" anchor="ctr"/>
            <a:lstStyle/>
            <a:p>
              <a:endParaRPr lang="en-GB"/>
            </a:p>
          </p:txBody>
        </p:sp>
        <p:sp>
          <p:nvSpPr>
            <p:cNvPr id="143" name="Forme libre : forme 142">
              <a:extLst>
                <a:ext uri="{FF2B5EF4-FFF2-40B4-BE49-F238E27FC236}">
                  <a16:creationId xmlns:a16="http://schemas.microsoft.com/office/drawing/2014/main" id="{55E3BD56-E911-4B1D-BFDE-CEB8EA11ABCA}"/>
                </a:ext>
              </a:extLst>
            </p:cNvPr>
            <p:cNvSpPr/>
            <p:nvPr/>
          </p:nvSpPr>
          <p:spPr>
            <a:xfrm>
              <a:off x="9206378" y="1709057"/>
              <a:ext cx="112940" cy="142235"/>
            </a:xfrm>
            <a:custGeom>
              <a:avLst/>
              <a:gdLst>
                <a:gd name="connsiteX0" fmla="*/ 100068 w 200080"/>
                <a:gd name="connsiteY0" fmla="*/ 140109 h 304891"/>
                <a:gd name="connsiteX1" fmla="*/ 59111 w 200080"/>
                <a:gd name="connsiteY1" fmla="*/ 97246 h 304891"/>
                <a:gd name="connsiteX2" fmla="*/ 101021 w 200080"/>
                <a:gd name="connsiteY2" fmla="*/ 55336 h 304891"/>
                <a:gd name="connsiteX3" fmla="*/ 142931 w 200080"/>
                <a:gd name="connsiteY3" fmla="*/ 97246 h 304891"/>
                <a:gd name="connsiteX4" fmla="*/ 130548 w 200080"/>
                <a:gd name="connsiteY4" fmla="*/ 126774 h 304891"/>
                <a:gd name="connsiteX5" fmla="*/ 100068 w 200080"/>
                <a:gd name="connsiteY5" fmla="*/ 140109 h 304891"/>
                <a:gd name="connsiteX6" fmla="*/ 59111 w 200080"/>
                <a:gd name="connsiteY6" fmla="*/ 7711 h 304891"/>
                <a:gd name="connsiteX7" fmla="*/ 11486 w 200080"/>
                <a:gd name="connsiteY7" fmla="*/ 50574 h 304891"/>
                <a:gd name="connsiteX8" fmla="*/ 6723 w 200080"/>
                <a:gd name="connsiteY8" fmla="*/ 132489 h 304891"/>
                <a:gd name="connsiteX9" fmla="*/ 52443 w 200080"/>
                <a:gd name="connsiteY9" fmla="*/ 231549 h 304891"/>
                <a:gd name="connsiteX10" fmla="*/ 82923 w 200080"/>
                <a:gd name="connsiteY10" fmla="*/ 294414 h 304891"/>
                <a:gd name="connsiteX11" fmla="*/ 100068 w 200080"/>
                <a:gd name="connsiteY11" fmla="*/ 304891 h 304891"/>
                <a:gd name="connsiteX12" fmla="*/ 117213 w 200080"/>
                <a:gd name="connsiteY12" fmla="*/ 294414 h 304891"/>
                <a:gd name="connsiteX13" fmla="*/ 147693 w 200080"/>
                <a:gd name="connsiteY13" fmla="*/ 231549 h 304891"/>
                <a:gd name="connsiteX14" fmla="*/ 193413 w 200080"/>
                <a:gd name="connsiteY14" fmla="*/ 133441 h 304891"/>
                <a:gd name="connsiteX15" fmla="*/ 200081 w 200080"/>
                <a:gd name="connsiteY15" fmla="*/ 97246 h 304891"/>
                <a:gd name="connsiteX16" fmla="*/ 59111 w 200080"/>
                <a:gd name="connsiteY16" fmla="*/ 7711 h 30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80" h="304891">
                  <a:moveTo>
                    <a:pt x="100068" y="140109"/>
                  </a:moveTo>
                  <a:cubicBezTo>
                    <a:pt x="77208" y="140109"/>
                    <a:pt x="58158" y="121059"/>
                    <a:pt x="59111" y="97246"/>
                  </a:cubicBezTo>
                  <a:cubicBezTo>
                    <a:pt x="59111" y="74386"/>
                    <a:pt x="78161" y="55336"/>
                    <a:pt x="101021" y="55336"/>
                  </a:cubicBezTo>
                  <a:cubicBezTo>
                    <a:pt x="123881" y="55336"/>
                    <a:pt x="142931" y="74386"/>
                    <a:pt x="142931" y="97246"/>
                  </a:cubicBezTo>
                  <a:cubicBezTo>
                    <a:pt x="142931" y="108676"/>
                    <a:pt x="138168" y="119154"/>
                    <a:pt x="130548" y="126774"/>
                  </a:cubicBezTo>
                  <a:cubicBezTo>
                    <a:pt x="121976" y="135346"/>
                    <a:pt x="111498" y="140109"/>
                    <a:pt x="100068" y="140109"/>
                  </a:cubicBezTo>
                  <a:close/>
                  <a:moveTo>
                    <a:pt x="59111" y="7711"/>
                  </a:moveTo>
                  <a:cubicBezTo>
                    <a:pt x="38156" y="15331"/>
                    <a:pt x="21963" y="31524"/>
                    <a:pt x="11486" y="50574"/>
                  </a:cubicBezTo>
                  <a:cubicBezTo>
                    <a:pt x="-1849" y="76291"/>
                    <a:pt x="-3754" y="105819"/>
                    <a:pt x="6723" y="132489"/>
                  </a:cubicBezTo>
                  <a:lnTo>
                    <a:pt x="52443" y="231549"/>
                  </a:lnTo>
                  <a:lnTo>
                    <a:pt x="82923" y="294414"/>
                  </a:lnTo>
                  <a:cubicBezTo>
                    <a:pt x="85781" y="301081"/>
                    <a:pt x="92448" y="304891"/>
                    <a:pt x="100068" y="304891"/>
                  </a:cubicBezTo>
                  <a:cubicBezTo>
                    <a:pt x="107688" y="304891"/>
                    <a:pt x="114356" y="301081"/>
                    <a:pt x="117213" y="294414"/>
                  </a:cubicBezTo>
                  <a:lnTo>
                    <a:pt x="147693" y="231549"/>
                  </a:lnTo>
                  <a:lnTo>
                    <a:pt x="193413" y="133441"/>
                  </a:lnTo>
                  <a:cubicBezTo>
                    <a:pt x="198176" y="122011"/>
                    <a:pt x="200081" y="109629"/>
                    <a:pt x="200081" y="97246"/>
                  </a:cubicBezTo>
                  <a:cubicBezTo>
                    <a:pt x="200081" y="30571"/>
                    <a:pt x="131501" y="-19911"/>
                    <a:pt x="59111" y="7711"/>
                  </a:cubicBezTo>
                  <a:close/>
                </a:path>
              </a:pathLst>
            </a:custGeom>
            <a:solidFill>
              <a:schemeClr val="tx2">
                <a:lumMod val="75000"/>
              </a:schemeClr>
            </a:solidFill>
            <a:ln w="9525" cap="flat">
              <a:solidFill>
                <a:schemeClr val="bg1"/>
              </a:solidFill>
              <a:prstDash val="solid"/>
              <a:miter/>
            </a:ln>
          </p:spPr>
          <p:txBody>
            <a:bodyPr rtlCol="0" anchor="ctr"/>
            <a:lstStyle/>
            <a:p>
              <a:endParaRPr lang="en-GB"/>
            </a:p>
          </p:txBody>
        </p:sp>
        <p:sp>
          <p:nvSpPr>
            <p:cNvPr id="161" name="Forme libre : forme 160">
              <a:extLst>
                <a:ext uri="{FF2B5EF4-FFF2-40B4-BE49-F238E27FC236}">
                  <a16:creationId xmlns:a16="http://schemas.microsoft.com/office/drawing/2014/main" id="{FDBC4641-F633-4FD6-99CA-ADE45677CBCB}"/>
                </a:ext>
              </a:extLst>
            </p:cNvPr>
            <p:cNvSpPr/>
            <p:nvPr/>
          </p:nvSpPr>
          <p:spPr>
            <a:xfrm>
              <a:off x="9243810" y="1203978"/>
              <a:ext cx="112940" cy="142235"/>
            </a:xfrm>
            <a:custGeom>
              <a:avLst/>
              <a:gdLst>
                <a:gd name="connsiteX0" fmla="*/ 100068 w 200080"/>
                <a:gd name="connsiteY0" fmla="*/ 140109 h 304891"/>
                <a:gd name="connsiteX1" fmla="*/ 59111 w 200080"/>
                <a:gd name="connsiteY1" fmla="*/ 97246 h 304891"/>
                <a:gd name="connsiteX2" fmla="*/ 101021 w 200080"/>
                <a:gd name="connsiteY2" fmla="*/ 55336 h 304891"/>
                <a:gd name="connsiteX3" fmla="*/ 142931 w 200080"/>
                <a:gd name="connsiteY3" fmla="*/ 97246 h 304891"/>
                <a:gd name="connsiteX4" fmla="*/ 130548 w 200080"/>
                <a:gd name="connsiteY4" fmla="*/ 126774 h 304891"/>
                <a:gd name="connsiteX5" fmla="*/ 100068 w 200080"/>
                <a:gd name="connsiteY5" fmla="*/ 140109 h 304891"/>
                <a:gd name="connsiteX6" fmla="*/ 59111 w 200080"/>
                <a:gd name="connsiteY6" fmla="*/ 7711 h 304891"/>
                <a:gd name="connsiteX7" fmla="*/ 11486 w 200080"/>
                <a:gd name="connsiteY7" fmla="*/ 50574 h 304891"/>
                <a:gd name="connsiteX8" fmla="*/ 6723 w 200080"/>
                <a:gd name="connsiteY8" fmla="*/ 132489 h 304891"/>
                <a:gd name="connsiteX9" fmla="*/ 52443 w 200080"/>
                <a:gd name="connsiteY9" fmla="*/ 231549 h 304891"/>
                <a:gd name="connsiteX10" fmla="*/ 82923 w 200080"/>
                <a:gd name="connsiteY10" fmla="*/ 294414 h 304891"/>
                <a:gd name="connsiteX11" fmla="*/ 100068 w 200080"/>
                <a:gd name="connsiteY11" fmla="*/ 304891 h 304891"/>
                <a:gd name="connsiteX12" fmla="*/ 117213 w 200080"/>
                <a:gd name="connsiteY12" fmla="*/ 294414 h 304891"/>
                <a:gd name="connsiteX13" fmla="*/ 147693 w 200080"/>
                <a:gd name="connsiteY13" fmla="*/ 231549 h 304891"/>
                <a:gd name="connsiteX14" fmla="*/ 193413 w 200080"/>
                <a:gd name="connsiteY14" fmla="*/ 133441 h 304891"/>
                <a:gd name="connsiteX15" fmla="*/ 200081 w 200080"/>
                <a:gd name="connsiteY15" fmla="*/ 97246 h 304891"/>
                <a:gd name="connsiteX16" fmla="*/ 59111 w 200080"/>
                <a:gd name="connsiteY16" fmla="*/ 7711 h 30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80" h="304891">
                  <a:moveTo>
                    <a:pt x="100068" y="140109"/>
                  </a:moveTo>
                  <a:cubicBezTo>
                    <a:pt x="77208" y="140109"/>
                    <a:pt x="58158" y="121059"/>
                    <a:pt x="59111" y="97246"/>
                  </a:cubicBezTo>
                  <a:cubicBezTo>
                    <a:pt x="59111" y="74386"/>
                    <a:pt x="78161" y="55336"/>
                    <a:pt x="101021" y="55336"/>
                  </a:cubicBezTo>
                  <a:cubicBezTo>
                    <a:pt x="123881" y="55336"/>
                    <a:pt x="142931" y="74386"/>
                    <a:pt x="142931" y="97246"/>
                  </a:cubicBezTo>
                  <a:cubicBezTo>
                    <a:pt x="142931" y="108676"/>
                    <a:pt x="138168" y="119154"/>
                    <a:pt x="130548" y="126774"/>
                  </a:cubicBezTo>
                  <a:cubicBezTo>
                    <a:pt x="121976" y="135346"/>
                    <a:pt x="111498" y="140109"/>
                    <a:pt x="100068" y="140109"/>
                  </a:cubicBezTo>
                  <a:close/>
                  <a:moveTo>
                    <a:pt x="59111" y="7711"/>
                  </a:moveTo>
                  <a:cubicBezTo>
                    <a:pt x="38156" y="15331"/>
                    <a:pt x="21963" y="31524"/>
                    <a:pt x="11486" y="50574"/>
                  </a:cubicBezTo>
                  <a:cubicBezTo>
                    <a:pt x="-1849" y="76291"/>
                    <a:pt x="-3754" y="105819"/>
                    <a:pt x="6723" y="132489"/>
                  </a:cubicBezTo>
                  <a:lnTo>
                    <a:pt x="52443" y="231549"/>
                  </a:lnTo>
                  <a:lnTo>
                    <a:pt x="82923" y="294414"/>
                  </a:lnTo>
                  <a:cubicBezTo>
                    <a:pt x="85781" y="301081"/>
                    <a:pt x="92448" y="304891"/>
                    <a:pt x="100068" y="304891"/>
                  </a:cubicBezTo>
                  <a:cubicBezTo>
                    <a:pt x="107688" y="304891"/>
                    <a:pt x="114356" y="301081"/>
                    <a:pt x="117213" y="294414"/>
                  </a:cubicBezTo>
                  <a:lnTo>
                    <a:pt x="147693" y="231549"/>
                  </a:lnTo>
                  <a:lnTo>
                    <a:pt x="193413" y="133441"/>
                  </a:lnTo>
                  <a:cubicBezTo>
                    <a:pt x="198176" y="122011"/>
                    <a:pt x="200081" y="109629"/>
                    <a:pt x="200081" y="97246"/>
                  </a:cubicBezTo>
                  <a:cubicBezTo>
                    <a:pt x="200081" y="30571"/>
                    <a:pt x="131501" y="-19911"/>
                    <a:pt x="59111" y="7711"/>
                  </a:cubicBezTo>
                  <a:close/>
                </a:path>
              </a:pathLst>
            </a:custGeom>
            <a:solidFill>
              <a:schemeClr val="accent1"/>
            </a:solidFill>
            <a:ln w="9525" cap="flat">
              <a:solidFill>
                <a:schemeClr val="bg1"/>
              </a:solidFill>
              <a:prstDash val="solid"/>
              <a:miter/>
            </a:ln>
          </p:spPr>
          <p:txBody>
            <a:bodyPr rtlCol="0" anchor="ctr"/>
            <a:lstStyle/>
            <a:p>
              <a:endParaRPr lang="en-GB"/>
            </a:p>
          </p:txBody>
        </p:sp>
      </p:grpSp>
      <p:sp>
        <p:nvSpPr>
          <p:cNvPr id="164" name="Rectangle 163">
            <a:extLst>
              <a:ext uri="{FF2B5EF4-FFF2-40B4-BE49-F238E27FC236}">
                <a16:creationId xmlns:a16="http://schemas.microsoft.com/office/drawing/2014/main" id="{D2F956C2-9110-4B95-BB8C-8804FD0451A9}"/>
              </a:ext>
            </a:extLst>
          </p:cNvPr>
          <p:cNvSpPr/>
          <p:nvPr/>
        </p:nvSpPr>
        <p:spPr bwMode="auto">
          <a:xfrm>
            <a:off x="194517" y="1257291"/>
            <a:ext cx="4412259" cy="217170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Bef>
                <a:spcPts val="300"/>
              </a:spcBef>
              <a:buFont typeface="Arial" panose="020B0604020202020204" pitchFamily="34" charset="0"/>
              <a:buChar char="•"/>
            </a:pPr>
            <a:r>
              <a:rPr lang="en-GB" sz="1000" err="1">
                <a:latin typeface="Trebuchet MS" panose="020B0603020202020204" pitchFamily="34" charset="0"/>
              </a:rPr>
              <a:t>Altares</a:t>
            </a:r>
            <a:r>
              <a:rPr lang="en-GB" sz="1000">
                <a:latin typeface="Trebuchet MS" panose="020B0603020202020204" pitchFamily="34" charset="0"/>
              </a:rPr>
              <a:t> Group is a </a:t>
            </a:r>
            <a:r>
              <a:rPr lang="en-GB" sz="1000">
                <a:solidFill>
                  <a:schemeClr val="tx2"/>
                </a:solidFill>
                <a:latin typeface="Trebuchet MS" panose="020B0603020202020204" pitchFamily="34" charset="0"/>
              </a:rPr>
              <a:t>leading player </a:t>
            </a:r>
            <a:r>
              <a:rPr lang="en-GB" sz="1000">
                <a:latin typeface="Trebuchet MS" panose="020B0603020202020204" pitchFamily="34" charset="0"/>
              </a:rPr>
              <a:t>of the Business Data &amp; Analytics (BD&amp;A) industry, able to provide </a:t>
            </a:r>
            <a:r>
              <a:rPr lang="en-GB" sz="1000">
                <a:solidFill>
                  <a:schemeClr val="tx2"/>
                </a:solidFill>
                <a:latin typeface="Trebuchet MS" panose="020B0603020202020204" pitchFamily="34" charset="0"/>
              </a:rPr>
              <a:t>B2B data-based products and services</a:t>
            </a:r>
            <a:r>
              <a:rPr lang="en-GB" sz="1000">
                <a:latin typeface="Trebuchet MS" panose="020B0603020202020204" pitchFamily="34" charset="0"/>
              </a:rPr>
              <a:t>, and benefiting from a strong </a:t>
            </a:r>
            <a:r>
              <a:rPr lang="en-GB" sz="1000">
                <a:solidFill>
                  <a:schemeClr val="tx2"/>
                </a:solidFill>
                <a:latin typeface="Trebuchet MS" panose="020B0603020202020204" pitchFamily="34" charset="0"/>
              </a:rPr>
              <a:t>brand recognition</a:t>
            </a:r>
          </a:p>
          <a:p>
            <a:pPr marL="171450" indent="-171450">
              <a:spcBef>
                <a:spcPts val="300"/>
              </a:spcBef>
              <a:buFont typeface="Arial" panose="020B0604020202020204" pitchFamily="34" charset="0"/>
              <a:buChar char="•"/>
            </a:pPr>
            <a:r>
              <a:rPr lang="en-GB" sz="1000">
                <a:latin typeface="Trebuchet MS" panose="020B0603020202020204" pitchFamily="34" charset="0"/>
              </a:rPr>
              <a:t>On three market verticals, </a:t>
            </a:r>
            <a:r>
              <a:rPr lang="en-GB" sz="1000" err="1">
                <a:latin typeface="Trebuchet MS" panose="020B0603020202020204" pitchFamily="34" charset="0"/>
              </a:rPr>
              <a:t>Altares</a:t>
            </a:r>
            <a:r>
              <a:rPr lang="en-GB" sz="1000">
                <a:latin typeface="Trebuchet MS" panose="020B0603020202020204" pitchFamily="34" charset="0"/>
              </a:rPr>
              <a:t>’ offer covers </a:t>
            </a:r>
            <a:r>
              <a:rPr lang="en-GB" sz="1000">
                <a:solidFill>
                  <a:schemeClr val="tx2"/>
                </a:solidFill>
                <a:latin typeface="Trebuchet MS" panose="020B0603020202020204" pitchFamily="34" charset="0"/>
              </a:rPr>
              <a:t>clients’ needs </a:t>
            </a:r>
            <a:r>
              <a:rPr lang="en-GB" sz="1000">
                <a:latin typeface="Trebuchet MS" panose="020B0603020202020204" pitchFamily="34" charset="0"/>
              </a:rPr>
              <a:t>in their day-to-day </a:t>
            </a:r>
            <a:r>
              <a:rPr lang="en-GB" sz="1000">
                <a:solidFill>
                  <a:schemeClr val="tx2"/>
                </a:solidFill>
                <a:latin typeface="Trebuchet MS" panose="020B0603020202020204" pitchFamily="34" charset="0"/>
              </a:rPr>
              <a:t>decision-making processes </a:t>
            </a:r>
            <a:r>
              <a:rPr lang="en-GB" sz="1000">
                <a:latin typeface="Trebuchet MS" panose="020B0603020202020204" pitchFamily="34" charset="0"/>
              </a:rPr>
              <a:t>concerning </a:t>
            </a:r>
            <a:r>
              <a:rPr lang="en-GB" sz="1000">
                <a:solidFill>
                  <a:schemeClr val="tx2"/>
                </a:solidFill>
                <a:latin typeface="Trebuchet MS" panose="020B0603020202020204" pitchFamily="34" charset="0"/>
              </a:rPr>
              <a:t>risks</a:t>
            </a:r>
            <a:r>
              <a:rPr lang="en-GB" sz="1000">
                <a:latin typeface="Trebuchet MS" panose="020B0603020202020204" pitchFamily="34" charset="0"/>
              </a:rPr>
              <a:t> (Credit &amp; financial risk, compliance issues) and </a:t>
            </a:r>
            <a:r>
              <a:rPr lang="en-GB" sz="1000">
                <a:solidFill>
                  <a:schemeClr val="tx2"/>
                </a:solidFill>
                <a:latin typeface="Trebuchet MS" panose="020B0603020202020204" pitchFamily="34" charset="0"/>
              </a:rPr>
              <a:t>opportunities</a:t>
            </a:r>
            <a:r>
              <a:rPr lang="en-GB" sz="1000">
                <a:latin typeface="Trebuchet MS" panose="020B0603020202020204" pitchFamily="34" charset="0"/>
              </a:rPr>
              <a:t> (B2B prospect generation, qualification and activation)</a:t>
            </a:r>
          </a:p>
          <a:p>
            <a:pPr marL="171450" indent="-171450">
              <a:spcBef>
                <a:spcPts val="300"/>
              </a:spcBef>
              <a:buFont typeface="Arial" panose="020B0604020202020204" pitchFamily="34" charset="0"/>
              <a:buChar char="•"/>
            </a:pPr>
            <a:r>
              <a:rPr lang="en-GB" sz="1000" err="1">
                <a:latin typeface="Trebuchet MS" panose="020B0603020202020204" pitchFamily="34" charset="0"/>
              </a:rPr>
              <a:t>Altares</a:t>
            </a:r>
            <a:r>
              <a:rPr lang="en-GB" sz="1000">
                <a:latin typeface="Trebuchet MS" panose="020B0603020202020204" pitchFamily="34" charset="0"/>
              </a:rPr>
              <a:t> acts as an </a:t>
            </a:r>
            <a:r>
              <a:rPr lang="en-GB" sz="1000">
                <a:solidFill>
                  <a:schemeClr val="tx2"/>
                </a:solidFill>
                <a:latin typeface="Trebuchet MS" panose="020B0603020202020204" pitchFamily="34" charset="0"/>
              </a:rPr>
              <a:t>exclusive partner of Dun &amp; Bradstreet </a:t>
            </a:r>
            <a:r>
              <a:rPr lang="en-GB" sz="1000">
                <a:latin typeface="Trebuchet MS" panose="020B0603020202020204" pitchFamily="34" charset="0"/>
              </a:rPr>
              <a:t>on the French, Benelux and Maghreb geographies, allowing </a:t>
            </a:r>
            <a:r>
              <a:rPr lang="en-GB" sz="1000" err="1">
                <a:latin typeface="Trebuchet MS" panose="020B0603020202020204" pitchFamily="34" charset="0"/>
              </a:rPr>
              <a:t>Altares</a:t>
            </a:r>
            <a:r>
              <a:rPr lang="en-GB" sz="1000">
                <a:latin typeface="Trebuchet MS" panose="020B0603020202020204" pitchFamily="34" charset="0"/>
              </a:rPr>
              <a:t> to: </a:t>
            </a:r>
          </a:p>
          <a:p>
            <a:pPr marL="628650" lvl="1" indent="-171450">
              <a:spcBef>
                <a:spcPts val="300"/>
              </a:spcBef>
              <a:buClr>
                <a:schemeClr val="tx1"/>
              </a:buClr>
              <a:buFont typeface="Courier New" panose="02070309020205020404" pitchFamily="49" charset="0"/>
              <a:buChar char="o"/>
            </a:pPr>
            <a:r>
              <a:rPr lang="en-GB" sz="1000">
                <a:solidFill>
                  <a:schemeClr val="tx2"/>
                </a:solidFill>
                <a:latin typeface="Trebuchet MS" panose="020B0603020202020204" pitchFamily="34" charset="0"/>
              </a:rPr>
              <a:t>leverage internationally the collected data </a:t>
            </a:r>
            <a:r>
              <a:rPr lang="en-GB" sz="1000">
                <a:latin typeface="Trebuchet MS" panose="020B0603020202020204" pitchFamily="34" charset="0"/>
              </a:rPr>
              <a:t>on its geographies</a:t>
            </a:r>
          </a:p>
          <a:p>
            <a:pPr marL="628650" lvl="1" indent="-171450">
              <a:spcBef>
                <a:spcPts val="300"/>
              </a:spcBef>
              <a:buClr>
                <a:schemeClr val="tx1"/>
              </a:buClr>
              <a:buFont typeface="Courier New" panose="02070309020205020404" pitchFamily="49" charset="0"/>
              <a:buChar char="o"/>
            </a:pPr>
            <a:r>
              <a:rPr lang="en-GB" sz="1000">
                <a:latin typeface="Trebuchet MS" panose="020B0603020202020204" pitchFamily="34" charset="0"/>
              </a:rPr>
              <a:t>access to Dun &amp; Bradstreet </a:t>
            </a:r>
            <a:r>
              <a:rPr lang="en-GB" sz="1000">
                <a:solidFill>
                  <a:schemeClr val="tx2"/>
                </a:solidFill>
                <a:latin typeface="Trebuchet MS" panose="020B0603020202020204" pitchFamily="34" charset="0"/>
              </a:rPr>
              <a:t>international database </a:t>
            </a:r>
            <a:r>
              <a:rPr lang="en-GB" sz="1000">
                <a:latin typeface="Trebuchet MS" panose="020B0603020202020204" pitchFamily="34" charset="0"/>
              </a:rPr>
              <a:t>and </a:t>
            </a:r>
            <a:r>
              <a:rPr lang="en-GB" sz="1000" err="1">
                <a:latin typeface="Trebuchet MS" panose="020B0603020202020204" pitchFamily="34" charset="0"/>
              </a:rPr>
              <a:t>wordwide</a:t>
            </a:r>
            <a:r>
              <a:rPr lang="en-GB" sz="1000">
                <a:solidFill>
                  <a:schemeClr val="tx2"/>
                </a:solidFill>
                <a:latin typeface="Trebuchet MS" panose="020B0603020202020204" pitchFamily="34" charset="0"/>
              </a:rPr>
              <a:t> network</a:t>
            </a:r>
          </a:p>
        </p:txBody>
      </p:sp>
      <p:grpSp>
        <p:nvGrpSpPr>
          <p:cNvPr id="15" name="Groupe 14">
            <a:extLst>
              <a:ext uri="{FF2B5EF4-FFF2-40B4-BE49-F238E27FC236}">
                <a16:creationId xmlns:a16="http://schemas.microsoft.com/office/drawing/2014/main" id="{830E81AF-2763-4BC2-BD07-8AA9B2CB800D}"/>
              </a:ext>
            </a:extLst>
          </p:cNvPr>
          <p:cNvGrpSpPr/>
          <p:nvPr/>
        </p:nvGrpSpPr>
        <p:grpSpPr>
          <a:xfrm>
            <a:off x="8448150" y="-11528"/>
            <a:ext cx="1435548" cy="555653"/>
            <a:chOff x="8448150" y="-11528"/>
            <a:chExt cx="1435548" cy="555653"/>
          </a:xfrm>
        </p:grpSpPr>
        <p:sp>
          <p:nvSpPr>
            <p:cNvPr id="3" name="Rectangle : coins arrondis 199">
              <a:extLst>
                <a:ext uri="{FF2B5EF4-FFF2-40B4-BE49-F238E27FC236}">
                  <a16:creationId xmlns:a16="http://schemas.microsoft.com/office/drawing/2014/main" id="{E741D83E-E3F2-48C6-9377-ACA3B69E9467}"/>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 name="Rectangle : coins arrondis 200">
              <a:extLst>
                <a:ext uri="{FF2B5EF4-FFF2-40B4-BE49-F238E27FC236}">
                  <a16:creationId xmlns:a16="http://schemas.microsoft.com/office/drawing/2014/main" id="{5D19D1C6-338C-4002-A7C4-FFD4ACF81266}"/>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 name="Rectangle : coins arrondis 201">
              <a:extLst>
                <a:ext uri="{FF2B5EF4-FFF2-40B4-BE49-F238E27FC236}">
                  <a16:creationId xmlns:a16="http://schemas.microsoft.com/office/drawing/2014/main" id="{DAB05FDA-F0AF-4906-B745-F973F6A2DCD4}"/>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 name="ZoneTexte 18">
              <a:extLst>
                <a:ext uri="{FF2B5EF4-FFF2-40B4-BE49-F238E27FC236}">
                  <a16:creationId xmlns:a16="http://schemas.microsoft.com/office/drawing/2014/main" id="{A83A6D04-E319-49EF-BAD1-3AFD5891151F}"/>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at a glance</a:t>
              </a:r>
            </a:p>
          </p:txBody>
        </p:sp>
        <p:pic>
          <p:nvPicPr>
            <p:cNvPr id="9" name="Graphique 128" descr="Jauge">
              <a:extLst>
                <a:ext uri="{FF2B5EF4-FFF2-40B4-BE49-F238E27FC236}">
                  <a16:creationId xmlns:a16="http://schemas.microsoft.com/office/drawing/2014/main" id="{DAA25AB4-D939-47A5-BD6C-CE7CE10F3E44}"/>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553764" y="187516"/>
              <a:ext cx="234953" cy="218224"/>
            </a:xfrm>
            <a:prstGeom prst="rect">
              <a:avLst/>
            </a:prstGeom>
            <a:effectLst/>
          </p:spPr>
        </p:pic>
        <p:pic>
          <p:nvPicPr>
            <p:cNvPr id="11" name="Graphique 90" descr="Poignée de main">
              <a:extLst>
                <a:ext uri="{FF2B5EF4-FFF2-40B4-BE49-F238E27FC236}">
                  <a16:creationId xmlns:a16="http://schemas.microsoft.com/office/drawing/2014/main" id="{4BD9D65E-F364-492E-A09A-A8FDFE4E69A2}"/>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960868" y="152880"/>
              <a:ext cx="256313" cy="287496"/>
            </a:xfrm>
            <a:prstGeom prst="rect">
              <a:avLst/>
            </a:prstGeom>
            <a:effectLst/>
          </p:spPr>
        </p:pic>
        <p:pic>
          <p:nvPicPr>
            <p:cNvPr id="13" name="Graphique 74" descr="Mégaphone">
              <a:extLst>
                <a:ext uri="{FF2B5EF4-FFF2-40B4-BE49-F238E27FC236}">
                  <a16:creationId xmlns:a16="http://schemas.microsoft.com/office/drawing/2014/main" id="{44251F13-51A3-43EB-A210-DFFBA36CF508}"/>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389331" y="181519"/>
              <a:ext cx="233011" cy="216420"/>
            </a:xfrm>
            <a:prstGeom prst="rect">
              <a:avLst/>
            </a:prstGeom>
            <a:effectLst/>
          </p:spPr>
        </p:pic>
        <p:pic>
          <p:nvPicPr>
            <p:cNvPr id="72" name="Picture 2" descr="Drapeau France">
              <a:extLst>
                <a:ext uri="{FF2B5EF4-FFF2-40B4-BE49-F238E27FC236}">
                  <a16:creationId xmlns:a16="http://schemas.microsoft.com/office/drawing/2014/main" id="{2094DB38-7E28-475B-A3D6-D150676DB82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73" name="Picture 2" descr="5 ft x 3 ft 150 x 90 cm-DRAPEAU BELGE Belgique 100% Polyester ...">
              <a:extLst>
                <a:ext uri="{FF2B5EF4-FFF2-40B4-BE49-F238E27FC236}">
                  <a16:creationId xmlns:a16="http://schemas.microsoft.com/office/drawing/2014/main" id="{52842488-0B84-44D1-AD95-C613EBC2BFB7}"/>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74" name="Picture 2 - 1" descr="Drapeau des Pays-Bas — Wikipédia">
              <a:extLst>
                <a:ext uri="{FF2B5EF4-FFF2-40B4-BE49-F238E27FC236}">
                  <a16:creationId xmlns:a16="http://schemas.microsoft.com/office/drawing/2014/main" id="{1584C7E7-1A81-49ED-ADB2-FF844C64775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5" name="Picture 2 - 2" descr="Drapeau du Luxembourg">
              <a:extLst>
                <a:ext uri="{FF2B5EF4-FFF2-40B4-BE49-F238E27FC236}">
                  <a16:creationId xmlns:a16="http://schemas.microsoft.com/office/drawing/2014/main" id="{5CA2E894-F899-44CA-85D8-DD68F47BD2B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76" name="ZoneTexte 18">
            <a:extLst>
              <a:ext uri="{FF2B5EF4-FFF2-40B4-BE49-F238E27FC236}">
                <a16:creationId xmlns:a16="http://schemas.microsoft.com/office/drawing/2014/main" id="{8F96CD7F-B6E1-4550-9360-52AA471E11CC}"/>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Overview</a:t>
            </a:r>
          </a:p>
        </p:txBody>
      </p:sp>
      <p:sp>
        <p:nvSpPr>
          <p:cNvPr id="77" name="Rectangle: Rounded Corners 4">
            <a:extLst>
              <a:ext uri="{FF2B5EF4-FFF2-40B4-BE49-F238E27FC236}">
                <a16:creationId xmlns:a16="http://schemas.microsoft.com/office/drawing/2014/main" id="{4DF80D76-02AE-4947-ACCE-82930C46FEEF}"/>
              </a:ext>
            </a:extLst>
          </p:cNvPr>
          <p:cNvSpPr/>
          <p:nvPr/>
        </p:nvSpPr>
        <p:spPr bwMode="auto">
          <a:xfrm>
            <a:off x="4661948" y="3147310"/>
            <a:ext cx="2072135" cy="324413"/>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b="1" i="1">
                <a:latin typeface="Trebuchet MS" panose="020B0603020202020204" pitchFamily="34" charset="0"/>
              </a:rPr>
              <a:t>2019 revenue: €115.6m</a:t>
            </a:r>
            <a:endParaRPr kumimoji="0" lang="en-GB" sz="100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p:txBody>
      </p:sp>
      <p:graphicFrame>
        <p:nvGraphicFramePr>
          <p:cNvPr id="78" name="Graphique 77">
            <a:extLst>
              <a:ext uri="{FF2B5EF4-FFF2-40B4-BE49-F238E27FC236}">
                <a16:creationId xmlns:a16="http://schemas.microsoft.com/office/drawing/2014/main" id="{21F19265-AB1F-4798-AB7C-62C6D54E848E}"/>
              </a:ext>
            </a:extLst>
          </p:cNvPr>
          <p:cNvGraphicFramePr/>
          <p:nvPr>
            <p:extLst>
              <p:ext uri="{D42A27DB-BD31-4B8C-83A1-F6EECF244321}">
                <p14:modId xmlns:p14="http://schemas.microsoft.com/office/powerpoint/2010/main" val="936439984"/>
              </p:ext>
            </p:extLst>
          </p:nvPr>
        </p:nvGraphicFramePr>
        <p:xfrm>
          <a:off x="4672706" y="1294964"/>
          <a:ext cx="2762741" cy="1928981"/>
        </p:xfrm>
        <a:graphic>
          <a:graphicData uri="http://schemas.openxmlformats.org/drawingml/2006/chart">
            <c:chart xmlns:c="http://schemas.openxmlformats.org/drawingml/2006/chart" xmlns:r="http://schemas.openxmlformats.org/officeDocument/2006/relationships" r:id="rId25"/>
          </a:graphicData>
        </a:graphic>
      </p:graphicFrame>
    </p:spTree>
    <p:extLst>
      <p:ext uri="{BB962C8B-B14F-4D97-AF65-F5344CB8AC3E}">
        <p14:creationId xmlns:p14="http://schemas.microsoft.com/office/powerpoint/2010/main" val="1784659859"/>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2274" name="Picture 2" descr="Acuris - Wikipedia">
            <a:extLst>
              <a:ext uri="{FF2B5EF4-FFF2-40B4-BE49-F238E27FC236}">
                <a16:creationId xmlns:a16="http://schemas.microsoft.com/office/drawing/2014/main" id="{A7435587-F27F-43D9-A5FB-F69805983BA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41483" y="2633401"/>
            <a:ext cx="880862" cy="32882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Object 5" hidden="1">
            <a:extLst>
              <a:ext uri="{FF2B5EF4-FFF2-40B4-BE49-F238E27FC236}">
                <a16:creationId xmlns:a16="http://schemas.microsoft.com/office/drawing/2014/main" id="{8F84A34F-E8AA-4AED-8B88-FCB0E5AC2159}"/>
              </a:ext>
            </a:extLst>
          </p:cNvPr>
          <p:cNvGraphicFramePr>
            <a:graphicFrameLocks noChangeAspect="1"/>
          </p:cNvGraphicFramePr>
          <p:nvPr>
            <p:custDataLst>
              <p:tags r:id="rId1"/>
            </p:custDataLst>
            <p:extLst>
              <p:ext uri="{D42A27DB-BD31-4B8C-83A1-F6EECF244321}">
                <p14:modId xmlns:p14="http://schemas.microsoft.com/office/powerpoint/2010/main" val="3335447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8F84A34F-E8AA-4AED-8B88-FCB0E5AC215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9B7D58-C617-49E9-89B9-1AC0FF651F74}"/>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59" name="Rectangle 258">
            <a:extLst>
              <a:ext uri="{FF2B5EF4-FFF2-40B4-BE49-F238E27FC236}">
                <a16:creationId xmlns:a16="http://schemas.microsoft.com/office/drawing/2014/main" id="{39A01E1E-8318-413B-B139-6FEAD081D578}"/>
              </a:ext>
            </a:extLst>
          </p:cNvPr>
          <p:cNvSpPr/>
          <p:nvPr/>
        </p:nvSpPr>
        <p:spPr bwMode="auto">
          <a:xfrm>
            <a:off x="5295149" y="2780253"/>
            <a:ext cx="2588770" cy="2200762"/>
          </a:xfrm>
          <a:prstGeom prst="rect">
            <a:avLst/>
          </a:prstGeom>
          <a:pattFill prst="ltDnDiag">
            <a:fgClr>
              <a:schemeClr val="bg2">
                <a:lumMod val="20000"/>
                <a:lumOff val="80000"/>
              </a:schemeClr>
            </a:fgClr>
            <a:bgClr>
              <a:schemeClr val="bg1"/>
            </a:bgClr>
          </a:pattFill>
          <a:ln w="9525" cap="flat" cmpd="sng" algn="ctr">
            <a:solidFill>
              <a:schemeClr val="bg2">
                <a:lumMod val="75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78" name="Rectangle : coins arrondis 277">
            <a:extLst>
              <a:ext uri="{FF2B5EF4-FFF2-40B4-BE49-F238E27FC236}">
                <a16:creationId xmlns:a16="http://schemas.microsoft.com/office/drawing/2014/main" id="{153D4AF7-08C7-407E-BF9D-BBDEF49D8835}"/>
              </a:ext>
            </a:extLst>
          </p:cNvPr>
          <p:cNvSpPr/>
          <p:nvPr/>
        </p:nvSpPr>
        <p:spPr bwMode="auto">
          <a:xfrm>
            <a:off x="309728" y="4389002"/>
            <a:ext cx="4451936" cy="1946364"/>
          </a:xfrm>
          <a:prstGeom prst="roundRect">
            <a:avLst>
              <a:gd name="adj" fmla="val 0"/>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60" name="Rectangle 259">
            <a:extLst>
              <a:ext uri="{FF2B5EF4-FFF2-40B4-BE49-F238E27FC236}">
                <a16:creationId xmlns:a16="http://schemas.microsoft.com/office/drawing/2014/main" id="{E18304CF-6F9E-4711-950E-D8174D2A8D1F}"/>
              </a:ext>
            </a:extLst>
          </p:cNvPr>
          <p:cNvSpPr/>
          <p:nvPr/>
        </p:nvSpPr>
        <p:spPr bwMode="auto">
          <a:xfrm>
            <a:off x="7122626" y="3441943"/>
            <a:ext cx="2422481" cy="1543113"/>
          </a:xfrm>
          <a:prstGeom prst="rect">
            <a:avLst/>
          </a:prstGeom>
          <a:pattFill prst="ltDnDiag">
            <a:fgClr>
              <a:srgbClr val="EBF9FF"/>
            </a:fgClr>
            <a:bgClr>
              <a:schemeClr val="bg1"/>
            </a:bgClr>
          </a:pattFill>
          <a:ln w="9525" cap="flat" cmpd="sng" algn="ctr">
            <a:solidFill>
              <a:schemeClr val="accent1">
                <a:lumMod val="75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re 1">
            <a:extLst>
              <a:ext uri="{FF2B5EF4-FFF2-40B4-BE49-F238E27FC236}">
                <a16:creationId xmlns:a16="http://schemas.microsoft.com/office/drawing/2014/main" id="{A6651C34-A612-43D2-B5FE-7CB36E0A852E}"/>
              </a:ext>
            </a:extLst>
          </p:cNvPr>
          <p:cNvSpPr>
            <a:spLocks noGrp="1"/>
          </p:cNvSpPr>
          <p:nvPr>
            <p:ph type="title"/>
          </p:nvPr>
        </p:nvSpPr>
        <p:spPr>
          <a:xfrm>
            <a:off x="165600" y="147600"/>
            <a:ext cx="8360223" cy="684000"/>
          </a:xfrm>
        </p:spPr>
        <p:txBody>
          <a:bodyPr/>
          <a:lstStyle/>
          <a:p>
            <a:r>
              <a:rPr lang="en-GB" dirty="0">
                <a:latin typeface="Trebuchet MS" panose="020B0603020202020204" pitchFamily="34" charset="0"/>
              </a:rPr>
              <a:t>This new demand for reglementary data has led BD&amp;A players to launch </a:t>
            </a:r>
            <a:r>
              <a:rPr lang="en-GB" dirty="0">
                <a:solidFill>
                  <a:schemeClr val="tx2"/>
                </a:solidFill>
                <a:latin typeface="Trebuchet MS" panose="020B0603020202020204" pitchFamily="34" charset="0"/>
              </a:rPr>
              <a:t>specific compliance offerings</a:t>
            </a:r>
            <a:r>
              <a:rPr lang="en-GB" dirty="0">
                <a:latin typeface="Trebuchet MS" panose="020B0603020202020204" pitchFamily="34" charset="0"/>
              </a:rPr>
              <a:t>, leveraging their expertise from historical core business</a:t>
            </a:r>
          </a:p>
        </p:txBody>
      </p:sp>
      <p:sp>
        <p:nvSpPr>
          <p:cNvPr id="3" name="Espace réservé du texte 2">
            <a:extLst>
              <a:ext uri="{FF2B5EF4-FFF2-40B4-BE49-F238E27FC236}">
                <a16:creationId xmlns:a16="http://schemas.microsoft.com/office/drawing/2014/main" id="{ECD6B838-50D7-4925-BA68-C1D1F0152C3F}"/>
              </a:ext>
            </a:extLst>
          </p:cNvPr>
          <p:cNvSpPr>
            <a:spLocks noGrp="1"/>
          </p:cNvSpPr>
          <p:nvPr>
            <p:ph type="body" sz="quarter" idx="10"/>
          </p:nvPr>
        </p:nvSpPr>
        <p:spPr>
          <a:xfrm>
            <a:off x="1315274" y="6580025"/>
            <a:ext cx="7131600" cy="244800"/>
          </a:xfrm>
        </p:spPr>
        <p:txBody>
          <a:bodyPr/>
          <a:lstStyle/>
          <a:p>
            <a:r>
              <a:rPr lang="en-GB"/>
              <a:t>Sources: eleven research &amp; analysis, expert calls, company websites</a:t>
            </a:r>
          </a:p>
        </p:txBody>
      </p:sp>
      <p:sp>
        <p:nvSpPr>
          <p:cNvPr id="10" name="ZoneTexte 9">
            <a:extLst>
              <a:ext uri="{FF2B5EF4-FFF2-40B4-BE49-F238E27FC236}">
                <a16:creationId xmlns:a16="http://schemas.microsoft.com/office/drawing/2014/main" id="{5983FA2E-54BB-46E8-AFCE-1A44F4E558A1}"/>
              </a:ext>
            </a:extLst>
          </p:cNvPr>
          <p:cNvSpPr txBox="1"/>
          <p:nvPr/>
        </p:nvSpPr>
        <p:spPr>
          <a:xfrm>
            <a:off x="345968" y="1452700"/>
            <a:ext cx="4296480" cy="2785378"/>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en-GB" sz="1000" dirty="0">
                <a:latin typeface="Trebuchet MS" panose="020B0603020202020204" pitchFamily="34" charset="0"/>
              </a:rPr>
              <a:t>Players like </a:t>
            </a:r>
            <a:r>
              <a:rPr lang="en-GB" sz="1000" dirty="0" err="1">
                <a:latin typeface="Trebuchet MS" panose="020B0603020202020204" pitchFamily="34" charset="0"/>
              </a:rPr>
              <a:t>Altares</a:t>
            </a:r>
            <a:r>
              <a:rPr lang="en-GB" sz="1000" dirty="0">
                <a:latin typeface="Trebuchet MS" panose="020B0603020202020204" pitchFamily="34" charset="0"/>
              </a:rPr>
              <a:t> propose offerings based on: </a:t>
            </a:r>
          </a:p>
          <a:p>
            <a:pPr marL="361950" indent="-171450">
              <a:spcAft>
                <a:spcPts val="0"/>
              </a:spcAft>
              <a:buFont typeface="Courier New" panose="02070309020205020404" pitchFamily="49" charset="0"/>
              <a:buChar char="o"/>
            </a:pPr>
            <a:r>
              <a:rPr lang="en-GB" sz="1000" dirty="0">
                <a:latin typeface="Trebuchet MS" panose="020B0603020202020204" pitchFamily="34" charset="0"/>
              </a:rPr>
              <a:t>On demand </a:t>
            </a:r>
            <a:r>
              <a:rPr lang="en-GB" sz="1000" dirty="0">
                <a:solidFill>
                  <a:schemeClr val="tx2"/>
                </a:solidFill>
                <a:latin typeface="Trebuchet MS" panose="020B0603020202020204" pitchFamily="34" charset="0"/>
              </a:rPr>
              <a:t>identification of Ultimate Beneficial Owners (UBO) </a:t>
            </a:r>
            <a:r>
              <a:rPr lang="en-GB" sz="1000" dirty="0">
                <a:latin typeface="Trebuchet MS" panose="020B0603020202020204" pitchFamily="34" charset="0"/>
              </a:rPr>
              <a:t>for potential new clients or suppliers, through the mapping of capitalistic links, completed by the </a:t>
            </a:r>
            <a:r>
              <a:rPr lang="en-GB" sz="1000" dirty="0">
                <a:solidFill>
                  <a:schemeClr val="tx2"/>
                </a:solidFill>
                <a:latin typeface="Trebuchet MS" panose="020B0603020202020204" pitchFamily="34" charset="0"/>
              </a:rPr>
              <a:t>verification of potential Politically Exposed Persons (PEP) </a:t>
            </a:r>
            <a:r>
              <a:rPr lang="en-GB" sz="1000" dirty="0">
                <a:latin typeface="Trebuchet MS" panose="020B0603020202020204" pitchFamily="34" charset="0"/>
              </a:rPr>
              <a:t>and the screening of the lists of sanctions (at the individual, corporate or country level)</a:t>
            </a:r>
          </a:p>
          <a:p>
            <a:pPr marL="361950" indent="-171450">
              <a:spcAft>
                <a:spcPts val="0"/>
              </a:spcAft>
              <a:buClr>
                <a:schemeClr val="tx1"/>
              </a:buClr>
              <a:buFont typeface="Courier New" panose="02070309020205020404" pitchFamily="49" charset="0"/>
              <a:buChar char="o"/>
            </a:pPr>
            <a:r>
              <a:rPr lang="en-GB" sz="1000" dirty="0">
                <a:solidFill>
                  <a:schemeClr val="tx2"/>
                </a:solidFill>
                <a:latin typeface="Trebuchet MS" panose="020B0603020202020204" pitchFamily="34" charset="0"/>
              </a:rPr>
              <a:t>Enrichment of existing client portfolio </a:t>
            </a:r>
            <a:r>
              <a:rPr lang="en-GB" sz="1000" dirty="0">
                <a:latin typeface="Trebuchet MS" panose="020B0603020202020204" pitchFamily="34" charset="0"/>
              </a:rPr>
              <a:t>(“remediation”) with compliance data (conformity check for existing business partners)</a:t>
            </a:r>
          </a:p>
          <a:p>
            <a:pPr marL="361950" indent="-171450">
              <a:spcAft>
                <a:spcPts val="200"/>
              </a:spcAft>
              <a:buClr>
                <a:schemeClr val="tx1"/>
              </a:buClr>
              <a:buFont typeface="Courier New" panose="02070309020205020404" pitchFamily="49" charset="0"/>
              <a:buChar char="o"/>
            </a:pPr>
            <a:r>
              <a:rPr lang="en-GB" sz="1000" dirty="0">
                <a:solidFill>
                  <a:schemeClr val="tx2"/>
                </a:solidFill>
                <a:latin typeface="Trebuchet MS" panose="020B0603020202020204" pitchFamily="34" charset="0"/>
              </a:rPr>
              <a:t>Regular monitoring</a:t>
            </a:r>
            <a:r>
              <a:rPr lang="en-GB" sz="1000" dirty="0">
                <a:latin typeface="Trebuchet MS" panose="020B0603020202020204" pitchFamily="34" charset="0"/>
              </a:rPr>
              <a:t> of client/supplier portfolio with fresh data</a:t>
            </a:r>
          </a:p>
          <a:p>
            <a:pPr marL="360363" indent="-171450">
              <a:spcAft>
                <a:spcPts val="0"/>
              </a:spcAft>
              <a:buFont typeface="Courier New" panose="02070309020205020404" pitchFamily="49" charset="0"/>
              <a:buChar char="o"/>
            </a:pPr>
            <a:r>
              <a:rPr lang="en-GB" sz="1000" dirty="0">
                <a:latin typeface="Trebuchet MS" panose="020B0603020202020204" pitchFamily="34" charset="0"/>
              </a:rPr>
              <a:t>Screening of potential </a:t>
            </a:r>
            <a:r>
              <a:rPr lang="en-GB" sz="1000" dirty="0">
                <a:solidFill>
                  <a:schemeClr val="tx2"/>
                </a:solidFill>
                <a:latin typeface="Trebuchet MS" panose="020B0603020202020204" pitchFamily="34" charset="0"/>
              </a:rPr>
              <a:t>adverse news </a:t>
            </a:r>
            <a:r>
              <a:rPr lang="en-GB" sz="1000" dirty="0">
                <a:latin typeface="Trebuchet MS" panose="020B0603020202020204" pitchFamily="34" charset="0"/>
              </a:rPr>
              <a:t>(ongoing corruption scandals impacting the peer or its beneficiaries, etc.) to prevent reputational risk</a:t>
            </a:r>
          </a:p>
          <a:p>
            <a:pPr marL="360363" indent="-171450">
              <a:spcAft>
                <a:spcPts val="200"/>
              </a:spcAft>
              <a:buFont typeface="Courier New" panose="02070309020205020404" pitchFamily="49" charset="0"/>
              <a:buChar char="o"/>
            </a:pPr>
            <a:r>
              <a:rPr lang="en-GB" sz="1000" dirty="0">
                <a:latin typeface="Trebuchet MS" panose="020B0603020202020204" pitchFamily="34" charset="0"/>
              </a:rPr>
              <a:t>Constitution of a complete “</a:t>
            </a:r>
            <a:r>
              <a:rPr lang="en-GB" sz="1000" dirty="0">
                <a:solidFill>
                  <a:schemeClr val="tx2"/>
                </a:solidFill>
                <a:latin typeface="Trebuchet MS" panose="020B0603020202020204" pitchFamily="34" charset="0"/>
              </a:rPr>
              <a:t>KYC file</a:t>
            </a:r>
            <a:r>
              <a:rPr lang="en-GB" sz="1000" dirty="0">
                <a:latin typeface="Trebuchet MS" panose="020B0603020202020204" pitchFamily="34" charset="0"/>
              </a:rPr>
              <a:t>” about the targeted company that can be used for </a:t>
            </a:r>
            <a:r>
              <a:rPr lang="en-GB" sz="1000" dirty="0">
                <a:solidFill>
                  <a:schemeClr val="tx2"/>
                </a:solidFill>
                <a:latin typeface="Trebuchet MS" panose="020B0603020202020204" pitchFamily="34" charset="0"/>
              </a:rPr>
              <a:t>reporting purposes</a:t>
            </a:r>
          </a:p>
          <a:p>
            <a:pPr marL="177800" indent="-171450">
              <a:spcAft>
                <a:spcPts val="600"/>
              </a:spcAft>
              <a:buFont typeface="Arial" panose="020B0604020202020204" pitchFamily="34" charset="0"/>
              <a:buChar char="•"/>
            </a:pPr>
            <a:r>
              <a:rPr lang="en-GB" sz="1000" dirty="0">
                <a:latin typeface="Trebuchet MS" panose="020B0603020202020204" pitchFamily="34" charset="0"/>
              </a:rPr>
              <a:t>The result of these services takes the form of a “</a:t>
            </a:r>
            <a:r>
              <a:rPr lang="en-GB" sz="1000" dirty="0">
                <a:solidFill>
                  <a:schemeClr val="tx2"/>
                </a:solidFill>
                <a:latin typeface="Trebuchet MS" panose="020B0603020202020204" pitchFamily="34" charset="0"/>
              </a:rPr>
              <a:t>compliance risk score</a:t>
            </a:r>
            <a:r>
              <a:rPr lang="en-GB" sz="1000" dirty="0">
                <a:latin typeface="Trebuchet MS" panose="020B0603020202020204" pitchFamily="34" charset="0"/>
              </a:rPr>
              <a:t>” and potentially a </a:t>
            </a:r>
            <a:r>
              <a:rPr lang="en-GB" sz="1000" dirty="0">
                <a:solidFill>
                  <a:schemeClr val="tx2"/>
                </a:solidFill>
                <a:latin typeface="Trebuchet MS" panose="020B0603020202020204" pitchFamily="34" charset="0"/>
              </a:rPr>
              <a:t>detailed report</a:t>
            </a:r>
          </a:p>
        </p:txBody>
      </p:sp>
      <p:sp>
        <p:nvSpPr>
          <p:cNvPr id="37" name="Rectangle 36">
            <a:extLst>
              <a:ext uri="{FF2B5EF4-FFF2-40B4-BE49-F238E27FC236}">
                <a16:creationId xmlns:a16="http://schemas.microsoft.com/office/drawing/2014/main" id="{56D89242-0B0F-4AF3-BA64-33D2293FE228}"/>
              </a:ext>
            </a:extLst>
          </p:cNvPr>
          <p:cNvSpPr/>
          <p:nvPr/>
        </p:nvSpPr>
        <p:spPr bwMode="auto">
          <a:xfrm>
            <a:off x="5513770" y="5573241"/>
            <a:ext cx="3903444" cy="762125"/>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dirty="0">
                <a:ln>
                  <a:noFill/>
                </a:ln>
                <a:solidFill>
                  <a:schemeClr val="tx1"/>
                </a:solidFill>
                <a:effectLst/>
                <a:latin typeface="Trebuchet MS" panose="020B0603020202020204" pitchFamily="34" charset="0"/>
              </a:rPr>
              <a:t>“To propose their compliance offerings, incumbents of the Credit risk information market must </a:t>
            </a:r>
            <a:r>
              <a:rPr kumimoji="0" lang="en-GB" sz="1000" b="0" i="1" u="none" strike="noStrike" cap="none" normalizeH="0" baseline="0" dirty="0">
                <a:ln>
                  <a:noFill/>
                </a:ln>
                <a:solidFill>
                  <a:schemeClr val="tx2"/>
                </a:solidFill>
                <a:effectLst/>
                <a:latin typeface="Trebuchet MS" panose="020B0603020202020204" pitchFamily="34" charset="0"/>
              </a:rPr>
              <a:t>partner up with specialist</a:t>
            </a:r>
            <a:r>
              <a:rPr kumimoji="0" lang="en-GB" sz="1000" b="0" i="1" u="none" strike="noStrike" cap="none" normalizeH="0" baseline="0" dirty="0">
                <a:ln>
                  <a:noFill/>
                </a:ln>
                <a:solidFill>
                  <a:schemeClr val="tx1"/>
                </a:solidFill>
                <a:effectLst/>
                <a:latin typeface="Trebuchet MS" panose="020B0603020202020204" pitchFamily="34" charset="0"/>
              </a:rPr>
              <a:t> such as Refinitiv or Dow Jones that have dedicated database”</a:t>
            </a:r>
          </a:p>
          <a:p>
            <a:r>
              <a:rPr lang="en-GB" sz="1000" dirty="0">
                <a:latin typeface="Trebuchet MS" panose="020B0603020202020204" pitchFamily="34" charset="0"/>
              </a:rPr>
              <a:t>M.D. France &amp; Belgium at </a:t>
            </a:r>
            <a:r>
              <a:rPr lang="en-GB" sz="1000" dirty="0" err="1">
                <a:latin typeface="Trebuchet MS" panose="020B0603020202020204" pitchFamily="34" charset="0"/>
              </a:rPr>
              <a:t>Creditsafe</a:t>
            </a:r>
            <a:endParaRPr lang="en-GB" sz="1000" dirty="0">
              <a:latin typeface="Trebuchet MS" panose="020B0603020202020204" pitchFamily="34" charset="0"/>
            </a:endParaRPr>
          </a:p>
        </p:txBody>
      </p:sp>
      <p:sp>
        <p:nvSpPr>
          <p:cNvPr id="39" name="Freeform 663">
            <a:extLst>
              <a:ext uri="{FF2B5EF4-FFF2-40B4-BE49-F238E27FC236}">
                <a16:creationId xmlns:a16="http://schemas.microsoft.com/office/drawing/2014/main" id="{0DC17497-0E37-48D1-A1D9-D88C7E5CC052}"/>
              </a:ext>
            </a:extLst>
          </p:cNvPr>
          <p:cNvSpPr>
            <a:spLocks noChangeAspect="1" noEditPoints="1"/>
          </p:cNvSpPr>
          <p:nvPr/>
        </p:nvSpPr>
        <p:spPr bwMode="auto">
          <a:xfrm>
            <a:off x="5378625" y="5846829"/>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cxnSp>
        <p:nvCxnSpPr>
          <p:cNvPr id="48" name="Connecteur droit 47">
            <a:extLst>
              <a:ext uri="{FF2B5EF4-FFF2-40B4-BE49-F238E27FC236}">
                <a16:creationId xmlns:a16="http://schemas.microsoft.com/office/drawing/2014/main" id="{8A6E856A-CC90-4DFD-8F8A-8A4E42902775}"/>
              </a:ext>
            </a:extLst>
          </p:cNvPr>
          <p:cNvCxnSpPr>
            <a:cxnSpLocks/>
          </p:cNvCxnSpPr>
          <p:nvPr/>
        </p:nvCxnSpPr>
        <p:spPr bwMode="auto">
          <a:xfrm>
            <a:off x="4953000" y="1436691"/>
            <a:ext cx="0" cy="4787807"/>
          </a:xfrm>
          <a:prstGeom prst="line">
            <a:avLst/>
          </a:prstGeom>
          <a:solidFill>
            <a:schemeClr val="accent1"/>
          </a:solidFill>
          <a:ln w="9525" cap="flat" cmpd="sng" algn="ctr">
            <a:solidFill>
              <a:schemeClr val="bg2"/>
            </a:solidFill>
            <a:prstDash val="solid"/>
            <a:round/>
            <a:headEnd type="none" w="med" len="med"/>
            <a:tailEnd type="none" w="med" len="med"/>
          </a:ln>
          <a:effectLst/>
        </p:spPr>
      </p:cxnSp>
      <p:sp>
        <p:nvSpPr>
          <p:cNvPr id="50" name="ZoneTexte 49">
            <a:extLst>
              <a:ext uri="{FF2B5EF4-FFF2-40B4-BE49-F238E27FC236}">
                <a16:creationId xmlns:a16="http://schemas.microsoft.com/office/drawing/2014/main" id="{6BCB85EB-7167-42D3-9E74-8F93C79D2286}"/>
              </a:ext>
            </a:extLst>
          </p:cNvPr>
          <p:cNvSpPr txBox="1"/>
          <p:nvPr/>
        </p:nvSpPr>
        <p:spPr>
          <a:xfrm>
            <a:off x="5034890" y="1460500"/>
            <a:ext cx="4436366" cy="579646"/>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en-GB" sz="1000">
                <a:latin typeface="Trebuchet MS" panose="020B0603020202020204" pitchFamily="34" charset="0"/>
              </a:rPr>
              <a:t>Performing due diligence of peers is about </a:t>
            </a:r>
            <a:r>
              <a:rPr lang="en-GB" sz="1000">
                <a:solidFill>
                  <a:schemeClr val="tx2"/>
                </a:solidFill>
                <a:latin typeface="Trebuchet MS" panose="020B0603020202020204" pitchFamily="34" charset="0"/>
              </a:rPr>
              <a:t>collecting data from various sources</a:t>
            </a:r>
            <a:r>
              <a:rPr lang="en-GB" sz="1000">
                <a:latin typeface="Trebuchet MS" panose="020B0603020202020204" pitchFamily="34" charset="0"/>
              </a:rPr>
              <a:t>, which is the core expertise of incumbents like </a:t>
            </a:r>
            <a:r>
              <a:rPr lang="en-GB" sz="1000" err="1">
                <a:latin typeface="Trebuchet MS" panose="020B0603020202020204" pitchFamily="34" charset="0"/>
              </a:rPr>
              <a:t>Altares</a:t>
            </a:r>
            <a:endParaRPr lang="en-GB" sz="1000">
              <a:latin typeface="Trebuchet MS" panose="020B0603020202020204" pitchFamily="34" charset="0"/>
            </a:endParaRPr>
          </a:p>
          <a:p>
            <a:pPr marL="171450" indent="-171450">
              <a:buFontTx/>
              <a:buChar char="-"/>
            </a:pPr>
            <a:endParaRPr lang="en-GB" sz="1000">
              <a:latin typeface="Trebuchet MS" panose="020B0603020202020204" pitchFamily="34" charset="0"/>
            </a:endParaRPr>
          </a:p>
        </p:txBody>
      </p:sp>
      <p:sp>
        <p:nvSpPr>
          <p:cNvPr id="71" name="Rectangle 70">
            <a:extLst>
              <a:ext uri="{FF2B5EF4-FFF2-40B4-BE49-F238E27FC236}">
                <a16:creationId xmlns:a16="http://schemas.microsoft.com/office/drawing/2014/main" id="{1643DEE2-0630-43A4-A6A8-9BFA1AB86C10}"/>
              </a:ext>
            </a:extLst>
          </p:cNvPr>
          <p:cNvSpPr/>
          <p:nvPr/>
        </p:nvSpPr>
        <p:spPr bwMode="auto">
          <a:xfrm>
            <a:off x="8745985" y="3434965"/>
            <a:ext cx="838259" cy="29307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en-GB" sz="800" b="1">
                <a:solidFill>
                  <a:schemeClr val="accent1">
                    <a:lumMod val="75000"/>
                  </a:schemeClr>
                </a:solidFill>
                <a:latin typeface="Trebuchet MS" panose="020B0603020202020204" pitchFamily="34" charset="0"/>
              </a:rPr>
              <a:t>Compliance experts</a:t>
            </a:r>
            <a:endParaRPr kumimoji="0" lang="en-GB" sz="800" b="1" i="0" u="none" strike="noStrike" cap="none" normalizeH="0" baseline="0">
              <a:ln>
                <a:noFill/>
              </a:ln>
              <a:solidFill>
                <a:schemeClr val="accent1">
                  <a:lumMod val="75000"/>
                </a:schemeClr>
              </a:solidFill>
              <a:effectLst/>
              <a:latin typeface="Trebuchet MS" panose="020B0603020202020204" pitchFamily="34" charset="0"/>
            </a:endParaRPr>
          </a:p>
        </p:txBody>
      </p:sp>
      <p:sp>
        <p:nvSpPr>
          <p:cNvPr id="150" name="ZoneTexte 149">
            <a:extLst>
              <a:ext uri="{FF2B5EF4-FFF2-40B4-BE49-F238E27FC236}">
                <a16:creationId xmlns:a16="http://schemas.microsoft.com/office/drawing/2014/main" id="{F1A90A2E-7ADE-4277-908B-FB4B1A49386A}"/>
              </a:ext>
            </a:extLst>
          </p:cNvPr>
          <p:cNvSpPr txBox="1"/>
          <p:nvPr/>
        </p:nvSpPr>
        <p:spPr>
          <a:xfrm>
            <a:off x="6083352" y="5119377"/>
            <a:ext cx="228675" cy="192741"/>
          </a:xfrm>
          <a:prstGeom prst="rect">
            <a:avLst/>
          </a:prstGeom>
          <a:solidFill>
            <a:schemeClr val="bg1">
              <a:lumMod val="85000"/>
            </a:schemeClr>
          </a:solidFill>
        </p:spPr>
        <p:txBody>
          <a:bodyPr wrap="square" rtlCol="0" anchor="ctr">
            <a:noAutofit/>
          </a:bodyPr>
          <a:lstStyle/>
          <a:p>
            <a:pPr algn="ctr"/>
            <a:endParaRPr lang="en-GB" sz="700">
              <a:latin typeface="Trebuchet MS" pitchFamily="34" charset="0"/>
            </a:endParaRPr>
          </a:p>
        </p:txBody>
      </p:sp>
      <p:sp>
        <p:nvSpPr>
          <p:cNvPr id="151" name="ZoneTexte 150">
            <a:extLst>
              <a:ext uri="{FF2B5EF4-FFF2-40B4-BE49-F238E27FC236}">
                <a16:creationId xmlns:a16="http://schemas.microsoft.com/office/drawing/2014/main" id="{20D631EC-9E83-411D-9C99-D3969DFF0B7E}"/>
              </a:ext>
            </a:extLst>
          </p:cNvPr>
          <p:cNvSpPr txBox="1"/>
          <p:nvPr/>
        </p:nvSpPr>
        <p:spPr>
          <a:xfrm>
            <a:off x="6297278" y="5034415"/>
            <a:ext cx="686645" cy="307777"/>
          </a:xfrm>
          <a:prstGeom prst="rect">
            <a:avLst/>
          </a:prstGeom>
          <a:noFill/>
        </p:spPr>
        <p:txBody>
          <a:bodyPr wrap="square" rtlCol="0">
            <a:spAutoFit/>
          </a:bodyPr>
          <a:lstStyle/>
          <a:p>
            <a:r>
              <a:rPr lang="en-GB" sz="700">
                <a:latin typeface="Trebuchet MS" panose="020B0603020202020204" pitchFamily="34" charset="0"/>
              </a:rPr>
              <a:t>Data sources</a:t>
            </a:r>
          </a:p>
        </p:txBody>
      </p:sp>
      <p:sp>
        <p:nvSpPr>
          <p:cNvPr id="153" name="ZoneTexte 152">
            <a:extLst>
              <a:ext uri="{FF2B5EF4-FFF2-40B4-BE49-F238E27FC236}">
                <a16:creationId xmlns:a16="http://schemas.microsoft.com/office/drawing/2014/main" id="{EDC6F53C-0FEB-453E-A0B7-5B17031ADE8D}"/>
              </a:ext>
            </a:extLst>
          </p:cNvPr>
          <p:cNvSpPr txBox="1"/>
          <p:nvPr/>
        </p:nvSpPr>
        <p:spPr>
          <a:xfrm>
            <a:off x="6694897" y="4990375"/>
            <a:ext cx="837584" cy="415498"/>
          </a:xfrm>
          <a:prstGeom prst="rect">
            <a:avLst/>
          </a:prstGeom>
          <a:noFill/>
        </p:spPr>
        <p:txBody>
          <a:bodyPr wrap="square" rtlCol="0">
            <a:spAutoFit/>
          </a:bodyPr>
          <a:lstStyle/>
          <a:p>
            <a:pPr algn="ctr"/>
            <a:r>
              <a:rPr lang="en-GB" sz="700" i="1">
                <a:latin typeface="Trebuchet MS" panose="020B0603020202020204" pitchFamily="34" charset="0"/>
              </a:rPr>
              <a:t>Type of information required</a:t>
            </a:r>
          </a:p>
        </p:txBody>
      </p:sp>
      <p:sp>
        <p:nvSpPr>
          <p:cNvPr id="154" name="ZoneTexte 153">
            <a:extLst>
              <a:ext uri="{FF2B5EF4-FFF2-40B4-BE49-F238E27FC236}">
                <a16:creationId xmlns:a16="http://schemas.microsoft.com/office/drawing/2014/main" id="{EFCA927C-2131-40F2-AA98-C81EDA98756C}"/>
              </a:ext>
            </a:extLst>
          </p:cNvPr>
          <p:cNvSpPr txBox="1"/>
          <p:nvPr/>
        </p:nvSpPr>
        <p:spPr>
          <a:xfrm>
            <a:off x="7537426" y="5119377"/>
            <a:ext cx="228675" cy="192741"/>
          </a:xfrm>
          <a:prstGeom prst="rect">
            <a:avLst/>
          </a:prstGeom>
          <a:noFill/>
          <a:ln w="9525" cap="flat" cmpd="sng" algn="ctr">
            <a:solidFill>
              <a:schemeClr val="bg2">
                <a:lumMod val="75000"/>
              </a:schemeClr>
            </a:solidFill>
            <a:prstDash val="dash"/>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0" marR="0" indent="0" algn="ctr" defTabSz="914400" eaLnBrk="1" latinLnBrk="0" hangingPunct="1">
              <a:lnSpc>
                <a:spcPct val="100000"/>
              </a:lnSpc>
              <a:buClrTx/>
              <a:buSzTx/>
              <a:buFontTx/>
              <a:buNone/>
              <a:tabLst/>
              <a:defRPr kumimoji="0" sz="1200" b="0" i="0" u="none" strike="noStrike" cap="none" normalizeH="0" baseline="0">
                <a:ln>
                  <a:noFill/>
                </a:ln>
                <a:effectLst/>
                <a:latin typeface="Trebuchet MS" pitchFamily="34" charset="0"/>
              </a:defRPr>
            </a:lvl1pPr>
          </a:lstStyle>
          <a:p>
            <a:endParaRPr lang="en-GB"/>
          </a:p>
        </p:txBody>
      </p:sp>
      <p:sp>
        <p:nvSpPr>
          <p:cNvPr id="155" name="ZoneTexte 154">
            <a:extLst>
              <a:ext uri="{FF2B5EF4-FFF2-40B4-BE49-F238E27FC236}">
                <a16:creationId xmlns:a16="http://schemas.microsoft.com/office/drawing/2014/main" id="{60A83057-EAF9-41BC-9864-B13798B8990D}"/>
              </a:ext>
            </a:extLst>
          </p:cNvPr>
          <p:cNvSpPr txBox="1"/>
          <p:nvPr/>
        </p:nvSpPr>
        <p:spPr>
          <a:xfrm>
            <a:off x="7732851" y="5052918"/>
            <a:ext cx="986145" cy="307777"/>
          </a:xfrm>
          <a:prstGeom prst="rect">
            <a:avLst/>
          </a:prstGeom>
          <a:noFill/>
        </p:spPr>
        <p:txBody>
          <a:bodyPr wrap="square" rtlCol="0">
            <a:spAutoFit/>
          </a:bodyPr>
          <a:lstStyle/>
          <a:p>
            <a:r>
              <a:rPr lang="en-GB" sz="700">
                <a:latin typeface="Trebuchet MS" panose="020B0603020202020204" pitchFamily="34" charset="0"/>
              </a:rPr>
              <a:t>BD&amp;A players’ services</a:t>
            </a:r>
          </a:p>
        </p:txBody>
      </p:sp>
      <p:sp>
        <p:nvSpPr>
          <p:cNvPr id="157" name="ZoneTexte 156">
            <a:extLst>
              <a:ext uri="{FF2B5EF4-FFF2-40B4-BE49-F238E27FC236}">
                <a16:creationId xmlns:a16="http://schemas.microsoft.com/office/drawing/2014/main" id="{4769867A-8237-43CF-8A70-B12229DB6ADB}"/>
              </a:ext>
            </a:extLst>
          </p:cNvPr>
          <p:cNvSpPr txBox="1"/>
          <p:nvPr/>
        </p:nvSpPr>
        <p:spPr>
          <a:xfrm>
            <a:off x="8490321" y="5119377"/>
            <a:ext cx="228675" cy="192741"/>
          </a:xfrm>
          <a:prstGeom prst="rect">
            <a:avLst/>
          </a:prstGeom>
          <a:noFill/>
          <a:ln w="9525" cap="flat" cmpd="sng" algn="ctr">
            <a:solidFill>
              <a:schemeClr val="accent1">
                <a:lumMod val="75000"/>
              </a:schemeClr>
            </a:solidFill>
            <a:prstDash val="dash"/>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0" marR="0" indent="0" algn="ctr" defTabSz="914400" eaLnBrk="1" latinLnBrk="0" hangingPunct="1">
              <a:lnSpc>
                <a:spcPct val="100000"/>
              </a:lnSpc>
              <a:buClrTx/>
              <a:buSzTx/>
              <a:buFontTx/>
              <a:buNone/>
              <a:tabLst/>
              <a:defRPr kumimoji="0" sz="1200" b="0" i="0" u="none" strike="noStrike" cap="none" normalizeH="0" baseline="0">
                <a:ln>
                  <a:noFill/>
                </a:ln>
                <a:effectLst/>
                <a:latin typeface="Trebuchet MS" pitchFamily="34" charset="0"/>
              </a:defRPr>
            </a:lvl1pPr>
          </a:lstStyle>
          <a:p>
            <a:endParaRPr lang="en-GB"/>
          </a:p>
        </p:txBody>
      </p:sp>
      <p:sp>
        <p:nvSpPr>
          <p:cNvPr id="158" name="ZoneTexte 157">
            <a:extLst>
              <a:ext uri="{FF2B5EF4-FFF2-40B4-BE49-F238E27FC236}">
                <a16:creationId xmlns:a16="http://schemas.microsoft.com/office/drawing/2014/main" id="{B2046E6D-9AB8-45E2-923A-9CFFDC8C6271}"/>
              </a:ext>
            </a:extLst>
          </p:cNvPr>
          <p:cNvSpPr txBox="1"/>
          <p:nvPr/>
        </p:nvSpPr>
        <p:spPr>
          <a:xfrm>
            <a:off x="8683907" y="5055482"/>
            <a:ext cx="996787" cy="307777"/>
          </a:xfrm>
          <a:prstGeom prst="rect">
            <a:avLst/>
          </a:prstGeom>
          <a:noFill/>
        </p:spPr>
        <p:txBody>
          <a:bodyPr wrap="square" rtlCol="0">
            <a:spAutoFit/>
          </a:bodyPr>
          <a:lstStyle/>
          <a:p>
            <a:r>
              <a:rPr lang="en-GB" sz="700">
                <a:latin typeface="Trebuchet MS" panose="020B0603020202020204" pitchFamily="34" charset="0"/>
              </a:rPr>
              <a:t>Compliance experts’ services</a:t>
            </a:r>
          </a:p>
        </p:txBody>
      </p:sp>
      <p:sp>
        <p:nvSpPr>
          <p:cNvPr id="164" name="ZoneTexte 163">
            <a:extLst>
              <a:ext uri="{FF2B5EF4-FFF2-40B4-BE49-F238E27FC236}">
                <a16:creationId xmlns:a16="http://schemas.microsoft.com/office/drawing/2014/main" id="{DD60547A-DFE0-479C-969A-54C7B418BC63}"/>
              </a:ext>
            </a:extLst>
          </p:cNvPr>
          <p:cNvSpPr txBox="1"/>
          <p:nvPr/>
        </p:nvSpPr>
        <p:spPr>
          <a:xfrm>
            <a:off x="5149560" y="1849884"/>
            <a:ext cx="4182671" cy="246221"/>
          </a:xfrm>
          <a:prstGeom prst="rect">
            <a:avLst/>
          </a:prstGeom>
          <a:noFill/>
        </p:spPr>
        <p:txBody>
          <a:bodyPr wrap="square" rtlCol="0">
            <a:spAutoFit/>
          </a:bodyPr>
          <a:lstStyle/>
          <a:p>
            <a:r>
              <a:rPr lang="en-GB" sz="1000" b="1" i="1">
                <a:latin typeface="Trebuchet MS" panose="020B0603020202020204" pitchFamily="34" charset="0"/>
              </a:rPr>
              <a:t>Mapping of required data for compliance reports generation: </a:t>
            </a:r>
          </a:p>
        </p:txBody>
      </p:sp>
      <p:sp>
        <p:nvSpPr>
          <p:cNvPr id="222" name="Rectangle 221">
            <a:extLst>
              <a:ext uri="{FF2B5EF4-FFF2-40B4-BE49-F238E27FC236}">
                <a16:creationId xmlns:a16="http://schemas.microsoft.com/office/drawing/2014/main" id="{7452E057-4413-45A8-B6CD-EAF2A5932968}"/>
              </a:ext>
            </a:extLst>
          </p:cNvPr>
          <p:cNvSpPr/>
          <p:nvPr/>
        </p:nvSpPr>
        <p:spPr bwMode="auto">
          <a:xfrm>
            <a:off x="7016503" y="2145267"/>
            <a:ext cx="918330" cy="397365"/>
          </a:xfrm>
          <a:prstGeom prst="rect">
            <a:avLst/>
          </a:prstGeom>
          <a:solidFill>
            <a:srgbClr val="F2F2F2"/>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900">
              <a:latin typeface="Trebuchet MS" pitchFamily="34" charset="0"/>
            </a:endParaRPr>
          </a:p>
        </p:txBody>
      </p:sp>
      <p:sp>
        <p:nvSpPr>
          <p:cNvPr id="223" name="Rectangle 222">
            <a:extLst>
              <a:ext uri="{FF2B5EF4-FFF2-40B4-BE49-F238E27FC236}">
                <a16:creationId xmlns:a16="http://schemas.microsoft.com/office/drawing/2014/main" id="{313A611C-743F-406F-B2E1-8B9D1DAD67D4}"/>
              </a:ext>
            </a:extLst>
          </p:cNvPr>
          <p:cNvSpPr/>
          <p:nvPr/>
        </p:nvSpPr>
        <p:spPr bwMode="auto">
          <a:xfrm>
            <a:off x="7065802" y="2741572"/>
            <a:ext cx="848515" cy="49928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i="1">
                <a:latin typeface="Trebuchet MS" panose="020B0603020202020204" pitchFamily="34" charset="0"/>
              </a:rPr>
              <a:t>Identification of compliance risk</a:t>
            </a:r>
          </a:p>
        </p:txBody>
      </p:sp>
      <p:sp>
        <p:nvSpPr>
          <p:cNvPr id="224" name="Rectangle 223">
            <a:extLst>
              <a:ext uri="{FF2B5EF4-FFF2-40B4-BE49-F238E27FC236}">
                <a16:creationId xmlns:a16="http://schemas.microsoft.com/office/drawing/2014/main" id="{0DDADAEF-D311-4ED6-AE6D-8125A1E9FE0F}"/>
              </a:ext>
            </a:extLst>
          </p:cNvPr>
          <p:cNvSpPr/>
          <p:nvPr/>
        </p:nvSpPr>
        <p:spPr bwMode="auto">
          <a:xfrm>
            <a:off x="6082180" y="3383498"/>
            <a:ext cx="909206" cy="574937"/>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anose="020B0603020202020204" pitchFamily="34" charset="0"/>
              </a:rPr>
              <a:t>Identificatio</a:t>
            </a:r>
            <a:r>
              <a:rPr lang="en-GB" sz="800" i="1">
                <a:latin typeface="Trebuchet MS" panose="020B0603020202020204" pitchFamily="34" charset="0"/>
              </a:rPr>
              <a:t>n of capitalistic links and UBOs</a:t>
            </a:r>
            <a:endParaRPr kumimoji="0" lang="en-GB" sz="800" b="0" i="1" u="none" strike="noStrike" cap="none" normalizeH="0" baseline="0">
              <a:ln>
                <a:noFill/>
              </a:ln>
              <a:solidFill>
                <a:schemeClr val="tx1"/>
              </a:solidFill>
              <a:effectLst/>
              <a:latin typeface="Trebuchet MS" panose="020B0603020202020204" pitchFamily="34" charset="0"/>
            </a:endParaRPr>
          </a:p>
        </p:txBody>
      </p:sp>
      <p:sp>
        <p:nvSpPr>
          <p:cNvPr id="225" name="Rectangle 224">
            <a:extLst>
              <a:ext uri="{FF2B5EF4-FFF2-40B4-BE49-F238E27FC236}">
                <a16:creationId xmlns:a16="http://schemas.microsoft.com/office/drawing/2014/main" id="{244D0206-F15E-4230-BB43-4CDBCA1A9037}"/>
              </a:ext>
            </a:extLst>
          </p:cNvPr>
          <p:cNvSpPr/>
          <p:nvPr/>
        </p:nvSpPr>
        <p:spPr bwMode="auto">
          <a:xfrm>
            <a:off x="8257253" y="3520577"/>
            <a:ext cx="689955" cy="310018"/>
          </a:xfrm>
          <a:prstGeom prst="rect">
            <a:avLst/>
          </a:prstGeom>
          <a:noFill/>
          <a:ln>
            <a:noFill/>
          </a:ln>
        </p:spPr>
        <p:txBody>
          <a:bodyPr wrap="square" rtlCol="0" anchor="ctr">
            <a:noAutofit/>
          </a:bodyPr>
          <a:lstStyle/>
          <a:p>
            <a:pPr algn="ctr"/>
            <a:r>
              <a:rPr lang="en-GB" sz="800" i="1">
                <a:latin typeface="Trebuchet MS" panose="020B0603020202020204" pitchFamily="34" charset="0"/>
              </a:rPr>
              <a:t>Integrity checking</a:t>
            </a:r>
          </a:p>
        </p:txBody>
      </p:sp>
      <p:sp>
        <p:nvSpPr>
          <p:cNvPr id="227" name="ZoneTexte 226">
            <a:extLst>
              <a:ext uri="{FF2B5EF4-FFF2-40B4-BE49-F238E27FC236}">
                <a16:creationId xmlns:a16="http://schemas.microsoft.com/office/drawing/2014/main" id="{F0EC680E-AD43-4611-A545-033BDFB33148}"/>
              </a:ext>
            </a:extLst>
          </p:cNvPr>
          <p:cNvSpPr txBox="1"/>
          <p:nvPr/>
        </p:nvSpPr>
        <p:spPr>
          <a:xfrm>
            <a:off x="7887062" y="3985248"/>
            <a:ext cx="838260" cy="338554"/>
          </a:xfrm>
          <a:prstGeom prst="rect">
            <a:avLst/>
          </a:prstGeom>
          <a:noFill/>
        </p:spPr>
        <p:txBody>
          <a:bodyPr wrap="square" rtlCol="0">
            <a:spAutoFit/>
          </a:bodyPr>
          <a:lstStyle/>
          <a:p>
            <a:pPr algn="ctr"/>
            <a:r>
              <a:rPr lang="en-GB" sz="800" i="1">
                <a:latin typeface="Trebuchet MS" panose="020B0603020202020204" pitchFamily="34" charset="0"/>
              </a:rPr>
              <a:t>PEP verification</a:t>
            </a:r>
          </a:p>
        </p:txBody>
      </p:sp>
      <p:sp>
        <p:nvSpPr>
          <p:cNvPr id="228" name="ZoneTexte 227">
            <a:extLst>
              <a:ext uri="{FF2B5EF4-FFF2-40B4-BE49-F238E27FC236}">
                <a16:creationId xmlns:a16="http://schemas.microsoft.com/office/drawing/2014/main" id="{F1139D36-B5C5-42F1-89B0-98B7151A0922}"/>
              </a:ext>
            </a:extLst>
          </p:cNvPr>
          <p:cNvSpPr txBox="1"/>
          <p:nvPr/>
        </p:nvSpPr>
        <p:spPr>
          <a:xfrm>
            <a:off x="8472938" y="3988381"/>
            <a:ext cx="838259" cy="338554"/>
          </a:xfrm>
          <a:prstGeom prst="rect">
            <a:avLst/>
          </a:prstGeom>
          <a:noFill/>
        </p:spPr>
        <p:txBody>
          <a:bodyPr wrap="square" rtlCol="0">
            <a:spAutoFit/>
          </a:bodyPr>
          <a:lstStyle/>
          <a:p>
            <a:pPr algn="ctr"/>
            <a:r>
              <a:rPr lang="en-GB" sz="800" i="1">
                <a:latin typeface="Trebuchet MS" panose="020B0603020202020204" pitchFamily="34" charset="0"/>
              </a:rPr>
              <a:t>Sanctions verification</a:t>
            </a:r>
          </a:p>
        </p:txBody>
      </p:sp>
      <p:sp>
        <p:nvSpPr>
          <p:cNvPr id="229" name="Rectangle 228">
            <a:extLst>
              <a:ext uri="{FF2B5EF4-FFF2-40B4-BE49-F238E27FC236}">
                <a16:creationId xmlns:a16="http://schemas.microsoft.com/office/drawing/2014/main" id="{C33D9FE2-E212-4FE5-8F86-8B44AF714DAD}"/>
              </a:ext>
            </a:extLst>
          </p:cNvPr>
          <p:cNvSpPr/>
          <p:nvPr/>
        </p:nvSpPr>
        <p:spPr bwMode="auto">
          <a:xfrm>
            <a:off x="7153077" y="4603463"/>
            <a:ext cx="363698" cy="345472"/>
          </a:xfrm>
          <a:prstGeom prst="rect">
            <a:avLst/>
          </a:prstGeom>
          <a:solidFill>
            <a:schemeClr val="bg1">
              <a:lumMod val="85000"/>
            </a:schemeClr>
          </a:solidFill>
          <a:ln w="9525" cap="flat" cmpd="sng" algn="ctr">
            <a:noFill/>
            <a:prstDash val="dash"/>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800">
                <a:latin typeface="Trebuchet MS" panose="020B0603020202020204" pitchFamily="34" charset="0"/>
              </a:rPr>
              <a:t>News papers</a:t>
            </a:r>
          </a:p>
        </p:txBody>
      </p:sp>
      <p:sp>
        <p:nvSpPr>
          <p:cNvPr id="230" name="Rectangle 229">
            <a:extLst>
              <a:ext uri="{FF2B5EF4-FFF2-40B4-BE49-F238E27FC236}">
                <a16:creationId xmlns:a16="http://schemas.microsoft.com/office/drawing/2014/main" id="{7F639BD8-BAD9-4BEC-881F-0E2E8869300D}"/>
              </a:ext>
            </a:extLst>
          </p:cNvPr>
          <p:cNvSpPr/>
          <p:nvPr/>
        </p:nvSpPr>
        <p:spPr bwMode="auto">
          <a:xfrm>
            <a:off x="7550430" y="4603463"/>
            <a:ext cx="363698" cy="345472"/>
          </a:xfrm>
          <a:prstGeom prst="rect">
            <a:avLst/>
          </a:prstGeom>
          <a:solidFill>
            <a:schemeClr val="bg1">
              <a:lumMod val="85000"/>
            </a:schemeClr>
          </a:solidFill>
          <a:ln w="9525" cap="flat" cmpd="sng" algn="ctr">
            <a:noFill/>
            <a:prstDash val="dash"/>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800">
                <a:latin typeface="Trebuchet MS" panose="020B0603020202020204" pitchFamily="34" charset="0"/>
              </a:rPr>
              <a:t>Social media</a:t>
            </a:r>
          </a:p>
        </p:txBody>
      </p:sp>
      <p:cxnSp>
        <p:nvCxnSpPr>
          <p:cNvPr id="231" name="Connecteur droit avec flèche 230">
            <a:extLst>
              <a:ext uri="{FF2B5EF4-FFF2-40B4-BE49-F238E27FC236}">
                <a16:creationId xmlns:a16="http://schemas.microsoft.com/office/drawing/2014/main" id="{DB8AEB2A-87E8-4986-A837-4FD288416A79}"/>
              </a:ext>
            </a:extLst>
          </p:cNvPr>
          <p:cNvCxnSpPr>
            <a:cxnSpLocks/>
          </p:cNvCxnSpPr>
          <p:nvPr/>
        </p:nvCxnSpPr>
        <p:spPr bwMode="auto">
          <a:xfrm flipV="1">
            <a:off x="7492809" y="2573378"/>
            <a:ext cx="0" cy="18320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232" name="ZoneTexte 231">
            <a:extLst>
              <a:ext uri="{FF2B5EF4-FFF2-40B4-BE49-F238E27FC236}">
                <a16:creationId xmlns:a16="http://schemas.microsoft.com/office/drawing/2014/main" id="{9AA8C073-2375-4178-9DD0-C948BD3E3B45}"/>
              </a:ext>
            </a:extLst>
          </p:cNvPr>
          <p:cNvSpPr txBox="1"/>
          <p:nvPr/>
        </p:nvSpPr>
        <p:spPr>
          <a:xfrm>
            <a:off x="7249936" y="2173741"/>
            <a:ext cx="752912" cy="338554"/>
          </a:xfrm>
          <a:prstGeom prst="rect">
            <a:avLst/>
          </a:prstGeom>
          <a:noFill/>
        </p:spPr>
        <p:txBody>
          <a:bodyPr wrap="square" rtlCol="0">
            <a:spAutoFit/>
          </a:bodyPr>
          <a:lstStyle/>
          <a:p>
            <a:r>
              <a:rPr lang="en-GB" sz="800">
                <a:latin typeface="Trebuchet MS" panose="020B0603020202020204" pitchFamily="34" charset="0"/>
              </a:rPr>
              <a:t>Compliance report</a:t>
            </a:r>
          </a:p>
        </p:txBody>
      </p:sp>
      <p:pic>
        <p:nvPicPr>
          <p:cNvPr id="233" name="Graphique 232">
            <a:extLst>
              <a:ext uri="{FF2B5EF4-FFF2-40B4-BE49-F238E27FC236}">
                <a16:creationId xmlns:a16="http://schemas.microsoft.com/office/drawing/2014/main" id="{0F3B377C-E9B4-4DD6-A5C3-44903AA5F35E}"/>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28548"/>
          <a:stretch/>
        </p:blipFill>
        <p:spPr>
          <a:xfrm>
            <a:off x="7069640" y="2137371"/>
            <a:ext cx="228021" cy="203656"/>
          </a:xfrm>
          <a:prstGeom prst="rect">
            <a:avLst/>
          </a:prstGeom>
        </p:spPr>
      </p:pic>
      <p:pic>
        <p:nvPicPr>
          <p:cNvPr id="234" name="Graphique 233">
            <a:extLst>
              <a:ext uri="{FF2B5EF4-FFF2-40B4-BE49-F238E27FC236}">
                <a16:creationId xmlns:a16="http://schemas.microsoft.com/office/drawing/2014/main" id="{64972C90-169D-4A48-9451-3591FD8A048A}"/>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b="17548"/>
          <a:stretch/>
        </p:blipFill>
        <p:spPr>
          <a:xfrm>
            <a:off x="7110016" y="2367988"/>
            <a:ext cx="146453" cy="150947"/>
          </a:xfrm>
          <a:prstGeom prst="rect">
            <a:avLst/>
          </a:prstGeom>
        </p:spPr>
      </p:pic>
      <p:sp>
        <p:nvSpPr>
          <p:cNvPr id="235" name="Rectangle 234">
            <a:extLst>
              <a:ext uri="{FF2B5EF4-FFF2-40B4-BE49-F238E27FC236}">
                <a16:creationId xmlns:a16="http://schemas.microsoft.com/office/drawing/2014/main" id="{0ADC5EE0-2643-4F85-AAB9-07AC3862D6FE}"/>
              </a:ext>
            </a:extLst>
          </p:cNvPr>
          <p:cNvSpPr/>
          <p:nvPr/>
        </p:nvSpPr>
        <p:spPr bwMode="auto">
          <a:xfrm>
            <a:off x="5330737" y="3488487"/>
            <a:ext cx="541123" cy="1460443"/>
          </a:xfrm>
          <a:prstGeom prst="rect">
            <a:avLst/>
          </a:prstGeom>
          <a:solidFill>
            <a:schemeClr val="bg1">
              <a:lumMod val="85000"/>
            </a:schemeClr>
          </a:solidFill>
          <a:ln w="9525" cap="flat" cmpd="sng" algn="ctr">
            <a:noFill/>
            <a:prstDash val="dash"/>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800">
                <a:latin typeface="Trebuchet MS" panose="020B0603020202020204" pitchFamily="34" charset="0"/>
              </a:rPr>
              <a:t>Proprietary data lake</a:t>
            </a:r>
          </a:p>
        </p:txBody>
      </p:sp>
      <p:cxnSp>
        <p:nvCxnSpPr>
          <p:cNvPr id="236" name="Connecteur droit avec flèche 235">
            <a:extLst>
              <a:ext uri="{FF2B5EF4-FFF2-40B4-BE49-F238E27FC236}">
                <a16:creationId xmlns:a16="http://schemas.microsoft.com/office/drawing/2014/main" id="{AF15D5E2-579F-4F8F-AC48-CFBB658CBE3A}"/>
              </a:ext>
            </a:extLst>
          </p:cNvPr>
          <p:cNvCxnSpPr>
            <a:cxnSpLocks/>
          </p:cNvCxnSpPr>
          <p:nvPr/>
        </p:nvCxnSpPr>
        <p:spPr bwMode="auto">
          <a:xfrm flipV="1">
            <a:off x="8291109" y="3836043"/>
            <a:ext cx="0" cy="164715"/>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237" name="Rectangle 236">
            <a:extLst>
              <a:ext uri="{FF2B5EF4-FFF2-40B4-BE49-F238E27FC236}">
                <a16:creationId xmlns:a16="http://schemas.microsoft.com/office/drawing/2014/main" id="{13818359-8F23-4B01-A285-1E5506D771AD}"/>
              </a:ext>
            </a:extLst>
          </p:cNvPr>
          <p:cNvSpPr/>
          <p:nvPr/>
        </p:nvSpPr>
        <p:spPr bwMode="auto">
          <a:xfrm>
            <a:off x="6328233" y="4607522"/>
            <a:ext cx="363698" cy="345472"/>
          </a:xfrm>
          <a:prstGeom prst="rect">
            <a:avLst/>
          </a:prstGeom>
          <a:solidFill>
            <a:schemeClr val="bg1">
              <a:lumMod val="85000"/>
            </a:schemeClr>
          </a:solidFill>
          <a:ln w="9525" cap="flat" cmpd="sng" algn="ctr">
            <a:noFill/>
            <a:prstDash val="dash"/>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anose="020B0603020202020204" pitchFamily="34" charset="0"/>
              </a:rPr>
              <a:t>Legal docs</a:t>
            </a:r>
            <a:endParaRPr kumimoji="0" lang="en-GB" sz="800" b="0" u="none" strike="noStrike" cap="none" normalizeH="0" baseline="0">
              <a:ln>
                <a:noFill/>
              </a:ln>
              <a:solidFill>
                <a:schemeClr val="tx1"/>
              </a:solidFill>
              <a:effectLst/>
              <a:latin typeface="Trebuchet MS" panose="020B0603020202020204" pitchFamily="34" charset="0"/>
            </a:endParaRPr>
          </a:p>
        </p:txBody>
      </p:sp>
      <p:sp>
        <p:nvSpPr>
          <p:cNvPr id="238" name="Rectangle 237">
            <a:extLst>
              <a:ext uri="{FF2B5EF4-FFF2-40B4-BE49-F238E27FC236}">
                <a16:creationId xmlns:a16="http://schemas.microsoft.com/office/drawing/2014/main" id="{3120D2A1-80BF-49BD-9C66-B79CD018FC1B}"/>
              </a:ext>
            </a:extLst>
          </p:cNvPr>
          <p:cNvSpPr/>
          <p:nvPr/>
        </p:nvSpPr>
        <p:spPr bwMode="auto">
          <a:xfrm>
            <a:off x="5930880" y="4607522"/>
            <a:ext cx="363698" cy="345472"/>
          </a:xfrm>
          <a:prstGeom prst="rect">
            <a:avLst/>
          </a:prstGeom>
          <a:solidFill>
            <a:schemeClr val="bg1">
              <a:lumMod val="85000"/>
            </a:schemeClr>
          </a:solidFill>
          <a:ln w="9525" cap="flat" cmpd="sng" algn="ctr">
            <a:noFill/>
            <a:prstDash val="dash"/>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anose="020B0603020202020204" pitchFamily="34" charset="0"/>
              </a:rPr>
              <a:t>Annual reports</a:t>
            </a:r>
            <a:endParaRPr kumimoji="0" lang="en-GB" sz="800" b="0" u="none" strike="noStrike" cap="none" normalizeH="0" baseline="0">
              <a:ln>
                <a:noFill/>
              </a:ln>
              <a:solidFill>
                <a:schemeClr val="tx1"/>
              </a:solidFill>
              <a:effectLst/>
              <a:latin typeface="Trebuchet MS" panose="020B0603020202020204" pitchFamily="34" charset="0"/>
            </a:endParaRPr>
          </a:p>
        </p:txBody>
      </p:sp>
      <p:sp>
        <p:nvSpPr>
          <p:cNvPr id="239" name="Rectangle 238">
            <a:extLst>
              <a:ext uri="{FF2B5EF4-FFF2-40B4-BE49-F238E27FC236}">
                <a16:creationId xmlns:a16="http://schemas.microsoft.com/office/drawing/2014/main" id="{35D2834A-B4E6-4EFB-9BE0-477098BA7999}"/>
              </a:ext>
            </a:extLst>
          </p:cNvPr>
          <p:cNvSpPr/>
          <p:nvPr/>
        </p:nvSpPr>
        <p:spPr bwMode="auto">
          <a:xfrm>
            <a:off x="6725733" y="4607522"/>
            <a:ext cx="363698" cy="345472"/>
          </a:xfrm>
          <a:prstGeom prst="rect">
            <a:avLst/>
          </a:prstGeom>
          <a:solidFill>
            <a:schemeClr val="bg1">
              <a:lumMod val="85000"/>
            </a:schemeClr>
          </a:solidFill>
          <a:ln w="9525" cap="flat" cmpd="sng" algn="ctr">
            <a:noFill/>
            <a:prstDash val="dash"/>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anose="020B0603020202020204" pitchFamily="34" charset="0"/>
              </a:rPr>
              <a:t>Phone calls</a:t>
            </a:r>
            <a:endParaRPr kumimoji="0" lang="en-GB" sz="800" b="0" u="none" strike="noStrike" cap="none" normalizeH="0" baseline="0">
              <a:ln>
                <a:noFill/>
              </a:ln>
              <a:solidFill>
                <a:schemeClr val="tx1"/>
              </a:solidFill>
              <a:effectLst/>
              <a:latin typeface="Trebuchet MS" panose="020B0603020202020204" pitchFamily="34" charset="0"/>
            </a:endParaRPr>
          </a:p>
        </p:txBody>
      </p:sp>
      <p:cxnSp>
        <p:nvCxnSpPr>
          <p:cNvPr id="240" name="Connecteur droit avec flèche 239">
            <a:extLst>
              <a:ext uri="{FF2B5EF4-FFF2-40B4-BE49-F238E27FC236}">
                <a16:creationId xmlns:a16="http://schemas.microsoft.com/office/drawing/2014/main" id="{3BA25724-C1A0-4B65-B00F-4B0A7F40415F}"/>
              </a:ext>
            </a:extLst>
          </p:cNvPr>
          <p:cNvCxnSpPr>
            <a:cxnSpLocks/>
          </p:cNvCxnSpPr>
          <p:nvPr/>
        </p:nvCxnSpPr>
        <p:spPr bwMode="auto">
          <a:xfrm flipV="1">
            <a:off x="6541608" y="3912882"/>
            <a:ext cx="0" cy="615491"/>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41" name="Connecteur droit avec flèche 240">
            <a:extLst>
              <a:ext uri="{FF2B5EF4-FFF2-40B4-BE49-F238E27FC236}">
                <a16:creationId xmlns:a16="http://schemas.microsoft.com/office/drawing/2014/main" id="{C3EFC6A6-DD91-4D8F-806F-5EFEFF1A0FF2}"/>
              </a:ext>
            </a:extLst>
          </p:cNvPr>
          <p:cNvCxnSpPr>
            <a:cxnSpLocks/>
          </p:cNvCxnSpPr>
          <p:nvPr/>
        </p:nvCxnSpPr>
        <p:spPr bwMode="auto">
          <a:xfrm flipV="1">
            <a:off x="6222568" y="3912882"/>
            <a:ext cx="0" cy="615491"/>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42" name="Connecteur droit avec flèche 241">
            <a:extLst>
              <a:ext uri="{FF2B5EF4-FFF2-40B4-BE49-F238E27FC236}">
                <a16:creationId xmlns:a16="http://schemas.microsoft.com/office/drawing/2014/main" id="{C52F26E2-3073-4065-AACC-2E41DE3326AE}"/>
              </a:ext>
            </a:extLst>
          </p:cNvPr>
          <p:cNvCxnSpPr>
            <a:cxnSpLocks/>
          </p:cNvCxnSpPr>
          <p:nvPr/>
        </p:nvCxnSpPr>
        <p:spPr bwMode="auto">
          <a:xfrm flipV="1">
            <a:off x="6860648" y="3912882"/>
            <a:ext cx="0" cy="615491"/>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43" name="Connecteur : en angle 242">
            <a:extLst>
              <a:ext uri="{FF2B5EF4-FFF2-40B4-BE49-F238E27FC236}">
                <a16:creationId xmlns:a16="http://schemas.microsoft.com/office/drawing/2014/main" id="{379D7DEF-D1E0-42DE-A31C-DF7A7B1AEE07}"/>
              </a:ext>
            </a:extLst>
          </p:cNvPr>
          <p:cNvCxnSpPr>
            <a:cxnSpLocks/>
            <a:endCxn id="223" idx="1"/>
          </p:cNvCxnSpPr>
          <p:nvPr/>
        </p:nvCxnSpPr>
        <p:spPr bwMode="auto">
          <a:xfrm flipV="1">
            <a:off x="6539608" y="2991216"/>
            <a:ext cx="526194" cy="450727"/>
          </a:xfrm>
          <a:prstGeom prst="bentConnector3">
            <a:avLst>
              <a:gd name="adj1" fmla="val 522"/>
            </a:avLst>
          </a:prstGeom>
          <a:solidFill>
            <a:schemeClr val="accent1"/>
          </a:solidFill>
          <a:ln w="9525" cap="flat" cmpd="sng" algn="ctr">
            <a:solidFill>
              <a:schemeClr val="tx1"/>
            </a:solidFill>
            <a:prstDash val="solid"/>
            <a:round/>
            <a:headEnd type="none" w="med" len="med"/>
            <a:tailEnd type="triangle"/>
          </a:ln>
          <a:effectLst/>
        </p:spPr>
      </p:cxnSp>
      <p:sp>
        <p:nvSpPr>
          <p:cNvPr id="244" name="Rectangle 243">
            <a:extLst>
              <a:ext uri="{FF2B5EF4-FFF2-40B4-BE49-F238E27FC236}">
                <a16:creationId xmlns:a16="http://schemas.microsoft.com/office/drawing/2014/main" id="{814FD901-DF6D-4178-9879-8862F39756D8}"/>
              </a:ext>
            </a:extLst>
          </p:cNvPr>
          <p:cNvSpPr/>
          <p:nvPr/>
        </p:nvSpPr>
        <p:spPr bwMode="auto">
          <a:xfrm>
            <a:off x="8034697" y="4599195"/>
            <a:ext cx="495518" cy="345472"/>
          </a:xfrm>
          <a:prstGeom prst="rect">
            <a:avLst/>
          </a:prstGeom>
          <a:solidFill>
            <a:schemeClr val="bg1">
              <a:lumMod val="85000"/>
            </a:schemeClr>
          </a:solidFill>
          <a:ln w="9525" cap="flat" cmpd="sng" algn="ctr">
            <a:noFill/>
            <a:prstDash val="dash"/>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u="none" strike="noStrike" cap="none" normalizeH="0" baseline="0">
                <a:ln>
                  <a:noFill/>
                </a:ln>
                <a:solidFill>
                  <a:schemeClr val="tx1"/>
                </a:solidFill>
                <a:effectLst/>
                <a:latin typeface="Trebuchet MS" panose="020B0603020202020204" pitchFamily="34" charset="0"/>
              </a:rPr>
              <a:t>PEP lists</a:t>
            </a:r>
          </a:p>
        </p:txBody>
      </p:sp>
      <p:sp>
        <p:nvSpPr>
          <p:cNvPr id="245" name="Rectangle 244">
            <a:extLst>
              <a:ext uri="{FF2B5EF4-FFF2-40B4-BE49-F238E27FC236}">
                <a16:creationId xmlns:a16="http://schemas.microsoft.com/office/drawing/2014/main" id="{67749999-E364-4339-8EB5-F5D4F7E73061}"/>
              </a:ext>
            </a:extLst>
          </p:cNvPr>
          <p:cNvSpPr/>
          <p:nvPr/>
        </p:nvSpPr>
        <p:spPr bwMode="auto">
          <a:xfrm>
            <a:off x="8557905" y="4599195"/>
            <a:ext cx="548907" cy="345472"/>
          </a:xfrm>
          <a:prstGeom prst="rect">
            <a:avLst/>
          </a:prstGeom>
          <a:solidFill>
            <a:schemeClr val="bg1">
              <a:lumMod val="85000"/>
            </a:schemeClr>
          </a:solidFill>
          <a:ln w="9525" cap="flat" cmpd="sng" algn="ctr">
            <a:noFill/>
            <a:prstDash val="dash"/>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u="none" strike="noStrike" cap="none" normalizeH="0" baseline="0">
                <a:ln>
                  <a:noFill/>
                </a:ln>
                <a:solidFill>
                  <a:schemeClr val="tx1"/>
                </a:solidFill>
                <a:effectLst/>
                <a:latin typeface="Trebuchet MS" panose="020B0603020202020204" pitchFamily="34" charset="0"/>
              </a:rPr>
              <a:t>Sanctions lists</a:t>
            </a:r>
          </a:p>
        </p:txBody>
      </p:sp>
      <p:cxnSp>
        <p:nvCxnSpPr>
          <p:cNvPr id="246" name="Connecteur droit 245">
            <a:extLst>
              <a:ext uri="{FF2B5EF4-FFF2-40B4-BE49-F238E27FC236}">
                <a16:creationId xmlns:a16="http://schemas.microsoft.com/office/drawing/2014/main" id="{517BFF53-5A27-4F0E-A86B-5181E2D04310}"/>
              </a:ext>
            </a:extLst>
          </p:cNvPr>
          <p:cNvCxnSpPr>
            <a:cxnSpLocks/>
          </p:cNvCxnSpPr>
          <p:nvPr/>
        </p:nvCxnSpPr>
        <p:spPr bwMode="auto">
          <a:xfrm>
            <a:off x="5967225" y="4559534"/>
            <a:ext cx="1122206" cy="0"/>
          </a:xfrm>
          <a:prstGeom prst="line">
            <a:avLst/>
          </a:prstGeom>
          <a:solidFill>
            <a:schemeClr val="accent1"/>
          </a:solidFill>
          <a:ln w="9525" cap="flat" cmpd="sng" algn="ctr">
            <a:solidFill>
              <a:srgbClr val="D9D9D9"/>
            </a:solidFill>
            <a:prstDash val="solid"/>
            <a:round/>
            <a:headEnd type="none" w="med" len="med"/>
            <a:tailEnd type="none" w="med" len="med"/>
          </a:ln>
          <a:effectLst/>
        </p:spPr>
      </p:cxnSp>
      <p:cxnSp>
        <p:nvCxnSpPr>
          <p:cNvPr id="247" name="Connecteur droit 246">
            <a:extLst>
              <a:ext uri="{FF2B5EF4-FFF2-40B4-BE49-F238E27FC236}">
                <a16:creationId xmlns:a16="http://schemas.microsoft.com/office/drawing/2014/main" id="{FF2947C3-6CC9-430B-AD8A-C6B067985CD2}"/>
              </a:ext>
            </a:extLst>
          </p:cNvPr>
          <p:cNvCxnSpPr>
            <a:cxnSpLocks/>
          </p:cNvCxnSpPr>
          <p:nvPr/>
        </p:nvCxnSpPr>
        <p:spPr bwMode="auto">
          <a:xfrm>
            <a:off x="8034697" y="4548935"/>
            <a:ext cx="1072114" cy="0"/>
          </a:xfrm>
          <a:prstGeom prst="line">
            <a:avLst/>
          </a:prstGeom>
          <a:solidFill>
            <a:schemeClr val="accent1"/>
          </a:solidFill>
          <a:ln w="9525" cap="flat" cmpd="sng" algn="ctr">
            <a:solidFill>
              <a:srgbClr val="D9D9D9"/>
            </a:solidFill>
            <a:prstDash val="solid"/>
            <a:round/>
            <a:headEnd type="none" w="med" len="med"/>
            <a:tailEnd type="none" w="med" len="med"/>
          </a:ln>
          <a:effectLst/>
        </p:spPr>
      </p:cxnSp>
      <p:cxnSp>
        <p:nvCxnSpPr>
          <p:cNvPr id="248" name="Connecteur droit avec flèche 247">
            <a:extLst>
              <a:ext uri="{FF2B5EF4-FFF2-40B4-BE49-F238E27FC236}">
                <a16:creationId xmlns:a16="http://schemas.microsoft.com/office/drawing/2014/main" id="{896BD5D5-9F8C-49BC-81F8-F5A6357A3DE4}"/>
              </a:ext>
            </a:extLst>
          </p:cNvPr>
          <p:cNvCxnSpPr>
            <a:cxnSpLocks/>
          </p:cNvCxnSpPr>
          <p:nvPr/>
        </p:nvCxnSpPr>
        <p:spPr bwMode="auto">
          <a:xfrm flipH="1">
            <a:off x="5905525" y="3812520"/>
            <a:ext cx="212070"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49" name="Connecteur droit avec flèche 248">
            <a:extLst>
              <a:ext uri="{FF2B5EF4-FFF2-40B4-BE49-F238E27FC236}">
                <a16:creationId xmlns:a16="http://schemas.microsoft.com/office/drawing/2014/main" id="{937DE7E3-2BEB-4500-87D8-66C9F2605D96}"/>
              </a:ext>
            </a:extLst>
          </p:cNvPr>
          <p:cNvCxnSpPr>
            <a:cxnSpLocks/>
          </p:cNvCxnSpPr>
          <p:nvPr/>
        </p:nvCxnSpPr>
        <p:spPr bwMode="auto">
          <a:xfrm flipH="1">
            <a:off x="5905525" y="3576776"/>
            <a:ext cx="240644" cy="0"/>
          </a:xfrm>
          <a:prstGeom prst="straightConnector1">
            <a:avLst/>
          </a:prstGeom>
          <a:solidFill>
            <a:schemeClr val="accent1"/>
          </a:solidFill>
          <a:ln w="9525" cap="flat" cmpd="sng" algn="ctr">
            <a:solidFill>
              <a:schemeClr val="tx1"/>
            </a:solidFill>
            <a:prstDash val="solid"/>
            <a:round/>
            <a:headEnd type="triangle" w="med" len="med"/>
            <a:tailEnd type="none"/>
          </a:ln>
          <a:effectLst/>
        </p:spPr>
      </p:cxnSp>
      <p:sp>
        <p:nvSpPr>
          <p:cNvPr id="250" name="ZoneTexte 249">
            <a:extLst>
              <a:ext uri="{FF2B5EF4-FFF2-40B4-BE49-F238E27FC236}">
                <a16:creationId xmlns:a16="http://schemas.microsoft.com/office/drawing/2014/main" id="{65AFCBD8-1A76-4DAD-A2CC-4D3084B399BA}"/>
              </a:ext>
            </a:extLst>
          </p:cNvPr>
          <p:cNvSpPr txBox="1"/>
          <p:nvPr/>
        </p:nvSpPr>
        <p:spPr>
          <a:xfrm>
            <a:off x="7048210" y="3516800"/>
            <a:ext cx="837478" cy="338554"/>
          </a:xfrm>
          <a:prstGeom prst="rect">
            <a:avLst/>
          </a:prstGeom>
          <a:noFill/>
        </p:spPr>
        <p:txBody>
          <a:bodyPr wrap="square" rtlCol="0">
            <a:spAutoFit/>
          </a:bodyPr>
          <a:lstStyle/>
          <a:p>
            <a:pPr algn="ctr"/>
            <a:r>
              <a:rPr lang="en-GB" sz="800" i="1">
                <a:latin typeface="Trebuchet MS" panose="020B0603020202020204" pitchFamily="34" charset="0"/>
              </a:rPr>
              <a:t>Adverse news analysis</a:t>
            </a:r>
          </a:p>
        </p:txBody>
      </p:sp>
      <p:cxnSp>
        <p:nvCxnSpPr>
          <p:cNvPr id="251" name="Connecteur droit avec flèche 250">
            <a:extLst>
              <a:ext uri="{FF2B5EF4-FFF2-40B4-BE49-F238E27FC236}">
                <a16:creationId xmlns:a16="http://schemas.microsoft.com/office/drawing/2014/main" id="{DCF1D6C8-0A8F-49FD-AF37-D30EC152CDCC}"/>
              </a:ext>
            </a:extLst>
          </p:cNvPr>
          <p:cNvCxnSpPr>
            <a:cxnSpLocks/>
          </p:cNvCxnSpPr>
          <p:nvPr/>
        </p:nvCxnSpPr>
        <p:spPr bwMode="auto">
          <a:xfrm flipV="1">
            <a:off x="8302323" y="4310064"/>
            <a:ext cx="1" cy="196185"/>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52" name="Connecteur droit avec flèche 251">
            <a:extLst>
              <a:ext uri="{FF2B5EF4-FFF2-40B4-BE49-F238E27FC236}">
                <a16:creationId xmlns:a16="http://schemas.microsoft.com/office/drawing/2014/main" id="{D82DC915-775D-4CFA-9476-E845F11CF6D5}"/>
              </a:ext>
            </a:extLst>
          </p:cNvPr>
          <p:cNvCxnSpPr>
            <a:cxnSpLocks/>
          </p:cNvCxnSpPr>
          <p:nvPr/>
        </p:nvCxnSpPr>
        <p:spPr bwMode="auto">
          <a:xfrm flipV="1">
            <a:off x="8871120" y="4310064"/>
            <a:ext cx="1" cy="196185"/>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53" name="Connecteur droit avec flèche 252">
            <a:extLst>
              <a:ext uri="{FF2B5EF4-FFF2-40B4-BE49-F238E27FC236}">
                <a16:creationId xmlns:a16="http://schemas.microsoft.com/office/drawing/2014/main" id="{93A87857-98DE-4ECD-9CA6-DBEABA525E7C}"/>
              </a:ext>
            </a:extLst>
          </p:cNvPr>
          <p:cNvCxnSpPr>
            <a:cxnSpLocks/>
          </p:cNvCxnSpPr>
          <p:nvPr/>
        </p:nvCxnSpPr>
        <p:spPr bwMode="auto">
          <a:xfrm flipV="1">
            <a:off x="7350905" y="3912882"/>
            <a:ext cx="0" cy="615491"/>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54" name="Connecteur droit avec flèche 253">
            <a:extLst>
              <a:ext uri="{FF2B5EF4-FFF2-40B4-BE49-F238E27FC236}">
                <a16:creationId xmlns:a16="http://schemas.microsoft.com/office/drawing/2014/main" id="{C085E11B-6A77-4669-AEF4-F2DF17D119EC}"/>
              </a:ext>
            </a:extLst>
          </p:cNvPr>
          <p:cNvCxnSpPr>
            <a:cxnSpLocks/>
          </p:cNvCxnSpPr>
          <p:nvPr/>
        </p:nvCxnSpPr>
        <p:spPr bwMode="auto">
          <a:xfrm flipV="1">
            <a:off x="7696842" y="3912882"/>
            <a:ext cx="0" cy="615491"/>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55" name="Connecteur droit 254">
            <a:extLst>
              <a:ext uri="{FF2B5EF4-FFF2-40B4-BE49-F238E27FC236}">
                <a16:creationId xmlns:a16="http://schemas.microsoft.com/office/drawing/2014/main" id="{384F9673-7C4B-4598-9DB1-AB7DE43A0C51}"/>
              </a:ext>
            </a:extLst>
          </p:cNvPr>
          <p:cNvCxnSpPr>
            <a:cxnSpLocks/>
          </p:cNvCxnSpPr>
          <p:nvPr/>
        </p:nvCxnSpPr>
        <p:spPr bwMode="auto">
          <a:xfrm>
            <a:off x="7153077" y="4559534"/>
            <a:ext cx="761051" cy="0"/>
          </a:xfrm>
          <a:prstGeom prst="line">
            <a:avLst/>
          </a:prstGeom>
          <a:solidFill>
            <a:schemeClr val="accent1"/>
          </a:solidFill>
          <a:ln w="9525" cap="flat" cmpd="sng" algn="ctr">
            <a:solidFill>
              <a:srgbClr val="D9D9D9"/>
            </a:solidFill>
            <a:prstDash val="solid"/>
            <a:round/>
            <a:headEnd type="none" w="med" len="med"/>
            <a:tailEnd type="none" w="med" len="med"/>
          </a:ln>
          <a:effectLst/>
        </p:spPr>
      </p:cxnSp>
      <p:cxnSp>
        <p:nvCxnSpPr>
          <p:cNvPr id="256" name="Connecteur droit avec flèche 255">
            <a:extLst>
              <a:ext uri="{FF2B5EF4-FFF2-40B4-BE49-F238E27FC236}">
                <a16:creationId xmlns:a16="http://schemas.microsoft.com/office/drawing/2014/main" id="{4E27A59A-09AB-41FF-AE8C-962755D4A5B4}"/>
              </a:ext>
            </a:extLst>
          </p:cNvPr>
          <p:cNvCxnSpPr>
            <a:cxnSpLocks/>
          </p:cNvCxnSpPr>
          <p:nvPr/>
        </p:nvCxnSpPr>
        <p:spPr bwMode="auto">
          <a:xfrm flipV="1">
            <a:off x="8871120" y="3836043"/>
            <a:ext cx="0" cy="164715"/>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57" name="Connecteur : en angle 256">
            <a:extLst>
              <a:ext uri="{FF2B5EF4-FFF2-40B4-BE49-F238E27FC236}">
                <a16:creationId xmlns:a16="http://schemas.microsoft.com/office/drawing/2014/main" id="{9FE00EF2-A9DC-44D9-BFDA-D2E1CBAD2A60}"/>
              </a:ext>
            </a:extLst>
          </p:cNvPr>
          <p:cNvCxnSpPr>
            <a:cxnSpLocks/>
            <a:endCxn id="223" idx="3"/>
          </p:cNvCxnSpPr>
          <p:nvPr/>
        </p:nvCxnSpPr>
        <p:spPr bwMode="auto">
          <a:xfrm rot="10800000">
            <a:off x="7914317" y="2991217"/>
            <a:ext cx="720384" cy="450727"/>
          </a:xfrm>
          <a:prstGeom prst="bentConnector3">
            <a:avLst>
              <a:gd name="adj1" fmla="val 1078"/>
            </a:avLst>
          </a:prstGeom>
          <a:solidFill>
            <a:schemeClr val="accent1"/>
          </a:solidFill>
          <a:ln w="9525" cap="flat" cmpd="sng" algn="ctr">
            <a:solidFill>
              <a:schemeClr val="tx1"/>
            </a:solidFill>
            <a:prstDash val="solid"/>
            <a:round/>
            <a:headEnd type="none" w="med" len="med"/>
            <a:tailEnd type="triangle"/>
          </a:ln>
          <a:effectLst/>
        </p:spPr>
      </p:cxnSp>
      <p:cxnSp>
        <p:nvCxnSpPr>
          <p:cNvPr id="258" name="Connecteur droit avec flèche 257">
            <a:extLst>
              <a:ext uri="{FF2B5EF4-FFF2-40B4-BE49-F238E27FC236}">
                <a16:creationId xmlns:a16="http://schemas.microsoft.com/office/drawing/2014/main" id="{8ACAD36D-FE7D-4329-96DA-7001BF2446FD}"/>
              </a:ext>
            </a:extLst>
          </p:cNvPr>
          <p:cNvCxnSpPr>
            <a:cxnSpLocks/>
          </p:cNvCxnSpPr>
          <p:nvPr/>
        </p:nvCxnSpPr>
        <p:spPr bwMode="auto">
          <a:xfrm flipV="1">
            <a:off x="7492809" y="3202763"/>
            <a:ext cx="0" cy="237031"/>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pic>
        <p:nvPicPr>
          <p:cNvPr id="261" name="Picture 16" descr="RÃ©sultat de recherche d'images pour &quot;refinitiv&quot;">
            <a:extLst>
              <a:ext uri="{FF2B5EF4-FFF2-40B4-BE49-F238E27FC236}">
                <a16:creationId xmlns:a16="http://schemas.microsoft.com/office/drawing/2014/main" id="{1FB88786-B594-408F-95F4-3F57520998E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844232" y="2924555"/>
            <a:ext cx="761424" cy="172322"/>
          </a:xfrm>
          <a:prstGeom prst="rect">
            <a:avLst/>
          </a:prstGeom>
          <a:solidFill>
            <a:schemeClr val="bg1"/>
          </a:solidFill>
        </p:spPr>
      </p:pic>
      <p:sp>
        <p:nvSpPr>
          <p:cNvPr id="265" name="Rectangle 264">
            <a:extLst>
              <a:ext uri="{FF2B5EF4-FFF2-40B4-BE49-F238E27FC236}">
                <a16:creationId xmlns:a16="http://schemas.microsoft.com/office/drawing/2014/main" id="{499231AD-CDCA-45FF-8E40-02A7E22BFED9}"/>
              </a:ext>
            </a:extLst>
          </p:cNvPr>
          <p:cNvSpPr/>
          <p:nvPr/>
        </p:nvSpPr>
        <p:spPr bwMode="auto">
          <a:xfrm>
            <a:off x="5295149" y="2735271"/>
            <a:ext cx="975286" cy="29307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tx2"/>
                </a:solidFill>
                <a:effectLst/>
                <a:latin typeface="Trebuchet MS" panose="020B0603020202020204" pitchFamily="34" charset="0"/>
              </a:rPr>
              <a:t>Data providers</a:t>
            </a:r>
          </a:p>
        </p:txBody>
      </p:sp>
      <p:sp>
        <p:nvSpPr>
          <p:cNvPr id="273" name="Rectangle 272">
            <a:extLst>
              <a:ext uri="{FF2B5EF4-FFF2-40B4-BE49-F238E27FC236}">
                <a16:creationId xmlns:a16="http://schemas.microsoft.com/office/drawing/2014/main" id="{9DAC84C4-3C59-4523-8C8C-F0BC1D9D6461}"/>
              </a:ext>
            </a:extLst>
          </p:cNvPr>
          <p:cNvSpPr/>
          <p:nvPr/>
        </p:nvSpPr>
        <p:spPr bwMode="auto">
          <a:xfrm>
            <a:off x="5190241" y="2085246"/>
            <a:ext cx="4466857" cy="330563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275" name="ZoneTexte 274">
            <a:extLst>
              <a:ext uri="{FF2B5EF4-FFF2-40B4-BE49-F238E27FC236}">
                <a16:creationId xmlns:a16="http://schemas.microsoft.com/office/drawing/2014/main" id="{4426A689-27D2-4D45-B777-4DB714AF0878}"/>
              </a:ext>
            </a:extLst>
          </p:cNvPr>
          <p:cNvSpPr txBox="1"/>
          <p:nvPr/>
        </p:nvSpPr>
        <p:spPr>
          <a:xfrm>
            <a:off x="5252591" y="5095166"/>
            <a:ext cx="837584" cy="200055"/>
          </a:xfrm>
          <a:prstGeom prst="rect">
            <a:avLst/>
          </a:prstGeom>
          <a:noFill/>
        </p:spPr>
        <p:txBody>
          <a:bodyPr wrap="square" rtlCol="0">
            <a:spAutoFit/>
          </a:bodyPr>
          <a:lstStyle/>
          <a:p>
            <a:pPr algn="ctr"/>
            <a:r>
              <a:rPr lang="en-GB" sz="700">
                <a:latin typeface="Trebuchet MS" panose="020B0603020202020204" pitchFamily="34" charset="0"/>
              </a:rPr>
              <a:t>Legend: </a:t>
            </a:r>
          </a:p>
        </p:txBody>
      </p:sp>
      <p:sp>
        <p:nvSpPr>
          <p:cNvPr id="277" name="ZoneTexte 276">
            <a:extLst>
              <a:ext uri="{FF2B5EF4-FFF2-40B4-BE49-F238E27FC236}">
                <a16:creationId xmlns:a16="http://schemas.microsoft.com/office/drawing/2014/main" id="{822213BF-125B-4631-AAF7-A7C905D8D431}"/>
              </a:ext>
            </a:extLst>
          </p:cNvPr>
          <p:cNvSpPr txBox="1"/>
          <p:nvPr/>
        </p:nvSpPr>
        <p:spPr>
          <a:xfrm>
            <a:off x="296237" y="4389002"/>
            <a:ext cx="4182671" cy="246221"/>
          </a:xfrm>
          <a:prstGeom prst="rect">
            <a:avLst/>
          </a:prstGeom>
          <a:noFill/>
        </p:spPr>
        <p:txBody>
          <a:bodyPr wrap="square" rtlCol="0">
            <a:spAutoFit/>
          </a:bodyPr>
          <a:lstStyle/>
          <a:p>
            <a:r>
              <a:rPr lang="en-GB" sz="1000" b="1" i="1" dirty="0">
                <a:latin typeface="Trebuchet MS" panose="020B0603020202020204" pitchFamily="34" charset="0"/>
              </a:rPr>
              <a:t>Timeline of the compliance offerings from main BD&amp;A players: </a:t>
            </a:r>
          </a:p>
        </p:txBody>
      </p:sp>
      <p:sp>
        <p:nvSpPr>
          <p:cNvPr id="279" name="Flèche : droite 278">
            <a:extLst>
              <a:ext uri="{FF2B5EF4-FFF2-40B4-BE49-F238E27FC236}">
                <a16:creationId xmlns:a16="http://schemas.microsoft.com/office/drawing/2014/main" id="{FC8AD86F-7A89-4F22-BCD9-395DC580987A}"/>
              </a:ext>
            </a:extLst>
          </p:cNvPr>
          <p:cNvSpPr/>
          <p:nvPr/>
        </p:nvSpPr>
        <p:spPr bwMode="auto">
          <a:xfrm>
            <a:off x="482965" y="4759905"/>
            <a:ext cx="4249892" cy="472710"/>
          </a:xfrm>
          <a:prstGeom prst="rightArrow">
            <a:avLst>
              <a:gd name="adj1" fmla="val 50000"/>
              <a:gd name="adj2" fmla="val 32268"/>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81" name="Ellipse 280">
            <a:extLst>
              <a:ext uri="{FF2B5EF4-FFF2-40B4-BE49-F238E27FC236}">
                <a16:creationId xmlns:a16="http://schemas.microsoft.com/office/drawing/2014/main" id="{18E5D8C7-2509-42FB-8033-B6375F1DC5D3}"/>
              </a:ext>
            </a:extLst>
          </p:cNvPr>
          <p:cNvSpPr/>
          <p:nvPr/>
        </p:nvSpPr>
        <p:spPr bwMode="auto">
          <a:xfrm>
            <a:off x="3861643" y="4872006"/>
            <a:ext cx="238523" cy="243800"/>
          </a:xfrm>
          <a:prstGeom prst="ellipse">
            <a:avLst/>
          </a:prstGeom>
          <a:solidFill>
            <a:schemeClr val="bg2"/>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7" name="ZoneTexte 96">
            <a:extLst>
              <a:ext uri="{FF2B5EF4-FFF2-40B4-BE49-F238E27FC236}">
                <a16:creationId xmlns:a16="http://schemas.microsoft.com/office/drawing/2014/main" id="{8B87F2EA-7416-47D4-9366-CE355C13D2F1}"/>
              </a:ext>
            </a:extLst>
          </p:cNvPr>
          <p:cNvSpPr txBox="1"/>
          <p:nvPr/>
        </p:nvSpPr>
        <p:spPr>
          <a:xfrm>
            <a:off x="3467924" y="5259167"/>
            <a:ext cx="1025962" cy="784830"/>
          </a:xfrm>
          <a:prstGeom prst="rect">
            <a:avLst/>
          </a:prstGeom>
          <a:noFill/>
        </p:spPr>
        <p:txBody>
          <a:bodyPr wrap="square" rtlCol="0">
            <a:spAutoFit/>
          </a:bodyPr>
          <a:lstStyle/>
          <a:p>
            <a:pPr algn="ctr"/>
            <a:r>
              <a:rPr lang="en-GB" sz="900">
                <a:latin typeface="Trebuchet MS" panose="020B0603020202020204" pitchFamily="34" charset="0"/>
              </a:rPr>
              <a:t>Buy-out of </a:t>
            </a:r>
            <a:r>
              <a:rPr lang="en-GB" sz="900" err="1">
                <a:solidFill>
                  <a:schemeClr val="tx2"/>
                </a:solidFill>
                <a:latin typeface="Trebuchet MS" panose="020B0603020202020204" pitchFamily="34" charset="0"/>
              </a:rPr>
              <a:t>Invoxis</a:t>
            </a:r>
            <a:r>
              <a:rPr lang="en-GB" sz="900">
                <a:latin typeface="Trebuchet MS" panose="020B0603020202020204" pitchFamily="34" charset="0"/>
              </a:rPr>
              <a:t> by </a:t>
            </a:r>
            <a:r>
              <a:rPr lang="en-GB" sz="900" err="1">
                <a:latin typeface="Trebuchet MS" panose="020B0603020202020204" pitchFamily="34" charset="0"/>
              </a:rPr>
              <a:t>Altares</a:t>
            </a:r>
            <a:r>
              <a:rPr lang="en-GB" sz="900">
                <a:latin typeface="Trebuchet MS" panose="020B0603020202020204" pitchFamily="34" charset="0"/>
              </a:rPr>
              <a:t> (leading to the creation of </a:t>
            </a:r>
            <a:r>
              <a:rPr lang="en-GB" sz="900" err="1">
                <a:solidFill>
                  <a:schemeClr val="tx2"/>
                </a:solidFill>
                <a:latin typeface="Trebuchet MS" panose="020B0603020202020204" pitchFamily="34" charset="0"/>
              </a:rPr>
              <a:t>indueD</a:t>
            </a:r>
            <a:r>
              <a:rPr lang="en-GB" sz="900">
                <a:latin typeface="Trebuchet MS" panose="020B0603020202020204" pitchFamily="34" charset="0"/>
              </a:rPr>
              <a:t>)</a:t>
            </a:r>
          </a:p>
        </p:txBody>
      </p:sp>
      <p:cxnSp>
        <p:nvCxnSpPr>
          <p:cNvPr id="283" name="Connecteur droit 282">
            <a:extLst>
              <a:ext uri="{FF2B5EF4-FFF2-40B4-BE49-F238E27FC236}">
                <a16:creationId xmlns:a16="http://schemas.microsoft.com/office/drawing/2014/main" id="{1099D20C-F439-41E2-9AC1-FAFF823E1579}"/>
              </a:ext>
            </a:extLst>
          </p:cNvPr>
          <p:cNvCxnSpPr>
            <a:cxnSpLocks/>
          </p:cNvCxnSpPr>
          <p:nvPr/>
        </p:nvCxnSpPr>
        <p:spPr bwMode="auto">
          <a:xfrm>
            <a:off x="3980904" y="5119172"/>
            <a:ext cx="0" cy="139995"/>
          </a:xfrm>
          <a:prstGeom prst="line">
            <a:avLst/>
          </a:prstGeom>
          <a:solidFill>
            <a:schemeClr val="accent1"/>
          </a:solidFill>
          <a:ln w="9525" cap="flat" cmpd="sng" algn="ctr">
            <a:solidFill>
              <a:srgbClr val="53B26B"/>
            </a:solidFill>
            <a:prstDash val="solid"/>
            <a:round/>
            <a:headEnd type="none" w="med" len="med"/>
            <a:tailEnd type="none" w="med" len="med"/>
          </a:ln>
          <a:effectLst/>
        </p:spPr>
      </p:cxnSp>
      <p:sp>
        <p:nvSpPr>
          <p:cNvPr id="284" name="ZoneTexte 283">
            <a:extLst>
              <a:ext uri="{FF2B5EF4-FFF2-40B4-BE49-F238E27FC236}">
                <a16:creationId xmlns:a16="http://schemas.microsoft.com/office/drawing/2014/main" id="{36DCB932-461E-4295-968F-CF5EC86F2ABA}"/>
              </a:ext>
            </a:extLst>
          </p:cNvPr>
          <p:cNvSpPr txBox="1"/>
          <p:nvPr/>
        </p:nvSpPr>
        <p:spPr>
          <a:xfrm>
            <a:off x="3739566" y="4594854"/>
            <a:ext cx="507602" cy="246221"/>
          </a:xfrm>
          <a:prstGeom prst="rect">
            <a:avLst/>
          </a:prstGeom>
          <a:noFill/>
        </p:spPr>
        <p:txBody>
          <a:bodyPr wrap="square" rtlCol="0">
            <a:spAutoFit/>
          </a:bodyPr>
          <a:lstStyle/>
          <a:p>
            <a:r>
              <a:rPr lang="en-GB" sz="1000">
                <a:latin typeface="Trebuchet MS" panose="020B0603020202020204" pitchFamily="34" charset="0"/>
              </a:rPr>
              <a:t>2018</a:t>
            </a:r>
          </a:p>
        </p:txBody>
      </p:sp>
      <p:sp>
        <p:nvSpPr>
          <p:cNvPr id="285" name="Ellipse 284">
            <a:extLst>
              <a:ext uri="{FF2B5EF4-FFF2-40B4-BE49-F238E27FC236}">
                <a16:creationId xmlns:a16="http://schemas.microsoft.com/office/drawing/2014/main" id="{F0E6EEB6-99EB-4CFA-878E-BA2FF55D2E6B}"/>
              </a:ext>
            </a:extLst>
          </p:cNvPr>
          <p:cNvSpPr/>
          <p:nvPr/>
        </p:nvSpPr>
        <p:spPr bwMode="auto">
          <a:xfrm>
            <a:off x="2720299" y="4872006"/>
            <a:ext cx="238523" cy="243800"/>
          </a:xfrm>
          <a:prstGeom prst="ellipse">
            <a:avLst/>
          </a:prstGeom>
          <a:solidFill>
            <a:schemeClr val="bg2"/>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86" name="ZoneTexte 285">
            <a:extLst>
              <a:ext uri="{FF2B5EF4-FFF2-40B4-BE49-F238E27FC236}">
                <a16:creationId xmlns:a16="http://schemas.microsoft.com/office/drawing/2014/main" id="{156BDA44-5E1D-40C1-ADF3-FA047933ACB4}"/>
              </a:ext>
            </a:extLst>
          </p:cNvPr>
          <p:cNvSpPr txBox="1"/>
          <p:nvPr/>
        </p:nvSpPr>
        <p:spPr>
          <a:xfrm>
            <a:off x="2336005" y="5259167"/>
            <a:ext cx="1013074" cy="646331"/>
          </a:xfrm>
          <a:prstGeom prst="rect">
            <a:avLst/>
          </a:prstGeom>
          <a:noFill/>
        </p:spPr>
        <p:txBody>
          <a:bodyPr wrap="square" rtlCol="0">
            <a:spAutoFit/>
          </a:bodyPr>
          <a:lstStyle/>
          <a:p>
            <a:pPr algn="ctr"/>
            <a:r>
              <a:rPr lang="en-GB" sz="900">
                <a:latin typeface="Trebuchet MS" panose="020B0603020202020204" pitchFamily="34" charset="0"/>
              </a:rPr>
              <a:t>Launch of </a:t>
            </a:r>
            <a:r>
              <a:rPr lang="en-GB" sz="900" err="1">
                <a:latin typeface="Trebuchet MS" panose="020B0603020202020204" pitchFamily="34" charset="0"/>
              </a:rPr>
              <a:t>Ellisphere</a:t>
            </a:r>
            <a:r>
              <a:rPr lang="en-GB" sz="900">
                <a:latin typeface="Trebuchet MS" panose="020B0603020202020204" pitchFamily="34" charset="0"/>
              </a:rPr>
              <a:t>’ </a:t>
            </a:r>
            <a:r>
              <a:rPr lang="en-GB" sz="900" i="1">
                <a:solidFill>
                  <a:schemeClr val="tx2"/>
                </a:solidFill>
                <a:latin typeface="Trebuchet MS" panose="020B0603020202020204" pitchFamily="34" charset="0"/>
              </a:rPr>
              <a:t>Compliance for Business </a:t>
            </a:r>
            <a:r>
              <a:rPr lang="en-GB" sz="900">
                <a:latin typeface="Trebuchet MS" panose="020B0603020202020204" pitchFamily="34" charset="0"/>
              </a:rPr>
              <a:t>offer</a:t>
            </a:r>
          </a:p>
        </p:txBody>
      </p:sp>
      <p:cxnSp>
        <p:nvCxnSpPr>
          <p:cNvPr id="287" name="Connecteur droit 286">
            <a:extLst>
              <a:ext uri="{FF2B5EF4-FFF2-40B4-BE49-F238E27FC236}">
                <a16:creationId xmlns:a16="http://schemas.microsoft.com/office/drawing/2014/main" id="{A1AAF8E8-622F-4EDC-AD4E-113C1E857A64}"/>
              </a:ext>
            </a:extLst>
          </p:cNvPr>
          <p:cNvCxnSpPr>
            <a:cxnSpLocks/>
          </p:cNvCxnSpPr>
          <p:nvPr/>
        </p:nvCxnSpPr>
        <p:spPr bwMode="auto">
          <a:xfrm>
            <a:off x="2839433" y="5119172"/>
            <a:ext cx="0" cy="139995"/>
          </a:xfrm>
          <a:prstGeom prst="line">
            <a:avLst/>
          </a:prstGeom>
          <a:solidFill>
            <a:schemeClr val="accent1"/>
          </a:solidFill>
          <a:ln w="9525" cap="flat" cmpd="sng" algn="ctr">
            <a:solidFill>
              <a:srgbClr val="53B26B"/>
            </a:solidFill>
            <a:prstDash val="solid"/>
            <a:round/>
            <a:headEnd type="none" w="med" len="med"/>
            <a:tailEnd type="none" w="med" len="med"/>
          </a:ln>
          <a:effectLst/>
        </p:spPr>
      </p:cxnSp>
      <p:sp>
        <p:nvSpPr>
          <p:cNvPr id="288" name="ZoneTexte 287">
            <a:extLst>
              <a:ext uri="{FF2B5EF4-FFF2-40B4-BE49-F238E27FC236}">
                <a16:creationId xmlns:a16="http://schemas.microsoft.com/office/drawing/2014/main" id="{B3536A46-975D-4E78-B135-106093AAB200}"/>
              </a:ext>
            </a:extLst>
          </p:cNvPr>
          <p:cNvSpPr txBox="1"/>
          <p:nvPr/>
        </p:nvSpPr>
        <p:spPr>
          <a:xfrm>
            <a:off x="2635407" y="4594854"/>
            <a:ext cx="507602" cy="246221"/>
          </a:xfrm>
          <a:prstGeom prst="rect">
            <a:avLst/>
          </a:prstGeom>
          <a:noFill/>
        </p:spPr>
        <p:txBody>
          <a:bodyPr wrap="square" rtlCol="0">
            <a:spAutoFit/>
          </a:bodyPr>
          <a:lstStyle/>
          <a:p>
            <a:r>
              <a:rPr lang="en-GB" sz="1000">
                <a:latin typeface="Trebuchet MS" panose="020B0603020202020204" pitchFamily="34" charset="0"/>
              </a:rPr>
              <a:t>2017</a:t>
            </a:r>
          </a:p>
        </p:txBody>
      </p:sp>
      <p:sp>
        <p:nvSpPr>
          <p:cNvPr id="289" name="Rectangle 288">
            <a:extLst>
              <a:ext uri="{FF2B5EF4-FFF2-40B4-BE49-F238E27FC236}">
                <a16:creationId xmlns:a16="http://schemas.microsoft.com/office/drawing/2014/main" id="{1B6A7AB8-5295-4663-AD25-FEDF8AEA2794}"/>
              </a:ext>
            </a:extLst>
          </p:cNvPr>
          <p:cNvSpPr/>
          <p:nvPr/>
        </p:nvSpPr>
        <p:spPr bwMode="auto">
          <a:xfrm>
            <a:off x="5415284" y="2976716"/>
            <a:ext cx="891578" cy="599268"/>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anose="020B0603020202020204" pitchFamily="34" charset="0"/>
              </a:rPr>
              <a:t>Company’s basic info (ID</a:t>
            </a:r>
            <a:r>
              <a:rPr lang="en-GB" sz="800" i="1">
                <a:latin typeface="Trebuchet MS" panose="020B0603020202020204" pitchFamily="34" charset="0"/>
              </a:rPr>
              <a:t>…</a:t>
            </a:r>
            <a:r>
              <a:rPr kumimoji="0" lang="en-GB" sz="800" b="0" i="1" u="none" strike="noStrike" cap="none" normalizeH="0" baseline="0">
                <a:ln>
                  <a:noFill/>
                </a:ln>
                <a:solidFill>
                  <a:schemeClr val="tx1"/>
                </a:solidFill>
                <a:effectLst/>
                <a:latin typeface="Trebuchet MS" panose="020B0603020202020204" pitchFamily="34" charset="0"/>
              </a:rPr>
              <a:t>)</a:t>
            </a:r>
          </a:p>
        </p:txBody>
      </p:sp>
      <p:cxnSp>
        <p:nvCxnSpPr>
          <p:cNvPr id="107" name="Connecteur droit 106">
            <a:extLst>
              <a:ext uri="{FF2B5EF4-FFF2-40B4-BE49-F238E27FC236}">
                <a16:creationId xmlns:a16="http://schemas.microsoft.com/office/drawing/2014/main" id="{C5CE983E-38FF-4311-9D41-2F48AA17C9F9}"/>
              </a:ext>
            </a:extLst>
          </p:cNvPr>
          <p:cNvCxnSpPr>
            <a:cxnSpLocks/>
          </p:cNvCxnSpPr>
          <p:nvPr/>
        </p:nvCxnSpPr>
        <p:spPr bwMode="auto">
          <a:xfrm>
            <a:off x="6279556" y="3214327"/>
            <a:ext cx="255079" cy="0"/>
          </a:xfrm>
          <a:prstGeom prst="line">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296" name="Connecteur droit avec flèche 295">
            <a:extLst>
              <a:ext uri="{FF2B5EF4-FFF2-40B4-BE49-F238E27FC236}">
                <a16:creationId xmlns:a16="http://schemas.microsoft.com/office/drawing/2014/main" id="{441CE989-B066-482F-B168-E3DAF1F3D0A0}"/>
              </a:ext>
            </a:extLst>
          </p:cNvPr>
          <p:cNvCxnSpPr>
            <a:cxnSpLocks/>
          </p:cNvCxnSpPr>
          <p:nvPr/>
        </p:nvCxnSpPr>
        <p:spPr bwMode="auto">
          <a:xfrm flipV="1">
            <a:off x="5597672" y="3306049"/>
            <a:ext cx="0" cy="178085"/>
          </a:xfrm>
          <a:prstGeom prst="straightConnector1">
            <a:avLst/>
          </a:prstGeom>
          <a:solidFill>
            <a:schemeClr val="accent1"/>
          </a:solidFill>
          <a:ln w="9525" cap="flat" cmpd="sng" algn="ctr">
            <a:solidFill>
              <a:schemeClr val="tx1"/>
            </a:solidFill>
            <a:prstDash val="solid"/>
            <a:round/>
            <a:headEnd type="none" w="med" len="med"/>
            <a:tailEnd type="none"/>
          </a:ln>
          <a:effectLst/>
        </p:spPr>
      </p:cxnSp>
      <p:sp>
        <p:nvSpPr>
          <p:cNvPr id="297" name="ZoneTexte 296">
            <a:extLst>
              <a:ext uri="{FF2B5EF4-FFF2-40B4-BE49-F238E27FC236}">
                <a16:creationId xmlns:a16="http://schemas.microsoft.com/office/drawing/2014/main" id="{A94A2AAA-E850-44AE-A5C2-E6D0FFDB945D}"/>
              </a:ext>
            </a:extLst>
          </p:cNvPr>
          <p:cNvSpPr txBox="1"/>
          <p:nvPr/>
        </p:nvSpPr>
        <p:spPr>
          <a:xfrm>
            <a:off x="1469953" y="4594854"/>
            <a:ext cx="507602" cy="246221"/>
          </a:xfrm>
          <a:prstGeom prst="rect">
            <a:avLst/>
          </a:prstGeom>
          <a:noFill/>
        </p:spPr>
        <p:txBody>
          <a:bodyPr wrap="square" rtlCol="0">
            <a:spAutoFit/>
          </a:bodyPr>
          <a:lstStyle/>
          <a:p>
            <a:r>
              <a:rPr lang="en-GB" sz="1000">
                <a:latin typeface="Trebuchet MS" panose="020B0603020202020204" pitchFamily="34" charset="0"/>
              </a:rPr>
              <a:t>2013</a:t>
            </a:r>
          </a:p>
        </p:txBody>
      </p:sp>
      <p:sp>
        <p:nvSpPr>
          <p:cNvPr id="298" name="Ellipse 297">
            <a:extLst>
              <a:ext uri="{FF2B5EF4-FFF2-40B4-BE49-F238E27FC236}">
                <a16:creationId xmlns:a16="http://schemas.microsoft.com/office/drawing/2014/main" id="{EFC14F7D-DA41-43CF-B6F6-DC2333299333}"/>
              </a:ext>
            </a:extLst>
          </p:cNvPr>
          <p:cNvSpPr/>
          <p:nvPr/>
        </p:nvSpPr>
        <p:spPr bwMode="auto">
          <a:xfrm>
            <a:off x="1584652" y="4872006"/>
            <a:ext cx="238523" cy="243800"/>
          </a:xfrm>
          <a:prstGeom prst="ellipse">
            <a:avLst/>
          </a:prstGeom>
          <a:solidFill>
            <a:schemeClr val="bg2"/>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299" name="Connecteur droit 298">
            <a:extLst>
              <a:ext uri="{FF2B5EF4-FFF2-40B4-BE49-F238E27FC236}">
                <a16:creationId xmlns:a16="http://schemas.microsoft.com/office/drawing/2014/main" id="{E55BB1A3-430A-4605-9751-28B92E073066}"/>
              </a:ext>
            </a:extLst>
          </p:cNvPr>
          <p:cNvCxnSpPr>
            <a:cxnSpLocks/>
          </p:cNvCxnSpPr>
          <p:nvPr/>
        </p:nvCxnSpPr>
        <p:spPr bwMode="auto">
          <a:xfrm>
            <a:off x="1701195" y="5119172"/>
            <a:ext cx="0" cy="139995"/>
          </a:xfrm>
          <a:prstGeom prst="line">
            <a:avLst/>
          </a:prstGeom>
          <a:solidFill>
            <a:schemeClr val="accent1"/>
          </a:solidFill>
          <a:ln w="9525" cap="flat" cmpd="sng" algn="ctr">
            <a:solidFill>
              <a:srgbClr val="53B26B"/>
            </a:solidFill>
            <a:prstDash val="solid"/>
            <a:round/>
            <a:headEnd type="none" w="med" len="med"/>
            <a:tailEnd type="none" w="med" len="med"/>
          </a:ln>
          <a:effectLst/>
        </p:spPr>
      </p:cxnSp>
      <p:sp>
        <p:nvSpPr>
          <p:cNvPr id="300" name="ZoneTexte 299">
            <a:extLst>
              <a:ext uri="{FF2B5EF4-FFF2-40B4-BE49-F238E27FC236}">
                <a16:creationId xmlns:a16="http://schemas.microsoft.com/office/drawing/2014/main" id="{7248A86B-4BAE-4A5E-A995-DE522DFE9901}"/>
              </a:ext>
            </a:extLst>
          </p:cNvPr>
          <p:cNvSpPr txBox="1"/>
          <p:nvPr/>
        </p:nvSpPr>
        <p:spPr>
          <a:xfrm>
            <a:off x="1263605" y="5259167"/>
            <a:ext cx="872860" cy="507831"/>
          </a:xfrm>
          <a:prstGeom prst="rect">
            <a:avLst/>
          </a:prstGeom>
          <a:noFill/>
        </p:spPr>
        <p:txBody>
          <a:bodyPr wrap="square" rtlCol="0">
            <a:spAutoFit/>
          </a:bodyPr>
          <a:lstStyle/>
          <a:p>
            <a:pPr algn="ctr"/>
            <a:r>
              <a:rPr lang="en-GB" sz="900">
                <a:latin typeface="Trebuchet MS" panose="020B0603020202020204" pitchFamily="34" charset="0"/>
              </a:rPr>
              <a:t>Creation of compliance BU at </a:t>
            </a:r>
            <a:r>
              <a:rPr lang="en-GB" sz="900" err="1">
                <a:solidFill>
                  <a:schemeClr val="tx2"/>
                </a:solidFill>
                <a:latin typeface="Trebuchet MS" panose="020B0603020202020204" pitchFamily="34" charset="0"/>
              </a:rPr>
              <a:t>Altares</a:t>
            </a:r>
            <a:endParaRPr lang="en-GB" sz="900">
              <a:solidFill>
                <a:schemeClr val="tx2"/>
              </a:solidFill>
              <a:latin typeface="Trebuchet MS" panose="020B0603020202020204" pitchFamily="34" charset="0"/>
            </a:endParaRPr>
          </a:p>
        </p:txBody>
      </p:sp>
      <p:sp>
        <p:nvSpPr>
          <p:cNvPr id="301" name="ZoneTexte 300">
            <a:extLst>
              <a:ext uri="{FF2B5EF4-FFF2-40B4-BE49-F238E27FC236}">
                <a16:creationId xmlns:a16="http://schemas.microsoft.com/office/drawing/2014/main" id="{B40BB363-1B39-42EB-84F5-AF375EEDCEA9}"/>
              </a:ext>
            </a:extLst>
          </p:cNvPr>
          <p:cNvSpPr txBox="1"/>
          <p:nvPr/>
        </p:nvSpPr>
        <p:spPr>
          <a:xfrm>
            <a:off x="466060" y="4594854"/>
            <a:ext cx="507602" cy="246221"/>
          </a:xfrm>
          <a:prstGeom prst="rect">
            <a:avLst/>
          </a:prstGeom>
          <a:noFill/>
        </p:spPr>
        <p:txBody>
          <a:bodyPr wrap="square" rtlCol="0">
            <a:spAutoFit/>
          </a:bodyPr>
          <a:lstStyle/>
          <a:p>
            <a:r>
              <a:rPr lang="en-GB" sz="1000">
                <a:latin typeface="Trebuchet MS" panose="020B0603020202020204" pitchFamily="34" charset="0"/>
              </a:rPr>
              <a:t>2013</a:t>
            </a:r>
          </a:p>
        </p:txBody>
      </p:sp>
      <p:sp>
        <p:nvSpPr>
          <p:cNvPr id="302" name="ZoneTexte 301">
            <a:extLst>
              <a:ext uri="{FF2B5EF4-FFF2-40B4-BE49-F238E27FC236}">
                <a16:creationId xmlns:a16="http://schemas.microsoft.com/office/drawing/2014/main" id="{203D8DFB-DFDA-4BEF-9416-B26E3E479DE7}"/>
              </a:ext>
            </a:extLst>
          </p:cNvPr>
          <p:cNvSpPr txBox="1"/>
          <p:nvPr/>
        </p:nvSpPr>
        <p:spPr>
          <a:xfrm>
            <a:off x="152269" y="5259167"/>
            <a:ext cx="1064587" cy="646331"/>
          </a:xfrm>
          <a:prstGeom prst="rect">
            <a:avLst/>
          </a:prstGeom>
          <a:noFill/>
        </p:spPr>
        <p:txBody>
          <a:bodyPr wrap="square" rtlCol="0">
            <a:spAutoFit/>
          </a:bodyPr>
          <a:lstStyle/>
          <a:p>
            <a:pPr algn="ctr"/>
            <a:r>
              <a:rPr lang="en-GB" sz="900">
                <a:latin typeface="Trebuchet MS" panose="020B0603020202020204" pitchFamily="34" charset="0"/>
              </a:rPr>
              <a:t>Creation of </a:t>
            </a:r>
            <a:r>
              <a:rPr lang="en-GB" sz="900" err="1">
                <a:latin typeface="Trebuchet MS" panose="020B0603020202020204" pitchFamily="34" charset="0"/>
              </a:rPr>
              <a:t>BvD’s</a:t>
            </a:r>
            <a:r>
              <a:rPr lang="en-GB" sz="900">
                <a:latin typeface="Trebuchet MS" panose="020B0603020202020204" pitchFamily="34" charset="0"/>
              </a:rPr>
              <a:t> </a:t>
            </a:r>
            <a:r>
              <a:rPr lang="en-GB" sz="900" i="1">
                <a:solidFill>
                  <a:schemeClr val="tx2"/>
                </a:solidFill>
                <a:latin typeface="Trebuchet MS" panose="020B0603020202020204" pitchFamily="34" charset="0"/>
              </a:rPr>
              <a:t>Compliance catalyst </a:t>
            </a:r>
            <a:r>
              <a:rPr lang="en-GB" sz="900">
                <a:latin typeface="Trebuchet MS" panose="020B0603020202020204" pitchFamily="34" charset="0"/>
              </a:rPr>
              <a:t>(UK)</a:t>
            </a:r>
          </a:p>
        </p:txBody>
      </p:sp>
      <p:sp>
        <p:nvSpPr>
          <p:cNvPr id="303" name="Ellipse 302">
            <a:extLst>
              <a:ext uri="{FF2B5EF4-FFF2-40B4-BE49-F238E27FC236}">
                <a16:creationId xmlns:a16="http://schemas.microsoft.com/office/drawing/2014/main" id="{0B705800-AB19-4651-82CD-A64700FDA6C4}"/>
              </a:ext>
            </a:extLst>
          </p:cNvPr>
          <p:cNvSpPr/>
          <p:nvPr/>
        </p:nvSpPr>
        <p:spPr bwMode="auto">
          <a:xfrm>
            <a:off x="489255" y="4872006"/>
            <a:ext cx="238523" cy="243800"/>
          </a:xfrm>
          <a:prstGeom prst="ellipse">
            <a:avLst/>
          </a:prstGeom>
          <a:solidFill>
            <a:schemeClr val="bg2"/>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304" name="Connecteur droit 303">
            <a:extLst>
              <a:ext uri="{FF2B5EF4-FFF2-40B4-BE49-F238E27FC236}">
                <a16:creationId xmlns:a16="http://schemas.microsoft.com/office/drawing/2014/main" id="{DB35755E-5A0C-4AC0-802C-B4399AF69318}"/>
              </a:ext>
            </a:extLst>
          </p:cNvPr>
          <p:cNvCxnSpPr>
            <a:cxnSpLocks/>
          </p:cNvCxnSpPr>
          <p:nvPr/>
        </p:nvCxnSpPr>
        <p:spPr bwMode="auto">
          <a:xfrm>
            <a:off x="608516" y="5119172"/>
            <a:ext cx="0" cy="139995"/>
          </a:xfrm>
          <a:prstGeom prst="line">
            <a:avLst/>
          </a:prstGeom>
          <a:solidFill>
            <a:schemeClr val="accent1"/>
          </a:solidFill>
          <a:ln w="9525" cap="flat" cmpd="sng" algn="ctr">
            <a:solidFill>
              <a:srgbClr val="53B26B"/>
            </a:solidFill>
            <a:prstDash val="solid"/>
            <a:round/>
            <a:headEnd type="none" w="med" len="med"/>
            <a:tailEnd type="none" w="med" len="med"/>
          </a:ln>
          <a:effectLst/>
        </p:spPr>
      </p:cxnSp>
      <p:pic>
        <p:nvPicPr>
          <p:cNvPr id="4" name="Picture 2" descr="RÃ©sultat de recherche d'images pour &quot;bureau van dijk&quot;">
            <a:extLst>
              <a:ext uri="{FF2B5EF4-FFF2-40B4-BE49-F238E27FC236}">
                <a16:creationId xmlns:a16="http://schemas.microsoft.com/office/drawing/2014/main" id="{993EE883-7FD2-4C30-B007-91D4E37AD052}"/>
              </a:ext>
            </a:extLst>
          </p:cNvPr>
          <p:cNvPicPr>
            <a:picLocks noChangeAspect="1" noChangeArrowheads="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75135" y="5970859"/>
            <a:ext cx="574876" cy="27977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RÃ©sultat de recherche d'images pour &quot;invoxis&quot;">
            <a:extLst>
              <a:ext uri="{FF2B5EF4-FFF2-40B4-BE49-F238E27FC236}">
                <a16:creationId xmlns:a16="http://schemas.microsoft.com/office/drawing/2014/main" id="{B9DEEB31-2834-4788-98D6-60E65681B007}"/>
              </a:ext>
            </a:extLst>
          </p:cNvPr>
          <p:cNvPicPr>
            <a:picLocks noChangeAspect="1" noChangeArrowheads="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50996" y="6084330"/>
            <a:ext cx="586153" cy="140168"/>
          </a:xfrm>
          <a:prstGeom prst="rect">
            <a:avLst/>
          </a:prstGeom>
          <a:noFill/>
          <a:extLst>
            <a:ext uri="{909E8E84-426E-40DD-AFC4-6F175D3DCCD1}">
              <a14:hiddenFill xmlns:a14="http://schemas.microsoft.com/office/drawing/2010/main">
                <a:solidFill>
                  <a:srgbClr val="FFFFFF"/>
                </a:solidFill>
              </a14:hiddenFill>
            </a:ext>
          </a:extLst>
        </p:spPr>
      </p:pic>
      <p:cxnSp>
        <p:nvCxnSpPr>
          <p:cNvPr id="95" name="Connecteur droit 94">
            <a:extLst>
              <a:ext uri="{FF2B5EF4-FFF2-40B4-BE49-F238E27FC236}">
                <a16:creationId xmlns:a16="http://schemas.microsoft.com/office/drawing/2014/main" id="{FFF24A4B-A422-49DC-99C2-D69FA70F21C9}"/>
              </a:ext>
            </a:extLst>
          </p:cNvPr>
          <p:cNvCxnSpPr>
            <a:cxnSpLocks/>
          </p:cNvCxnSpPr>
          <p:nvPr/>
        </p:nvCxnSpPr>
        <p:spPr bwMode="auto">
          <a:xfrm>
            <a:off x="272227" y="1165303"/>
            <a:ext cx="4537581"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cxnSp>
        <p:nvCxnSpPr>
          <p:cNvPr id="96" name="Connecteur droit 95">
            <a:extLst>
              <a:ext uri="{FF2B5EF4-FFF2-40B4-BE49-F238E27FC236}">
                <a16:creationId xmlns:a16="http://schemas.microsoft.com/office/drawing/2014/main" id="{41892748-DE01-4C8B-B51B-07A89F8F1DDC}"/>
              </a:ext>
            </a:extLst>
          </p:cNvPr>
          <p:cNvCxnSpPr>
            <a:cxnSpLocks/>
          </p:cNvCxnSpPr>
          <p:nvPr/>
        </p:nvCxnSpPr>
        <p:spPr bwMode="auto">
          <a:xfrm>
            <a:off x="5106409" y="1165303"/>
            <a:ext cx="445576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2" name="ZoneTexte 31">
            <a:extLst>
              <a:ext uri="{FF2B5EF4-FFF2-40B4-BE49-F238E27FC236}">
                <a16:creationId xmlns:a16="http://schemas.microsoft.com/office/drawing/2014/main" id="{EE6042B6-A9EB-4CF2-8FE1-56CAD51DD305}"/>
              </a:ext>
            </a:extLst>
          </p:cNvPr>
          <p:cNvSpPr txBox="1"/>
          <p:nvPr/>
        </p:nvSpPr>
        <p:spPr>
          <a:xfrm>
            <a:off x="436206" y="944010"/>
            <a:ext cx="4209623" cy="409921"/>
          </a:xfrm>
          <a:prstGeom prst="rect">
            <a:avLst/>
          </a:prstGeom>
          <a:solidFill>
            <a:schemeClr val="bg1"/>
          </a:solidFill>
        </p:spPr>
        <p:txBody>
          <a:bodyPr wrap="square" rtlCol="0">
            <a:spAutoFit/>
          </a:bodyPr>
          <a:lstStyle/>
          <a:p>
            <a:pPr algn="ctr"/>
            <a:r>
              <a:rPr lang="en-GB" sz="1100" dirty="0">
                <a:latin typeface="Trebuchet MS" panose="020B0603020202020204" pitchFamily="34" charset="0"/>
              </a:rPr>
              <a:t>Incumbents of the BD&amp;A market propose</a:t>
            </a:r>
            <a:r>
              <a:rPr lang="en-GB" sz="1100" dirty="0">
                <a:solidFill>
                  <a:schemeClr val="tx2"/>
                </a:solidFill>
                <a:latin typeface="Trebuchet MS" panose="020B0603020202020204" pitchFamily="34" charset="0"/>
              </a:rPr>
              <a:t> standardized offerings </a:t>
            </a:r>
            <a:r>
              <a:rPr lang="en-GB" sz="1100" dirty="0">
                <a:latin typeface="Trebuchet MS" panose="020B0603020202020204" pitchFamily="34" charset="0"/>
              </a:rPr>
              <a:t>of portfolio remediation and peer due diligence operations</a:t>
            </a:r>
          </a:p>
        </p:txBody>
      </p:sp>
      <p:sp>
        <p:nvSpPr>
          <p:cNvPr id="33" name="ZoneTexte 32">
            <a:extLst>
              <a:ext uri="{FF2B5EF4-FFF2-40B4-BE49-F238E27FC236}">
                <a16:creationId xmlns:a16="http://schemas.microsoft.com/office/drawing/2014/main" id="{43623613-D13D-48F7-8961-3CCFF428006B}"/>
              </a:ext>
            </a:extLst>
          </p:cNvPr>
          <p:cNvSpPr txBox="1"/>
          <p:nvPr/>
        </p:nvSpPr>
        <p:spPr>
          <a:xfrm>
            <a:off x="5354560" y="944010"/>
            <a:ext cx="3959461" cy="430887"/>
          </a:xfrm>
          <a:prstGeom prst="rect">
            <a:avLst/>
          </a:prstGeom>
          <a:solidFill>
            <a:schemeClr val="bg1"/>
          </a:solidFill>
        </p:spPr>
        <p:txBody>
          <a:bodyPr wrap="square" rtlCol="0">
            <a:spAutoFit/>
          </a:bodyPr>
          <a:lstStyle/>
          <a:p>
            <a:pPr algn="ctr"/>
            <a:r>
              <a:rPr lang="en-GB" sz="1100">
                <a:latin typeface="Trebuchet MS" panose="020B0603020202020204" pitchFamily="34" charset="0"/>
              </a:rPr>
              <a:t>These operations are </a:t>
            </a:r>
            <a:r>
              <a:rPr lang="en-GB" sz="1100">
                <a:solidFill>
                  <a:schemeClr val="tx2"/>
                </a:solidFill>
                <a:latin typeface="Trebuchet MS" panose="020B0603020202020204" pitchFamily="34" charset="0"/>
              </a:rPr>
              <a:t>leveraging their existing proprietary data lakes and partnerships </a:t>
            </a:r>
            <a:r>
              <a:rPr lang="en-GB" sz="1100">
                <a:latin typeface="Trebuchet MS" panose="020B0603020202020204" pitchFamily="34" charset="0"/>
              </a:rPr>
              <a:t>with compliance experts</a:t>
            </a:r>
          </a:p>
        </p:txBody>
      </p:sp>
      <p:pic>
        <p:nvPicPr>
          <p:cNvPr id="9" name="Picture 8" descr="A picture containing light&#10;&#10;Description automatically generated">
            <a:extLst>
              <a:ext uri="{FF2B5EF4-FFF2-40B4-BE49-F238E27FC236}">
                <a16:creationId xmlns:a16="http://schemas.microsoft.com/office/drawing/2014/main" id="{D9E68D64-8222-4B71-BA1A-D829CE31F215}"/>
              </a:ext>
            </a:extLst>
          </p:cNvPr>
          <p:cNvPicPr>
            <a:picLocks noChangeAspect="1"/>
          </p:cNvPicPr>
          <p:nvPr/>
        </p:nvPicPr>
        <p:blipFill rotWithShape="1">
          <a:blip r:embed="rId15">
            <a:extLst>
              <a:ext uri="{28A0092B-C50C-407E-A947-70E740481C1C}">
                <a14:useLocalDpi xmlns:a14="http://schemas.microsoft.com/office/drawing/2010/main" val="0"/>
              </a:ext>
            </a:extLst>
          </a:blip>
          <a:srcRect t="38606" b="38606"/>
          <a:stretch/>
        </p:blipFill>
        <p:spPr>
          <a:xfrm>
            <a:off x="2450080" y="6054195"/>
            <a:ext cx="778706" cy="141958"/>
          </a:xfrm>
          <a:prstGeom prst="rect">
            <a:avLst/>
          </a:prstGeom>
        </p:spPr>
      </p:pic>
      <p:pic>
        <p:nvPicPr>
          <p:cNvPr id="13" name="Picture 22" descr="A close up of a logo&#10;&#10;Description automatically generated">
            <a:extLst>
              <a:ext uri="{FF2B5EF4-FFF2-40B4-BE49-F238E27FC236}">
                <a16:creationId xmlns:a16="http://schemas.microsoft.com/office/drawing/2014/main" id="{61091E2C-4EB8-4BA2-A0B7-0983E2764D1F}"/>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615408" y="2950285"/>
            <a:ext cx="1155179" cy="610065"/>
          </a:xfrm>
          <a:prstGeom prst="rect">
            <a:avLst/>
          </a:prstGeom>
        </p:spPr>
      </p:pic>
      <p:pic>
        <p:nvPicPr>
          <p:cNvPr id="7" name="Picture 2" descr="ALTARES-D&amp;B - L'ASSOCIATION FRANCAISE DES CREDIT MANAGERS ET CONSEILS">
            <a:extLst>
              <a:ext uri="{FF2B5EF4-FFF2-40B4-BE49-F238E27FC236}">
                <a16:creationId xmlns:a16="http://schemas.microsoft.com/office/drawing/2014/main" id="{41E6A27B-046D-4F36-8008-A3167D21AC8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39014" y="6018942"/>
            <a:ext cx="369480" cy="206956"/>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2" descr="ALTARES-D&amp;B - L'ASSOCIATION FRANCAISE DES CREDIT MANAGERS ET CONSEILS">
            <a:extLst>
              <a:ext uri="{FF2B5EF4-FFF2-40B4-BE49-F238E27FC236}">
                <a16:creationId xmlns:a16="http://schemas.microsoft.com/office/drawing/2014/main" id="{2EE14757-6260-4FD6-B9E1-F54D86DDED66}"/>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263553" y="2142615"/>
            <a:ext cx="442792" cy="248020"/>
          </a:xfrm>
          <a:prstGeom prst="rect">
            <a:avLst/>
          </a:prstGeom>
          <a:noFill/>
          <a:extLst>
            <a:ext uri="{909E8E84-426E-40DD-AFC4-6F175D3DCCD1}">
              <a14:hiddenFill xmlns:a14="http://schemas.microsoft.com/office/drawing/2010/main">
                <a:solidFill>
                  <a:srgbClr val="FFFFFF"/>
                </a:solidFill>
              </a14:hiddenFill>
            </a:ext>
          </a:extLst>
        </p:spPr>
      </p:pic>
      <p:grpSp>
        <p:nvGrpSpPr>
          <p:cNvPr id="102" name="Groupe 101">
            <a:extLst>
              <a:ext uri="{FF2B5EF4-FFF2-40B4-BE49-F238E27FC236}">
                <a16:creationId xmlns:a16="http://schemas.microsoft.com/office/drawing/2014/main" id="{479ED659-055C-4A0A-8525-B318F211656C}"/>
              </a:ext>
            </a:extLst>
          </p:cNvPr>
          <p:cNvGrpSpPr/>
          <p:nvPr/>
        </p:nvGrpSpPr>
        <p:grpSpPr>
          <a:xfrm>
            <a:off x="8448150" y="-11528"/>
            <a:ext cx="1435548" cy="588143"/>
            <a:chOff x="8448150" y="-11528"/>
            <a:chExt cx="1435548" cy="588143"/>
          </a:xfrm>
        </p:grpSpPr>
        <p:grpSp>
          <p:nvGrpSpPr>
            <p:cNvPr id="103" name="Groupe 102">
              <a:extLst>
                <a:ext uri="{FF2B5EF4-FFF2-40B4-BE49-F238E27FC236}">
                  <a16:creationId xmlns:a16="http://schemas.microsoft.com/office/drawing/2014/main" id="{3C048C56-7820-4637-9DBE-D3672C992AA8}"/>
                </a:ext>
              </a:extLst>
            </p:cNvPr>
            <p:cNvGrpSpPr/>
            <p:nvPr/>
          </p:nvGrpSpPr>
          <p:grpSpPr>
            <a:xfrm>
              <a:off x="8448150" y="-11528"/>
              <a:ext cx="1435548" cy="555653"/>
              <a:chOff x="8448150" y="-11528"/>
              <a:chExt cx="1435548" cy="555653"/>
            </a:xfrm>
          </p:grpSpPr>
          <p:sp>
            <p:nvSpPr>
              <p:cNvPr id="113" name="Rectangle : coins arrondis 199">
                <a:extLst>
                  <a:ext uri="{FF2B5EF4-FFF2-40B4-BE49-F238E27FC236}">
                    <a16:creationId xmlns:a16="http://schemas.microsoft.com/office/drawing/2014/main" id="{3734B023-3CFD-4C83-BA59-7537D149EF4B}"/>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4" name="Rectangle : coins arrondis 200">
                <a:extLst>
                  <a:ext uri="{FF2B5EF4-FFF2-40B4-BE49-F238E27FC236}">
                    <a16:creationId xmlns:a16="http://schemas.microsoft.com/office/drawing/2014/main" id="{25A8B168-827F-4049-B650-BBFF06ABA3BB}"/>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5" name="Rectangle : coins arrondis 201">
                <a:extLst>
                  <a:ext uri="{FF2B5EF4-FFF2-40B4-BE49-F238E27FC236}">
                    <a16:creationId xmlns:a16="http://schemas.microsoft.com/office/drawing/2014/main" id="{CF426FE2-FD59-4A5A-999B-B8F38E1379EB}"/>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6" name="ZoneTexte 18">
                <a:extLst>
                  <a:ext uri="{FF2B5EF4-FFF2-40B4-BE49-F238E27FC236}">
                    <a16:creationId xmlns:a16="http://schemas.microsoft.com/office/drawing/2014/main" id="{B3587B1C-A3D9-4BBC-A66D-C8AFDE07C900}"/>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17" name="Graphique 128" descr="Jauge">
                <a:extLst>
                  <a:ext uri="{FF2B5EF4-FFF2-40B4-BE49-F238E27FC236}">
                    <a16:creationId xmlns:a16="http://schemas.microsoft.com/office/drawing/2014/main" id="{326E158E-A4DA-4626-A658-BE220972F3D7}"/>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553764" y="187516"/>
                <a:ext cx="234953" cy="218224"/>
              </a:xfrm>
              <a:prstGeom prst="rect">
                <a:avLst/>
              </a:prstGeom>
              <a:effectLst/>
            </p:spPr>
          </p:pic>
          <p:pic>
            <p:nvPicPr>
              <p:cNvPr id="118" name="Graphique 90" descr="Poignée de main">
                <a:extLst>
                  <a:ext uri="{FF2B5EF4-FFF2-40B4-BE49-F238E27FC236}">
                    <a16:creationId xmlns:a16="http://schemas.microsoft.com/office/drawing/2014/main" id="{753E296F-DE8D-4913-9662-6DFCBF4F311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960868" y="152880"/>
                <a:ext cx="256313" cy="287496"/>
              </a:xfrm>
              <a:prstGeom prst="rect">
                <a:avLst/>
              </a:prstGeom>
              <a:effectLst/>
            </p:spPr>
          </p:pic>
          <p:pic>
            <p:nvPicPr>
              <p:cNvPr id="119" name="Graphique 74" descr="Mégaphone">
                <a:extLst>
                  <a:ext uri="{FF2B5EF4-FFF2-40B4-BE49-F238E27FC236}">
                    <a16:creationId xmlns:a16="http://schemas.microsoft.com/office/drawing/2014/main" id="{DA4BA742-DA22-47B4-B3B5-DC0FD5F08D15}"/>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389331" y="181519"/>
                <a:ext cx="233011" cy="216420"/>
              </a:xfrm>
              <a:prstGeom prst="rect">
                <a:avLst/>
              </a:prstGeom>
              <a:effectLst/>
            </p:spPr>
          </p:pic>
          <p:pic>
            <p:nvPicPr>
              <p:cNvPr id="120" name="Picture 2" descr="Drapeau France">
                <a:extLst>
                  <a:ext uri="{FF2B5EF4-FFF2-40B4-BE49-F238E27FC236}">
                    <a16:creationId xmlns:a16="http://schemas.microsoft.com/office/drawing/2014/main" id="{29621094-296E-432F-9E19-735A8ED21BF3}"/>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21" name="Picture 2" descr="5 ft x 3 ft 150 x 90 cm-DRAPEAU BELGE Belgique 100% Polyester ...">
                <a:extLst>
                  <a:ext uri="{FF2B5EF4-FFF2-40B4-BE49-F238E27FC236}">
                    <a16:creationId xmlns:a16="http://schemas.microsoft.com/office/drawing/2014/main" id="{3104FA05-3E2D-4D9E-8B93-C81700CAF919}"/>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22" name="Picture 2 - 1" descr="Drapeau des Pays-Bas — Wikipédia">
                <a:extLst>
                  <a:ext uri="{FF2B5EF4-FFF2-40B4-BE49-F238E27FC236}">
                    <a16:creationId xmlns:a16="http://schemas.microsoft.com/office/drawing/2014/main" id="{F718E127-9750-409F-9B5C-096B4FF34189}"/>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23" name="Picture 2 - 2" descr="Drapeau du Luxembourg">
                <a:extLst>
                  <a:ext uri="{FF2B5EF4-FFF2-40B4-BE49-F238E27FC236}">
                    <a16:creationId xmlns:a16="http://schemas.microsoft.com/office/drawing/2014/main" id="{12A705A9-B107-4BBB-A9EB-BBB372B61947}"/>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111" name="ZoneTexte 18">
              <a:extLst>
                <a:ext uri="{FF2B5EF4-FFF2-40B4-BE49-F238E27FC236}">
                  <a16:creationId xmlns:a16="http://schemas.microsoft.com/office/drawing/2014/main" id="{105BC421-63D6-46F1-B259-FD252E6E656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pic>
        <p:nvPicPr>
          <p:cNvPr id="109" name="Picture 2" descr="ALTARES-D&amp;B - L'ASSOCIATION FRANCAISE DES CREDIT MANAGERS ET CONSEILS">
            <a:extLst>
              <a:ext uri="{FF2B5EF4-FFF2-40B4-BE49-F238E27FC236}">
                <a16:creationId xmlns:a16="http://schemas.microsoft.com/office/drawing/2014/main" id="{1BFCAED2-0DEA-48BC-9EA5-4ACAFB0B809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623887" y="6018942"/>
            <a:ext cx="369480" cy="2069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8035919"/>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101C16C-D1A7-49B9-8C20-8E9CF747C3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5" name="Objet 4" hidden="1">
                        <a:extLst>
                          <a:ext uri="{FF2B5EF4-FFF2-40B4-BE49-F238E27FC236}">
                            <a16:creationId xmlns:a16="http://schemas.microsoft.com/office/drawing/2014/main" id="{C101C16C-D1A7-49B9-8C20-8E9CF747C3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2BD196-CCFC-45B6-8952-495E696C9486}"/>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238EF410-9848-48C5-B2A4-A503A4B3A7F4}"/>
              </a:ext>
            </a:extLst>
          </p:cNvPr>
          <p:cNvSpPr>
            <a:spLocks noGrp="1"/>
          </p:cNvSpPr>
          <p:nvPr>
            <p:ph type="title"/>
          </p:nvPr>
        </p:nvSpPr>
        <p:spPr>
          <a:xfrm>
            <a:off x="165600" y="147600"/>
            <a:ext cx="8301170" cy="684000"/>
          </a:xfrm>
        </p:spPr>
        <p:txBody>
          <a:bodyPr/>
          <a:lstStyle/>
          <a:p>
            <a:r>
              <a:rPr lang="en-GB" kern="0"/>
              <a:t>Regarding </a:t>
            </a:r>
            <a:r>
              <a:rPr lang="en-GB" kern="0">
                <a:solidFill>
                  <a:schemeClr val="tx2"/>
                </a:solidFill>
              </a:rPr>
              <a:t>third-parties</a:t>
            </a:r>
            <a:r>
              <a:rPr lang="en-GB" kern="0"/>
              <a:t> </a:t>
            </a:r>
            <a:r>
              <a:rPr lang="en-GB" kern="0">
                <a:solidFill>
                  <a:schemeClr val="tx2"/>
                </a:solidFill>
              </a:rPr>
              <a:t>authentication</a:t>
            </a:r>
            <a:r>
              <a:rPr lang="en-GB" kern="0"/>
              <a:t> </a:t>
            </a:r>
            <a:r>
              <a:rPr lang="en-GB" kern="0">
                <a:solidFill>
                  <a:schemeClr val="tx2"/>
                </a:solidFill>
              </a:rPr>
              <a:t>processes</a:t>
            </a:r>
            <a:r>
              <a:rPr lang="en-GB"/>
              <a:t>, </a:t>
            </a:r>
            <a:r>
              <a:rPr lang="en-GB" kern="0">
                <a:solidFill>
                  <a:schemeClr val="tx2"/>
                </a:solidFill>
              </a:rPr>
              <a:t>BD&amp;A players </a:t>
            </a:r>
            <a:r>
              <a:rPr lang="en-GB" kern="0"/>
              <a:t>such as </a:t>
            </a:r>
            <a:r>
              <a:rPr lang="en-GB" kern="0" err="1"/>
              <a:t>Altares</a:t>
            </a:r>
            <a:r>
              <a:rPr lang="en-GB" kern="0"/>
              <a:t> play </a:t>
            </a:r>
            <a:r>
              <a:rPr lang="en-GB" kern="0">
                <a:solidFill>
                  <a:schemeClr val="tx2"/>
                </a:solidFill>
              </a:rPr>
              <a:t>different</a:t>
            </a:r>
            <a:r>
              <a:rPr lang="en-GB" kern="0"/>
              <a:t> </a:t>
            </a:r>
            <a:r>
              <a:rPr lang="en-GB" kern="0">
                <a:solidFill>
                  <a:schemeClr val="tx2"/>
                </a:solidFill>
              </a:rPr>
              <a:t>roles</a:t>
            </a:r>
            <a:r>
              <a:rPr lang="en-GB" kern="0"/>
              <a:t> whether the use case concerns </a:t>
            </a:r>
            <a:r>
              <a:rPr lang="en-GB" kern="0">
                <a:solidFill>
                  <a:schemeClr val="tx2"/>
                </a:solidFill>
              </a:rPr>
              <a:t>AML or anti-corruption </a:t>
            </a:r>
            <a:r>
              <a:rPr lang="en-GB" kern="0"/>
              <a:t>framework</a:t>
            </a:r>
          </a:p>
        </p:txBody>
      </p:sp>
      <p:cxnSp>
        <p:nvCxnSpPr>
          <p:cNvPr id="6" name="Connecteur droit 5">
            <a:extLst>
              <a:ext uri="{FF2B5EF4-FFF2-40B4-BE49-F238E27FC236}">
                <a16:creationId xmlns:a16="http://schemas.microsoft.com/office/drawing/2014/main" id="{8E7396C9-28A3-4FD9-A2D7-EAE1944EF08E}"/>
              </a:ext>
            </a:extLst>
          </p:cNvPr>
          <p:cNvCxnSpPr>
            <a:cxnSpLocks/>
          </p:cNvCxnSpPr>
          <p:nvPr/>
        </p:nvCxnSpPr>
        <p:spPr bwMode="auto">
          <a:xfrm>
            <a:off x="230819" y="1267582"/>
            <a:ext cx="941568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7" name="Rectangle 84">
            <a:extLst>
              <a:ext uri="{FF2B5EF4-FFF2-40B4-BE49-F238E27FC236}">
                <a16:creationId xmlns:a16="http://schemas.microsoft.com/office/drawing/2014/main" id="{9CB584EF-B604-46D1-A29F-A002BE57050F}"/>
              </a:ext>
            </a:extLst>
          </p:cNvPr>
          <p:cNvSpPr/>
          <p:nvPr/>
        </p:nvSpPr>
        <p:spPr bwMode="auto">
          <a:xfrm>
            <a:off x="2381057" y="1131567"/>
            <a:ext cx="5115212" cy="24579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defRPr/>
            </a:pPr>
            <a:r>
              <a:rPr lang="en-GB" sz="1100">
                <a:latin typeface="Trebuchet MS" panose="020B0603020202020204" pitchFamily="34" charset="0"/>
              </a:rPr>
              <a:t>Example of process for identifying suspicious cases for anti-corruption and anti-money laundering</a:t>
            </a:r>
          </a:p>
        </p:txBody>
      </p:sp>
      <p:pic>
        <p:nvPicPr>
          <p:cNvPr id="9" name="Graphique 8">
            <a:extLst>
              <a:ext uri="{FF2B5EF4-FFF2-40B4-BE49-F238E27FC236}">
                <a16:creationId xmlns:a16="http://schemas.microsoft.com/office/drawing/2014/main" id="{15523C92-6324-473F-B497-6983F85DFE29}"/>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20400"/>
          <a:stretch/>
        </p:blipFill>
        <p:spPr>
          <a:xfrm>
            <a:off x="388139" y="1943469"/>
            <a:ext cx="333845" cy="332177"/>
          </a:xfrm>
          <a:prstGeom prst="rect">
            <a:avLst/>
          </a:prstGeom>
        </p:spPr>
      </p:pic>
      <p:sp>
        <p:nvSpPr>
          <p:cNvPr id="10" name="ZoneTexte 9">
            <a:extLst>
              <a:ext uri="{FF2B5EF4-FFF2-40B4-BE49-F238E27FC236}">
                <a16:creationId xmlns:a16="http://schemas.microsoft.com/office/drawing/2014/main" id="{43FDD245-B3F6-4CFE-8335-FE8BC06FBEB3}"/>
              </a:ext>
            </a:extLst>
          </p:cNvPr>
          <p:cNvSpPr txBox="1"/>
          <p:nvPr/>
        </p:nvSpPr>
        <p:spPr>
          <a:xfrm>
            <a:off x="51604" y="2275646"/>
            <a:ext cx="969879" cy="553998"/>
          </a:xfrm>
          <a:prstGeom prst="rect">
            <a:avLst/>
          </a:prstGeom>
          <a:noFill/>
        </p:spPr>
        <p:txBody>
          <a:bodyPr wrap="square" rtlCol="0">
            <a:spAutoFit/>
          </a:bodyPr>
          <a:lstStyle/>
          <a:p>
            <a:pPr algn="ctr"/>
            <a:r>
              <a:rPr lang="en-GB" sz="1000">
                <a:latin typeface="Trebuchet MS" panose="020B0603020202020204" pitchFamily="34" charset="0"/>
              </a:rPr>
              <a:t>Legal or physical person</a:t>
            </a:r>
          </a:p>
        </p:txBody>
      </p:sp>
      <p:sp>
        <p:nvSpPr>
          <p:cNvPr id="11" name="Isosceles Triangle 103">
            <a:extLst>
              <a:ext uri="{FF2B5EF4-FFF2-40B4-BE49-F238E27FC236}">
                <a16:creationId xmlns:a16="http://schemas.microsoft.com/office/drawing/2014/main" id="{6153293C-7868-4FB1-9492-06EC1E8A519B}"/>
              </a:ext>
            </a:extLst>
          </p:cNvPr>
          <p:cNvSpPr/>
          <p:nvPr/>
        </p:nvSpPr>
        <p:spPr bwMode="auto">
          <a:xfrm rot="5400000">
            <a:off x="954146" y="2207912"/>
            <a:ext cx="342026" cy="12172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13" name="Graphique 12">
            <a:extLst>
              <a:ext uri="{FF2B5EF4-FFF2-40B4-BE49-F238E27FC236}">
                <a16:creationId xmlns:a16="http://schemas.microsoft.com/office/drawing/2014/main" id="{7CECF7A2-7134-4160-A0FF-8B001501D021}"/>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18125"/>
          <a:stretch/>
        </p:blipFill>
        <p:spPr>
          <a:xfrm>
            <a:off x="1654994" y="1933473"/>
            <a:ext cx="344104" cy="352168"/>
          </a:xfrm>
          <a:prstGeom prst="rect">
            <a:avLst/>
          </a:prstGeom>
        </p:spPr>
      </p:pic>
      <p:sp>
        <p:nvSpPr>
          <p:cNvPr id="14" name="ZoneTexte 13">
            <a:extLst>
              <a:ext uri="{FF2B5EF4-FFF2-40B4-BE49-F238E27FC236}">
                <a16:creationId xmlns:a16="http://schemas.microsoft.com/office/drawing/2014/main" id="{D8EE5CD3-1EDD-4047-87A6-683DC9909C0A}"/>
              </a:ext>
            </a:extLst>
          </p:cNvPr>
          <p:cNvSpPr txBox="1"/>
          <p:nvPr/>
        </p:nvSpPr>
        <p:spPr>
          <a:xfrm>
            <a:off x="1281541" y="2275646"/>
            <a:ext cx="1091010" cy="553998"/>
          </a:xfrm>
          <a:prstGeom prst="rect">
            <a:avLst/>
          </a:prstGeom>
          <a:noFill/>
        </p:spPr>
        <p:txBody>
          <a:bodyPr wrap="square" rtlCol="0">
            <a:spAutoFit/>
          </a:bodyPr>
          <a:lstStyle/>
          <a:p>
            <a:pPr algn="ctr"/>
            <a:r>
              <a:rPr lang="en-GB" sz="1000">
                <a:latin typeface="Trebuchet MS" panose="020B0603020202020204" pitchFamily="34" charset="0"/>
              </a:rPr>
              <a:t>Matching with the repository (e.g. D&amp;B...)</a:t>
            </a:r>
          </a:p>
        </p:txBody>
      </p:sp>
      <p:sp>
        <p:nvSpPr>
          <p:cNvPr id="15" name="Isosceles Triangle 103">
            <a:extLst>
              <a:ext uri="{FF2B5EF4-FFF2-40B4-BE49-F238E27FC236}">
                <a16:creationId xmlns:a16="http://schemas.microsoft.com/office/drawing/2014/main" id="{7F68245D-27FD-41BE-8AB3-C9D44A00DF0B}"/>
              </a:ext>
            </a:extLst>
          </p:cNvPr>
          <p:cNvSpPr/>
          <p:nvPr/>
        </p:nvSpPr>
        <p:spPr bwMode="auto">
          <a:xfrm rot="5400000">
            <a:off x="2357920" y="2207912"/>
            <a:ext cx="342026" cy="12172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17" name="Graphique 16">
            <a:extLst>
              <a:ext uri="{FF2B5EF4-FFF2-40B4-BE49-F238E27FC236}">
                <a16:creationId xmlns:a16="http://schemas.microsoft.com/office/drawing/2014/main" id="{A7E19354-885A-4287-A69F-0ABC7DCB1072}"/>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b="14584"/>
          <a:stretch/>
        </p:blipFill>
        <p:spPr>
          <a:xfrm>
            <a:off x="3034782" y="1941219"/>
            <a:ext cx="344104" cy="367403"/>
          </a:xfrm>
          <a:prstGeom prst="rect">
            <a:avLst/>
          </a:prstGeom>
        </p:spPr>
      </p:pic>
      <p:sp>
        <p:nvSpPr>
          <p:cNvPr id="18" name="ZoneTexte 17">
            <a:extLst>
              <a:ext uri="{FF2B5EF4-FFF2-40B4-BE49-F238E27FC236}">
                <a16:creationId xmlns:a16="http://schemas.microsoft.com/office/drawing/2014/main" id="{AF8D4E09-ACC6-4653-A91B-8E63531B1A9D}"/>
              </a:ext>
            </a:extLst>
          </p:cNvPr>
          <p:cNvSpPr txBox="1"/>
          <p:nvPr/>
        </p:nvSpPr>
        <p:spPr>
          <a:xfrm>
            <a:off x="2661329" y="2275646"/>
            <a:ext cx="1091010" cy="246221"/>
          </a:xfrm>
          <a:prstGeom prst="rect">
            <a:avLst/>
          </a:prstGeom>
          <a:noFill/>
        </p:spPr>
        <p:txBody>
          <a:bodyPr wrap="square" rtlCol="0">
            <a:spAutoFit/>
          </a:bodyPr>
          <a:lstStyle/>
          <a:p>
            <a:pPr algn="ctr"/>
            <a:r>
              <a:rPr lang="en-GB" sz="1000">
                <a:latin typeface="Trebuchet MS" panose="020B0603020202020204" pitchFamily="34" charset="0"/>
              </a:rPr>
              <a:t>Screening UBOs</a:t>
            </a:r>
          </a:p>
        </p:txBody>
      </p:sp>
      <p:sp>
        <p:nvSpPr>
          <p:cNvPr id="19" name="Isosceles Triangle 103">
            <a:extLst>
              <a:ext uri="{FF2B5EF4-FFF2-40B4-BE49-F238E27FC236}">
                <a16:creationId xmlns:a16="http://schemas.microsoft.com/office/drawing/2014/main" id="{A69B1348-5E42-4C35-944B-FAC0C0812335}"/>
              </a:ext>
            </a:extLst>
          </p:cNvPr>
          <p:cNvSpPr/>
          <p:nvPr/>
        </p:nvSpPr>
        <p:spPr bwMode="auto">
          <a:xfrm rot="5400000">
            <a:off x="3714218" y="2207912"/>
            <a:ext cx="342026" cy="12172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21" name="Graphique 20">
            <a:extLst>
              <a:ext uri="{FF2B5EF4-FFF2-40B4-BE49-F238E27FC236}">
                <a16:creationId xmlns:a16="http://schemas.microsoft.com/office/drawing/2014/main" id="{DD87ED7B-08E2-4393-991C-7F8CB39B4A68}"/>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b="25495"/>
          <a:stretch/>
        </p:blipFill>
        <p:spPr>
          <a:xfrm>
            <a:off x="4391577" y="1946831"/>
            <a:ext cx="388475" cy="361791"/>
          </a:xfrm>
          <a:prstGeom prst="rect">
            <a:avLst/>
          </a:prstGeom>
        </p:spPr>
      </p:pic>
      <p:sp>
        <p:nvSpPr>
          <p:cNvPr id="22" name="ZoneTexte 21">
            <a:extLst>
              <a:ext uri="{FF2B5EF4-FFF2-40B4-BE49-F238E27FC236}">
                <a16:creationId xmlns:a16="http://schemas.microsoft.com/office/drawing/2014/main" id="{36EDAD44-FE3F-4C07-8B8D-70C06F3D82B2}"/>
              </a:ext>
            </a:extLst>
          </p:cNvPr>
          <p:cNvSpPr txBox="1"/>
          <p:nvPr/>
        </p:nvSpPr>
        <p:spPr>
          <a:xfrm>
            <a:off x="3946095" y="2275646"/>
            <a:ext cx="1279438" cy="400110"/>
          </a:xfrm>
          <a:prstGeom prst="rect">
            <a:avLst/>
          </a:prstGeom>
          <a:noFill/>
        </p:spPr>
        <p:txBody>
          <a:bodyPr wrap="square" rtlCol="0">
            <a:spAutoFit/>
          </a:bodyPr>
          <a:lstStyle/>
          <a:p>
            <a:pPr algn="ctr"/>
            <a:r>
              <a:rPr lang="en-GB" sz="1000">
                <a:latin typeface="Trebuchet MS" panose="020B0603020202020204" pitchFamily="34" charset="0"/>
              </a:rPr>
              <a:t>Sanctions (e.g. PEP, sanction lists)</a:t>
            </a:r>
          </a:p>
        </p:txBody>
      </p:sp>
      <p:sp>
        <p:nvSpPr>
          <p:cNvPr id="23" name="Isosceles Triangle 103">
            <a:extLst>
              <a:ext uri="{FF2B5EF4-FFF2-40B4-BE49-F238E27FC236}">
                <a16:creationId xmlns:a16="http://schemas.microsoft.com/office/drawing/2014/main" id="{297577A1-79F4-4BD0-9390-4994317B6C73}"/>
              </a:ext>
            </a:extLst>
          </p:cNvPr>
          <p:cNvSpPr/>
          <p:nvPr/>
        </p:nvSpPr>
        <p:spPr bwMode="auto">
          <a:xfrm rot="5400000">
            <a:off x="5216397" y="2207912"/>
            <a:ext cx="342026" cy="12172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25" name="Graphique 24">
            <a:extLst>
              <a:ext uri="{FF2B5EF4-FFF2-40B4-BE49-F238E27FC236}">
                <a16:creationId xmlns:a16="http://schemas.microsoft.com/office/drawing/2014/main" id="{2D7EB430-4ABD-4CF9-8299-B2EE3356062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790567" y="2027295"/>
            <a:ext cx="277091" cy="346364"/>
          </a:xfrm>
          <a:prstGeom prst="rect">
            <a:avLst/>
          </a:prstGeom>
        </p:spPr>
      </p:pic>
      <p:sp>
        <p:nvSpPr>
          <p:cNvPr id="26" name="ZoneTexte 25">
            <a:extLst>
              <a:ext uri="{FF2B5EF4-FFF2-40B4-BE49-F238E27FC236}">
                <a16:creationId xmlns:a16="http://schemas.microsoft.com/office/drawing/2014/main" id="{622EAE0B-1E98-44A0-A8B3-BE1B692CD1F6}"/>
              </a:ext>
            </a:extLst>
          </p:cNvPr>
          <p:cNvSpPr txBox="1"/>
          <p:nvPr/>
        </p:nvSpPr>
        <p:spPr>
          <a:xfrm>
            <a:off x="5485427" y="2275646"/>
            <a:ext cx="887370" cy="400110"/>
          </a:xfrm>
          <a:prstGeom prst="rect">
            <a:avLst/>
          </a:prstGeom>
          <a:noFill/>
        </p:spPr>
        <p:txBody>
          <a:bodyPr wrap="square" rtlCol="0">
            <a:spAutoFit/>
          </a:bodyPr>
          <a:lstStyle/>
          <a:p>
            <a:pPr algn="ctr"/>
            <a:r>
              <a:rPr lang="en-GB" sz="1000">
                <a:latin typeface="Trebuchet MS" panose="020B0603020202020204" pitchFamily="34" charset="0"/>
              </a:rPr>
              <a:t>Red flag warning</a:t>
            </a:r>
          </a:p>
        </p:txBody>
      </p:sp>
      <p:sp>
        <p:nvSpPr>
          <p:cNvPr id="27" name="Isosceles Triangle 103">
            <a:extLst>
              <a:ext uri="{FF2B5EF4-FFF2-40B4-BE49-F238E27FC236}">
                <a16:creationId xmlns:a16="http://schemas.microsoft.com/office/drawing/2014/main" id="{080856EB-84C7-4B4E-AB44-45F5F1243AE6}"/>
              </a:ext>
            </a:extLst>
          </p:cNvPr>
          <p:cNvSpPr/>
          <p:nvPr/>
        </p:nvSpPr>
        <p:spPr bwMode="auto">
          <a:xfrm rot="5400000">
            <a:off x="6479765" y="2207912"/>
            <a:ext cx="342026" cy="12172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29" name="Graphique 28">
            <a:extLst>
              <a:ext uri="{FF2B5EF4-FFF2-40B4-BE49-F238E27FC236}">
                <a16:creationId xmlns:a16="http://schemas.microsoft.com/office/drawing/2014/main" id="{65AA31E2-239D-429C-91B8-58B5ECD4D885}"/>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16504"/>
          <a:stretch/>
        </p:blipFill>
        <p:spPr>
          <a:xfrm>
            <a:off x="7038519" y="2032213"/>
            <a:ext cx="293269" cy="307943"/>
          </a:xfrm>
          <a:prstGeom prst="rect">
            <a:avLst/>
          </a:prstGeom>
        </p:spPr>
      </p:pic>
      <p:sp>
        <p:nvSpPr>
          <p:cNvPr id="30" name="ZoneTexte 29">
            <a:extLst>
              <a:ext uri="{FF2B5EF4-FFF2-40B4-BE49-F238E27FC236}">
                <a16:creationId xmlns:a16="http://schemas.microsoft.com/office/drawing/2014/main" id="{3637FE43-E48A-43E4-8240-C71E4F93D992}"/>
              </a:ext>
            </a:extLst>
          </p:cNvPr>
          <p:cNvSpPr txBox="1"/>
          <p:nvPr/>
        </p:nvSpPr>
        <p:spPr>
          <a:xfrm>
            <a:off x="6741468" y="2275646"/>
            <a:ext cx="887370" cy="400110"/>
          </a:xfrm>
          <a:prstGeom prst="rect">
            <a:avLst/>
          </a:prstGeom>
          <a:noFill/>
        </p:spPr>
        <p:txBody>
          <a:bodyPr wrap="square" rtlCol="0">
            <a:spAutoFit/>
          </a:bodyPr>
          <a:lstStyle/>
          <a:p>
            <a:pPr algn="ctr"/>
            <a:r>
              <a:rPr lang="en-GB" sz="1000">
                <a:latin typeface="Trebuchet MS" panose="020B0603020202020204" pitchFamily="34" charset="0"/>
              </a:rPr>
              <a:t>False positive</a:t>
            </a:r>
          </a:p>
        </p:txBody>
      </p:sp>
      <p:sp>
        <p:nvSpPr>
          <p:cNvPr id="31" name="Isosceles Triangle 103">
            <a:extLst>
              <a:ext uri="{FF2B5EF4-FFF2-40B4-BE49-F238E27FC236}">
                <a16:creationId xmlns:a16="http://schemas.microsoft.com/office/drawing/2014/main" id="{44BB7070-37BE-4722-99E0-8E8A3066AB68}"/>
              </a:ext>
            </a:extLst>
          </p:cNvPr>
          <p:cNvSpPr/>
          <p:nvPr/>
        </p:nvSpPr>
        <p:spPr bwMode="auto">
          <a:xfrm rot="5400000">
            <a:off x="7561500" y="2207912"/>
            <a:ext cx="342026" cy="12172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33" name="Graphique 32">
            <a:extLst>
              <a:ext uri="{FF2B5EF4-FFF2-40B4-BE49-F238E27FC236}">
                <a16:creationId xmlns:a16="http://schemas.microsoft.com/office/drawing/2014/main" id="{3635111F-D01C-4C1B-9E02-778C3B68717C}"/>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b="13095"/>
          <a:stretch/>
        </p:blipFill>
        <p:spPr>
          <a:xfrm>
            <a:off x="8139279" y="2030768"/>
            <a:ext cx="283388" cy="310309"/>
          </a:xfrm>
          <a:prstGeom prst="rect">
            <a:avLst/>
          </a:prstGeom>
        </p:spPr>
      </p:pic>
      <p:sp>
        <p:nvSpPr>
          <p:cNvPr id="34" name="ZoneTexte 33">
            <a:extLst>
              <a:ext uri="{FF2B5EF4-FFF2-40B4-BE49-F238E27FC236}">
                <a16:creationId xmlns:a16="http://schemas.microsoft.com/office/drawing/2014/main" id="{758C3B00-E68D-4733-8CEA-6BFBB8A0F035}"/>
              </a:ext>
            </a:extLst>
          </p:cNvPr>
          <p:cNvSpPr txBox="1"/>
          <p:nvPr/>
        </p:nvSpPr>
        <p:spPr>
          <a:xfrm>
            <a:off x="7699917" y="2275646"/>
            <a:ext cx="1091010" cy="707886"/>
          </a:xfrm>
          <a:prstGeom prst="rect">
            <a:avLst/>
          </a:prstGeom>
          <a:noFill/>
        </p:spPr>
        <p:txBody>
          <a:bodyPr wrap="square" rtlCol="0">
            <a:spAutoFit/>
          </a:bodyPr>
          <a:lstStyle/>
          <a:p>
            <a:pPr algn="ctr"/>
            <a:r>
              <a:rPr lang="en-GB" sz="1000">
                <a:latin typeface="Trebuchet MS" panose="020B0603020202020204" pitchFamily="34" charset="0"/>
              </a:rPr>
              <a:t>Manual reprocessing for qualification</a:t>
            </a:r>
          </a:p>
        </p:txBody>
      </p:sp>
      <p:sp>
        <p:nvSpPr>
          <p:cNvPr id="37" name="Isosceles Triangle 103">
            <a:extLst>
              <a:ext uri="{FF2B5EF4-FFF2-40B4-BE49-F238E27FC236}">
                <a16:creationId xmlns:a16="http://schemas.microsoft.com/office/drawing/2014/main" id="{1740BBF9-D7EA-4521-A90A-B5FD0F5FC4BD}"/>
              </a:ext>
            </a:extLst>
          </p:cNvPr>
          <p:cNvSpPr/>
          <p:nvPr/>
        </p:nvSpPr>
        <p:spPr bwMode="auto">
          <a:xfrm rot="5400000">
            <a:off x="8723092" y="2207912"/>
            <a:ext cx="342026" cy="12172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39" name="Graphique 38">
            <a:extLst>
              <a:ext uri="{FF2B5EF4-FFF2-40B4-BE49-F238E27FC236}">
                <a16:creationId xmlns:a16="http://schemas.microsoft.com/office/drawing/2014/main" id="{58205F65-C6E0-4C84-9C59-D00E1B8AA8F3}"/>
              </a:ext>
            </a:extLst>
          </p:cNvPr>
          <p:cNvPicPr>
            <a:picLocks noChangeAspect="1"/>
          </p:cNvPicPr>
          <p:nvPr/>
        </p:nvPicPr>
        <p:blipFill rotWithShape="1">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t="-1" b="19167"/>
          <a:stretch/>
        </p:blipFill>
        <p:spPr>
          <a:xfrm>
            <a:off x="9213143" y="2027295"/>
            <a:ext cx="304800" cy="307975"/>
          </a:xfrm>
          <a:prstGeom prst="rect">
            <a:avLst/>
          </a:prstGeom>
        </p:spPr>
      </p:pic>
      <p:sp>
        <p:nvSpPr>
          <p:cNvPr id="40" name="ZoneTexte 39">
            <a:extLst>
              <a:ext uri="{FF2B5EF4-FFF2-40B4-BE49-F238E27FC236}">
                <a16:creationId xmlns:a16="http://schemas.microsoft.com/office/drawing/2014/main" id="{6A877605-EBE2-4B86-A3EA-F91114DAC5B8}"/>
              </a:ext>
            </a:extLst>
          </p:cNvPr>
          <p:cNvSpPr txBox="1"/>
          <p:nvPr/>
        </p:nvSpPr>
        <p:spPr>
          <a:xfrm>
            <a:off x="8921858" y="2275646"/>
            <a:ext cx="887370" cy="400110"/>
          </a:xfrm>
          <a:prstGeom prst="rect">
            <a:avLst/>
          </a:prstGeom>
          <a:noFill/>
        </p:spPr>
        <p:txBody>
          <a:bodyPr wrap="square" rtlCol="0">
            <a:spAutoFit/>
          </a:bodyPr>
          <a:lstStyle/>
          <a:p>
            <a:pPr algn="ctr"/>
            <a:r>
              <a:rPr lang="en-GB" sz="1000">
                <a:latin typeface="Trebuchet MS" panose="020B0603020202020204" pitchFamily="34" charset="0"/>
              </a:rPr>
              <a:t>Case confirmed</a:t>
            </a:r>
          </a:p>
        </p:txBody>
      </p:sp>
      <p:sp>
        <p:nvSpPr>
          <p:cNvPr id="44" name="ZoneTexte 125">
            <a:extLst>
              <a:ext uri="{FF2B5EF4-FFF2-40B4-BE49-F238E27FC236}">
                <a16:creationId xmlns:a16="http://schemas.microsoft.com/office/drawing/2014/main" id="{E0E04698-289D-41E1-8C3E-9FBD4EDBFA4C}"/>
              </a:ext>
            </a:extLst>
          </p:cNvPr>
          <p:cNvSpPr txBox="1"/>
          <p:nvPr/>
        </p:nvSpPr>
        <p:spPr>
          <a:xfrm>
            <a:off x="690221" y="2931154"/>
            <a:ext cx="1448924" cy="369332"/>
          </a:xfrm>
          <a:prstGeom prst="rect">
            <a:avLst/>
          </a:prstGeom>
          <a:noFill/>
        </p:spPr>
        <p:txBody>
          <a:bodyPr wrap="square" rtlCol="0">
            <a:spAutoFit/>
          </a:bodyPr>
          <a:lstStyle/>
          <a:p>
            <a:pPr algn="ctr"/>
            <a:r>
              <a:rPr lang="en-GB" sz="900" b="1" err="1">
                <a:solidFill>
                  <a:schemeClr val="accent1">
                    <a:lumMod val="75000"/>
                  </a:schemeClr>
                </a:solidFill>
                <a:latin typeface="Trebuchet MS" panose="020B0603020202020204" pitchFamily="34" charset="0"/>
              </a:rPr>
              <a:t>Altares</a:t>
            </a:r>
            <a:r>
              <a:rPr lang="en-GB" sz="900" b="1">
                <a:solidFill>
                  <a:schemeClr val="accent1">
                    <a:lumMod val="75000"/>
                  </a:schemeClr>
                </a:solidFill>
                <a:latin typeface="Trebuchet MS" panose="020B0603020202020204" pitchFamily="34" charset="0"/>
              </a:rPr>
              <a:t>’ positioning on AML </a:t>
            </a:r>
          </a:p>
        </p:txBody>
      </p:sp>
      <p:pic>
        <p:nvPicPr>
          <p:cNvPr id="45" name="Graphique 44" descr="Argent volant">
            <a:extLst>
              <a:ext uri="{FF2B5EF4-FFF2-40B4-BE49-F238E27FC236}">
                <a16:creationId xmlns:a16="http://schemas.microsoft.com/office/drawing/2014/main" id="{0A7433A0-9A97-4719-9E81-5FB670A92558}"/>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25363" y="2945913"/>
            <a:ext cx="334759" cy="314046"/>
          </a:xfrm>
          <a:prstGeom prst="rect">
            <a:avLst/>
          </a:prstGeom>
        </p:spPr>
      </p:pic>
      <p:sp>
        <p:nvSpPr>
          <p:cNvPr id="47" name="ZoneTexte 125">
            <a:extLst>
              <a:ext uri="{FF2B5EF4-FFF2-40B4-BE49-F238E27FC236}">
                <a16:creationId xmlns:a16="http://schemas.microsoft.com/office/drawing/2014/main" id="{E4EC9D6E-6845-40E4-9A50-B732E7288886}"/>
              </a:ext>
            </a:extLst>
          </p:cNvPr>
          <p:cNvSpPr txBox="1"/>
          <p:nvPr/>
        </p:nvSpPr>
        <p:spPr>
          <a:xfrm>
            <a:off x="3103969" y="4093491"/>
            <a:ext cx="3485945" cy="230832"/>
          </a:xfrm>
          <a:prstGeom prst="rect">
            <a:avLst/>
          </a:prstGeom>
          <a:noFill/>
        </p:spPr>
        <p:txBody>
          <a:bodyPr wrap="square" rtlCol="0">
            <a:spAutoFit/>
          </a:bodyPr>
          <a:lstStyle/>
          <a:p>
            <a:pPr algn="ctr"/>
            <a:r>
              <a:rPr lang="en-GB" sz="900" b="1" err="1">
                <a:solidFill>
                  <a:schemeClr val="accent1">
                    <a:lumMod val="75000"/>
                  </a:schemeClr>
                </a:solidFill>
                <a:latin typeface="Trebuchet MS" panose="020B0603020202020204" pitchFamily="34" charset="0"/>
              </a:rPr>
              <a:t>Altares</a:t>
            </a:r>
            <a:r>
              <a:rPr lang="en-GB" sz="900" b="1">
                <a:solidFill>
                  <a:schemeClr val="accent1">
                    <a:lumMod val="75000"/>
                  </a:schemeClr>
                </a:solidFill>
                <a:latin typeface="Trebuchet MS" panose="020B0603020202020204" pitchFamily="34" charset="0"/>
              </a:rPr>
              <a:t>’ positioning on anti-corruption</a:t>
            </a:r>
          </a:p>
        </p:txBody>
      </p:sp>
      <p:sp>
        <p:nvSpPr>
          <p:cNvPr id="8" name="Flèche : double flèche horizontale 7">
            <a:extLst>
              <a:ext uri="{FF2B5EF4-FFF2-40B4-BE49-F238E27FC236}">
                <a16:creationId xmlns:a16="http://schemas.microsoft.com/office/drawing/2014/main" id="{0391EC17-EAC3-4017-A607-4B62CF7DDA09}"/>
              </a:ext>
            </a:extLst>
          </p:cNvPr>
          <p:cNvSpPr/>
          <p:nvPr/>
        </p:nvSpPr>
        <p:spPr bwMode="auto">
          <a:xfrm>
            <a:off x="230819" y="3211110"/>
            <a:ext cx="2237251" cy="244797"/>
          </a:xfrm>
          <a:prstGeom prst="leftRightArrow">
            <a:avLst/>
          </a:prstGeom>
          <a:solidFill>
            <a:schemeClr val="accent2"/>
          </a:solidFill>
          <a:ln w="9525" cap="flat" cmpd="sng" algn="ctr">
            <a:solidFill>
              <a:srgbClr val="00527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8" name="Bulle narrative : rectangle 37">
            <a:extLst>
              <a:ext uri="{FF2B5EF4-FFF2-40B4-BE49-F238E27FC236}">
                <a16:creationId xmlns:a16="http://schemas.microsoft.com/office/drawing/2014/main" id="{14FBFEAB-90C4-4F42-9B0E-D57625A29A15}"/>
              </a:ext>
            </a:extLst>
          </p:cNvPr>
          <p:cNvSpPr/>
          <p:nvPr/>
        </p:nvSpPr>
        <p:spPr bwMode="auto">
          <a:xfrm>
            <a:off x="28818" y="3465576"/>
            <a:ext cx="2641252" cy="688256"/>
          </a:xfrm>
          <a:prstGeom prst="wedgeRectCallout">
            <a:avLst>
              <a:gd name="adj1" fmla="val -3259"/>
              <a:gd name="adj2" fmla="val -71238"/>
            </a:avLst>
          </a:prstGeom>
          <a:solidFill>
            <a:schemeClr val="bg1"/>
          </a:solidFill>
          <a:ln>
            <a:solidFill>
              <a:schemeClr val="bg1">
                <a:lumMod val="75000"/>
              </a:schemeClr>
            </a:solidFill>
          </a:ln>
        </p:spPr>
        <p:txBody>
          <a:bodyPr wrap="square" lIns="36000" tIns="36000" rIns="36000" bIns="36000" rtlCol="0">
            <a:spAutoFit/>
          </a:bodyPr>
          <a:lstStyle/>
          <a:p>
            <a:pPr algn="ctr"/>
            <a:r>
              <a:rPr lang="en-GB" sz="1000" dirty="0" err="1">
                <a:latin typeface="Trebuchet MS" panose="020B0603020202020204" pitchFamily="34" charset="0"/>
              </a:rPr>
              <a:t>Altares</a:t>
            </a:r>
            <a:r>
              <a:rPr lang="en-GB" sz="1000" dirty="0">
                <a:latin typeface="Trebuchet MS" panose="020B0603020202020204" pitchFamily="34" charset="0"/>
              </a:rPr>
              <a:t> only offers </a:t>
            </a:r>
            <a:r>
              <a:rPr lang="en-GB" sz="1000" dirty="0">
                <a:solidFill>
                  <a:schemeClr val="tx2"/>
                </a:solidFill>
                <a:latin typeface="Trebuchet MS" panose="020B0603020202020204" pitchFamily="34" charset="0"/>
              </a:rPr>
              <a:t>upstream</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data</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services</a:t>
            </a:r>
            <a:r>
              <a:rPr lang="en-GB" sz="1000" dirty="0">
                <a:latin typeface="Trebuchet MS" panose="020B0603020202020204" pitchFamily="34" charset="0"/>
              </a:rPr>
              <a:t> on AML, especially for </a:t>
            </a:r>
            <a:r>
              <a:rPr lang="en-GB" sz="1000" dirty="0">
                <a:solidFill>
                  <a:schemeClr val="tx2"/>
                </a:solidFill>
                <a:latin typeface="Trebuchet MS" panose="020B0603020202020204" pitchFamily="34" charset="0"/>
              </a:rPr>
              <a:t>large corporates </a:t>
            </a:r>
            <a:r>
              <a:rPr lang="en-GB" sz="1000" dirty="0">
                <a:latin typeface="Trebuchet MS" panose="020B0603020202020204" pitchFamily="34" charset="0"/>
              </a:rPr>
              <a:t>with needs of </a:t>
            </a:r>
            <a:r>
              <a:rPr lang="en-GB" sz="1000" dirty="0">
                <a:solidFill>
                  <a:schemeClr val="tx2"/>
                </a:solidFill>
                <a:latin typeface="Trebuchet MS" panose="020B0603020202020204" pitchFamily="34" charset="0"/>
              </a:rPr>
              <a:t>tailor-made solutions </a:t>
            </a:r>
            <a:r>
              <a:rPr lang="en-GB" sz="1000" dirty="0">
                <a:latin typeface="Trebuchet MS" panose="020B0603020202020204" pitchFamily="34" charset="0"/>
              </a:rPr>
              <a:t>regarding very large data requirements</a:t>
            </a:r>
          </a:p>
        </p:txBody>
      </p:sp>
      <p:sp>
        <p:nvSpPr>
          <p:cNvPr id="43" name="Flèche : double flèche horizontale 42">
            <a:extLst>
              <a:ext uri="{FF2B5EF4-FFF2-40B4-BE49-F238E27FC236}">
                <a16:creationId xmlns:a16="http://schemas.microsoft.com/office/drawing/2014/main" id="{115BF6B6-903F-4BBF-B387-6183DE958A81}"/>
              </a:ext>
            </a:extLst>
          </p:cNvPr>
          <p:cNvSpPr/>
          <p:nvPr/>
        </p:nvSpPr>
        <p:spPr bwMode="auto">
          <a:xfrm>
            <a:off x="230819" y="4242244"/>
            <a:ext cx="9415689" cy="244797"/>
          </a:xfrm>
          <a:prstGeom prst="leftRightArrow">
            <a:avLst/>
          </a:prstGeom>
          <a:solidFill>
            <a:schemeClr val="accent2"/>
          </a:solidFill>
          <a:ln w="9525" cap="flat" cmpd="sng" algn="ctr">
            <a:solidFill>
              <a:srgbClr val="00527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46" name="Groupe 45">
            <a:extLst>
              <a:ext uri="{FF2B5EF4-FFF2-40B4-BE49-F238E27FC236}">
                <a16:creationId xmlns:a16="http://schemas.microsoft.com/office/drawing/2014/main" id="{22646858-3B44-4E60-870F-76D2AFD4FD46}"/>
              </a:ext>
            </a:extLst>
          </p:cNvPr>
          <p:cNvGrpSpPr/>
          <p:nvPr/>
        </p:nvGrpSpPr>
        <p:grpSpPr>
          <a:xfrm>
            <a:off x="3388007" y="4001356"/>
            <a:ext cx="311266" cy="348069"/>
            <a:chOff x="10655921" y="3792390"/>
            <a:chExt cx="914400" cy="1075485"/>
          </a:xfrm>
          <a:solidFill>
            <a:schemeClr val="accent1">
              <a:lumMod val="75000"/>
            </a:schemeClr>
          </a:solidFill>
        </p:grpSpPr>
        <p:pic>
          <p:nvPicPr>
            <p:cNvPr id="49" name="Graphique 48" descr="Main ouverte">
              <a:extLst>
                <a:ext uri="{FF2B5EF4-FFF2-40B4-BE49-F238E27FC236}">
                  <a16:creationId xmlns:a16="http://schemas.microsoft.com/office/drawing/2014/main" id="{1A14AAFA-3912-4310-835D-6154D956B8EC}"/>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0655921" y="3953475"/>
              <a:ext cx="914400" cy="914400"/>
            </a:xfrm>
            <a:prstGeom prst="rect">
              <a:avLst/>
            </a:prstGeom>
          </p:spPr>
        </p:pic>
        <p:pic>
          <p:nvPicPr>
            <p:cNvPr id="50" name="Graphique 49" descr="Argent">
              <a:extLst>
                <a:ext uri="{FF2B5EF4-FFF2-40B4-BE49-F238E27FC236}">
                  <a16:creationId xmlns:a16="http://schemas.microsoft.com/office/drawing/2014/main" id="{4F1FF402-5089-44F5-BDF4-6AF374D9A1EF}"/>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0821856" y="3792390"/>
              <a:ext cx="533404" cy="533404"/>
            </a:xfrm>
            <a:prstGeom prst="rect">
              <a:avLst/>
            </a:prstGeom>
          </p:spPr>
        </p:pic>
      </p:grpSp>
      <p:sp>
        <p:nvSpPr>
          <p:cNvPr id="51" name="Bulle narrative : rectangle 50">
            <a:extLst>
              <a:ext uri="{FF2B5EF4-FFF2-40B4-BE49-F238E27FC236}">
                <a16:creationId xmlns:a16="http://schemas.microsoft.com/office/drawing/2014/main" id="{320EF676-DBD4-4705-A900-EBA6CEE5B90D}"/>
              </a:ext>
            </a:extLst>
          </p:cNvPr>
          <p:cNvSpPr/>
          <p:nvPr/>
        </p:nvSpPr>
        <p:spPr bwMode="auto">
          <a:xfrm>
            <a:off x="3670645" y="4549885"/>
            <a:ext cx="2919270" cy="534368"/>
          </a:xfrm>
          <a:prstGeom prst="wedgeRectCallout">
            <a:avLst>
              <a:gd name="adj1" fmla="val -15985"/>
              <a:gd name="adj2" fmla="val -84173"/>
            </a:avLst>
          </a:prstGeom>
          <a:solidFill>
            <a:schemeClr val="bg1"/>
          </a:solidFill>
          <a:ln>
            <a:solidFill>
              <a:schemeClr val="bg1">
                <a:lumMod val="75000"/>
              </a:schemeClr>
            </a:solidFill>
          </a:ln>
        </p:spPr>
        <p:txBody>
          <a:bodyPr wrap="square" lIns="36000" tIns="36000" rIns="36000" bIns="36000" rtlCol="0" anchor="ctr">
            <a:spAutoFit/>
          </a:bodyPr>
          <a:lstStyle/>
          <a:p>
            <a:pPr algn="ctr"/>
            <a:r>
              <a:rPr lang="en-GB" sz="1000" dirty="0" err="1">
                <a:latin typeface="Trebuchet MS" panose="020B0603020202020204" pitchFamily="34" charset="0"/>
              </a:rPr>
              <a:t>Altares</a:t>
            </a:r>
            <a:r>
              <a:rPr lang="en-GB" sz="1000" dirty="0">
                <a:latin typeface="Trebuchet MS" panose="020B0603020202020204" pitchFamily="34" charset="0"/>
              </a:rPr>
              <a:t> offers </a:t>
            </a:r>
            <a:r>
              <a:rPr lang="en-GB" sz="1000" dirty="0">
                <a:solidFill>
                  <a:schemeClr val="tx2"/>
                </a:solidFill>
                <a:latin typeface="Trebuchet MS" panose="020B0603020202020204" pitchFamily="34" charset="0"/>
              </a:rPr>
              <a:t>diligent</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evaluation</a:t>
            </a:r>
            <a:r>
              <a:rPr lang="en-GB" sz="1000" dirty="0">
                <a:latin typeface="Trebuchet MS" panose="020B0603020202020204" pitchFamily="34" charset="0"/>
              </a:rPr>
              <a:t> of all their business partners to </a:t>
            </a:r>
            <a:r>
              <a:rPr lang="en-GB" sz="1000" dirty="0">
                <a:solidFill>
                  <a:schemeClr val="tx2"/>
                </a:solidFill>
                <a:latin typeface="Trebuchet MS" panose="020B0603020202020204" pitchFamily="34" charset="0"/>
              </a:rPr>
              <a:t>estimate</a:t>
            </a:r>
            <a:r>
              <a:rPr lang="en-GB" sz="1000" dirty="0">
                <a:latin typeface="Trebuchet MS" panose="020B0603020202020204" pitchFamily="34" charset="0"/>
              </a:rPr>
              <a:t> the associated </a:t>
            </a:r>
            <a:r>
              <a:rPr lang="en-GB" sz="1000" dirty="0">
                <a:solidFill>
                  <a:schemeClr val="tx2"/>
                </a:solidFill>
                <a:latin typeface="Trebuchet MS" panose="020B0603020202020204" pitchFamily="34" charset="0"/>
              </a:rPr>
              <a:t>risk</a:t>
            </a:r>
            <a:r>
              <a:rPr lang="en-GB" sz="1000" dirty="0">
                <a:latin typeface="Trebuchet MS" panose="020B0603020202020204" pitchFamily="34" charset="0"/>
              </a:rPr>
              <a:t> of </a:t>
            </a:r>
            <a:r>
              <a:rPr lang="en-GB" sz="1000" dirty="0">
                <a:solidFill>
                  <a:schemeClr val="tx2"/>
                </a:solidFill>
                <a:latin typeface="Trebuchet MS" panose="020B0603020202020204" pitchFamily="34" charset="0"/>
              </a:rPr>
              <a:t>corruption</a:t>
            </a:r>
            <a:r>
              <a:rPr lang="en-GB" sz="1000" dirty="0">
                <a:latin typeface="Trebuchet MS" panose="020B0603020202020204" pitchFamily="34" charset="0"/>
              </a:rPr>
              <a:t> and </a:t>
            </a:r>
            <a:r>
              <a:rPr lang="en-GB" sz="1000" dirty="0">
                <a:solidFill>
                  <a:schemeClr val="tx2"/>
                </a:solidFill>
                <a:latin typeface="Trebuchet MS" panose="020B0603020202020204" pitchFamily="34" charset="0"/>
              </a:rPr>
              <a:t>respectability</a:t>
            </a:r>
          </a:p>
        </p:txBody>
      </p:sp>
      <p:sp>
        <p:nvSpPr>
          <p:cNvPr id="52" name="ZoneTexte 51">
            <a:extLst>
              <a:ext uri="{FF2B5EF4-FFF2-40B4-BE49-F238E27FC236}">
                <a16:creationId xmlns:a16="http://schemas.microsoft.com/office/drawing/2014/main" id="{37303250-32B7-44DC-8A91-0E1431A81855}"/>
              </a:ext>
            </a:extLst>
          </p:cNvPr>
          <p:cNvSpPr txBox="1"/>
          <p:nvPr/>
        </p:nvSpPr>
        <p:spPr>
          <a:xfrm>
            <a:off x="3427123" y="2939738"/>
            <a:ext cx="2058304" cy="842145"/>
          </a:xfrm>
          <a:prstGeom prst="wedgeRectCallout">
            <a:avLst>
              <a:gd name="adj1" fmla="val 13585"/>
              <a:gd name="adj2" fmla="val -88425"/>
            </a:avLst>
          </a:prstGeom>
          <a:solidFill>
            <a:schemeClr val="bg1"/>
          </a:solidFill>
          <a:ln>
            <a:solidFill>
              <a:schemeClr val="bg1">
                <a:lumMod val="75000"/>
              </a:schemeClr>
            </a:solidFill>
          </a:ln>
        </p:spPr>
        <p:txBody>
          <a:bodyPr wrap="square" lIns="36000" tIns="36000" rIns="36000" bIns="36000" rtlCol="0">
            <a:spAutoFit/>
          </a:bodyPr>
          <a:lstStyle/>
          <a:p>
            <a:pPr algn="ctr"/>
            <a:r>
              <a:rPr lang="en-GB" sz="1000">
                <a:latin typeface="Trebuchet MS" panose="020B0603020202020204" pitchFamily="34" charset="0"/>
              </a:rPr>
              <a:t>Sanctions lists come from international (e.g. U.N, European union...) and domestic (e.g. </a:t>
            </a:r>
            <a:r>
              <a:rPr lang="en-GB" sz="1000" err="1">
                <a:latin typeface="Trebuchet MS" panose="020B0603020202020204" pitchFamily="34" charset="0"/>
              </a:rPr>
              <a:t>Trésor</a:t>
            </a:r>
            <a:r>
              <a:rPr lang="en-GB" sz="1000">
                <a:latin typeface="Trebuchet MS" panose="020B0603020202020204" pitchFamily="34" charset="0"/>
              </a:rPr>
              <a:t> </a:t>
            </a:r>
            <a:r>
              <a:rPr lang="en-GB" sz="1000" err="1">
                <a:latin typeface="Trebuchet MS" panose="020B0603020202020204" pitchFamily="34" charset="0"/>
              </a:rPr>
              <a:t>français</a:t>
            </a:r>
            <a:r>
              <a:rPr lang="en-GB" sz="1000">
                <a:latin typeface="Trebuchet MS" panose="020B0603020202020204" pitchFamily="34" charset="0"/>
              </a:rPr>
              <a:t>, OFAC*...) sources and evolve regularly</a:t>
            </a:r>
          </a:p>
        </p:txBody>
      </p:sp>
      <p:grpSp>
        <p:nvGrpSpPr>
          <p:cNvPr id="53" name="Groupe 52">
            <a:extLst>
              <a:ext uri="{FF2B5EF4-FFF2-40B4-BE49-F238E27FC236}">
                <a16:creationId xmlns:a16="http://schemas.microsoft.com/office/drawing/2014/main" id="{CF2C2655-62EA-4A97-B34B-7D9DA491FC45}"/>
              </a:ext>
            </a:extLst>
          </p:cNvPr>
          <p:cNvGrpSpPr/>
          <p:nvPr/>
        </p:nvGrpSpPr>
        <p:grpSpPr>
          <a:xfrm>
            <a:off x="8448150" y="-11528"/>
            <a:ext cx="1435548" cy="588143"/>
            <a:chOff x="8448150" y="-11528"/>
            <a:chExt cx="1435548" cy="588143"/>
          </a:xfrm>
        </p:grpSpPr>
        <p:grpSp>
          <p:nvGrpSpPr>
            <p:cNvPr id="54" name="Groupe 53">
              <a:extLst>
                <a:ext uri="{FF2B5EF4-FFF2-40B4-BE49-F238E27FC236}">
                  <a16:creationId xmlns:a16="http://schemas.microsoft.com/office/drawing/2014/main" id="{9C611B76-77ED-4AAA-AC20-05097368F94D}"/>
                </a:ext>
              </a:extLst>
            </p:cNvPr>
            <p:cNvGrpSpPr/>
            <p:nvPr/>
          </p:nvGrpSpPr>
          <p:grpSpPr>
            <a:xfrm>
              <a:off x="8448150" y="-11528"/>
              <a:ext cx="1435548" cy="555653"/>
              <a:chOff x="8448150" y="-11528"/>
              <a:chExt cx="1435548" cy="555653"/>
            </a:xfrm>
          </p:grpSpPr>
          <p:sp>
            <p:nvSpPr>
              <p:cNvPr id="56" name="Rectangle : coins arrondis 199">
                <a:extLst>
                  <a:ext uri="{FF2B5EF4-FFF2-40B4-BE49-F238E27FC236}">
                    <a16:creationId xmlns:a16="http://schemas.microsoft.com/office/drawing/2014/main" id="{778E0665-9E2F-4842-A579-D00F1CCF1357}"/>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7" name="Rectangle : coins arrondis 200">
                <a:extLst>
                  <a:ext uri="{FF2B5EF4-FFF2-40B4-BE49-F238E27FC236}">
                    <a16:creationId xmlns:a16="http://schemas.microsoft.com/office/drawing/2014/main" id="{182DBEB4-F497-4152-939F-0337DDEAAB2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8" name="Rectangle : coins arrondis 201">
                <a:extLst>
                  <a:ext uri="{FF2B5EF4-FFF2-40B4-BE49-F238E27FC236}">
                    <a16:creationId xmlns:a16="http://schemas.microsoft.com/office/drawing/2014/main" id="{95A4939E-CA49-4D15-98F1-5A9C044F601C}"/>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9" name="ZoneTexte 18">
                <a:extLst>
                  <a:ext uri="{FF2B5EF4-FFF2-40B4-BE49-F238E27FC236}">
                    <a16:creationId xmlns:a16="http://schemas.microsoft.com/office/drawing/2014/main" id="{18F0025A-EB3C-45AF-B495-FD98711CC37E}"/>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60" name="Graphique 128" descr="Jauge">
                <a:extLst>
                  <a:ext uri="{FF2B5EF4-FFF2-40B4-BE49-F238E27FC236}">
                    <a16:creationId xmlns:a16="http://schemas.microsoft.com/office/drawing/2014/main" id="{B7939B64-C2EC-4E96-8136-33B195247E32}"/>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8553764" y="187516"/>
                <a:ext cx="234953" cy="218224"/>
              </a:xfrm>
              <a:prstGeom prst="rect">
                <a:avLst/>
              </a:prstGeom>
              <a:effectLst/>
            </p:spPr>
          </p:pic>
          <p:pic>
            <p:nvPicPr>
              <p:cNvPr id="61" name="Graphique 90" descr="Poignée de main">
                <a:extLst>
                  <a:ext uri="{FF2B5EF4-FFF2-40B4-BE49-F238E27FC236}">
                    <a16:creationId xmlns:a16="http://schemas.microsoft.com/office/drawing/2014/main" id="{DAB78B9E-52F3-4BB7-AFE0-5E3888A17580}"/>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8960868" y="152880"/>
                <a:ext cx="256313" cy="287496"/>
              </a:xfrm>
              <a:prstGeom prst="rect">
                <a:avLst/>
              </a:prstGeom>
              <a:effectLst/>
            </p:spPr>
          </p:pic>
          <p:pic>
            <p:nvPicPr>
              <p:cNvPr id="62" name="Graphique 74" descr="Mégaphone">
                <a:extLst>
                  <a:ext uri="{FF2B5EF4-FFF2-40B4-BE49-F238E27FC236}">
                    <a16:creationId xmlns:a16="http://schemas.microsoft.com/office/drawing/2014/main" id="{0E64BA34-8363-4E08-BAEF-336BFE45D7D8}"/>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9389331" y="181519"/>
                <a:ext cx="233011" cy="216420"/>
              </a:xfrm>
              <a:prstGeom prst="rect">
                <a:avLst/>
              </a:prstGeom>
              <a:effectLst/>
            </p:spPr>
          </p:pic>
          <p:pic>
            <p:nvPicPr>
              <p:cNvPr id="63" name="Picture 2" descr="Drapeau France">
                <a:extLst>
                  <a:ext uri="{FF2B5EF4-FFF2-40B4-BE49-F238E27FC236}">
                    <a16:creationId xmlns:a16="http://schemas.microsoft.com/office/drawing/2014/main" id="{8D2FF92E-F4ED-4E24-9468-10A2F2AC0114}"/>
                  </a:ext>
                </a:extLst>
              </p:cNvPr>
              <p:cNvPicPr>
                <a:picLocks noChangeAspect="1" noChangeArrowheads="1"/>
              </p:cNvPicPr>
              <p:nvPr/>
            </p:nvPicPr>
            <p:blipFill rotWithShape="1">
              <a:blip r:embed="rId3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4" name="Picture 2" descr="5 ft x 3 ft 150 x 90 cm-DRAPEAU BELGE Belgique 100% Polyester ...">
                <a:extLst>
                  <a:ext uri="{FF2B5EF4-FFF2-40B4-BE49-F238E27FC236}">
                    <a16:creationId xmlns:a16="http://schemas.microsoft.com/office/drawing/2014/main" id="{F422CFBC-FC41-408F-8B2A-823F8ADF8F5E}"/>
                  </a:ext>
                </a:extLst>
              </p:cNvPr>
              <p:cNvPicPr>
                <a:picLocks noChangeAspect="1" noChangeArrowheads="1"/>
              </p:cNvPicPr>
              <p:nvPr/>
            </p:nvPicPr>
            <p:blipFill rotWithShape="1">
              <a:blip r:embed="rId3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5" name="Picture 2 - 1" descr="Drapeau des Pays-Bas — Wikipédia">
                <a:extLst>
                  <a:ext uri="{FF2B5EF4-FFF2-40B4-BE49-F238E27FC236}">
                    <a16:creationId xmlns:a16="http://schemas.microsoft.com/office/drawing/2014/main" id="{964E9DDA-5401-4AB0-BA37-64F9B4F5F276}"/>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6" name="Picture 2 - 2" descr="Drapeau du Luxembourg">
                <a:extLst>
                  <a:ext uri="{FF2B5EF4-FFF2-40B4-BE49-F238E27FC236}">
                    <a16:creationId xmlns:a16="http://schemas.microsoft.com/office/drawing/2014/main" id="{2DE2399B-85CA-4BEA-B817-837D24EE1855}"/>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55" name="ZoneTexte 18">
              <a:extLst>
                <a:ext uri="{FF2B5EF4-FFF2-40B4-BE49-F238E27FC236}">
                  <a16:creationId xmlns:a16="http://schemas.microsoft.com/office/drawing/2014/main" id="{376F75AB-D0D8-42A0-9E41-35DCF9F840C0}"/>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sp>
        <p:nvSpPr>
          <p:cNvPr id="67" name="Espace réservé du texte 2">
            <a:extLst>
              <a:ext uri="{FF2B5EF4-FFF2-40B4-BE49-F238E27FC236}">
                <a16:creationId xmlns:a16="http://schemas.microsoft.com/office/drawing/2014/main" id="{8A56E491-B66E-4523-8174-279BB1FC796B}"/>
              </a:ext>
            </a:extLst>
          </p:cNvPr>
          <p:cNvSpPr>
            <a:spLocks noGrp="1"/>
          </p:cNvSpPr>
          <p:nvPr>
            <p:ph type="body" sz="quarter" idx="10"/>
          </p:nvPr>
        </p:nvSpPr>
        <p:spPr>
          <a:xfrm>
            <a:off x="1315274" y="6580025"/>
            <a:ext cx="7131600" cy="244800"/>
          </a:xfrm>
        </p:spPr>
        <p:txBody>
          <a:bodyPr/>
          <a:lstStyle/>
          <a:p>
            <a:r>
              <a:rPr lang="en-GB"/>
              <a:t>Sources: eleven research &amp; analysis, expert calls, *Office of Foreign Assets Controls</a:t>
            </a:r>
          </a:p>
        </p:txBody>
      </p:sp>
      <p:cxnSp>
        <p:nvCxnSpPr>
          <p:cNvPr id="24" name="Connecteur droit 23">
            <a:extLst>
              <a:ext uri="{FF2B5EF4-FFF2-40B4-BE49-F238E27FC236}">
                <a16:creationId xmlns:a16="http://schemas.microsoft.com/office/drawing/2014/main" id="{9E04ED88-CB62-402B-A919-E6422861807F}"/>
              </a:ext>
            </a:extLst>
          </p:cNvPr>
          <p:cNvCxnSpPr>
            <a:stCxn id="15" idx="4"/>
            <a:endCxn id="8" idx="7"/>
          </p:cNvCxnSpPr>
          <p:nvPr/>
        </p:nvCxnSpPr>
        <p:spPr bwMode="auto">
          <a:xfrm>
            <a:off x="2468070" y="2439788"/>
            <a:ext cx="0" cy="893721"/>
          </a:xfrm>
          <a:prstGeom prst="line">
            <a:avLst/>
          </a:prstGeom>
          <a:solidFill>
            <a:schemeClr val="accent1"/>
          </a:solidFill>
          <a:ln w="12700" cap="flat" cmpd="sng" algn="ctr">
            <a:solidFill>
              <a:srgbClr val="0070C0"/>
            </a:solidFill>
            <a:prstDash val="sysDash"/>
            <a:round/>
            <a:headEnd type="none" w="med" len="med"/>
            <a:tailEnd type="none" w="med" len="med"/>
          </a:ln>
          <a:effectLst/>
        </p:spPr>
      </p:cxnSp>
      <p:sp>
        <p:nvSpPr>
          <p:cNvPr id="71" name="ZoneTexte 70">
            <a:extLst>
              <a:ext uri="{FF2B5EF4-FFF2-40B4-BE49-F238E27FC236}">
                <a16:creationId xmlns:a16="http://schemas.microsoft.com/office/drawing/2014/main" id="{1C52B6A7-FEEF-41C4-9341-227673D253F6}"/>
              </a:ext>
            </a:extLst>
          </p:cNvPr>
          <p:cNvSpPr txBox="1"/>
          <p:nvPr/>
        </p:nvSpPr>
        <p:spPr>
          <a:xfrm>
            <a:off x="7804090" y="3015226"/>
            <a:ext cx="2058304" cy="534368"/>
          </a:xfrm>
          <a:prstGeom prst="wedgeRectCallout">
            <a:avLst>
              <a:gd name="adj1" fmla="val 22223"/>
              <a:gd name="adj2" fmla="val -95101"/>
            </a:avLst>
          </a:prstGeom>
          <a:solidFill>
            <a:schemeClr val="bg1"/>
          </a:solidFill>
          <a:ln>
            <a:solidFill>
              <a:schemeClr val="bg1">
                <a:lumMod val="75000"/>
              </a:schemeClr>
            </a:solidFill>
          </a:ln>
        </p:spPr>
        <p:txBody>
          <a:bodyPr wrap="square" lIns="36000" tIns="36000" rIns="36000" bIns="36000" rtlCol="0">
            <a:spAutoFit/>
          </a:bodyPr>
          <a:lstStyle/>
          <a:p>
            <a:pPr algn="ctr"/>
            <a:r>
              <a:rPr lang="en-GB" sz="1000">
                <a:latin typeface="Trebuchet MS" panose="020B0603020202020204" pitchFamily="34" charset="0"/>
              </a:rPr>
              <a:t>An </a:t>
            </a:r>
            <a:r>
              <a:rPr lang="en-GB" sz="1000">
                <a:solidFill>
                  <a:schemeClr val="tx2"/>
                </a:solidFill>
                <a:latin typeface="Trebuchet MS" panose="020B0603020202020204" pitchFamily="34" charset="0"/>
              </a:rPr>
              <a:t>explanatory methodology </a:t>
            </a:r>
            <a:r>
              <a:rPr lang="en-GB" sz="1000">
                <a:latin typeface="Trebuchet MS" panose="020B0603020202020204" pitchFamily="34" charset="0"/>
              </a:rPr>
              <a:t>must accompany the identification to ensure the </a:t>
            </a:r>
            <a:r>
              <a:rPr lang="en-GB" sz="1000">
                <a:solidFill>
                  <a:schemeClr val="tx2"/>
                </a:solidFill>
                <a:latin typeface="Trebuchet MS" panose="020B0603020202020204" pitchFamily="34" charset="0"/>
              </a:rPr>
              <a:t>audit trail</a:t>
            </a:r>
          </a:p>
        </p:txBody>
      </p:sp>
      <p:sp>
        <p:nvSpPr>
          <p:cNvPr id="72" name="ZoneTexte 71">
            <a:extLst>
              <a:ext uri="{FF2B5EF4-FFF2-40B4-BE49-F238E27FC236}">
                <a16:creationId xmlns:a16="http://schemas.microsoft.com/office/drawing/2014/main" id="{5FB0E373-B19B-4E53-87B1-21E1643C7A53}"/>
              </a:ext>
            </a:extLst>
          </p:cNvPr>
          <p:cNvSpPr txBox="1"/>
          <p:nvPr/>
        </p:nvSpPr>
        <p:spPr>
          <a:xfrm>
            <a:off x="307278" y="5167261"/>
            <a:ext cx="4512733" cy="1269712"/>
          </a:xfrm>
          <a:prstGeom prst="rect">
            <a:avLst/>
          </a:prstGeom>
          <a:solidFill>
            <a:srgbClr val="F2F2F2"/>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defPPr>
              <a:defRPr lang="en-US"/>
            </a:defPPr>
            <a:lvl1pPr marR="0" defTabSz="914400" eaLnBrk="1" latinLnBrk="0" hangingPunct="1">
              <a:lnSpc>
                <a:spcPct val="100000"/>
              </a:lnSpc>
              <a:spcAft>
                <a:spcPts val="200"/>
              </a:spcAft>
              <a:buClrTx/>
              <a:buSzTx/>
              <a:tabLst/>
              <a:defRPr sz="1000">
                <a:latin typeface="Trebuchet MS" pitchFamily="34" charset="0"/>
              </a:defRPr>
            </a:lvl1pPr>
          </a:lstStyle>
          <a:p>
            <a:pPr marL="447675" indent="-171450">
              <a:buClr>
                <a:schemeClr val="tx1"/>
              </a:buClr>
              <a:buFont typeface="Arial" panose="020B0604020202020204" pitchFamily="34" charset="0"/>
              <a:buChar char="•"/>
            </a:pPr>
            <a:r>
              <a:rPr lang="en-GB"/>
              <a:t>The </a:t>
            </a:r>
            <a:r>
              <a:rPr lang="en-GB">
                <a:solidFill>
                  <a:schemeClr val="tx2"/>
                </a:solidFill>
              </a:rPr>
              <a:t>identification</a:t>
            </a:r>
            <a:r>
              <a:rPr lang="en-GB"/>
              <a:t> </a:t>
            </a:r>
            <a:r>
              <a:rPr lang="en-GB">
                <a:solidFill>
                  <a:schemeClr val="tx2"/>
                </a:solidFill>
              </a:rPr>
              <a:t>process</a:t>
            </a:r>
            <a:r>
              <a:rPr lang="en-GB"/>
              <a:t> must follow a </a:t>
            </a:r>
            <a:r>
              <a:rPr lang="en-GB">
                <a:solidFill>
                  <a:schemeClr val="tx2"/>
                </a:solidFill>
              </a:rPr>
              <a:t>clear</a:t>
            </a:r>
            <a:r>
              <a:rPr lang="en-GB"/>
              <a:t> and </a:t>
            </a:r>
            <a:r>
              <a:rPr lang="en-GB">
                <a:solidFill>
                  <a:schemeClr val="tx2"/>
                </a:solidFill>
              </a:rPr>
              <a:t>transparent</a:t>
            </a:r>
            <a:r>
              <a:rPr lang="en-GB"/>
              <a:t> </a:t>
            </a:r>
            <a:r>
              <a:rPr lang="en-GB">
                <a:solidFill>
                  <a:schemeClr val="tx2"/>
                </a:solidFill>
              </a:rPr>
              <a:t>audit</a:t>
            </a:r>
            <a:r>
              <a:rPr lang="en-GB"/>
              <a:t> </a:t>
            </a:r>
            <a:r>
              <a:rPr lang="en-GB">
                <a:solidFill>
                  <a:schemeClr val="tx2"/>
                </a:solidFill>
              </a:rPr>
              <a:t>trail</a:t>
            </a:r>
            <a:r>
              <a:rPr lang="en-GB"/>
              <a:t> to explain and substantiate the charge. The authority is responsible for the charge and is at fault if it is unable to prove it</a:t>
            </a:r>
          </a:p>
          <a:p>
            <a:pPr marL="447675" indent="-171450">
              <a:buClr>
                <a:schemeClr val="tx1"/>
              </a:buClr>
              <a:buFont typeface="Arial" panose="020B0604020202020204" pitchFamily="34" charset="0"/>
              <a:buChar char="•"/>
            </a:pPr>
            <a:endParaRPr lang="en-GB"/>
          </a:p>
          <a:p>
            <a:pPr marL="447675" indent="-171450">
              <a:buClr>
                <a:schemeClr val="tx1"/>
              </a:buClr>
              <a:buFont typeface="Arial" panose="020B0604020202020204" pitchFamily="34" charset="0"/>
              <a:buChar char="•"/>
            </a:pPr>
            <a:r>
              <a:rPr lang="en-GB">
                <a:solidFill>
                  <a:schemeClr val="tx2"/>
                </a:solidFill>
              </a:rPr>
              <a:t>BD&amp;A </a:t>
            </a:r>
            <a:r>
              <a:rPr lang="en-GB"/>
              <a:t>players do </a:t>
            </a:r>
            <a:r>
              <a:rPr lang="en-GB">
                <a:solidFill>
                  <a:schemeClr val="tx2"/>
                </a:solidFill>
              </a:rPr>
              <a:t>not</a:t>
            </a:r>
            <a:r>
              <a:rPr lang="en-GB"/>
              <a:t> </a:t>
            </a:r>
            <a:r>
              <a:rPr lang="en-GB">
                <a:solidFill>
                  <a:schemeClr val="tx2"/>
                </a:solidFill>
              </a:rPr>
              <a:t>offer</a:t>
            </a:r>
            <a:r>
              <a:rPr lang="en-GB"/>
              <a:t> </a:t>
            </a:r>
            <a:r>
              <a:rPr lang="en-GB">
                <a:solidFill>
                  <a:schemeClr val="tx2"/>
                </a:solidFill>
              </a:rPr>
              <a:t>screening</a:t>
            </a:r>
            <a:r>
              <a:rPr lang="en-GB"/>
              <a:t> </a:t>
            </a:r>
            <a:r>
              <a:rPr lang="en-GB">
                <a:solidFill>
                  <a:schemeClr val="tx2"/>
                </a:solidFill>
              </a:rPr>
              <a:t>services</a:t>
            </a:r>
            <a:r>
              <a:rPr lang="en-GB"/>
              <a:t> for AML as the institutions concerned by the regulations use specific tools that meet the needs of processing very </a:t>
            </a:r>
            <a:r>
              <a:rPr lang="en-GB">
                <a:solidFill>
                  <a:schemeClr val="tx2"/>
                </a:solidFill>
              </a:rPr>
              <a:t>large</a:t>
            </a:r>
            <a:r>
              <a:rPr lang="en-GB"/>
              <a:t> </a:t>
            </a:r>
            <a:r>
              <a:rPr lang="en-GB">
                <a:solidFill>
                  <a:schemeClr val="tx2"/>
                </a:solidFill>
              </a:rPr>
              <a:t>amount</a:t>
            </a:r>
            <a:r>
              <a:rPr lang="en-GB"/>
              <a:t> of </a:t>
            </a:r>
            <a:r>
              <a:rPr lang="en-GB">
                <a:solidFill>
                  <a:schemeClr val="tx2"/>
                </a:solidFill>
              </a:rPr>
              <a:t>data</a:t>
            </a:r>
            <a:r>
              <a:rPr lang="en-GB"/>
              <a:t> as well as a need for </a:t>
            </a:r>
            <a:r>
              <a:rPr lang="en-GB">
                <a:solidFill>
                  <a:schemeClr val="tx2"/>
                </a:solidFill>
              </a:rPr>
              <a:t>real</a:t>
            </a:r>
            <a:r>
              <a:rPr lang="en-GB"/>
              <a:t> </a:t>
            </a:r>
            <a:r>
              <a:rPr lang="en-GB">
                <a:solidFill>
                  <a:schemeClr val="tx2"/>
                </a:solidFill>
              </a:rPr>
              <a:t>time</a:t>
            </a:r>
          </a:p>
        </p:txBody>
      </p:sp>
      <p:sp>
        <p:nvSpPr>
          <p:cNvPr id="74" name="Rectangle 73">
            <a:extLst>
              <a:ext uri="{FF2B5EF4-FFF2-40B4-BE49-F238E27FC236}">
                <a16:creationId xmlns:a16="http://schemas.microsoft.com/office/drawing/2014/main" id="{CF092BA7-2077-438B-8B3B-6D9A36B05732}"/>
              </a:ext>
            </a:extLst>
          </p:cNvPr>
          <p:cNvSpPr/>
          <p:nvPr/>
        </p:nvSpPr>
        <p:spPr bwMode="auto">
          <a:xfrm>
            <a:off x="5192861" y="5167261"/>
            <a:ext cx="4512733" cy="126971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a:ln>
                  <a:noFill/>
                </a:ln>
                <a:effectLst/>
                <a:latin typeface="Trebuchet MS" panose="020B0603020202020204" pitchFamily="34" charset="0"/>
              </a:rPr>
              <a:t>“</a:t>
            </a:r>
            <a:r>
              <a:rPr kumimoji="0" lang="en-GB" sz="1000" b="0" i="1" u="none" strike="noStrike" cap="none" normalizeH="0" baseline="0">
                <a:ln>
                  <a:noFill/>
                </a:ln>
                <a:solidFill>
                  <a:schemeClr val="tx2"/>
                </a:solidFill>
                <a:effectLst/>
                <a:latin typeface="Trebuchet MS" panose="020B0603020202020204" pitchFamily="34" charset="0"/>
              </a:rPr>
              <a:t>Anti-corruption</a:t>
            </a:r>
            <a:r>
              <a:rPr kumimoji="0" lang="en-GB" sz="1000" b="0" i="1" u="none" strike="noStrike" cap="none" normalizeH="0" baseline="0">
                <a:ln>
                  <a:noFill/>
                </a:ln>
                <a:effectLst/>
                <a:latin typeface="Trebuchet MS" panose="020B0603020202020204" pitchFamily="34" charset="0"/>
              </a:rPr>
              <a:t> measures and </a:t>
            </a:r>
            <a:r>
              <a:rPr kumimoji="0" lang="en-GB" sz="1000" b="0" i="1" u="none" strike="noStrike" cap="none" normalizeH="0" baseline="0">
                <a:ln>
                  <a:noFill/>
                </a:ln>
                <a:solidFill>
                  <a:schemeClr val="tx2"/>
                </a:solidFill>
                <a:effectLst/>
                <a:latin typeface="Trebuchet MS" panose="020B0603020202020204" pitchFamily="34" charset="0"/>
              </a:rPr>
              <a:t>anti-money</a:t>
            </a:r>
            <a:r>
              <a:rPr kumimoji="0" lang="en-GB" sz="1000" b="0" i="1" u="none" strike="noStrike" cap="none" normalizeH="0" baseline="0">
                <a:ln>
                  <a:noFill/>
                </a:ln>
                <a:effectLst/>
                <a:latin typeface="Trebuchet MS" panose="020B0603020202020204" pitchFamily="34" charset="0"/>
              </a:rPr>
              <a:t> laundering compliance do </a:t>
            </a:r>
            <a:r>
              <a:rPr kumimoji="0" lang="en-GB" sz="1000" b="0" i="1" u="none" strike="noStrike" cap="none" normalizeH="0" baseline="0">
                <a:ln>
                  <a:noFill/>
                </a:ln>
                <a:solidFill>
                  <a:schemeClr val="tx2"/>
                </a:solidFill>
                <a:effectLst/>
                <a:latin typeface="Trebuchet MS" panose="020B0603020202020204" pitchFamily="34" charset="0"/>
              </a:rPr>
              <a:t>share</a:t>
            </a:r>
            <a:r>
              <a:rPr kumimoji="0" lang="en-GB" sz="1000" b="0" i="1" u="none" strike="noStrike" cap="none" normalizeH="0" baseline="0">
                <a:ln>
                  <a:noFill/>
                </a:ln>
                <a:effectLst/>
                <a:latin typeface="Trebuchet MS" panose="020B0603020202020204" pitchFamily="34" charset="0"/>
              </a:rPr>
              <a:t> some </a:t>
            </a:r>
            <a:r>
              <a:rPr kumimoji="0" lang="en-GB" sz="1000" b="0" i="1" u="none" strike="noStrike" cap="none" normalizeH="0" baseline="0">
                <a:ln>
                  <a:noFill/>
                </a:ln>
                <a:solidFill>
                  <a:schemeClr val="tx2"/>
                </a:solidFill>
                <a:effectLst/>
                <a:latin typeface="Trebuchet MS" panose="020B0603020202020204" pitchFamily="34" charset="0"/>
              </a:rPr>
              <a:t>processes</a:t>
            </a:r>
            <a:r>
              <a:rPr kumimoji="0" lang="en-GB" sz="1000" b="0" i="1" u="none" strike="noStrike" cap="none" normalizeH="0" baseline="0">
                <a:ln>
                  <a:noFill/>
                </a:ln>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workflow</a:t>
            </a:r>
            <a:r>
              <a:rPr kumimoji="0" lang="en-GB" sz="1000" b="0" i="1" u="none" strike="noStrike" cap="none" normalizeH="0" baseline="0">
                <a:ln>
                  <a:noFill/>
                </a:ln>
                <a:effectLst/>
                <a:latin typeface="Trebuchet MS" panose="020B0603020202020204" pitchFamily="34" charset="0"/>
              </a:rPr>
              <a:t> steps and as importantly </a:t>
            </a:r>
            <a:r>
              <a:rPr kumimoji="0" lang="en-GB" sz="1000" b="0" i="1" u="none" strike="noStrike" cap="none" normalizeH="0" baseline="0">
                <a:ln>
                  <a:noFill/>
                </a:ln>
                <a:solidFill>
                  <a:schemeClr val="tx2"/>
                </a:solidFill>
                <a:effectLst/>
                <a:latin typeface="Trebuchet MS" panose="020B0603020202020204" pitchFamily="34" charset="0"/>
              </a:rPr>
              <a:t>data</a:t>
            </a:r>
            <a:r>
              <a:rPr kumimoji="0" lang="en-GB" sz="1000" b="0" i="1" u="none" strike="noStrike" cap="none" normalizeH="0" baseline="0">
                <a:ln>
                  <a:noFill/>
                </a:ln>
                <a:effectLst/>
                <a:latin typeface="Trebuchet MS" panose="020B0603020202020204" pitchFamily="34" charset="0"/>
              </a:rPr>
              <a:t> corpuses. Nevertheless, each domain also features unique specificities. Consequently, there is </a:t>
            </a:r>
            <a:r>
              <a:rPr kumimoji="0" lang="en-GB" sz="1000" b="0" i="1" u="none" strike="noStrike" cap="none" normalizeH="0" baseline="0">
                <a:ln>
                  <a:noFill/>
                </a:ln>
                <a:solidFill>
                  <a:schemeClr val="tx2"/>
                </a:solidFill>
                <a:effectLst/>
                <a:latin typeface="Trebuchet MS" panose="020B0603020202020204" pitchFamily="34" charset="0"/>
              </a:rPr>
              <a:t>no</a:t>
            </a:r>
            <a:r>
              <a:rPr kumimoji="0" lang="en-GB" sz="1000" b="0" i="1" u="none" strike="noStrike" cap="none" normalizeH="0" baseline="0">
                <a:ln>
                  <a:noFill/>
                </a:ln>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one-size-fits-all</a:t>
            </a:r>
            <a:r>
              <a:rPr kumimoji="0" lang="en-GB" sz="1000" b="0" i="1" u="none" strike="noStrike" cap="none" normalizeH="0" baseline="0">
                <a:ln>
                  <a:noFill/>
                </a:ln>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solution</a:t>
            </a:r>
            <a:r>
              <a:rPr kumimoji="0" lang="en-GB" sz="1000" b="0" i="1" u="none" strike="noStrike" cap="none" normalizeH="0" baseline="0">
                <a:ln>
                  <a:noFill/>
                </a:ln>
                <a:effectLst/>
                <a:latin typeface="Trebuchet MS" panose="020B0603020202020204" pitchFamily="34" charset="0"/>
              </a:rPr>
              <a:t> that can fully </a:t>
            </a:r>
            <a:r>
              <a:rPr kumimoji="0" lang="en-GB" sz="1000" b="0" i="1" u="none" strike="noStrike" cap="none" normalizeH="0" baseline="0">
                <a:ln>
                  <a:noFill/>
                </a:ln>
                <a:solidFill>
                  <a:schemeClr val="tx2"/>
                </a:solidFill>
                <a:effectLst/>
                <a:latin typeface="Trebuchet MS" panose="020B0603020202020204" pitchFamily="34" charset="0"/>
              </a:rPr>
              <a:t>embrace</a:t>
            </a:r>
            <a:r>
              <a:rPr kumimoji="0" lang="en-GB" sz="1000" b="0" i="1" u="none" strike="noStrike" cap="none" normalizeH="0" baseline="0">
                <a:ln>
                  <a:noFill/>
                </a:ln>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both</a:t>
            </a:r>
            <a:r>
              <a:rPr kumimoji="0" lang="en-GB" sz="1000" b="0" i="1" u="none" strike="noStrike" cap="none" normalizeH="0" baseline="0">
                <a:ln>
                  <a:noFill/>
                </a:ln>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areas</a:t>
            </a:r>
            <a:r>
              <a:rPr kumimoji="0" lang="en-GB" sz="1000" b="0" i="1" u="none" strike="noStrike" cap="none" normalizeH="0" baseline="0">
                <a:ln>
                  <a:noFill/>
                </a:ln>
                <a:effectLst/>
                <a:latin typeface="Trebuchet MS" panose="020B0603020202020204" pitchFamily="34" charset="0"/>
              </a:rPr>
              <a:t>. Therefore, Altares has made the conscious decision to enrich its technology and data solutions in key segment of the processes, whilst delivering a wide breadth of compliance services”</a:t>
            </a:r>
          </a:p>
          <a:p>
            <a:r>
              <a:rPr lang="en-GB" sz="1000">
                <a:latin typeface="Trebuchet MS" panose="020B0603020202020204" pitchFamily="34" charset="0"/>
              </a:rPr>
              <a:t>CEO at </a:t>
            </a:r>
            <a:r>
              <a:rPr lang="en-GB" sz="1000" err="1">
                <a:latin typeface="Trebuchet MS" panose="020B0603020202020204" pitchFamily="34" charset="0"/>
              </a:rPr>
              <a:t>Altares</a:t>
            </a:r>
            <a:endParaRPr lang="en-GB" sz="1000">
              <a:latin typeface="Trebuchet MS" panose="020B0603020202020204" pitchFamily="34" charset="0"/>
            </a:endParaRPr>
          </a:p>
        </p:txBody>
      </p:sp>
      <p:sp>
        <p:nvSpPr>
          <p:cNvPr id="75" name="Freeform 663">
            <a:extLst>
              <a:ext uri="{FF2B5EF4-FFF2-40B4-BE49-F238E27FC236}">
                <a16:creationId xmlns:a16="http://schemas.microsoft.com/office/drawing/2014/main" id="{8D30EF99-EDEB-4DDD-B2D4-160F6945BF4B}"/>
              </a:ext>
            </a:extLst>
          </p:cNvPr>
          <p:cNvSpPr>
            <a:spLocks noChangeAspect="1" noEditPoints="1"/>
          </p:cNvSpPr>
          <p:nvPr/>
        </p:nvSpPr>
        <p:spPr bwMode="auto">
          <a:xfrm>
            <a:off x="5021293" y="5663492"/>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nvGrpSpPr>
          <p:cNvPr id="68" name="Groupe 21">
            <a:extLst>
              <a:ext uri="{FF2B5EF4-FFF2-40B4-BE49-F238E27FC236}">
                <a16:creationId xmlns:a16="http://schemas.microsoft.com/office/drawing/2014/main" id="{227A4364-110B-4329-B8FD-FBEAD290A24A}"/>
              </a:ext>
            </a:extLst>
          </p:cNvPr>
          <p:cNvGrpSpPr/>
          <p:nvPr/>
        </p:nvGrpSpPr>
        <p:grpSpPr>
          <a:xfrm>
            <a:off x="46485" y="5517048"/>
            <a:ext cx="451426" cy="455941"/>
            <a:chOff x="195390" y="5861727"/>
            <a:chExt cx="335805" cy="335805"/>
          </a:xfrm>
        </p:grpSpPr>
        <p:sp>
          <p:nvSpPr>
            <p:cNvPr id="69" name="Ellipse 22">
              <a:extLst>
                <a:ext uri="{FF2B5EF4-FFF2-40B4-BE49-F238E27FC236}">
                  <a16:creationId xmlns:a16="http://schemas.microsoft.com/office/drawing/2014/main" id="{77BDE803-4234-490E-8C34-2B3CA2EE78BD}"/>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70" name="Group 5">
              <a:extLst>
                <a:ext uri="{FF2B5EF4-FFF2-40B4-BE49-F238E27FC236}">
                  <a16:creationId xmlns:a16="http://schemas.microsoft.com/office/drawing/2014/main" id="{04FCE908-0436-4A69-91BD-A4AE968885B7}"/>
                </a:ext>
              </a:extLst>
            </p:cNvPr>
            <p:cNvGrpSpPr>
              <a:grpSpLocks noChangeAspect="1"/>
            </p:cNvGrpSpPr>
            <p:nvPr/>
          </p:nvGrpSpPr>
          <p:grpSpPr bwMode="auto">
            <a:xfrm>
              <a:off x="249663" y="5915997"/>
              <a:ext cx="227258" cy="227255"/>
              <a:chOff x="788" y="800"/>
              <a:chExt cx="742" cy="742"/>
            </a:xfrm>
            <a:solidFill>
              <a:schemeClr val="tx2"/>
            </a:solidFill>
          </p:grpSpPr>
          <p:sp>
            <p:nvSpPr>
              <p:cNvPr id="73" name="Freeform 6">
                <a:extLst>
                  <a:ext uri="{FF2B5EF4-FFF2-40B4-BE49-F238E27FC236}">
                    <a16:creationId xmlns:a16="http://schemas.microsoft.com/office/drawing/2014/main" id="{51C3F1D4-CD7D-4249-A04E-CA3F1F33E999}"/>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76" name="Freeform 7">
                <a:extLst>
                  <a:ext uri="{FF2B5EF4-FFF2-40B4-BE49-F238E27FC236}">
                    <a16:creationId xmlns:a16="http://schemas.microsoft.com/office/drawing/2014/main" id="{43651722-316E-4DE7-9CB1-685E27878253}"/>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77" name="Freeform 8">
                <a:extLst>
                  <a:ext uri="{FF2B5EF4-FFF2-40B4-BE49-F238E27FC236}">
                    <a16:creationId xmlns:a16="http://schemas.microsoft.com/office/drawing/2014/main" id="{3D6EBAEB-6DD8-4972-8AC3-B416153BB096}"/>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78" name="Freeform 9">
                <a:extLst>
                  <a:ext uri="{FF2B5EF4-FFF2-40B4-BE49-F238E27FC236}">
                    <a16:creationId xmlns:a16="http://schemas.microsoft.com/office/drawing/2014/main" id="{A6F50547-283A-4CD2-8255-784E4D74B87E}"/>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79" name="Freeform 10">
                <a:extLst>
                  <a:ext uri="{FF2B5EF4-FFF2-40B4-BE49-F238E27FC236}">
                    <a16:creationId xmlns:a16="http://schemas.microsoft.com/office/drawing/2014/main" id="{9DA7F405-1184-4DC4-828F-2DFF95FBF9E1}"/>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0" name="Freeform 11">
                <a:extLst>
                  <a:ext uri="{FF2B5EF4-FFF2-40B4-BE49-F238E27FC236}">
                    <a16:creationId xmlns:a16="http://schemas.microsoft.com/office/drawing/2014/main" id="{4A3E745B-27E0-40DF-805B-195BA0F999DF}"/>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1" name="Freeform 12">
                <a:extLst>
                  <a:ext uri="{FF2B5EF4-FFF2-40B4-BE49-F238E27FC236}">
                    <a16:creationId xmlns:a16="http://schemas.microsoft.com/office/drawing/2014/main" id="{FDDAABB5-0CC4-499C-B3CD-B5ED5BBCDF80}"/>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spTree>
    <p:extLst>
      <p:ext uri="{BB962C8B-B14F-4D97-AF65-F5344CB8AC3E}">
        <p14:creationId xmlns:p14="http://schemas.microsoft.com/office/powerpoint/2010/main" val="1591776323"/>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7" name="Objet 86" hidden="1">
            <a:extLst>
              <a:ext uri="{FF2B5EF4-FFF2-40B4-BE49-F238E27FC236}">
                <a16:creationId xmlns:a16="http://schemas.microsoft.com/office/drawing/2014/main" id="{D818AF6D-5973-439D-8C0E-24C6D25314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2" progId="TCLayout.ActiveDocument.1">
                  <p:embed/>
                </p:oleObj>
              </mc:Choice>
              <mc:Fallback>
                <p:oleObj name="think-cell Slide" r:id="rId5" imgW="501" imgH="502" progId="TCLayout.ActiveDocument.1">
                  <p:embed/>
                  <p:pic>
                    <p:nvPicPr>
                      <p:cNvPr id="87" name="Objet 86" hidden="1">
                        <a:extLst>
                          <a:ext uri="{FF2B5EF4-FFF2-40B4-BE49-F238E27FC236}">
                            <a16:creationId xmlns:a16="http://schemas.microsoft.com/office/drawing/2014/main" id="{D818AF6D-5973-439D-8C0E-24C6D25314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6" name="Rectangle 85" hidden="1">
            <a:extLst>
              <a:ext uri="{FF2B5EF4-FFF2-40B4-BE49-F238E27FC236}">
                <a16:creationId xmlns:a16="http://schemas.microsoft.com/office/drawing/2014/main" id="{ACE56A5D-72B2-46F1-B100-4883F6AE1D78}"/>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sym typeface="Trebuchet MS" panose="020B0603020202020204" pitchFamily="34" charset="0"/>
            </a:endParaRPr>
          </a:p>
        </p:txBody>
      </p:sp>
      <p:sp>
        <p:nvSpPr>
          <p:cNvPr id="46" name="Rectangle 45" hidden="1">
            <a:extLst>
              <a:ext uri="{FF2B5EF4-FFF2-40B4-BE49-F238E27FC236}">
                <a16:creationId xmlns:a16="http://schemas.microsoft.com/office/drawing/2014/main" id="{226E1622-D6BD-4579-BEED-F63395A1E100}"/>
              </a:ext>
            </a:extLst>
          </p:cNvPr>
          <p:cNvSpPr/>
          <p:nvPr>
            <p:custDataLst>
              <p:tags r:id="rId3"/>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23325090-E6AD-4579-8BBB-5145185C4FBA}"/>
              </a:ext>
            </a:extLst>
          </p:cNvPr>
          <p:cNvSpPr>
            <a:spLocks noGrp="1"/>
          </p:cNvSpPr>
          <p:nvPr>
            <p:ph type="title"/>
          </p:nvPr>
        </p:nvSpPr>
        <p:spPr>
          <a:xfrm>
            <a:off x="165600" y="147600"/>
            <a:ext cx="8253656" cy="684000"/>
          </a:xfrm>
        </p:spPr>
        <p:txBody>
          <a:bodyPr/>
          <a:lstStyle/>
          <a:p>
            <a:r>
              <a:rPr lang="en-GB" err="1">
                <a:solidFill>
                  <a:schemeClr val="tx2"/>
                </a:solidFill>
                <a:latin typeface="Trebuchet MS" panose="020B0603020202020204" pitchFamily="34" charset="0"/>
              </a:rPr>
              <a:t>Altares</a:t>
            </a:r>
            <a:r>
              <a:rPr lang="en-GB">
                <a:latin typeface="Trebuchet MS" panose="020B0603020202020204" pitchFamily="34" charset="0"/>
              </a:rPr>
              <a:t> uses data (proprietary data and from compliance data providers) and </a:t>
            </a:r>
            <a:r>
              <a:rPr lang="en-GB">
                <a:solidFill>
                  <a:schemeClr val="tx2"/>
                </a:solidFill>
                <a:latin typeface="Trebuchet MS" panose="020B0603020202020204" pitchFamily="34" charset="0"/>
              </a:rPr>
              <a:t>leverages filtering </a:t>
            </a:r>
            <a:r>
              <a:rPr lang="en-GB">
                <a:latin typeface="Trebuchet MS" panose="020B0603020202020204" pitchFamily="34" charset="0"/>
              </a:rPr>
              <a:t>services in order to offer the </a:t>
            </a:r>
            <a:r>
              <a:rPr lang="en-GB">
                <a:solidFill>
                  <a:schemeClr val="tx2"/>
                </a:solidFill>
                <a:latin typeface="Trebuchet MS" panose="020B0603020202020204" pitchFamily="34" charset="0"/>
              </a:rPr>
              <a:t>business needs around </a:t>
            </a:r>
            <a:r>
              <a:rPr kumimoji="0" lang="en-GB" sz="1600" b="0"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third-party authentication </a:t>
            </a:r>
            <a:endParaRPr lang="en-GB">
              <a:solidFill>
                <a:schemeClr val="tx2"/>
              </a:solidFill>
              <a:latin typeface="Trebuchet MS" panose="020B0603020202020204" pitchFamily="34" charset="0"/>
            </a:endParaRPr>
          </a:p>
        </p:txBody>
      </p:sp>
      <p:sp>
        <p:nvSpPr>
          <p:cNvPr id="3" name="Text Placeholder 2">
            <a:extLst>
              <a:ext uri="{FF2B5EF4-FFF2-40B4-BE49-F238E27FC236}">
                <a16:creationId xmlns:a16="http://schemas.microsoft.com/office/drawing/2014/main" id="{DD0833A5-4EAE-4CE9-8039-61F0BAB63E55}"/>
              </a:ext>
            </a:extLst>
          </p:cNvPr>
          <p:cNvSpPr>
            <a:spLocks noGrp="1"/>
          </p:cNvSpPr>
          <p:nvPr>
            <p:ph type="body" sz="quarter" idx="10"/>
          </p:nvPr>
        </p:nvSpPr>
        <p:spPr/>
        <p:txBody>
          <a:bodyPr/>
          <a:lstStyle/>
          <a:p>
            <a:r>
              <a:rPr lang="en-GB"/>
              <a:t>Sources: eleven research &amp; analysis, expert calls</a:t>
            </a:r>
          </a:p>
        </p:txBody>
      </p:sp>
      <p:cxnSp>
        <p:nvCxnSpPr>
          <p:cNvPr id="5" name="Connecteur droit 38">
            <a:extLst>
              <a:ext uri="{FF2B5EF4-FFF2-40B4-BE49-F238E27FC236}">
                <a16:creationId xmlns:a16="http://schemas.microsoft.com/office/drawing/2014/main" id="{E20D21D8-459E-4712-A1D2-FA7234DDE75C}"/>
              </a:ext>
            </a:extLst>
          </p:cNvPr>
          <p:cNvCxnSpPr>
            <a:cxnSpLocks/>
          </p:cNvCxnSpPr>
          <p:nvPr/>
        </p:nvCxnSpPr>
        <p:spPr bwMode="auto">
          <a:xfrm>
            <a:off x="272227" y="1093844"/>
            <a:ext cx="9297901"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6" name="ZoneTexte 31">
            <a:extLst>
              <a:ext uri="{FF2B5EF4-FFF2-40B4-BE49-F238E27FC236}">
                <a16:creationId xmlns:a16="http://schemas.microsoft.com/office/drawing/2014/main" id="{3FE12521-EEA8-4DE6-B205-9D74694BC96C}"/>
              </a:ext>
            </a:extLst>
          </p:cNvPr>
          <p:cNvSpPr txBox="1"/>
          <p:nvPr/>
        </p:nvSpPr>
        <p:spPr>
          <a:xfrm>
            <a:off x="2369181" y="877738"/>
            <a:ext cx="5103994" cy="430887"/>
          </a:xfrm>
          <a:prstGeom prst="rect">
            <a:avLst/>
          </a:prstGeom>
          <a:solidFill>
            <a:schemeClr val="bg1"/>
          </a:solidFill>
        </p:spPr>
        <p:txBody>
          <a:bodyPr wrap="square" rtlCol="0">
            <a:spAutoFit/>
          </a:bodyPr>
          <a:lstStyle/>
          <a:p>
            <a:pPr algn="ctr"/>
            <a:r>
              <a:rPr lang="en-GB" sz="1100">
                <a:latin typeface="Trebuchet MS" panose="020B0603020202020204" pitchFamily="34" charset="0"/>
              </a:rPr>
              <a:t>Overview of the role of the different players in the third-party authentication value-chain </a:t>
            </a:r>
          </a:p>
        </p:txBody>
      </p:sp>
      <p:grpSp>
        <p:nvGrpSpPr>
          <p:cNvPr id="108" name="Groupe 107">
            <a:extLst>
              <a:ext uri="{FF2B5EF4-FFF2-40B4-BE49-F238E27FC236}">
                <a16:creationId xmlns:a16="http://schemas.microsoft.com/office/drawing/2014/main" id="{56741B66-E5C2-4EB0-9A69-F2DED0611751}"/>
              </a:ext>
            </a:extLst>
          </p:cNvPr>
          <p:cNvGrpSpPr/>
          <p:nvPr/>
        </p:nvGrpSpPr>
        <p:grpSpPr>
          <a:xfrm>
            <a:off x="8448150" y="-11528"/>
            <a:ext cx="1435548" cy="588143"/>
            <a:chOff x="8448150" y="-11528"/>
            <a:chExt cx="1435548" cy="588143"/>
          </a:xfrm>
        </p:grpSpPr>
        <p:grpSp>
          <p:nvGrpSpPr>
            <p:cNvPr id="109" name="Groupe 108">
              <a:extLst>
                <a:ext uri="{FF2B5EF4-FFF2-40B4-BE49-F238E27FC236}">
                  <a16:creationId xmlns:a16="http://schemas.microsoft.com/office/drawing/2014/main" id="{F1C65D00-52B1-45C9-9FCD-734AD6CBA7E1}"/>
                </a:ext>
              </a:extLst>
            </p:cNvPr>
            <p:cNvGrpSpPr/>
            <p:nvPr/>
          </p:nvGrpSpPr>
          <p:grpSpPr>
            <a:xfrm>
              <a:off x="8448150" y="-11528"/>
              <a:ext cx="1435548" cy="555653"/>
              <a:chOff x="8448150" y="-11528"/>
              <a:chExt cx="1435548" cy="555653"/>
            </a:xfrm>
          </p:grpSpPr>
          <p:sp>
            <p:nvSpPr>
              <p:cNvPr id="111" name="Rectangle : coins arrondis 199">
                <a:extLst>
                  <a:ext uri="{FF2B5EF4-FFF2-40B4-BE49-F238E27FC236}">
                    <a16:creationId xmlns:a16="http://schemas.microsoft.com/office/drawing/2014/main" id="{06612EB1-C8E2-4A40-BA14-2108AEF36B9B}"/>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2" name="Rectangle : coins arrondis 200">
                <a:extLst>
                  <a:ext uri="{FF2B5EF4-FFF2-40B4-BE49-F238E27FC236}">
                    <a16:creationId xmlns:a16="http://schemas.microsoft.com/office/drawing/2014/main" id="{8446021B-15A4-4308-A5A4-09D942148D72}"/>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3" name="Rectangle : coins arrondis 201">
                <a:extLst>
                  <a:ext uri="{FF2B5EF4-FFF2-40B4-BE49-F238E27FC236}">
                    <a16:creationId xmlns:a16="http://schemas.microsoft.com/office/drawing/2014/main" id="{B5574400-C57E-435C-A73E-950604EEB583}"/>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4" name="ZoneTexte 18">
                <a:extLst>
                  <a:ext uri="{FF2B5EF4-FFF2-40B4-BE49-F238E27FC236}">
                    <a16:creationId xmlns:a16="http://schemas.microsoft.com/office/drawing/2014/main" id="{067F4629-4D50-4AEF-B6FB-D143D8A47694}"/>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35" name="Graphique 128" descr="Jauge">
                <a:extLst>
                  <a:ext uri="{FF2B5EF4-FFF2-40B4-BE49-F238E27FC236}">
                    <a16:creationId xmlns:a16="http://schemas.microsoft.com/office/drawing/2014/main" id="{3734934F-C202-48C6-ADA8-5161F4E5E4A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136" name="Graphique 90" descr="Poignée de main">
                <a:extLst>
                  <a:ext uri="{FF2B5EF4-FFF2-40B4-BE49-F238E27FC236}">
                    <a16:creationId xmlns:a16="http://schemas.microsoft.com/office/drawing/2014/main" id="{BE985F5F-0E88-4993-985B-CD348CD3F3C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137" name="Graphique 74" descr="Mégaphone">
                <a:extLst>
                  <a:ext uri="{FF2B5EF4-FFF2-40B4-BE49-F238E27FC236}">
                    <a16:creationId xmlns:a16="http://schemas.microsoft.com/office/drawing/2014/main" id="{65170F5C-4B57-4F55-8517-2F922A1282A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138" name="Picture 2" descr="Drapeau France">
                <a:extLst>
                  <a:ext uri="{FF2B5EF4-FFF2-40B4-BE49-F238E27FC236}">
                    <a16:creationId xmlns:a16="http://schemas.microsoft.com/office/drawing/2014/main" id="{E9D3FC10-9E1C-4724-AB05-6522D6EE70C6}"/>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39" name="Picture 2" descr="5 ft x 3 ft 150 x 90 cm-DRAPEAU BELGE Belgique 100% Polyester ...">
                <a:extLst>
                  <a:ext uri="{FF2B5EF4-FFF2-40B4-BE49-F238E27FC236}">
                    <a16:creationId xmlns:a16="http://schemas.microsoft.com/office/drawing/2014/main" id="{C2FA7B8C-7A27-4912-B4B5-3FE470FD8EB0}"/>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40" name="Picture 2 - 1" descr="Drapeau des Pays-Bas — Wikipédia">
                <a:extLst>
                  <a:ext uri="{FF2B5EF4-FFF2-40B4-BE49-F238E27FC236}">
                    <a16:creationId xmlns:a16="http://schemas.microsoft.com/office/drawing/2014/main" id="{B464E345-FFDF-4C3F-A396-3EEF92B0971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41" name="Picture 2 - 2" descr="Drapeau du Luxembourg">
                <a:extLst>
                  <a:ext uri="{FF2B5EF4-FFF2-40B4-BE49-F238E27FC236}">
                    <a16:creationId xmlns:a16="http://schemas.microsoft.com/office/drawing/2014/main" id="{BBC3EB21-C487-4F5C-B2BA-DBC7457C7A6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110" name="ZoneTexte 18">
              <a:extLst>
                <a:ext uri="{FF2B5EF4-FFF2-40B4-BE49-F238E27FC236}">
                  <a16:creationId xmlns:a16="http://schemas.microsoft.com/office/drawing/2014/main" id="{69D3E9AD-8855-4592-B164-29330672FFCB}"/>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sp>
        <p:nvSpPr>
          <p:cNvPr id="107" name="Ellipse 129">
            <a:extLst>
              <a:ext uri="{FF2B5EF4-FFF2-40B4-BE49-F238E27FC236}">
                <a16:creationId xmlns:a16="http://schemas.microsoft.com/office/drawing/2014/main" id="{AC004A85-476B-45DA-8E60-72A13D0009CE}"/>
              </a:ext>
            </a:extLst>
          </p:cNvPr>
          <p:cNvSpPr/>
          <p:nvPr/>
        </p:nvSpPr>
        <p:spPr bwMode="auto">
          <a:xfrm>
            <a:off x="3654593" y="3569553"/>
            <a:ext cx="2671704" cy="815720"/>
          </a:xfrm>
          <a:prstGeom prst="roundRect">
            <a:avLst/>
          </a:prstGeom>
          <a:solidFill>
            <a:schemeClr val="bg1"/>
          </a:solidFill>
          <a:ln w="9525" cap="flat" cmpd="sng" algn="ctr">
            <a:solidFill>
              <a:schemeClr val="bg1">
                <a:lumMod val="50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1" i="0" u="none" strike="noStrike" cap="none" normalizeH="0" baseline="0">
              <a:ln>
                <a:noFill/>
              </a:ln>
              <a:solidFill>
                <a:schemeClr val="tx1"/>
              </a:solidFill>
              <a:effectLst/>
              <a:latin typeface="Trebuchet MS" pitchFamily="34" charset="0"/>
            </a:endParaRPr>
          </a:p>
        </p:txBody>
      </p:sp>
      <p:sp>
        <p:nvSpPr>
          <p:cNvPr id="186" name="Ellipse 129">
            <a:extLst>
              <a:ext uri="{FF2B5EF4-FFF2-40B4-BE49-F238E27FC236}">
                <a16:creationId xmlns:a16="http://schemas.microsoft.com/office/drawing/2014/main" id="{9602F915-12F9-4732-98A7-93165C58D332}"/>
              </a:ext>
            </a:extLst>
          </p:cNvPr>
          <p:cNvSpPr/>
          <p:nvPr/>
        </p:nvSpPr>
        <p:spPr bwMode="auto">
          <a:xfrm>
            <a:off x="6844381" y="3580958"/>
            <a:ext cx="2725747" cy="815720"/>
          </a:xfrm>
          <a:prstGeom prst="roundRect">
            <a:avLst/>
          </a:prstGeom>
          <a:solidFill>
            <a:schemeClr val="bg1"/>
          </a:solid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1" i="0" u="none" strike="noStrike" cap="none" normalizeH="0" baseline="0">
              <a:ln>
                <a:noFill/>
              </a:ln>
              <a:solidFill>
                <a:schemeClr val="tx1"/>
              </a:solidFill>
              <a:effectLst/>
              <a:latin typeface="Trebuchet MS" pitchFamily="34" charset="0"/>
            </a:endParaRPr>
          </a:p>
        </p:txBody>
      </p:sp>
      <p:pic>
        <p:nvPicPr>
          <p:cNvPr id="149" name="Picture 40" descr="A close up of a sign&#10;&#10;Description automatically generated">
            <a:extLst>
              <a:ext uri="{FF2B5EF4-FFF2-40B4-BE49-F238E27FC236}">
                <a16:creationId xmlns:a16="http://schemas.microsoft.com/office/drawing/2014/main" id="{5B54CC77-5128-4989-AE6F-1E8A80526D2D}"/>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023756" y="3875591"/>
            <a:ext cx="599677" cy="385290"/>
          </a:xfrm>
          <a:prstGeom prst="rect">
            <a:avLst/>
          </a:prstGeom>
        </p:spPr>
      </p:pic>
      <p:pic>
        <p:nvPicPr>
          <p:cNvPr id="155" name="Picture 2" descr="RÃ©sultat de recherche d'images pour &quot;bureau van dijk&quot;">
            <a:extLst>
              <a:ext uri="{FF2B5EF4-FFF2-40B4-BE49-F238E27FC236}">
                <a16:creationId xmlns:a16="http://schemas.microsoft.com/office/drawing/2014/main" id="{3D290E17-D07E-4268-A4A8-AA8349952118}"/>
              </a:ext>
            </a:extLst>
          </p:cNvPr>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13905" y="3837491"/>
            <a:ext cx="574876" cy="279773"/>
          </a:xfrm>
          <a:prstGeom prst="rect">
            <a:avLst/>
          </a:prstGeom>
          <a:noFill/>
          <a:extLst>
            <a:ext uri="{909E8E84-426E-40DD-AFC4-6F175D3DCCD1}">
              <a14:hiddenFill xmlns:a14="http://schemas.microsoft.com/office/drawing/2010/main">
                <a:solidFill>
                  <a:srgbClr val="FFFFFF"/>
                </a:solidFill>
              </a14:hiddenFill>
            </a:ext>
          </a:extLst>
        </p:spPr>
      </p:pic>
      <p:sp>
        <p:nvSpPr>
          <p:cNvPr id="173" name="Ellipse 129">
            <a:extLst>
              <a:ext uri="{FF2B5EF4-FFF2-40B4-BE49-F238E27FC236}">
                <a16:creationId xmlns:a16="http://schemas.microsoft.com/office/drawing/2014/main" id="{8FC9CE27-2138-4BEB-A90D-3D95D8E7623D}"/>
              </a:ext>
            </a:extLst>
          </p:cNvPr>
          <p:cNvSpPr/>
          <p:nvPr/>
        </p:nvSpPr>
        <p:spPr bwMode="auto">
          <a:xfrm>
            <a:off x="504190" y="3583792"/>
            <a:ext cx="2547133" cy="932826"/>
          </a:xfrm>
          <a:prstGeom prst="roundRect">
            <a:avLst/>
          </a:prstGeom>
          <a:solidFill>
            <a:schemeClr val="bg1"/>
          </a:solidFill>
          <a:ln w="9525" cap="flat" cmpd="sng" algn="ctr">
            <a:solidFill>
              <a:schemeClr val="accent4"/>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1" i="0" u="none" strike="noStrike" cap="none" normalizeH="0" baseline="0">
              <a:ln>
                <a:noFill/>
              </a:ln>
              <a:solidFill>
                <a:schemeClr val="tx1"/>
              </a:solidFill>
              <a:effectLst/>
              <a:latin typeface="Trebuchet MS" pitchFamily="34" charset="0"/>
            </a:endParaRPr>
          </a:p>
        </p:txBody>
      </p:sp>
      <p:pic>
        <p:nvPicPr>
          <p:cNvPr id="174" name="Picture 16" descr="RÃ©sultat de recherche d'images pour &quot;refinitiv&quot;">
            <a:extLst>
              <a:ext uri="{FF2B5EF4-FFF2-40B4-BE49-F238E27FC236}">
                <a16:creationId xmlns:a16="http://schemas.microsoft.com/office/drawing/2014/main" id="{C806A2D3-B34C-4F23-8149-6A2C0F69575C}"/>
              </a:ext>
            </a:extLst>
          </p:cNvPr>
          <p:cNvPicPr>
            <a:picLocks noChangeAspect="1" noChangeArrowheads="1"/>
          </p:cNvPicPr>
          <p:nvPr/>
        </p:nvPicPr>
        <p:blipFill>
          <a:blip r:embed="rId19">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1958314" y="4173783"/>
            <a:ext cx="752036" cy="170197"/>
          </a:xfrm>
          <a:prstGeom prst="rect">
            <a:avLst/>
          </a:prstGeom>
          <a:solidFill>
            <a:schemeClr val="bg1"/>
          </a:solidFill>
        </p:spPr>
      </p:pic>
      <p:pic>
        <p:nvPicPr>
          <p:cNvPr id="175" name="Picture 283" descr="LexisNexis">
            <a:extLst>
              <a:ext uri="{FF2B5EF4-FFF2-40B4-BE49-F238E27FC236}">
                <a16:creationId xmlns:a16="http://schemas.microsoft.com/office/drawing/2014/main" id="{24D9E51B-147E-4A1E-8138-E6F9B6A3507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62113" y="3903759"/>
            <a:ext cx="867948" cy="189605"/>
          </a:xfrm>
          <a:prstGeom prst="rect">
            <a:avLst/>
          </a:prstGeom>
          <a:solidFill>
            <a:schemeClr val="bg1"/>
          </a:solidFill>
        </p:spPr>
      </p:pic>
      <p:pic>
        <p:nvPicPr>
          <p:cNvPr id="176" name="Picture 15" descr="RÃ©sultat de recherche d'images pour &quot;acuris&quot;">
            <a:extLst>
              <a:ext uri="{FF2B5EF4-FFF2-40B4-BE49-F238E27FC236}">
                <a16:creationId xmlns:a16="http://schemas.microsoft.com/office/drawing/2014/main" id="{98B45F4A-41C7-4715-8117-2C045D7C4C45}"/>
              </a:ext>
            </a:extLst>
          </p:cNvPr>
          <p:cNvPicPr>
            <a:picLocks noChangeAspect="1" noChangeArrowheads="1"/>
          </p:cNvPicPr>
          <p:nvPr/>
        </p:nvPicPr>
        <p:blipFill>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79213" y="3837392"/>
            <a:ext cx="802069" cy="300581"/>
          </a:xfrm>
          <a:prstGeom prst="rect">
            <a:avLst/>
          </a:prstGeom>
          <a:noFill/>
          <a:extLst>
            <a:ext uri="{909E8E84-426E-40DD-AFC4-6F175D3DCCD1}">
              <a14:hiddenFill xmlns:a14="http://schemas.microsoft.com/office/drawing/2010/main">
                <a:solidFill>
                  <a:srgbClr val="FFFFFF"/>
                </a:solidFill>
              </a14:hiddenFill>
            </a:ext>
          </a:extLst>
        </p:spPr>
      </p:pic>
      <p:pic>
        <p:nvPicPr>
          <p:cNvPr id="177" name="Picture 22" descr="A close up of a logo&#10;&#10;Description automatically generated">
            <a:extLst>
              <a:ext uri="{FF2B5EF4-FFF2-40B4-BE49-F238E27FC236}">
                <a16:creationId xmlns:a16="http://schemas.microsoft.com/office/drawing/2014/main" id="{807B8A2A-33F2-4581-A822-05C2CB6E8C71}"/>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13841" y="4016909"/>
            <a:ext cx="991022" cy="523371"/>
          </a:xfrm>
          <a:prstGeom prst="rect">
            <a:avLst/>
          </a:prstGeom>
        </p:spPr>
      </p:pic>
      <p:sp>
        <p:nvSpPr>
          <p:cNvPr id="178" name="Rectangle 177">
            <a:extLst>
              <a:ext uri="{FF2B5EF4-FFF2-40B4-BE49-F238E27FC236}">
                <a16:creationId xmlns:a16="http://schemas.microsoft.com/office/drawing/2014/main" id="{2233FF39-74B8-44EE-BC1B-93F6D13F7D7F}"/>
              </a:ext>
            </a:extLst>
          </p:cNvPr>
          <p:cNvSpPr/>
          <p:nvPr/>
        </p:nvSpPr>
        <p:spPr bwMode="auto">
          <a:xfrm>
            <a:off x="829016" y="3517013"/>
            <a:ext cx="1897480"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i="1">
                <a:solidFill>
                  <a:schemeClr val="accent4"/>
                </a:solidFill>
                <a:latin typeface="Trebuchet MS" panose="020B0603020202020204" pitchFamily="34" charset="0"/>
              </a:rPr>
              <a:t>C</a:t>
            </a:r>
            <a:r>
              <a:rPr kumimoji="0" lang="en-GB" sz="1000" b="1" i="1" u="none" strike="noStrike" cap="none" normalizeH="0" baseline="0">
                <a:ln>
                  <a:noFill/>
                </a:ln>
                <a:solidFill>
                  <a:schemeClr val="accent4"/>
                </a:solidFill>
                <a:effectLst/>
                <a:latin typeface="Trebuchet MS" panose="020B0603020202020204" pitchFamily="34" charset="0"/>
              </a:rPr>
              <a:t>ompliance &amp; legal documents data providers </a:t>
            </a:r>
          </a:p>
        </p:txBody>
      </p:sp>
      <p:sp>
        <p:nvSpPr>
          <p:cNvPr id="11" name="Rectangle 10">
            <a:extLst>
              <a:ext uri="{FF2B5EF4-FFF2-40B4-BE49-F238E27FC236}">
                <a16:creationId xmlns:a16="http://schemas.microsoft.com/office/drawing/2014/main" id="{C8E66DAC-0921-490A-9D89-A7ED56BC46E3}"/>
              </a:ext>
            </a:extLst>
          </p:cNvPr>
          <p:cNvSpPr/>
          <p:nvPr/>
        </p:nvSpPr>
        <p:spPr bwMode="auto">
          <a:xfrm>
            <a:off x="3480273" y="1644693"/>
            <a:ext cx="2945455" cy="359294"/>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216000" tIns="45720" rIns="0" bIns="45720" numCol="1" rtlCol="0" anchor="ctr" anchorCtr="0" compatLnSpc="1">
            <a:prstTxWarp prst="textNoShape">
              <a:avLst/>
            </a:prstTxWarp>
          </a:bodyPr>
          <a:lstStyle/>
          <a:p>
            <a:pPr algn="ctr"/>
            <a:r>
              <a:rPr lang="en-GB" sz="1100" b="1">
                <a:solidFill>
                  <a:schemeClr val="tx2"/>
                </a:solidFill>
                <a:latin typeface="Trebuchet MS" panose="020B0603020202020204" pitchFamily="34" charset="0"/>
              </a:rPr>
              <a:t>Filtering</a:t>
            </a:r>
          </a:p>
        </p:txBody>
      </p:sp>
      <p:sp>
        <p:nvSpPr>
          <p:cNvPr id="12" name="Rectangle 11">
            <a:extLst>
              <a:ext uri="{FF2B5EF4-FFF2-40B4-BE49-F238E27FC236}">
                <a16:creationId xmlns:a16="http://schemas.microsoft.com/office/drawing/2014/main" id="{0F387F71-5AE4-488F-A5CC-2027BBCF61AC}"/>
              </a:ext>
            </a:extLst>
          </p:cNvPr>
          <p:cNvSpPr/>
          <p:nvPr/>
        </p:nvSpPr>
        <p:spPr bwMode="auto">
          <a:xfrm>
            <a:off x="274211" y="1644693"/>
            <a:ext cx="2945455" cy="359294"/>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216000" tIns="45720" rIns="0" bIns="45720" numCol="1" rtlCol="0" anchor="ctr" anchorCtr="0" compatLnSpc="1">
            <a:prstTxWarp prst="textNoShape">
              <a:avLst/>
            </a:prstTxWarp>
          </a:bodyPr>
          <a:lstStyle/>
          <a:p>
            <a:pPr algn="ctr"/>
            <a:r>
              <a:rPr lang="en-GB" sz="1100" b="1">
                <a:solidFill>
                  <a:schemeClr val="tx2"/>
                </a:solidFill>
                <a:latin typeface="Trebuchet MS" panose="020B0603020202020204" pitchFamily="34" charset="0"/>
              </a:rPr>
              <a:t>Data provider</a:t>
            </a:r>
          </a:p>
        </p:txBody>
      </p:sp>
      <p:sp>
        <p:nvSpPr>
          <p:cNvPr id="13" name="Rectangle 12">
            <a:extLst>
              <a:ext uri="{FF2B5EF4-FFF2-40B4-BE49-F238E27FC236}">
                <a16:creationId xmlns:a16="http://schemas.microsoft.com/office/drawing/2014/main" id="{EE59AB04-B79E-4C6E-B6C7-D42B918A6E05}"/>
              </a:ext>
            </a:extLst>
          </p:cNvPr>
          <p:cNvSpPr/>
          <p:nvPr/>
        </p:nvSpPr>
        <p:spPr bwMode="auto">
          <a:xfrm>
            <a:off x="6696457" y="1644693"/>
            <a:ext cx="2945455" cy="359294"/>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216000" tIns="45720" rIns="0" bIns="45720" numCol="1" rtlCol="0" anchor="ctr" anchorCtr="0" compatLnSpc="1">
            <a:prstTxWarp prst="textNoShape">
              <a:avLst/>
            </a:prstTxWarp>
          </a:bodyPr>
          <a:lstStyle/>
          <a:p>
            <a:pPr algn="ctr"/>
            <a:r>
              <a:rPr lang="en-GB" sz="1100" b="1">
                <a:solidFill>
                  <a:schemeClr val="tx2"/>
                </a:solidFill>
                <a:latin typeface="Trebuchet MS" panose="020B0603020202020204" pitchFamily="34" charset="0"/>
              </a:rPr>
              <a:t>Business process integration</a:t>
            </a:r>
          </a:p>
        </p:txBody>
      </p:sp>
      <p:sp>
        <p:nvSpPr>
          <p:cNvPr id="159" name="Rectangle 158">
            <a:extLst>
              <a:ext uri="{FF2B5EF4-FFF2-40B4-BE49-F238E27FC236}">
                <a16:creationId xmlns:a16="http://schemas.microsoft.com/office/drawing/2014/main" id="{B9E766AB-88EC-4924-931D-7C82E76216C3}"/>
              </a:ext>
            </a:extLst>
          </p:cNvPr>
          <p:cNvSpPr/>
          <p:nvPr/>
        </p:nvSpPr>
        <p:spPr bwMode="auto">
          <a:xfrm>
            <a:off x="283563" y="2166677"/>
            <a:ext cx="2945455" cy="1266604"/>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216000" tIns="45720" rIns="91440" bIns="45720" numCol="1" rtlCol="0" anchor="ctr" anchorCtr="0" compatLnSpc="1">
            <a:prstTxWarp prst="textNoShape">
              <a:avLst/>
            </a:prstTxWarp>
          </a:bodyPr>
          <a:lstStyle/>
          <a:p>
            <a:pPr marL="171450" indent="-171450">
              <a:buFont typeface="Arial" panose="020B0604020202020204" pitchFamily="34" charset="0"/>
              <a:buChar char="•"/>
            </a:pPr>
            <a:r>
              <a:rPr lang="en-GB" sz="1050">
                <a:solidFill>
                  <a:schemeClr val="tx2"/>
                </a:solidFill>
                <a:latin typeface="Trebuchet MS" panose="020B0603020202020204" pitchFamily="34" charset="0"/>
              </a:rPr>
              <a:t>Collecting</a:t>
            </a:r>
            <a:r>
              <a:rPr lang="en-GB" sz="1050">
                <a:latin typeface="Trebuchet MS" panose="020B0603020202020204" pitchFamily="34" charset="0"/>
              </a:rPr>
              <a:t> and </a:t>
            </a:r>
            <a:r>
              <a:rPr lang="en-GB" sz="1050">
                <a:solidFill>
                  <a:schemeClr val="tx2"/>
                </a:solidFill>
                <a:latin typeface="Trebuchet MS" panose="020B0603020202020204" pitchFamily="34" charset="0"/>
              </a:rPr>
              <a:t>consolidating</a:t>
            </a:r>
            <a:r>
              <a:rPr lang="en-GB" sz="1050">
                <a:latin typeface="Trebuchet MS" panose="020B0603020202020204" pitchFamily="34" charset="0"/>
              </a:rPr>
              <a:t> a large amount of </a:t>
            </a:r>
            <a:r>
              <a:rPr lang="en-GB" sz="1050">
                <a:solidFill>
                  <a:schemeClr val="tx2"/>
                </a:solidFill>
                <a:latin typeface="Trebuchet MS" panose="020B0603020202020204" pitchFamily="34" charset="0"/>
              </a:rPr>
              <a:t>data</a:t>
            </a:r>
            <a:r>
              <a:rPr lang="en-GB" sz="1050">
                <a:latin typeface="Trebuchet MS" panose="020B0603020202020204" pitchFamily="34" charset="0"/>
              </a:rPr>
              <a:t> from different sources (e.g. European Union, American government...) and nature (e.g. UBOs, sanction lists, PEPS...)</a:t>
            </a:r>
          </a:p>
        </p:txBody>
      </p:sp>
      <p:pic>
        <p:nvPicPr>
          <p:cNvPr id="42" name="Graphique 41">
            <a:extLst>
              <a:ext uri="{FF2B5EF4-FFF2-40B4-BE49-F238E27FC236}">
                <a16:creationId xmlns:a16="http://schemas.microsoft.com/office/drawing/2014/main" id="{19701A54-F7A0-48F8-BF8F-5F590DE27298}"/>
              </a:ext>
            </a:extLst>
          </p:cNvPr>
          <p:cNvPicPr>
            <a:picLocks noChangeAspect="1"/>
          </p:cNvPicPr>
          <p:nvPr/>
        </p:nvPicPr>
        <p:blipFill rotWithShape="1">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b="16789"/>
          <a:stretch/>
        </p:blipFill>
        <p:spPr>
          <a:xfrm>
            <a:off x="1048614" y="1722973"/>
            <a:ext cx="219285" cy="228086"/>
          </a:xfrm>
          <a:prstGeom prst="rect">
            <a:avLst/>
          </a:prstGeom>
        </p:spPr>
      </p:pic>
      <p:pic>
        <p:nvPicPr>
          <p:cNvPr id="44" name="Graphique 43">
            <a:extLst>
              <a:ext uri="{FF2B5EF4-FFF2-40B4-BE49-F238E27FC236}">
                <a16:creationId xmlns:a16="http://schemas.microsoft.com/office/drawing/2014/main" id="{3DF931A7-1224-4A9D-A584-109E9D67E180}"/>
              </a:ext>
            </a:extLst>
          </p:cNvPr>
          <p:cNvPicPr>
            <a:picLocks noChangeAspect="1"/>
          </p:cNvPicPr>
          <p:nvPr/>
        </p:nvPicPr>
        <p:blipFill rotWithShape="1">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rcRect b="17909"/>
          <a:stretch/>
        </p:blipFill>
        <p:spPr>
          <a:xfrm>
            <a:off x="4416675" y="1699321"/>
            <a:ext cx="258531" cy="265286"/>
          </a:xfrm>
          <a:prstGeom prst="rect">
            <a:avLst/>
          </a:prstGeom>
        </p:spPr>
      </p:pic>
      <p:pic>
        <p:nvPicPr>
          <p:cNvPr id="48" name="Graphique 47">
            <a:extLst>
              <a:ext uri="{FF2B5EF4-FFF2-40B4-BE49-F238E27FC236}">
                <a16:creationId xmlns:a16="http://schemas.microsoft.com/office/drawing/2014/main" id="{3063E94E-93BF-435D-BB16-23DD2DFC29AC}"/>
              </a:ext>
            </a:extLst>
          </p:cNvPr>
          <p:cNvPicPr>
            <a:picLocks noChangeAspect="1"/>
          </p:cNvPicPr>
          <p:nvPr/>
        </p:nvPicPr>
        <p:blipFill rotWithShape="1">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rcRect b="16789"/>
          <a:stretch/>
        </p:blipFill>
        <p:spPr>
          <a:xfrm>
            <a:off x="7051829" y="1715861"/>
            <a:ext cx="241213" cy="250895"/>
          </a:xfrm>
          <a:prstGeom prst="rect">
            <a:avLst/>
          </a:prstGeom>
        </p:spPr>
      </p:pic>
      <p:sp>
        <p:nvSpPr>
          <p:cNvPr id="128" name="Isosceles Triangle 103">
            <a:extLst>
              <a:ext uri="{FF2B5EF4-FFF2-40B4-BE49-F238E27FC236}">
                <a16:creationId xmlns:a16="http://schemas.microsoft.com/office/drawing/2014/main" id="{4103655E-7A78-4447-B484-ED2E65C0013A}"/>
              </a:ext>
            </a:extLst>
          </p:cNvPr>
          <p:cNvSpPr/>
          <p:nvPr/>
        </p:nvSpPr>
        <p:spPr bwMode="auto">
          <a:xfrm rot="5400000">
            <a:off x="3173865" y="2726541"/>
            <a:ext cx="413852" cy="147289"/>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66" name="Rectangle 165">
            <a:extLst>
              <a:ext uri="{FF2B5EF4-FFF2-40B4-BE49-F238E27FC236}">
                <a16:creationId xmlns:a16="http://schemas.microsoft.com/office/drawing/2014/main" id="{A7FC1931-9E96-48F0-A829-7E600DBE661D}"/>
              </a:ext>
            </a:extLst>
          </p:cNvPr>
          <p:cNvSpPr/>
          <p:nvPr/>
        </p:nvSpPr>
        <p:spPr bwMode="auto">
          <a:xfrm>
            <a:off x="3480273" y="2167086"/>
            <a:ext cx="2945455" cy="1266604"/>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marL="171450" indent="-171450">
              <a:buFont typeface="Arial" panose="020B0604020202020204" pitchFamily="34" charset="0"/>
              <a:buChar char="•"/>
            </a:pPr>
            <a:r>
              <a:rPr lang="en-GB" sz="1050">
                <a:solidFill>
                  <a:schemeClr val="tx2"/>
                </a:solidFill>
                <a:latin typeface="Trebuchet MS" panose="020B0603020202020204" pitchFamily="34" charset="0"/>
              </a:rPr>
              <a:t>Ensuring</a:t>
            </a:r>
            <a:r>
              <a:rPr lang="en-GB" sz="1050">
                <a:latin typeface="Trebuchet MS" panose="020B0603020202020204" pitchFamily="34" charset="0"/>
              </a:rPr>
              <a:t> the </a:t>
            </a:r>
            <a:r>
              <a:rPr lang="en-GB" sz="1050">
                <a:solidFill>
                  <a:schemeClr val="tx2"/>
                </a:solidFill>
                <a:latin typeface="Trebuchet MS" panose="020B0603020202020204" pitchFamily="34" charset="0"/>
              </a:rPr>
              <a:t>matching</a:t>
            </a:r>
            <a:r>
              <a:rPr lang="en-GB" sz="1050">
                <a:latin typeface="Trebuchet MS" panose="020B0603020202020204" pitchFamily="34" charset="0"/>
              </a:rPr>
              <a:t> of the different </a:t>
            </a:r>
            <a:r>
              <a:rPr lang="en-GB" sz="1050">
                <a:solidFill>
                  <a:schemeClr val="tx2"/>
                </a:solidFill>
                <a:latin typeface="Trebuchet MS" panose="020B0603020202020204" pitchFamily="34" charset="0"/>
              </a:rPr>
              <a:t>data</a:t>
            </a:r>
            <a:r>
              <a:rPr lang="en-GB" sz="1050">
                <a:latin typeface="Trebuchet MS" panose="020B0603020202020204" pitchFamily="34" charset="0"/>
              </a:rPr>
              <a:t> flows accordingly to the established </a:t>
            </a:r>
            <a:r>
              <a:rPr lang="en-GB" sz="1050">
                <a:solidFill>
                  <a:schemeClr val="tx2"/>
                </a:solidFill>
                <a:latin typeface="Trebuchet MS" panose="020B0603020202020204" pitchFamily="34" charset="0"/>
              </a:rPr>
              <a:t>repositories</a:t>
            </a:r>
            <a:r>
              <a:rPr lang="en-GB" sz="1050">
                <a:latin typeface="Trebuchet MS" panose="020B0603020202020204" pitchFamily="34" charset="0"/>
              </a:rPr>
              <a:t> (e.g. sanction lists...) thanks to filtering technologies and APIs and </a:t>
            </a:r>
            <a:r>
              <a:rPr lang="en-GB" sz="1050">
                <a:solidFill>
                  <a:schemeClr val="tx2"/>
                </a:solidFill>
                <a:latin typeface="Trebuchet MS" panose="020B0603020202020204" pitchFamily="34" charset="0"/>
              </a:rPr>
              <a:t>transliteration</a:t>
            </a:r>
            <a:r>
              <a:rPr lang="en-GB" sz="1050">
                <a:latin typeface="Trebuchet MS" panose="020B0603020202020204" pitchFamily="34" charset="0"/>
              </a:rPr>
              <a:t> when required (e.g. different alphabets...)</a:t>
            </a:r>
          </a:p>
        </p:txBody>
      </p:sp>
      <p:sp>
        <p:nvSpPr>
          <p:cNvPr id="179" name="Rectangle 178">
            <a:extLst>
              <a:ext uri="{FF2B5EF4-FFF2-40B4-BE49-F238E27FC236}">
                <a16:creationId xmlns:a16="http://schemas.microsoft.com/office/drawing/2014/main" id="{A9DC4461-2CC7-435B-9D56-DA5A4BCDEE24}"/>
              </a:ext>
            </a:extLst>
          </p:cNvPr>
          <p:cNvSpPr/>
          <p:nvPr/>
        </p:nvSpPr>
        <p:spPr bwMode="auto">
          <a:xfrm>
            <a:off x="6696458" y="2166676"/>
            <a:ext cx="2945455" cy="1267014"/>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216000" tIns="45720" rIns="91440" bIns="45720" numCol="1" rtlCol="0" anchor="ctr"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050">
                <a:latin typeface="Trebuchet MS" panose="020B0603020202020204" pitchFamily="34" charset="0"/>
              </a:rPr>
              <a:t>Making screening processes intelligible and </a:t>
            </a:r>
            <a:r>
              <a:rPr lang="en-GB" sz="1050">
                <a:solidFill>
                  <a:schemeClr val="tx2"/>
                </a:solidFill>
                <a:latin typeface="Trebuchet MS" panose="020B0603020202020204" pitchFamily="34" charset="0"/>
              </a:rPr>
              <a:t>usable</a:t>
            </a:r>
            <a:r>
              <a:rPr lang="en-GB" sz="1050">
                <a:latin typeface="Trebuchet MS" panose="020B0603020202020204" pitchFamily="34" charset="0"/>
              </a:rPr>
              <a:t> for business </a:t>
            </a:r>
            <a:r>
              <a:rPr lang="en-GB" sz="1050">
                <a:solidFill>
                  <a:schemeClr val="tx2"/>
                </a:solidFill>
                <a:latin typeface="Trebuchet MS" panose="020B0603020202020204" pitchFamily="34" charset="0"/>
              </a:rPr>
              <a:t>decision</a:t>
            </a:r>
            <a:r>
              <a:rPr lang="en-GB" sz="1050">
                <a:latin typeface="Trebuchet MS" panose="020B0603020202020204" pitchFamily="34" charset="0"/>
              </a:rPr>
              <a:t> and </a:t>
            </a:r>
            <a:r>
              <a:rPr lang="en-GB" sz="1050">
                <a:solidFill>
                  <a:schemeClr val="tx2"/>
                </a:solidFill>
                <a:latin typeface="Trebuchet MS" panose="020B0603020202020204" pitchFamily="34" charset="0"/>
              </a:rPr>
              <a:t>specific</a:t>
            </a:r>
            <a:r>
              <a:rPr lang="en-GB" sz="1050">
                <a:latin typeface="Trebuchet MS" panose="020B0603020202020204" pitchFamily="34" charset="0"/>
              </a:rPr>
              <a:t> client </a:t>
            </a:r>
            <a:r>
              <a:rPr lang="en-GB" sz="1050">
                <a:solidFill>
                  <a:schemeClr val="tx2"/>
                </a:solidFill>
                <a:latin typeface="Trebuchet MS" panose="020B0603020202020204" pitchFamily="34" charset="0"/>
              </a:rPr>
              <a:t>use</a:t>
            </a:r>
            <a:r>
              <a:rPr lang="en-GB" sz="1050">
                <a:latin typeface="Trebuchet MS" panose="020B0603020202020204" pitchFamily="34" charset="0"/>
              </a:rPr>
              <a:t> </a:t>
            </a:r>
            <a:r>
              <a:rPr lang="en-GB" sz="1050">
                <a:solidFill>
                  <a:schemeClr val="tx2"/>
                </a:solidFill>
                <a:latin typeface="Trebuchet MS" panose="020B0603020202020204" pitchFamily="34" charset="0"/>
              </a:rPr>
              <a:t>cases</a:t>
            </a: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050" b="0" i="0" u="none" strike="noStrike" cap="none" normalizeH="0" baseline="0">
                <a:ln>
                  <a:noFill/>
                </a:ln>
                <a:effectLst/>
                <a:latin typeface="Trebuchet MS" panose="020B0603020202020204" pitchFamily="34" charset="0"/>
              </a:rPr>
              <a:t>Cleaning, updating, making credible and enriching databases</a:t>
            </a:r>
          </a:p>
        </p:txBody>
      </p:sp>
      <p:sp>
        <p:nvSpPr>
          <p:cNvPr id="187" name="Rectangle 186">
            <a:extLst>
              <a:ext uri="{FF2B5EF4-FFF2-40B4-BE49-F238E27FC236}">
                <a16:creationId xmlns:a16="http://schemas.microsoft.com/office/drawing/2014/main" id="{FCC7AA0D-AA4E-4D49-B8AB-9B60A04E0B43}"/>
              </a:ext>
            </a:extLst>
          </p:cNvPr>
          <p:cNvSpPr/>
          <p:nvPr/>
        </p:nvSpPr>
        <p:spPr bwMode="auto">
          <a:xfrm>
            <a:off x="4224309" y="3517013"/>
            <a:ext cx="1518825"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i="1">
                <a:latin typeface="Trebuchet MS" panose="020B0603020202020204" pitchFamily="34" charset="0"/>
              </a:rPr>
              <a:t>Filtering player</a:t>
            </a:r>
            <a:endParaRPr kumimoji="0" lang="en-GB" sz="1000" b="1" i="1" u="none" strike="noStrike" cap="none" normalizeH="0" baseline="0">
              <a:ln>
                <a:noFill/>
              </a:ln>
              <a:effectLst/>
              <a:latin typeface="Trebuchet MS" panose="020B0603020202020204" pitchFamily="34" charset="0"/>
            </a:endParaRPr>
          </a:p>
        </p:txBody>
      </p:sp>
      <p:pic>
        <p:nvPicPr>
          <p:cNvPr id="52" name="Image 51" descr="Une image contenant texte&#10;&#10;Description générée automatiquement">
            <a:extLst>
              <a:ext uri="{FF2B5EF4-FFF2-40B4-BE49-F238E27FC236}">
                <a16:creationId xmlns:a16="http://schemas.microsoft.com/office/drawing/2014/main" id="{A1BBE200-092B-48C4-AACD-1F2D14A095CE}"/>
              </a:ext>
            </a:extLst>
          </p:cNvPr>
          <p:cNvPicPr>
            <a:picLocks noChangeAspect="1"/>
          </p:cNvPicPr>
          <p:nvPr/>
        </p:nvPicPr>
        <p:blipFill rotWithShape="1">
          <a:blip r:embed="rId29">
            <a:extLst>
              <a:ext uri="{28A0092B-C50C-407E-A947-70E740481C1C}">
                <a14:useLocalDpi xmlns:a14="http://schemas.microsoft.com/office/drawing/2010/main" val="0"/>
              </a:ext>
            </a:extLst>
          </a:blip>
          <a:srcRect t="27793" b="27793"/>
          <a:stretch/>
        </p:blipFill>
        <p:spPr>
          <a:xfrm>
            <a:off x="4443805" y="3847682"/>
            <a:ext cx="1068305" cy="252066"/>
          </a:xfrm>
          <a:prstGeom prst="rect">
            <a:avLst/>
          </a:prstGeom>
        </p:spPr>
      </p:pic>
      <p:sp>
        <p:nvSpPr>
          <p:cNvPr id="219" name="ZoneTexte 218">
            <a:extLst>
              <a:ext uri="{FF2B5EF4-FFF2-40B4-BE49-F238E27FC236}">
                <a16:creationId xmlns:a16="http://schemas.microsoft.com/office/drawing/2014/main" id="{A23899F1-E5BD-4DCF-AAA2-7B60684383C0}"/>
              </a:ext>
            </a:extLst>
          </p:cNvPr>
          <p:cNvSpPr txBox="1"/>
          <p:nvPr/>
        </p:nvSpPr>
        <p:spPr>
          <a:xfrm>
            <a:off x="2472321" y="4312697"/>
            <a:ext cx="355351" cy="246221"/>
          </a:xfrm>
          <a:prstGeom prst="rect">
            <a:avLst/>
          </a:prstGeom>
          <a:noFill/>
        </p:spPr>
        <p:txBody>
          <a:bodyPr wrap="square" rtlCol="0">
            <a:spAutoFit/>
          </a:bodyPr>
          <a:lstStyle/>
          <a:p>
            <a:r>
              <a:rPr lang="en-GB" sz="1000" i="1">
                <a:latin typeface="Trebuchet MS" panose="020B0603020202020204" pitchFamily="34" charset="0"/>
              </a:rPr>
              <a:t>...</a:t>
            </a:r>
          </a:p>
        </p:txBody>
      </p:sp>
      <p:sp>
        <p:nvSpPr>
          <p:cNvPr id="220" name="ZoneTexte 219">
            <a:extLst>
              <a:ext uri="{FF2B5EF4-FFF2-40B4-BE49-F238E27FC236}">
                <a16:creationId xmlns:a16="http://schemas.microsoft.com/office/drawing/2014/main" id="{9D9CFCAD-2507-4261-88A5-B39290F78E12}"/>
              </a:ext>
            </a:extLst>
          </p:cNvPr>
          <p:cNvSpPr txBox="1"/>
          <p:nvPr/>
        </p:nvSpPr>
        <p:spPr>
          <a:xfrm>
            <a:off x="5565458" y="4143643"/>
            <a:ext cx="355351" cy="246221"/>
          </a:xfrm>
          <a:prstGeom prst="rect">
            <a:avLst/>
          </a:prstGeom>
          <a:noFill/>
        </p:spPr>
        <p:txBody>
          <a:bodyPr wrap="square" rtlCol="0">
            <a:spAutoFit/>
          </a:bodyPr>
          <a:lstStyle/>
          <a:p>
            <a:r>
              <a:rPr lang="en-GB" sz="1000" i="1">
                <a:latin typeface="Trebuchet MS" panose="020B0603020202020204" pitchFamily="34" charset="0"/>
              </a:rPr>
              <a:t>...</a:t>
            </a:r>
          </a:p>
        </p:txBody>
      </p:sp>
      <p:sp>
        <p:nvSpPr>
          <p:cNvPr id="222" name="Rectangle 221">
            <a:extLst>
              <a:ext uri="{FF2B5EF4-FFF2-40B4-BE49-F238E27FC236}">
                <a16:creationId xmlns:a16="http://schemas.microsoft.com/office/drawing/2014/main" id="{CB8FCE0F-EBE8-4483-A4F6-316F8E584AFA}"/>
              </a:ext>
            </a:extLst>
          </p:cNvPr>
          <p:cNvSpPr/>
          <p:nvPr/>
        </p:nvSpPr>
        <p:spPr bwMode="auto">
          <a:xfrm>
            <a:off x="7473175" y="3517013"/>
            <a:ext cx="1518825"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i="1">
                <a:solidFill>
                  <a:schemeClr val="tx2"/>
                </a:solidFill>
                <a:latin typeface="Trebuchet MS" panose="020B0603020202020204" pitchFamily="34" charset="0"/>
              </a:rPr>
              <a:t>BD&amp;A incumbents</a:t>
            </a:r>
            <a:endParaRPr kumimoji="0" lang="en-GB" sz="1000" b="1" i="1" u="none" strike="noStrike" cap="none" normalizeH="0" baseline="0">
              <a:ln>
                <a:noFill/>
              </a:ln>
              <a:solidFill>
                <a:schemeClr val="tx2"/>
              </a:solidFill>
              <a:effectLst/>
              <a:latin typeface="Trebuchet MS" panose="020B0603020202020204" pitchFamily="34" charset="0"/>
            </a:endParaRPr>
          </a:p>
        </p:txBody>
      </p:sp>
      <p:pic>
        <p:nvPicPr>
          <p:cNvPr id="223" name="Picture 39" descr="A picture containing light&#10;&#10;Description automatically generated">
            <a:extLst>
              <a:ext uri="{FF2B5EF4-FFF2-40B4-BE49-F238E27FC236}">
                <a16:creationId xmlns:a16="http://schemas.microsoft.com/office/drawing/2014/main" id="{ECEABD77-8CB8-4F66-8319-2A274B2CCB64}"/>
              </a:ext>
            </a:extLst>
          </p:cNvPr>
          <p:cNvPicPr>
            <a:picLocks noChangeAspect="1"/>
          </p:cNvPicPr>
          <p:nvPr/>
        </p:nvPicPr>
        <p:blipFill rotWithShape="1">
          <a:blip r:embed="rId30">
            <a:extLst>
              <a:ext uri="{28A0092B-C50C-407E-A947-70E740481C1C}">
                <a14:useLocalDpi xmlns:a14="http://schemas.microsoft.com/office/drawing/2010/main" val="0"/>
              </a:ext>
            </a:extLst>
          </a:blip>
          <a:srcRect t="38606" b="38606"/>
          <a:stretch/>
        </p:blipFill>
        <p:spPr>
          <a:xfrm>
            <a:off x="8649826" y="3941301"/>
            <a:ext cx="778706" cy="141958"/>
          </a:xfrm>
          <a:prstGeom prst="rect">
            <a:avLst/>
          </a:prstGeom>
        </p:spPr>
      </p:pic>
      <p:sp>
        <p:nvSpPr>
          <p:cNvPr id="224" name="Isosceles Triangle 103">
            <a:extLst>
              <a:ext uri="{FF2B5EF4-FFF2-40B4-BE49-F238E27FC236}">
                <a16:creationId xmlns:a16="http://schemas.microsoft.com/office/drawing/2014/main" id="{215FE1BD-C7C5-48E1-8DD8-D1F86F414B27}"/>
              </a:ext>
            </a:extLst>
          </p:cNvPr>
          <p:cNvSpPr/>
          <p:nvPr/>
        </p:nvSpPr>
        <p:spPr bwMode="auto">
          <a:xfrm rot="5400000">
            <a:off x="6396412" y="2726541"/>
            <a:ext cx="413852" cy="147289"/>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13" name="ZoneTexte 112">
            <a:extLst>
              <a:ext uri="{FF2B5EF4-FFF2-40B4-BE49-F238E27FC236}">
                <a16:creationId xmlns:a16="http://schemas.microsoft.com/office/drawing/2014/main" id="{10E135EE-D5AF-42D5-9E09-2C1BBA3D223C}"/>
              </a:ext>
            </a:extLst>
          </p:cNvPr>
          <p:cNvSpPr txBox="1"/>
          <p:nvPr/>
        </p:nvSpPr>
        <p:spPr>
          <a:xfrm>
            <a:off x="9165292" y="4143643"/>
            <a:ext cx="355351" cy="246221"/>
          </a:xfrm>
          <a:prstGeom prst="rect">
            <a:avLst/>
          </a:prstGeom>
          <a:noFill/>
        </p:spPr>
        <p:txBody>
          <a:bodyPr wrap="square" rtlCol="0">
            <a:spAutoFit/>
          </a:bodyPr>
          <a:lstStyle/>
          <a:p>
            <a:r>
              <a:rPr lang="en-GB" sz="1000" i="1">
                <a:latin typeface="Trebuchet MS" panose="020B0603020202020204" pitchFamily="34" charset="0"/>
              </a:rPr>
              <a:t>...</a:t>
            </a:r>
          </a:p>
        </p:txBody>
      </p:sp>
      <p:pic>
        <p:nvPicPr>
          <p:cNvPr id="114" name="Image 113" descr="Une image contenant portable, ordinateur&#10;&#10;Description générée automatiquement">
            <a:extLst>
              <a:ext uri="{FF2B5EF4-FFF2-40B4-BE49-F238E27FC236}">
                <a16:creationId xmlns:a16="http://schemas.microsoft.com/office/drawing/2014/main" id="{30491799-57AE-4B87-B68A-28329FA3051F}"/>
              </a:ext>
            </a:extLst>
          </p:cNvPr>
          <p:cNvPicPr>
            <a:picLocks noChangeAspect="1"/>
          </p:cNvPicPr>
          <p:nvPr/>
        </p:nvPicPr>
        <p:blipFill rotWithShape="1">
          <a:blip r:embed="rId31">
            <a:extLst>
              <a:ext uri="{28A0092B-C50C-407E-A947-70E740481C1C}">
                <a14:useLocalDpi xmlns:a14="http://schemas.microsoft.com/office/drawing/2010/main" val="0"/>
              </a:ext>
            </a:extLst>
          </a:blip>
          <a:srcRect t="39494" b="39494"/>
          <a:stretch/>
        </p:blipFill>
        <p:spPr>
          <a:xfrm>
            <a:off x="7713751" y="4203859"/>
            <a:ext cx="975183" cy="153680"/>
          </a:xfrm>
          <a:prstGeom prst="rect">
            <a:avLst/>
          </a:prstGeom>
        </p:spPr>
      </p:pic>
      <p:sp>
        <p:nvSpPr>
          <p:cNvPr id="115" name="Ellipse 129">
            <a:extLst>
              <a:ext uri="{FF2B5EF4-FFF2-40B4-BE49-F238E27FC236}">
                <a16:creationId xmlns:a16="http://schemas.microsoft.com/office/drawing/2014/main" id="{5AB4B9AB-A62A-4C32-8597-D55EE4533259}"/>
              </a:ext>
            </a:extLst>
          </p:cNvPr>
          <p:cNvSpPr/>
          <p:nvPr/>
        </p:nvSpPr>
        <p:spPr bwMode="auto">
          <a:xfrm>
            <a:off x="501573" y="4751533"/>
            <a:ext cx="2547133" cy="815720"/>
          </a:xfrm>
          <a:prstGeom prst="roundRect">
            <a:avLst/>
          </a:prstGeom>
          <a:solidFill>
            <a:schemeClr val="bg1"/>
          </a:solid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1" i="0" u="none" strike="noStrike" cap="none" normalizeH="0" baseline="0">
              <a:ln>
                <a:noFill/>
              </a:ln>
              <a:solidFill>
                <a:schemeClr val="tx1"/>
              </a:solidFill>
              <a:effectLst/>
              <a:latin typeface="Trebuchet MS" pitchFamily="34" charset="0"/>
            </a:endParaRPr>
          </a:p>
        </p:txBody>
      </p:sp>
      <p:sp>
        <p:nvSpPr>
          <p:cNvPr id="116" name="Rectangle 115">
            <a:extLst>
              <a:ext uri="{FF2B5EF4-FFF2-40B4-BE49-F238E27FC236}">
                <a16:creationId xmlns:a16="http://schemas.microsoft.com/office/drawing/2014/main" id="{2031CA87-87A7-4336-ADC1-6F888DEF3935}"/>
              </a:ext>
            </a:extLst>
          </p:cNvPr>
          <p:cNvSpPr/>
          <p:nvPr/>
        </p:nvSpPr>
        <p:spPr bwMode="auto">
          <a:xfrm>
            <a:off x="1014339" y="4687588"/>
            <a:ext cx="1518825"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i="1">
                <a:solidFill>
                  <a:schemeClr val="tx2"/>
                </a:solidFill>
                <a:latin typeface="Trebuchet MS" panose="020B0603020202020204" pitchFamily="34" charset="0"/>
              </a:rPr>
              <a:t>BD&amp;A incumbents</a:t>
            </a:r>
            <a:endParaRPr kumimoji="0" lang="en-GB" sz="1000" b="1" i="1" u="none" strike="noStrike" cap="none" normalizeH="0" baseline="0">
              <a:ln>
                <a:noFill/>
              </a:ln>
              <a:solidFill>
                <a:schemeClr val="tx2"/>
              </a:solidFill>
              <a:effectLst/>
              <a:latin typeface="Trebuchet MS" panose="020B0603020202020204" pitchFamily="34" charset="0"/>
            </a:endParaRPr>
          </a:p>
        </p:txBody>
      </p:sp>
      <p:pic>
        <p:nvPicPr>
          <p:cNvPr id="117" name="Picture 40" descr="A close up of a sign&#10;&#10;Description automatically generated">
            <a:extLst>
              <a:ext uri="{FF2B5EF4-FFF2-40B4-BE49-F238E27FC236}">
                <a16:creationId xmlns:a16="http://schemas.microsoft.com/office/drawing/2014/main" id="{B964575B-DFD5-4DFD-8D50-DF1675FF7285}"/>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156659" y="5111686"/>
            <a:ext cx="425495" cy="273379"/>
          </a:xfrm>
          <a:prstGeom prst="rect">
            <a:avLst/>
          </a:prstGeom>
        </p:spPr>
      </p:pic>
      <p:pic>
        <p:nvPicPr>
          <p:cNvPr id="118" name="Picture 2" descr="RÃ©sultat de recherche d'images pour &quot;bureau van dijk&quot;">
            <a:extLst>
              <a:ext uri="{FF2B5EF4-FFF2-40B4-BE49-F238E27FC236}">
                <a16:creationId xmlns:a16="http://schemas.microsoft.com/office/drawing/2014/main" id="{7819D0CF-4D64-4341-86AD-DC135B6C483D}"/>
              </a:ext>
            </a:extLst>
          </p:cNvPr>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72626" y="5073586"/>
            <a:ext cx="574876" cy="279773"/>
          </a:xfrm>
          <a:prstGeom prst="rect">
            <a:avLst/>
          </a:prstGeom>
          <a:noFill/>
          <a:extLst>
            <a:ext uri="{909E8E84-426E-40DD-AFC4-6F175D3DCCD1}">
              <a14:hiddenFill xmlns:a14="http://schemas.microsoft.com/office/drawing/2010/main">
                <a:solidFill>
                  <a:srgbClr val="FFFFFF"/>
                </a:solidFill>
              </a14:hiddenFill>
            </a:ext>
          </a:extLst>
        </p:spPr>
      </p:pic>
      <p:sp>
        <p:nvSpPr>
          <p:cNvPr id="119" name="ZoneTexte 118">
            <a:extLst>
              <a:ext uri="{FF2B5EF4-FFF2-40B4-BE49-F238E27FC236}">
                <a16:creationId xmlns:a16="http://schemas.microsoft.com/office/drawing/2014/main" id="{3A6F2CEE-83C2-41EB-8ED9-E2B51DB3B585}"/>
              </a:ext>
            </a:extLst>
          </p:cNvPr>
          <p:cNvSpPr txBox="1"/>
          <p:nvPr/>
        </p:nvSpPr>
        <p:spPr>
          <a:xfrm>
            <a:off x="2425931" y="5347794"/>
            <a:ext cx="355351" cy="246221"/>
          </a:xfrm>
          <a:prstGeom prst="rect">
            <a:avLst/>
          </a:prstGeom>
          <a:noFill/>
        </p:spPr>
        <p:txBody>
          <a:bodyPr wrap="square" rtlCol="0">
            <a:spAutoFit/>
          </a:bodyPr>
          <a:lstStyle/>
          <a:p>
            <a:r>
              <a:rPr lang="en-GB" sz="1000" i="1">
                <a:latin typeface="Trebuchet MS" panose="020B0603020202020204" pitchFamily="34" charset="0"/>
              </a:rPr>
              <a:t>...</a:t>
            </a:r>
          </a:p>
        </p:txBody>
      </p:sp>
      <p:pic>
        <p:nvPicPr>
          <p:cNvPr id="4" name="Image 3">
            <a:extLst>
              <a:ext uri="{FF2B5EF4-FFF2-40B4-BE49-F238E27FC236}">
                <a16:creationId xmlns:a16="http://schemas.microsoft.com/office/drawing/2014/main" id="{02DB78BE-DDE2-461B-850E-AEAD5EC04A58}"/>
              </a:ext>
            </a:extLst>
          </p:cNvPr>
          <p:cNvPicPr>
            <a:picLocks noChangeAspect="1"/>
          </p:cNvPicPr>
          <p:nvPr/>
        </p:nvPicPr>
        <p:blipFill>
          <a:blip r:embed="rId32">
            <a:clrChange>
              <a:clrFrom>
                <a:srgbClr val="FFFFFF"/>
              </a:clrFrom>
              <a:clrTo>
                <a:srgbClr val="FFFFFF">
                  <a:alpha val="0"/>
                </a:srgbClr>
              </a:clrTo>
            </a:clrChange>
          </a:blip>
          <a:stretch>
            <a:fillRect/>
          </a:stretch>
        </p:blipFill>
        <p:spPr>
          <a:xfrm>
            <a:off x="4548512" y="4083020"/>
            <a:ext cx="852548" cy="245555"/>
          </a:xfrm>
          <a:prstGeom prst="rect">
            <a:avLst/>
          </a:prstGeom>
        </p:spPr>
      </p:pic>
      <p:sp>
        <p:nvSpPr>
          <p:cNvPr id="120" name="ZoneTexte 119">
            <a:extLst>
              <a:ext uri="{FF2B5EF4-FFF2-40B4-BE49-F238E27FC236}">
                <a16:creationId xmlns:a16="http://schemas.microsoft.com/office/drawing/2014/main" id="{656FC391-89DD-4F05-89ED-B0EF1F1C190F}"/>
              </a:ext>
            </a:extLst>
          </p:cNvPr>
          <p:cNvSpPr txBox="1"/>
          <p:nvPr/>
        </p:nvSpPr>
        <p:spPr>
          <a:xfrm>
            <a:off x="3460366" y="4562439"/>
            <a:ext cx="2490547" cy="1042199"/>
          </a:xfrm>
          <a:prstGeom prst="wedgeRectCallout">
            <a:avLst>
              <a:gd name="adj1" fmla="val 21071"/>
              <a:gd name="adj2" fmla="val -63890"/>
            </a:avLst>
          </a:prstGeom>
          <a:solidFill>
            <a:schemeClr val="bg1"/>
          </a:solidFill>
          <a:ln>
            <a:solidFill>
              <a:schemeClr val="bg1">
                <a:lumMod val="75000"/>
              </a:schemeClr>
            </a:solidFill>
          </a:ln>
        </p:spPr>
        <p:txBody>
          <a:bodyPr wrap="square" lIns="36000" tIns="36000" rIns="36000" bIns="36000" rtlCol="0" anchor="ctr">
            <a:spAutoFit/>
          </a:bodyPr>
          <a:lstStyle/>
          <a:p>
            <a:pPr algn="ctr"/>
            <a:r>
              <a:rPr lang="en-GB" sz="1050">
                <a:solidFill>
                  <a:schemeClr val="tx2"/>
                </a:solidFill>
                <a:latin typeface="Trebuchet MS" panose="020B0603020202020204" pitchFamily="34" charset="0"/>
              </a:rPr>
              <a:t>Transliteration</a:t>
            </a:r>
            <a:r>
              <a:rPr lang="en-GB" sz="1050">
                <a:latin typeface="Trebuchet MS" panose="020B0603020202020204" pitchFamily="34" charset="0"/>
              </a:rPr>
              <a:t> is </a:t>
            </a:r>
            <a:r>
              <a:rPr lang="en-GB" sz="1050">
                <a:solidFill>
                  <a:schemeClr val="tx2"/>
                </a:solidFill>
                <a:latin typeface="Trebuchet MS" panose="020B0603020202020204" pitchFamily="34" charset="0"/>
              </a:rPr>
              <a:t>critical</a:t>
            </a:r>
            <a:r>
              <a:rPr lang="en-GB" sz="1050">
                <a:latin typeface="Trebuchet MS" panose="020B0603020202020204" pitchFamily="34" charset="0"/>
              </a:rPr>
              <a:t> in the filtering stage, especially when the data come from different languages and alphabets (e.g. Arabic, Cyrillic, Katakana...) and requires a high level a </a:t>
            </a:r>
            <a:r>
              <a:rPr lang="en-GB" sz="1050">
                <a:solidFill>
                  <a:schemeClr val="tx2"/>
                </a:solidFill>
                <a:latin typeface="Trebuchet MS" panose="020B0603020202020204" pitchFamily="34" charset="0"/>
              </a:rPr>
              <a:t>technical</a:t>
            </a:r>
            <a:r>
              <a:rPr lang="en-GB" sz="1050">
                <a:latin typeface="Trebuchet MS" panose="020B0603020202020204" pitchFamily="34" charset="0"/>
              </a:rPr>
              <a:t> </a:t>
            </a:r>
            <a:r>
              <a:rPr lang="en-GB" sz="1050">
                <a:solidFill>
                  <a:schemeClr val="tx2"/>
                </a:solidFill>
                <a:latin typeface="Trebuchet MS" panose="020B0603020202020204" pitchFamily="34" charset="0"/>
              </a:rPr>
              <a:t>expertise</a:t>
            </a:r>
          </a:p>
        </p:txBody>
      </p:sp>
      <p:sp>
        <p:nvSpPr>
          <p:cNvPr id="121" name="ZoneTexte 120">
            <a:extLst>
              <a:ext uri="{FF2B5EF4-FFF2-40B4-BE49-F238E27FC236}">
                <a16:creationId xmlns:a16="http://schemas.microsoft.com/office/drawing/2014/main" id="{F508FBC2-2142-438E-9DF7-47FB20D19E47}"/>
              </a:ext>
            </a:extLst>
          </p:cNvPr>
          <p:cNvSpPr txBox="1"/>
          <p:nvPr/>
        </p:nvSpPr>
        <p:spPr>
          <a:xfrm>
            <a:off x="743929" y="5641928"/>
            <a:ext cx="2058304" cy="395869"/>
          </a:xfrm>
          <a:prstGeom prst="wedgeRectCallout">
            <a:avLst>
              <a:gd name="adj1" fmla="val 22840"/>
              <a:gd name="adj2" fmla="val -82917"/>
            </a:avLst>
          </a:prstGeom>
          <a:solidFill>
            <a:schemeClr val="bg1"/>
          </a:solidFill>
          <a:ln>
            <a:solidFill>
              <a:schemeClr val="bg1">
                <a:lumMod val="75000"/>
              </a:schemeClr>
            </a:solidFill>
          </a:ln>
        </p:spPr>
        <p:txBody>
          <a:bodyPr wrap="square" lIns="36000" tIns="36000" rIns="36000" bIns="36000" rtlCol="0">
            <a:spAutoFit/>
          </a:bodyPr>
          <a:lstStyle/>
          <a:p>
            <a:pPr algn="ctr"/>
            <a:r>
              <a:rPr lang="en-GB" sz="1050">
                <a:latin typeface="Trebuchet MS" panose="020B0603020202020204" pitchFamily="34" charset="0"/>
              </a:rPr>
              <a:t>Some BD&amp;A players are also suppliers of UBOs</a:t>
            </a:r>
          </a:p>
        </p:txBody>
      </p:sp>
      <p:sp>
        <p:nvSpPr>
          <p:cNvPr id="88" name="Rectangle 87">
            <a:extLst>
              <a:ext uri="{FF2B5EF4-FFF2-40B4-BE49-F238E27FC236}">
                <a16:creationId xmlns:a16="http://schemas.microsoft.com/office/drawing/2014/main" id="{3D96B937-A45B-4D62-93D2-1DEA368625D9}"/>
              </a:ext>
            </a:extLst>
          </p:cNvPr>
          <p:cNvSpPr/>
          <p:nvPr/>
        </p:nvSpPr>
        <p:spPr bwMode="auto">
          <a:xfrm>
            <a:off x="6529693" y="4603669"/>
            <a:ext cx="3116437" cy="744125"/>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a:ln>
                  <a:noFill/>
                </a:ln>
                <a:solidFill>
                  <a:schemeClr val="tx1"/>
                </a:solidFill>
                <a:effectLst/>
                <a:latin typeface="Trebuchet MS" panose="020B0603020202020204" pitchFamily="34" charset="0"/>
              </a:rPr>
              <a:t>“</a:t>
            </a:r>
            <a:r>
              <a:rPr kumimoji="0" lang="en-GB" sz="1000" b="0" i="1" u="none" strike="noStrike" cap="none" normalizeH="0" baseline="0">
                <a:ln>
                  <a:noFill/>
                </a:ln>
                <a:effectLst/>
                <a:latin typeface="Trebuchet MS" panose="020B0603020202020204" pitchFamily="34" charset="0"/>
              </a:rPr>
              <a:t>We </a:t>
            </a:r>
            <a:r>
              <a:rPr kumimoji="0" lang="en-GB" sz="1000" b="0" i="1" u="none" strike="noStrike" cap="none" normalizeH="0" baseline="0">
                <a:ln>
                  <a:noFill/>
                </a:ln>
                <a:solidFill>
                  <a:schemeClr val="tx1"/>
                </a:solidFill>
                <a:effectLst/>
                <a:latin typeface="Trebuchet MS" panose="020B0603020202020204" pitchFamily="34" charset="0"/>
              </a:rPr>
              <a:t>are </a:t>
            </a:r>
            <a:r>
              <a:rPr kumimoji="0" lang="en-GB" sz="1000" b="0" i="1" u="none" strike="noStrike" cap="none" normalizeH="0" baseline="0">
                <a:ln>
                  <a:noFill/>
                </a:ln>
                <a:solidFill>
                  <a:schemeClr val="tx2"/>
                </a:solidFill>
                <a:effectLst/>
                <a:latin typeface="Trebuchet MS" panose="020B0603020202020204" pitchFamily="34" charset="0"/>
              </a:rPr>
              <a:t>never confronted with </a:t>
            </a:r>
            <a:r>
              <a:rPr kumimoji="0" lang="en-GB" sz="1000" b="0" i="1" u="none" strike="noStrike" cap="none" normalizeH="0" baseline="0" err="1">
                <a:ln>
                  <a:noFill/>
                </a:ln>
                <a:solidFill>
                  <a:schemeClr val="tx2"/>
                </a:solidFill>
                <a:effectLst/>
                <a:latin typeface="Trebuchet MS" panose="020B0603020202020204" pitchFamily="34" charset="0"/>
              </a:rPr>
              <a:t>Ellisphere</a:t>
            </a:r>
            <a:r>
              <a:rPr kumimoji="0" lang="en-GB" sz="1000" b="0" i="1" u="none" strike="noStrike" cap="none" normalizeH="0" baseline="0">
                <a:ln>
                  <a:noFill/>
                </a:ln>
                <a:solidFill>
                  <a:schemeClr val="tx2"/>
                </a:solidFill>
                <a:effectLst/>
                <a:latin typeface="Trebuchet MS" panose="020B0603020202020204" pitchFamily="34" charset="0"/>
              </a:rPr>
              <a:t> </a:t>
            </a:r>
            <a:r>
              <a:rPr kumimoji="0" lang="en-GB" sz="1000" b="0" i="1" u="none" strike="noStrike" cap="none" normalizeH="0" baseline="0">
                <a:ln>
                  <a:noFill/>
                </a:ln>
                <a:solidFill>
                  <a:schemeClr val="tx1"/>
                </a:solidFill>
                <a:effectLst/>
                <a:latin typeface="Trebuchet MS" panose="020B0603020202020204" pitchFamily="34" charset="0"/>
              </a:rPr>
              <a:t>in the tenders we respond to”</a:t>
            </a:r>
          </a:p>
          <a:p>
            <a:pPr>
              <a:defRPr/>
            </a:pPr>
            <a:r>
              <a:rPr lang="en-GB" sz="1000" spc="-50">
                <a:solidFill>
                  <a:srgbClr val="6C6C6C"/>
                </a:solidFill>
                <a:latin typeface="Trebuchet MS" panose="020B0603020202020204" pitchFamily="34" charset="0"/>
              </a:rPr>
              <a:t>CEO at </a:t>
            </a:r>
            <a:r>
              <a:rPr lang="en-GB" sz="1000" spc="-50" err="1">
                <a:solidFill>
                  <a:srgbClr val="6C6C6C"/>
                </a:solidFill>
                <a:latin typeface="Trebuchet MS" panose="020B0603020202020204" pitchFamily="34" charset="0"/>
              </a:rPr>
              <a:t>Altares</a:t>
            </a:r>
            <a:endParaRPr lang="en-GB" sz="1000" spc="-50">
              <a:solidFill>
                <a:srgbClr val="6C6C6C"/>
              </a:solidFill>
              <a:latin typeface="Trebuchet MS" panose="020B0603020202020204" pitchFamily="34" charset="0"/>
            </a:endParaRPr>
          </a:p>
        </p:txBody>
      </p:sp>
      <p:sp>
        <p:nvSpPr>
          <p:cNvPr id="90" name="Freeform 663">
            <a:extLst>
              <a:ext uri="{FF2B5EF4-FFF2-40B4-BE49-F238E27FC236}">
                <a16:creationId xmlns:a16="http://schemas.microsoft.com/office/drawing/2014/main" id="{2D88A610-A4A6-4C5C-85EF-7E18A40ACFEE}"/>
              </a:ext>
            </a:extLst>
          </p:cNvPr>
          <p:cNvSpPr>
            <a:spLocks noChangeAspect="1" noEditPoints="1"/>
          </p:cNvSpPr>
          <p:nvPr/>
        </p:nvSpPr>
        <p:spPr bwMode="auto">
          <a:xfrm>
            <a:off x="6391067" y="4843648"/>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95" name="Rectangle 94">
            <a:extLst>
              <a:ext uri="{FF2B5EF4-FFF2-40B4-BE49-F238E27FC236}">
                <a16:creationId xmlns:a16="http://schemas.microsoft.com/office/drawing/2014/main" id="{9D8CF3E7-6537-4A4C-8B3C-DC4694F2828B}"/>
              </a:ext>
            </a:extLst>
          </p:cNvPr>
          <p:cNvSpPr/>
          <p:nvPr/>
        </p:nvSpPr>
        <p:spPr bwMode="auto">
          <a:xfrm>
            <a:off x="6529693" y="5495375"/>
            <a:ext cx="3116437" cy="744125"/>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lang="en-GB" sz="1000" i="1">
                <a:latin typeface="Trebuchet MS" panose="020B0603020202020204" pitchFamily="34" charset="0"/>
              </a:rPr>
              <a:t>“We </a:t>
            </a:r>
            <a:r>
              <a:rPr lang="en-GB" sz="1000" i="1">
                <a:solidFill>
                  <a:schemeClr val="tx2"/>
                </a:solidFill>
                <a:latin typeface="Trebuchet MS" panose="020B0603020202020204" pitchFamily="34" charset="0"/>
              </a:rPr>
              <a:t>compete with </a:t>
            </a:r>
            <a:r>
              <a:rPr lang="en-GB" sz="1000" i="1" err="1">
                <a:solidFill>
                  <a:schemeClr val="tx2"/>
                </a:solidFill>
                <a:latin typeface="Trebuchet MS" panose="020B0603020202020204" pitchFamily="34" charset="0"/>
              </a:rPr>
              <a:t>BvD</a:t>
            </a:r>
            <a:r>
              <a:rPr lang="en-GB" sz="1000" i="1">
                <a:latin typeface="Trebuchet MS" panose="020B0603020202020204" pitchFamily="34" charset="0"/>
              </a:rPr>
              <a:t> on the </a:t>
            </a:r>
            <a:r>
              <a:rPr lang="en-GB" sz="1000" i="1">
                <a:solidFill>
                  <a:schemeClr val="tx2"/>
                </a:solidFill>
                <a:latin typeface="Trebuchet MS" panose="020B0603020202020204" pitchFamily="34" charset="0"/>
              </a:rPr>
              <a:t>largest</a:t>
            </a:r>
            <a:r>
              <a:rPr lang="en-GB" sz="1000" i="1">
                <a:latin typeface="Trebuchet MS" panose="020B0603020202020204" pitchFamily="34" charset="0"/>
              </a:rPr>
              <a:t> </a:t>
            </a:r>
            <a:r>
              <a:rPr lang="en-GB" sz="1000" i="1">
                <a:solidFill>
                  <a:schemeClr val="tx2"/>
                </a:solidFill>
                <a:latin typeface="Trebuchet MS" panose="020B0603020202020204" pitchFamily="34" charset="0"/>
              </a:rPr>
              <a:t>accounts</a:t>
            </a:r>
            <a:r>
              <a:rPr lang="en-GB" sz="1000" i="1">
                <a:latin typeface="Trebuchet MS" panose="020B0603020202020204" pitchFamily="34" charset="0"/>
              </a:rPr>
              <a:t> only as their strategy is to </a:t>
            </a:r>
            <a:r>
              <a:rPr lang="en-GB" sz="1000" i="1">
                <a:solidFill>
                  <a:schemeClr val="tx2"/>
                </a:solidFill>
                <a:latin typeface="Trebuchet MS" panose="020B0603020202020204" pitchFamily="34" charset="0"/>
              </a:rPr>
              <a:t>refocus</a:t>
            </a:r>
            <a:r>
              <a:rPr lang="en-GB" sz="1000" i="1">
                <a:latin typeface="Trebuchet MS" panose="020B0603020202020204" pitchFamily="34" charset="0"/>
              </a:rPr>
              <a:t> on this particular segment</a:t>
            </a:r>
            <a:r>
              <a:rPr kumimoji="0" lang="en-GB" sz="1000" b="0" i="1" u="none" strike="noStrike" cap="none" normalizeH="0" baseline="0">
                <a:ln>
                  <a:noFill/>
                </a:ln>
                <a:solidFill>
                  <a:schemeClr val="tx1"/>
                </a:solidFill>
                <a:effectLst/>
                <a:latin typeface="Trebuchet MS" panose="020B0603020202020204" pitchFamily="34" charset="0"/>
              </a:rPr>
              <a:t>”</a:t>
            </a:r>
          </a:p>
          <a:p>
            <a:pPr>
              <a:defRPr/>
            </a:pPr>
            <a:r>
              <a:rPr lang="en-GB" sz="1000" spc="-50">
                <a:solidFill>
                  <a:srgbClr val="6C6C6C"/>
                </a:solidFill>
                <a:latin typeface="Trebuchet MS" panose="020B0603020202020204" pitchFamily="34" charset="0"/>
              </a:rPr>
              <a:t>CEO at </a:t>
            </a:r>
            <a:r>
              <a:rPr lang="en-GB" sz="1000" spc="-50" err="1">
                <a:solidFill>
                  <a:srgbClr val="6C6C6C"/>
                </a:solidFill>
                <a:latin typeface="Trebuchet MS" panose="020B0603020202020204" pitchFamily="34" charset="0"/>
              </a:rPr>
              <a:t>Altares</a:t>
            </a:r>
            <a:endParaRPr lang="en-GB" sz="1000" spc="-50">
              <a:solidFill>
                <a:srgbClr val="6C6C6C"/>
              </a:solidFill>
              <a:latin typeface="Trebuchet MS" panose="020B0603020202020204" pitchFamily="34" charset="0"/>
            </a:endParaRPr>
          </a:p>
        </p:txBody>
      </p:sp>
      <p:sp>
        <p:nvSpPr>
          <p:cNvPr id="97" name="Freeform 663">
            <a:extLst>
              <a:ext uri="{FF2B5EF4-FFF2-40B4-BE49-F238E27FC236}">
                <a16:creationId xmlns:a16="http://schemas.microsoft.com/office/drawing/2014/main" id="{AB09C6D3-9E25-46F1-BBC3-609892B914A5}"/>
              </a:ext>
            </a:extLst>
          </p:cNvPr>
          <p:cNvSpPr>
            <a:spLocks noChangeAspect="1" noEditPoints="1"/>
          </p:cNvSpPr>
          <p:nvPr/>
        </p:nvSpPr>
        <p:spPr bwMode="auto">
          <a:xfrm>
            <a:off x="6391067" y="5735354"/>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Tree>
    <p:extLst>
      <p:ext uri="{BB962C8B-B14F-4D97-AF65-F5344CB8AC3E}">
        <p14:creationId xmlns:p14="http://schemas.microsoft.com/office/powerpoint/2010/main" val="2784942929"/>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7" name="Objet 86" hidden="1">
            <a:extLst>
              <a:ext uri="{FF2B5EF4-FFF2-40B4-BE49-F238E27FC236}">
                <a16:creationId xmlns:a16="http://schemas.microsoft.com/office/drawing/2014/main" id="{D818AF6D-5973-439D-8C0E-24C6D2531456}"/>
              </a:ext>
            </a:extLst>
          </p:cNvPr>
          <p:cNvGraphicFramePr>
            <a:graphicFrameLocks noChangeAspect="1"/>
          </p:cNvGraphicFramePr>
          <p:nvPr>
            <p:custDataLst>
              <p:tags r:id="rId1"/>
            </p:custDataLst>
            <p:extLst>
              <p:ext uri="{D42A27DB-BD31-4B8C-83A1-F6EECF244321}">
                <p14:modId xmlns:p14="http://schemas.microsoft.com/office/powerpoint/2010/main" val="2843832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2" progId="TCLayout.ActiveDocument.1">
                  <p:embed/>
                </p:oleObj>
              </mc:Choice>
              <mc:Fallback>
                <p:oleObj name="think-cell Slide" r:id="rId5" imgW="501" imgH="502" progId="TCLayout.ActiveDocument.1">
                  <p:embed/>
                  <p:pic>
                    <p:nvPicPr>
                      <p:cNvPr id="87" name="Objet 86" hidden="1">
                        <a:extLst>
                          <a:ext uri="{FF2B5EF4-FFF2-40B4-BE49-F238E27FC236}">
                            <a16:creationId xmlns:a16="http://schemas.microsoft.com/office/drawing/2014/main" id="{D818AF6D-5973-439D-8C0E-24C6D25314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6" name="Rectangle 85" hidden="1">
            <a:extLst>
              <a:ext uri="{FF2B5EF4-FFF2-40B4-BE49-F238E27FC236}">
                <a16:creationId xmlns:a16="http://schemas.microsoft.com/office/drawing/2014/main" id="{ACE56A5D-72B2-46F1-B100-4883F6AE1D78}"/>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46" name="Rectangle 45" hidden="1">
            <a:extLst>
              <a:ext uri="{FF2B5EF4-FFF2-40B4-BE49-F238E27FC236}">
                <a16:creationId xmlns:a16="http://schemas.microsoft.com/office/drawing/2014/main" id="{226E1622-D6BD-4579-BEED-F63395A1E100}"/>
              </a:ext>
            </a:extLst>
          </p:cNvPr>
          <p:cNvSpPr/>
          <p:nvPr>
            <p:custDataLst>
              <p:tags r:id="rId3"/>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23325090-E6AD-4579-8BBB-5145185C4FBA}"/>
              </a:ext>
            </a:extLst>
          </p:cNvPr>
          <p:cNvSpPr>
            <a:spLocks noGrp="1"/>
          </p:cNvSpPr>
          <p:nvPr>
            <p:ph type="title"/>
          </p:nvPr>
        </p:nvSpPr>
        <p:spPr>
          <a:xfrm>
            <a:off x="165600" y="147600"/>
            <a:ext cx="8502150" cy="684000"/>
          </a:xfrm>
        </p:spPr>
        <p:txBody>
          <a:bodyPr/>
          <a:lstStyle/>
          <a:p>
            <a:r>
              <a:rPr lang="en-GB" dirty="0">
                <a:latin typeface="Trebuchet MS" panose="020B0603020202020204" pitchFamily="34" charset="0"/>
              </a:rPr>
              <a:t>More broadly, </a:t>
            </a:r>
            <a:r>
              <a:rPr lang="en-GB" dirty="0">
                <a:solidFill>
                  <a:schemeClr val="tx2"/>
                </a:solidFill>
                <a:latin typeface="Trebuchet MS" panose="020B0603020202020204" pitchFamily="34" charset="0"/>
              </a:rPr>
              <a:t>BD&amp;A incumbents</a:t>
            </a:r>
            <a:r>
              <a:rPr lang="en-GB" dirty="0">
                <a:latin typeface="Trebuchet MS" panose="020B0603020202020204" pitchFamily="34" charset="0"/>
              </a:rPr>
              <a:t> occupy a </a:t>
            </a:r>
            <a:r>
              <a:rPr lang="en-GB" dirty="0">
                <a:solidFill>
                  <a:schemeClr val="tx2"/>
                </a:solidFill>
                <a:latin typeface="Trebuchet MS" panose="020B0603020202020204" pitchFamily="34" charset="0"/>
              </a:rPr>
              <a:t>strategic position within the ecosystem </a:t>
            </a:r>
            <a:r>
              <a:rPr lang="en-GB" dirty="0">
                <a:latin typeface="Trebuchet MS" panose="020B0603020202020204" pitchFamily="34" charset="0"/>
              </a:rPr>
              <a:t>thanks to a privileged access to data with </a:t>
            </a:r>
            <a:r>
              <a:rPr lang="en-GB" dirty="0">
                <a:solidFill>
                  <a:schemeClr val="tx2"/>
                </a:solidFill>
                <a:latin typeface="Trebuchet MS" panose="020B0603020202020204" pitchFamily="34" charset="0"/>
              </a:rPr>
              <a:t>partnership</a:t>
            </a:r>
            <a:r>
              <a:rPr lang="en-GB" dirty="0">
                <a:latin typeface="Trebuchet MS" panose="020B0603020202020204" pitchFamily="34" charset="0"/>
              </a:rPr>
              <a:t> </a:t>
            </a:r>
            <a:r>
              <a:rPr lang="en-GB" dirty="0">
                <a:solidFill>
                  <a:schemeClr val="tx2"/>
                </a:solidFill>
                <a:latin typeface="Trebuchet MS" panose="020B0603020202020204" pitchFamily="34" charset="0"/>
              </a:rPr>
              <a:t>opportunities</a:t>
            </a:r>
            <a:r>
              <a:rPr lang="en-GB" dirty="0">
                <a:latin typeface="Trebuchet MS" panose="020B0603020202020204" pitchFamily="34" charset="0"/>
              </a:rPr>
              <a:t> with adjacent players</a:t>
            </a:r>
            <a:br>
              <a:rPr lang="en-GB" dirty="0">
                <a:latin typeface="Trebuchet MS" panose="020B0603020202020204" pitchFamily="34" charset="0"/>
              </a:rPr>
            </a:br>
            <a:endParaRPr lang="en-GB" dirty="0">
              <a:latin typeface="Trebuchet MS" panose="020B0603020202020204" pitchFamily="34" charset="0"/>
            </a:endParaRPr>
          </a:p>
        </p:txBody>
      </p:sp>
      <p:sp>
        <p:nvSpPr>
          <p:cNvPr id="3" name="Text Placeholder 2">
            <a:extLst>
              <a:ext uri="{FF2B5EF4-FFF2-40B4-BE49-F238E27FC236}">
                <a16:creationId xmlns:a16="http://schemas.microsoft.com/office/drawing/2014/main" id="{DD0833A5-4EAE-4CE9-8039-61F0BAB63E55}"/>
              </a:ext>
            </a:extLst>
          </p:cNvPr>
          <p:cNvSpPr>
            <a:spLocks noGrp="1"/>
          </p:cNvSpPr>
          <p:nvPr>
            <p:ph type="body" sz="quarter" idx="10"/>
          </p:nvPr>
        </p:nvSpPr>
        <p:spPr/>
        <p:txBody>
          <a:bodyPr/>
          <a:lstStyle/>
          <a:p>
            <a:r>
              <a:rPr lang="en-GB"/>
              <a:t>Sources: eleven research &amp; analysis, expert calls</a:t>
            </a:r>
          </a:p>
        </p:txBody>
      </p:sp>
      <p:cxnSp>
        <p:nvCxnSpPr>
          <p:cNvPr id="5" name="Connecteur droit 38">
            <a:extLst>
              <a:ext uri="{FF2B5EF4-FFF2-40B4-BE49-F238E27FC236}">
                <a16:creationId xmlns:a16="http://schemas.microsoft.com/office/drawing/2014/main" id="{E20D21D8-459E-4712-A1D2-FA7234DDE75C}"/>
              </a:ext>
            </a:extLst>
          </p:cNvPr>
          <p:cNvCxnSpPr>
            <a:cxnSpLocks/>
          </p:cNvCxnSpPr>
          <p:nvPr/>
        </p:nvCxnSpPr>
        <p:spPr bwMode="auto">
          <a:xfrm>
            <a:off x="272227" y="1074815"/>
            <a:ext cx="9297901"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6" name="ZoneTexte 31">
            <a:extLst>
              <a:ext uri="{FF2B5EF4-FFF2-40B4-BE49-F238E27FC236}">
                <a16:creationId xmlns:a16="http://schemas.microsoft.com/office/drawing/2014/main" id="{3FE12521-EEA8-4DE6-B205-9D74694BC96C}"/>
              </a:ext>
            </a:extLst>
          </p:cNvPr>
          <p:cNvSpPr txBox="1"/>
          <p:nvPr/>
        </p:nvSpPr>
        <p:spPr>
          <a:xfrm>
            <a:off x="3231456" y="944010"/>
            <a:ext cx="3379444" cy="261610"/>
          </a:xfrm>
          <a:prstGeom prst="rect">
            <a:avLst/>
          </a:prstGeom>
          <a:solidFill>
            <a:schemeClr val="bg1"/>
          </a:solidFill>
        </p:spPr>
        <p:txBody>
          <a:bodyPr wrap="square" rtlCol="0">
            <a:spAutoFit/>
          </a:bodyPr>
          <a:lstStyle/>
          <a:p>
            <a:pPr algn="ctr"/>
            <a:r>
              <a:rPr lang="en-GB" sz="1100" dirty="0">
                <a:latin typeface="Trebuchet MS" panose="020B0603020202020204" pitchFamily="34" charset="0"/>
              </a:rPr>
              <a:t>Mapping of compliance players</a:t>
            </a:r>
          </a:p>
        </p:txBody>
      </p:sp>
      <p:sp>
        <p:nvSpPr>
          <p:cNvPr id="8" name="Rectangle 7">
            <a:extLst>
              <a:ext uri="{FF2B5EF4-FFF2-40B4-BE49-F238E27FC236}">
                <a16:creationId xmlns:a16="http://schemas.microsoft.com/office/drawing/2014/main" id="{00452729-6C80-4ADE-814F-2CFA18003E7F}"/>
              </a:ext>
            </a:extLst>
          </p:cNvPr>
          <p:cNvSpPr/>
          <p:nvPr/>
        </p:nvSpPr>
        <p:spPr bwMode="auto">
          <a:xfrm>
            <a:off x="163246" y="1318030"/>
            <a:ext cx="9591398" cy="403422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 name="Rectangle 10">
            <a:extLst>
              <a:ext uri="{FF2B5EF4-FFF2-40B4-BE49-F238E27FC236}">
                <a16:creationId xmlns:a16="http://schemas.microsoft.com/office/drawing/2014/main" id="{C8E66DAC-0921-490A-9D89-A7ED56BC46E3}"/>
              </a:ext>
            </a:extLst>
          </p:cNvPr>
          <p:cNvSpPr/>
          <p:nvPr/>
        </p:nvSpPr>
        <p:spPr bwMode="auto">
          <a:xfrm>
            <a:off x="4241954" y="1389138"/>
            <a:ext cx="2520000" cy="359294"/>
          </a:xfrm>
          <a:prstGeom prst="rect">
            <a:avLst/>
          </a:prstGeom>
          <a:noFill/>
          <a:ln w="9525" cap="flat" cmpd="sng" algn="ctr">
            <a:solidFill>
              <a:schemeClr val="tx2"/>
            </a:solidFill>
            <a:prstDash val="solid"/>
            <a:round/>
            <a:headEnd type="none" w="med" len="med"/>
            <a:tailEnd type="none" w="med" len="med"/>
          </a:ln>
          <a:effectLst/>
        </p:spPr>
        <p:txBody>
          <a:bodyPr vert="horz" wrap="square" lIns="216000" tIns="45720" rIns="0" bIns="45720" numCol="1" rtlCol="0" anchor="ctr" anchorCtr="0" compatLnSpc="1">
            <a:prstTxWarp prst="textNoShape">
              <a:avLst/>
            </a:prstTxWarp>
          </a:bodyPr>
          <a:lstStyle/>
          <a:p>
            <a:pPr algn="ctr"/>
            <a:r>
              <a:rPr lang="en-GB" sz="1100" b="1">
                <a:solidFill>
                  <a:schemeClr val="tx2"/>
                </a:solidFill>
                <a:latin typeface="Trebuchet MS" panose="020B0603020202020204" pitchFamily="34" charset="0"/>
              </a:rPr>
              <a:t>Data enrichment players</a:t>
            </a:r>
          </a:p>
        </p:txBody>
      </p:sp>
      <p:sp>
        <p:nvSpPr>
          <p:cNvPr id="12" name="Rectangle 11">
            <a:extLst>
              <a:ext uri="{FF2B5EF4-FFF2-40B4-BE49-F238E27FC236}">
                <a16:creationId xmlns:a16="http://schemas.microsoft.com/office/drawing/2014/main" id="{0F387F71-5AE4-488F-A5CC-2027BBCF61AC}"/>
              </a:ext>
            </a:extLst>
          </p:cNvPr>
          <p:cNvSpPr/>
          <p:nvPr/>
        </p:nvSpPr>
        <p:spPr bwMode="auto">
          <a:xfrm>
            <a:off x="1435873" y="1389138"/>
            <a:ext cx="2520000" cy="359294"/>
          </a:xfrm>
          <a:prstGeom prst="rect">
            <a:avLst/>
          </a:prstGeom>
          <a:noFill/>
          <a:ln w="9525" cap="flat" cmpd="sng" algn="ctr">
            <a:solidFill>
              <a:schemeClr val="tx2"/>
            </a:solidFill>
            <a:prstDash val="solid"/>
            <a:round/>
            <a:headEnd type="none" w="med" len="med"/>
            <a:tailEnd type="none" w="med" len="med"/>
          </a:ln>
          <a:effectLst/>
        </p:spPr>
        <p:txBody>
          <a:bodyPr vert="horz" wrap="square" lIns="216000" tIns="45720" rIns="0" bIns="45720" numCol="1" rtlCol="0" anchor="ctr" anchorCtr="0" compatLnSpc="1">
            <a:prstTxWarp prst="textNoShape">
              <a:avLst/>
            </a:prstTxWarp>
          </a:bodyPr>
          <a:lstStyle/>
          <a:p>
            <a:pPr algn="ctr"/>
            <a:r>
              <a:rPr lang="en-GB" sz="1100" b="1">
                <a:solidFill>
                  <a:schemeClr val="tx2"/>
                </a:solidFill>
                <a:latin typeface="Trebuchet MS" panose="020B0603020202020204" pitchFamily="34" charset="0"/>
              </a:rPr>
              <a:t>Screening players</a:t>
            </a:r>
          </a:p>
        </p:txBody>
      </p:sp>
      <p:sp>
        <p:nvSpPr>
          <p:cNvPr id="13" name="Rectangle 12">
            <a:extLst>
              <a:ext uri="{FF2B5EF4-FFF2-40B4-BE49-F238E27FC236}">
                <a16:creationId xmlns:a16="http://schemas.microsoft.com/office/drawing/2014/main" id="{EE59AB04-B79E-4C6E-B6C7-D42B918A6E05}"/>
              </a:ext>
            </a:extLst>
          </p:cNvPr>
          <p:cNvSpPr/>
          <p:nvPr/>
        </p:nvSpPr>
        <p:spPr bwMode="auto">
          <a:xfrm>
            <a:off x="7164005" y="1389138"/>
            <a:ext cx="2520000" cy="359294"/>
          </a:xfrm>
          <a:prstGeom prst="rect">
            <a:avLst/>
          </a:prstGeom>
          <a:noFill/>
          <a:ln w="9525" cap="flat" cmpd="sng" algn="ctr">
            <a:solidFill>
              <a:schemeClr val="tx2"/>
            </a:solidFill>
            <a:prstDash val="solid"/>
            <a:round/>
            <a:headEnd type="none" w="med" len="med"/>
            <a:tailEnd type="none" w="med" len="med"/>
          </a:ln>
          <a:effectLst/>
        </p:spPr>
        <p:txBody>
          <a:bodyPr vert="horz" wrap="square" lIns="216000" tIns="45720" rIns="0" bIns="45720" numCol="1" rtlCol="0" anchor="ctr" anchorCtr="0" compatLnSpc="1">
            <a:prstTxWarp prst="textNoShape">
              <a:avLst/>
            </a:prstTxWarp>
          </a:bodyPr>
          <a:lstStyle/>
          <a:p>
            <a:pPr algn="ctr"/>
            <a:r>
              <a:rPr lang="en-GB" sz="1100" b="1">
                <a:solidFill>
                  <a:schemeClr val="tx2"/>
                </a:solidFill>
                <a:latin typeface="Trebuchet MS" panose="020B0603020202020204" pitchFamily="34" charset="0"/>
              </a:rPr>
              <a:t>Consulting players</a:t>
            </a:r>
          </a:p>
        </p:txBody>
      </p:sp>
      <p:cxnSp>
        <p:nvCxnSpPr>
          <p:cNvPr id="14" name="Straight Connector 13">
            <a:extLst>
              <a:ext uri="{FF2B5EF4-FFF2-40B4-BE49-F238E27FC236}">
                <a16:creationId xmlns:a16="http://schemas.microsoft.com/office/drawing/2014/main" id="{E42CE543-795F-4D68-B9E6-794260261396}"/>
              </a:ext>
            </a:extLst>
          </p:cNvPr>
          <p:cNvCxnSpPr>
            <a:cxnSpLocks/>
          </p:cNvCxnSpPr>
          <p:nvPr/>
        </p:nvCxnSpPr>
        <p:spPr bwMode="auto">
          <a:xfrm>
            <a:off x="7024279" y="1552095"/>
            <a:ext cx="0" cy="2539571"/>
          </a:xfrm>
          <a:prstGeom prst="line">
            <a:avLst/>
          </a:prstGeom>
          <a:solidFill>
            <a:schemeClr val="accent1"/>
          </a:solidFill>
          <a:ln w="9525" cap="flat" cmpd="sng" algn="ctr">
            <a:solidFill>
              <a:schemeClr val="tx1"/>
            </a:solidFill>
            <a:prstDash val="dash"/>
            <a:round/>
            <a:headEnd type="none" w="med" len="med"/>
            <a:tailEnd type="none" w="med" len="med"/>
          </a:ln>
          <a:effectLst/>
        </p:spPr>
      </p:cxnSp>
      <p:grpSp>
        <p:nvGrpSpPr>
          <p:cNvPr id="4" name="Groupe 3">
            <a:extLst>
              <a:ext uri="{FF2B5EF4-FFF2-40B4-BE49-F238E27FC236}">
                <a16:creationId xmlns:a16="http://schemas.microsoft.com/office/drawing/2014/main" id="{061E28AB-5591-42E3-8262-16CE02A9CADE}"/>
              </a:ext>
            </a:extLst>
          </p:cNvPr>
          <p:cNvGrpSpPr/>
          <p:nvPr/>
        </p:nvGrpSpPr>
        <p:grpSpPr>
          <a:xfrm>
            <a:off x="104133" y="1934303"/>
            <a:ext cx="1235674" cy="3047580"/>
            <a:chOff x="166360" y="1934303"/>
            <a:chExt cx="1235674" cy="3047580"/>
          </a:xfrm>
        </p:grpSpPr>
        <p:sp>
          <p:nvSpPr>
            <p:cNvPr id="9" name="Rectangle: Rounded Corners 8">
              <a:extLst>
                <a:ext uri="{FF2B5EF4-FFF2-40B4-BE49-F238E27FC236}">
                  <a16:creationId xmlns:a16="http://schemas.microsoft.com/office/drawing/2014/main" id="{51007B97-16D1-48DC-9E57-6216CEE30E1E}"/>
                </a:ext>
              </a:extLst>
            </p:cNvPr>
            <p:cNvSpPr/>
            <p:nvPr/>
          </p:nvSpPr>
          <p:spPr bwMode="auto">
            <a:xfrm>
              <a:off x="315649" y="2227459"/>
              <a:ext cx="937095" cy="2754424"/>
            </a:xfrm>
            <a:prstGeom prst="roundRect">
              <a:avLst>
                <a:gd name="adj" fmla="val 3726"/>
              </a:avLst>
            </a:prstGeom>
            <a:no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 name="ZoneTexte 144">
              <a:extLst>
                <a:ext uri="{FF2B5EF4-FFF2-40B4-BE49-F238E27FC236}">
                  <a16:creationId xmlns:a16="http://schemas.microsoft.com/office/drawing/2014/main" id="{DAD33592-395B-40F7-81DF-CB034FF9EE34}"/>
                </a:ext>
              </a:extLst>
            </p:cNvPr>
            <p:cNvSpPr txBox="1"/>
            <p:nvPr/>
          </p:nvSpPr>
          <p:spPr>
            <a:xfrm>
              <a:off x="202643" y="1934303"/>
              <a:ext cx="1163104" cy="261610"/>
            </a:xfrm>
            <a:prstGeom prst="rect">
              <a:avLst/>
            </a:prstGeom>
            <a:noFill/>
          </p:spPr>
          <p:txBody>
            <a:bodyPr wrap="square" rtlCol="0">
              <a:spAutoFit/>
            </a:bodyPr>
            <a:lstStyle/>
            <a:p>
              <a:pPr algn="ctr"/>
              <a:r>
                <a:rPr lang="en-GB" sz="1100" b="1">
                  <a:solidFill>
                    <a:schemeClr val="tx2"/>
                  </a:solidFill>
                  <a:latin typeface="Trebuchet MS" panose="020B0603020202020204" pitchFamily="34" charset="0"/>
                </a:rPr>
                <a:t>Data sources</a:t>
              </a:r>
            </a:p>
          </p:txBody>
        </p:sp>
        <p:sp>
          <p:nvSpPr>
            <p:cNvPr id="15" name="Rectangle: Rounded Corners 14">
              <a:extLst>
                <a:ext uri="{FF2B5EF4-FFF2-40B4-BE49-F238E27FC236}">
                  <a16:creationId xmlns:a16="http://schemas.microsoft.com/office/drawing/2014/main" id="{2CE941FA-5D35-4F27-9CA2-169CBAB39C6F}"/>
                </a:ext>
              </a:extLst>
            </p:cNvPr>
            <p:cNvSpPr/>
            <p:nvPr/>
          </p:nvSpPr>
          <p:spPr bwMode="auto">
            <a:xfrm>
              <a:off x="166360" y="2350996"/>
              <a:ext cx="1235674" cy="806597"/>
            </a:xfrm>
            <a:prstGeom prst="roundRect">
              <a:avLst>
                <a:gd name="adj" fmla="val 3726"/>
              </a:avLst>
            </a:prstGeom>
            <a:no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 name="Rectangle: Rounded Corners 15">
              <a:extLst>
                <a:ext uri="{FF2B5EF4-FFF2-40B4-BE49-F238E27FC236}">
                  <a16:creationId xmlns:a16="http://schemas.microsoft.com/office/drawing/2014/main" id="{6ED26453-24AE-4060-89D5-698136170840}"/>
                </a:ext>
              </a:extLst>
            </p:cNvPr>
            <p:cNvSpPr/>
            <p:nvPr/>
          </p:nvSpPr>
          <p:spPr bwMode="auto">
            <a:xfrm>
              <a:off x="166360" y="3074755"/>
              <a:ext cx="1235674" cy="806597"/>
            </a:xfrm>
            <a:prstGeom prst="roundRect">
              <a:avLst>
                <a:gd name="adj" fmla="val 3726"/>
              </a:avLst>
            </a:prstGeom>
            <a:no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 name="Rectangle: Rounded Corners 16">
              <a:extLst>
                <a:ext uri="{FF2B5EF4-FFF2-40B4-BE49-F238E27FC236}">
                  <a16:creationId xmlns:a16="http://schemas.microsoft.com/office/drawing/2014/main" id="{E92C7A57-CFCC-43DA-A6E0-B290CC0183D6}"/>
                </a:ext>
              </a:extLst>
            </p:cNvPr>
            <p:cNvSpPr/>
            <p:nvPr/>
          </p:nvSpPr>
          <p:spPr bwMode="auto">
            <a:xfrm>
              <a:off x="166360" y="4038520"/>
              <a:ext cx="1235674" cy="806597"/>
            </a:xfrm>
            <a:prstGeom prst="roundRect">
              <a:avLst>
                <a:gd name="adj" fmla="val 3726"/>
              </a:avLst>
            </a:prstGeom>
            <a:no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20" name="Picture 4" descr="RÃ©sultat de recherche d'images pour &quot;infogreffe&quot;">
              <a:extLst>
                <a:ext uri="{FF2B5EF4-FFF2-40B4-BE49-F238E27FC236}">
                  <a16:creationId xmlns:a16="http://schemas.microsoft.com/office/drawing/2014/main" id="{120DF62E-A19A-4160-8D14-FBA1FA528403}"/>
                </a:ext>
              </a:extLst>
            </p:cNvPr>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t="25166" b="28417"/>
            <a:stretch/>
          </p:blipFill>
          <p:spPr bwMode="auto">
            <a:xfrm>
              <a:off x="459393" y="3267205"/>
              <a:ext cx="686720" cy="23863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descr="A close up of a sign&#10;&#10;Description automatically generated">
              <a:extLst>
                <a:ext uri="{FF2B5EF4-FFF2-40B4-BE49-F238E27FC236}">
                  <a16:creationId xmlns:a16="http://schemas.microsoft.com/office/drawing/2014/main" id="{512FB39A-974D-4212-A9C5-31F8C11DF5C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5611" y="4263916"/>
              <a:ext cx="914285" cy="134125"/>
            </a:xfrm>
            <a:prstGeom prst="rect">
              <a:avLst/>
            </a:prstGeom>
          </p:spPr>
        </p:pic>
        <p:sp>
          <p:nvSpPr>
            <p:cNvPr id="54" name="ZoneTexte 37">
              <a:extLst>
                <a:ext uri="{FF2B5EF4-FFF2-40B4-BE49-F238E27FC236}">
                  <a16:creationId xmlns:a16="http://schemas.microsoft.com/office/drawing/2014/main" id="{AFDE1BFA-CA06-404A-9AEC-FD3A50599DC9}"/>
                </a:ext>
              </a:extLst>
            </p:cNvPr>
            <p:cNvSpPr txBox="1"/>
            <p:nvPr/>
          </p:nvSpPr>
          <p:spPr>
            <a:xfrm>
              <a:off x="255108" y="3983179"/>
              <a:ext cx="1095290" cy="253916"/>
            </a:xfrm>
            <a:prstGeom prst="rect">
              <a:avLst/>
            </a:prstGeom>
            <a:noFill/>
          </p:spPr>
          <p:txBody>
            <a:bodyPr wrap="square" rtlCol="0">
              <a:spAutoFit/>
            </a:bodyPr>
            <a:lstStyle/>
            <a:p>
              <a:pPr algn="ctr"/>
              <a:r>
                <a:rPr lang="en-GB" sz="1050" i="1">
                  <a:latin typeface="Trebuchet MS" panose="020B0603020202020204" pitchFamily="34" charset="0"/>
                </a:rPr>
                <a:t>Queries</a:t>
              </a:r>
            </a:p>
          </p:txBody>
        </p:sp>
        <p:sp>
          <p:nvSpPr>
            <p:cNvPr id="55" name="ZoneTexte 37">
              <a:extLst>
                <a:ext uri="{FF2B5EF4-FFF2-40B4-BE49-F238E27FC236}">
                  <a16:creationId xmlns:a16="http://schemas.microsoft.com/office/drawing/2014/main" id="{CCF144B6-6FDA-472E-A89C-3600B9D866DD}"/>
                </a:ext>
              </a:extLst>
            </p:cNvPr>
            <p:cNvSpPr txBox="1"/>
            <p:nvPr/>
          </p:nvSpPr>
          <p:spPr>
            <a:xfrm>
              <a:off x="255108" y="3026369"/>
              <a:ext cx="1095290" cy="261610"/>
            </a:xfrm>
            <a:prstGeom prst="rect">
              <a:avLst/>
            </a:prstGeom>
            <a:noFill/>
          </p:spPr>
          <p:txBody>
            <a:bodyPr wrap="square" rtlCol="0">
              <a:spAutoFit/>
            </a:bodyPr>
            <a:lstStyle/>
            <a:p>
              <a:pPr algn="ctr"/>
              <a:r>
                <a:rPr lang="en-GB" sz="1050" i="1">
                  <a:latin typeface="Trebuchet MS" panose="020B0603020202020204" pitchFamily="34" charset="0"/>
                </a:rPr>
                <a:t>Official data</a:t>
              </a:r>
            </a:p>
          </p:txBody>
        </p:sp>
        <p:sp>
          <p:nvSpPr>
            <p:cNvPr id="56" name="ZoneTexte 37">
              <a:extLst>
                <a:ext uri="{FF2B5EF4-FFF2-40B4-BE49-F238E27FC236}">
                  <a16:creationId xmlns:a16="http://schemas.microsoft.com/office/drawing/2014/main" id="{D1262E41-1D72-4A8B-B6F0-A6F40795DCE4}"/>
                </a:ext>
              </a:extLst>
            </p:cNvPr>
            <p:cNvSpPr txBox="1"/>
            <p:nvPr/>
          </p:nvSpPr>
          <p:spPr>
            <a:xfrm>
              <a:off x="255108" y="2303603"/>
              <a:ext cx="1095290" cy="261610"/>
            </a:xfrm>
            <a:prstGeom prst="rect">
              <a:avLst/>
            </a:prstGeom>
            <a:noFill/>
          </p:spPr>
          <p:txBody>
            <a:bodyPr wrap="square" rtlCol="0">
              <a:spAutoFit/>
            </a:bodyPr>
            <a:lstStyle/>
            <a:p>
              <a:pPr algn="ctr"/>
              <a:r>
                <a:rPr lang="en-GB" sz="1050" i="1">
                  <a:latin typeface="Trebuchet MS" panose="020B0603020202020204" pitchFamily="34" charset="0"/>
                </a:rPr>
                <a:t>Public data</a:t>
              </a:r>
            </a:p>
          </p:txBody>
        </p:sp>
        <p:sp>
          <p:nvSpPr>
            <p:cNvPr id="57" name="ZoneTexte 37">
              <a:extLst>
                <a:ext uri="{FF2B5EF4-FFF2-40B4-BE49-F238E27FC236}">
                  <a16:creationId xmlns:a16="http://schemas.microsoft.com/office/drawing/2014/main" id="{72FF4E33-277B-49B5-8C52-3D9C36B67617}"/>
                </a:ext>
              </a:extLst>
            </p:cNvPr>
            <p:cNvSpPr txBox="1"/>
            <p:nvPr/>
          </p:nvSpPr>
          <p:spPr>
            <a:xfrm>
              <a:off x="617136" y="2649226"/>
              <a:ext cx="371234" cy="261610"/>
            </a:xfrm>
            <a:prstGeom prst="rect">
              <a:avLst/>
            </a:prstGeom>
            <a:noFill/>
          </p:spPr>
          <p:txBody>
            <a:bodyPr wrap="square" rtlCol="0">
              <a:spAutoFit/>
            </a:bodyPr>
            <a:lstStyle/>
            <a:p>
              <a:pPr algn="ctr"/>
              <a:r>
                <a:rPr lang="en-GB" sz="1050">
                  <a:latin typeface="Trebuchet MS" panose="020B0603020202020204" pitchFamily="34" charset="0"/>
                </a:rPr>
                <a:t>…</a:t>
              </a:r>
            </a:p>
          </p:txBody>
        </p:sp>
        <p:pic>
          <p:nvPicPr>
            <p:cNvPr id="58" name="Picture 57" descr="A close up of a logo&#10;&#10;Description automatically generated">
              <a:extLst>
                <a:ext uri="{FF2B5EF4-FFF2-40B4-BE49-F238E27FC236}">
                  <a16:creationId xmlns:a16="http://schemas.microsoft.com/office/drawing/2014/main" id="{4BA947A4-D996-4510-A62E-ADB1C29D943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40347" y="3506388"/>
              <a:ext cx="324812" cy="324812"/>
            </a:xfrm>
            <a:prstGeom prst="rect">
              <a:avLst/>
            </a:prstGeom>
          </p:spPr>
        </p:pic>
        <p:pic>
          <p:nvPicPr>
            <p:cNvPr id="59" name="Graphic 58">
              <a:extLst>
                <a:ext uri="{FF2B5EF4-FFF2-40B4-BE49-F238E27FC236}">
                  <a16:creationId xmlns:a16="http://schemas.microsoft.com/office/drawing/2014/main" id="{8BA91488-799E-4239-B0D1-D55E804E990C}"/>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t="32582" b="49473"/>
            <a:stretch/>
          </p:blipFill>
          <p:spPr>
            <a:xfrm>
              <a:off x="402684" y="2553013"/>
              <a:ext cx="792825" cy="201221"/>
            </a:xfrm>
            <a:prstGeom prst="rect">
              <a:avLst/>
            </a:prstGeom>
          </p:spPr>
        </p:pic>
        <p:sp>
          <p:nvSpPr>
            <p:cNvPr id="60" name="ZoneTexte 37">
              <a:extLst>
                <a:ext uri="{FF2B5EF4-FFF2-40B4-BE49-F238E27FC236}">
                  <a16:creationId xmlns:a16="http://schemas.microsoft.com/office/drawing/2014/main" id="{4BABED7D-8DB0-4932-BB35-540FF7321E66}"/>
                </a:ext>
              </a:extLst>
            </p:cNvPr>
            <p:cNvSpPr txBox="1"/>
            <p:nvPr/>
          </p:nvSpPr>
          <p:spPr>
            <a:xfrm>
              <a:off x="617136" y="3673534"/>
              <a:ext cx="371234" cy="261610"/>
            </a:xfrm>
            <a:prstGeom prst="rect">
              <a:avLst/>
            </a:prstGeom>
            <a:noFill/>
          </p:spPr>
          <p:txBody>
            <a:bodyPr wrap="square" rtlCol="0">
              <a:spAutoFit/>
            </a:bodyPr>
            <a:lstStyle/>
            <a:p>
              <a:pPr algn="ctr"/>
              <a:r>
                <a:rPr lang="en-GB" sz="1050">
                  <a:latin typeface="Trebuchet MS" panose="020B0603020202020204" pitchFamily="34" charset="0"/>
                </a:rPr>
                <a:t>…</a:t>
              </a:r>
            </a:p>
          </p:txBody>
        </p:sp>
        <p:sp>
          <p:nvSpPr>
            <p:cNvPr id="61" name="ZoneTexte 37">
              <a:extLst>
                <a:ext uri="{FF2B5EF4-FFF2-40B4-BE49-F238E27FC236}">
                  <a16:creationId xmlns:a16="http://schemas.microsoft.com/office/drawing/2014/main" id="{668F72B6-C9FC-4A26-A746-30A61CFA6721}"/>
                </a:ext>
              </a:extLst>
            </p:cNvPr>
            <p:cNvSpPr txBox="1"/>
            <p:nvPr/>
          </p:nvSpPr>
          <p:spPr>
            <a:xfrm>
              <a:off x="617136" y="4642455"/>
              <a:ext cx="371234" cy="261610"/>
            </a:xfrm>
            <a:prstGeom prst="rect">
              <a:avLst/>
            </a:prstGeom>
            <a:noFill/>
          </p:spPr>
          <p:txBody>
            <a:bodyPr wrap="square" rtlCol="0">
              <a:spAutoFit/>
            </a:bodyPr>
            <a:lstStyle/>
            <a:p>
              <a:pPr algn="ctr"/>
              <a:r>
                <a:rPr lang="en-GB" sz="1050">
                  <a:latin typeface="Trebuchet MS" panose="020B0603020202020204" pitchFamily="34" charset="0"/>
                </a:rPr>
                <a:t>…</a:t>
              </a:r>
            </a:p>
          </p:txBody>
        </p:sp>
        <p:pic>
          <p:nvPicPr>
            <p:cNvPr id="62" name="Picture 61" descr="A close up of a logo&#10;&#10;Description automatically generated">
              <a:extLst>
                <a:ext uri="{FF2B5EF4-FFF2-40B4-BE49-F238E27FC236}">
                  <a16:creationId xmlns:a16="http://schemas.microsoft.com/office/drawing/2014/main" id="{69098A18-AC47-41A9-84FB-7FC6D4BE870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94848" y="4416382"/>
              <a:ext cx="361670" cy="361670"/>
            </a:xfrm>
            <a:prstGeom prst="rect">
              <a:avLst/>
            </a:prstGeom>
          </p:spPr>
        </p:pic>
      </p:grpSp>
      <p:pic>
        <p:nvPicPr>
          <p:cNvPr id="76" name="Graphic 75">
            <a:extLst>
              <a:ext uri="{FF2B5EF4-FFF2-40B4-BE49-F238E27FC236}">
                <a16:creationId xmlns:a16="http://schemas.microsoft.com/office/drawing/2014/main" id="{3595EA4A-620C-4203-84D6-2C4432C76665}"/>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b="16698"/>
          <a:stretch/>
        </p:blipFill>
        <p:spPr>
          <a:xfrm>
            <a:off x="4368857" y="1457546"/>
            <a:ext cx="213662" cy="222479"/>
          </a:xfrm>
          <a:prstGeom prst="rect">
            <a:avLst/>
          </a:prstGeom>
        </p:spPr>
      </p:pic>
      <p:pic>
        <p:nvPicPr>
          <p:cNvPr id="78" name="Graphic 77">
            <a:extLst>
              <a:ext uri="{FF2B5EF4-FFF2-40B4-BE49-F238E27FC236}">
                <a16:creationId xmlns:a16="http://schemas.microsoft.com/office/drawing/2014/main" id="{02D386C2-2010-46D2-9E4F-AC1A297FD86C}"/>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b="16698"/>
          <a:stretch/>
        </p:blipFill>
        <p:spPr>
          <a:xfrm>
            <a:off x="1570039" y="1446422"/>
            <a:ext cx="235028" cy="244727"/>
          </a:xfrm>
          <a:prstGeom prst="rect">
            <a:avLst/>
          </a:prstGeom>
        </p:spPr>
      </p:pic>
      <p:pic>
        <p:nvPicPr>
          <p:cNvPr id="80" name="Graphic 79">
            <a:extLst>
              <a:ext uri="{FF2B5EF4-FFF2-40B4-BE49-F238E27FC236}">
                <a16:creationId xmlns:a16="http://schemas.microsoft.com/office/drawing/2014/main" id="{932C38B9-8D61-4D81-A7F2-BD1063465B42}"/>
              </a:ext>
            </a:extLst>
          </p:cNvPr>
          <p:cNvPicPr>
            <a:picLocks noChangeAspect="1"/>
          </p:cNvPicPr>
          <p:nvPr/>
        </p:nvPicPr>
        <p:blipFill rotWithShape="1">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b="18065"/>
          <a:stretch/>
        </p:blipFill>
        <p:spPr>
          <a:xfrm>
            <a:off x="7296358" y="1454478"/>
            <a:ext cx="219285" cy="224586"/>
          </a:xfrm>
          <a:prstGeom prst="rect">
            <a:avLst/>
          </a:prstGeom>
        </p:spPr>
      </p:pic>
      <p:sp>
        <p:nvSpPr>
          <p:cNvPr id="82" name="Rectangle 81">
            <a:extLst>
              <a:ext uri="{FF2B5EF4-FFF2-40B4-BE49-F238E27FC236}">
                <a16:creationId xmlns:a16="http://schemas.microsoft.com/office/drawing/2014/main" id="{F9CE50F4-559F-4A63-8DED-004E061F20DD}"/>
              </a:ext>
            </a:extLst>
          </p:cNvPr>
          <p:cNvSpPr/>
          <p:nvPr/>
        </p:nvSpPr>
        <p:spPr bwMode="auto">
          <a:xfrm>
            <a:off x="5715063" y="5500917"/>
            <a:ext cx="3931067" cy="9360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dirty="0">
                <a:ln>
                  <a:noFill/>
                </a:ln>
                <a:solidFill>
                  <a:schemeClr val="tx1"/>
                </a:solidFill>
                <a:effectLst/>
                <a:latin typeface="Trebuchet MS" panose="020B0603020202020204" pitchFamily="34" charset="0"/>
              </a:rPr>
              <a:t>“Partnerships are more significant between data suppliers and screening solutions. In fact, it is </a:t>
            </a:r>
            <a:r>
              <a:rPr kumimoji="0" lang="en-GB" sz="1000" b="0" i="1" u="none" strike="noStrike" cap="none" normalizeH="0" baseline="0" dirty="0" err="1">
                <a:ln>
                  <a:noFill/>
                </a:ln>
                <a:solidFill>
                  <a:schemeClr val="tx2"/>
                </a:solidFill>
                <a:effectLst/>
                <a:latin typeface="Trebuchet MS" panose="020B0603020202020204" pitchFamily="34" charset="0"/>
              </a:rPr>
              <a:t>Altares</a:t>
            </a:r>
            <a:r>
              <a:rPr kumimoji="0" lang="en-GB" sz="1000" b="0" i="1" u="none" strike="noStrike" cap="none" normalizeH="0" baseline="0" dirty="0">
                <a:ln>
                  <a:noFill/>
                </a:ln>
                <a:solidFill>
                  <a:schemeClr val="tx2"/>
                </a:solidFill>
                <a:effectLst/>
                <a:latin typeface="Trebuchet MS" panose="020B0603020202020204" pitchFamily="34" charset="0"/>
              </a:rPr>
              <a:t>' strategy to bring screening operators together in a hub</a:t>
            </a:r>
            <a:r>
              <a:rPr kumimoji="0" lang="en-GB" sz="1000" b="0" i="1" u="none" strike="noStrike" cap="none" normalizeH="0" baseline="0" dirty="0">
                <a:ln>
                  <a:noFill/>
                </a:ln>
                <a:solidFill>
                  <a:schemeClr val="tx1"/>
                </a:solidFill>
                <a:effectLst/>
                <a:latin typeface="Trebuchet MS" panose="020B0603020202020204" pitchFamily="34" charset="0"/>
              </a:rPr>
              <a:t>, providing the market with an exhaustive range of offerings”</a:t>
            </a:r>
          </a:p>
          <a:p>
            <a:pPr>
              <a:defRPr/>
            </a:pPr>
            <a:r>
              <a:rPr lang="en-GB" sz="1000" spc="-50" dirty="0">
                <a:solidFill>
                  <a:srgbClr val="6C6C6C"/>
                </a:solidFill>
                <a:latin typeface="Trebuchet MS" panose="020B0603020202020204" pitchFamily="34" charset="0"/>
              </a:rPr>
              <a:t>Chief Data Scientist at </a:t>
            </a:r>
            <a:r>
              <a:rPr lang="en-GB" sz="1000" spc="-50" dirty="0" err="1">
                <a:solidFill>
                  <a:srgbClr val="6C6C6C"/>
                </a:solidFill>
                <a:latin typeface="Trebuchet MS" panose="020B0603020202020204" pitchFamily="34" charset="0"/>
              </a:rPr>
              <a:t>Altares</a:t>
            </a:r>
            <a:endParaRPr lang="en-GB" sz="1000" spc="-50" dirty="0">
              <a:solidFill>
                <a:srgbClr val="6C6C6C"/>
              </a:solidFill>
              <a:latin typeface="Trebuchet MS" panose="020B0603020202020204" pitchFamily="34" charset="0"/>
            </a:endParaRPr>
          </a:p>
        </p:txBody>
      </p:sp>
      <p:sp>
        <p:nvSpPr>
          <p:cNvPr id="83" name="Freeform 663">
            <a:extLst>
              <a:ext uri="{FF2B5EF4-FFF2-40B4-BE49-F238E27FC236}">
                <a16:creationId xmlns:a16="http://schemas.microsoft.com/office/drawing/2014/main" id="{D96676D6-F9DD-4E31-936E-6A46DFE154AF}"/>
              </a:ext>
            </a:extLst>
          </p:cNvPr>
          <p:cNvSpPr>
            <a:spLocks noChangeAspect="1" noEditPoints="1"/>
          </p:cNvSpPr>
          <p:nvPr/>
        </p:nvSpPr>
        <p:spPr bwMode="auto">
          <a:xfrm>
            <a:off x="5568622" y="5830292"/>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98" name="Rectangle 97">
            <a:extLst>
              <a:ext uri="{FF2B5EF4-FFF2-40B4-BE49-F238E27FC236}">
                <a16:creationId xmlns:a16="http://schemas.microsoft.com/office/drawing/2014/main" id="{C2D0B771-5F87-43C3-BF4B-CC772E064034}"/>
              </a:ext>
            </a:extLst>
          </p:cNvPr>
          <p:cNvSpPr/>
          <p:nvPr/>
        </p:nvSpPr>
        <p:spPr bwMode="auto">
          <a:xfrm>
            <a:off x="165600" y="5449715"/>
            <a:ext cx="9581218" cy="1044000"/>
          </a:xfrm>
          <a:prstGeom prst="rect">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3" name="Rectangle 102">
            <a:extLst>
              <a:ext uri="{FF2B5EF4-FFF2-40B4-BE49-F238E27FC236}">
                <a16:creationId xmlns:a16="http://schemas.microsoft.com/office/drawing/2014/main" id="{DDAD27AB-985E-4685-BBDB-60A95AFDDE42}"/>
              </a:ext>
            </a:extLst>
          </p:cNvPr>
          <p:cNvSpPr/>
          <p:nvPr/>
        </p:nvSpPr>
        <p:spPr bwMode="auto">
          <a:xfrm>
            <a:off x="469513" y="5498007"/>
            <a:ext cx="4905375" cy="95082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61950" marR="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dirty="0">
                <a:ln>
                  <a:noFill/>
                </a:ln>
                <a:solidFill>
                  <a:schemeClr val="tx2"/>
                </a:solidFill>
                <a:effectLst/>
                <a:latin typeface="Trebuchet MS" panose="020B0603020202020204" pitchFamily="34" charset="0"/>
              </a:rPr>
              <a:t>BD&amp;A players</a:t>
            </a:r>
            <a:r>
              <a:rPr kumimoji="0" lang="en-GB" sz="1000" b="0" i="0" u="none" strike="noStrike" cap="none" normalizeH="0" baseline="0" dirty="0">
                <a:ln>
                  <a:noFill/>
                </a:ln>
                <a:solidFill>
                  <a:schemeClr val="tx1"/>
                </a:solidFill>
                <a:effectLst/>
                <a:latin typeface="Trebuchet MS" panose="020B0603020202020204" pitchFamily="34" charset="0"/>
              </a:rPr>
              <a:t> enjoy a </a:t>
            </a:r>
            <a:r>
              <a:rPr kumimoji="0" lang="en-GB" sz="1000" b="0" i="0" u="none" strike="noStrike" cap="none" normalizeH="0" baseline="0" dirty="0">
                <a:ln>
                  <a:noFill/>
                </a:ln>
                <a:solidFill>
                  <a:schemeClr val="tx2"/>
                </a:solidFill>
                <a:effectLst/>
                <a:latin typeface="Trebuchet MS" panose="020B0603020202020204" pitchFamily="34" charset="0"/>
              </a:rPr>
              <a:t>central</a:t>
            </a:r>
            <a:r>
              <a:rPr kumimoji="0" lang="en-GB" sz="1000" b="0" i="0" u="none" strike="noStrike" cap="none" normalizeH="0" baseline="0" dirty="0">
                <a:ln>
                  <a:noFill/>
                </a:ln>
                <a:solidFill>
                  <a:schemeClr val="tx1"/>
                </a:solidFill>
                <a:effectLst/>
                <a:latin typeface="Trebuchet MS" panose="020B0603020202020204" pitchFamily="34" charset="0"/>
              </a:rPr>
              <a:t> </a:t>
            </a:r>
            <a:r>
              <a:rPr kumimoji="0" lang="en-GB" sz="1000" b="0" i="0" u="none" strike="noStrike" cap="none" normalizeH="0" baseline="0" dirty="0">
                <a:ln>
                  <a:noFill/>
                </a:ln>
                <a:solidFill>
                  <a:schemeClr val="tx2"/>
                </a:solidFill>
                <a:effectLst/>
                <a:latin typeface="Trebuchet MS" panose="020B0603020202020204" pitchFamily="34" charset="0"/>
              </a:rPr>
              <a:t>position</a:t>
            </a:r>
            <a:r>
              <a:rPr kumimoji="0" lang="en-GB" sz="1000" b="0" i="0" u="none" strike="noStrike" cap="none" normalizeH="0" baseline="0" dirty="0">
                <a:ln>
                  <a:noFill/>
                </a:ln>
                <a:solidFill>
                  <a:schemeClr val="tx1"/>
                </a:solidFill>
                <a:effectLst/>
                <a:latin typeface="Trebuchet MS" panose="020B0603020202020204" pitchFamily="34" charset="0"/>
              </a:rPr>
              <a:t> in the compliance services market, enabling them to leverage potential partnerships with other players in the ecosystem and thus offer a </a:t>
            </a:r>
            <a:r>
              <a:rPr kumimoji="0" lang="en-GB" sz="1000" b="0" i="0" u="none" strike="noStrike" cap="none" normalizeH="0" baseline="0" dirty="0">
                <a:ln>
                  <a:noFill/>
                </a:ln>
                <a:solidFill>
                  <a:schemeClr val="tx2"/>
                </a:solidFill>
                <a:effectLst/>
                <a:latin typeface="Trebuchet MS" panose="020B0603020202020204" pitchFamily="34" charset="0"/>
              </a:rPr>
              <a:t>comprehensive</a:t>
            </a:r>
            <a:r>
              <a:rPr kumimoji="0" lang="en-GB" sz="1000" b="0" i="0" u="none" strike="noStrike" cap="none" normalizeH="0" baseline="0" dirty="0">
                <a:ln>
                  <a:noFill/>
                </a:ln>
                <a:solidFill>
                  <a:schemeClr val="tx1"/>
                </a:solidFill>
                <a:effectLst/>
                <a:latin typeface="Trebuchet MS" panose="020B0603020202020204" pitchFamily="34" charset="0"/>
              </a:rPr>
              <a:t> </a:t>
            </a:r>
            <a:r>
              <a:rPr kumimoji="0" lang="en-GB" sz="1000" b="0" i="0" u="none" strike="noStrike" cap="none" normalizeH="0" baseline="0" dirty="0">
                <a:ln>
                  <a:noFill/>
                </a:ln>
                <a:solidFill>
                  <a:schemeClr val="tx2"/>
                </a:solidFill>
                <a:effectLst/>
                <a:latin typeface="Trebuchet MS" panose="020B0603020202020204" pitchFamily="34" charset="0"/>
              </a:rPr>
              <a:t>range</a:t>
            </a:r>
            <a:r>
              <a:rPr kumimoji="0" lang="en-GB" sz="1000" b="0" i="0" u="none" strike="noStrike" cap="none" normalizeH="0" baseline="0" dirty="0">
                <a:ln>
                  <a:noFill/>
                </a:ln>
                <a:solidFill>
                  <a:schemeClr val="tx1"/>
                </a:solidFill>
                <a:effectLst/>
                <a:latin typeface="Trebuchet MS" panose="020B0603020202020204" pitchFamily="34" charset="0"/>
              </a:rPr>
              <a:t> of </a:t>
            </a:r>
            <a:r>
              <a:rPr kumimoji="0" lang="en-GB" sz="1000" b="0" i="0" u="none" strike="noStrike" cap="none" normalizeH="0" baseline="0" dirty="0">
                <a:ln>
                  <a:noFill/>
                </a:ln>
                <a:solidFill>
                  <a:schemeClr val="tx2"/>
                </a:solidFill>
                <a:effectLst/>
                <a:latin typeface="Trebuchet MS" panose="020B0603020202020204" pitchFamily="34" charset="0"/>
              </a:rPr>
              <a:t>services </a:t>
            </a:r>
            <a:r>
              <a:rPr kumimoji="0" lang="en-GB" sz="1000" b="0" i="0" u="none" strike="noStrike" cap="none" normalizeH="0" baseline="0" dirty="0">
                <a:ln>
                  <a:noFill/>
                </a:ln>
                <a:effectLst/>
                <a:latin typeface="Trebuchet MS" panose="020B0603020202020204" pitchFamily="34" charset="0"/>
              </a:rPr>
              <a:t>to address all the market needs</a:t>
            </a:r>
            <a:endParaRPr kumimoji="0" lang="en-GB" sz="1000" b="0" i="0" u="none" strike="noStrike" cap="none" normalizeH="0" baseline="0" dirty="0">
              <a:ln>
                <a:noFill/>
              </a:ln>
              <a:solidFill>
                <a:schemeClr val="tx2"/>
              </a:solidFill>
              <a:effectLst/>
              <a:latin typeface="Trebuchet MS" panose="020B0603020202020204" pitchFamily="34" charset="0"/>
            </a:endParaRPr>
          </a:p>
        </p:txBody>
      </p:sp>
      <p:grpSp>
        <p:nvGrpSpPr>
          <p:cNvPr id="84" name="Groupe 83">
            <a:extLst>
              <a:ext uri="{FF2B5EF4-FFF2-40B4-BE49-F238E27FC236}">
                <a16:creationId xmlns:a16="http://schemas.microsoft.com/office/drawing/2014/main" id="{F9CA6479-132A-4D98-B99F-74D9021B34AA}"/>
              </a:ext>
            </a:extLst>
          </p:cNvPr>
          <p:cNvGrpSpPr/>
          <p:nvPr/>
        </p:nvGrpSpPr>
        <p:grpSpPr>
          <a:xfrm>
            <a:off x="7497885" y="2709539"/>
            <a:ext cx="1980000" cy="1260000"/>
            <a:chOff x="7497885" y="2108143"/>
            <a:chExt cx="1980000" cy="1260000"/>
          </a:xfrm>
        </p:grpSpPr>
        <p:sp>
          <p:nvSpPr>
            <p:cNvPr id="24" name="Ellipse 4132">
              <a:extLst>
                <a:ext uri="{FF2B5EF4-FFF2-40B4-BE49-F238E27FC236}">
                  <a16:creationId xmlns:a16="http://schemas.microsoft.com/office/drawing/2014/main" id="{CCCE6D51-1F15-4AB3-9402-6C92704A3BFA}"/>
                </a:ext>
              </a:extLst>
            </p:cNvPr>
            <p:cNvSpPr/>
            <p:nvPr/>
          </p:nvSpPr>
          <p:spPr bwMode="auto">
            <a:xfrm>
              <a:off x="7497885" y="2108143"/>
              <a:ext cx="1980000" cy="1260000"/>
            </a:xfrm>
            <a:prstGeom prst="roundRect">
              <a:avLst/>
            </a:prstGeom>
            <a:solidFill>
              <a:schemeClr val="bg1"/>
            </a:solidFill>
            <a:ln w="9525" cap="flat" cmpd="sng" algn="ctr">
              <a:solidFill>
                <a:srgbClr val="00206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pic>
          <p:nvPicPr>
            <p:cNvPr id="25" name="Picture 2" descr="Grant Thornton France page d'accueil">
              <a:extLst>
                <a:ext uri="{FF2B5EF4-FFF2-40B4-BE49-F238E27FC236}">
                  <a16:creationId xmlns:a16="http://schemas.microsoft.com/office/drawing/2014/main" id="{04B6CC3C-63CB-4447-B096-DFAD89E71445}"/>
                </a:ext>
              </a:extLst>
            </p:cNvPr>
            <p:cNvPicPr>
              <a:picLocks noChangeAspect="1" noChangeArrowheads="1"/>
            </p:cNvPicPr>
            <p:nvPr/>
          </p:nvPicPr>
          <p:blipFill rotWithShape="1">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t="-4167" r="49059"/>
            <a:stretch/>
          </p:blipFill>
          <p:spPr bwMode="auto">
            <a:xfrm>
              <a:off x="7827814" y="3017135"/>
              <a:ext cx="808710" cy="180938"/>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5" descr="RÃ©sultat de recherche d'images pour &quot;deloitte&quot;">
              <a:extLst>
                <a:ext uri="{FF2B5EF4-FFF2-40B4-BE49-F238E27FC236}">
                  <a16:creationId xmlns:a16="http://schemas.microsoft.com/office/drawing/2014/main" id="{D373AE37-16F2-4D97-AB52-D2D7E46BEF6A}"/>
                </a:ext>
              </a:extLst>
            </p:cNvPr>
            <p:cNvPicPr>
              <a:picLocks noChangeAspect="1" noChangeArrowheads="1"/>
            </p:cNvPicPr>
            <p:nvPr/>
          </p:nvPicPr>
          <p:blipFill>
            <a:blip r:embed="rId2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088704" y="2616162"/>
              <a:ext cx="525491" cy="98277"/>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A close up of a sign&#10;&#10;Description automatically generated">
              <a:extLst>
                <a:ext uri="{FF2B5EF4-FFF2-40B4-BE49-F238E27FC236}">
                  <a16:creationId xmlns:a16="http://schemas.microsoft.com/office/drawing/2014/main" id="{13BDE1CE-1627-473A-A773-DD7D88641F7B}"/>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8797637" y="2773540"/>
              <a:ext cx="479684" cy="198726"/>
            </a:xfrm>
            <a:prstGeom prst="rect">
              <a:avLst/>
            </a:prstGeom>
          </p:spPr>
        </p:pic>
        <p:pic>
          <p:nvPicPr>
            <p:cNvPr id="28" name="Picture 27" descr="A close up of a sign&#10;&#10;Description automatically generated">
              <a:extLst>
                <a:ext uri="{FF2B5EF4-FFF2-40B4-BE49-F238E27FC236}">
                  <a16:creationId xmlns:a16="http://schemas.microsoft.com/office/drawing/2014/main" id="{B06F6F8C-D298-4616-95CE-50D5C026DB20}"/>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700708" y="2643120"/>
              <a:ext cx="295284" cy="295284"/>
            </a:xfrm>
            <a:prstGeom prst="rect">
              <a:avLst/>
            </a:prstGeom>
          </p:spPr>
        </p:pic>
        <p:sp>
          <p:nvSpPr>
            <p:cNvPr id="67" name="Rectangle 66">
              <a:extLst>
                <a:ext uri="{FF2B5EF4-FFF2-40B4-BE49-F238E27FC236}">
                  <a16:creationId xmlns:a16="http://schemas.microsoft.com/office/drawing/2014/main" id="{C6F09E0F-C2B8-4968-B0F4-78406EFC155A}"/>
                </a:ext>
              </a:extLst>
            </p:cNvPr>
            <p:cNvSpPr/>
            <p:nvPr/>
          </p:nvSpPr>
          <p:spPr bwMode="auto">
            <a:xfrm>
              <a:off x="7637663" y="2156775"/>
              <a:ext cx="1751453"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i="1">
                  <a:solidFill>
                    <a:srgbClr val="002060"/>
                  </a:solidFill>
                  <a:latin typeface="Trebuchet MS" pitchFamily="34" charset="0"/>
                </a:rPr>
                <a:t>Specialized compliance consulting players</a:t>
              </a:r>
              <a:endParaRPr kumimoji="0" lang="en-GB" sz="900" b="1" i="1" u="none" strike="noStrike" cap="none" normalizeH="0" baseline="0">
                <a:ln>
                  <a:noFill/>
                </a:ln>
                <a:solidFill>
                  <a:srgbClr val="002060"/>
                </a:solidFill>
                <a:effectLst/>
                <a:latin typeface="Trebuchet MS" pitchFamily="34" charset="0"/>
              </a:endParaRPr>
            </a:p>
          </p:txBody>
        </p:sp>
      </p:grpSp>
      <p:sp>
        <p:nvSpPr>
          <p:cNvPr id="105" name="Rectangle 104">
            <a:extLst>
              <a:ext uri="{FF2B5EF4-FFF2-40B4-BE49-F238E27FC236}">
                <a16:creationId xmlns:a16="http://schemas.microsoft.com/office/drawing/2014/main" id="{D6E91577-39E8-4234-BD65-0DF3D22210FF}"/>
              </a:ext>
            </a:extLst>
          </p:cNvPr>
          <p:cNvSpPr/>
          <p:nvPr/>
        </p:nvSpPr>
        <p:spPr bwMode="auto">
          <a:xfrm>
            <a:off x="4379302" y="4378838"/>
            <a:ext cx="3118583" cy="653914"/>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GB" sz="900" err="1">
                <a:solidFill>
                  <a:schemeClr val="tx2"/>
                </a:solidFill>
                <a:latin typeface="Trebuchet MS" panose="020B0603020202020204" pitchFamily="34" charset="0"/>
              </a:rPr>
              <a:t>Regtech</a:t>
            </a:r>
            <a:r>
              <a:rPr lang="en-GB" sz="900">
                <a:solidFill>
                  <a:schemeClr val="tx2"/>
                </a:solidFill>
                <a:latin typeface="Trebuchet MS" panose="020B0603020202020204" pitchFamily="34" charset="0"/>
              </a:rPr>
              <a:t> players </a:t>
            </a:r>
            <a:r>
              <a:rPr lang="en-GB" sz="900">
                <a:latin typeface="Trebuchet MS" panose="020B0603020202020204" pitchFamily="34" charset="0"/>
              </a:rPr>
              <a:t>are </a:t>
            </a:r>
            <a:r>
              <a:rPr lang="en-GB" sz="900">
                <a:solidFill>
                  <a:schemeClr val="tx2"/>
                </a:solidFill>
                <a:latin typeface="Trebuchet MS" panose="020B0603020202020204" pitchFamily="34" charset="0"/>
              </a:rPr>
              <a:t>taking</a:t>
            </a:r>
            <a:r>
              <a:rPr lang="en-GB" sz="900">
                <a:latin typeface="Trebuchet MS" panose="020B0603020202020204" pitchFamily="34" charset="0"/>
              </a:rPr>
              <a:t> </a:t>
            </a:r>
            <a:r>
              <a:rPr lang="en-GB" sz="900">
                <a:solidFill>
                  <a:schemeClr val="tx2"/>
                </a:solidFill>
                <a:latin typeface="Trebuchet MS" panose="020B0603020202020204" pitchFamily="34" charset="0"/>
              </a:rPr>
              <a:t>advantage</a:t>
            </a:r>
            <a:r>
              <a:rPr lang="en-GB" sz="900">
                <a:latin typeface="Trebuchet MS" panose="020B0603020202020204" pitchFamily="34" charset="0"/>
              </a:rPr>
              <a:t> of the </a:t>
            </a:r>
            <a:r>
              <a:rPr lang="en-GB" sz="900">
                <a:solidFill>
                  <a:schemeClr val="tx2"/>
                </a:solidFill>
                <a:latin typeface="Trebuchet MS" panose="020B0603020202020204" pitchFamily="34" charset="0"/>
              </a:rPr>
              <a:t>inflation</a:t>
            </a:r>
            <a:r>
              <a:rPr lang="en-GB" sz="900">
                <a:latin typeface="Trebuchet MS" panose="020B0603020202020204" pitchFamily="34" charset="0"/>
              </a:rPr>
              <a:t> of </a:t>
            </a:r>
            <a:r>
              <a:rPr lang="en-GB" sz="900">
                <a:solidFill>
                  <a:schemeClr val="tx2"/>
                </a:solidFill>
                <a:latin typeface="Trebuchet MS" panose="020B0603020202020204" pitchFamily="34" charset="0"/>
              </a:rPr>
              <a:t>AML regulations</a:t>
            </a:r>
            <a:r>
              <a:rPr lang="en-GB" sz="900">
                <a:latin typeface="Trebuchet MS" panose="020B0603020202020204" pitchFamily="34" charset="0"/>
              </a:rPr>
              <a:t> in the </a:t>
            </a:r>
            <a:r>
              <a:rPr lang="en-GB" sz="900">
                <a:solidFill>
                  <a:schemeClr val="tx2"/>
                </a:solidFill>
                <a:latin typeface="Trebuchet MS" panose="020B0603020202020204" pitchFamily="34" charset="0"/>
              </a:rPr>
              <a:t>banking</a:t>
            </a:r>
            <a:r>
              <a:rPr lang="en-GB" sz="900">
                <a:latin typeface="Trebuchet MS" panose="020B0603020202020204" pitchFamily="34" charset="0"/>
              </a:rPr>
              <a:t> </a:t>
            </a:r>
            <a:r>
              <a:rPr lang="en-GB" sz="900">
                <a:solidFill>
                  <a:schemeClr val="tx2"/>
                </a:solidFill>
                <a:latin typeface="Trebuchet MS" panose="020B0603020202020204" pitchFamily="34" charset="0"/>
              </a:rPr>
              <a:t>sector</a:t>
            </a:r>
            <a:r>
              <a:rPr lang="en-GB" sz="900">
                <a:latin typeface="Trebuchet MS" pitchFamily="34" charset="0"/>
              </a:rPr>
              <a:t> to propose adjacent specific KYC services through a revamped user experience for their clients…</a:t>
            </a:r>
          </a:p>
          <a:p>
            <a:r>
              <a:rPr lang="en-GB" sz="900">
                <a:latin typeface="Trebuchet MS" pitchFamily="34" charset="0"/>
              </a:rPr>
              <a:t>…which compete directly with the installed </a:t>
            </a:r>
            <a:r>
              <a:rPr lang="en-GB" sz="900">
                <a:solidFill>
                  <a:schemeClr val="tx2"/>
                </a:solidFill>
                <a:latin typeface="Trebuchet MS" panose="020B0603020202020204" pitchFamily="34" charset="0"/>
              </a:rPr>
              <a:t>AML software players </a:t>
            </a:r>
            <a:r>
              <a:rPr lang="en-GB" sz="900">
                <a:latin typeface="Trebuchet MS" panose="020B0603020202020204" pitchFamily="34" charset="0"/>
              </a:rPr>
              <a:t>(e.g. filtering players...)</a:t>
            </a:r>
          </a:p>
        </p:txBody>
      </p:sp>
      <p:grpSp>
        <p:nvGrpSpPr>
          <p:cNvPr id="85" name="Groupe 84">
            <a:extLst>
              <a:ext uri="{FF2B5EF4-FFF2-40B4-BE49-F238E27FC236}">
                <a16:creationId xmlns:a16="http://schemas.microsoft.com/office/drawing/2014/main" id="{86F9CD7D-55B9-496C-9539-B1A9DEFD5448}"/>
              </a:ext>
            </a:extLst>
          </p:cNvPr>
          <p:cNvGrpSpPr/>
          <p:nvPr/>
        </p:nvGrpSpPr>
        <p:grpSpPr>
          <a:xfrm>
            <a:off x="4508654" y="2690905"/>
            <a:ext cx="1980000" cy="1280004"/>
            <a:chOff x="1775201" y="2089509"/>
            <a:chExt cx="1980000" cy="1280004"/>
          </a:xfrm>
        </p:grpSpPr>
        <p:sp>
          <p:nvSpPr>
            <p:cNvPr id="37" name="Ellipse 130">
              <a:extLst>
                <a:ext uri="{FF2B5EF4-FFF2-40B4-BE49-F238E27FC236}">
                  <a16:creationId xmlns:a16="http://schemas.microsoft.com/office/drawing/2014/main" id="{2CDFFA4F-DFE8-4147-9B6E-62C27266B511}"/>
                </a:ext>
              </a:extLst>
            </p:cNvPr>
            <p:cNvSpPr>
              <a:spLocks/>
            </p:cNvSpPr>
            <p:nvPr/>
          </p:nvSpPr>
          <p:spPr bwMode="auto">
            <a:xfrm>
              <a:off x="1775201" y="2109513"/>
              <a:ext cx="1980000" cy="1260000"/>
            </a:xfrm>
            <a:prstGeom prst="roundRect">
              <a:avLst/>
            </a:prstGeom>
            <a:solidFill>
              <a:schemeClr val="bg1"/>
            </a:solid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pic>
          <p:nvPicPr>
            <p:cNvPr id="40" name="Picture 39" descr="A picture containing light&#10;&#10;Description automatically generated">
              <a:extLst>
                <a:ext uri="{FF2B5EF4-FFF2-40B4-BE49-F238E27FC236}">
                  <a16:creationId xmlns:a16="http://schemas.microsoft.com/office/drawing/2014/main" id="{08B1CE70-2B84-4A85-B4C6-3AAC2DBEF37D}"/>
                </a:ext>
              </a:extLst>
            </p:cNvPr>
            <p:cNvPicPr>
              <a:picLocks noChangeAspect="1"/>
            </p:cNvPicPr>
            <p:nvPr/>
          </p:nvPicPr>
          <p:blipFill rotWithShape="1">
            <a:blip r:embed="rId23">
              <a:extLst>
                <a:ext uri="{28A0092B-C50C-407E-A947-70E740481C1C}">
                  <a14:useLocalDpi xmlns:a14="http://schemas.microsoft.com/office/drawing/2010/main" val="0"/>
                </a:ext>
              </a:extLst>
            </a:blip>
            <a:srcRect t="38606" b="38606"/>
            <a:stretch/>
          </p:blipFill>
          <p:spPr>
            <a:xfrm>
              <a:off x="1930709" y="3021508"/>
              <a:ext cx="778706" cy="141958"/>
            </a:xfrm>
            <a:prstGeom prst="rect">
              <a:avLst/>
            </a:prstGeom>
          </p:spPr>
        </p:pic>
        <p:pic>
          <p:nvPicPr>
            <p:cNvPr id="41" name="Picture 40" descr="A close up of a sign&#10;&#10;Description automatically generated">
              <a:extLst>
                <a:ext uri="{FF2B5EF4-FFF2-40B4-BE49-F238E27FC236}">
                  <a16:creationId xmlns:a16="http://schemas.microsoft.com/office/drawing/2014/main" id="{7F1CC587-0360-4D12-9CC4-7B85D094FDB9}"/>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2114406" y="2426908"/>
              <a:ext cx="547295" cy="351635"/>
            </a:xfrm>
            <a:prstGeom prst="rect">
              <a:avLst/>
            </a:prstGeom>
          </p:spPr>
        </p:pic>
        <p:sp>
          <p:nvSpPr>
            <p:cNvPr id="65" name="Rectangle 64">
              <a:extLst>
                <a:ext uri="{FF2B5EF4-FFF2-40B4-BE49-F238E27FC236}">
                  <a16:creationId xmlns:a16="http://schemas.microsoft.com/office/drawing/2014/main" id="{E99BC867-C03E-4D0D-BE7A-A83ABBB3E2BE}"/>
                </a:ext>
              </a:extLst>
            </p:cNvPr>
            <p:cNvSpPr/>
            <p:nvPr/>
          </p:nvSpPr>
          <p:spPr bwMode="auto">
            <a:xfrm>
              <a:off x="1993554" y="2089509"/>
              <a:ext cx="1518825"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i="1">
                  <a:solidFill>
                    <a:schemeClr val="tx2"/>
                  </a:solidFill>
                  <a:latin typeface="Trebuchet MS" pitchFamily="34" charset="0"/>
                </a:rPr>
                <a:t>BD&amp;A incumbents</a:t>
              </a:r>
              <a:endParaRPr kumimoji="0" lang="en-GB" sz="900" b="1" i="1" u="none" strike="noStrike" cap="none" normalizeH="0" baseline="0">
                <a:ln>
                  <a:noFill/>
                </a:ln>
                <a:solidFill>
                  <a:schemeClr val="tx2"/>
                </a:solidFill>
                <a:effectLst/>
                <a:latin typeface="Trebuchet MS" pitchFamily="34" charset="0"/>
              </a:endParaRPr>
            </a:p>
          </p:txBody>
        </p:sp>
        <p:pic>
          <p:nvPicPr>
            <p:cNvPr id="68" name="Picture 2" descr="RÃ©sultat de recherche d'images pour &quot;bureau van dijk&quot;">
              <a:extLst>
                <a:ext uri="{FF2B5EF4-FFF2-40B4-BE49-F238E27FC236}">
                  <a16:creationId xmlns:a16="http://schemas.microsoft.com/office/drawing/2014/main" id="{E215F87F-084F-4D28-88C3-D2FDA4E1FC4B}"/>
                </a:ext>
              </a:extLst>
            </p:cNvPr>
            <p:cNvPicPr>
              <a:picLocks noChangeAspect="1" noChangeArrowheads="1"/>
            </p:cNvPicPr>
            <p:nvPr/>
          </p:nvPicPr>
          <p:blipFill>
            <a:blip r:embed="rId2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910486" y="2583057"/>
              <a:ext cx="574876" cy="2797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4" name="Groupe 123">
            <a:extLst>
              <a:ext uri="{FF2B5EF4-FFF2-40B4-BE49-F238E27FC236}">
                <a16:creationId xmlns:a16="http://schemas.microsoft.com/office/drawing/2014/main" id="{87A8A876-5D41-4B58-A289-8FF157DF047F}"/>
              </a:ext>
            </a:extLst>
          </p:cNvPr>
          <p:cNvGrpSpPr/>
          <p:nvPr/>
        </p:nvGrpSpPr>
        <p:grpSpPr>
          <a:xfrm>
            <a:off x="8846325" y="4999146"/>
            <a:ext cx="193516" cy="319088"/>
            <a:chOff x="3442990" y="3430936"/>
            <a:chExt cx="193516" cy="319088"/>
          </a:xfrm>
        </p:grpSpPr>
        <p:cxnSp>
          <p:nvCxnSpPr>
            <p:cNvPr id="115" name="Connecteur droit avec flèche 124">
              <a:extLst>
                <a:ext uri="{FF2B5EF4-FFF2-40B4-BE49-F238E27FC236}">
                  <a16:creationId xmlns:a16="http://schemas.microsoft.com/office/drawing/2014/main" id="{099C9CA4-449F-4E81-A839-EE1784D097CE}"/>
                </a:ext>
              </a:extLst>
            </p:cNvPr>
            <p:cNvCxnSpPr>
              <a:cxnSpLocks/>
            </p:cNvCxnSpPr>
            <p:nvPr/>
          </p:nvCxnSpPr>
          <p:spPr bwMode="auto">
            <a:xfrm flipH="1">
              <a:off x="3454840" y="3430936"/>
              <a:ext cx="171202" cy="319088"/>
            </a:xfrm>
            <a:prstGeom prst="straightConnector1">
              <a:avLst/>
            </a:prstGeom>
            <a:solidFill>
              <a:schemeClr val="accent1"/>
            </a:solidFill>
            <a:ln w="9525" cap="flat" cmpd="sng" algn="ctr">
              <a:solidFill>
                <a:schemeClr val="tx2"/>
              </a:solidFill>
              <a:prstDash val="solid"/>
              <a:round/>
              <a:headEnd type="triangle"/>
              <a:tailEnd type="triangle"/>
            </a:ln>
            <a:effectLst/>
          </p:spPr>
        </p:cxnSp>
        <p:grpSp>
          <p:nvGrpSpPr>
            <p:cNvPr id="116" name="Groupe 127">
              <a:extLst>
                <a:ext uri="{FF2B5EF4-FFF2-40B4-BE49-F238E27FC236}">
                  <a16:creationId xmlns:a16="http://schemas.microsoft.com/office/drawing/2014/main" id="{ED8096F9-AC16-49C7-9497-D6A1E763EF90}"/>
                </a:ext>
              </a:extLst>
            </p:cNvPr>
            <p:cNvGrpSpPr>
              <a:grpSpLocks noChangeAspect="1"/>
            </p:cNvGrpSpPr>
            <p:nvPr/>
          </p:nvGrpSpPr>
          <p:grpSpPr>
            <a:xfrm>
              <a:off x="3442990" y="3492847"/>
              <a:ext cx="193516" cy="190505"/>
              <a:chOff x="-724464" y="3766107"/>
              <a:chExt cx="217146" cy="213766"/>
            </a:xfrm>
          </p:grpSpPr>
          <p:sp>
            <p:nvSpPr>
              <p:cNvPr id="117" name="Ellipse 128">
                <a:extLst>
                  <a:ext uri="{FF2B5EF4-FFF2-40B4-BE49-F238E27FC236}">
                    <a16:creationId xmlns:a16="http://schemas.microsoft.com/office/drawing/2014/main" id="{0E9EA3C1-E7BD-4660-AB57-7D2586F42CA2}"/>
                  </a:ext>
                </a:extLst>
              </p:cNvPr>
              <p:cNvSpPr/>
              <p:nvPr/>
            </p:nvSpPr>
            <p:spPr bwMode="auto">
              <a:xfrm>
                <a:off x="-724464" y="3766107"/>
                <a:ext cx="217146" cy="213766"/>
              </a:xfrm>
              <a:prstGeom prst="ellipse">
                <a:avLst/>
              </a:prstGeom>
              <a:solidFill>
                <a:schemeClr val="bg1"/>
              </a:solidFill>
              <a:ln w="317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18" name="Graphique 132">
                <a:extLst>
                  <a:ext uri="{FF2B5EF4-FFF2-40B4-BE49-F238E27FC236}">
                    <a16:creationId xmlns:a16="http://schemas.microsoft.com/office/drawing/2014/main" id="{E3973A96-1BFA-4450-8718-0E4A1935C010}"/>
                  </a:ext>
                </a:extLst>
              </p:cNvPr>
              <p:cNvPicPr>
                <a:picLocks noChangeAspect="1"/>
              </p:cNvPicPr>
              <p:nvPr/>
            </p:nvPicPr>
            <p:blipFill rotWithShape="1">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t="11892" b="32564"/>
              <a:stretch/>
            </p:blipFill>
            <p:spPr>
              <a:xfrm>
                <a:off x="-691765" y="3824794"/>
                <a:ext cx="151748" cy="106203"/>
              </a:xfrm>
              <a:prstGeom prst="rect">
                <a:avLst/>
              </a:prstGeom>
            </p:spPr>
          </p:pic>
        </p:grpSp>
      </p:grpSp>
      <p:sp>
        <p:nvSpPr>
          <p:cNvPr id="119" name="Rectangle 118">
            <a:extLst>
              <a:ext uri="{FF2B5EF4-FFF2-40B4-BE49-F238E27FC236}">
                <a16:creationId xmlns:a16="http://schemas.microsoft.com/office/drawing/2014/main" id="{A959ADC4-ED31-408E-A7EC-C62F160E6203}"/>
              </a:ext>
            </a:extLst>
          </p:cNvPr>
          <p:cNvSpPr/>
          <p:nvPr/>
        </p:nvSpPr>
        <p:spPr bwMode="auto">
          <a:xfrm>
            <a:off x="8913963" y="4973067"/>
            <a:ext cx="977808"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i="1" u="none" strike="noStrike" cap="none" normalizeH="0" baseline="0">
                <a:ln>
                  <a:noFill/>
                </a:ln>
                <a:effectLst/>
                <a:latin typeface="Trebuchet MS" panose="020B0603020202020204" pitchFamily="34" charset="0"/>
              </a:rPr>
              <a:t>Potential partnerships</a:t>
            </a:r>
          </a:p>
        </p:txBody>
      </p:sp>
      <p:grpSp>
        <p:nvGrpSpPr>
          <p:cNvPr id="7" name="Groupe 6">
            <a:extLst>
              <a:ext uri="{FF2B5EF4-FFF2-40B4-BE49-F238E27FC236}">
                <a16:creationId xmlns:a16="http://schemas.microsoft.com/office/drawing/2014/main" id="{20EC6384-8C7D-46AD-84C3-A5409D8F08EB}"/>
              </a:ext>
            </a:extLst>
          </p:cNvPr>
          <p:cNvGrpSpPr/>
          <p:nvPr/>
        </p:nvGrpSpPr>
        <p:grpSpPr>
          <a:xfrm>
            <a:off x="1463121" y="4311471"/>
            <a:ext cx="2945071" cy="964495"/>
            <a:chOff x="3683958" y="3457084"/>
            <a:chExt cx="2945071" cy="964495"/>
          </a:xfrm>
        </p:grpSpPr>
        <p:sp>
          <p:nvSpPr>
            <p:cNvPr id="30" name="Ellipse 143">
              <a:extLst>
                <a:ext uri="{FF2B5EF4-FFF2-40B4-BE49-F238E27FC236}">
                  <a16:creationId xmlns:a16="http://schemas.microsoft.com/office/drawing/2014/main" id="{5F1660DB-ED4E-47DA-B3DE-E4027F220E85}"/>
                </a:ext>
              </a:extLst>
            </p:cNvPr>
            <p:cNvSpPr/>
            <p:nvPr/>
          </p:nvSpPr>
          <p:spPr bwMode="auto">
            <a:xfrm>
              <a:off x="3862131" y="3569034"/>
              <a:ext cx="2766898" cy="451101"/>
            </a:xfrm>
            <a:prstGeom prst="roundRect">
              <a:avLst/>
            </a:prstGeom>
            <a:solidFill>
              <a:schemeClr val="bg1"/>
            </a:solidFill>
            <a:ln w="9525" cap="flat" cmpd="sng" algn="ctr">
              <a:solidFill>
                <a:srgbClr val="C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pic>
          <p:nvPicPr>
            <p:cNvPr id="31" name="Picture 12" descr="header-logo">
              <a:extLst>
                <a:ext uri="{FF2B5EF4-FFF2-40B4-BE49-F238E27FC236}">
                  <a16:creationId xmlns:a16="http://schemas.microsoft.com/office/drawing/2014/main" id="{5EF3396A-76D5-4410-9037-4C6174F1F96C}"/>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889147" y="3771032"/>
              <a:ext cx="470898" cy="21134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 descr="fullscreen logo">
              <a:extLst>
                <a:ext uri="{FF2B5EF4-FFF2-40B4-BE49-F238E27FC236}">
                  <a16:creationId xmlns:a16="http://schemas.microsoft.com/office/drawing/2014/main" id="{59146F48-2B61-4E6A-9C61-8431A23852B6}"/>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4390154" y="3787468"/>
              <a:ext cx="495755" cy="17847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4" descr="Le site web officiel de Treezor">
              <a:extLst>
                <a:ext uri="{FF2B5EF4-FFF2-40B4-BE49-F238E27FC236}">
                  <a16:creationId xmlns:a16="http://schemas.microsoft.com/office/drawing/2014/main" id="{E2487696-6AB3-4E93-A910-71E9DD1FAFF2}"/>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612749" y="3784422"/>
              <a:ext cx="554183" cy="200306"/>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Jumio">
              <a:extLst>
                <a:ext uri="{FF2B5EF4-FFF2-40B4-BE49-F238E27FC236}">
                  <a16:creationId xmlns:a16="http://schemas.microsoft.com/office/drawing/2014/main" id="{1EBF9DA7-4F05-4361-AD15-C09113D7A839}"/>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461732" y="3647993"/>
              <a:ext cx="364187" cy="12598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RÃ©sultat de recherche d'images pour &quot;smartkyc&quot;">
              <a:extLst>
                <a:ext uri="{FF2B5EF4-FFF2-40B4-BE49-F238E27FC236}">
                  <a16:creationId xmlns:a16="http://schemas.microsoft.com/office/drawing/2014/main" id="{3CA7C5BA-ED7B-41EA-B158-B1CA296F5613}"/>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4911074" y="3827402"/>
              <a:ext cx="687093" cy="97998"/>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0" descr="RÃ©sultat de recherche d'images pour &quot;vialink&quot;">
              <a:extLst>
                <a:ext uri="{FF2B5EF4-FFF2-40B4-BE49-F238E27FC236}">
                  <a16:creationId xmlns:a16="http://schemas.microsoft.com/office/drawing/2014/main" id="{57DCC7AC-399E-4BD4-848E-A4D5A59CEA4A}"/>
                </a:ext>
              </a:extLst>
            </p:cNvPr>
            <p:cNvPicPr>
              <a:picLocks noChangeAspect="1" noChangeArrowheads="1"/>
            </p:cNvPicPr>
            <p:nvPr/>
          </p:nvPicPr>
          <p:blipFill rotWithShape="1">
            <a:blip r:embed="rId33">
              <a:clrChange>
                <a:clrFrom>
                  <a:srgbClr val="FFFFFF"/>
                </a:clrFrom>
                <a:clrTo>
                  <a:srgbClr val="FFFFFF">
                    <a:alpha val="0"/>
                  </a:srgbClr>
                </a:clrTo>
              </a:clrChange>
              <a:extLst>
                <a:ext uri="{28A0092B-C50C-407E-A947-70E740481C1C}">
                  <a14:useLocalDpi xmlns:a14="http://schemas.microsoft.com/office/drawing/2010/main" val="0"/>
                </a:ext>
              </a:extLst>
            </a:blip>
            <a:srcRect l="11999" t="32331" r="6638" b="32688"/>
            <a:stretch/>
          </p:blipFill>
          <p:spPr bwMode="auto">
            <a:xfrm>
              <a:off x="4955747" y="3587431"/>
              <a:ext cx="493864" cy="212334"/>
            </a:xfrm>
            <a:prstGeom prst="rect">
              <a:avLst/>
            </a:prstGeom>
            <a:noFill/>
            <a:extLst>
              <a:ext uri="{909E8E84-426E-40DD-AFC4-6F175D3DCCD1}">
                <a14:hiddenFill xmlns:a14="http://schemas.microsoft.com/office/drawing/2010/main">
                  <a:solidFill>
                    <a:srgbClr val="FFFFFF"/>
                  </a:solidFill>
                </a14:hiddenFill>
              </a:ext>
            </a:extLst>
          </p:spPr>
        </p:pic>
        <p:sp>
          <p:nvSpPr>
            <p:cNvPr id="66" name="Rectangle 65">
              <a:extLst>
                <a:ext uri="{FF2B5EF4-FFF2-40B4-BE49-F238E27FC236}">
                  <a16:creationId xmlns:a16="http://schemas.microsoft.com/office/drawing/2014/main" id="{98DC831B-2BC7-4525-903F-110A4785A4AB}"/>
                </a:ext>
              </a:extLst>
            </p:cNvPr>
            <p:cNvSpPr/>
            <p:nvPr/>
          </p:nvSpPr>
          <p:spPr bwMode="auto">
            <a:xfrm>
              <a:off x="3683958" y="3457084"/>
              <a:ext cx="1518825"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i="1" err="1">
                  <a:solidFill>
                    <a:srgbClr val="C00000"/>
                  </a:solidFill>
                  <a:latin typeface="Trebuchet MS" pitchFamily="34" charset="0"/>
                </a:rPr>
                <a:t>RegTech</a:t>
              </a:r>
              <a:r>
                <a:rPr lang="en-GB" sz="900" b="1" i="1">
                  <a:solidFill>
                    <a:srgbClr val="C00000"/>
                  </a:solidFill>
                  <a:latin typeface="Trebuchet MS" pitchFamily="34" charset="0"/>
                </a:rPr>
                <a:t> players</a:t>
              </a:r>
              <a:endParaRPr kumimoji="0" lang="en-GB" sz="900" b="1" i="1" u="none" strike="noStrike" cap="none" normalizeH="0" baseline="0">
                <a:ln>
                  <a:noFill/>
                </a:ln>
                <a:solidFill>
                  <a:srgbClr val="C00000"/>
                </a:solidFill>
                <a:effectLst/>
                <a:latin typeface="Trebuchet MS" pitchFamily="34" charset="0"/>
              </a:endParaRPr>
            </a:p>
          </p:txBody>
        </p:sp>
        <p:sp>
          <p:nvSpPr>
            <p:cNvPr id="126" name="Ellipse 143">
              <a:extLst>
                <a:ext uri="{FF2B5EF4-FFF2-40B4-BE49-F238E27FC236}">
                  <a16:creationId xmlns:a16="http://schemas.microsoft.com/office/drawing/2014/main" id="{9611BA06-BF76-4A65-9035-8B913FA3C382}"/>
                </a:ext>
              </a:extLst>
            </p:cNvPr>
            <p:cNvSpPr/>
            <p:nvPr/>
          </p:nvSpPr>
          <p:spPr bwMode="auto">
            <a:xfrm>
              <a:off x="3862131" y="4052250"/>
              <a:ext cx="2766898" cy="369329"/>
            </a:xfrm>
            <a:prstGeom prst="roundRect">
              <a:avLst/>
            </a:prstGeom>
            <a:solidFill>
              <a:schemeClr val="bg1"/>
            </a:solid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sp>
          <p:nvSpPr>
            <p:cNvPr id="127" name="Rectangle 126">
              <a:extLst>
                <a:ext uri="{FF2B5EF4-FFF2-40B4-BE49-F238E27FC236}">
                  <a16:creationId xmlns:a16="http://schemas.microsoft.com/office/drawing/2014/main" id="{E3844DD8-62C8-434A-B1B6-DBB1ED4BBE67}"/>
                </a:ext>
              </a:extLst>
            </p:cNvPr>
            <p:cNvSpPr/>
            <p:nvPr/>
          </p:nvSpPr>
          <p:spPr bwMode="auto">
            <a:xfrm>
              <a:off x="3761032" y="3919409"/>
              <a:ext cx="1518825"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i="1">
                  <a:latin typeface="Trebuchet MS" pitchFamily="34" charset="0"/>
                </a:rPr>
                <a:t>AML software players </a:t>
              </a:r>
              <a:endParaRPr kumimoji="0" lang="en-GB" sz="900" b="1" i="1" u="none" strike="noStrike" cap="none" normalizeH="0" baseline="0">
                <a:ln>
                  <a:noFill/>
                </a:ln>
                <a:effectLst/>
                <a:latin typeface="Trebuchet MS" pitchFamily="34" charset="0"/>
              </a:endParaRPr>
            </a:p>
          </p:txBody>
        </p:sp>
      </p:grpSp>
      <p:grpSp>
        <p:nvGrpSpPr>
          <p:cNvPr id="108" name="Groupe 107">
            <a:extLst>
              <a:ext uri="{FF2B5EF4-FFF2-40B4-BE49-F238E27FC236}">
                <a16:creationId xmlns:a16="http://schemas.microsoft.com/office/drawing/2014/main" id="{56741B66-E5C2-4EB0-9A69-F2DED0611751}"/>
              </a:ext>
            </a:extLst>
          </p:cNvPr>
          <p:cNvGrpSpPr/>
          <p:nvPr/>
        </p:nvGrpSpPr>
        <p:grpSpPr>
          <a:xfrm>
            <a:off x="8448150" y="-11528"/>
            <a:ext cx="1435548" cy="588143"/>
            <a:chOff x="8448150" y="-11528"/>
            <a:chExt cx="1435548" cy="588143"/>
          </a:xfrm>
        </p:grpSpPr>
        <p:grpSp>
          <p:nvGrpSpPr>
            <p:cNvPr id="109" name="Groupe 108">
              <a:extLst>
                <a:ext uri="{FF2B5EF4-FFF2-40B4-BE49-F238E27FC236}">
                  <a16:creationId xmlns:a16="http://schemas.microsoft.com/office/drawing/2014/main" id="{F1C65D00-52B1-45C9-9FCD-734AD6CBA7E1}"/>
                </a:ext>
              </a:extLst>
            </p:cNvPr>
            <p:cNvGrpSpPr/>
            <p:nvPr/>
          </p:nvGrpSpPr>
          <p:grpSpPr>
            <a:xfrm>
              <a:off x="8448150" y="-11528"/>
              <a:ext cx="1435548" cy="555653"/>
              <a:chOff x="8448150" y="-11528"/>
              <a:chExt cx="1435548" cy="555653"/>
            </a:xfrm>
          </p:grpSpPr>
          <p:sp>
            <p:nvSpPr>
              <p:cNvPr id="111" name="Rectangle : coins arrondis 199">
                <a:extLst>
                  <a:ext uri="{FF2B5EF4-FFF2-40B4-BE49-F238E27FC236}">
                    <a16:creationId xmlns:a16="http://schemas.microsoft.com/office/drawing/2014/main" id="{06612EB1-C8E2-4A40-BA14-2108AEF36B9B}"/>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2" name="Rectangle : coins arrondis 200">
                <a:extLst>
                  <a:ext uri="{FF2B5EF4-FFF2-40B4-BE49-F238E27FC236}">
                    <a16:creationId xmlns:a16="http://schemas.microsoft.com/office/drawing/2014/main" id="{8446021B-15A4-4308-A5A4-09D942148D72}"/>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3" name="Rectangle : coins arrondis 201">
                <a:extLst>
                  <a:ext uri="{FF2B5EF4-FFF2-40B4-BE49-F238E27FC236}">
                    <a16:creationId xmlns:a16="http://schemas.microsoft.com/office/drawing/2014/main" id="{B5574400-C57E-435C-A73E-950604EEB583}"/>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4" name="ZoneTexte 18">
                <a:extLst>
                  <a:ext uri="{FF2B5EF4-FFF2-40B4-BE49-F238E27FC236}">
                    <a16:creationId xmlns:a16="http://schemas.microsoft.com/office/drawing/2014/main" id="{067F4629-4D50-4AEF-B6FB-D143D8A47694}"/>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35" name="Graphique 128" descr="Jauge">
                <a:extLst>
                  <a:ext uri="{FF2B5EF4-FFF2-40B4-BE49-F238E27FC236}">
                    <a16:creationId xmlns:a16="http://schemas.microsoft.com/office/drawing/2014/main" id="{3734934F-C202-48C6-ADA8-5161F4E5E4A7}"/>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8553764" y="187516"/>
                <a:ext cx="234953" cy="218224"/>
              </a:xfrm>
              <a:prstGeom prst="rect">
                <a:avLst/>
              </a:prstGeom>
              <a:effectLst/>
            </p:spPr>
          </p:pic>
          <p:pic>
            <p:nvPicPr>
              <p:cNvPr id="136" name="Graphique 90" descr="Poignée de main">
                <a:extLst>
                  <a:ext uri="{FF2B5EF4-FFF2-40B4-BE49-F238E27FC236}">
                    <a16:creationId xmlns:a16="http://schemas.microsoft.com/office/drawing/2014/main" id="{BE985F5F-0E88-4993-985B-CD348CD3F3CE}"/>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8960868" y="152880"/>
                <a:ext cx="256313" cy="287496"/>
              </a:xfrm>
              <a:prstGeom prst="rect">
                <a:avLst/>
              </a:prstGeom>
              <a:effectLst/>
            </p:spPr>
          </p:pic>
          <p:pic>
            <p:nvPicPr>
              <p:cNvPr id="137" name="Graphique 74" descr="Mégaphone">
                <a:extLst>
                  <a:ext uri="{FF2B5EF4-FFF2-40B4-BE49-F238E27FC236}">
                    <a16:creationId xmlns:a16="http://schemas.microsoft.com/office/drawing/2014/main" id="{65170F5C-4B57-4F55-8517-2F922A1282A3}"/>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9389331" y="181519"/>
                <a:ext cx="233011" cy="216420"/>
              </a:xfrm>
              <a:prstGeom prst="rect">
                <a:avLst/>
              </a:prstGeom>
              <a:effectLst/>
            </p:spPr>
          </p:pic>
          <p:pic>
            <p:nvPicPr>
              <p:cNvPr id="138" name="Picture 2" descr="Drapeau France">
                <a:extLst>
                  <a:ext uri="{FF2B5EF4-FFF2-40B4-BE49-F238E27FC236}">
                    <a16:creationId xmlns:a16="http://schemas.microsoft.com/office/drawing/2014/main" id="{E9D3FC10-9E1C-4724-AB05-6522D6EE70C6}"/>
                  </a:ext>
                </a:extLst>
              </p:cNvPr>
              <p:cNvPicPr>
                <a:picLocks noChangeAspect="1" noChangeArrowheads="1"/>
              </p:cNvPicPr>
              <p:nvPr/>
            </p:nvPicPr>
            <p:blipFill rotWithShape="1">
              <a:blip r:embed="rId40">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39" name="Picture 2" descr="5 ft x 3 ft 150 x 90 cm-DRAPEAU BELGE Belgique 100% Polyester ...">
                <a:extLst>
                  <a:ext uri="{FF2B5EF4-FFF2-40B4-BE49-F238E27FC236}">
                    <a16:creationId xmlns:a16="http://schemas.microsoft.com/office/drawing/2014/main" id="{C2FA7B8C-7A27-4912-B4B5-3FE470FD8EB0}"/>
                  </a:ext>
                </a:extLst>
              </p:cNvPr>
              <p:cNvPicPr>
                <a:picLocks noChangeAspect="1" noChangeArrowheads="1"/>
              </p:cNvPicPr>
              <p:nvPr/>
            </p:nvPicPr>
            <p:blipFill rotWithShape="1">
              <a:blip r:embed="rId41">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40" name="Picture 2 - 1" descr="Drapeau des Pays-Bas — Wikipédia">
                <a:extLst>
                  <a:ext uri="{FF2B5EF4-FFF2-40B4-BE49-F238E27FC236}">
                    <a16:creationId xmlns:a16="http://schemas.microsoft.com/office/drawing/2014/main" id="{B464E345-FFDF-4C3F-A396-3EEF92B09716}"/>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41" name="Picture 2 - 2" descr="Drapeau du Luxembourg">
                <a:extLst>
                  <a:ext uri="{FF2B5EF4-FFF2-40B4-BE49-F238E27FC236}">
                    <a16:creationId xmlns:a16="http://schemas.microsoft.com/office/drawing/2014/main" id="{BBC3EB21-C487-4F5C-B2BA-DBC7457C7A6F}"/>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110" name="ZoneTexte 18">
              <a:extLst>
                <a:ext uri="{FF2B5EF4-FFF2-40B4-BE49-F238E27FC236}">
                  <a16:creationId xmlns:a16="http://schemas.microsoft.com/office/drawing/2014/main" id="{69D3E9AD-8855-4592-B164-29330672FFCB}"/>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cxnSp>
        <p:nvCxnSpPr>
          <p:cNvPr id="157" name="Straight Connector 13">
            <a:extLst>
              <a:ext uri="{FF2B5EF4-FFF2-40B4-BE49-F238E27FC236}">
                <a16:creationId xmlns:a16="http://schemas.microsoft.com/office/drawing/2014/main" id="{3912AADB-93F0-4226-98E8-CCD4F27BFFE4}"/>
              </a:ext>
            </a:extLst>
          </p:cNvPr>
          <p:cNvCxnSpPr>
            <a:cxnSpLocks/>
          </p:cNvCxnSpPr>
          <p:nvPr/>
        </p:nvCxnSpPr>
        <p:spPr bwMode="auto">
          <a:xfrm flipH="1" flipV="1">
            <a:off x="1657670" y="4197226"/>
            <a:ext cx="7723825" cy="0"/>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150" name="Arrow: Left-Right 68">
            <a:extLst>
              <a:ext uri="{FF2B5EF4-FFF2-40B4-BE49-F238E27FC236}">
                <a16:creationId xmlns:a16="http://schemas.microsoft.com/office/drawing/2014/main" id="{A17A2065-946F-4282-BF0E-BF2A29568772}"/>
              </a:ext>
            </a:extLst>
          </p:cNvPr>
          <p:cNvSpPr/>
          <p:nvPr/>
        </p:nvSpPr>
        <p:spPr bwMode="auto">
          <a:xfrm rot="7992247">
            <a:off x="3964282" y="4079917"/>
            <a:ext cx="741223" cy="141437"/>
          </a:xfrm>
          <a:prstGeom prst="leftRightArrow">
            <a:avLst/>
          </a:prstGeom>
          <a:solidFill>
            <a:schemeClr val="tx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51" name="Groupe 127">
            <a:extLst>
              <a:ext uri="{FF2B5EF4-FFF2-40B4-BE49-F238E27FC236}">
                <a16:creationId xmlns:a16="http://schemas.microsoft.com/office/drawing/2014/main" id="{1A10B1C4-1DE0-4E3E-9D4D-D264816F29F2}"/>
              </a:ext>
            </a:extLst>
          </p:cNvPr>
          <p:cNvGrpSpPr>
            <a:grpSpLocks noChangeAspect="1"/>
          </p:cNvGrpSpPr>
          <p:nvPr/>
        </p:nvGrpSpPr>
        <p:grpSpPr>
          <a:xfrm>
            <a:off x="4152938" y="3990111"/>
            <a:ext cx="342827" cy="337493"/>
            <a:chOff x="-724464" y="3766107"/>
            <a:chExt cx="217146" cy="213766"/>
          </a:xfrm>
        </p:grpSpPr>
        <p:sp>
          <p:nvSpPr>
            <p:cNvPr id="152" name="Ellipse 128">
              <a:extLst>
                <a:ext uri="{FF2B5EF4-FFF2-40B4-BE49-F238E27FC236}">
                  <a16:creationId xmlns:a16="http://schemas.microsoft.com/office/drawing/2014/main" id="{2DFBD1B0-5249-4379-BB19-3027D2016888}"/>
                </a:ext>
              </a:extLst>
            </p:cNvPr>
            <p:cNvSpPr/>
            <p:nvPr/>
          </p:nvSpPr>
          <p:spPr bwMode="auto">
            <a:xfrm>
              <a:off x="-724464" y="3766107"/>
              <a:ext cx="217146" cy="213766"/>
            </a:xfrm>
            <a:prstGeom prst="ellipse">
              <a:avLst/>
            </a:prstGeom>
            <a:solidFill>
              <a:schemeClr val="bg1"/>
            </a:solidFill>
            <a:ln w="317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53" name="Graphique 132">
              <a:extLst>
                <a:ext uri="{FF2B5EF4-FFF2-40B4-BE49-F238E27FC236}">
                  <a16:creationId xmlns:a16="http://schemas.microsoft.com/office/drawing/2014/main" id="{E26184E9-086C-4C88-B290-AE64A15B982A}"/>
                </a:ext>
              </a:extLst>
            </p:cNvPr>
            <p:cNvPicPr>
              <a:picLocks noChangeAspect="1"/>
            </p:cNvPicPr>
            <p:nvPr/>
          </p:nvPicPr>
          <p:blipFill rotWithShape="1">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t="11892" b="32564"/>
            <a:stretch/>
          </p:blipFill>
          <p:spPr>
            <a:xfrm>
              <a:off x="-691765" y="3824794"/>
              <a:ext cx="151748" cy="106203"/>
            </a:xfrm>
            <a:prstGeom prst="rect">
              <a:avLst/>
            </a:prstGeom>
          </p:spPr>
        </p:pic>
      </p:grpSp>
      <p:sp>
        <p:nvSpPr>
          <p:cNvPr id="159" name="Rectangle 158">
            <a:extLst>
              <a:ext uri="{FF2B5EF4-FFF2-40B4-BE49-F238E27FC236}">
                <a16:creationId xmlns:a16="http://schemas.microsoft.com/office/drawing/2014/main" id="{B9E766AB-88EC-4924-931D-7C82E76216C3}"/>
              </a:ext>
            </a:extLst>
          </p:cNvPr>
          <p:cNvSpPr/>
          <p:nvPr/>
        </p:nvSpPr>
        <p:spPr bwMode="auto">
          <a:xfrm>
            <a:off x="1593230" y="1732445"/>
            <a:ext cx="2150944" cy="875470"/>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a:latin typeface="Trebuchet MS" panose="020B0603020202020204" pitchFamily="34" charset="0"/>
              </a:rPr>
              <a:t>Compliance &amp; legal documents data providers offer </a:t>
            </a:r>
            <a:r>
              <a:rPr lang="en-GB" sz="900">
                <a:solidFill>
                  <a:schemeClr val="tx2"/>
                </a:solidFill>
                <a:latin typeface="Trebuchet MS" panose="020B0603020202020204" pitchFamily="34" charset="0"/>
              </a:rPr>
              <a:t>consolidated</a:t>
            </a:r>
            <a:r>
              <a:rPr lang="en-GB" sz="900">
                <a:latin typeface="Trebuchet MS" panose="020B0603020202020204" pitchFamily="34" charset="0"/>
              </a:rPr>
              <a:t> </a:t>
            </a:r>
            <a:r>
              <a:rPr lang="en-GB" sz="900">
                <a:solidFill>
                  <a:schemeClr val="tx2"/>
                </a:solidFill>
                <a:latin typeface="Trebuchet MS" panose="020B0603020202020204" pitchFamily="34" charset="0"/>
              </a:rPr>
              <a:t>lists</a:t>
            </a:r>
            <a:r>
              <a:rPr lang="en-GB" sz="900">
                <a:latin typeface="Trebuchet MS" panose="020B0603020202020204" pitchFamily="34" charset="0"/>
              </a:rPr>
              <a:t> of </a:t>
            </a:r>
            <a:r>
              <a:rPr lang="en-GB" sz="900">
                <a:solidFill>
                  <a:schemeClr val="tx2"/>
                </a:solidFill>
                <a:latin typeface="Trebuchet MS" panose="020B0603020202020204" pitchFamily="34" charset="0"/>
              </a:rPr>
              <a:t>PEPs</a:t>
            </a:r>
            <a:r>
              <a:rPr lang="en-GB" sz="900">
                <a:latin typeface="Trebuchet MS" panose="020B0603020202020204" pitchFamily="34" charset="0"/>
              </a:rPr>
              <a:t> and of current and past sanctions on corporations and individuals</a:t>
            </a:r>
          </a:p>
        </p:txBody>
      </p:sp>
      <p:sp>
        <p:nvSpPr>
          <p:cNvPr id="160" name="Rectangle 159">
            <a:extLst>
              <a:ext uri="{FF2B5EF4-FFF2-40B4-BE49-F238E27FC236}">
                <a16:creationId xmlns:a16="http://schemas.microsoft.com/office/drawing/2014/main" id="{11FD22C4-B7CD-42CA-8FE4-CB109E449E4B}"/>
              </a:ext>
            </a:extLst>
          </p:cNvPr>
          <p:cNvSpPr/>
          <p:nvPr/>
        </p:nvSpPr>
        <p:spPr bwMode="auto">
          <a:xfrm>
            <a:off x="4456369" y="1732445"/>
            <a:ext cx="2150944" cy="875470"/>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i="1">
                <a:solidFill>
                  <a:schemeClr val="tx2"/>
                </a:solidFill>
                <a:latin typeface="Trebuchet MS" panose="020B0603020202020204" pitchFamily="34" charset="0"/>
              </a:rPr>
              <a:t>BD&amp;A incumbents </a:t>
            </a:r>
            <a:r>
              <a:rPr lang="en-GB" sz="900">
                <a:latin typeface="Trebuchet MS" panose="020B0603020202020204" pitchFamily="34" charset="0"/>
              </a:rPr>
              <a:t>offer UBOs and PEPs identification services </a:t>
            </a:r>
            <a:r>
              <a:rPr lang="en-GB" sz="900">
                <a:solidFill>
                  <a:schemeClr val="tx2"/>
                </a:solidFill>
                <a:latin typeface="Trebuchet MS" panose="020B0603020202020204" pitchFamily="34" charset="0"/>
              </a:rPr>
              <a:t>leveraging</a:t>
            </a:r>
            <a:r>
              <a:rPr lang="en-GB" sz="900">
                <a:latin typeface="Trebuchet MS" panose="020B0603020202020204" pitchFamily="34" charset="0"/>
              </a:rPr>
              <a:t> their </a:t>
            </a:r>
            <a:r>
              <a:rPr lang="en-GB" sz="900">
                <a:solidFill>
                  <a:schemeClr val="tx2"/>
                </a:solidFill>
                <a:latin typeface="Trebuchet MS" panose="020B0603020202020204" pitchFamily="34" charset="0"/>
              </a:rPr>
              <a:t>database</a:t>
            </a:r>
            <a:r>
              <a:rPr lang="en-GB" sz="900">
                <a:latin typeface="Trebuchet MS" panose="020B0603020202020204" pitchFamily="34" charset="0"/>
              </a:rPr>
              <a:t> and their </a:t>
            </a:r>
            <a:r>
              <a:rPr lang="en-GB" sz="900">
                <a:solidFill>
                  <a:schemeClr val="tx2"/>
                </a:solidFill>
                <a:latin typeface="Trebuchet MS" panose="020B0603020202020204" pitchFamily="34" charset="0"/>
              </a:rPr>
              <a:t>expertise</a:t>
            </a:r>
            <a:r>
              <a:rPr lang="en-GB" sz="900">
                <a:latin typeface="Trebuchet MS" panose="020B0603020202020204" pitchFamily="34" charset="0"/>
              </a:rPr>
              <a:t> in </a:t>
            </a:r>
            <a:r>
              <a:rPr lang="en-GB" sz="900">
                <a:solidFill>
                  <a:schemeClr val="tx2"/>
                </a:solidFill>
                <a:latin typeface="Trebuchet MS" panose="020B0603020202020204" pitchFamily="34" charset="0"/>
              </a:rPr>
              <a:t>data</a:t>
            </a:r>
            <a:r>
              <a:rPr lang="en-GB" sz="900">
                <a:latin typeface="Trebuchet MS" panose="020B0603020202020204" pitchFamily="34" charset="0"/>
              </a:rPr>
              <a:t> </a:t>
            </a:r>
            <a:r>
              <a:rPr lang="en-GB" sz="900">
                <a:solidFill>
                  <a:schemeClr val="tx2"/>
                </a:solidFill>
                <a:latin typeface="Trebuchet MS" panose="020B0603020202020204" pitchFamily="34" charset="0"/>
              </a:rPr>
              <a:t>collection</a:t>
            </a:r>
            <a:r>
              <a:rPr lang="en-GB" sz="900">
                <a:latin typeface="Trebuchet MS" panose="020B0603020202020204" pitchFamily="34" charset="0"/>
              </a:rPr>
              <a:t> and thanks to partnerships with international compliance databases</a:t>
            </a:r>
          </a:p>
        </p:txBody>
      </p:sp>
      <p:sp>
        <p:nvSpPr>
          <p:cNvPr id="161" name="Rectangle 160">
            <a:extLst>
              <a:ext uri="{FF2B5EF4-FFF2-40B4-BE49-F238E27FC236}">
                <a16:creationId xmlns:a16="http://schemas.microsoft.com/office/drawing/2014/main" id="{BDB95085-8BE5-4A53-971E-2C30D51783DF}"/>
              </a:ext>
            </a:extLst>
          </p:cNvPr>
          <p:cNvSpPr/>
          <p:nvPr/>
        </p:nvSpPr>
        <p:spPr bwMode="auto">
          <a:xfrm>
            <a:off x="7086069" y="1741970"/>
            <a:ext cx="2670283" cy="875470"/>
          </a:xfrm>
          <a:prstGeom prst="rect">
            <a:avLst/>
          </a:prstGeom>
          <a:noFill/>
          <a:ln w="9525" cap="flat" cmpd="sng" algn="ctr">
            <a:noFill/>
            <a:prstDash val="dash"/>
            <a:round/>
            <a:headEnd type="none" w="med" len="med"/>
            <a:tailEnd type="none" w="med" len="med"/>
          </a:ln>
          <a:effectLst/>
        </p:spPr>
        <p:txBody>
          <a:bodyPr vert="horz" wrap="square" lIns="0" tIns="3600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dirty="0">
                <a:latin typeface="Trebuchet MS" panose="020B0603020202020204" pitchFamily="34" charset="0"/>
              </a:rPr>
              <a:t>Specialized compliance consulting </a:t>
            </a:r>
            <a:r>
              <a:rPr kumimoji="0" lang="en-GB" sz="900" b="0" i="0" u="none" strike="noStrike" cap="none" normalizeH="0" baseline="0" dirty="0">
                <a:ln>
                  <a:noFill/>
                </a:ln>
                <a:effectLst/>
                <a:latin typeface="Trebuchet MS" panose="020B0603020202020204" pitchFamily="34" charset="0"/>
              </a:rPr>
              <a:t>players are offering the </a:t>
            </a:r>
            <a:r>
              <a:rPr kumimoji="0" lang="en-GB" sz="900" b="0" i="0" u="none" strike="noStrike" cap="none" normalizeH="0" baseline="0" dirty="0">
                <a:ln>
                  <a:noFill/>
                </a:ln>
                <a:solidFill>
                  <a:schemeClr val="tx2"/>
                </a:solidFill>
                <a:effectLst/>
                <a:latin typeface="Trebuchet MS" panose="020B0603020202020204" pitchFamily="34" charset="0"/>
              </a:rPr>
              <a:t>externalization</a:t>
            </a:r>
            <a:r>
              <a:rPr kumimoji="0" lang="en-GB" sz="900" b="0" i="0" u="none" strike="noStrike" cap="none" normalizeH="0" baseline="0" dirty="0">
                <a:ln>
                  <a:noFill/>
                </a:ln>
                <a:effectLst/>
                <a:latin typeface="Trebuchet MS" panose="020B0603020202020204" pitchFamily="34" charset="0"/>
              </a:rPr>
              <a:t> of </a:t>
            </a:r>
            <a:r>
              <a:rPr kumimoji="0" lang="en-GB" sz="900" b="0" i="0" u="none" strike="noStrike" cap="none" normalizeH="0" baseline="0" dirty="0">
                <a:ln>
                  <a:noFill/>
                </a:ln>
                <a:solidFill>
                  <a:schemeClr val="tx2"/>
                </a:solidFill>
                <a:effectLst/>
                <a:latin typeface="Trebuchet MS" panose="020B0603020202020204" pitchFamily="34" charset="0"/>
              </a:rPr>
              <a:t>corporate</a:t>
            </a:r>
            <a:r>
              <a:rPr kumimoji="0" lang="en-GB" sz="900" b="0" i="0" u="none" strike="noStrike" cap="none" normalizeH="0" baseline="0" dirty="0">
                <a:ln>
                  <a:noFill/>
                </a:ln>
                <a:effectLst/>
                <a:latin typeface="Trebuchet MS" panose="020B0603020202020204" pitchFamily="34" charset="0"/>
              </a:rPr>
              <a:t> </a:t>
            </a:r>
            <a:r>
              <a:rPr kumimoji="0" lang="en-GB" sz="900" b="0" i="0" u="none" strike="noStrike" cap="none" normalizeH="0" baseline="0" dirty="0">
                <a:ln>
                  <a:noFill/>
                </a:ln>
                <a:solidFill>
                  <a:schemeClr val="tx2"/>
                </a:solidFill>
                <a:effectLst/>
                <a:latin typeface="Trebuchet MS" panose="020B0603020202020204" pitchFamily="34" charset="0"/>
              </a:rPr>
              <a:t>compliance</a:t>
            </a:r>
            <a:r>
              <a:rPr kumimoji="0" lang="en-GB" sz="900" b="0" i="0" u="none" strike="noStrike" cap="none" normalizeH="0" baseline="0" dirty="0">
                <a:ln>
                  <a:noFill/>
                </a:ln>
                <a:effectLst/>
                <a:latin typeface="Trebuchet MS" panose="020B0603020202020204" pitchFamily="34" charset="0"/>
              </a:rPr>
              <a:t> </a:t>
            </a:r>
            <a:r>
              <a:rPr kumimoji="0" lang="en-GB" sz="900" b="0" i="0" u="none" strike="noStrike" cap="none" normalizeH="0" baseline="0" dirty="0">
                <a:ln>
                  <a:noFill/>
                </a:ln>
                <a:solidFill>
                  <a:schemeClr val="tx2"/>
                </a:solidFill>
                <a:effectLst/>
                <a:latin typeface="Trebuchet MS" panose="020B0603020202020204" pitchFamily="34" charset="0"/>
              </a:rPr>
              <a:t>management</a:t>
            </a:r>
            <a:r>
              <a:rPr kumimoji="0" lang="en-GB" sz="900" b="0" i="0" u="none" strike="noStrike" cap="none" normalizeH="0" baseline="0" dirty="0">
                <a:ln>
                  <a:noFill/>
                </a:ln>
                <a:effectLst/>
                <a:latin typeface="Trebuchet MS" panose="020B0603020202020204" pitchFamily="34" charset="0"/>
              </a:rPr>
              <a:t> </a:t>
            </a:r>
            <a:r>
              <a:rPr kumimoji="0" lang="en-GB" sz="900" b="0" i="0" u="none" strike="noStrike" cap="none" normalizeH="0" baseline="0" dirty="0">
                <a:ln>
                  <a:noFill/>
                </a:ln>
                <a:solidFill>
                  <a:schemeClr val="tx2"/>
                </a:solidFill>
                <a:effectLst/>
                <a:latin typeface="Trebuchet MS" panose="020B0603020202020204" pitchFamily="34" charset="0"/>
              </a:rPr>
              <a:t>processes</a:t>
            </a:r>
            <a:r>
              <a:rPr kumimoji="0" lang="en-GB" sz="900" b="0" i="0" u="none" strike="noStrike" cap="none" normalizeH="0" baseline="0" dirty="0">
                <a:ln>
                  <a:noFill/>
                </a:ln>
                <a:effectLst/>
                <a:latin typeface="Trebuchet MS" panose="020B0603020202020204" pitchFamily="34" charset="0"/>
              </a:rPr>
              <a:t>, in particular linked to </a:t>
            </a:r>
            <a:r>
              <a:rPr kumimoji="0" lang="en-GB" sz="900" b="0" i="0" u="none" strike="noStrike" cap="none" normalizeH="0" baseline="0" dirty="0" err="1">
                <a:ln>
                  <a:noFill/>
                </a:ln>
                <a:effectLst/>
                <a:latin typeface="Trebuchet MS" panose="020B0603020202020204" pitchFamily="34" charset="0"/>
              </a:rPr>
              <a:t>Sapin</a:t>
            </a:r>
            <a:r>
              <a:rPr kumimoji="0" lang="en-GB" sz="900" b="0" i="0" u="none" strike="noStrike" cap="none" normalizeH="0" baseline="0" dirty="0">
                <a:ln>
                  <a:noFill/>
                </a:ln>
                <a:effectLst/>
                <a:latin typeface="Trebuchet MS" panose="020B0603020202020204" pitchFamily="34" charset="0"/>
              </a:rPr>
              <a:t> II law in France</a:t>
            </a:r>
          </a:p>
          <a:p>
            <a:pPr marL="0" marR="0" indent="0" algn="ctr" defTabSz="914400" rtl="0" eaLnBrk="1" fontAlgn="base" latinLnBrk="0" hangingPunct="1">
              <a:lnSpc>
                <a:spcPct val="100000"/>
              </a:lnSpc>
              <a:spcBef>
                <a:spcPct val="0"/>
              </a:spcBef>
              <a:spcAft>
                <a:spcPct val="0"/>
              </a:spcAft>
              <a:buClrTx/>
              <a:buSzTx/>
              <a:buFontTx/>
              <a:buNone/>
              <a:tabLst/>
            </a:pPr>
            <a:endParaRPr lang="en-GB" sz="900" dirty="0">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lang="en-GB" sz="900" dirty="0">
                <a:latin typeface="Trebuchet MS" panose="020B0603020202020204" pitchFamily="34" charset="0"/>
              </a:rPr>
              <a:t>These players are </a:t>
            </a:r>
            <a:r>
              <a:rPr lang="en-GB" sz="900" dirty="0">
                <a:solidFill>
                  <a:schemeClr val="tx2"/>
                </a:solidFill>
                <a:latin typeface="Trebuchet MS" panose="020B0603020202020204" pitchFamily="34" charset="0"/>
              </a:rPr>
              <a:t>key prescribers of BD&amp;A offerings</a:t>
            </a:r>
            <a:endParaRPr kumimoji="0" lang="en-GB" sz="900" b="0" i="0" u="none" strike="noStrike" cap="none" normalizeH="0" baseline="0" dirty="0">
              <a:ln>
                <a:noFill/>
              </a:ln>
              <a:solidFill>
                <a:schemeClr val="tx2"/>
              </a:solidFill>
              <a:effectLst/>
              <a:latin typeface="Trebuchet MS" panose="020B0603020202020204" pitchFamily="34" charset="0"/>
            </a:endParaRPr>
          </a:p>
        </p:txBody>
      </p:sp>
      <p:sp>
        <p:nvSpPr>
          <p:cNvPr id="162" name="Arrow: Left-Right 68">
            <a:extLst>
              <a:ext uri="{FF2B5EF4-FFF2-40B4-BE49-F238E27FC236}">
                <a16:creationId xmlns:a16="http://schemas.microsoft.com/office/drawing/2014/main" id="{26852FBC-5DC8-4480-BF36-069D0E40851C}"/>
              </a:ext>
            </a:extLst>
          </p:cNvPr>
          <p:cNvSpPr/>
          <p:nvPr/>
        </p:nvSpPr>
        <p:spPr bwMode="auto">
          <a:xfrm>
            <a:off x="6445565" y="2912754"/>
            <a:ext cx="1010141" cy="167673"/>
          </a:xfrm>
          <a:prstGeom prst="leftRightArrow">
            <a:avLst/>
          </a:prstGeom>
          <a:solidFill>
            <a:schemeClr val="tx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63" name="Groupe 127">
            <a:extLst>
              <a:ext uri="{FF2B5EF4-FFF2-40B4-BE49-F238E27FC236}">
                <a16:creationId xmlns:a16="http://schemas.microsoft.com/office/drawing/2014/main" id="{6E083628-ED4E-48A0-9088-67832A66EB45}"/>
              </a:ext>
            </a:extLst>
          </p:cNvPr>
          <p:cNvGrpSpPr>
            <a:grpSpLocks noChangeAspect="1"/>
          </p:cNvGrpSpPr>
          <p:nvPr/>
        </p:nvGrpSpPr>
        <p:grpSpPr>
          <a:xfrm>
            <a:off x="6778351" y="2820100"/>
            <a:ext cx="342827" cy="337493"/>
            <a:chOff x="-724464" y="3766107"/>
            <a:chExt cx="217146" cy="213766"/>
          </a:xfrm>
        </p:grpSpPr>
        <p:sp>
          <p:nvSpPr>
            <p:cNvPr id="164" name="Ellipse 128">
              <a:extLst>
                <a:ext uri="{FF2B5EF4-FFF2-40B4-BE49-F238E27FC236}">
                  <a16:creationId xmlns:a16="http://schemas.microsoft.com/office/drawing/2014/main" id="{4872C8EF-37E1-40E7-82CA-5659802E0ABD}"/>
                </a:ext>
              </a:extLst>
            </p:cNvPr>
            <p:cNvSpPr/>
            <p:nvPr/>
          </p:nvSpPr>
          <p:spPr bwMode="auto">
            <a:xfrm>
              <a:off x="-724464" y="3766107"/>
              <a:ext cx="217146" cy="213766"/>
            </a:xfrm>
            <a:prstGeom prst="ellipse">
              <a:avLst/>
            </a:prstGeom>
            <a:solidFill>
              <a:schemeClr val="bg1"/>
            </a:solidFill>
            <a:ln w="317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65" name="Graphique 132">
              <a:extLst>
                <a:ext uri="{FF2B5EF4-FFF2-40B4-BE49-F238E27FC236}">
                  <a16:creationId xmlns:a16="http://schemas.microsoft.com/office/drawing/2014/main" id="{2302A2E5-650E-4EC4-8487-97BE8496D2D2}"/>
                </a:ext>
              </a:extLst>
            </p:cNvPr>
            <p:cNvPicPr>
              <a:picLocks noChangeAspect="1"/>
            </p:cNvPicPr>
            <p:nvPr/>
          </p:nvPicPr>
          <p:blipFill rotWithShape="1">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t="11892" b="32564"/>
            <a:stretch/>
          </p:blipFill>
          <p:spPr>
            <a:xfrm>
              <a:off x="-691765" y="3824794"/>
              <a:ext cx="151748" cy="106203"/>
            </a:xfrm>
            <a:prstGeom prst="rect">
              <a:avLst/>
            </a:prstGeom>
          </p:spPr>
        </p:pic>
      </p:grpSp>
      <p:sp>
        <p:nvSpPr>
          <p:cNvPr id="142" name="Arrow: Left-Right 68">
            <a:extLst>
              <a:ext uri="{FF2B5EF4-FFF2-40B4-BE49-F238E27FC236}">
                <a16:creationId xmlns:a16="http://schemas.microsoft.com/office/drawing/2014/main" id="{3E966304-61B9-4E15-ABB7-2CBB9DEBFCB3}"/>
              </a:ext>
            </a:extLst>
          </p:cNvPr>
          <p:cNvSpPr/>
          <p:nvPr/>
        </p:nvSpPr>
        <p:spPr bwMode="auto">
          <a:xfrm>
            <a:off x="1165256" y="3379939"/>
            <a:ext cx="3447295" cy="141959"/>
          </a:xfrm>
          <a:prstGeom prst="leftRightArrow">
            <a:avLst/>
          </a:prstGeom>
          <a:solidFill>
            <a:schemeClr val="tx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81" name="Groupe 80">
            <a:extLst>
              <a:ext uri="{FF2B5EF4-FFF2-40B4-BE49-F238E27FC236}">
                <a16:creationId xmlns:a16="http://schemas.microsoft.com/office/drawing/2014/main" id="{D418D1EB-0E49-4B18-8A53-D5DE7F6F2483}"/>
              </a:ext>
            </a:extLst>
          </p:cNvPr>
          <p:cNvGrpSpPr/>
          <p:nvPr/>
        </p:nvGrpSpPr>
        <p:grpSpPr>
          <a:xfrm>
            <a:off x="1647430" y="2709166"/>
            <a:ext cx="1980000" cy="1260000"/>
            <a:chOff x="4649029" y="2499045"/>
            <a:chExt cx="1980000" cy="1260000"/>
          </a:xfrm>
        </p:grpSpPr>
        <p:sp>
          <p:nvSpPr>
            <p:cNvPr id="18" name="Ellipse 129">
              <a:extLst>
                <a:ext uri="{FF2B5EF4-FFF2-40B4-BE49-F238E27FC236}">
                  <a16:creationId xmlns:a16="http://schemas.microsoft.com/office/drawing/2014/main" id="{9D9281FF-24D4-4A9A-BA31-36475CB53E34}"/>
                </a:ext>
              </a:extLst>
            </p:cNvPr>
            <p:cNvSpPr/>
            <p:nvPr/>
          </p:nvSpPr>
          <p:spPr bwMode="auto">
            <a:xfrm>
              <a:off x="4649029" y="2499045"/>
              <a:ext cx="1980000" cy="1260000"/>
            </a:xfrm>
            <a:prstGeom prst="roundRect">
              <a:avLst/>
            </a:prstGeom>
            <a:solidFill>
              <a:schemeClr val="bg1"/>
            </a:solidFill>
            <a:ln w="9525" cap="flat" cmpd="sng" algn="ctr">
              <a:solidFill>
                <a:schemeClr val="accent4"/>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pic>
          <p:nvPicPr>
            <p:cNvPr id="19" name="Picture 16" descr="RÃ©sultat de recherche d'images pour &quot;refinitiv&quot;">
              <a:extLst>
                <a:ext uri="{FF2B5EF4-FFF2-40B4-BE49-F238E27FC236}">
                  <a16:creationId xmlns:a16="http://schemas.microsoft.com/office/drawing/2014/main" id="{3A8C12A6-54DA-400B-A3DA-9A6E2A6ABCB8}"/>
                </a:ext>
              </a:extLst>
            </p:cNvPr>
            <p:cNvPicPr>
              <a:picLocks noChangeAspect="1" noChangeArrowheads="1"/>
            </p:cNvPicPr>
            <p:nvPr/>
          </p:nvPicPr>
          <p:blipFill>
            <a:blip r:embed="rId44">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5641475" y="3176485"/>
              <a:ext cx="752036" cy="170197"/>
            </a:xfrm>
            <a:prstGeom prst="rect">
              <a:avLst/>
            </a:prstGeom>
            <a:solidFill>
              <a:schemeClr val="bg1"/>
            </a:solidFill>
          </p:spPr>
        </p:pic>
        <p:pic>
          <p:nvPicPr>
            <p:cNvPr id="21" name="Picture 283" descr="LexisNexis">
              <a:extLst>
                <a:ext uri="{FF2B5EF4-FFF2-40B4-BE49-F238E27FC236}">
                  <a16:creationId xmlns:a16="http://schemas.microsoft.com/office/drawing/2014/main" id="{7F720745-46A6-40D6-A1C5-756F01261B2A}"/>
                </a:ext>
              </a:extLst>
            </p:cNvPr>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5292648" y="2918555"/>
              <a:ext cx="867948" cy="189605"/>
            </a:xfrm>
            <a:prstGeom prst="rect">
              <a:avLst/>
            </a:prstGeom>
            <a:solidFill>
              <a:schemeClr val="bg1"/>
            </a:solidFill>
          </p:spPr>
        </p:pic>
        <p:pic>
          <p:nvPicPr>
            <p:cNvPr id="22" name="Picture 15" descr="RÃ©sultat de recherche d'images pour &quot;acuris&quot;">
              <a:extLst>
                <a:ext uri="{FF2B5EF4-FFF2-40B4-BE49-F238E27FC236}">
                  <a16:creationId xmlns:a16="http://schemas.microsoft.com/office/drawing/2014/main" id="{FC7171CC-2B8C-4EAA-8951-591909C2FCE3}"/>
                </a:ext>
              </a:extLst>
            </p:cNvPr>
            <p:cNvPicPr>
              <a:picLocks noChangeAspect="1" noChangeArrowheads="1"/>
            </p:cNvPicPr>
            <p:nvPr/>
          </p:nvPicPr>
          <p:blipFill>
            <a:blip r:embed="rId4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80946" y="3324187"/>
              <a:ext cx="802069" cy="30058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A close up of a logo&#10;&#10;Description automatically generated">
              <a:extLst>
                <a:ext uri="{FF2B5EF4-FFF2-40B4-BE49-F238E27FC236}">
                  <a16:creationId xmlns:a16="http://schemas.microsoft.com/office/drawing/2014/main" id="{9AAF3B53-CB3C-42F3-B2A8-DC300781A2FE}"/>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4767252" y="3066305"/>
              <a:ext cx="819026" cy="432538"/>
            </a:xfrm>
            <a:prstGeom prst="rect">
              <a:avLst/>
            </a:prstGeom>
          </p:spPr>
        </p:pic>
        <p:sp>
          <p:nvSpPr>
            <p:cNvPr id="63" name="Rectangle 62">
              <a:extLst>
                <a:ext uri="{FF2B5EF4-FFF2-40B4-BE49-F238E27FC236}">
                  <a16:creationId xmlns:a16="http://schemas.microsoft.com/office/drawing/2014/main" id="{D7346241-4023-409A-83C0-666A4A9D333F}"/>
                </a:ext>
              </a:extLst>
            </p:cNvPr>
            <p:cNvSpPr/>
            <p:nvPr/>
          </p:nvSpPr>
          <p:spPr bwMode="auto">
            <a:xfrm>
              <a:off x="4836252" y="2532138"/>
              <a:ext cx="1518825"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i="1">
                  <a:solidFill>
                    <a:schemeClr val="accent4"/>
                  </a:solidFill>
                  <a:latin typeface="Trebuchet MS" pitchFamily="34" charset="0"/>
                </a:rPr>
                <a:t>C</a:t>
              </a:r>
              <a:r>
                <a:rPr kumimoji="0" lang="en-GB" sz="900" b="1" i="1" u="none" strike="noStrike" cap="none" normalizeH="0" baseline="0">
                  <a:ln>
                    <a:noFill/>
                  </a:ln>
                  <a:solidFill>
                    <a:schemeClr val="accent4"/>
                  </a:solidFill>
                  <a:effectLst/>
                  <a:latin typeface="Trebuchet MS" pitchFamily="34" charset="0"/>
                </a:rPr>
                <a:t>ompliance &amp; legal documents data providers </a:t>
              </a:r>
            </a:p>
          </p:txBody>
        </p:sp>
      </p:grpSp>
      <p:sp>
        <p:nvSpPr>
          <p:cNvPr id="69" name="Arrow: Left-Right 68">
            <a:extLst>
              <a:ext uri="{FF2B5EF4-FFF2-40B4-BE49-F238E27FC236}">
                <a16:creationId xmlns:a16="http://schemas.microsoft.com/office/drawing/2014/main" id="{E5CD0C06-A0E2-4C64-9DEE-C6877F91E1F9}"/>
              </a:ext>
            </a:extLst>
          </p:cNvPr>
          <p:cNvSpPr/>
          <p:nvPr/>
        </p:nvSpPr>
        <p:spPr bwMode="auto">
          <a:xfrm>
            <a:off x="3559724" y="2912754"/>
            <a:ext cx="1010141" cy="167673"/>
          </a:xfrm>
          <a:prstGeom prst="leftRightArrow">
            <a:avLst/>
          </a:prstGeom>
          <a:solidFill>
            <a:schemeClr val="tx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72" name="Groupe 127">
            <a:extLst>
              <a:ext uri="{FF2B5EF4-FFF2-40B4-BE49-F238E27FC236}">
                <a16:creationId xmlns:a16="http://schemas.microsoft.com/office/drawing/2014/main" id="{FD0EC4D9-803B-4F50-9867-8520F0EEA438}"/>
              </a:ext>
            </a:extLst>
          </p:cNvPr>
          <p:cNvGrpSpPr>
            <a:grpSpLocks noChangeAspect="1"/>
          </p:cNvGrpSpPr>
          <p:nvPr/>
        </p:nvGrpSpPr>
        <p:grpSpPr>
          <a:xfrm>
            <a:off x="3892510" y="2820100"/>
            <a:ext cx="342827" cy="337493"/>
            <a:chOff x="-724464" y="3766107"/>
            <a:chExt cx="217146" cy="213766"/>
          </a:xfrm>
        </p:grpSpPr>
        <p:sp>
          <p:nvSpPr>
            <p:cNvPr id="73" name="Ellipse 128">
              <a:extLst>
                <a:ext uri="{FF2B5EF4-FFF2-40B4-BE49-F238E27FC236}">
                  <a16:creationId xmlns:a16="http://schemas.microsoft.com/office/drawing/2014/main" id="{04418DD6-0142-4601-B269-CCAAB2CCFBDD}"/>
                </a:ext>
              </a:extLst>
            </p:cNvPr>
            <p:cNvSpPr/>
            <p:nvPr/>
          </p:nvSpPr>
          <p:spPr bwMode="auto">
            <a:xfrm>
              <a:off x="-724464" y="3766107"/>
              <a:ext cx="217146" cy="213766"/>
            </a:xfrm>
            <a:prstGeom prst="ellipse">
              <a:avLst/>
            </a:prstGeom>
            <a:solidFill>
              <a:schemeClr val="bg1"/>
            </a:solidFill>
            <a:ln w="317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74" name="Graphique 132">
              <a:extLst>
                <a:ext uri="{FF2B5EF4-FFF2-40B4-BE49-F238E27FC236}">
                  <a16:creationId xmlns:a16="http://schemas.microsoft.com/office/drawing/2014/main" id="{66D14556-15FD-45B6-873E-953FE737502D}"/>
                </a:ext>
              </a:extLst>
            </p:cNvPr>
            <p:cNvPicPr>
              <a:picLocks noChangeAspect="1"/>
            </p:cNvPicPr>
            <p:nvPr/>
          </p:nvPicPr>
          <p:blipFill rotWithShape="1">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t="11892" b="32564"/>
            <a:stretch/>
          </p:blipFill>
          <p:spPr>
            <a:xfrm>
              <a:off x="-691765" y="3824794"/>
              <a:ext cx="151748" cy="106203"/>
            </a:xfrm>
            <a:prstGeom prst="rect">
              <a:avLst/>
            </a:prstGeom>
          </p:spPr>
        </p:pic>
      </p:grpSp>
      <p:grpSp>
        <p:nvGrpSpPr>
          <p:cNvPr id="143" name="Groupe 127">
            <a:extLst>
              <a:ext uri="{FF2B5EF4-FFF2-40B4-BE49-F238E27FC236}">
                <a16:creationId xmlns:a16="http://schemas.microsoft.com/office/drawing/2014/main" id="{47959BD5-386F-4314-8CA0-8F5677A0AB9D}"/>
              </a:ext>
            </a:extLst>
          </p:cNvPr>
          <p:cNvGrpSpPr>
            <a:grpSpLocks noChangeAspect="1"/>
          </p:cNvGrpSpPr>
          <p:nvPr/>
        </p:nvGrpSpPr>
        <p:grpSpPr>
          <a:xfrm>
            <a:off x="3908450" y="3269202"/>
            <a:ext cx="342827" cy="337493"/>
            <a:chOff x="-724464" y="3766107"/>
            <a:chExt cx="217146" cy="213766"/>
          </a:xfrm>
        </p:grpSpPr>
        <p:sp>
          <p:nvSpPr>
            <p:cNvPr id="144" name="Ellipse 128">
              <a:extLst>
                <a:ext uri="{FF2B5EF4-FFF2-40B4-BE49-F238E27FC236}">
                  <a16:creationId xmlns:a16="http://schemas.microsoft.com/office/drawing/2014/main" id="{2284F5FB-92A9-480A-9058-2849059212F6}"/>
                </a:ext>
              </a:extLst>
            </p:cNvPr>
            <p:cNvSpPr/>
            <p:nvPr/>
          </p:nvSpPr>
          <p:spPr bwMode="auto">
            <a:xfrm>
              <a:off x="-724464" y="3766107"/>
              <a:ext cx="217146" cy="213766"/>
            </a:xfrm>
            <a:prstGeom prst="ellipse">
              <a:avLst/>
            </a:prstGeom>
            <a:solidFill>
              <a:schemeClr val="bg1"/>
            </a:solidFill>
            <a:ln w="317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45" name="Graphique 132">
              <a:extLst>
                <a:ext uri="{FF2B5EF4-FFF2-40B4-BE49-F238E27FC236}">
                  <a16:creationId xmlns:a16="http://schemas.microsoft.com/office/drawing/2014/main" id="{7D8A2091-DF3E-4E4F-8708-5A3F741B9637}"/>
                </a:ext>
              </a:extLst>
            </p:cNvPr>
            <p:cNvPicPr>
              <a:picLocks noChangeAspect="1"/>
            </p:cNvPicPr>
            <p:nvPr/>
          </p:nvPicPr>
          <p:blipFill rotWithShape="1">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t="11892" b="32564"/>
            <a:stretch/>
          </p:blipFill>
          <p:spPr>
            <a:xfrm>
              <a:off x="-691765" y="3824794"/>
              <a:ext cx="151748" cy="106203"/>
            </a:xfrm>
            <a:prstGeom prst="rect">
              <a:avLst/>
            </a:prstGeom>
          </p:spPr>
        </p:pic>
      </p:grpSp>
      <p:sp>
        <p:nvSpPr>
          <p:cNvPr id="120" name="ZoneTexte 144">
            <a:extLst>
              <a:ext uri="{FF2B5EF4-FFF2-40B4-BE49-F238E27FC236}">
                <a16:creationId xmlns:a16="http://schemas.microsoft.com/office/drawing/2014/main" id="{DA2F1A23-5B70-4CA7-B136-09A0B818BF78}"/>
              </a:ext>
            </a:extLst>
          </p:cNvPr>
          <p:cNvSpPr txBox="1"/>
          <p:nvPr/>
        </p:nvSpPr>
        <p:spPr>
          <a:xfrm>
            <a:off x="1109672" y="4206306"/>
            <a:ext cx="2721692" cy="261610"/>
          </a:xfrm>
          <a:prstGeom prst="rect">
            <a:avLst/>
          </a:prstGeom>
          <a:noFill/>
        </p:spPr>
        <p:txBody>
          <a:bodyPr wrap="square" rtlCol="0">
            <a:spAutoFit/>
          </a:bodyPr>
          <a:lstStyle/>
          <a:p>
            <a:pPr algn="ctr"/>
            <a:r>
              <a:rPr lang="en-GB" sz="1100" b="1">
                <a:solidFill>
                  <a:schemeClr val="tx2"/>
                </a:solidFill>
                <a:latin typeface="Trebuchet MS" panose="020B0603020202020204" pitchFamily="34" charset="0"/>
              </a:rPr>
              <a:t>Adjacent tech-players</a:t>
            </a:r>
          </a:p>
        </p:txBody>
      </p:sp>
      <p:pic>
        <p:nvPicPr>
          <p:cNvPr id="121" name="Picture 4">
            <a:extLst>
              <a:ext uri="{FF2B5EF4-FFF2-40B4-BE49-F238E27FC236}">
                <a16:creationId xmlns:a16="http://schemas.microsoft.com/office/drawing/2014/main" id="{FB45686F-3B53-4E06-AAD3-7C0A98419020}"/>
              </a:ext>
            </a:extLst>
          </p:cNvPr>
          <p:cNvPicPr>
            <a:picLocks noChangeAspect="1" noChangeArrowheads="1"/>
          </p:cNvPicPr>
          <p:nvPr/>
        </p:nvPicPr>
        <p:blipFill>
          <a:blip r:embed="rId4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72187" y="4935804"/>
            <a:ext cx="649850" cy="476409"/>
          </a:xfrm>
          <a:prstGeom prst="rect">
            <a:avLst/>
          </a:prstGeom>
          <a:noFill/>
          <a:extLst>
            <a:ext uri="{909E8E84-426E-40DD-AFC4-6F175D3DCCD1}">
              <a14:hiddenFill xmlns:a14="http://schemas.microsoft.com/office/drawing/2010/main">
                <a:solidFill>
                  <a:srgbClr val="FFFFFF"/>
                </a:solidFill>
              </a14:hiddenFill>
            </a:ext>
          </a:extLst>
        </p:spPr>
      </p:pic>
      <p:pic>
        <p:nvPicPr>
          <p:cNvPr id="122" name="Image 121">
            <a:extLst>
              <a:ext uri="{FF2B5EF4-FFF2-40B4-BE49-F238E27FC236}">
                <a16:creationId xmlns:a16="http://schemas.microsoft.com/office/drawing/2014/main" id="{10929F8E-BA35-41C0-B3A0-64295E218261}"/>
              </a:ext>
            </a:extLst>
          </p:cNvPr>
          <p:cNvPicPr>
            <a:picLocks noChangeAspect="1"/>
          </p:cNvPicPr>
          <p:nvPr/>
        </p:nvPicPr>
        <p:blipFill>
          <a:blip r:embed="rId49">
            <a:clrChange>
              <a:clrFrom>
                <a:srgbClr val="FFFFFF"/>
              </a:clrFrom>
              <a:clrTo>
                <a:srgbClr val="FFFFFF">
                  <a:alpha val="0"/>
                </a:srgbClr>
              </a:clrTo>
            </a:clrChange>
          </a:blip>
          <a:stretch>
            <a:fillRect/>
          </a:stretch>
        </p:blipFill>
        <p:spPr>
          <a:xfrm>
            <a:off x="1638143" y="5074089"/>
            <a:ext cx="614484" cy="157090"/>
          </a:xfrm>
          <a:prstGeom prst="rect">
            <a:avLst/>
          </a:prstGeom>
        </p:spPr>
      </p:pic>
      <p:sp>
        <p:nvSpPr>
          <p:cNvPr id="123" name="ZoneTexte 122">
            <a:extLst>
              <a:ext uri="{FF2B5EF4-FFF2-40B4-BE49-F238E27FC236}">
                <a16:creationId xmlns:a16="http://schemas.microsoft.com/office/drawing/2014/main" id="{94871709-5128-4CB4-94C5-C91193B3380E}"/>
              </a:ext>
            </a:extLst>
          </p:cNvPr>
          <p:cNvSpPr txBox="1"/>
          <p:nvPr/>
        </p:nvSpPr>
        <p:spPr>
          <a:xfrm>
            <a:off x="4131953" y="4575284"/>
            <a:ext cx="646765" cy="230832"/>
          </a:xfrm>
          <a:prstGeom prst="rect">
            <a:avLst/>
          </a:prstGeom>
          <a:noFill/>
        </p:spPr>
        <p:txBody>
          <a:bodyPr wrap="square" rtlCol="0">
            <a:spAutoFit/>
          </a:bodyPr>
          <a:lstStyle/>
          <a:p>
            <a:r>
              <a:rPr lang="en-GB" sz="900" i="1">
                <a:latin typeface="Trebuchet MS" panose="020B0603020202020204" pitchFamily="34" charset="0"/>
              </a:rPr>
              <a:t>...</a:t>
            </a:r>
          </a:p>
        </p:txBody>
      </p:sp>
      <p:pic>
        <p:nvPicPr>
          <p:cNvPr id="124" name="Picture 2">
            <a:extLst>
              <a:ext uri="{FF2B5EF4-FFF2-40B4-BE49-F238E27FC236}">
                <a16:creationId xmlns:a16="http://schemas.microsoft.com/office/drawing/2014/main" id="{E725FF2F-CA02-4082-A71F-D132E99CD4BE}"/>
              </a:ext>
            </a:extLst>
          </p:cNvPr>
          <p:cNvPicPr>
            <a:picLocks noChangeAspect="1" noChangeArrowheads="1"/>
          </p:cNvPicPr>
          <p:nvPr/>
        </p:nvPicPr>
        <p:blipFill>
          <a:blip r:embed="rId5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66599" y="4941442"/>
            <a:ext cx="548249" cy="514327"/>
          </a:xfrm>
          <a:prstGeom prst="rect">
            <a:avLst/>
          </a:prstGeom>
          <a:noFill/>
          <a:extLst>
            <a:ext uri="{909E8E84-426E-40DD-AFC4-6F175D3DCCD1}">
              <a14:hiddenFill xmlns:a14="http://schemas.microsoft.com/office/drawing/2010/main">
                <a:solidFill>
                  <a:srgbClr val="FFFFFF"/>
                </a:solidFill>
              </a14:hiddenFill>
            </a:ext>
          </a:extLst>
        </p:spPr>
      </p:pic>
      <p:sp>
        <p:nvSpPr>
          <p:cNvPr id="125" name="ZoneTexte 124">
            <a:extLst>
              <a:ext uri="{FF2B5EF4-FFF2-40B4-BE49-F238E27FC236}">
                <a16:creationId xmlns:a16="http://schemas.microsoft.com/office/drawing/2014/main" id="{E56E0948-D1AF-4944-BE6F-E19F8403F927}"/>
              </a:ext>
            </a:extLst>
          </p:cNvPr>
          <p:cNvSpPr txBox="1"/>
          <p:nvPr/>
        </p:nvSpPr>
        <p:spPr>
          <a:xfrm>
            <a:off x="4148714" y="5069915"/>
            <a:ext cx="646765" cy="230832"/>
          </a:xfrm>
          <a:prstGeom prst="rect">
            <a:avLst/>
          </a:prstGeom>
          <a:noFill/>
        </p:spPr>
        <p:txBody>
          <a:bodyPr wrap="square" rtlCol="0">
            <a:spAutoFit/>
          </a:bodyPr>
          <a:lstStyle/>
          <a:p>
            <a:r>
              <a:rPr lang="en-GB" sz="900" i="1">
                <a:latin typeface="Trebuchet MS" panose="020B0603020202020204" pitchFamily="34" charset="0"/>
              </a:rPr>
              <a:t>...</a:t>
            </a:r>
          </a:p>
        </p:txBody>
      </p:sp>
      <p:pic>
        <p:nvPicPr>
          <p:cNvPr id="129" name="Graphique 37" descr="Loupe">
            <a:extLst>
              <a:ext uri="{FF2B5EF4-FFF2-40B4-BE49-F238E27FC236}">
                <a16:creationId xmlns:a16="http://schemas.microsoft.com/office/drawing/2014/main" id="{0900F99B-3129-4F35-9506-0133072D81F9}"/>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7669588" y="4564584"/>
            <a:ext cx="223174" cy="223174"/>
          </a:xfrm>
          <a:prstGeom prst="rect">
            <a:avLst/>
          </a:prstGeom>
        </p:spPr>
      </p:pic>
      <p:sp>
        <p:nvSpPr>
          <p:cNvPr id="130" name="Rectangle 129">
            <a:extLst>
              <a:ext uri="{FF2B5EF4-FFF2-40B4-BE49-F238E27FC236}">
                <a16:creationId xmlns:a16="http://schemas.microsoft.com/office/drawing/2014/main" id="{7B5FD2DA-E2C6-4E28-B739-55D3BAF13FF8}"/>
              </a:ext>
            </a:extLst>
          </p:cNvPr>
          <p:cNvSpPr/>
          <p:nvPr/>
        </p:nvSpPr>
        <p:spPr bwMode="auto">
          <a:xfrm>
            <a:off x="7393946" y="4625419"/>
            <a:ext cx="757743"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i="1" u="none" strike="noStrike" cap="none" normalizeH="0" baseline="0">
                <a:ln>
                  <a:noFill/>
                </a:ln>
                <a:solidFill>
                  <a:srgbClr val="00B0F0"/>
                </a:solidFill>
                <a:effectLst/>
                <a:latin typeface="Trebuchet MS" panose="020B0603020202020204" pitchFamily="34" charset="0"/>
              </a:rPr>
              <a:t>See infra</a:t>
            </a:r>
          </a:p>
        </p:txBody>
      </p:sp>
      <p:pic>
        <p:nvPicPr>
          <p:cNvPr id="45" name="Image 44" descr="Une image contenant portable, ordinateur&#10;&#10;Description générée automatiquement">
            <a:extLst>
              <a:ext uri="{FF2B5EF4-FFF2-40B4-BE49-F238E27FC236}">
                <a16:creationId xmlns:a16="http://schemas.microsoft.com/office/drawing/2014/main" id="{63245CB4-8406-419E-A0CD-EA13D4E3F279}"/>
              </a:ext>
            </a:extLst>
          </p:cNvPr>
          <p:cNvPicPr>
            <a:picLocks noChangeAspect="1"/>
          </p:cNvPicPr>
          <p:nvPr/>
        </p:nvPicPr>
        <p:blipFill rotWithShape="1">
          <a:blip r:embed="rId53">
            <a:extLst>
              <a:ext uri="{28A0092B-C50C-407E-A947-70E740481C1C}">
                <a14:useLocalDpi xmlns:a14="http://schemas.microsoft.com/office/drawing/2010/main" val="0"/>
              </a:ext>
            </a:extLst>
          </a:blip>
          <a:srcRect t="39494" b="39494"/>
          <a:stretch/>
        </p:blipFill>
        <p:spPr>
          <a:xfrm>
            <a:off x="5431144" y="3614114"/>
            <a:ext cx="975183" cy="153680"/>
          </a:xfrm>
          <a:prstGeom prst="rect">
            <a:avLst/>
          </a:prstGeom>
        </p:spPr>
      </p:pic>
      <p:sp>
        <p:nvSpPr>
          <p:cNvPr id="154" name="Arrow: Left-Right 68">
            <a:extLst>
              <a:ext uri="{FF2B5EF4-FFF2-40B4-BE49-F238E27FC236}">
                <a16:creationId xmlns:a16="http://schemas.microsoft.com/office/drawing/2014/main" id="{F98886B7-C722-44D9-9374-52ABE552328B}"/>
              </a:ext>
            </a:extLst>
          </p:cNvPr>
          <p:cNvSpPr/>
          <p:nvPr/>
        </p:nvSpPr>
        <p:spPr bwMode="auto">
          <a:xfrm rot="3974793">
            <a:off x="3124898" y="4056777"/>
            <a:ext cx="633037" cy="132074"/>
          </a:xfrm>
          <a:prstGeom prst="leftRightArrow">
            <a:avLst/>
          </a:prstGeom>
          <a:solidFill>
            <a:schemeClr val="tx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47" name="Groupe 127">
            <a:extLst>
              <a:ext uri="{FF2B5EF4-FFF2-40B4-BE49-F238E27FC236}">
                <a16:creationId xmlns:a16="http://schemas.microsoft.com/office/drawing/2014/main" id="{18063DCB-57E3-420E-915C-658AFD6F8C0A}"/>
              </a:ext>
            </a:extLst>
          </p:cNvPr>
          <p:cNvGrpSpPr>
            <a:grpSpLocks noChangeAspect="1"/>
          </p:cNvGrpSpPr>
          <p:nvPr/>
        </p:nvGrpSpPr>
        <p:grpSpPr>
          <a:xfrm>
            <a:off x="3293175" y="3990111"/>
            <a:ext cx="342827" cy="337493"/>
            <a:chOff x="-724464" y="3766107"/>
            <a:chExt cx="217146" cy="213766"/>
          </a:xfrm>
        </p:grpSpPr>
        <p:sp>
          <p:nvSpPr>
            <p:cNvPr id="148" name="Ellipse 128">
              <a:extLst>
                <a:ext uri="{FF2B5EF4-FFF2-40B4-BE49-F238E27FC236}">
                  <a16:creationId xmlns:a16="http://schemas.microsoft.com/office/drawing/2014/main" id="{8DE3CB61-98FB-4675-90C1-2000CDA8D717}"/>
                </a:ext>
              </a:extLst>
            </p:cNvPr>
            <p:cNvSpPr/>
            <p:nvPr/>
          </p:nvSpPr>
          <p:spPr bwMode="auto">
            <a:xfrm>
              <a:off x="-724464" y="3766107"/>
              <a:ext cx="217146" cy="213766"/>
            </a:xfrm>
            <a:prstGeom prst="ellipse">
              <a:avLst/>
            </a:prstGeom>
            <a:solidFill>
              <a:schemeClr val="bg1"/>
            </a:solidFill>
            <a:ln w="317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49" name="Graphique 132">
              <a:extLst>
                <a:ext uri="{FF2B5EF4-FFF2-40B4-BE49-F238E27FC236}">
                  <a16:creationId xmlns:a16="http://schemas.microsoft.com/office/drawing/2014/main" id="{266CF3F9-83C8-4FBB-A0EB-90B956155246}"/>
                </a:ext>
              </a:extLst>
            </p:cNvPr>
            <p:cNvPicPr>
              <a:picLocks noChangeAspect="1"/>
            </p:cNvPicPr>
            <p:nvPr/>
          </p:nvPicPr>
          <p:blipFill rotWithShape="1">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t="11892" b="32564"/>
            <a:stretch/>
          </p:blipFill>
          <p:spPr>
            <a:xfrm>
              <a:off x="-691765" y="3824794"/>
              <a:ext cx="151748" cy="106203"/>
            </a:xfrm>
            <a:prstGeom prst="rect">
              <a:avLst/>
            </a:prstGeom>
          </p:spPr>
        </p:pic>
      </p:grpSp>
      <p:pic>
        <p:nvPicPr>
          <p:cNvPr id="128" name="Image 127" descr="Une image contenant texte&#10;&#10;Description générée automatiquement">
            <a:extLst>
              <a:ext uri="{FF2B5EF4-FFF2-40B4-BE49-F238E27FC236}">
                <a16:creationId xmlns:a16="http://schemas.microsoft.com/office/drawing/2014/main" id="{2FBD9731-99F7-478D-BF9B-5E7E51DFE7FA}"/>
              </a:ext>
            </a:extLst>
          </p:cNvPr>
          <p:cNvPicPr>
            <a:picLocks noChangeAspect="1"/>
          </p:cNvPicPr>
          <p:nvPr/>
        </p:nvPicPr>
        <p:blipFill rotWithShape="1">
          <a:blip r:embed="rId54">
            <a:extLst>
              <a:ext uri="{28A0092B-C50C-407E-A947-70E740481C1C}">
                <a14:useLocalDpi xmlns:a14="http://schemas.microsoft.com/office/drawing/2010/main" val="0"/>
              </a:ext>
            </a:extLst>
          </a:blip>
          <a:srcRect t="27793" b="27793"/>
          <a:stretch/>
        </p:blipFill>
        <p:spPr>
          <a:xfrm>
            <a:off x="2245884" y="5063545"/>
            <a:ext cx="802633" cy="189381"/>
          </a:xfrm>
          <a:prstGeom prst="rect">
            <a:avLst/>
          </a:prstGeom>
        </p:spPr>
      </p:pic>
      <p:grpSp>
        <p:nvGrpSpPr>
          <p:cNvPr id="131" name="Groupe 21">
            <a:extLst>
              <a:ext uri="{FF2B5EF4-FFF2-40B4-BE49-F238E27FC236}">
                <a16:creationId xmlns:a16="http://schemas.microsoft.com/office/drawing/2014/main" id="{EFCFB90F-00D7-465C-A80E-DCF9349439E6}"/>
              </a:ext>
            </a:extLst>
          </p:cNvPr>
          <p:cNvGrpSpPr/>
          <p:nvPr/>
        </p:nvGrpSpPr>
        <p:grpSpPr>
          <a:xfrm>
            <a:off x="192881" y="5740558"/>
            <a:ext cx="451426" cy="455941"/>
            <a:chOff x="195390" y="5861727"/>
            <a:chExt cx="335805" cy="335805"/>
          </a:xfrm>
        </p:grpSpPr>
        <p:sp>
          <p:nvSpPr>
            <p:cNvPr id="132" name="Ellipse 22">
              <a:extLst>
                <a:ext uri="{FF2B5EF4-FFF2-40B4-BE49-F238E27FC236}">
                  <a16:creationId xmlns:a16="http://schemas.microsoft.com/office/drawing/2014/main" id="{011DD08F-BD70-457F-B1EC-5F0500C056AB}"/>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146" name="Group 5">
              <a:extLst>
                <a:ext uri="{FF2B5EF4-FFF2-40B4-BE49-F238E27FC236}">
                  <a16:creationId xmlns:a16="http://schemas.microsoft.com/office/drawing/2014/main" id="{09652C4D-CC34-4B66-B964-664EB49BD884}"/>
                </a:ext>
              </a:extLst>
            </p:cNvPr>
            <p:cNvGrpSpPr>
              <a:grpSpLocks noChangeAspect="1"/>
            </p:cNvGrpSpPr>
            <p:nvPr/>
          </p:nvGrpSpPr>
          <p:grpSpPr bwMode="auto">
            <a:xfrm>
              <a:off x="249663" y="5915997"/>
              <a:ext cx="227258" cy="227255"/>
              <a:chOff x="788" y="800"/>
              <a:chExt cx="742" cy="742"/>
            </a:xfrm>
            <a:solidFill>
              <a:schemeClr val="tx2"/>
            </a:solidFill>
          </p:grpSpPr>
          <p:sp>
            <p:nvSpPr>
              <p:cNvPr id="155" name="Freeform 6">
                <a:extLst>
                  <a:ext uri="{FF2B5EF4-FFF2-40B4-BE49-F238E27FC236}">
                    <a16:creationId xmlns:a16="http://schemas.microsoft.com/office/drawing/2014/main" id="{6D33DD81-4C18-4765-84B3-DFE75D718193}"/>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56" name="Freeform 7">
                <a:extLst>
                  <a:ext uri="{FF2B5EF4-FFF2-40B4-BE49-F238E27FC236}">
                    <a16:creationId xmlns:a16="http://schemas.microsoft.com/office/drawing/2014/main" id="{6C900954-0DB5-4C8A-BD0E-04B0A5D25F62}"/>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58" name="Freeform 8">
                <a:extLst>
                  <a:ext uri="{FF2B5EF4-FFF2-40B4-BE49-F238E27FC236}">
                    <a16:creationId xmlns:a16="http://schemas.microsoft.com/office/drawing/2014/main" id="{D68A345E-F222-46FB-B16A-590ABACD351C}"/>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66" name="Freeform 9">
                <a:extLst>
                  <a:ext uri="{FF2B5EF4-FFF2-40B4-BE49-F238E27FC236}">
                    <a16:creationId xmlns:a16="http://schemas.microsoft.com/office/drawing/2014/main" id="{1E7529EF-C5DA-4A19-AC6D-0CFEA00729A3}"/>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67" name="Freeform 10">
                <a:extLst>
                  <a:ext uri="{FF2B5EF4-FFF2-40B4-BE49-F238E27FC236}">
                    <a16:creationId xmlns:a16="http://schemas.microsoft.com/office/drawing/2014/main" id="{20B3CD08-AD98-441D-8C9E-C8306D0D45A1}"/>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68" name="Freeform 11">
                <a:extLst>
                  <a:ext uri="{FF2B5EF4-FFF2-40B4-BE49-F238E27FC236}">
                    <a16:creationId xmlns:a16="http://schemas.microsoft.com/office/drawing/2014/main" id="{F4691E45-A9BE-46F8-9FEE-0E20043E08FE}"/>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69" name="Freeform 12">
                <a:extLst>
                  <a:ext uri="{FF2B5EF4-FFF2-40B4-BE49-F238E27FC236}">
                    <a16:creationId xmlns:a16="http://schemas.microsoft.com/office/drawing/2014/main" id="{65F1561C-6F2F-482B-850A-B9A9F63AE513}"/>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spTree>
    <p:extLst>
      <p:ext uri="{BB962C8B-B14F-4D97-AF65-F5344CB8AC3E}">
        <p14:creationId xmlns:p14="http://schemas.microsoft.com/office/powerpoint/2010/main" val="747328579"/>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0BA3694-E559-4BD8-B30F-49F93995F5E2}"/>
              </a:ext>
            </a:extLst>
          </p:cNvPr>
          <p:cNvGraphicFramePr>
            <a:graphicFrameLocks noChangeAspect="1"/>
          </p:cNvGraphicFramePr>
          <p:nvPr>
            <p:custDataLst>
              <p:tags r:id="rId1"/>
            </p:custDataLst>
            <p:extLst>
              <p:ext uri="{D42A27DB-BD31-4B8C-83A1-F6EECF244321}">
                <p14:modId xmlns:p14="http://schemas.microsoft.com/office/powerpoint/2010/main" val="3230450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40BA3694-E559-4BD8-B30F-49F93995F5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C5B4747-7853-4F07-8623-5A614B1D9B24}"/>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571E510F-89DB-463C-9F67-14CAB3AD246A}"/>
              </a:ext>
            </a:extLst>
          </p:cNvPr>
          <p:cNvSpPr>
            <a:spLocks noGrp="1"/>
          </p:cNvSpPr>
          <p:nvPr>
            <p:ph type="title"/>
          </p:nvPr>
        </p:nvSpPr>
        <p:spPr>
          <a:xfrm>
            <a:off x="165600" y="147600"/>
            <a:ext cx="8366419" cy="684000"/>
          </a:xfrm>
        </p:spPr>
        <p:txBody>
          <a:bodyPr/>
          <a:lstStyle/>
          <a:p>
            <a:r>
              <a:rPr lang="en-GB" dirty="0">
                <a:latin typeface="Trebuchet MS" panose="020B0603020202020204" pitchFamily="34" charset="0"/>
              </a:rPr>
              <a:t>Many </a:t>
            </a:r>
            <a:r>
              <a:rPr lang="en-GB" dirty="0" err="1">
                <a:solidFill>
                  <a:schemeClr val="tx2"/>
                </a:solidFill>
                <a:latin typeface="Trebuchet MS" panose="020B0603020202020204" pitchFamily="34" charset="0"/>
              </a:rPr>
              <a:t>RegTech</a:t>
            </a:r>
            <a:r>
              <a:rPr lang="en-GB" dirty="0">
                <a:solidFill>
                  <a:schemeClr val="tx2"/>
                </a:solidFill>
                <a:latin typeface="Trebuchet MS" panose="020B0603020202020204" pitchFamily="34" charset="0"/>
              </a:rPr>
              <a:t> players have recently entered the compliance market -</a:t>
            </a:r>
            <a:r>
              <a:rPr lang="en-GB" dirty="0">
                <a:latin typeface="Trebuchet MS" panose="020B0603020202020204" pitchFamily="34" charset="0"/>
              </a:rPr>
              <a:t> on a </a:t>
            </a:r>
            <a:r>
              <a:rPr lang="en-GB" dirty="0">
                <a:solidFill>
                  <a:schemeClr val="tx2"/>
                </a:solidFill>
                <a:latin typeface="Trebuchet MS" panose="020B0603020202020204" pitchFamily="34" charset="0"/>
              </a:rPr>
              <a:t>different</a:t>
            </a:r>
            <a:r>
              <a:rPr lang="en-GB" dirty="0">
                <a:latin typeface="Trebuchet MS" panose="020B0603020202020204" pitchFamily="34" charset="0"/>
              </a:rPr>
              <a:t> </a:t>
            </a:r>
            <a:r>
              <a:rPr lang="en-GB" dirty="0">
                <a:solidFill>
                  <a:schemeClr val="tx2"/>
                </a:solidFill>
                <a:latin typeface="Trebuchet MS" panose="020B0603020202020204" pitchFamily="34" charset="0"/>
              </a:rPr>
              <a:t>scope</a:t>
            </a:r>
            <a:r>
              <a:rPr lang="en-GB" dirty="0">
                <a:latin typeface="Trebuchet MS" panose="020B0603020202020204" pitchFamily="34" charset="0"/>
              </a:rPr>
              <a:t> </a:t>
            </a:r>
            <a:r>
              <a:rPr lang="en-GB" dirty="0">
                <a:solidFill>
                  <a:schemeClr val="tx2"/>
                </a:solidFill>
                <a:latin typeface="Trebuchet MS" panose="020B0603020202020204" pitchFamily="34" charset="0"/>
              </a:rPr>
              <a:t>than</a:t>
            </a:r>
            <a:r>
              <a:rPr lang="en-GB" dirty="0">
                <a:latin typeface="Trebuchet MS" panose="020B0603020202020204" pitchFamily="34" charset="0"/>
              </a:rPr>
              <a:t> </a:t>
            </a:r>
            <a:r>
              <a:rPr lang="en-GB" dirty="0" err="1">
                <a:solidFill>
                  <a:schemeClr val="tx2"/>
                </a:solidFill>
                <a:latin typeface="Trebuchet MS" panose="020B0603020202020204" pitchFamily="34" charset="0"/>
              </a:rPr>
              <a:t>Altares</a:t>
            </a:r>
            <a:r>
              <a:rPr lang="en-GB" dirty="0">
                <a:latin typeface="Trebuchet MS" panose="020B0603020202020204" pitchFamily="34" charset="0"/>
              </a:rPr>
              <a:t> - by addressing financial institutions with automated offerings powered by artificial intelligence</a:t>
            </a:r>
          </a:p>
        </p:txBody>
      </p:sp>
      <p:sp>
        <p:nvSpPr>
          <p:cNvPr id="3" name="Espace réservé du texte 2">
            <a:extLst>
              <a:ext uri="{FF2B5EF4-FFF2-40B4-BE49-F238E27FC236}">
                <a16:creationId xmlns:a16="http://schemas.microsoft.com/office/drawing/2014/main" id="{1201EB5B-31B8-41C6-BA30-CADF4F34182A}"/>
              </a:ext>
            </a:extLst>
          </p:cNvPr>
          <p:cNvSpPr>
            <a:spLocks noGrp="1"/>
          </p:cNvSpPr>
          <p:nvPr>
            <p:ph type="body" sz="quarter" idx="10"/>
          </p:nvPr>
        </p:nvSpPr>
        <p:spPr/>
        <p:txBody>
          <a:bodyPr/>
          <a:lstStyle/>
          <a:p>
            <a:r>
              <a:rPr lang="en-GB"/>
              <a:t>Sources: eleven research &amp; analysis, expert calls, company websites, Data Bridge Market Research analyses</a:t>
            </a:r>
          </a:p>
        </p:txBody>
      </p:sp>
      <p:sp>
        <p:nvSpPr>
          <p:cNvPr id="20" name="Rectangle 19">
            <a:extLst>
              <a:ext uri="{FF2B5EF4-FFF2-40B4-BE49-F238E27FC236}">
                <a16:creationId xmlns:a16="http://schemas.microsoft.com/office/drawing/2014/main" id="{A7439B76-F64B-4768-819E-4EEEF861528C}"/>
              </a:ext>
            </a:extLst>
          </p:cNvPr>
          <p:cNvSpPr/>
          <p:nvPr/>
        </p:nvSpPr>
        <p:spPr bwMode="auto">
          <a:xfrm>
            <a:off x="5136700" y="5596330"/>
            <a:ext cx="4395039" cy="858781"/>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a:ln>
                  <a:noFill/>
                </a:ln>
                <a:solidFill>
                  <a:schemeClr val="tx1"/>
                </a:solidFill>
                <a:effectLst/>
                <a:latin typeface="Trebuchet MS" panose="020B0603020202020204" pitchFamily="34" charset="0"/>
              </a:rPr>
              <a:t>“The </a:t>
            </a:r>
            <a:r>
              <a:rPr kumimoji="0" lang="en-GB" sz="1000" b="0" i="1" u="none" strike="noStrike" cap="none" normalizeH="0" baseline="0" err="1">
                <a:ln>
                  <a:noFill/>
                </a:ln>
                <a:solidFill>
                  <a:schemeClr val="tx1"/>
                </a:solidFill>
                <a:effectLst/>
                <a:latin typeface="Trebuchet MS" panose="020B0603020202020204" pitchFamily="34" charset="0"/>
              </a:rPr>
              <a:t>regtechs</a:t>
            </a:r>
            <a:r>
              <a:rPr kumimoji="0" lang="en-GB" sz="1000" b="0" i="1" u="none" strike="noStrike" cap="none" normalizeH="0" baseline="0">
                <a:ln>
                  <a:noFill/>
                </a:ln>
                <a:solidFill>
                  <a:schemeClr val="tx1"/>
                </a:solidFill>
                <a:effectLst/>
                <a:latin typeface="Trebuchet MS" panose="020B0603020202020204" pitchFamily="34" charset="0"/>
              </a:rPr>
              <a:t> players </a:t>
            </a:r>
            <a:r>
              <a:rPr kumimoji="0" lang="en-GB" sz="1000" b="0" i="1" u="none" strike="noStrike" cap="none" normalizeH="0" baseline="0">
                <a:ln>
                  <a:noFill/>
                </a:ln>
                <a:solidFill>
                  <a:schemeClr val="tx2"/>
                </a:solidFill>
                <a:effectLst/>
                <a:latin typeface="Trebuchet MS" panose="020B0603020202020204" pitchFamily="34" charset="0"/>
              </a:rPr>
              <a:t>do not represent a threat</a:t>
            </a:r>
            <a:r>
              <a:rPr kumimoji="0" lang="en-GB" sz="1000" b="0" i="1" u="none" strike="noStrike" cap="none" normalizeH="0" baseline="0">
                <a:ln>
                  <a:noFill/>
                </a:ln>
                <a:solidFill>
                  <a:schemeClr val="tx1"/>
                </a:solidFill>
                <a:effectLst/>
                <a:latin typeface="Trebuchet MS" panose="020B0603020202020204" pitchFamily="34" charset="0"/>
              </a:rPr>
              <a:t> on the level of quality data acquisition but more on their </a:t>
            </a:r>
            <a:r>
              <a:rPr kumimoji="0" lang="en-GB" sz="1000" b="0" i="1" u="none" strike="noStrike" cap="none" normalizeH="0" baseline="0">
                <a:ln>
                  <a:noFill/>
                </a:ln>
                <a:solidFill>
                  <a:schemeClr val="tx2"/>
                </a:solidFill>
                <a:effectLst/>
                <a:latin typeface="Trebuchet MS" panose="020B0603020202020204" pitchFamily="34" charset="0"/>
              </a:rPr>
              <a:t>ability</a:t>
            </a:r>
            <a:r>
              <a:rPr kumimoji="0" lang="en-GB" sz="1000" b="0" i="1" u="none" strike="noStrike" cap="none" normalizeH="0" baseline="0">
                <a:ln>
                  <a:noFill/>
                </a:ln>
                <a:solidFill>
                  <a:schemeClr val="tx1"/>
                </a:solidFill>
                <a:effectLst/>
                <a:latin typeface="Trebuchet MS" panose="020B0603020202020204" pitchFamily="34" charset="0"/>
              </a:rPr>
              <a:t> to </a:t>
            </a:r>
            <a:r>
              <a:rPr kumimoji="0" lang="en-GB" sz="1000" b="0" i="1" u="none" strike="noStrike" cap="none" normalizeH="0" baseline="0">
                <a:ln>
                  <a:noFill/>
                </a:ln>
                <a:solidFill>
                  <a:schemeClr val="tx2"/>
                </a:solidFill>
                <a:effectLst/>
                <a:latin typeface="Trebuchet MS" panose="020B0603020202020204" pitchFamily="34" charset="0"/>
              </a:rPr>
              <a:t>acquire</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new</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customers</a:t>
            </a:r>
            <a:r>
              <a:rPr kumimoji="0" lang="en-GB" sz="1000" b="0" i="1" u="none" strike="noStrike" cap="none" normalizeH="0" baseline="0">
                <a:ln>
                  <a:noFill/>
                </a:ln>
                <a:solidFill>
                  <a:schemeClr val="tx1"/>
                </a:solidFill>
                <a:effectLst/>
                <a:latin typeface="Trebuchet MS" panose="020B0603020202020204" pitchFamily="34" charset="0"/>
              </a:rPr>
              <a:t> by developing </a:t>
            </a:r>
            <a:r>
              <a:rPr kumimoji="0" lang="en-GB" sz="1000" b="0" i="1" u="none" strike="noStrike" cap="none" normalizeH="0" baseline="0">
                <a:ln>
                  <a:noFill/>
                </a:ln>
                <a:solidFill>
                  <a:schemeClr val="tx2"/>
                </a:solidFill>
                <a:effectLst/>
                <a:latin typeface="Trebuchet MS" panose="020B0603020202020204" pitchFamily="34" charset="0"/>
              </a:rPr>
              <a:t>solutions</a:t>
            </a:r>
            <a:r>
              <a:rPr kumimoji="0" lang="en-GB" sz="1000" b="0" i="1" u="none" strike="noStrike" cap="none" normalizeH="0" baseline="0">
                <a:ln>
                  <a:noFill/>
                </a:ln>
                <a:solidFill>
                  <a:schemeClr val="tx1"/>
                </a:solidFill>
                <a:effectLst/>
                <a:latin typeface="Trebuchet MS" panose="020B0603020202020204" pitchFamily="34" charset="0"/>
              </a:rPr>
              <a:t> with a </a:t>
            </a:r>
            <a:r>
              <a:rPr kumimoji="0" lang="en-GB" sz="1000" b="0" i="1" u="none" strike="noStrike" cap="none" normalizeH="0" baseline="0">
                <a:ln>
                  <a:noFill/>
                </a:ln>
                <a:solidFill>
                  <a:schemeClr val="tx2"/>
                </a:solidFill>
                <a:effectLst/>
                <a:latin typeface="Trebuchet MS" panose="020B0603020202020204" pitchFamily="34" charset="0"/>
              </a:rPr>
              <a:t>better</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quality</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UX</a:t>
            </a:r>
            <a:r>
              <a:rPr lang="en-GB" sz="1000" i="1">
                <a:latin typeface="Trebuchet MS" panose="020B0603020202020204" pitchFamily="34" charset="0"/>
              </a:rPr>
              <a:t>”</a:t>
            </a:r>
          </a:p>
          <a:p>
            <a:r>
              <a:rPr lang="en-GB" sz="1000">
                <a:latin typeface="Trebuchet MS" panose="020B0603020202020204" pitchFamily="34" charset="0"/>
              </a:rPr>
              <a:t>Former Managing Director at Graydon Belgium</a:t>
            </a:r>
          </a:p>
        </p:txBody>
      </p:sp>
      <p:sp>
        <p:nvSpPr>
          <p:cNvPr id="21" name="Freeform 663">
            <a:extLst>
              <a:ext uri="{FF2B5EF4-FFF2-40B4-BE49-F238E27FC236}">
                <a16:creationId xmlns:a16="http://schemas.microsoft.com/office/drawing/2014/main" id="{BBE719F3-3EA1-4CB3-AA2D-0B123AFFBFA1}"/>
              </a:ext>
            </a:extLst>
          </p:cNvPr>
          <p:cNvSpPr>
            <a:spLocks noChangeAspect="1" noEditPoints="1"/>
          </p:cNvSpPr>
          <p:nvPr/>
        </p:nvSpPr>
        <p:spPr bwMode="auto">
          <a:xfrm>
            <a:off x="4998074" y="5887095"/>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24" name="Rectangle 23">
            <a:extLst>
              <a:ext uri="{FF2B5EF4-FFF2-40B4-BE49-F238E27FC236}">
                <a16:creationId xmlns:a16="http://schemas.microsoft.com/office/drawing/2014/main" id="{8A244B24-02D0-4359-83A5-4F25CF663597}"/>
              </a:ext>
            </a:extLst>
          </p:cNvPr>
          <p:cNvSpPr/>
          <p:nvPr/>
        </p:nvSpPr>
        <p:spPr bwMode="auto">
          <a:xfrm>
            <a:off x="288891" y="5596330"/>
            <a:ext cx="4399230" cy="858781"/>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a:ln>
                  <a:noFill/>
                </a:ln>
                <a:solidFill>
                  <a:schemeClr val="tx1"/>
                </a:solidFill>
                <a:effectLst/>
                <a:latin typeface="Trebuchet MS" panose="020B0603020202020204" pitchFamily="34" charset="0"/>
              </a:rPr>
              <a:t>“</a:t>
            </a:r>
            <a:r>
              <a:rPr kumimoji="0" lang="en-GB" sz="1000" b="0" i="1" u="none" strike="noStrike" cap="none" normalizeH="0" baseline="0" err="1">
                <a:ln>
                  <a:noFill/>
                </a:ln>
                <a:solidFill>
                  <a:schemeClr val="tx2"/>
                </a:solidFill>
                <a:effectLst/>
                <a:latin typeface="Trebuchet MS" panose="020B0603020202020204" pitchFamily="34" charset="0"/>
              </a:rPr>
              <a:t>Regtech</a:t>
            </a:r>
            <a:r>
              <a:rPr kumimoji="0" lang="en-GB" sz="1000" b="0" i="1" u="none" strike="noStrike" cap="none" normalizeH="0" baseline="0">
                <a:ln>
                  <a:noFill/>
                </a:ln>
                <a:solidFill>
                  <a:schemeClr val="tx1"/>
                </a:solidFill>
                <a:effectLst/>
                <a:latin typeface="Trebuchet MS" panose="020B0603020202020204" pitchFamily="34" charset="0"/>
              </a:rPr>
              <a:t> players aim to meet regulatory and compliance requirements more effectively than "conventional" technologies. Thanks to their </a:t>
            </a:r>
            <a:r>
              <a:rPr kumimoji="0" lang="en-GB" sz="1000" b="0" i="1" u="none" strike="noStrike" cap="none" normalizeH="0" baseline="0">
                <a:ln>
                  <a:noFill/>
                </a:ln>
                <a:solidFill>
                  <a:schemeClr val="tx2"/>
                </a:solidFill>
                <a:effectLst/>
                <a:latin typeface="Trebuchet MS" panose="020B0603020202020204" pitchFamily="34" charset="0"/>
              </a:rPr>
              <a:t>agility</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speed</a:t>
            </a:r>
            <a:r>
              <a:rPr kumimoji="0" lang="en-GB" sz="1000" b="0" i="1" u="none" strike="noStrike" cap="none" normalizeH="0" baseline="0">
                <a:ln>
                  <a:noFill/>
                </a:ln>
                <a:solidFill>
                  <a:schemeClr val="tx1"/>
                </a:solidFill>
                <a:effectLst/>
                <a:latin typeface="Trebuchet MS" panose="020B0603020202020204" pitchFamily="34" charset="0"/>
              </a:rPr>
              <a:t> and </a:t>
            </a:r>
            <a:r>
              <a:rPr kumimoji="0" lang="en-GB" sz="1000" b="0" i="1" u="none" strike="noStrike" cap="none" normalizeH="0" baseline="0">
                <a:ln>
                  <a:noFill/>
                </a:ln>
                <a:solidFill>
                  <a:schemeClr val="tx2"/>
                </a:solidFill>
                <a:effectLst/>
                <a:latin typeface="Trebuchet MS" panose="020B0603020202020204" pitchFamily="34" charset="0"/>
              </a:rPr>
              <a:t>analysis</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capacity</a:t>
            </a:r>
            <a:r>
              <a:rPr kumimoji="0" lang="en-GB" sz="1000" b="0" i="1" u="none" strike="noStrike" cap="none" normalizeH="0" baseline="0">
                <a:ln>
                  <a:noFill/>
                </a:ln>
                <a:solidFill>
                  <a:schemeClr val="tx1"/>
                </a:solidFill>
                <a:effectLst/>
                <a:latin typeface="Trebuchet MS" panose="020B0603020202020204" pitchFamily="34" charset="0"/>
              </a:rPr>
              <a:t>, these new tools allow to </a:t>
            </a:r>
            <a:r>
              <a:rPr kumimoji="0" lang="en-GB" sz="1000" b="0" i="1" u="none" strike="noStrike" cap="none" normalizeH="0" baseline="0">
                <a:ln>
                  <a:noFill/>
                </a:ln>
                <a:solidFill>
                  <a:schemeClr val="tx2"/>
                </a:solidFill>
                <a:effectLst/>
                <a:latin typeface="Trebuchet MS" panose="020B0603020202020204" pitchFamily="34" charset="0"/>
              </a:rPr>
              <a:t>gain</a:t>
            </a:r>
            <a:r>
              <a:rPr kumimoji="0" lang="en-GB" sz="1000" b="0" i="1" u="none" strike="noStrike" cap="none" normalizeH="0" baseline="0">
                <a:ln>
                  <a:noFill/>
                </a:ln>
                <a:solidFill>
                  <a:schemeClr val="tx1"/>
                </a:solidFill>
                <a:effectLst/>
                <a:latin typeface="Trebuchet MS" panose="020B0603020202020204" pitchFamily="34" charset="0"/>
              </a:rPr>
              <a:t> in </a:t>
            </a:r>
            <a:r>
              <a:rPr kumimoji="0" lang="en-GB" sz="1000" b="0" i="1" u="none" strike="noStrike" cap="none" normalizeH="0" baseline="0">
                <a:ln>
                  <a:noFill/>
                </a:ln>
                <a:solidFill>
                  <a:schemeClr val="tx2"/>
                </a:solidFill>
                <a:effectLst/>
                <a:latin typeface="Trebuchet MS" panose="020B0603020202020204" pitchFamily="34" charset="0"/>
              </a:rPr>
              <a:t>efficiency</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robustness</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relevance</a:t>
            </a:r>
            <a:r>
              <a:rPr kumimoji="0" lang="en-GB" sz="1000" b="0" i="1" u="none" strike="noStrike" cap="none" normalizeH="0" baseline="0">
                <a:ln>
                  <a:noFill/>
                </a:ln>
                <a:solidFill>
                  <a:schemeClr val="tx1"/>
                </a:solidFill>
                <a:effectLst/>
                <a:latin typeface="Trebuchet MS" panose="020B0603020202020204" pitchFamily="34" charset="0"/>
              </a:rPr>
              <a:t> and </a:t>
            </a:r>
            <a:r>
              <a:rPr kumimoji="0" lang="en-GB" sz="1000" b="0" i="1" u="none" strike="noStrike" cap="none" normalizeH="0" baseline="0">
                <a:ln>
                  <a:noFill/>
                </a:ln>
                <a:solidFill>
                  <a:schemeClr val="tx2"/>
                </a:solidFill>
                <a:effectLst/>
                <a:latin typeface="Trebuchet MS" panose="020B0603020202020204" pitchFamily="34" charset="0"/>
              </a:rPr>
              <a:t>time</a:t>
            </a:r>
            <a:r>
              <a:rPr lang="en-GB" sz="1000" i="1">
                <a:latin typeface="Trebuchet MS" panose="020B0603020202020204" pitchFamily="34" charset="0"/>
              </a:rPr>
              <a:t>”</a:t>
            </a:r>
            <a:endParaRPr kumimoji="0" lang="en-GB" sz="1000" b="0" i="1" u="none" strike="noStrike" cap="none" normalizeH="0" baseline="0">
              <a:ln>
                <a:noFill/>
              </a:ln>
              <a:solidFill>
                <a:schemeClr val="tx1"/>
              </a:solidFill>
              <a:effectLst/>
              <a:latin typeface="Trebuchet MS" panose="020B0603020202020204" pitchFamily="34" charset="0"/>
            </a:endParaRPr>
          </a:p>
          <a:p>
            <a:r>
              <a:rPr lang="en-GB" sz="1000">
                <a:latin typeface="Trebuchet MS" panose="020B0603020202020204" pitchFamily="34" charset="0"/>
              </a:rPr>
              <a:t>KPMG – European </a:t>
            </a:r>
            <a:r>
              <a:rPr lang="en-GB" sz="1000" err="1">
                <a:latin typeface="Trebuchet MS" panose="020B0603020202020204" pitchFamily="34" charset="0"/>
              </a:rPr>
              <a:t>Regtech</a:t>
            </a:r>
            <a:r>
              <a:rPr lang="en-GB" sz="1000">
                <a:latin typeface="Trebuchet MS" panose="020B0603020202020204" pitchFamily="34" charset="0"/>
              </a:rPr>
              <a:t> players Panorama</a:t>
            </a:r>
          </a:p>
        </p:txBody>
      </p:sp>
      <p:sp>
        <p:nvSpPr>
          <p:cNvPr id="25" name="Freeform 663">
            <a:extLst>
              <a:ext uri="{FF2B5EF4-FFF2-40B4-BE49-F238E27FC236}">
                <a16:creationId xmlns:a16="http://schemas.microsoft.com/office/drawing/2014/main" id="{B2F9815E-EC27-4DDE-A62F-FAA59DDB6553}"/>
              </a:ext>
            </a:extLst>
          </p:cNvPr>
          <p:cNvSpPr>
            <a:spLocks noChangeAspect="1" noEditPoints="1"/>
          </p:cNvSpPr>
          <p:nvPr/>
        </p:nvSpPr>
        <p:spPr bwMode="auto">
          <a:xfrm>
            <a:off x="168737" y="5887095"/>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37" name="Rectangle 36">
            <a:extLst>
              <a:ext uri="{FF2B5EF4-FFF2-40B4-BE49-F238E27FC236}">
                <a16:creationId xmlns:a16="http://schemas.microsoft.com/office/drawing/2014/main" id="{06EC2213-9258-40CE-8C8F-CE521A6C7E90}"/>
              </a:ext>
            </a:extLst>
          </p:cNvPr>
          <p:cNvSpPr/>
          <p:nvPr/>
        </p:nvSpPr>
        <p:spPr>
          <a:xfrm>
            <a:off x="278286" y="1452700"/>
            <a:ext cx="4240454" cy="707886"/>
          </a:xfrm>
          <a:prstGeom prst="rect">
            <a:avLst/>
          </a:prstGeom>
        </p:spPr>
        <p:txBody>
          <a:bodyPr wrap="square">
            <a:spAutoFit/>
          </a:bodyPr>
          <a:lstStyle/>
          <a:p>
            <a:pPr marL="171450" indent="-171450">
              <a:spcAft>
                <a:spcPts val="200"/>
              </a:spcAft>
              <a:buFont typeface="Arial" panose="020B0604020202020204" pitchFamily="34" charset="0"/>
              <a:buChar char="•"/>
            </a:pPr>
            <a:r>
              <a:rPr lang="en-GB" sz="1000" err="1">
                <a:latin typeface="Trebuchet MS" panose="020B0603020202020204" pitchFamily="34" charset="0"/>
              </a:rPr>
              <a:t>RegTech</a:t>
            </a:r>
            <a:r>
              <a:rPr lang="en-GB" sz="1000">
                <a:latin typeface="Trebuchet MS" panose="020B0603020202020204" pitchFamily="34" charset="0"/>
              </a:rPr>
              <a:t> pure players differentiating themselves thanks </a:t>
            </a:r>
            <a:r>
              <a:rPr lang="en-GB" sz="1000">
                <a:solidFill>
                  <a:schemeClr val="tx2"/>
                </a:solidFill>
                <a:latin typeface="Trebuchet MS" panose="020B0603020202020204" pitchFamily="34" charset="0"/>
              </a:rPr>
              <a:t>to state-of-the-art technologies like Artificial Intelligence</a:t>
            </a:r>
            <a:r>
              <a:rPr lang="en-GB" sz="1000">
                <a:latin typeface="Trebuchet MS" panose="020B0603020202020204" pitchFamily="34" charset="0"/>
              </a:rPr>
              <a:t>, </a:t>
            </a:r>
            <a:r>
              <a:rPr lang="en-GB" sz="1000">
                <a:solidFill>
                  <a:schemeClr val="tx2"/>
                </a:solidFill>
                <a:latin typeface="Trebuchet MS" panose="020B0603020202020204" pitchFamily="34" charset="0"/>
              </a:rPr>
              <a:t>Optical Character Recognition </a:t>
            </a:r>
            <a:r>
              <a:rPr lang="en-GB" sz="1000">
                <a:latin typeface="Trebuchet MS" panose="020B0603020202020204" pitchFamily="34" charset="0"/>
              </a:rPr>
              <a:t>(OCR) or </a:t>
            </a:r>
            <a:r>
              <a:rPr lang="en-GB" sz="1000">
                <a:solidFill>
                  <a:schemeClr val="tx2"/>
                </a:solidFill>
                <a:latin typeface="Trebuchet MS" panose="020B0603020202020204" pitchFamily="34" charset="0"/>
              </a:rPr>
              <a:t>Natural Language Processing </a:t>
            </a:r>
            <a:r>
              <a:rPr lang="en-GB" sz="1000">
                <a:latin typeface="Trebuchet MS" panose="020B0603020202020204" pitchFamily="34" charset="0"/>
              </a:rPr>
              <a:t>(NLP) to automate and reduce the cost of peer evaluation processes</a:t>
            </a:r>
          </a:p>
        </p:txBody>
      </p:sp>
      <p:grpSp>
        <p:nvGrpSpPr>
          <p:cNvPr id="8" name="Groupe 7">
            <a:extLst>
              <a:ext uri="{FF2B5EF4-FFF2-40B4-BE49-F238E27FC236}">
                <a16:creationId xmlns:a16="http://schemas.microsoft.com/office/drawing/2014/main" id="{BEBA4F10-B1F6-4D11-80D8-EA564ABF2DA9}"/>
              </a:ext>
            </a:extLst>
          </p:cNvPr>
          <p:cNvGrpSpPr/>
          <p:nvPr/>
        </p:nvGrpSpPr>
        <p:grpSpPr>
          <a:xfrm>
            <a:off x="250971" y="2177804"/>
            <a:ext cx="4389609" cy="1513529"/>
            <a:chOff x="250971" y="2162654"/>
            <a:chExt cx="4389609" cy="1513529"/>
          </a:xfrm>
        </p:grpSpPr>
        <p:sp>
          <p:nvSpPr>
            <p:cNvPr id="23" name="ZoneTexte 22">
              <a:extLst>
                <a:ext uri="{FF2B5EF4-FFF2-40B4-BE49-F238E27FC236}">
                  <a16:creationId xmlns:a16="http://schemas.microsoft.com/office/drawing/2014/main" id="{FD6E5F5F-CC50-4427-AACD-C8F73B798B6D}"/>
                </a:ext>
              </a:extLst>
            </p:cNvPr>
            <p:cNvSpPr txBox="1"/>
            <p:nvPr/>
          </p:nvSpPr>
          <p:spPr>
            <a:xfrm>
              <a:off x="252824" y="2162654"/>
              <a:ext cx="4137235" cy="246221"/>
            </a:xfrm>
            <a:prstGeom prst="rect">
              <a:avLst/>
            </a:prstGeom>
            <a:noFill/>
          </p:spPr>
          <p:txBody>
            <a:bodyPr wrap="square" rtlCol="0">
              <a:spAutoFit/>
            </a:bodyPr>
            <a:lstStyle/>
            <a:p>
              <a:r>
                <a:rPr lang="en-GB" sz="1000" b="1" i="1">
                  <a:latin typeface="Trebuchet MS" panose="020B0603020202020204" pitchFamily="34" charset="0"/>
                </a:rPr>
                <a:t>Example of </a:t>
              </a:r>
              <a:r>
                <a:rPr lang="en-GB" sz="1000" b="1" i="1" err="1">
                  <a:latin typeface="Trebuchet MS" panose="020B0603020202020204" pitchFamily="34" charset="0"/>
                </a:rPr>
                <a:t>RegTech</a:t>
              </a:r>
              <a:r>
                <a:rPr lang="en-GB" sz="1000" b="1" i="1">
                  <a:latin typeface="Trebuchet MS" panose="020B0603020202020204" pitchFamily="34" charset="0"/>
                </a:rPr>
                <a:t> players: </a:t>
              </a:r>
            </a:p>
          </p:txBody>
        </p:sp>
        <p:grpSp>
          <p:nvGrpSpPr>
            <p:cNvPr id="7" name="Groupe 6">
              <a:extLst>
                <a:ext uri="{FF2B5EF4-FFF2-40B4-BE49-F238E27FC236}">
                  <a16:creationId xmlns:a16="http://schemas.microsoft.com/office/drawing/2014/main" id="{EB08493C-6E3C-49B2-8138-D22996821CF0}"/>
                </a:ext>
              </a:extLst>
            </p:cNvPr>
            <p:cNvGrpSpPr/>
            <p:nvPr/>
          </p:nvGrpSpPr>
          <p:grpSpPr>
            <a:xfrm>
              <a:off x="250971" y="2413721"/>
              <a:ext cx="4389609" cy="1262462"/>
              <a:chOff x="250971" y="2413721"/>
              <a:chExt cx="4389609" cy="1262462"/>
            </a:xfrm>
          </p:grpSpPr>
          <p:sp>
            <p:nvSpPr>
              <p:cNvPr id="48" name="Rectangle : coins arrondis 214">
                <a:extLst>
                  <a:ext uri="{FF2B5EF4-FFF2-40B4-BE49-F238E27FC236}">
                    <a16:creationId xmlns:a16="http://schemas.microsoft.com/office/drawing/2014/main" id="{3D750D78-761E-41B1-9532-6A4084C7A284}"/>
                  </a:ext>
                </a:extLst>
              </p:cNvPr>
              <p:cNvSpPr/>
              <p:nvPr/>
            </p:nvSpPr>
            <p:spPr bwMode="auto">
              <a:xfrm>
                <a:off x="250971" y="2414671"/>
                <a:ext cx="4389609" cy="1261512"/>
              </a:xfrm>
              <a:prstGeom prst="roundRect">
                <a:avLst>
                  <a:gd name="adj" fmla="val 12096"/>
                </a:avLst>
              </a:prstGeom>
              <a:pattFill prst="ltDnDiag">
                <a:fgClr>
                  <a:schemeClr val="bg2">
                    <a:lumMod val="20000"/>
                    <a:lumOff val="80000"/>
                  </a:schemeClr>
                </a:fgClr>
                <a:bgClr>
                  <a:schemeClr val="bg1"/>
                </a:bgClr>
              </a:pattFill>
              <a:ln w="9525" cap="flat" cmpd="sng" algn="ctr">
                <a:solidFill>
                  <a:schemeClr val="bg2">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Aft>
                    <a:spcPts val="300"/>
                  </a:spcAft>
                </a:pPr>
                <a:endParaRPr lang="en-GB" sz="1200" b="1">
                  <a:solidFill>
                    <a:schemeClr val="tx2"/>
                  </a:solidFill>
                  <a:highlight>
                    <a:srgbClr val="FFFF00"/>
                  </a:highlight>
                  <a:latin typeface="Trebuchet MS" panose="020B0603020202020204" pitchFamily="34" charset="0"/>
                </a:endParaRPr>
              </a:p>
            </p:txBody>
          </p:sp>
          <p:pic>
            <p:nvPicPr>
              <p:cNvPr id="16" name="Picture 2" descr="RÃ©sultat de recherche d'images pour &quot;kyc 3&quot;">
                <a:extLst>
                  <a:ext uri="{FF2B5EF4-FFF2-40B4-BE49-F238E27FC236}">
                    <a16:creationId xmlns:a16="http://schemas.microsoft.com/office/drawing/2014/main" id="{7EC5B172-C702-4AF4-8E09-3ACBBC9E6F7C}"/>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64943" y="3400278"/>
                <a:ext cx="670895" cy="15772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2" descr="header-logo">
                <a:extLst>
                  <a:ext uri="{FF2B5EF4-FFF2-40B4-BE49-F238E27FC236}">
                    <a16:creationId xmlns:a16="http://schemas.microsoft.com/office/drawing/2014/main" id="{40AF0ADF-EB96-4A23-999F-AA43655D5E1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11293" y="2473508"/>
                <a:ext cx="758387" cy="34037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descr="fullscreen logo">
                <a:extLst>
                  <a:ext uri="{FF2B5EF4-FFF2-40B4-BE49-F238E27FC236}">
                    <a16:creationId xmlns:a16="http://schemas.microsoft.com/office/drawing/2014/main" id="{BB851823-D881-4342-92FD-6EBEE6DFE02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30185" y="3355094"/>
                <a:ext cx="725835" cy="26130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4" descr="Le site web officiel de Treezor">
                <a:extLst>
                  <a:ext uri="{FF2B5EF4-FFF2-40B4-BE49-F238E27FC236}">
                    <a16:creationId xmlns:a16="http://schemas.microsoft.com/office/drawing/2014/main" id="{46481E99-8BDE-4284-BEA7-EAC62D97EE4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481617" y="2899501"/>
                <a:ext cx="892517" cy="32259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RÃ©sultat de recherche d'images pour &quot;chekk&quot;">
                <a:extLst>
                  <a:ext uri="{FF2B5EF4-FFF2-40B4-BE49-F238E27FC236}">
                    <a16:creationId xmlns:a16="http://schemas.microsoft.com/office/drawing/2014/main" id="{C6003588-2E16-45D9-8B47-C56C17D7343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475448" y="2871803"/>
                <a:ext cx="377992" cy="37799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Jumio">
                <a:extLst>
                  <a:ext uri="{FF2B5EF4-FFF2-40B4-BE49-F238E27FC236}">
                    <a16:creationId xmlns:a16="http://schemas.microsoft.com/office/drawing/2014/main" id="{B29E00B8-9A15-4093-B38B-FC2530BAA49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46284" y="2537575"/>
                <a:ext cx="709699" cy="24551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 descr="RÃ©sultat de recherche d'images pour &quot;smartkyc&quot;">
                <a:extLst>
                  <a:ext uri="{FF2B5EF4-FFF2-40B4-BE49-F238E27FC236}">
                    <a16:creationId xmlns:a16="http://schemas.microsoft.com/office/drawing/2014/main" id="{12A55EDB-24F8-4F50-952E-FA17BA8F065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507944" y="2675055"/>
                <a:ext cx="996013" cy="14205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RÃ©sultat de recherche d'images pour &quot;fortia&quot;">
                <a:extLst>
                  <a:ext uri="{FF2B5EF4-FFF2-40B4-BE49-F238E27FC236}">
                    <a16:creationId xmlns:a16="http://schemas.microsoft.com/office/drawing/2014/main" id="{CC663633-7331-40D8-A060-955CEA5D5658}"/>
                  </a:ext>
                </a:extLst>
              </p:cNvPr>
              <p:cNvPicPr>
                <a:picLocks noChangeAspect="1" noChangeArrowheads="1"/>
              </p:cNvPicPr>
              <p:nvPr/>
            </p:nvPicPr>
            <p:blipFill rotWithShape="1">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t="17280" b="14166"/>
              <a:stretch/>
            </p:blipFill>
            <p:spPr bwMode="auto">
              <a:xfrm>
                <a:off x="2248572" y="2413721"/>
                <a:ext cx="1373270" cy="493070"/>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RÃ©sultat de recherche d'images pour &quot;deecision&quot;">
                <a:extLst>
                  <a:ext uri="{FF2B5EF4-FFF2-40B4-BE49-F238E27FC236}">
                    <a16:creationId xmlns:a16="http://schemas.microsoft.com/office/drawing/2014/main" id="{526E053F-22DF-47C2-953C-3FAA3EF07758}"/>
                  </a:ext>
                </a:extLst>
              </p:cNvPr>
              <p:cNvPicPr>
                <a:picLocks noChangeAspect="1" noChangeArrowheads="1"/>
              </p:cNvPicPr>
              <p:nvPr/>
            </p:nvPicPr>
            <p:blipFill rotWithShape="1">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l="8231" t="37317" r="10377" b="35051"/>
              <a:stretch/>
            </p:blipFill>
            <p:spPr bwMode="auto">
              <a:xfrm>
                <a:off x="390404" y="2930578"/>
                <a:ext cx="990462" cy="225414"/>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RÃ©sultat de recherche d'images pour &quot;vialink&quot;">
                <a:extLst>
                  <a:ext uri="{FF2B5EF4-FFF2-40B4-BE49-F238E27FC236}">
                    <a16:creationId xmlns:a16="http://schemas.microsoft.com/office/drawing/2014/main" id="{222C0D05-3DD7-41F5-B844-A6361667AA57}"/>
                  </a:ext>
                </a:extLst>
              </p:cNvPr>
              <p:cNvPicPr>
                <a:picLocks noChangeAspect="1" noChangeArrowheads="1"/>
              </p:cNvPicPr>
              <p:nvPr/>
            </p:nvPicPr>
            <p:blipFill rotWithShape="1">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l="11999" t="32331" r="6638" b="32688"/>
              <a:stretch/>
            </p:blipFill>
            <p:spPr bwMode="auto">
              <a:xfrm>
                <a:off x="3614394" y="3222096"/>
                <a:ext cx="962401" cy="413779"/>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descr="Logotype e-Attestations, Compliance as a Service">
                <a:extLst>
                  <a:ext uri="{FF2B5EF4-FFF2-40B4-BE49-F238E27FC236}">
                    <a16:creationId xmlns:a16="http://schemas.microsoft.com/office/drawing/2014/main" id="{DE6800CD-DC24-424C-A4C5-C6B609D64A5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192628" y="2886095"/>
                <a:ext cx="288532" cy="377153"/>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descr="RÃ©sultat de recherche d'images pour &quot;scaled risk&quot;">
                <a:extLst>
                  <a:ext uri="{FF2B5EF4-FFF2-40B4-BE49-F238E27FC236}">
                    <a16:creationId xmlns:a16="http://schemas.microsoft.com/office/drawing/2014/main" id="{B4B76025-7C5D-4812-B685-9C619AB8011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75575" y="3434759"/>
                <a:ext cx="892895" cy="136027"/>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71" name="ZoneTexte 70">
            <a:extLst>
              <a:ext uri="{FF2B5EF4-FFF2-40B4-BE49-F238E27FC236}">
                <a16:creationId xmlns:a16="http://schemas.microsoft.com/office/drawing/2014/main" id="{C5FE2007-0B34-4799-A35B-317B6B1C0FF7}"/>
              </a:ext>
            </a:extLst>
          </p:cNvPr>
          <p:cNvSpPr txBox="1"/>
          <p:nvPr/>
        </p:nvSpPr>
        <p:spPr>
          <a:xfrm>
            <a:off x="289323" y="4626016"/>
            <a:ext cx="4389608" cy="738664"/>
          </a:xfrm>
          <a:prstGeom prst="rect">
            <a:avLst/>
          </a:prstGeom>
          <a:noFill/>
        </p:spPr>
        <p:txBody>
          <a:bodyPr wrap="square" rtlCol="0">
            <a:spAutoFit/>
          </a:bodyPr>
          <a:lstStyle/>
          <a:p>
            <a:r>
              <a:rPr lang="en-GB" sz="1050" dirty="0" err="1">
                <a:solidFill>
                  <a:schemeClr val="tx2"/>
                </a:solidFill>
                <a:latin typeface="Trebuchet MS" panose="020B0603020202020204" pitchFamily="34" charset="0"/>
              </a:rPr>
              <a:t>Vialink</a:t>
            </a:r>
            <a:r>
              <a:rPr lang="en-GB" sz="1050" dirty="0">
                <a:latin typeface="Trebuchet MS" panose="020B0603020202020204" pitchFamily="34" charset="0"/>
              </a:rPr>
              <a:t> - a </a:t>
            </a:r>
            <a:r>
              <a:rPr lang="en-GB" sz="1050" dirty="0">
                <a:solidFill>
                  <a:schemeClr val="tx2"/>
                </a:solidFill>
                <a:latin typeface="Trebuchet MS" panose="020B0603020202020204" pitchFamily="34" charset="0"/>
              </a:rPr>
              <a:t>subsidiary of Bred Banque Populaire - </a:t>
            </a:r>
            <a:r>
              <a:rPr lang="en-GB" sz="1050" dirty="0">
                <a:latin typeface="Trebuchet MS" panose="020B0603020202020204" pitchFamily="34" charset="0"/>
              </a:rPr>
              <a:t>offers a </a:t>
            </a:r>
            <a:r>
              <a:rPr lang="en-GB" sz="1050" dirty="0">
                <a:solidFill>
                  <a:schemeClr val="tx2"/>
                </a:solidFill>
                <a:latin typeface="Trebuchet MS" panose="020B0603020202020204" pitchFamily="34" charset="0"/>
              </a:rPr>
              <a:t>complete KYC over-the-counter solution </a:t>
            </a:r>
            <a:r>
              <a:rPr lang="en-GB" sz="1050" dirty="0">
                <a:latin typeface="Trebuchet MS" panose="020B0603020202020204" pitchFamily="34" charset="0"/>
              </a:rPr>
              <a:t>including the automation of customer files controls, PEP lists and international sanctions checking and providing a KYC scoring for individuals and corporates.</a:t>
            </a:r>
            <a:endParaRPr lang="en-GB" sz="1050" dirty="0">
              <a:solidFill>
                <a:schemeClr val="tx2"/>
              </a:solidFill>
              <a:latin typeface="Trebuchet MS" panose="020B0603020202020204" pitchFamily="34" charset="0"/>
            </a:endParaRPr>
          </a:p>
        </p:txBody>
      </p:sp>
      <p:sp>
        <p:nvSpPr>
          <p:cNvPr id="39" name="ZoneTexte 38">
            <a:extLst>
              <a:ext uri="{FF2B5EF4-FFF2-40B4-BE49-F238E27FC236}">
                <a16:creationId xmlns:a16="http://schemas.microsoft.com/office/drawing/2014/main" id="{1120DF80-31C6-48CA-8C1D-A508EDBCBBEB}"/>
              </a:ext>
            </a:extLst>
          </p:cNvPr>
          <p:cNvSpPr txBox="1"/>
          <p:nvPr/>
        </p:nvSpPr>
        <p:spPr>
          <a:xfrm>
            <a:off x="289306" y="3708551"/>
            <a:ext cx="4229434" cy="900246"/>
          </a:xfrm>
          <a:prstGeom prst="rect">
            <a:avLst/>
          </a:prstGeom>
          <a:noFill/>
        </p:spPr>
        <p:txBody>
          <a:bodyPr wrap="square" rtlCol="0">
            <a:spAutoFit/>
          </a:bodyPr>
          <a:lstStyle/>
          <a:p>
            <a:r>
              <a:rPr lang="en-GB" sz="1050" dirty="0" err="1">
                <a:solidFill>
                  <a:schemeClr val="tx2"/>
                </a:solidFill>
                <a:latin typeface="Trebuchet MS" panose="020B0603020202020204" pitchFamily="34" charset="0"/>
              </a:rPr>
              <a:t>SmartKYC</a:t>
            </a:r>
            <a:r>
              <a:rPr lang="en-GB" sz="1050" dirty="0">
                <a:latin typeface="Trebuchet MS" panose="020B0603020202020204" pitchFamily="34" charset="0"/>
              </a:rPr>
              <a:t> offers an </a:t>
            </a:r>
            <a:r>
              <a:rPr lang="en-GB" sz="1050" dirty="0">
                <a:solidFill>
                  <a:schemeClr val="tx2"/>
                </a:solidFill>
                <a:latin typeface="Trebuchet MS" panose="020B0603020202020204" pitchFamily="34" charset="0"/>
              </a:rPr>
              <a:t>NLP-powered search and analysis platform </a:t>
            </a:r>
            <a:r>
              <a:rPr lang="en-GB" sz="1050" dirty="0">
                <a:latin typeface="Trebuchet MS" panose="020B0603020202020204" pitchFamily="34" charset="0"/>
              </a:rPr>
              <a:t>that enables financial institutions to get live information about their clients (i.e. persons and entities) from watch lists, social media, search engines, PEP lists and corporates records simultaneously and establish if a client represents a potential source of risk</a:t>
            </a:r>
          </a:p>
        </p:txBody>
      </p:sp>
      <p:cxnSp>
        <p:nvCxnSpPr>
          <p:cNvPr id="38" name="Connecteur droit 37">
            <a:extLst>
              <a:ext uri="{FF2B5EF4-FFF2-40B4-BE49-F238E27FC236}">
                <a16:creationId xmlns:a16="http://schemas.microsoft.com/office/drawing/2014/main" id="{1FB14EE6-CC40-40EF-BF54-D503A7A6F002}"/>
              </a:ext>
            </a:extLst>
          </p:cNvPr>
          <p:cNvCxnSpPr>
            <a:cxnSpLocks/>
          </p:cNvCxnSpPr>
          <p:nvPr/>
        </p:nvCxnSpPr>
        <p:spPr bwMode="auto">
          <a:xfrm>
            <a:off x="272227" y="1165303"/>
            <a:ext cx="4537581"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cxnSp>
        <p:nvCxnSpPr>
          <p:cNvPr id="40" name="Connecteur droit 39">
            <a:extLst>
              <a:ext uri="{FF2B5EF4-FFF2-40B4-BE49-F238E27FC236}">
                <a16:creationId xmlns:a16="http://schemas.microsoft.com/office/drawing/2014/main" id="{D5A5AD59-5ED7-41B7-AA60-A9133BDDF3F9}"/>
              </a:ext>
            </a:extLst>
          </p:cNvPr>
          <p:cNvCxnSpPr>
            <a:cxnSpLocks/>
          </p:cNvCxnSpPr>
          <p:nvPr/>
        </p:nvCxnSpPr>
        <p:spPr bwMode="auto">
          <a:xfrm>
            <a:off x="5106409" y="1165303"/>
            <a:ext cx="445576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2" name="Rectangle 21">
            <a:extLst>
              <a:ext uri="{FF2B5EF4-FFF2-40B4-BE49-F238E27FC236}">
                <a16:creationId xmlns:a16="http://schemas.microsoft.com/office/drawing/2014/main" id="{E48B0AF4-A2AE-4643-B098-FFDD8461EB9F}"/>
              </a:ext>
            </a:extLst>
          </p:cNvPr>
          <p:cNvSpPr/>
          <p:nvPr/>
        </p:nvSpPr>
        <p:spPr bwMode="auto">
          <a:xfrm>
            <a:off x="812016" y="934528"/>
            <a:ext cx="3458002" cy="52285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100">
                <a:latin typeface="Trebuchet MS" panose="020B0603020202020204" pitchFamily="34" charset="0"/>
              </a:rPr>
              <a:t>Numerous pure players are </a:t>
            </a:r>
            <a:r>
              <a:rPr lang="en-GB" sz="1100">
                <a:solidFill>
                  <a:schemeClr val="tx2"/>
                </a:solidFill>
                <a:latin typeface="Trebuchet MS" panose="020B0603020202020204" pitchFamily="34" charset="0"/>
              </a:rPr>
              <a:t>trying to take advantage of the inflation of AML legislations…</a:t>
            </a:r>
            <a:endParaRPr kumimoji="0" lang="en-GB" sz="1100" b="0" i="0" u="none" strike="noStrike" normalizeH="0">
              <a:ln>
                <a:noFill/>
              </a:ln>
              <a:solidFill>
                <a:schemeClr val="tx2"/>
              </a:solidFill>
              <a:effectLst/>
              <a:latin typeface="Trebuchet MS" panose="020B0603020202020204" pitchFamily="34" charset="0"/>
            </a:endParaRPr>
          </a:p>
        </p:txBody>
      </p:sp>
      <p:sp>
        <p:nvSpPr>
          <p:cNvPr id="67" name="Rectangle 66">
            <a:extLst>
              <a:ext uri="{FF2B5EF4-FFF2-40B4-BE49-F238E27FC236}">
                <a16:creationId xmlns:a16="http://schemas.microsoft.com/office/drawing/2014/main" id="{7F15B4BA-51F8-4750-9D7A-17F3B8DBF82A}"/>
              </a:ext>
            </a:extLst>
          </p:cNvPr>
          <p:cNvSpPr/>
          <p:nvPr/>
        </p:nvSpPr>
        <p:spPr bwMode="auto">
          <a:xfrm>
            <a:off x="5279249" y="853953"/>
            <a:ext cx="4110082" cy="684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100">
                <a:latin typeface="Trebuchet MS" panose="020B0603020202020204" pitchFamily="34" charset="0"/>
              </a:rPr>
              <a:t>… which places them in </a:t>
            </a:r>
            <a:r>
              <a:rPr lang="en-GB" sz="1100">
                <a:solidFill>
                  <a:schemeClr val="tx2"/>
                </a:solidFill>
                <a:latin typeface="Trebuchet MS" panose="020B0603020202020204" pitchFamily="34" charset="0"/>
              </a:rPr>
              <a:t>competition</a:t>
            </a:r>
            <a:r>
              <a:rPr lang="en-GB" sz="1100">
                <a:latin typeface="Trebuchet MS" panose="020B0603020202020204" pitchFamily="34" charset="0"/>
              </a:rPr>
              <a:t> with </a:t>
            </a:r>
            <a:r>
              <a:rPr lang="en-GB" sz="1100">
                <a:solidFill>
                  <a:schemeClr val="tx2"/>
                </a:solidFill>
                <a:latin typeface="Trebuchet MS" panose="020B0603020202020204" pitchFamily="34" charset="0"/>
              </a:rPr>
              <a:t>AML</a:t>
            </a:r>
            <a:r>
              <a:rPr lang="en-GB" sz="1100">
                <a:latin typeface="Trebuchet MS" panose="020B0603020202020204" pitchFamily="34" charset="0"/>
              </a:rPr>
              <a:t> </a:t>
            </a:r>
            <a:r>
              <a:rPr lang="en-GB" sz="1100" err="1">
                <a:solidFill>
                  <a:schemeClr val="tx2"/>
                </a:solidFill>
                <a:latin typeface="Trebuchet MS" panose="020B0603020202020204" pitchFamily="34" charset="0"/>
              </a:rPr>
              <a:t>softwares</a:t>
            </a:r>
            <a:r>
              <a:rPr lang="en-GB" sz="1100">
                <a:latin typeface="Trebuchet MS" panose="020B0603020202020204" pitchFamily="34" charset="0"/>
              </a:rPr>
              <a:t>, a totally different positioning from BD&amp;A players</a:t>
            </a:r>
            <a:endParaRPr kumimoji="0" lang="en-GB" sz="1100" b="0" i="0" u="none" strike="noStrike" normalizeH="0">
              <a:ln>
                <a:noFill/>
              </a:ln>
              <a:effectLst/>
              <a:latin typeface="Trebuchet MS" panose="020B0603020202020204" pitchFamily="34" charset="0"/>
            </a:endParaRPr>
          </a:p>
        </p:txBody>
      </p:sp>
      <p:grpSp>
        <p:nvGrpSpPr>
          <p:cNvPr id="51" name="Groupe 50">
            <a:extLst>
              <a:ext uri="{FF2B5EF4-FFF2-40B4-BE49-F238E27FC236}">
                <a16:creationId xmlns:a16="http://schemas.microsoft.com/office/drawing/2014/main" id="{A68D9A3D-C32E-42DE-B1C7-436441505574}"/>
              </a:ext>
            </a:extLst>
          </p:cNvPr>
          <p:cNvGrpSpPr/>
          <p:nvPr/>
        </p:nvGrpSpPr>
        <p:grpSpPr>
          <a:xfrm>
            <a:off x="8448150" y="-11528"/>
            <a:ext cx="1435548" cy="588143"/>
            <a:chOff x="8448150" y="-11528"/>
            <a:chExt cx="1435548" cy="588143"/>
          </a:xfrm>
        </p:grpSpPr>
        <p:grpSp>
          <p:nvGrpSpPr>
            <p:cNvPr id="54" name="Groupe 53">
              <a:extLst>
                <a:ext uri="{FF2B5EF4-FFF2-40B4-BE49-F238E27FC236}">
                  <a16:creationId xmlns:a16="http://schemas.microsoft.com/office/drawing/2014/main" id="{48602D2E-32AF-4641-9D47-6390C82BC637}"/>
                </a:ext>
              </a:extLst>
            </p:cNvPr>
            <p:cNvGrpSpPr/>
            <p:nvPr/>
          </p:nvGrpSpPr>
          <p:grpSpPr>
            <a:xfrm>
              <a:off x="8448150" y="-11528"/>
              <a:ext cx="1435548" cy="555653"/>
              <a:chOff x="8448150" y="-11528"/>
              <a:chExt cx="1435548" cy="555653"/>
            </a:xfrm>
          </p:grpSpPr>
          <p:sp>
            <p:nvSpPr>
              <p:cNvPr id="57" name="Rectangle : coins arrondis 199">
                <a:extLst>
                  <a:ext uri="{FF2B5EF4-FFF2-40B4-BE49-F238E27FC236}">
                    <a16:creationId xmlns:a16="http://schemas.microsoft.com/office/drawing/2014/main" id="{44900F6B-CCA0-4E08-A085-9940B80B410B}"/>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9" name="Rectangle : coins arrondis 200">
                <a:extLst>
                  <a:ext uri="{FF2B5EF4-FFF2-40B4-BE49-F238E27FC236}">
                    <a16:creationId xmlns:a16="http://schemas.microsoft.com/office/drawing/2014/main" id="{7FEF13D3-EACC-4636-8C19-1C600828D50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0" name="Rectangle : coins arrondis 201">
                <a:extLst>
                  <a:ext uri="{FF2B5EF4-FFF2-40B4-BE49-F238E27FC236}">
                    <a16:creationId xmlns:a16="http://schemas.microsoft.com/office/drawing/2014/main" id="{56EB2DAE-4CEF-4B70-BC9D-722291666F3E}"/>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1" name="ZoneTexte 18">
                <a:extLst>
                  <a:ext uri="{FF2B5EF4-FFF2-40B4-BE49-F238E27FC236}">
                    <a16:creationId xmlns:a16="http://schemas.microsoft.com/office/drawing/2014/main" id="{CD3B0333-19DE-48CF-A465-29FF4EE257EB}"/>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62" name="Graphique 128" descr="Jauge">
                <a:extLst>
                  <a:ext uri="{FF2B5EF4-FFF2-40B4-BE49-F238E27FC236}">
                    <a16:creationId xmlns:a16="http://schemas.microsoft.com/office/drawing/2014/main" id="{D1011CF3-9EB3-4075-A6C0-041DB01D1C60}"/>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553764" y="187516"/>
                <a:ext cx="234953" cy="218224"/>
              </a:xfrm>
              <a:prstGeom prst="rect">
                <a:avLst/>
              </a:prstGeom>
              <a:effectLst/>
            </p:spPr>
          </p:pic>
          <p:pic>
            <p:nvPicPr>
              <p:cNvPr id="63" name="Graphique 90" descr="Poignée de main">
                <a:extLst>
                  <a:ext uri="{FF2B5EF4-FFF2-40B4-BE49-F238E27FC236}">
                    <a16:creationId xmlns:a16="http://schemas.microsoft.com/office/drawing/2014/main" id="{9F450126-6B3F-4FBD-B67A-025E47CD66F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960868" y="152880"/>
                <a:ext cx="256313" cy="287496"/>
              </a:xfrm>
              <a:prstGeom prst="rect">
                <a:avLst/>
              </a:prstGeom>
              <a:effectLst/>
            </p:spPr>
          </p:pic>
          <p:pic>
            <p:nvPicPr>
              <p:cNvPr id="64" name="Graphique 74" descr="Mégaphone">
                <a:extLst>
                  <a:ext uri="{FF2B5EF4-FFF2-40B4-BE49-F238E27FC236}">
                    <a16:creationId xmlns:a16="http://schemas.microsoft.com/office/drawing/2014/main" id="{FFA29C5B-421E-47B1-9EBA-6F7A6BBF0A85}"/>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389331" y="181519"/>
                <a:ext cx="233011" cy="216420"/>
              </a:xfrm>
              <a:prstGeom prst="rect">
                <a:avLst/>
              </a:prstGeom>
              <a:effectLst/>
            </p:spPr>
          </p:pic>
          <p:pic>
            <p:nvPicPr>
              <p:cNvPr id="65" name="Picture 2" descr="Drapeau France">
                <a:extLst>
                  <a:ext uri="{FF2B5EF4-FFF2-40B4-BE49-F238E27FC236}">
                    <a16:creationId xmlns:a16="http://schemas.microsoft.com/office/drawing/2014/main" id="{8D3F81E8-1902-4856-9931-B2320C5DA781}"/>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6" name="Picture 2" descr="5 ft x 3 ft 150 x 90 cm-DRAPEAU BELGE Belgique 100% Polyester ...">
                <a:extLst>
                  <a:ext uri="{FF2B5EF4-FFF2-40B4-BE49-F238E27FC236}">
                    <a16:creationId xmlns:a16="http://schemas.microsoft.com/office/drawing/2014/main" id="{37E65187-2AD1-4B8A-A4DA-B05525556023}"/>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8" name="Picture 2 - 1" descr="Drapeau des Pays-Bas — Wikipédia">
                <a:extLst>
                  <a:ext uri="{FF2B5EF4-FFF2-40B4-BE49-F238E27FC236}">
                    <a16:creationId xmlns:a16="http://schemas.microsoft.com/office/drawing/2014/main" id="{DE89686A-3351-4FEE-B323-3E3C7CC8B885}"/>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9" name="Picture 2 - 2" descr="Drapeau du Luxembourg">
                <a:extLst>
                  <a:ext uri="{FF2B5EF4-FFF2-40B4-BE49-F238E27FC236}">
                    <a16:creationId xmlns:a16="http://schemas.microsoft.com/office/drawing/2014/main" id="{6CC861DE-1356-47DA-AD83-9010EE709439}"/>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55" name="ZoneTexte 18">
              <a:extLst>
                <a:ext uri="{FF2B5EF4-FFF2-40B4-BE49-F238E27FC236}">
                  <a16:creationId xmlns:a16="http://schemas.microsoft.com/office/drawing/2014/main" id="{6B4FA9BC-4B58-4FBA-BD2D-FC7F3C6114B4}"/>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grpSp>
        <p:nvGrpSpPr>
          <p:cNvPr id="50" name="Groupe 49">
            <a:extLst>
              <a:ext uri="{FF2B5EF4-FFF2-40B4-BE49-F238E27FC236}">
                <a16:creationId xmlns:a16="http://schemas.microsoft.com/office/drawing/2014/main" id="{4589F634-DB97-4BCB-9BF8-F88E38130BCA}"/>
              </a:ext>
            </a:extLst>
          </p:cNvPr>
          <p:cNvGrpSpPr/>
          <p:nvPr/>
        </p:nvGrpSpPr>
        <p:grpSpPr>
          <a:xfrm>
            <a:off x="5006834" y="4109838"/>
            <a:ext cx="4524905" cy="1172201"/>
            <a:chOff x="-20802" y="5336768"/>
            <a:chExt cx="4524905" cy="1172201"/>
          </a:xfrm>
        </p:grpSpPr>
        <p:sp>
          <p:nvSpPr>
            <p:cNvPr id="53" name="ZoneTexte 52">
              <a:extLst>
                <a:ext uri="{FF2B5EF4-FFF2-40B4-BE49-F238E27FC236}">
                  <a16:creationId xmlns:a16="http://schemas.microsoft.com/office/drawing/2014/main" id="{02ABCCFE-A8A2-45B7-8AC4-D8545F702576}"/>
                </a:ext>
              </a:extLst>
            </p:cNvPr>
            <p:cNvSpPr txBox="1"/>
            <p:nvPr/>
          </p:nvSpPr>
          <p:spPr>
            <a:xfrm>
              <a:off x="114494" y="5336768"/>
              <a:ext cx="4389609" cy="1172201"/>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defPPr>
                <a:defRPr lang="en-US"/>
              </a:defPPr>
              <a:lvl1pPr marL="0" marR="0" indent="0" defTabSz="914400" eaLnBrk="1" latinLnBrk="0" hangingPunct="1">
                <a:lnSpc>
                  <a:spcPct val="100000"/>
                </a:lnSpc>
                <a:spcAft>
                  <a:spcPts val="300"/>
                </a:spcAft>
                <a:buClrTx/>
                <a:buSzTx/>
                <a:buFontTx/>
                <a:buNone/>
                <a:tabLst/>
                <a:defRPr kumimoji="0" sz="1000" b="0" i="1" u="none" strike="noStrike" cap="none" normalizeH="0" baseline="0">
                  <a:ln>
                    <a:noFill/>
                  </a:ln>
                  <a:effectLst/>
                  <a:latin typeface="Trebuchet MS" panose="020B0603020202020204" pitchFamily="34" charset="0"/>
                </a:defRPr>
              </a:lvl1pPr>
            </a:lstStyle>
            <a:p>
              <a:r>
                <a:rPr lang="en-GB"/>
                <a:t>“</a:t>
              </a:r>
              <a:r>
                <a:rPr lang="en-GB">
                  <a:solidFill>
                    <a:schemeClr val="tx2"/>
                  </a:solidFill>
                </a:rPr>
                <a:t>Europe Anti-Money Laundering Software Market </a:t>
              </a:r>
              <a:r>
                <a:rPr lang="en-GB"/>
                <a:t>is growing with a </a:t>
              </a:r>
              <a:r>
                <a:rPr lang="en-GB">
                  <a:solidFill>
                    <a:schemeClr val="tx2"/>
                  </a:solidFill>
                </a:rPr>
                <a:t>CAGR</a:t>
              </a:r>
              <a:r>
                <a:rPr lang="en-GB" baseline="-25000">
                  <a:solidFill>
                    <a:schemeClr val="tx2"/>
                  </a:solidFill>
                </a:rPr>
                <a:t>2019-2026</a:t>
              </a:r>
              <a:r>
                <a:rPr lang="en-GB">
                  <a:solidFill>
                    <a:schemeClr val="tx2"/>
                  </a:solidFill>
                </a:rPr>
                <a:t> of 16.3% </a:t>
              </a:r>
              <a:r>
                <a:rPr lang="en-GB"/>
                <a:t>and expected to reach USD 1,047 million by 2026 from </a:t>
              </a:r>
              <a:r>
                <a:rPr lang="en-GB">
                  <a:solidFill>
                    <a:schemeClr val="tx2"/>
                  </a:solidFill>
                </a:rPr>
                <a:t>USD 315 million in 2018</a:t>
              </a:r>
              <a:r>
                <a:rPr lang="en-GB"/>
                <a:t>. Increasing money laundering activities especially in the banking financial sector and stringent government regulation for laundering activities are the factors for the market growth.”</a:t>
              </a:r>
            </a:p>
            <a:p>
              <a:r>
                <a:rPr lang="en-GB" i="0"/>
                <a:t>Data Bridge Market Research analyses, 2020</a:t>
              </a:r>
            </a:p>
          </p:txBody>
        </p:sp>
        <p:sp>
          <p:nvSpPr>
            <p:cNvPr id="70" name="Freeform 663">
              <a:extLst>
                <a:ext uri="{FF2B5EF4-FFF2-40B4-BE49-F238E27FC236}">
                  <a16:creationId xmlns:a16="http://schemas.microsoft.com/office/drawing/2014/main" id="{A90237F9-7609-49F5-8DCD-B4415864DF53}"/>
                </a:ext>
              </a:extLst>
            </p:cNvPr>
            <p:cNvSpPr>
              <a:spLocks noChangeAspect="1" noEditPoints="1"/>
            </p:cNvSpPr>
            <p:nvPr/>
          </p:nvSpPr>
          <p:spPr bwMode="auto">
            <a:xfrm>
              <a:off x="-20802" y="5810155"/>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sp>
        <p:nvSpPr>
          <p:cNvPr id="72" name="ZoneTexte 71">
            <a:extLst>
              <a:ext uri="{FF2B5EF4-FFF2-40B4-BE49-F238E27FC236}">
                <a16:creationId xmlns:a16="http://schemas.microsoft.com/office/drawing/2014/main" id="{1903763E-9449-4AD6-B709-B9C3447B8FE1}"/>
              </a:ext>
            </a:extLst>
          </p:cNvPr>
          <p:cNvSpPr txBox="1"/>
          <p:nvPr/>
        </p:nvSpPr>
        <p:spPr>
          <a:xfrm>
            <a:off x="5097585" y="1452700"/>
            <a:ext cx="4632313" cy="2657138"/>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en-GB" sz="1000" dirty="0">
                <a:latin typeface="Trebuchet MS" panose="020B0603020202020204" pitchFamily="34" charset="0"/>
              </a:rPr>
              <a:t>AML </a:t>
            </a:r>
            <a:r>
              <a:rPr lang="en-GB" sz="1000" dirty="0" err="1">
                <a:latin typeface="Trebuchet MS" panose="020B0603020202020204" pitchFamily="34" charset="0"/>
              </a:rPr>
              <a:t>softwares</a:t>
            </a:r>
            <a:r>
              <a:rPr lang="en-GB" sz="1000" dirty="0">
                <a:latin typeface="Trebuchet MS" panose="020B0603020202020204" pitchFamily="34" charset="0"/>
              </a:rPr>
              <a:t> are used in the finance and legal industries to meet financial institutions’ needs and other regulated entities in terms of money laundering activities</a:t>
            </a:r>
          </a:p>
          <a:p>
            <a:pPr marL="171450" indent="-171450">
              <a:spcAft>
                <a:spcPts val="200"/>
              </a:spcAft>
              <a:buFont typeface="Arial" panose="020B0604020202020204" pitchFamily="34" charset="0"/>
              <a:buChar char="•"/>
            </a:pPr>
            <a:r>
              <a:rPr lang="en-GB" sz="1000" dirty="0" err="1">
                <a:solidFill>
                  <a:schemeClr val="tx2"/>
                </a:solidFill>
                <a:latin typeface="Trebuchet MS" panose="020B0603020202020204" pitchFamily="34" charset="0"/>
              </a:rPr>
              <a:t>RegTech</a:t>
            </a:r>
            <a:r>
              <a:rPr lang="en-GB" sz="1000" dirty="0">
                <a:solidFill>
                  <a:schemeClr val="tx2"/>
                </a:solidFill>
                <a:latin typeface="Trebuchet MS" panose="020B0603020202020204" pitchFamily="34" charset="0"/>
              </a:rPr>
              <a:t> players are competing with incumbent AML </a:t>
            </a:r>
            <a:r>
              <a:rPr lang="en-GB" sz="1000" dirty="0" err="1">
                <a:solidFill>
                  <a:schemeClr val="tx2"/>
                </a:solidFill>
                <a:latin typeface="Trebuchet MS" panose="020B0603020202020204" pitchFamily="34" charset="0"/>
              </a:rPr>
              <a:t>softwares</a:t>
            </a:r>
            <a:r>
              <a:rPr lang="en-GB" sz="1000" dirty="0">
                <a:latin typeface="Trebuchet MS" panose="020B0603020202020204" pitchFamily="34" charset="0"/>
              </a:rPr>
              <a:t>, as they propose similar services e.g. </a:t>
            </a:r>
            <a:r>
              <a:rPr lang="en-GB" sz="1000" dirty="0">
                <a:solidFill>
                  <a:schemeClr val="tx2"/>
                </a:solidFill>
                <a:latin typeface="Trebuchet MS" panose="020B0603020202020204" pitchFamily="34" charset="0"/>
              </a:rPr>
              <a:t>transaction monitoring in real time</a:t>
            </a:r>
            <a:r>
              <a:rPr lang="en-GB" sz="1000" dirty="0">
                <a:latin typeface="Trebuchet MS" panose="020B0603020202020204" pitchFamily="34" charset="0"/>
              </a:rPr>
              <a:t>, currency transaction reporting, customer identity systems and compliance management</a:t>
            </a:r>
          </a:p>
          <a:p>
            <a:pPr marL="628650" lvl="1" indent="-171450">
              <a:spcAft>
                <a:spcPts val="200"/>
              </a:spcAft>
              <a:buFont typeface="Courier New" panose="02070309020205020404" pitchFamily="49" charset="0"/>
              <a:buChar char="o"/>
            </a:pPr>
            <a:r>
              <a:rPr lang="en-GB" sz="1000" dirty="0">
                <a:latin typeface="Trebuchet MS" panose="020B0603020202020204" pitchFamily="34" charset="0"/>
              </a:rPr>
              <a:t>They are focusing on B2C KYC (e.g. verification of authenticity of Identity Cards, PEP lists...) like </a:t>
            </a:r>
            <a:r>
              <a:rPr lang="en-GB" sz="1000" dirty="0" err="1">
                <a:latin typeface="Trebuchet MS" panose="020B0603020202020204" pitchFamily="34" charset="0"/>
              </a:rPr>
              <a:t>Treezor</a:t>
            </a:r>
            <a:r>
              <a:rPr lang="en-GB" sz="1000" dirty="0">
                <a:latin typeface="Trebuchet MS" panose="020B0603020202020204" pitchFamily="34" charset="0"/>
              </a:rPr>
              <a:t> or </a:t>
            </a:r>
            <a:r>
              <a:rPr lang="en-GB" sz="1000" dirty="0" err="1">
                <a:latin typeface="Trebuchet MS" panose="020B0603020202020204" pitchFamily="34" charset="0"/>
              </a:rPr>
              <a:t>Jumio</a:t>
            </a:r>
            <a:r>
              <a:rPr lang="en-GB" sz="1000" dirty="0">
                <a:latin typeface="Trebuchet MS" panose="020B0603020202020204" pitchFamily="34" charset="0"/>
              </a:rPr>
              <a:t> and are broadening their offerings to businesses evaluation (e.g. </a:t>
            </a:r>
            <a:r>
              <a:rPr lang="en-GB" sz="1000" dirty="0" err="1">
                <a:latin typeface="Trebuchet MS" panose="020B0603020202020204" pitchFamily="34" charset="0"/>
              </a:rPr>
              <a:t>Trulioo</a:t>
            </a:r>
            <a:r>
              <a:rPr lang="en-GB" sz="1000" dirty="0">
                <a:latin typeface="Trebuchet MS" panose="020B0603020202020204" pitchFamily="34" charset="0"/>
              </a:rPr>
              <a:t>, </a:t>
            </a:r>
            <a:r>
              <a:rPr lang="en-GB" sz="1000" dirty="0" err="1">
                <a:latin typeface="Trebuchet MS" panose="020B0603020202020204" pitchFamily="34" charset="0"/>
              </a:rPr>
              <a:t>SmartKYC</a:t>
            </a:r>
            <a:r>
              <a:rPr lang="en-GB" sz="1000" dirty="0">
                <a:latin typeface="Trebuchet MS" panose="020B0603020202020204" pitchFamily="34" charset="0"/>
              </a:rPr>
              <a:t>...)</a:t>
            </a:r>
          </a:p>
          <a:p>
            <a:pPr marL="628650" lvl="1" indent="-171450">
              <a:spcAft>
                <a:spcPts val="200"/>
              </a:spcAft>
              <a:buFont typeface="Courier New" panose="02070309020205020404" pitchFamily="49" charset="0"/>
              <a:buChar char="o"/>
            </a:pPr>
            <a:r>
              <a:rPr lang="en-GB" sz="1000" dirty="0">
                <a:latin typeface="Trebuchet MS" panose="020B0603020202020204" pitchFamily="34" charset="0"/>
              </a:rPr>
              <a:t>As digital-native </a:t>
            </a:r>
            <a:r>
              <a:rPr lang="en-GB" sz="1000" dirty="0" err="1">
                <a:latin typeface="Trebuchet MS" panose="020B0603020202020204" pitchFamily="34" charset="0"/>
              </a:rPr>
              <a:t>startups</a:t>
            </a:r>
            <a:r>
              <a:rPr lang="en-GB" sz="1000" dirty="0">
                <a:latin typeface="Trebuchet MS" panose="020B0603020202020204" pitchFamily="34" charset="0"/>
              </a:rPr>
              <a:t>, </a:t>
            </a:r>
            <a:r>
              <a:rPr lang="en-GB" sz="1000" dirty="0" err="1">
                <a:latin typeface="Trebuchet MS" panose="020B0603020202020204" pitchFamily="34" charset="0"/>
              </a:rPr>
              <a:t>RegTech</a:t>
            </a:r>
            <a:r>
              <a:rPr lang="en-GB" sz="1000" dirty="0">
                <a:latin typeface="Trebuchet MS" panose="020B0603020202020204" pitchFamily="34" charset="0"/>
              </a:rPr>
              <a:t> players are also disruptive in the way they address customers, with enhanced UX focusing on customer experience and aggressive pricing schemes</a:t>
            </a:r>
          </a:p>
          <a:p>
            <a:pPr marL="171450" indent="-171450">
              <a:spcAft>
                <a:spcPts val="200"/>
              </a:spcAft>
              <a:buFont typeface="Arial" panose="020B0604020202020204" pitchFamily="34" charset="0"/>
              <a:buChar char="•"/>
            </a:pPr>
            <a:r>
              <a:rPr lang="en-GB" sz="1000" dirty="0">
                <a:latin typeface="Trebuchet MS" panose="020B0603020202020204" pitchFamily="34" charset="0"/>
              </a:rPr>
              <a:t>Due to new use cases such as customer online onboarding for banks, AML </a:t>
            </a:r>
            <a:r>
              <a:rPr lang="en-GB" sz="1000" dirty="0" err="1">
                <a:latin typeface="Trebuchet MS" panose="020B0603020202020204" pitchFamily="34" charset="0"/>
              </a:rPr>
              <a:t>softwares</a:t>
            </a:r>
            <a:r>
              <a:rPr lang="en-GB" sz="1000" dirty="0">
                <a:latin typeface="Trebuchet MS" panose="020B0603020202020204" pitchFamily="34" charset="0"/>
              </a:rPr>
              <a:t> represents a growing market</a:t>
            </a:r>
          </a:p>
        </p:txBody>
      </p:sp>
      <p:sp>
        <p:nvSpPr>
          <p:cNvPr id="52" name="ZoneTexte 51">
            <a:extLst>
              <a:ext uri="{FF2B5EF4-FFF2-40B4-BE49-F238E27FC236}">
                <a16:creationId xmlns:a16="http://schemas.microsoft.com/office/drawing/2014/main" id="{A12D3C1F-E245-4AE8-A435-ABD646EAC59C}"/>
              </a:ext>
            </a:extLst>
          </p:cNvPr>
          <p:cNvSpPr txBox="1"/>
          <p:nvPr/>
        </p:nvSpPr>
        <p:spPr>
          <a:xfrm>
            <a:off x="5097585" y="5377439"/>
            <a:ext cx="4240453" cy="246221"/>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en-GB" sz="1000">
                <a:latin typeface="Trebuchet MS" panose="020B0603020202020204" pitchFamily="34" charset="0"/>
              </a:rPr>
              <a:t>These dynamics </a:t>
            </a:r>
            <a:r>
              <a:rPr lang="en-GB" sz="1000">
                <a:solidFill>
                  <a:schemeClr val="tx2"/>
                </a:solidFill>
                <a:latin typeface="Trebuchet MS" panose="020B0603020202020204" pitchFamily="34" charset="0"/>
              </a:rPr>
              <a:t>do not impact BD&amp;A players</a:t>
            </a:r>
          </a:p>
        </p:txBody>
      </p:sp>
    </p:spTree>
    <p:extLst>
      <p:ext uri="{BB962C8B-B14F-4D97-AF65-F5344CB8AC3E}">
        <p14:creationId xmlns:p14="http://schemas.microsoft.com/office/powerpoint/2010/main" val="2842113706"/>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F599886-3EBE-46E4-B0F8-347AA66AC352}"/>
              </a:ext>
            </a:extLst>
          </p:cNvPr>
          <p:cNvGraphicFramePr>
            <a:graphicFrameLocks noChangeAspect="1"/>
          </p:cNvGraphicFramePr>
          <p:nvPr>
            <p:custDataLst>
              <p:tags r:id="rId1"/>
            </p:custDataLst>
            <p:extLst>
              <p:ext uri="{D42A27DB-BD31-4B8C-83A1-F6EECF244321}">
                <p14:modId xmlns:p14="http://schemas.microsoft.com/office/powerpoint/2010/main" val="643892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4F599886-3EBE-46E4-B0F8-347AA66AC35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6A17A76-10D5-4971-9386-9AB4BB3302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40" name="Rectangle 139">
            <a:extLst>
              <a:ext uri="{FF2B5EF4-FFF2-40B4-BE49-F238E27FC236}">
                <a16:creationId xmlns:a16="http://schemas.microsoft.com/office/drawing/2014/main" id="{7D3B76CA-F2AB-4537-BE8A-653875D79789}"/>
              </a:ext>
            </a:extLst>
          </p:cNvPr>
          <p:cNvSpPr/>
          <p:nvPr/>
        </p:nvSpPr>
        <p:spPr bwMode="auto">
          <a:xfrm>
            <a:off x="874367" y="4260559"/>
            <a:ext cx="3384912" cy="481931"/>
          </a:xfrm>
          <a:prstGeom prst="rect">
            <a:avLst/>
          </a:prstGeom>
          <a:solidFill>
            <a:schemeClr val="bg2">
              <a:lumMod val="20000"/>
              <a:lumOff val="80000"/>
            </a:schemeClr>
          </a:solidFill>
          <a:ln w="9525" cap="flat" cmpd="sng" algn="ctr">
            <a:solidFill>
              <a:schemeClr val="bg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 name="Titre 2">
            <a:extLst>
              <a:ext uri="{FF2B5EF4-FFF2-40B4-BE49-F238E27FC236}">
                <a16:creationId xmlns:a16="http://schemas.microsoft.com/office/drawing/2014/main" id="{DF419B8C-13BA-408C-93D2-A153796A6C71}"/>
              </a:ext>
            </a:extLst>
          </p:cNvPr>
          <p:cNvSpPr>
            <a:spLocks noGrp="1"/>
          </p:cNvSpPr>
          <p:nvPr>
            <p:ph type="title"/>
          </p:nvPr>
        </p:nvSpPr>
        <p:spPr>
          <a:xfrm>
            <a:off x="165600" y="147600"/>
            <a:ext cx="8488871" cy="684000"/>
          </a:xfrm>
        </p:spPr>
        <p:txBody>
          <a:bodyPr/>
          <a:lstStyle/>
          <a:p>
            <a:r>
              <a:rPr lang="en-GB" err="1">
                <a:latin typeface="Trebuchet MS" panose="020B0603020202020204" pitchFamily="34" charset="0"/>
              </a:rPr>
              <a:t>Altares</a:t>
            </a:r>
            <a:r>
              <a:rPr lang="en-GB">
                <a:latin typeface="Trebuchet MS" panose="020B0603020202020204" pitchFamily="34" charset="0"/>
              </a:rPr>
              <a:t> and other BD&amp;A players enjoy </a:t>
            </a:r>
            <a:r>
              <a:rPr lang="en-GB">
                <a:solidFill>
                  <a:schemeClr val="tx2"/>
                </a:solidFill>
                <a:latin typeface="Trebuchet MS" panose="020B0603020202020204" pitchFamily="34" charset="0"/>
              </a:rPr>
              <a:t>relative protection </a:t>
            </a:r>
            <a:r>
              <a:rPr lang="en-GB">
                <a:latin typeface="Trebuchet MS" panose="020B0603020202020204" pitchFamily="34" charset="0"/>
              </a:rPr>
              <a:t>from new entrants thanks to </a:t>
            </a:r>
            <a:r>
              <a:rPr lang="en-GB">
                <a:solidFill>
                  <a:schemeClr val="tx2"/>
                </a:solidFill>
                <a:latin typeface="Trebuchet MS" panose="020B0603020202020204" pitchFamily="34" charset="0"/>
              </a:rPr>
              <a:t>important barriers </a:t>
            </a:r>
            <a:r>
              <a:rPr lang="en-GB">
                <a:latin typeface="Trebuchet MS" panose="020B0603020202020204" pitchFamily="34" charset="0"/>
              </a:rPr>
              <a:t>to entry, related to </a:t>
            </a:r>
            <a:r>
              <a:rPr lang="en-GB">
                <a:solidFill>
                  <a:schemeClr val="tx2"/>
                </a:solidFill>
                <a:latin typeface="Trebuchet MS" panose="020B0603020202020204" pitchFamily="34" charset="0"/>
              </a:rPr>
              <a:t>cost of data quality provision</a:t>
            </a:r>
            <a:endParaRPr lang="en-GB">
              <a:latin typeface="Trebuchet MS" panose="020B0603020202020204" pitchFamily="34" charset="0"/>
            </a:endParaRPr>
          </a:p>
        </p:txBody>
      </p:sp>
      <p:sp>
        <p:nvSpPr>
          <p:cNvPr id="4" name="Espace réservé du texte 3">
            <a:extLst>
              <a:ext uri="{FF2B5EF4-FFF2-40B4-BE49-F238E27FC236}">
                <a16:creationId xmlns:a16="http://schemas.microsoft.com/office/drawing/2014/main" id="{DB1B808F-5B96-4AFA-897C-F3F8D1D712C2}"/>
              </a:ext>
            </a:extLst>
          </p:cNvPr>
          <p:cNvSpPr>
            <a:spLocks noGrp="1"/>
          </p:cNvSpPr>
          <p:nvPr>
            <p:ph type="body" sz="quarter" idx="10"/>
          </p:nvPr>
        </p:nvSpPr>
        <p:spPr/>
        <p:txBody>
          <a:bodyPr/>
          <a:lstStyle/>
          <a:p>
            <a:r>
              <a:rPr lang="en-GB"/>
              <a:t>Sources: eleven research &amp; analysis, expert calls </a:t>
            </a:r>
          </a:p>
          <a:p>
            <a:r>
              <a:rPr lang="en-GB">
                <a:solidFill>
                  <a:schemeClr val="bg1">
                    <a:lumMod val="50000"/>
                  </a:schemeClr>
                </a:solidFill>
              </a:rPr>
              <a:t>The cost of collect and treatment is estimated based on the number of FTEs required</a:t>
            </a:r>
            <a:endParaRPr lang="en-GB"/>
          </a:p>
        </p:txBody>
      </p:sp>
      <p:sp>
        <p:nvSpPr>
          <p:cNvPr id="396" name="Rectangle 395">
            <a:extLst>
              <a:ext uri="{FF2B5EF4-FFF2-40B4-BE49-F238E27FC236}">
                <a16:creationId xmlns:a16="http://schemas.microsoft.com/office/drawing/2014/main" id="{3590BD9E-974D-4073-A3D7-48AAB5AC34AB}"/>
              </a:ext>
            </a:extLst>
          </p:cNvPr>
          <p:cNvSpPr/>
          <p:nvPr/>
        </p:nvSpPr>
        <p:spPr>
          <a:xfrm>
            <a:off x="2180132" y="2890573"/>
            <a:ext cx="1217226"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646464"/>
                </a:solidFill>
                <a:effectLst/>
                <a:uLnTx/>
                <a:uFillTx/>
                <a:latin typeface="Trebuchet MS" panose="020B0603020202020204" pitchFamily="34" charset="0"/>
              </a:rPr>
              <a:t> « Give-to-Take » rationale</a:t>
            </a:r>
            <a:endParaRPr kumimoji="0" lang="en-GB" sz="900" b="0" i="0" u="none" strike="noStrike" kern="0" cap="none" spc="0" normalizeH="0" baseline="0" noProof="0">
              <a:ln>
                <a:noFill/>
              </a:ln>
              <a:solidFill>
                <a:srgbClr val="646464"/>
              </a:solidFill>
              <a:effectLst/>
              <a:uLnTx/>
              <a:uFillTx/>
              <a:latin typeface="Trebuchet MS" panose="020B0603020202020204" pitchFamily="34" charset="0"/>
            </a:endParaRPr>
          </a:p>
        </p:txBody>
      </p:sp>
      <p:sp>
        <p:nvSpPr>
          <p:cNvPr id="408" name="Rectangle 407">
            <a:extLst>
              <a:ext uri="{FF2B5EF4-FFF2-40B4-BE49-F238E27FC236}">
                <a16:creationId xmlns:a16="http://schemas.microsoft.com/office/drawing/2014/main" id="{BACB501A-3A8C-4478-B87E-2518342F4B2B}"/>
              </a:ext>
            </a:extLst>
          </p:cNvPr>
          <p:cNvSpPr/>
          <p:nvPr/>
        </p:nvSpPr>
        <p:spPr bwMode="auto">
          <a:xfrm>
            <a:off x="917957" y="3789637"/>
            <a:ext cx="1383557" cy="406964"/>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a:noFill/>
                </a:ln>
                <a:solidFill>
                  <a:srgbClr val="646464"/>
                </a:solidFill>
                <a:effectLst/>
                <a:uLnTx/>
                <a:uFillTx/>
                <a:latin typeface="Trebuchet MS" panose="020B0603020202020204" pitchFamily="34" charset="0"/>
              </a:rPr>
              <a:t>Data about decision-makers</a:t>
            </a:r>
          </a:p>
        </p:txBody>
      </p:sp>
      <p:sp>
        <p:nvSpPr>
          <p:cNvPr id="414" name="Rectangle 413">
            <a:extLst>
              <a:ext uri="{FF2B5EF4-FFF2-40B4-BE49-F238E27FC236}">
                <a16:creationId xmlns:a16="http://schemas.microsoft.com/office/drawing/2014/main" id="{D81D7DD9-B926-4C1B-8FEA-04B42917C8B8}"/>
              </a:ext>
            </a:extLst>
          </p:cNvPr>
          <p:cNvSpPr/>
          <p:nvPr/>
        </p:nvSpPr>
        <p:spPr bwMode="auto">
          <a:xfrm>
            <a:off x="917957" y="2845771"/>
            <a:ext cx="1383557" cy="406964"/>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a:noFill/>
                </a:ln>
                <a:solidFill>
                  <a:srgbClr val="646464"/>
                </a:solidFill>
                <a:effectLst/>
                <a:uLnTx/>
                <a:uFillTx/>
                <a:latin typeface="Trebuchet MS" panose="020B0603020202020204" pitchFamily="34" charset="0"/>
              </a:rPr>
              <a:t>Company payment data</a:t>
            </a:r>
          </a:p>
        </p:txBody>
      </p:sp>
      <p:sp>
        <p:nvSpPr>
          <p:cNvPr id="415" name="Rectangle 414">
            <a:extLst>
              <a:ext uri="{FF2B5EF4-FFF2-40B4-BE49-F238E27FC236}">
                <a16:creationId xmlns:a16="http://schemas.microsoft.com/office/drawing/2014/main" id="{95560F43-AE8E-449B-8694-0A933ACA4B55}"/>
              </a:ext>
            </a:extLst>
          </p:cNvPr>
          <p:cNvSpPr/>
          <p:nvPr/>
        </p:nvSpPr>
        <p:spPr bwMode="auto">
          <a:xfrm rot="16200000">
            <a:off x="-360983" y="2995321"/>
            <a:ext cx="1863153" cy="526734"/>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Private data</a:t>
            </a:r>
          </a:p>
        </p:txBody>
      </p:sp>
      <p:sp>
        <p:nvSpPr>
          <p:cNvPr id="416" name="Rectangle 415">
            <a:extLst>
              <a:ext uri="{FF2B5EF4-FFF2-40B4-BE49-F238E27FC236}">
                <a16:creationId xmlns:a16="http://schemas.microsoft.com/office/drawing/2014/main" id="{51B0EB3B-06C0-4D0A-8DC5-B32FCC074612}"/>
              </a:ext>
            </a:extLst>
          </p:cNvPr>
          <p:cNvSpPr/>
          <p:nvPr/>
        </p:nvSpPr>
        <p:spPr bwMode="auto">
          <a:xfrm>
            <a:off x="2371234" y="1862505"/>
            <a:ext cx="900423" cy="377537"/>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a:ln>
                  <a:noFill/>
                </a:ln>
                <a:solidFill>
                  <a:schemeClr val="bg1"/>
                </a:solidFill>
                <a:effectLst/>
                <a:uLnTx/>
                <a:uFillTx/>
                <a:latin typeface="Trebuchet MS" panose="020B0603020202020204" pitchFamily="34" charset="0"/>
              </a:rPr>
              <a:t>Purchase cost</a:t>
            </a:r>
          </a:p>
        </p:txBody>
      </p:sp>
      <p:cxnSp>
        <p:nvCxnSpPr>
          <p:cNvPr id="459" name="Connecteur droit 458">
            <a:extLst>
              <a:ext uri="{FF2B5EF4-FFF2-40B4-BE49-F238E27FC236}">
                <a16:creationId xmlns:a16="http://schemas.microsoft.com/office/drawing/2014/main" id="{8F767532-A488-4083-B5E2-EB1619B0B8A3}"/>
              </a:ext>
            </a:extLst>
          </p:cNvPr>
          <p:cNvCxnSpPr/>
          <p:nvPr/>
        </p:nvCxnSpPr>
        <p:spPr bwMode="auto">
          <a:xfrm>
            <a:off x="3299919" y="2333839"/>
            <a:ext cx="0" cy="2801105"/>
          </a:xfrm>
          <a:prstGeom prst="line">
            <a:avLst/>
          </a:prstGeom>
          <a:solidFill>
            <a:schemeClr val="accent1"/>
          </a:solidFill>
          <a:ln w="9525" cap="flat" cmpd="sng" algn="ctr">
            <a:solidFill>
              <a:srgbClr val="8FCD9F"/>
            </a:solidFill>
            <a:prstDash val="dash"/>
            <a:round/>
            <a:headEnd type="none" w="med" len="med"/>
            <a:tailEnd type="none" w="med" len="med"/>
          </a:ln>
          <a:effectLst/>
        </p:spPr>
      </p:cxnSp>
      <p:sp>
        <p:nvSpPr>
          <p:cNvPr id="417" name="Rectangle 416">
            <a:extLst>
              <a:ext uri="{FF2B5EF4-FFF2-40B4-BE49-F238E27FC236}">
                <a16:creationId xmlns:a16="http://schemas.microsoft.com/office/drawing/2014/main" id="{117EC0DE-3DE8-4F0C-AD60-DA9B0DC8AF72}"/>
              </a:ext>
            </a:extLst>
          </p:cNvPr>
          <p:cNvSpPr/>
          <p:nvPr/>
        </p:nvSpPr>
        <p:spPr bwMode="auto">
          <a:xfrm>
            <a:off x="3358856" y="1862505"/>
            <a:ext cx="900423" cy="377537"/>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a:ln>
                  <a:noFill/>
                </a:ln>
                <a:solidFill>
                  <a:schemeClr val="bg1"/>
                </a:solidFill>
                <a:effectLst/>
                <a:uLnTx/>
                <a:uFillTx/>
                <a:latin typeface="Trebuchet MS" panose="020B0603020202020204" pitchFamily="34" charset="0"/>
              </a:rPr>
              <a:t>Collect and treatment</a:t>
            </a:r>
          </a:p>
        </p:txBody>
      </p:sp>
      <p:pic>
        <p:nvPicPr>
          <p:cNvPr id="512" name="Graphique 511">
            <a:extLst>
              <a:ext uri="{FF2B5EF4-FFF2-40B4-BE49-F238E27FC236}">
                <a16:creationId xmlns:a16="http://schemas.microsoft.com/office/drawing/2014/main" id="{11581DFF-A8E9-4109-A202-FEF54DDFF208}"/>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2384879" y="3854120"/>
            <a:ext cx="228021" cy="235378"/>
          </a:xfrm>
          <a:prstGeom prst="rect">
            <a:avLst/>
          </a:prstGeom>
        </p:spPr>
      </p:pic>
      <p:pic>
        <p:nvPicPr>
          <p:cNvPr id="513" name="Graphique 512">
            <a:extLst>
              <a:ext uri="{FF2B5EF4-FFF2-40B4-BE49-F238E27FC236}">
                <a16:creationId xmlns:a16="http://schemas.microsoft.com/office/drawing/2014/main" id="{E847D152-F4AA-4A43-A818-1F6A663A765F}"/>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2684278" y="3854120"/>
            <a:ext cx="228021" cy="235378"/>
          </a:xfrm>
          <a:prstGeom prst="rect">
            <a:avLst/>
          </a:prstGeom>
        </p:spPr>
      </p:pic>
      <p:pic>
        <p:nvPicPr>
          <p:cNvPr id="514" name="Graphique 513">
            <a:extLst>
              <a:ext uri="{FF2B5EF4-FFF2-40B4-BE49-F238E27FC236}">
                <a16:creationId xmlns:a16="http://schemas.microsoft.com/office/drawing/2014/main" id="{0C3D2892-9A46-4FB4-9AC6-6F93C0F685A7}"/>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2983677" y="3854120"/>
            <a:ext cx="228021" cy="235378"/>
          </a:xfrm>
          <a:prstGeom prst="rect">
            <a:avLst/>
          </a:prstGeom>
        </p:spPr>
      </p:pic>
      <p:pic>
        <p:nvPicPr>
          <p:cNvPr id="515" name="Graphique 514">
            <a:extLst>
              <a:ext uri="{FF2B5EF4-FFF2-40B4-BE49-F238E27FC236}">
                <a16:creationId xmlns:a16="http://schemas.microsoft.com/office/drawing/2014/main" id="{56B43F3B-9ED0-425F-8E03-32D6C6465DF2}"/>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3397865" y="3854120"/>
            <a:ext cx="228021" cy="235378"/>
          </a:xfrm>
          <a:prstGeom prst="rect">
            <a:avLst/>
          </a:prstGeom>
        </p:spPr>
      </p:pic>
      <p:pic>
        <p:nvPicPr>
          <p:cNvPr id="516" name="Graphique 515">
            <a:extLst>
              <a:ext uri="{FF2B5EF4-FFF2-40B4-BE49-F238E27FC236}">
                <a16:creationId xmlns:a16="http://schemas.microsoft.com/office/drawing/2014/main" id="{9032EDE6-E7D6-486A-839E-2C267FC0FEE1}"/>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3697264" y="3854120"/>
            <a:ext cx="228021" cy="235378"/>
          </a:xfrm>
          <a:prstGeom prst="rect">
            <a:avLst/>
          </a:prstGeom>
        </p:spPr>
      </p:pic>
      <p:pic>
        <p:nvPicPr>
          <p:cNvPr id="517" name="Graphique 516">
            <a:extLst>
              <a:ext uri="{FF2B5EF4-FFF2-40B4-BE49-F238E27FC236}">
                <a16:creationId xmlns:a16="http://schemas.microsoft.com/office/drawing/2014/main" id="{C03CFEC0-CABC-4D0B-82D5-9D1DB57FD0A8}"/>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3996663" y="3854120"/>
            <a:ext cx="228021" cy="235378"/>
          </a:xfrm>
          <a:prstGeom prst="rect">
            <a:avLst/>
          </a:prstGeom>
        </p:spPr>
      </p:pic>
      <p:pic>
        <p:nvPicPr>
          <p:cNvPr id="522" name="Graphique 521">
            <a:extLst>
              <a:ext uri="{FF2B5EF4-FFF2-40B4-BE49-F238E27FC236}">
                <a16:creationId xmlns:a16="http://schemas.microsoft.com/office/drawing/2014/main" id="{C2AF066B-A07C-405E-BD6C-9BC15E481245}"/>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3397865" y="2933609"/>
            <a:ext cx="228021" cy="235378"/>
          </a:xfrm>
          <a:prstGeom prst="rect">
            <a:avLst/>
          </a:prstGeom>
        </p:spPr>
      </p:pic>
      <p:pic>
        <p:nvPicPr>
          <p:cNvPr id="523" name="Graphique 522">
            <a:extLst>
              <a:ext uri="{FF2B5EF4-FFF2-40B4-BE49-F238E27FC236}">
                <a16:creationId xmlns:a16="http://schemas.microsoft.com/office/drawing/2014/main" id="{061A04C1-7DF6-4BF5-A3AF-9FEF05820EC1}"/>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3697264" y="2933609"/>
            <a:ext cx="228021" cy="235378"/>
          </a:xfrm>
          <a:prstGeom prst="rect">
            <a:avLst/>
          </a:prstGeom>
        </p:spPr>
      </p:pic>
      <p:pic>
        <p:nvPicPr>
          <p:cNvPr id="524" name="Graphique 523">
            <a:extLst>
              <a:ext uri="{FF2B5EF4-FFF2-40B4-BE49-F238E27FC236}">
                <a16:creationId xmlns:a16="http://schemas.microsoft.com/office/drawing/2014/main" id="{AAED14B5-1BB0-47D3-9692-C469FDF38FD2}"/>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3996663" y="2933609"/>
            <a:ext cx="228021" cy="235378"/>
          </a:xfrm>
          <a:prstGeom prst="rect">
            <a:avLst/>
          </a:prstGeom>
        </p:spPr>
      </p:pic>
      <p:sp>
        <p:nvSpPr>
          <p:cNvPr id="541" name="Bulle narrative : rectangle 540">
            <a:extLst>
              <a:ext uri="{FF2B5EF4-FFF2-40B4-BE49-F238E27FC236}">
                <a16:creationId xmlns:a16="http://schemas.microsoft.com/office/drawing/2014/main" id="{E1BF4AB8-5616-4F51-AE2A-2BAF5BCF7DAD}"/>
              </a:ext>
            </a:extLst>
          </p:cNvPr>
          <p:cNvSpPr/>
          <p:nvPr/>
        </p:nvSpPr>
        <p:spPr bwMode="auto">
          <a:xfrm>
            <a:off x="307226" y="5392202"/>
            <a:ext cx="4395465" cy="829554"/>
          </a:xfrm>
          <a:prstGeom prst="wedgeRectCallout">
            <a:avLst>
              <a:gd name="adj1" fmla="val 19009"/>
              <a:gd name="adj2" fmla="val -72408"/>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square" lIns="648000" tIns="45720" rIns="36000" bIns="45720" numCol="1" rtlCol="0" anchor="ctr" anchorCtr="0" compatLnSpc="1">
            <a:prstTxWarp prst="textNoShape">
              <a:avLst/>
            </a:prstTxWarp>
          </a:bodyPr>
          <a:lstStyle/>
          <a:p>
            <a:pPr marL="35560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000" b="0" i="0" u="none" strike="noStrike" cap="none" normalizeH="0" baseline="0">
                <a:ln>
                  <a:noFill/>
                </a:ln>
                <a:solidFill>
                  <a:schemeClr val="tx1"/>
                </a:solidFill>
                <a:effectLst/>
                <a:latin typeface="Trebuchet MS" panose="020B0603020202020204" pitchFamily="34" charset="0"/>
              </a:rPr>
              <a:t>Purchase of legal statutes and documents to </a:t>
            </a:r>
            <a:r>
              <a:rPr kumimoji="0" lang="en-GB" sz="1000" b="0" i="0" u="none" strike="noStrike" cap="none" normalizeH="0" baseline="0" err="1">
                <a:ln>
                  <a:noFill/>
                </a:ln>
                <a:solidFill>
                  <a:schemeClr val="tx1"/>
                </a:solidFill>
                <a:effectLst/>
                <a:latin typeface="Trebuchet MS" panose="020B0603020202020204" pitchFamily="34" charset="0"/>
              </a:rPr>
              <a:t>Infogreffe</a:t>
            </a:r>
            <a:r>
              <a:rPr kumimoji="0" lang="en-GB" sz="1000" b="0" i="0" u="none" strike="noStrike" cap="none" normalizeH="0" baseline="0">
                <a:ln>
                  <a:noFill/>
                </a:ln>
                <a:solidFill>
                  <a:schemeClr val="tx1"/>
                </a:solidFill>
                <a:effectLst/>
                <a:latin typeface="Trebuchet MS" panose="020B0603020202020204" pitchFamily="34" charset="0"/>
              </a:rPr>
              <a:t> (reports, legal statutes, sold per unit)</a:t>
            </a:r>
          </a:p>
          <a:p>
            <a:pPr marL="35560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000">
                <a:latin typeface="Trebuchet MS" pitchFamily="34" charset="0"/>
              </a:rPr>
              <a:t>Manual input of information retrieved on annual reports</a:t>
            </a:r>
          </a:p>
          <a:p>
            <a:pPr marL="35560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000">
                <a:latin typeface="Trebuchet MS" pitchFamily="34" charset="0"/>
              </a:rPr>
              <a:t>Cost of FTEs for investigations (phone calls, etc.)</a:t>
            </a:r>
            <a:endParaRPr kumimoji="0" lang="en-GB" sz="1000" b="0" i="0" u="none" strike="noStrike" cap="none" normalizeH="0" baseline="0">
              <a:ln>
                <a:noFill/>
              </a:ln>
              <a:solidFill>
                <a:schemeClr val="tx1"/>
              </a:solidFill>
              <a:effectLst/>
              <a:latin typeface="Trebuchet MS" panose="020B0603020202020204" pitchFamily="34" charset="0"/>
            </a:endParaRPr>
          </a:p>
        </p:txBody>
      </p:sp>
      <p:sp>
        <p:nvSpPr>
          <p:cNvPr id="542" name="ZoneTexte 541">
            <a:extLst>
              <a:ext uri="{FF2B5EF4-FFF2-40B4-BE49-F238E27FC236}">
                <a16:creationId xmlns:a16="http://schemas.microsoft.com/office/drawing/2014/main" id="{DB7954D2-4318-401C-8BF9-2367B538123C}"/>
              </a:ext>
            </a:extLst>
          </p:cNvPr>
          <p:cNvSpPr txBox="1"/>
          <p:nvPr/>
        </p:nvSpPr>
        <p:spPr>
          <a:xfrm>
            <a:off x="261140" y="1548219"/>
            <a:ext cx="4137235" cy="246221"/>
          </a:xfrm>
          <a:prstGeom prst="rect">
            <a:avLst/>
          </a:prstGeom>
          <a:noFill/>
        </p:spPr>
        <p:txBody>
          <a:bodyPr wrap="square" rtlCol="0">
            <a:spAutoFit/>
          </a:bodyPr>
          <a:lstStyle/>
          <a:p>
            <a:pPr algn="ctr"/>
            <a:r>
              <a:rPr lang="en-GB" sz="1000" b="1" i="1">
                <a:latin typeface="Trebuchet MS" panose="020B0603020202020204" pitchFamily="34" charset="0"/>
              </a:rPr>
              <a:t>Table of purchase cost and collect treatment of BD&amp;A data </a:t>
            </a:r>
          </a:p>
        </p:txBody>
      </p:sp>
      <p:cxnSp>
        <p:nvCxnSpPr>
          <p:cNvPr id="544" name="Connecteur droit 543">
            <a:extLst>
              <a:ext uri="{FF2B5EF4-FFF2-40B4-BE49-F238E27FC236}">
                <a16:creationId xmlns:a16="http://schemas.microsoft.com/office/drawing/2014/main" id="{AB92DD85-189B-4E91-BE17-F06D7DD4E390}"/>
              </a:ext>
            </a:extLst>
          </p:cNvPr>
          <p:cNvCxnSpPr>
            <a:cxnSpLocks/>
          </p:cNvCxnSpPr>
          <p:nvPr/>
        </p:nvCxnSpPr>
        <p:spPr bwMode="auto">
          <a:xfrm>
            <a:off x="4874622" y="1236932"/>
            <a:ext cx="0" cy="4787807"/>
          </a:xfrm>
          <a:prstGeom prst="line">
            <a:avLst/>
          </a:prstGeom>
          <a:solidFill>
            <a:schemeClr val="accent1"/>
          </a:solidFill>
          <a:ln w="9525" cap="flat" cmpd="sng" algn="ctr">
            <a:solidFill>
              <a:schemeClr val="bg2"/>
            </a:solidFill>
            <a:prstDash val="dash"/>
            <a:round/>
            <a:headEnd type="none" w="med" len="med"/>
            <a:tailEnd type="none" w="med" len="med"/>
          </a:ln>
          <a:effectLst/>
        </p:spPr>
      </p:cxnSp>
      <p:sp>
        <p:nvSpPr>
          <p:cNvPr id="549" name="Rectangle 548">
            <a:extLst>
              <a:ext uri="{FF2B5EF4-FFF2-40B4-BE49-F238E27FC236}">
                <a16:creationId xmlns:a16="http://schemas.microsoft.com/office/drawing/2014/main" id="{68BCECFB-7AE5-4D50-930D-938F93BFC65F}"/>
              </a:ext>
            </a:extLst>
          </p:cNvPr>
          <p:cNvSpPr/>
          <p:nvPr/>
        </p:nvSpPr>
        <p:spPr bwMode="auto">
          <a:xfrm>
            <a:off x="917957" y="1862505"/>
            <a:ext cx="1383557" cy="377537"/>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a:ln>
                  <a:noFill/>
                </a:ln>
                <a:solidFill>
                  <a:schemeClr val="bg1"/>
                </a:solidFill>
                <a:effectLst/>
                <a:uLnTx/>
                <a:uFillTx/>
                <a:latin typeface="Trebuchet MS" panose="020B0603020202020204" pitchFamily="34" charset="0"/>
              </a:rPr>
              <a:t>Type of data</a:t>
            </a:r>
          </a:p>
        </p:txBody>
      </p:sp>
      <p:sp>
        <p:nvSpPr>
          <p:cNvPr id="550" name="ZoneTexte 549">
            <a:extLst>
              <a:ext uri="{FF2B5EF4-FFF2-40B4-BE49-F238E27FC236}">
                <a16:creationId xmlns:a16="http://schemas.microsoft.com/office/drawing/2014/main" id="{E4120210-6DB7-4668-9EE8-AACB41A51C9C}"/>
              </a:ext>
            </a:extLst>
          </p:cNvPr>
          <p:cNvSpPr txBox="1"/>
          <p:nvPr/>
        </p:nvSpPr>
        <p:spPr>
          <a:xfrm>
            <a:off x="354377" y="5518439"/>
            <a:ext cx="748381" cy="577081"/>
          </a:xfrm>
          <a:prstGeom prst="rect">
            <a:avLst/>
          </a:prstGeom>
          <a:noFill/>
        </p:spPr>
        <p:txBody>
          <a:bodyPr wrap="square" rtlCol="0">
            <a:spAutoFit/>
          </a:bodyPr>
          <a:lstStyle/>
          <a:p>
            <a:pPr algn="ctr"/>
            <a:r>
              <a:rPr lang="en-GB" sz="1050" b="1" i="1">
                <a:latin typeface="Trebuchet MS" panose="020B0603020202020204" pitchFamily="34" charset="0"/>
              </a:rPr>
              <a:t>Origin of global costs</a:t>
            </a:r>
          </a:p>
        </p:txBody>
      </p:sp>
      <p:cxnSp>
        <p:nvCxnSpPr>
          <p:cNvPr id="67" name="Connecteur droit 66">
            <a:extLst>
              <a:ext uri="{FF2B5EF4-FFF2-40B4-BE49-F238E27FC236}">
                <a16:creationId xmlns:a16="http://schemas.microsoft.com/office/drawing/2014/main" id="{697CCB87-DF1C-4601-B06A-2742C5B3A265}"/>
              </a:ext>
            </a:extLst>
          </p:cNvPr>
          <p:cNvCxnSpPr>
            <a:cxnSpLocks/>
          </p:cNvCxnSpPr>
          <p:nvPr/>
        </p:nvCxnSpPr>
        <p:spPr bwMode="auto">
          <a:xfrm>
            <a:off x="272227" y="1165303"/>
            <a:ext cx="443046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cxnSp>
        <p:nvCxnSpPr>
          <p:cNvPr id="68" name="Connecteur droit 67">
            <a:extLst>
              <a:ext uri="{FF2B5EF4-FFF2-40B4-BE49-F238E27FC236}">
                <a16:creationId xmlns:a16="http://schemas.microsoft.com/office/drawing/2014/main" id="{A2186877-0CA8-4BFD-9BA0-892EA3A7357A}"/>
              </a:ext>
            </a:extLst>
          </p:cNvPr>
          <p:cNvCxnSpPr>
            <a:cxnSpLocks/>
          </p:cNvCxnSpPr>
          <p:nvPr/>
        </p:nvCxnSpPr>
        <p:spPr bwMode="auto">
          <a:xfrm>
            <a:off x="4976769" y="1165303"/>
            <a:ext cx="4728831"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43" name="Rectangle 542">
            <a:extLst>
              <a:ext uri="{FF2B5EF4-FFF2-40B4-BE49-F238E27FC236}">
                <a16:creationId xmlns:a16="http://schemas.microsoft.com/office/drawing/2014/main" id="{3D804758-52AE-4879-9017-91F14E52CDE0}"/>
              </a:ext>
            </a:extLst>
          </p:cNvPr>
          <p:cNvSpPr/>
          <p:nvPr/>
        </p:nvSpPr>
        <p:spPr bwMode="auto">
          <a:xfrm>
            <a:off x="5113928" y="875273"/>
            <a:ext cx="4458971" cy="52285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100">
                <a:latin typeface="Trebuchet MS" panose="020B0603020202020204" pitchFamily="34" charset="0"/>
              </a:rPr>
              <a:t>… and incumbents have been enriching their databases throughout the years, thus benefitting from a </a:t>
            </a:r>
            <a:r>
              <a:rPr lang="en-GB" sz="1100">
                <a:solidFill>
                  <a:schemeClr val="tx2"/>
                </a:solidFill>
                <a:latin typeface="Trebuchet MS" panose="020B0603020202020204" pitchFamily="34" charset="0"/>
              </a:rPr>
              <a:t>strong market recognition</a:t>
            </a:r>
            <a:endParaRPr kumimoji="0" lang="en-GB" sz="1100" b="0" i="0" u="none" strike="noStrike" normalizeH="0">
              <a:ln>
                <a:noFill/>
              </a:ln>
              <a:solidFill>
                <a:schemeClr val="tx2"/>
              </a:solidFill>
              <a:effectLst/>
              <a:latin typeface="Trebuchet MS" panose="020B0603020202020204" pitchFamily="34" charset="0"/>
            </a:endParaRPr>
          </a:p>
        </p:txBody>
      </p:sp>
      <p:sp>
        <p:nvSpPr>
          <p:cNvPr id="399" name="Rectangle 398">
            <a:extLst>
              <a:ext uri="{FF2B5EF4-FFF2-40B4-BE49-F238E27FC236}">
                <a16:creationId xmlns:a16="http://schemas.microsoft.com/office/drawing/2014/main" id="{FA3D11D3-D194-4382-B875-0DC317B4F7F7}"/>
              </a:ext>
            </a:extLst>
          </p:cNvPr>
          <p:cNvSpPr/>
          <p:nvPr/>
        </p:nvSpPr>
        <p:spPr bwMode="auto">
          <a:xfrm>
            <a:off x="537345" y="877687"/>
            <a:ext cx="3900228" cy="57138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100">
                <a:solidFill>
                  <a:schemeClr val="tx2"/>
                </a:solidFill>
                <a:latin typeface="Trebuchet MS" panose="020B0603020202020204" pitchFamily="34" charset="0"/>
              </a:rPr>
              <a:t>Capitalistic links data</a:t>
            </a:r>
            <a:r>
              <a:rPr lang="en-GB" sz="1100">
                <a:latin typeface="Trebuchet MS" panose="020B0603020202020204" pitchFamily="34" charset="0"/>
              </a:rPr>
              <a:t>, which is at the core of UBOs identification, is the </a:t>
            </a:r>
            <a:r>
              <a:rPr lang="en-GB" sz="1100">
                <a:solidFill>
                  <a:schemeClr val="tx2"/>
                </a:solidFill>
                <a:latin typeface="Trebuchet MS" panose="020B0603020202020204" pitchFamily="34" charset="0"/>
              </a:rPr>
              <a:t>most expensive to retrieve</a:t>
            </a:r>
            <a:r>
              <a:rPr lang="en-GB" sz="1100">
                <a:latin typeface="Trebuchet MS" panose="020B0603020202020204" pitchFamily="34" charset="0"/>
              </a:rPr>
              <a:t>…</a:t>
            </a:r>
            <a:endParaRPr kumimoji="0" lang="en-GB" sz="1100" b="0" i="0" u="none" strike="noStrike" normalizeH="0">
              <a:ln>
                <a:noFill/>
              </a:ln>
              <a:effectLst/>
              <a:latin typeface="Trebuchet MS" panose="020B0603020202020204" pitchFamily="34" charset="0"/>
            </a:endParaRPr>
          </a:p>
        </p:txBody>
      </p:sp>
      <p:sp>
        <p:nvSpPr>
          <p:cNvPr id="82" name="ZoneTexte 550">
            <a:extLst>
              <a:ext uri="{FF2B5EF4-FFF2-40B4-BE49-F238E27FC236}">
                <a16:creationId xmlns:a16="http://schemas.microsoft.com/office/drawing/2014/main" id="{425B7DAC-A373-43EC-8612-A10A6258920A}"/>
              </a:ext>
            </a:extLst>
          </p:cNvPr>
          <p:cNvSpPr txBox="1"/>
          <p:nvPr/>
        </p:nvSpPr>
        <p:spPr>
          <a:xfrm>
            <a:off x="5071988" y="1482036"/>
            <a:ext cx="4633612" cy="874169"/>
          </a:xfrm>
          <a:prstGeom prst="rect">
            <a:avLst/>
          </a:prstGeom>
          <a:noFill/>
        </p:spPr>
        <p:txBody>
          <a:bodyPr wrap="square" rtlCol="0" anchor="ctr">
            <a:noAutofit/>
          </a:bodyPr>
          <a:lstStyle/>
          <a:p>
            <a:r>
              <a:rPr lang="en-GB" sz="1000" err="1">
                <a:latin typeface="Trebuchet MS" panose="020B0603020202020204" pitchFamily="34" charset="0"/>
              </a:rPr>
              <a:t>Altares</a:t>
            </a:r>
            <a:r>
              <a:rPr lang="en-GB" sz="1000">
                <a:latin typeface="Trebuchet MS" panose="020B0603020202020204" pitchFamily="34" charset="0"/>
              </a:rPr>
              <a:t> has a strong </a:t>
            </a:r>
            <a:r>
              <a:rPr lang="en-GB" sz="1000">
                <a:solidFill>
                  <a:schemeClr val="tx2"/>
                </a:solidFill>
                <a:latin typeface="Trebuchet MS" panose="020B0603020202020204" pitchFamily="34" charset="0"/>
              </a:rPr>
              <a:t>competitive advantage </a:t>
            </a:r>
            <a:r>
              <a:rPr lang="en-GB" sz="1000">
                <a:latin typeface="Trebuchet MS" panose="020B0603020202020204" pitchFamily="34" charset="0"/>
              </a:rPr>
              <a:t>compared to other players thanks to the partnership with Dun &amp; Bradstreet, a specialist of companies’ commercial and financial data, which has enabled </a:t>
            </a:r>
            <a:r>
              <a:rPr lang="en-GB" sz="1000" err="1">
                <a:latin typeface="Trebuchet MS" panose="020B0603020202020204" pitchFamily="34" charset="0"/>
              </a:rPr>
              <a:t>Altares</a:t>
            </a:r>
            <a:r>
              <a:rPr lang="en-GB" sz="1000">
                <a:latin typeface="Trebuchet MS" panose="020B0603020202020204" pitchFamily="34" charset="0"/>
              </a:rPr>
              <a:t> to constitute a</a:t>
            </a:r>
            <a:r>
              <a:rPr lang="en-GB" sz="1000">
                <a:solidFill>
                  <a:schemeClr val="tx2"/>
                </a:solidFill>
                <a:latin typeface="Trebuchet MS" panose="020B0603020202020204" pitchFamily="34" charset="0"/>
              </a:rPr>
              <a:t> comprehensive database</a:t>
            </a:r>
            <a:endParaRPr lang="en-GB" sz="1000" baseline="30000">
              <a:latin typeface="Trebuchet MS" panose="020B0603020202020204" pitchFamily="34" charset="0"/>
            </a:endParaRPr>
          </a:p>
        </p:txBody>
      </p:sp>
      <p:sp>
        <p:nvSpPr>
          <p:cNvPr id="83" name="Rectangle 82">
            <a:extLst>
              <a:ext uri="{FF2B5EF4-FFF2-40B4-BE49-F238E27FC236}">
                <a16:creationId xmlns:a16="http://schemas.microsoft.com/office/drawing/2014/main" id="{D19AC206-3E19-480C-88A8-D3C65C71C0FC}"/>
              </a:ext>
            </a:extLst>
          </p:cNvPr>
          <p:cNvSpPr/>
          <p:nvPr/>
        </p:nvSpPr>
        <p:spPr bwMode="auto">
          <a:xfrm>
            <a:off x="5599088" y="2594797"/>
            <a:ext cx="3834088" cy="856977"/>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spcBef>
                <a:spcPct val="0"/>
              </a:spcBef>
              <a:spcAft>
                <a:spcPts val="300"/>
              </a:spcAft>
              <a:buClrTx/>
              <a:buSzTx/>
              <a:buFontTx/>
              <a:buNone/>
              <a:tabLst/>
            </a:pPr>
            <a:r>
              <a:rPr kumimoji="0" lang="en-GB" sz="1000" b="0" i="1" u="none" strike="noStrike" cap="none" normalizeH="0" baseline="0">
                <a:ln>
                  <a:noFill/>
                </a:ln>
                <a:solidFill>
                  <a:schemeClr val="tx1"/>
                </a:solidFill>
                <a:effectLst/>
                <a:latin typeface="Trebuchet MS" panose="020B0603020202020204" pitchFamily="34" charset="0"/>
              </a:rPr>
              <a:t>“</a:t>
            </a:r>
            <a:r>
              <a:rPr kumimoji="0" lang="en-GB" sz="1000" b="0" i="1" u="none" strike="noStrike" cap="none" normalizeH="0" baseline="0">
                <a:ln>
                  <a:noFill/>
                </a:ln>
                <a:solidFill>
                  <a:schemeClr val="tx2"/>
                </a:solidFill>
                <a:effectLst/>
                <a:latin typeface="Trebuchet MS" panose="020B0603020202020204" pitchFamily="34" charset="0"/>
              </a:rPr>
              <a:t>Brand</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image</a:t>
            </a:r>
            <a:r>
              <a:rPr kumimoji="0" lang="en-GB" sz="1000" b="0" i="1" u="none" strike="noStrike" cap="none" normalizeH="0" baseline="0">
                <a:ln>
                  <a:noFill/>
                </a:ln>
                <a:solidFill>
                  <a:schemeClr val="tx1"/>
                </a:solidFill>
                <a:effectLst/>
                <a:latin typeface="Trebuchet MS" panose="020B0603020202020204" pitchFamily="34" charset="0"/>
              </a:rPr>
              <a:t> remains one of the main </a:t>
            </a:r>
            <a:r>
              <a:rPr kumimoji="0" lang="en-GB" sz="1000" b="0" i="1" u="none" strike="noStrike" cap="none" normalizeH="0" baseline="0">
                <a:ln>
                  <a:noFill/>
                </a:ln>
                <a:solidFill>
                  <a:schemeClr val="tx2"/>
                </a:solidFill>
                <a:effectLst/>
                <a:latin typeface="Trebuchet MS" panose="020B0603020202020204" pitchFamily="34" charset="0"/>
              </a:rPr>
              <a:t>KPCs</a:t>
            </a:r>
            <a:r>
              <a:rPr kumimoji="0" lang="en-GB" sz="1000" b="0" i="1" u="none" strike="noStrike" cap="none" normalizeH="0" baseline="0">
                <a:ln>
                  <a:noFill/>
                </a:ln>
                <a:solidFill>
                  <a:schemeClr val="tx1"/>
                </a:solidFill>
                <a:effectLst/>
                <a:latin typeface="Trebuchet MS" panose="020B0603020202020204" pitchFamily="34" charset="0"/>
              </a:rPr>
              <a:t> in the BD&amp;A industry, especially in </a:t>
            </a:r>
            <a:r>
              <a:rPr kumimoji="0" lang="en-GB" sz="1000" b="0" i="1" u="none" strike="noStrike" cap="none" normalizeH="0" baseline="0">
                <a:ln>
                  <a:noFill/>
                </a:ln>
                <a:solidFill>
                  <a:schemeClr val="tx2"/>
                </a:solidFill>
                <a:effectLst/>
                <a:latin typeface="Trebuchet MS" panose="020B0603020202020204" pitchFamily="34" charset="0"/>
              </a:rPr>
              <a:t>compliance</a:t>
            </a:r>
            <a:r>
              <a:rPr kumimoji="0" lang="en-GB" sz="1000" b="0" i="1" u="none" strike="noStrike" cap="none" normalizeH="0" baseline="0">
                <a:ln>
                  <a:noFill/>
                </a:ln>
                <a:solidFill>
                  <a:schemeClr val="tx1"/>
                </a:solidFill>
                <a:effectLst/>
                <a:latin typeface="Trebuchet MS" panose="020B0603020202020204" pitchFamily="34" charset="0"/>
              </a:rPr>
              <a:t>. Due to their recent arrival on the market, </a:t>
            </a:r>
            <a:r>
              <a:rPr kumimoji="0" lang="en-GB" sz="1000" b="0" i="1" u="none" strike="noStrike" cap="none" normalizeH="0" baseline="0" err="1">
                <a:ln>
                  <a:noFill/>
                </a:ln>
                <a:solidFill>
                  <a:schemeClr val="tx1"/>
                </a:solidFill>
                <a:effectLst/>
                <a:latin typeface="Trebuchet MS" panose="020B0603020202020204" pitchFamily="34" charset="0"/>
              </a:rPr>
              <a:t>regtech</a:t>
            </a:r>
            <a:r>
              <a:rPr kumimoji="0" lang="en-GB" sz="1000" b="0" i="1" u="none" strike="noStrike" cap="none" normalizeH="0" baseline="0">
                <a:ln>
                  <a:noFill/>
                </a:ln>
                <a:solidFill>
                  <a:schemeClr val="tx1"/>
                </a:solidFill>
                <a:effectLst/>
                <a:latin typeface="Trebuchet MS" panose="020B0603020202020204" pitchFamily="34" charset="0"/>
              </a:rPr>
              <a:t> players do not have this recognition yet as the incumbents”</a:t>
            </a:r>
          </a:p>
          <a:p>
            <a:pPr marL="0" marR="0" indent="0" defTabSz="914400" rtl="0" eaLnBrk="1" fontAlgn="base" latinLnBrk="0" hangingPunct="1">
              <a:spcBef>
                <a:spcPct val="0"/>
              </a:spcBef>
              <a:spcAft>
                <a:spcPts val="300"/>
              </a:spcAft>
              <a:buClrTx/>
              <a:buSzTx/>
              <a:buFontTx/>
              <a:buNone/>
              <a:tabLst/>
            </a:pPr>
            <a:r>
              <a:rPr lang="en-GB" sz="1000">
                <a:latin typeface="Trebuchet MS" panose="020B0603020202020204" pitchFamily="34" charset="0"/>
              </a:rPr>
              <a:t>Former Managing Director at Graydon Belgium</a:t>
            </a:r>
            <a:endParaRPr kumimoji="0" lang="en-GB" sz="1000" b="0" u="none" strike="noStrike" cap="none" normalizeH="0" baseline="0">
              <a:ln>
                <a:noFill/>
              </a:ln>
              <a:solidFill>
                <a:schemeClr val="tx1"/>
              </a:solidFill>
              <a:effectLst/>
              <a:latin typeface="Trebuchet MS" panose="020B0603020202020204" pitchFamily="34" charset="0"/>
            </a:endParaRPr>
          </a:p>
        </p:txBody>
      </p:sp>
      <p:sp>
        <p:nvSpPr>
          <p:cNvPr id="84" name="Freeform 663">
            <a:extLst>
              <a:ext uri="{FF2B5EF4-FFF2-40B4-BE49-F238E27FC236}">
                <a16:creationId xmlns:a16="http://schemas.microsoft.com/office/drawing/2014/main" id="{478A84ED-EA2F-485B-96AB-5772480CF09A}"/>
              </a:ext>
            </a:extLst>
          </p:cNvPr>
          <p:cNvSpPr>
            <a:spLocks noChangeAspect="1" noEditPoints="1"/>
          </p:cNvSpPr>
          <p:nvPr/>
        </p:nvSpPr>
        <p:spPr bwMode="auto">
          <a:xfrm>
            <a:off x="5462691" y="2866174"/>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85" name="ZoneTexte 552">
            <a:extLst>
              <a:ext uri="{FF2B5EF4-FFF2-40B4-BE49-F238E27FC236}">
                <a16:creationId xmlns:a16="http://schemas.microsoft.com/office/drawing/2014/main" id="{DFC5F28B-DCD3-47DF-99BA-363600A631AB}"/>
              </a:ext>
            </a:extLst>
          </p:cNvPr>
          <p:cNvSpPr txBox="1"/>
          <p:nvPr/>
        </p:nvSpPr>
        <p:spPr>
          <a:xfrm>
            <a:off x="5043292" y="3771053"/>
            <a:ext cx="4684369" cy="882554"/>
          </a:xfrm>
          <a:prstGeom prst="rect">
            <a:avLst/>
          </a:prstGeom>
          <a:noFill/>
        </p:spPr>
        <p:txBody>
          <a:bodyPr wrap="square" rtlCol="0" anchor="t">
            <a:noAutofit/>
          </a:bodyPr>
          <a:lstStyle/>
          <a:p>
            <a:r>
              <a:rPr lang="en-GB" sz="1000" dirty="0">
                <a:latin typeface="Trebuchet MS" panose="020B0603020202020204" pitchFamily="34" charset="0"/>
              </a:rPr>
              <a:t>Another barrier to entry for KYC compliance offerings is the </a:t>
            </a:r>
            <a:r>
              <a:rPr lang="en-GB" sz="1000" dirty="0">
                <a:solidFill>
                  <a:schemeClr val="tx2"/>
                </a:solidFill>
                <a:latin typeface="Trebuchet MS" panose="020B0603020202020204" pitchFamily="34" charset="0"/>
              </a:rPr>
              <a:t>comprehensive historical commercial bounds </a:t>
            </a:r>
            <a:r>
              <a:rPr lang="en-GB" sz="1000" dirty="0">
                <a:latin typeface="Trebuchet MS" panose="020B0603020202020204" pitchFamily="34" charset="0"/>
              </a:rPr>
              <a:t>between traditional players, financial institutions and large corporates acquired thanks to their collaboration in the credit management segment, granting them a strong </a:t>
            </a:r>
            <a:r>
              <a:rPr lang="en-GB" sz="1000" dirty="0">
                <a:solidFill>
                  <a:schemeClr val="tx2"/>
                </a:solidFill>
                <a:latin typeface="Trebuchet MS" panose="020B0603020202020204" pitchFamily="34" charset="0"/>
              </a:rPr>
              <a:t>market recognition</a:t>
            </a:r>
          </a:p>
          <a:p>
            <a:endParaRPr lang="en-GB" sz="1000" dirty="0">
              <a:solidFill>
                <a:schemeClr val="tx2"/>
              </a:solidFill>
              <a:latin typeface="Trebuchet MS" panose="020B0603020202020204" pitchFamily="34" charset="0"/>
            </a:endParaRPr>
          </a:p>
          <a:p>
            <a:endParaRPr lang="en-GB" sz="1000" dirty="0">
              <a:solidFill>
                <a:schemeClr val="tx2"/>
              </a:solidFill>
              <a:latin typeface="Trebuchet MS" panose="020B0603020202020204" pitchFamily="34" charset="0"/>
            </a:endParaRPr>
          </a:p>
          <a:p>
            <a:endParaRPr lang="en-GB" sz="1000" dirty="0">
              <a:solidFill>
                <a:schemeClr val="tx2"/>
              </a:solidFill>
              <a:latin typeface="Trebuchet MS" panose="020B0603020202020204" pitchFamily="34" charset="0"/>
            </a:endParaRPr>
          </a:p>
          <a:p>
            <a:r>
              <a:rPr kumimoji="0" lang="en-GB" sz="1000" b="0" u="none" strike="noStrike" cap="none" normalizeH="0" baseline="0" dirty="0">
                <a:ln>
                  <a:noFill/>
                </a:ln>
                <a:solidFill>
                  <a:schemeClr val="tx1"/>
                </a:solidFill>
                <a:effectLst/>
                <a:latin typeface="Trebuchet MS" panose="020B0603020202020204" pitchFamily="34" charset="0"/>
              </a:rPr>
              <a:t>As data collection is mostl</a:t>
            </a:r>
            <a:r>
              <a:rPr lang="en-GB" sz="1000" dirty="0">
                <a:latin typeface="Trebuchet MS" panose="020B0603020202020204" pitchFamily="34" charset="0"/>
              </a:rPr>
              <a:t>y a fixed cost, new players should </a:t>
            </a:r>
            <a:r>
              <a:rPr lang="en-GB" sz="1000" dirty="0">
                <a:solidFill>
                  <a:schemeClr val="tx2"/>
                </a:solidFill>
                <a:latin typeface="Trebuchet MS" panose="020B0603020202020204" pitchFamily="34" charset="0"/>
              </a:rPr>
              <a:t>reach a critical mass </a:t>
            </a:r>
            <a:r>
              <a:rPr lang="en-GB" sz="1000" dirty="0">
                <a:latin typeface="Trebuchet MS" panose="020B0603020202020204" pitchFamily="34" charset="0"/>
              </a:rPr>
              <a:t>to be profitable, which cannot be attained without a </a:t>
            </a:r>
            <a:r>
              <a:rPr lang="en-GB" sz="1000" dirty="0">
                <a:solidFill>
                  <a:schemeClr val="tx2"/>
                </a:solidFill>
                <a:latin typeface="Trebuchet MS" panose="020B0603020202020204" pitchFamily="34" charset="0"/>
              </a:rPr>
              <a:t>strong notoriety </a:t>
            </a:r>
            <a:r>
              <a:rPr lang="en-GB" sz="1000" dirty="0">
                <a:latin typeface="Trebuchet MS" panose="020B0603020202020204" pitchFamily="34" charset="0"/>
              </a:rPr>
              <a:t>that only BD&amp;A incumbents have</a:t>
            </a:r>
          </a:p>
          <a:p>
            <a:endParaRPr lang="en-GB" sz="1000" dirty="0">
              <a:solidFill>
                <a:schemeClr val="tx2"/>
              </a:solidFill>
              <a:latin typeface="Trebuchet MS" panose="020B0603020202020204" pitchFamily="34" charset="0"/>
            </a:endParaRPr>
          </a:p>
          <a:p>
            <a:pPr marL="171450" indent="-171450">
              <a:buFont typeface="Arial" panose="020B0604020202020204" pitchFamily="34" charset="0"/>
              <a:buChar char="•"/>
            </a:pPr>
            <a:endParaRPr lang="en-GB" sz="1000" baseline="30000" dirty="0">
              <a:solidFill>
                <a:schemeClr val="tx2"/>
              </a:solidFill>
              <a:latin typeface="Trebuchet MS" panose="020B0603020202020204" pitchFamily="34" charset="0"/>
            </a:endParaRPr>
          </a:p>
          <a:p>
            <a:pPr marL="171450" indent="-171450">
              <a:buFont typeface="Arial" panose="020B0604020202020204" pitchFamily="34" charset="0"/>
              <a:buChar char="•"/>
            </a:pPr>
            <a:endParaRPr lang="en-GB" sz="1000" baseline="30000" dirty="0">
              <a:solidFill>
                <a:schemeClr val="tx2"/>
              </a:solidFill>
              <a:latin typeface="Trebuchet MS" panose="020B0603020202020204" pitchFamily="34" charset="0"/>
            </a:endParaRPr>
          </a:p>
        </p:txBody>
      </p:sp>
      <p:sp>
        <p:nvSpPr>
          <p:cNvPr id="14" name="Rectangle 13">
            <a:extLst>
              <a:ext uri="{FF2B5EF4-FFF2-40B4-BE49-F238E27FC236}">
                <a16:creationId xmlns:a16="http://schemas.microsoft.com/office/drawing/2014/main" id="{D724AA50-D1C3-4048-A8A3-A06884F65A33}"/>
              </a:ext>
            </a:extLst>
          </p:cNvPr>
          <p:cNvSpPr/>
          <p:nvPr/>
        </p:nvSpPr>
        <p:spPr bwMode="auto">
          <a:xfrm>
            <a:off x="5489966" y="2340257"/>
            <a:ext cx="1521612" cy="236700"/>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50" b="1" i="1" u="none" strike="noStrike" cap="none" normalizeH="0" baseline="0">
                <a:ln>
                  <a:noFill/>
                </a:ln>
                <a:solidFill>
                  <a:schemeClr val="tx2"/>
                </a:solidFill>
                <a:effectLst/>
                <a:latin typeface="Trebuchet MS" panose="020B0603020202020204" pitchFamily="34" charset="0"/>
              </a:rPr>
              <a:t>Brand image</a:t>
            </a:r>
          </a:p>
        </p:txBody>
      </p:sp>
      <p:pic>
        <p:nvPicPr>
          <p:cNvPr id="17" name="Graphic 80">
            <a:extLst>
              <a:ext uri="{FF2B5EF4-FFF2-40B4-BE49-F238E27FC236}">
                <a16:creationId xmlns:a16="http://schemas.microsoft.com/office/drawing/2014/main" id="{F10B88FB-7B5F-4E3B-AE3B-5A36ADFD3445}"/>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b="17019"/>
          <a:stretch/>
        </p:blipFill>
        <p:spPr>
          <a:xfrm>
            <a:off x="5134837" y="2340768"/>
            <a:ext cx="250823" cy="260168"/>
          </a:xfrm>
          <a:prstGeom prst="rect">
            <a:avLst/>
          </a:prstGeom>
        </p:spPr>
      </p:pic>
      <p:pic>
        <p:nvPicPr>
          <p:cNvPr id="18" name="Graphic 9">
            <a:extLst>
              <a:ext uri="{FF2B5EF4-FFF2-40B4-BE49-F238E27FC236}">
                <a16:creationId xmlns:a16="http://schemas.microsoft.com/office/drawing/2014/main" id="{3DF2B51C-9069-496E-A3B5-1276C91311ED}"/>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b="29996"/>
          <a:stretch/>
        </p:blipFill>
        <p:spPr>
          <a:xfrm>
            <a:off x="5099722" y="3511443"/>
            <a:ext cx="321054" cy="280935"/>
          </a:xfrm>
          <a:prstGeom prst="rect">
            <a:avLst/>
          </a:prstGeom>
        </p:spPr>
      </p:pic>
      <p:pic>
        <p:nvPicPr>
          <p:cNvPr id="19" name="Graphic 11">
            <a:extLst>
              <a:ext uri="{FF2B5EF4-FFF2-40B4-BE49-F238E27FC236}">
                <a16:creationId xmlns:a16="http://schemas.microsoft.com/office/drawing/2014/main" id="{AC522DEE-45B2-4A6E-9CE8-7E3B221E4BE8}"/>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b="28214"/>
          <a:stretch/>
        </p:blipFill>
        <p:spPr>
          <a:xfrm>
            <a:off x="5107954" y="4599091"/>
            <a:ext cx="312822" cy="280703"/>
          </a:xfrm>
          <a:prstGeom prst="rect">
            <a:avLst/>
          </a:prstGeom>
        </p:spPr>
      </p:pic>
      <p:sp>
        <p:nvSpPr>
          <p:cNvPr id="106" name="Rectangle 105">
            <a:extLst>
              <a:ext uri="{FF2B5EF4-FFF2-40B4-BE49-F238E27FC236}">
                <a16:creationId xmlns:a16="http://schemas.microsoft.com/office/drawing/2014/main" id="{36097310-3865-4033-92E4-06E3B71A402B}"/>
              </a:ext>
            </a:extLst>
          </p:cNvPr>
          <p:cNvSpPr/>
          <p:nvPr/>
        </p:nvSpPr>
        <p:spPr bwMode="auto">
          <a:xfrm>
            <a:off x="5489966" y="3564340"/>
            <a:ext cx="3444882" cy="236700"/>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50" b="1" i="1" u="none" strike="noStrike" cap="none" normalizeH="0" baseline="0">
                <a:ln>
                  <a:noFill/>
                </a:ln>
                <a:solidFill>
                  <a:schemeClr val="tx2"/>
                </a:solidFill>
                <a:effectLst/>
                <a:latin typeface="Trebuchet MS" panose="020B0603020202020204" pitchFamily="34" charset="0"/>
              </a:rPr>
              <a:t>Comprehensive historical commercial bonds</a:t>
            </a:r>
          </a:p>
        </p:txBody>
      </p:sp>
      <p:sp>
        <p:nvSpPr>
          <p:cNvPr id="107" name="Rectangle 106">
            <a:extLst>
              <a:ext uri="{FF2B5EF4-FFF2-40B4-BE49-F238E27FC236}">
                <a16:creationId xmlns:a16="http://schemas.microsoft.com/office/drawing/2014/main" id="{50BC95A5-CD85-420E-AFB2-E672507AA74B}"/>
              </a:ext>
            </a:extLst>
          </p:cNvPr>
          <p:cNvSpPr/>
          <p:nvPr/>
        </p:nvSpPr>
        <p:spPr bwMode="auto">
          <a:xfrm>
            <a:off x="5489966" y="4636426"/>
            <a:ext cx="3444882" cy="236700"/>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50" b="1" i="1" u="none" strike="noStrike" cap="none" normalizeH="0" baseline="0">
                <a:ln>
                  <a:noFill/>
                </a:ln>
                <a:solidFill>
                  <a:schemeClr val="tx2"/>
                </a:solidFill>
                <a:effectLst/>
                <a:latin typeface="Trebuchet MS" panose="020B0603020202020204" pitchFamily="34" charset="0"/>
              </a:rPr>
              <a:t>Data cost structure</a:t>
            </a:r>
          </a:p>
        </p:txBody>
      </p:sp>
      <p:sp>
        <p:nvSpPr>
          <p:cNvPr id="108" name="Rectangle 107">
            <a:extLst>
              <a:ext uri="{FF2B5EF4-FFF2-40B4-BE49-F238E27FC236}">
                <a16:creationId xmlns:a16="http://schemas.microsoft.com/office/drawing/2014/main" id="{53B0899B-19FD-40A3-9B03-4D81E52468C4}"/>
              </a:ext>
            </a:extLst>
          </p:cNvPr>
          <p:cNvSpPr/>
          <p:nvPr/>
        </p:nvSpPr>
        <p:spPr bwMode="auto">
          <a:xfrm>
            <a:off x="5599088" y="5480800"/>
            <a:ext cx="3834088" cy="74380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spcBef>
                <a:spcPct val="0"/>
              </a:spcBef>
              <a:spcAft>
                <a:spcPts val="300"/>
              </a:spcAft>
              <a:buClrTx/>
              <a:buSzTx/>
              <a:buFontTx/>
              <a:buNone/>
              <a:tabLst/>
            </a:pPr>
            <a:r>
              <a:rPr kumimoji="0" lang="en-GB" sz="1000" b="0" i="1" u="none" strike="noStrike" cap="none" normalizeH="0" baseline="0">
                <a:ln>
                  <a:noFill/>
                </a:ln>
                <a:effectLst/>
                <a:latin typeface="Trebuchet MS" panose="020B0603020202020204" pitchFamily="34" charset="0"/>
              </a:rPr>
              <a:t>“What differentiates us in a </a:t>
            </a:r>
            <a:r>
              <a:rPr kumimoji="0" lang="en-GB" sz="1000" b="0" i="1" u="none" strike="noStrike" cap="none" normalizeH="0" baseline="0">
                <a:ln>
                  <a:noFill/>
                </a:ln>
                <a:solidFill>
                  <a:schemeClr val="tx2"/>
                </a:solidFill>
                <a:effectLst/>
                <a:latin typeface="Trebuchet MS" panose="020B0603020202020204" pitchFamily="34" charset="0"/>
              </a:rPr>
              <a:t>call for tenders</a:t>
            </a:r>
            <a:r>
              <a:rPr kumimoji="0" lang="en-GB" sz="1000" b="0" i="1" u="none" strike="noStrike" cap="none" normalizeH="0" baseline="0">
                <a:ln>
                  <a:noFill/>
                </a:ln>
                <a:effectLst/>
                <a:latin typeface="Trebuchet MS" panose="020B0603020202020204" pitchFamily="34" charset="0"/>
              </a:rPr>
              <a:t>: </a:t>
            </a:r>
            <a:r>
              <a:rPr lang="en-GB" sz="1000" i="1">
                <a:latin typeface="Trebuchet MS" panose="020B0603020202020204" pitchFamily="34" charset="0"/>
              </a:rPr>
              <a:t>our </a:t>
            </a:r>
            <a:r>
              <a:rPr lang="en-GB" sz="1000" i="1">
                <a:solidFill>
                  <a:schemeClr val="tx2"/>
                </a:solidFill>
                <a:latin typeface="Trebuchet MS" panose="020B0603020202020204" pitchFamily="34" charset="0"/>
              </a:rPr>
              <a:t>data</a:t>
            </a:r>
            <a:r>
              <a:rPr lang="en-GB" sz="1000" i="1">
                <a:latin typeface="Trebuchet MS" panose="020B0603020202020204" pitchFamily="34" charset="0"/>
              </a:rPr>
              <a:t> – accurate, international and comprehensive, as well as our </a:t>
            </a:r>
            <a:r>
              <a:rPr lang="en-GB" sz="1000" i="1">
                <a:solidFill>
                  <a:schemeClr val="tx2"/>
                </a:solidFill>
                <a:latin typeface="Trebuchet MS" panose="020B0603020202020204" pitchFamily="34" charset="0"/>
              </a:rPr>
              <a:t>brand</a:t>
            </a:r>
            <a:r>
              <a:rPr lang="en-GB" sz="1000" i="1">
                <a:latin typeface="Trebuchet MS" panose="020B0603020202020204" pitchFamily="34" charset="0"/>
              </a:rPr>
              <a:t> </a:t>
            </a:r>
            <a:r>
              <a:rPr lang="en-GB" sz="1000" i="1">
                <a:solidFill>
                  <a:schemeClr val="tx2"/>
                </a:solidFill>
                <a:latin typeface="Trebuchet MS" panose="020B0603020202020204" pitchFamily="34" charset="0"/>
              </a:rPr>
              <a:t>image</a:t>
            </a:r>
            <a:r>
              <a:rPr lang="en-GB" sz="1000" i="1">
                <a:latin typeface="Trebuchet MS" panose="020B0603020202020204" pitchFamily="34" charset="0"/>
              </a:rPr>
              <a:t>. Customers know they are safe with our data.”</a:t>
            </a:r>
            <a:endParaRPr kumimoji="0" lang="en-GB" sz="1000" b="0" i="1" u="none" strike="noStrike" cap="none" normalizeH="0" baseline="0">
              <a:ln>
                <a:noFill/>
              </a:ln>
              <a:solidFill>
                <a:schemeClr val="tx1"/>
              </a:solidFill>
              <a:effectLst/>
              <a:latin typeface="Trebuchet MS" panose="020B0603020202020204" pitchFamily="34" charset="0"/>
            </a:endParaRPr>
          </a:p>
          <a:p>
            <a:pPr marL="0" marR="0" indent="0" defTabSz="914400" rtl="0" eaLnBrk="1" fontAlgn="base" latinLnBrk="0" hangingPunct="1">
              <a:spcBef>
                <a:spcPct val="0"/>
              </a:spcBef>
              <a:spcAft>
                <a:spcPts val="300"/>
              </a:spcAft>
              <a:buClrTx/>
              <a:buSzTx/>
              <a:buFontTx/>
              <a:buNone/>
              <a:tabLst/>
            </a:pPr>
            <a:r>
              <a:rPr kumimoji="0" lang="en-GB" sz="1000" b="0" u="none" strike="noStrike" cap="none" normalizeH="0" baseline="0">
                <a:ln>
                  <a:noFill/>
                </a:ln>
                <a:solidFill>
                  <a:schemeClr val="tx1"/>
                </a:solidFill>
                <a:effectLst/>
                <a:latin typeface="Trebuchet MS" panose="020B0603020202020204" pitchFamily="34" charset="0"/>
              </a:rPr>
              <a:t>MD Benelux at </a:t>
            </a:r>
            <a:r>
              <a:rPr kumimoji="0" lang="en-GB" sz="1000" b="0" u="none" strike="noStrike" cap="none" normalizeH="0" baseline="0" err="1">
                <a:ln>
                  <a:noFill/>
                </a:ln>
                <a:solidFill>
                  <a:schemeClr val="tx1"/>
                </a:solidFill>
                <a:effectLst/>
                <a:latin typeface="Trebuchet MS" panose="020B0603020202020204" pitchFamily="34" charset="0"/>
              </a:rPr>
              <a:t>Altares</a:t>
            </a:r>
            <a:endParaRPr kumimoji="0" lang="en-GB" sz="1000" b="0" u="none" strike="noStrike" cap="none" normalizeH="0" baseline="0">
              <a:ln>
                <a:noFill/>
              </a:ln>
              <a:solidFill>
                <a:schemeClr val="tx1"/>
              </a:solidFill>
              <a:effectLst/>
              <a:latin typeface="Trebuchet MS" panose="020B0603020202020204" pitchFamily="34" charset="0"/>
            </a:endParaRPr>
          </a:p>
        </p:txBody>
      </p:sp>
      <p:sp>
        <p:nvSpPr>
          <p:cNvPr id="109" name="Freeform 663">
            <a:extLst>
              <a:ext uri="{FF2B5EF4-FFF2-40B4-BE49-F238E27FC236}">
                <a16:creationId xmlns:a16="http://schemas.microsoft.com/office/drawing/2014/main" id="{4425B0F8-F0B8-4ABA-92C0-072831E8A92B}"/>
              </a:ext>
            </a:extLst>
          </p:cNvPr>
          <p:cNvSpPr>
            <a:spLocks noChangeAspect="1" noEditPoints="1"/>
          </p:cNvSpPr>
          <p:nvPr/>
        </p:nvSpPr>
        <p:spPr bwMode="auto">
          <a:xfrm>
            <a:off x="5462691" y="5714076"/>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nvGrpSpPr>
          <p:cNvPr id="81" name="Groupe 80">
            <a:extLst>
              <a:ext uri="{FF2B5EF4-FFF2-40B4-BE49-F238E27FC236}">
                <a16:creationId xmlns:a16="http://schemas.microsoft.com/office/drawing/2014/main" id="{8A0A047E-14ED-4B43-BCE2-D36BE976FD3F}"/>
              </a:ext>
            </a:extLst>
          </p:cNvPr>
          <p:cNvGrpSpPr/>
          <p:nvPr/>
        </p:nvGrpSpPr>
        <p:grpSpPr>
          <a:xfrm>
            <a:off x="8448150" y="-11528"/>
            <a:ext cx="1435548" cy="588143"/>
            <a:chOff x="8448150" y="-11528"/>
            <a:chExt cx="1435548" cy="588143"/>
          </a:xfrm>
        </p:grpSpPr>
        <p:grpSp>
          <p:nvGrpSpPr>
            <p:cNvPr id="86" name="Groupe 85">
              <a:extLst>
                <a:ext uri="{FF2B5EF4-FFF2-40B4-BE49-F238E27FC236}">
                  <a16:creationId xmlns:a16="http://schemas.microsoft.com/office/drawing/2014/main" id="{2FC60A25-D58E-45DD-A923-E813FEA647B4}"/>
                </a:ext>
              </a:extLst>
            </p:cNvPr>
            <p:cNvGrpSpPr/>
            <p:nvPr/>
          </p:nvGrpSpPr>
          <p:grpSpPr>
            <a:xfrm>
              <a:off x="8448150" y="-11528"/>
              <a:ext cx="1435548" cy="555653"/>
              <a:chOff x="8448150" y="-11528"/>
              <a:chExt cx="1435548" cy="555653"/>
            </a:xfrm>
          </p:grpSpPr>
          <p:sp>
            <p:nvSpPr>
              <p:cNvPr id="95" name="Rectangle : coins arrondis 199">
                <a:extLst>
                  <a:ext uri="{FF2B5EF4-FFF2-40B4-BE49-F238E27FC236}">
                    <a16:creationId xmlns:a16="http://schemas.microsoft.com/office/drawing/2014/main" id="{CDDE5368-7BF9-405F-8E99-55EFEA745700}"/>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6" name="Rectangle : coins arrondis 200">
                <a:extLst>
                  <a:ext uri="{FF2B5EF4-FFF2-40B4-BE49-F238E27FC236}">
                    <a16:creationId xmlns:a16="http://schemas.microsoft.com/office/drawing/2014/main" id="{926A702E-22A6-42C1-BCBC-BB32B86B03DB}"/>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7" name="Rectangle : coins arrondis 201">
                <a:extLst>
                  <a:ext uri="{FF2B5EF4-FFF2-40B4-BE49-F238E27FC236}">
                    <a16:creationId xmlns:a16="http://schemas.microsoft.com/office/drawing/2014/main" id="{2EEC0B1E-2439-40C7-8738-7A6B5BAA792A}"/>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8" name="ZoneTexte 18">
                <a:extLst>
                  <a:ext uri="{FF2B5EF4-FFF2-40B4-BE49-F238E27FC236}">
                    <a16:creationId xmlns:a16="http://schemas.microsoft.com/office/drawing/2014/main" id="{33234629-1531-435F-8FE5-B5127538209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99" name="Graphique 128" descr="Jauge">
                <a:extLst>
                  <a:ext uri="{FF2B5EF4-FFF2-40B4-BE49-F238E27FC236}">
                    <a16:creationId xmlns:a16="http://schemas.microsoft.com/office/drawing/2014/main" id="{6C1EDC57-5CE1-4A7B-A58D-364EFCEFFEE7}"/>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553764" y="187516"/>
                <a:ext cx="234953" cy="218224"/>
              </a:xfrm>
              <a:prstGeom prst="rect">
                <a:avLst/>
              </a:prstGeom>
              <a:effectLst/>
            </p:spPr>
          </p:pic>
          <p:pic>
            <p:nvPicPr>
              <p:cNvPr id="100" name="Graphique 90" descr="Poignée de main">
                <a:extLst>
                  <a:ext uri="{FF2B5EF4-FFF2-40B4-BE49-F238E27FC236}">
                    <a16:creationId xmlns:a16="http://schemas.microsoft.com/office/drawing/2014/main" id="{F9136D67-466B-4A80-BB43-906F90C7F337}"/>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960868" y="152880"/>
                <a:ext cx="256313" cy="287496"/>
              </a:xfrm>
              <a:prstGeom prst="rect">
                <a:avLst/>
              </a:prstGeom>
              <a:effectLst/>
            </p:spPr>
          </p:pic>
          <p:pic>
            <p:nvPicPr>
              <p:cNvPr id="101" name="Graphique 74" descr="Mégaphone">
                <a:extLst>
                  <a:ext uri="{FF2B5EF4-FFF2-40B4-BE49-F238E27FC236}">
                    <a16:creationId xmlns:a16="http://schemas.microsoft.com/office/drawing/2014/main" id="{7A8F9B2B-8E4D-4FDF-B975-90D7255506D0}"/>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389331" y="181519"/>
                <a:ext cx="233011" cy="216420"/>
              </a:xfrm>
              <a:prstGeom prst="rect">
                <a:avLst/>
              </a:prstGeom>
              <a:effectLst/>
            </p:spPr>
          </p:pic>
          <p:pic>
            <p:nvPicPr>
              <p:cNvPr id="102" name="Picture 2" descr="Drapeau France">
                <a:extLst>
                  <a:ext uri="{FF2B5EF4-FFF2-40B4-BE49-F238E27FC236}">
                    <a16:creationId xmlns:a16="http://schemas.microsoft.com/office/drawing/2014/main" id="{229531D8-E161-48EC-9092-7C03FB061C84}"/>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03" name="Picture 2" descr="5 ft x 3 ft 150 x 90 cm-DRAPEAU BELGE Belgique 100% Polyester ...">
                <a:extLst>
                  <a:ext uri="{FF2B5EF4-FFF2-40B4-BE49-F238E27FC236}">
                    <a16:creationId xmlns:a16="http://schemas.microsoft.com/office/drawing/2014/main" id="{84807086-6428-4025-913A-6DC9B85B6E2D}"/>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04" name="Picture 2 - 1" descr="Drapeau des Pays-Bas — Wikipédia">
                <a:extLst>
                  <a:ext uri="{FF2B5EF4-FFF2-40B4-BE49-F238E27FC236}">
                    <a16:creationId xmlns:a16="http://schemas.microsoft.com/office/drawing/2014/main" id="{0F42C707-1515-47EF-92FC-ABA6833CBE79}"/>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05" name="Picture 2 - 2" descr="Drapeau du Luxembourg">
                <a:extLst>
                  <a:ext uri="{FF2B5EF4-FFF2-40B4-BE49-F238E27FC236}">
                    <a16:creationId xmlns:a16="http://schemas.microsoft.com/office/drawing/2014/main" id="{9674F216-4D72-46F1-955E-280AE633E5E3}"/>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87" name="ZoneTexte 18">
              <a:extLst>
                <a:ext uri="{FF2B5EF4-FFF2-40B4-BE49-F238E27FC236}">
                  <a16:creationId xmlns:a16="http://schemas.microsoft.com/office/drawing/2014/main" id="{1622EF8C-F385-4C64-AE00-006FB3B3771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sp>
        <p:nvSpPr>
          <p:cNvPr id="88" name="Rectangle 87">
            <a:extLst>
              <a:ext uri="{FF2B5EF4-FFF2-40B4-BE49-F238E27FC236}">
                <a16:creationId xmlns:a16="http://schemas.microsoft.com/office/drawing/2014/main" id="{A37CE802-457F-4939-8279-50B9312D1530}"/>
              </a:ext>
            </a:extLst>
          </p:cNvPr>
          <p:cNvSpPr/>
          <p:nvPr/>
        </p:nvSpPr>
        <p:spPr bwMode="auto">
          <a:xfrm>
            <a:off x="874367" y="2314233"/>
            <a:ext cx="3384912" cy="481931"/>
          </a:xfrm>
          <a:prstGeom prst="rect">
            <a:avLst/>
          </a:prstGeom>
          <a:solidFill>
            <a:schemeClr val="bg2">
              <a:lumMod val="20000"/>
              <a:lumOff val="80000"/>
            </a:schemeClr>
          </a:solidFill>
          <a:ln w="9525" cap="flat" cmpd="sng" algn="ctr">
            <a:solidFill>
              <a:schemeClr val="bg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9" name="Rectangle 88">
            <a:extLst>
              <a:ext uri="{FF2B5EF4-FFF2-40B4-BE49-F238E27FC236}">
                <a16:creationId xmlns:a16="http://schemas.microsoft.com/office/drawing/2014/main" id="{AD1E81D3-E950-48B4-8FFC-C361FE193B65}"/>
              </a:ext>
            </a:extLst>
          </p:cNvPr>
          <p:cNvSpPr/>
          <p:nvPr/>
        </p:nvSpPr>
        <p:spPr bwMode="auto">
          <a:xfrm>
            <a:off x="917957" y="2360394"/>
            <a:ext cx="1383557" cy="406964"/>
          </a:xfrm>
          <a:prstGeom prst="rect">
            <a:avLst/>
          </a:prstGeom>
          <a:solidFill>
            <a:schemeClr val="bg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a:noFill/>
                </a:ln>
                <a:solidFill>
                  <a:srgbClr val="646464"/>
                </a:solidFill>
                <a:effectLst/>
                <a:uLnTx/>
                <a:uFillTx/>
                <a:latin typeface="Trebuchet MS" panose="020B0603020202020204" pitchFamily="34" charset="0"/>
              </a:rPr>
              <a:t>Data on capitalistic links</a:t>
            </a:r>
          </a:p>
        </p:txBody>
      </p:sp>
      <p:pic>
        <p:nvPicPr>
          <p:cNvPr id="90" name="Graphique 89">
            <a:extLst>
              <a:ext uri="{FF2B5EF4-FFF2-40B4-BE49-F238E27FC236}">
                <a16:creationId xmlns:a16="http://schemas.microsoft.com/office/drawing/2014/main" id="{B03A3ADB-0BAD-4B30-9FF5-5A48FBD10875}"/>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2384879" y="2433113"/>
            <a:ext cx="228021" cy="235378"/>
          </a:xfrm>
          <a:prstGeom prst="rect">
            <a:avLst/>
          </a:prstGeom>
        </p:spPr>
      </p:pic>
      <p:pic>
        <p:nvPicPr>
          <p:cNvPr id="91" name="Graphique 90">
            <a:extLst>
              <a:ext uri="{FF2B5EF4-FFF2-40B4-BE49-F238E27FC236}">
                <a16:creationId xmlns:a16="http://schemas.microsoft.com/office/drawing/2014/main" id="{02C9B5AA-3ABA-498F-B71B-F8D7FD5CD0A2}"/>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2684278" y="2433113"/>
            <a:ext cx="228021" cy="235378"/>
          </a:xfrm>
          <a:prstGeom prst="rect">
            <a:avLst/>
          </a:prstGeom>
        </p:spPr>
      </p:pic>
      <p:pic>
        <p:nvPicPr>
          <p:cNvPr id="92" name="Graphique 91">
            <a:extLst>
              <a:ext uri="{FF2B5EF4-FFF2-40B4-BE49-F238E27FC236}">
                <a16:creationId xmlns:a16="http://schemas.microsoft.com/office/drawing/2014/main" id="{E107437F-C0D1-41F0-8B41-EE4CDD017690}"/>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2983677" y="2433113"/>
            <a:ext cx="228021" cy="235378"/>
          </a:xfrm>
          <a:prstGeom prst="rect">
            <a:avLst/>
          </a:prstGeom>
        </p:spPr>
      </p:pic>
      <p:pic>
        <p:nvPicPr>
          <p:cNvPr id="93" name="Graphique 92">
            <a:extLst>
              <a:ext uri="{FF2B5EF4-FFF2-40B4-BE49-F238E27FC236}">
                <a16:creationId xmlns:a16="http://schemas.microsoft.com/office/drawing/2014/main" id="{FBE31F77-F50C-41B0-B841-61D17A2A52D5}"/>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3397865" y="2433113"/>
            <a:ext cx="228021" cy="235378"/>
          </a:xfrm>
          <a:prstGeom prst="rect">
            <a:avLst/>
          </a:prstGeom>
        </p:spPr>
      </p:pic>
      <p:pic>
        <p:nvPicPr>
          <p:cNvPr id="94" name="Graphique 93">
            <a:extLst>
              <a:ext uri="{FF2B5EF4-FFF2-40B4-BE49-F238E27FC236}">
                <a16:creationId xmlns:a16="http://schemas.microsoft.com/office/drawing/2014/main" id="{F18A34F0-080A-4C68-83A8-C45CD48ABB90}"/>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3697264" y="2433113"/>
            <a:ext cx="228021" cy="235378"/>
          </a:xfrm>
          <a:prstGeom prst="rect">
            <a:avLst/>
          </a:prstGeom>
        </p:spPr>
      </p:pic>
      <p:pic>
        <p:nvPicPr>
          <p:cNvPr id="110" name="Graphique 109">
            <a:extLst>
              <a:ext uri="{FF2B5EF4-FFF2-40B4-BE49-F238E27FC236}">
                <a16:creationId xmlns:a16="http://schemas.microsoft.com/office/drawing/2014/main" id="{837EB958-36BF-4170-AF7B-5D513F1B425E}"/>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3996663" y="2433113"/>
            <a:ext cx="228021" cy="235378"/>
          </a:xfrm>
          <a:prstGeom prst="rect">
            <a:avLst/>
          </a:prstGeom>
        </p:spPr>
      </p:pic>
      <p:sp>
        <p:nvSpPr>
          <p:cNvPr id="112" name="Rectangle 111">
            <a:extLst>
              <a:ext uri="{FF2B5EF4-FFF2-40B4-BE49-F238E27FC236}">
                <a16:creationId xmlns:a16="http://schemas.microsoft.com/office/drawing/2014/main" id="{217A4E0A-6FAC-4E2A-B5AF-50F61FDC4234}"/>
              </a:ext>
            </a:extLst>
          </p:cNvPr>
          <p:cNvSpPr/>
          <p:nvPr/>
        </p:nvSpPr>
        <p:spPr bwMode="auto">
          <a:xfrm>
            <a:off x="917957" y="4842379"/>
            <a:ext cx="1383557" cy="406964"/>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a:noFill/>
                </a:ln>
                <a:solidFill>
                  <a:srgbClr val="646464"/>
                </a:solidFill>
                <a:effectLst/>
                <a:uLnTx/>
                <a:uFillTx/>
                <a:latin typeface="Trebuchet MS" panose="020B0603020202020204" pitchFamily="34" charset="0"/>
              </a:rPr>
              <a:t>Income statements and balance sheets</a:t>
            </a:r>
          </a:p>
        </p:txBody>
      </p:sp>
      <p:sp>
        <p:nvSpPr>
          <p:cNvPr id="113" name="Rectangle 112">
            <a:extLst>
              <a:ext uri="{FF2B5EF4-FFF2-40B4-BE49-F238E27FC236}">
                <a16:creationId xmlns:a16="http://schemas.microsoft.com/office/drawing/2014/main" id="{6FAB5215-9DC4-49A1-A463-D3A4924B3ED3}"/>
              </a:ext>
            </a:extLst>
          </p:cNvPr>
          <p:cNvSpPr/>
          <p:nvPr/>
        </p:nvSpPr>
        <p:spPr bwMode="auto">
          <a:xfrm rot="16200000">
            <a:off x="124413" y="4478526"/>
            <a:ext cx="892360" cy="52673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Public data</a:t>
            </a:r>
          </a:p>
        </p:txBody>
      </p:sp>
      <p:pic>
        <p:nvPicPr>
          <p:cNvPr id="120" name="Graphique 119">
            <a:extLst>
              <a:ext uri="{FF2B5EF4-FFF2-40B4-BE49-F238E27FC236}">
                <a16:creationId xmlns:a16="http://schemas.microsoft.com/office/drawing/2014/main" id="{9E4C808F-B72C-43A2-A810-2B009C2805D1}"/>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2384879" y="4953284"/>
            <a:ext cx="228021" cy="235378"/>
          </a:xfrm>
          <a:prstGeom prst="rect">
            <a:avLst/>
          </a:prstGeom>
        </p:spPr>
      </p:pic>
      <p:pic>
        <p:nvPicPr>
          <p:cNvPr id="121" name="Graphique 120">
            <a:extLst>
              <a:ext uri="{FF2B5EF4-FFF2-40B4-BE49-F238E27FC236}">
                <a16:creationId xmlns:a16="http://schemas.microsoft.com/office/drawing/2014/main" id="{7D2ECE7D-4FA7-4DB7-A960-B43A7E404497}"/>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2684278" y="4953284"/>
            <a:ext cx="228021" cy="235378"/>
          </a:xfrm>
          <a:prstGeom prst="rect">
            <a:avLst/>
          </a:prstGeom>
        </p:spPr>
      </p:pic>
      <p:pic>
        <p:nvPicPr>
          <p:cNvPr id="122" name="Graphique 121">
            <a:extLst>
              <a:ext uri="{FF2B5EF4-FFF2-40B4-BE49-F238E27FC236}">
                <a16:creationId xmlns:a16="http://schemas.microsoft.com/office/drawing/2014/main" id="{1B4086E7-0FDA-464D-A4B4-0E696077FEFA}"/>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2983677" y="4953284"/>
            <a:ext cx="228021" cy="235378"/>
          </a:xfrm>
          <a:prstGeom prst="rect">
            <a:avLst/>
          </a:prstGeom>
        </p:spPr>
      </p:pic>
      <p:pic>
        <p:nvPicPr>
          <p:cNvPr id="123" name="Graphique 122">
            <a:extLst>
              <a:ext uri="{FF2B5EF4-FFF2-40B4-BE49-F238E27FC236}">
                <a16:creationId xmlns:a16="http://schemas.microsoft.com/office/drawing/2014/main" id="{01B46F5A-88E0-4093-8CA5-DC2CC9F1A3D0}"/>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3397865" y="4953284"/>
            <a:ext cx="228021" cy="235378"/>
          </a:xfrm>
          <a:prstGeom prst="rect">
            <a:avLst/>
          </a:prstGeom>
        </p:spPr>
      </p:pic>
      <p:pic>
        <p:nvPicPr>
          <p:cNvPr id="124" name="Graphique 123">
            <a:extLst>
              <a:ext uri="{FF2B5EF4-FFF2-40B4-BE49-F238E27FC236}">
                <a16:creationId xmlns:a16="http://schemas.microsoft.com/office/drawing/2014/main" id="{B8A9ABEC-771B-4E3E-9756-3A29927EDE95}"/>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3697264" y="4953284"/>
            <a:ext cx="228021" cy="235378"/>
          </a:xfrm>
          <a:prstGeom prst="rect">
            <a:avLst/>
          </a:prstGeom>
        </p:spPr>
      </p:pic>
      <p:pic>
        <p:nvPicPr>
          <p:cNvPr id="125" name="Graphique 124">
            <a:extLst>
              <a:ext uri="{FF2B5EF4-FFF2-40B4-BE49-F238E27FC236}">
                <a16:creationId xmlns:a16="http://schemas.microsoft.com/office/drawing/2014/main" id="{B446E3DD-0834-426E-B42E-B1812E743151}"/>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3996663" y="4953284"/>
            <a:ext cx="228021" cy="235378"/>
          </a:xfrm>
          <a:prstGeom prst="rect">
            <a:avLst/>
          </a:prstGeom>
        </p:spPr>
      </p:pic>
      <p:sp>
        <p:nvSpPr>
          <p:cNvPr id="126" name="Rectangle 125">
            <a:extLst>
              <a:ext uri="{FF2B5EF4-FFF2-40B4-BE49-F238E27FC236}">
                <a16:creationId xmlns:a16="http://schemas.microsoft.com/office/drawing/2014/main" id="{36CB25A8-EAB4-4162-A6F1-50ED97A56C0C}"/>
              </a:ext>
            </a:extLst>
          </p:cNvPr>
          <p:cNvSpPr/>
          <p:nvPr/>
        </p:nvSpPr>
        <p:spPr bwMode="auto">
          <a:xfrm>
            <a:off x="917957" y="3308351"/>
            <a:ext cx="1383557" cy="406964"/>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1000" kern="0" err="1">
                <a:solidFill>
                  <a:srgbClr val="646464"/>
                </a:solidFill>
                <a:latin typeface="Trebuchet MS" panose="020B0603020202020204" pitchFamily="34" charset="0"/>
              </a:rPr>
              <a:t>Behavioral</a:t>
            </a:r>
            <a:r>
              <a:rPr lang="en-GB" sz="1000" kern="0">
                <a:solidFill>
                  <a:srgbClr val="646464"/>
                </a:solidFill>
                <a:latin typeface="Trebuchet MS" panose="020B0603020202020204" pitchFamily="34" charset="0"/>
              </a:rPr>
              <a:t> online data</a:t>
            </a:r>
            <a:endParaRPr kumimoji="0" lang="en-GB" sz="1000" b="0" i="0" u="none" strike="noStrike" kern="0" cap="none" spc="0" normalizeH="0" baseline="0">
              <a:ln>
                <a:noFill/>
              </a:ln>
              <a:solidFill>
                <a:srgbClr val="646464"/>
              </a:solidFill>
              <a:effectLst/>
              <a:uLnTx/>
              <a:uFillTx/>
              <a:latin typeface="Trebuchet MS" panose="020B0603020202020204" pitchFamily="34" charset="0"/>
            </a:endParaRPr>
          </a:p>
        </p:txBody>
      </p:sp>
      <p:pic>
        <p:nvPicPr>
          <p:cNvPr id="127" name="Graphique 126">
            <a:extLst>
              <a:ext uri="{FF2B5EF4-FFF2-40B4-BE49-F238E27FC236}">
                <a16:creationId xmlns:a16="http://schemas.microsoft.com/office/drawing/2014/main" id="{E469E1AE-56D8-4B12-A35A-F7E34BA2315D}"/>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2384879" y="3380074"/>
            <a:ext cx="228021" cy="235378"/>
          </a:xfrm>
          <a:prstGeom prst="rect">
            <a:avLst/>
          </a:prstGeom>
        </p:spPr>
      </p:pic>
      <p:pic>
        <p:nvPicPr>
          <p:cNvPr id="128" name="Graphique 127">
            <a:extLst>
              <a:ext uri="{FF2B5EF4-FFF2-40B4-BE49-F238E27FC236}">
                <a16:creationId xmlns:a16="http://schemas.microsoft.com/office/drawing/2014/main" id="{392CAD66-2ABE-4E6B-88F9-E3087C0729EB}"/>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27"/>
              </a:ext>
            </a:extLst>
          </a:blip>
          <a:srcRect b="17418"/>
          <a:stretch/>
        </p:blipFill>
        <p:spPr>
          <a:xfrm>
            <a:off x="2684278" y="3380074"/>
            <a:ext cx="228021" cy="235378"/>
          </a:xfrm>
          <a:prstGeom prst="rect">
            <a:avLst/>
          </a:prstGeom>
        </p:spPr>
      </p:pic>
      <p:pic>
        <p:nvPicPr>
          <p:cNvPr id="129" name="Graphique 128">
            <a:extLst>
              <a:ext uri="{FF2B5EF4-FFF2-40B4-BE49-F238E27FC236}">
                <a16:creationId xmlns:a16="http://schemas.microsoft.com/office/drawing/2014/main" id="{E1626057-80AE-4BB8-B750-F961EB48CFA4}"/>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2983677" y="3380074"/>
            <a:ext cx="228021" cy="235378"/>
          </a:xfrm>
          <a:prstGeom prst="rect">
            <a:avLst/>
          </a:prstGeom>
        </p:spPr>
      </p:pic>
      <p:pic>
        <p:nvPicPr>
          <p:cNvPr id="130" name="Graphique 129">
            <a:extLst>
              <a:ext uri="{FF2B5EF4-FFF2-40B4-BE49-F238E27FC236}">
                <a16:creationId xmlns:a16="http://schemas.microsoft.com/office/drawing/2014/main" id="{574240AC-3CC0-4A9A-B035-75B492292538}"/>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3397865" y="3380074"/>
            <a:ext cx="228021" cy="235378"/>
          </a:xfrm>
          <a:prstGeom prst="rect">
            <a:avLst/>
          </a:prstGeom>
        </p:spPr>
      </p:pic>
      <p:pic>
        <p:nvPicPr>
          <p:cNvPr id="131" name="Graphique 130">
            <a:extLst>
              <a:ext uri="{FF2B5EF4-FFF2-40B4-BE49-F238E27FC236}">
                <a16:creationId xmlns:a16="http://schemas.microsoft.com/office/drawing/2014/main" id="{EA9BAB43-AA92-40BE-BD6E-E8F19D25E5B2}"/>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3697264" y="3380074"/>
            <a:ext cx="228021" cy="235378"/>
          </a:xfrm>
          <a:prstGeom prst="rect">
            <a:avLst/>
          </a:prstGeom>
        </p:spPr>
      </p:pic>
      <p:pic>
        <p:nvPicPr>
          <p:cNvPr id="132" name="Graphique 131">
            <a:extLst>
              <a:ext uri="{FF2B5EF4-FFF2-40B4-BE49-F238E27FC236}">
                <a16:creationId xmlns:a16="http://schemas.microsoft.com/office/drawing/2014/main" id="{146ACFCD-03E2-42D2-8D24-62BFE0A9F85A}"/>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3996663" y="3380074"/>
            <a:ext cx="228021" cy="235378"/>
          </a:xfrm>
          <a:prstGeom prst="rect">
            <a:avLst/>
          </a:prstGeom>
        </p:spPr>
      </p:pic>
      <p:sp>
        <p:nvSpPr>
          <p:cNvPr id="133" name="Rectangle 132">
            <a:extLst>
              <a:ext uri="{FF2B5EF4-FFF2-40B4-BE49-F238E27FC236}">
                <a16:creationId xmlns:a16="http://schemas.microsoft.com/office/drawing/2014/main" id="{A18FC345-DB8A-46B0-98DF-B0DB8824B053}"/>
              </a:ext>
            </a:extLst>
          </p:cNvPr>
          <p:cNvSpPr/>
          <p:nvPr/>
        </p:nvSpPr>
        <p:spPr bwMode="auto">
          <a:xfrm>
            <a:off x="917957" y="4293155"/>
            <a:ext cx="1383557" cy="406964"/>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a:noFill/>
                </a:ln>
                <a:solidFill>
                  <a:srgbClr val="646464"/>
                </a:solidFill>
                <a:effectLst/>
                <a:uLnTx/>
                <a:uFillTx/>
                <a:latin typeface="Trebuchet MS" panose="020B0603020202020204" pitchFamily="34" charset="0"/>
              </a:rPr>
              <a:t>Legal notices</a:t>
            </a:r>
          </a:p>
        </p:txBody>
      </p:sp>
      <p:pic>
        <p:nvPicPr>
          <p:cNvPr id="134" name="Graphique 133">
            <a:extLst>
              <a:ext uri="{FF2B5EF4-FFF2-40B4-BE49-F238E27FC236}">
                <a16:creationId xmlns:a16="http://schemas.microsoft.com/office/drawing/2014/main" id="{F56B888F-E28E-4FC3-AB66-1C88CAAEB20D}"/>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2384879" y="4380705"/>
            <a:ext cx="228021" cy="235378"/>
          </a:xfrm>
          <a:prstGeom prst="rect">
            <a:avLst/>
          </a:prstGeom>
        </p:spPr>
      </p:pic>
      <p:pic>
        <p:nvPicPr>
          <p:cNvPr id="135" name="Graphique 134">
            <a:extLst>
              <a:ext uri="{FF2B5EF4-FFF2-40B4-BE49-F238E27FC236}">
                <a16:creationId xmlns:a16="http://schemas.microsoft.com/office/drawing/2014/main" id="{929969BA-B807-4D7C-B1F4-9E34FB7E15E2}"/>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2684278" y="4380705"/>
            <a:ext cx="228021" cy="235378"/>
          </a:xfrm>
          <a:prstGeom prst="rect">
            <a:avLst/>
          </a:prstGeom>
        </p:spPr>
      </p:pic>
      <p:pic>
        <p:nvPicPr>
          <p:cNvPr id="136" name="Graphique 135">
            <a:extLst>
              <a:ext uri="{FF2B5EF4-FFF2-40B4-BE49-F238E27FC236}">
                <a16:creationId xmlns:a16="http://schemas.microsoft.com/office/drawing/2014/main" id="{6B3C060D-CF5A-4A29-ACA5-CFF7FFE554D6}"/>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2983677" y="4380705"/>
            <a:ext cx="228021" cy="235378"/>
          </a:xfrm>
          <a:prstGeom prst="rect">
            <a:avLst/>
          </a:prstGeom>
        </p:spPr>
      </p:pic>
      <p:pic>
        <p:nvPicPr>
          <p:cNvPr id="137" name="Graphique 136">
            <a:extLst>
              <a:ext uri="{FF2B5EF4-FFF2-40B4-BE49-F238E27FC236}">
                <a16:creationId xmlns:a16="http://schemas.microsoft.com/office/drawing/2014/main" id="{D6711EF3-4072-481B-843E-FD2F13DE82ED}"/>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3397865" y="4380705"/>
            <a:ext cx="228021" cy="235378"/>
          </a:xfrm>
          <a:prstGeom prst="rect">
            <a:avLst/>
          </a:prstGeom>
        </p:spPr>
      </p:pic>
      <p:pic>
        <p:nvPicPr>
          <p:cNvPr id="138" name="Graphique 137">
            <a:extLst>
              <a:ext uri="{FF2B5EF4-FFF2-40B4-BE49-F238E27FC236}">
                <a16:creationId xmlns:a16="http://schemas.microsoft.com/office/drawing/2014/main" id="{6ED3AD5C-4996-4328-8410-4C815A0C69D6}"/>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3697264" y="4380705"/>
            <a:ext cx="228021" cy="235378"/>
          </a:xfrm>
          <a:prstGeom prst="rect">
            <a:avLst/>
          </a:prstGeom>
        </p:spPr>
      </p:pic>
      <p:pic>
        <p:nvPicPr>
          <p:cNvPr id="139" name="Graphique 138">
            <a:extLst>
              <a:ext uri="{FF2B5EF4-FFF2-40B4-BE49-F238E27FC236}">
                <a16:creationId xmlns:a16="http://schemas.microsoft.com/office/drawing/2014/main" id="{1BF41931-AAD4-4D80-9626-84CD2BAAE9BB}"/>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3996663" y="4380705"/>
            <a:ext cx="228021" cy="235378"/>
          </a:xfrm>
          <a:prstGeom prst="rect">
            <a:avLst/>
          </a:prstGeom>
        </p:spPr>
      </p:pic>
    </p:spTree>
    <p:extLst>
      <p:ext uri="{BB962C8B-B14F-4D97-AF65-F5344CB8AC3E}">
        <p14:creationId xmlns:p14="http://schemas.microsoft.com/office/powerpoint/2010/main" val="457903863"/>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4E8BB55-4454-4FE4-A0CA-08C2677BB30A}"/>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15C80389-6548-4E62-B1DE-3FED01EC77DC}"/>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5" name="Chevron">
            <a:extLst>
              <a:ext uri="{FF2B5EF4-FFF2-40B4-BE49-F238E27FC236}">
                <a16:creationId xmlns:a16="http://schemas.microsoft.com/office/drawing/2014/main" id="{E411076D-BD7D-4F3C-BA4F-785FA7DEB8E0}"/>
              </a:ext>
            </a:extLst>
          </p:cNvPr>
          <p:cNvSpPr/>
          <p:nvPr/>
        </p:nvSpPr>
        <p:spPr bwMode="auto">
          <a:xfrm>
            <a:off x="1418399" y="2181600"/>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 name="Section">
            <a:extLst>
              <a:ext uri="{FF2B5EF4-FFF2-40B4-BE49-F238E27FC236}">
                <a16:creationId xmlns:a16="http://schemas.microsoft.com/office/drawing/2014/main" id="{326B4D12-3A06-4913-AA9A-9843CDCAF5C5}"/>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2</a:t>
            </a:r>
          </a:p>
        </p:txBody>
      </p:sp>
      <p:sp>
        <p:nvSpPr>
          <p:cNvPr id="9" name="ZoneTexte 8">
            <a:extLst>
              <a:ext uri="{FF2B5EF4-FFF2-40B4-BE49-F238E27FC236}">
                <a16:creationId xmlns:a16="http://schemas.microsoft.com/office/drawing/2014/main" id="{07C3F887-6FB4-428D-9074-A2DCF97F6A43}"/>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marR="0" indent="-228600" defTabSz="914400" rtl="0" eaLnBrk="1" fontAlgn="base" latinLnBrk="0" hangingPunct="1">
              <a:lnSpc>
                <a:spcPct val="100000"/>
              </a:lnSpc>
              <a:spcBef>
                <a:spcPct val="0"/>
              </a:spcBef>
              <a:spcAft>
                <a:spcPct val="0"/>
              </a:spcAft>
              <a:buClrTx/>
              <a:buSzTx/>
              <a:buFont typeface="+mj-lt"/>
              <a:buAutoNum type="arabicPeriod"/>
              <a:tabLst/>
            </a:pPr>
            <a:r>
              <a:rPr kumimoji="0" lang="en-GB" sz="1200" b="0" u="none" strike="noStrike" cap="none" normalizeH="0" baseline="0">
                <a:ln>
                  <a:noFill/>
                </a:ln>
                <a:effectLst/>
                <a:latin typeface="Trebuchet MS" pitchFamily="34" charset="0"/>
              </a:rPr>
              <a:t>Overview of the BD&amp;A market addressed by </a:t>
            </a:r>
            <a:r>
              <a:rPr kumimoji="0" lang="en-GB" sz="1200" b="0" u="none" strike="noStrike" cap="none" normalizeH="0" baseline="0" err="1">
                <a:ln>
                  <a:noFill/>
                </a:ln>
                <a:effectLst/>
                <a:latin typeface="Trebuchet MS" pitchFamily="34" charset="0"/>
              </a:rPr>
              <a:t>Altares</a:t>
            </a:r>
            <a:endParaRPr kumimoji="0" lang="en-GB" sz="1200" b="0" u="none" strike="noStrike" cap="none" normalizeH="0" baseline="0">
              <a:ln>
                <a:noFill/>
              </a:ln>
              <a:effectLst/>
              <a:latin typeface="Trebuchet MS" pitchFamily="34" charset="0"/>
            </a:endParaRPr>
          </a:p>
          <a:p>
            <a:pPr marL="742950" lvl="1" indent="-285750">
              <a:buFont typeface="+mj-lt"/>
              <a:buAutoNum type="romanLcPeriod"/>
            </a:pPr>
            <a:r>
              <a:rPr kumimoji="0" lang="en-GB" sz="1200" b="0" u="none" strike="noStrike" cap="none" normalizeH="0" baseline="0">
                <a:ln>
                  <a:noFill/>
                </a:ln>
                <a:effectLst/>
                <a:latin typeface="Trebuchet MS" pitchFamily="34" charset="0"/>
              </a:rPr>
              <a:t>Key customers’ use cases related to BD&amp;A</a:t>
            </a:r>
          </a:p>
          <a:p>
            <a:pPr marL="742950" lvl="1" indent="-285750">
              <a:buFont typeface="+mj-lt"/>
              <a:buAutoNum type="romanLcPeriod"/>
            </a:pPr>
            <a:r>
              <a:rPr kumimoji="0" lang="en-GB" sz="1200" b="0" u="none" strike="noStrike" cap="none" normalizeH="0" baseline="0">
                <a:ln>
                  <a:noFill/>
                </a:ln>
                <a:effectLst/>
                <a:latin typeface="Trebuchet MS" pitchFamily="34" charset="0"/>
              </a:rPr>
              <a:t>Global market structure and </a:t>
            </a:r>
            <a:r>
              <a:rPr kumimoji="0" lang="en-GB" sz="1200" b="0" u="none" strike="noStrike" cap="none" normalizeH="0" baseline="0" err="1">
                <a:ln>
                  <a:noFill/>
                </a:ln>
                <a:effectLst/>
                <a:latin typeface="Trebuchet MS" pitchFamily="34" charset="0"/>
              </a:rPr>
              <a:t>Altares</a:t>
            </a:r>
            <a:r>
              <a:rPr kumimoji="0" lang="en-GB" sz="1200" b="0" u="none" strike="noStrike" cap="none" normalizeH="0" baseline="0">
                <a:ln>
                  <a:noFill/>
                </a:ln>
                <a:effectLst/>
                <a:latin typeface="Trebuchet MS" pitchFamily="34" charset="0"/>
              </a:rPr>
              <a:t> positioning</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Credit &amp; financial risk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Compliance market</a:t>
            </a:r>
          </a:p>
          <a:p>
            <a:pPr marL="742950" lvl="1" indent="-285750">
              <a:buFont typeface="+mj-lt"/>
              <a:buAutoNum type="romanLcPeriod"/>
            </a:pPr>
            <a:r>
              <a:rPr lang="en-GB" sz="1200">
                <a:latin typeface="Trebuchet MS" pitchFamily="34" charset="0"/>
              </a:rPr>
              <a:t>Market scope &amp; overview</a:t>
            </a:r>
          </a:p>
          <a:p>
            <a:pPr marL="742950" lvl="1" indent="-285750">
              <a:buFont typeface="+mj-lt"/>
              <a:buAutoNum type="romanLcPeriod"/>
            </a:pPr>
            <a:r>
              <a:rPr lang="en-GB" sz="1200">
                <a:latin typeface="Trebuchet MS" pitchFamily="34" charset="0"/>
              </a:rPr>
              <a:t>Regulatory context &amp; key drivers</a:t>
            </a:r>
          </a:p>
          <a:p>
            <a:pPr marL="742950" marR="0" lvl="1" indent="-285750" defTabSz="914400" eaLnBrk="1" latinLnBrk="0" hangingPunct="1">
              <a:lnSpc>
                <a:spcPct val="100000"/>
              </a:lnSpc>
              <a:buClrTx/>
              <a:buSzTx/>
              <a:buFont typeface="+mj-lt"/>
              <a:buAutoNum type="romanLcPeriod"/>
              <a:tabLst/>
            </a:pPr>
            <a:r>
              <a:rPr lang="en-GB" sz="1200">
                <a:latin typeface="Trebuchet MS" pitchFamily="34" charset="0"/>
              </a:rPr>
              <a:t>Altares’ compliance ecosystem</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solidFill>
                  <a:schemeClr val="tx2"/>
                </a:solidFill>
                <a:latin typeface="Trebuchet MS" panose="020B0603020202020204" pitchFamily="34" charset="0"/>
              </a:rPr>
              <a:t>B2B Marketing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BD&amp;A market overview in Maghreb</a:t>
            </a:r>
          </a:p>
          <a:p>
            <a:pPr marL="228600" marR="0" indent="-228600" defTabSz="914400" rtl="0" eaLnBrk="1" fontAlgn="base" latinLnBrk="0" hangingPunct="1">
              <a:lnSpc>
                <a:spcPct val="100000"/>
              </a:lnSpc>
              <a:spcBef>
                <a:spcPct val="0"/>
              </a:spcBef>
              <a:spcAft>
                <a:spcPct val="0"/>
              </a:spcAft>
              <a:buClrTx/>
              <a:buSzTx/>
              <a:buFont typeface="+mj-lt"/>
              <a:buAutoNum type="arabicPeriod"/>
              <a:tabLst/>
            </a:pPr>
            <a:endParaRPr lang="en-GB" sz="1200">
              <a:latin typeface="Trebuchet MS" pitchFamily="34" charset="0"/>
            </a:endParaRPr>
          </a:p>
        </p:txBody>
      </p:sp>
      <p:sp>
        <p:nvSpPr>
          <p:cNvPr id="4" name="Isosceles Triangle">
            <a:extLst>
              <a:ext uri="{FF2B5EF4-FFF2-40B4-BE49-F238E27FC236}">
                <a16:creationId xmlns:a16="http://schemas.microsoft.com/office/drawing/2014/main" id="{B7687D04-BD8D-4C67-9A6D-2BF2249C9A07}"/>
              </a:ext>
            </a:extLst>
          </p:cNvPr>
          <p:cNvSpPr/>
          <p:nvPr/>
        </p:nvSpPr>
        <p:spPr bwMode="auto">
          <a:xfrm rot="5400000">
            <a:off x="5731200" y="2282400"/>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 name="Arrow: Pentagon">
            <a:extLst>
              <a:ext uri="{FF2B5EF4-FFF2-40B4-BE49-F238E27FC236}">
                <a16:creationId xmlns:a16="http://schemas.microsoft.com/office/drawing/2014/main" id="{67FC63A2-E76B-4389-81CB-229CE1428E60}"/>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18" name="Oval">
            <a:extLst>
              <a:ext uri="{FF2B5EF4-FFF2-40B4-BE49-F238E27FC236}">
                <a16:creationId xmlns:a16="http://schemas.microsoft.com/office/drawing/2014/main" id="{B4504C79-D096-4733-918F-6155E6B40B67}"/>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19" name="Arrow: Pentagon">
            <a:extLst>
              <a:ext uri="{FF2B5EF4-FFF2-40B4-BE49-F238E27FC236}">
                <a16:creationId xmlns:a16="http://schemas.microsoft.com/office/drawing/2014/main" id="{93EB449B-9669-458C-8F0C-7DDCE154A40C}"/>
              </a:ext>
            </a:extLst>
          </p:cNvPr>
          <p:cNvSpPr/>
          <p:nvPr/>
        </p:nvSpPr>
        <p:spPr bwMode="auto">
          <a:xfrm>
            <a:off x="1641599" y="2181600"/>
            <a:ext cx="4319994"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FFFFFF"/>
                </a:solidFill>
                <a:effectLst/>
                <a:latin typeface="Trebuchet MS" panose="020B0603020202020204" pitchFamily="34" charset="0"/>
              </a:rPr>
              <a:t>BD&amp;A Market &amp; Competition</a:t>
            </a:r>
          </a:p>
        </p:txBody>
      </p:sp>
      <p:sp>
        <p:nvSpPr>
          <p:cNvPr id="20" name="Oval">
            <a:extLst>
              <a:ext uri="{FF2B5EF4-FFF2-40B4-BE49-F238E27FC236}">
                <a16:creationId xmlns:a16="http://schemas.microsoft.com/office/drawing/2014/main" id="{933C2DBC-A2FE-406F-9946-EB77FACBE5A4}"/>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21" name="Arrow: Pentagon">
            <a:extLst>
              <a:ext uri="{FF2B5EF4-FFF2-40B4-BE49-F238E27FC236}">
                <a16:creationId xmlns:a16="http://schemas.microsoft.com/office/drawing/2014/main" id="{06723350-2972-41D7-8874-8A3FCDCDEA48}"/>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23" name="Arrow: Pentagon">
            <a:extLst>
              <a:ext uri="{FF2B5EF4-FFF2-40B4-BE49-F238E27FC236}">
                <a16:creationId xmlns:a16="http://schemas.microsoft.com/office/drawing/2014/main" id="{CAF32B8E-A8E8-45DC-81D2-602358C0CE45}"/>
              </a:ext>
            </a:extLst>
          </p:cNvPr>
          <p:cNvSpPr/>
          <p:nvPr/>
        </p:nvSpPr>
        <p:spPr bwMode="auto">
          <a:xfrm>
            <a:off x="1641599" y="2685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25" name="Oval">
            <a:extLst>
              <a:ext uri="{FF2B5EF4-FFF2-40B4-BE49-F238E27FC236}">
                <a16:creationId xmlns:a16="http://schemas.microsoft.com/office/drawing/2014/main" id="{3F6B90B6-A8E2-440F-AE64-27933491D342}"/>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27" name="Arrow: Pentagon">
            <a:extLst>
              <a:ext uri="{FF2B5EF4-FFF2-40B4-BE49-F238E27FC236}">
                <a16:creationId xmlns:a16="http://schemas.microsoft.com/office/drawing/2014/main" id="{D710783A-8F5B-479A-BC13-00EDABABD159}"/>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29" name="Oval">
            <a:extLst>
              <a:ext uri="{FF2B5EF4-FFF2-40B4-BE49-F238E27FC236}">
                <a16:creationId xmlns:a16="http://schemas.microsoft.com/office/drawing/2014/main" id="{5183E75A-2054-42F1-8127-D10A7AEC0BD6}"/>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31" name="Oval">
            <a:extLst>
              <a:ext uri="{FF2B5EF4-FFF2-40B4-BE49-F238E27FC236}">
                <a16:creationId xmlns:a16="http://schemas.microsoft.com/office/drawing/2014/main" id="{C18CD42C-2B86-408B-99BC-15C4B83DF27C}"/>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3186716976"/>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C9D2695-8EFF-4A30-AFD3-26FCA4795D70}"/>
              </a:ext>
            </a:extLst>
          </p:cNvPr>
          <p:cNvGraphicFramePr>
            <a:graphicFrameLocks noChangeAspect="1"/>
          </p:cNvGraphicFramePr>
          <p:nvPr>
            <p:custDataLst>
              <p:tags r:id="rId1"/>
            </p:custDataLst>
            <p:extLst>
              <p:ext uri="{D42A27DB-BD31-4B8C-83A1-F6EECF244321}">
                <p14:modId xmlns:p14="http://schemas.microsoft.com/office/powerpoint/2010/main" val="2905888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a:extLst>
                          <a:ext uri="{FF2B5EF4-FFF2-40B4-BE49-F238E27FC236}">
                            <a16:creationId xmlns:a16="http://schemas.microsoft.com/office/drawing/2014/main" id="{DC9D2695-8EFF-4A30-AFD3-26FCA4795D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31C3D51-1B00-418C-939F-038583F8999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8B209259-435B-45EF-8E08-C29099D248A8}"/>
              </a:ext>
            </a:extLst>
          </p:cNvPr>
          <p:cNvSpPr>
            <a:spLocks noGrp="1"/>
          </p:cNvSpPr>
          <p:nvPr>
            <p:ph type="title"/>
          </p:nvPr>
        </p:nvSpPr>
        <p:spPr>
          <a:xfrm>
            <a:off x="165600" y="147600"/>
            <a:ext cx="8360227" cy="684000"/>
          </a:xfrm>
        </p:spPr>
        <p:txBody>
          <a:bodyPr/>
          <a:lstStyle/>
          <a:p>
            <a:r>
              <a:rPr lang="en-GB" err="1">
                <a:latin typeface="Trebuchet MS" panose="020B0603020202020204" pitchFamily="34" charset="0"/>
              </a:rPr>
              <a:t>Altares</a:t>
            </a:r>
            <a:r>
              <a:rPr lang="en-GB">
                <a:latin typeface="Trebuchet MS" panose="020B0603020202020204" pitchFamily="34" charset="0"/>
              </a:rPr>
              <a:t> addresses the </a:t>
            </a:r>
            <a:r>
              <a:rPr lang="en-GB">
                <a:solidFill>
                  <a:schemeClr val="tx2"/>
                </a:solidFill>
                <a:latin typeface="Trebuchet MS" panose="020B0603020202020204" pitchFamily="34" charset="0"/>
              </a:rPr>
              <a:t>B2B</a:t>
            </a:r>
            <a:r>
              <a:rPr lang="en-GB">
                <a:latin typeface="Trebuchet MS" panose="020B0603020202020204" pitchFamily="34" charset="0"/>
              </a:rPr>
              <a:t> </a:t>
            </a:r>
            <a:r>
              <a:rPr lang="en-GB">
                <a:solidFill>
                  <a:schemeClr val="tx2"/>
                </a:solidFill>
                <a:latin typeface="Trebuchet MS" panose="020B0603020202020204" pitchFamily="34" charset="0"/>
              </a:rPr>
              <a:t>lead</a:t>
            </a:r>
            <a:r>
              <a:rPr lang="en-GB">
                <a:latin typeface="Trebuchet MS" panose="020B0603020202020204" pitchFamily="34" charset="0"/>
              </a:rPr>
              <a:t> </a:t>
            </a:r>
            <a:r>
              <a:rPr lang="en-GB">
                <a:solidFill>
                  <a:schemeClr val="tx2"/>
                </a:solidFill>
                <a:latin typeface="Trebuchet MS" panose="020B0603020202020204" pitchFamily="34" charset="0"/>
              </a:rPr>
              <a:t>generation</a:t>
            </a:r>
            <a:r>
              <a:rPr lang="en-GB">
                <a:latin typeface="Trebuchet MS" panose="020B0603020202020204" pitchFamily="34" charset="0"/>
              </a:rPr>
              <a:t> market, estimated at </a:t>
            </a:r>
            <a:r>
              <a:rPr lang="en-GB">
                <a:solidFill>
                  <a:schemeClr val="tx2"/>
                </a:solidFill>
                <a:latin typeface="Trebuchet MS" panose="020B0603020202020204" pitchFamily="34" charset="0"/>
              </a:rPr>
              <a:t>€146m</a:t>
            </a:r>
            <a:r>
              <a:rPr lang="en-GB">
                <a:latin typeface="Trebuchet MS" panose="020B0603020202020204" pitchFamily="34" charset="0"/>
              </a:rPr>
              <a:t>, which </a:t>
            </a:r>
            <a:r>
              <a:rPr lang="en-GB">
                <a:solidFill>
                  <a:schemeClr val="tx2"/>
                </a:solidFill>
                <a:latin typeface="Trebuchet MS" panose="020B0603020202020204" pitchFamily="34" charset="0"/>
              </a:rPr>
              <a:t>growth</a:t>
            </a:r>
            <a:r>
              <a:rPr lang="en-GB">
                <a:latin typeface="Trebuchet MS" panose="020B0603020202020204" pitchFamily="34" charset="0"/>
              </a:rPr>
              <a:t> could be explained by the multiplication of </a:t>
            </a:r>
            <a:r>
              <a:rPr lang="en-GB">
                <a:solidFill>
                  <a:schemeClr val="tx2"/>
                </a:solidFill>
                <a:latin typeface="Trebuchet MS" panose="020B0603020202020204" pitchFamily="34" charset="0"/>
              </a:rPr>
              <a:t>data</a:t>
            </a:r>
            <a:r>
              <a:rPr lang="en-GB">
                <a:latin typeface="Trebuchet MS" panose="020B0603020202020204" pitchFamily="34" charset="0"/>
              </a:rPr>
              <a:t> and the opportunities linked to their exploitation</a:t>
            </a:r>
          </a:p>
        </p:txBody>
      </p:sp>
      <p:sp>
        <p:nvSpPr>
          <p:cNvPr id="3" name="Text Placeholder 2">
            <a:extLst>
              <a:ext uri="{FF2B5EF4-FFF2-40B4-BE49-F238E27FC236}">
                <a16:creationId xmlns:a16="http://schemas.microsoft.com/office/drawing/2014/main" id="{B66E256D-ED32-4E13-A0C0-CF1897D67355}"/>
              </a:ext>
            </a:extLst>
          </p:cNvPr>
          <p:cNvSpPr>
            <a:spLocks noGrp="1"/>
          </p:cNvSpPr>
          <p:nvPr>
            <p:ph type="body" sz="quarter" idx="10"/>
          </p:nvPr>
        </p:nvSpPr>
        <p:spPr/>
        <p:txBody>
          <a:bodyPr/>
          <a:lstStyle/>
          <a:p>
            <a:r>
              <a:rPr lang="en-GB"/>
              <a:t>Sources: eleven research &amp; analysis, expert calls, company data</a:t>
            </a:r>
          </a:p>
        </p:txBody>
      </p:sp>
      <p:pic>
        <p:nvPicPr>
          <p:cNvPr id="6" name="Picture 5">
            <a:extLst>
              <a:ext uri="{FF2B5EF4-FFF2-40B4-BE49-F238E27FC236}">
                <a16:creationId xmlns:a16="http://schemas.microsoft.com/office/drawing/2014/main" id="{5FBECECA-38CE-4D6B-A07D-BA436D56EFE6}"/>
              </a:ext>
            </a:extLst>
          </p:cNvPr>
          <p:cNvPicPr>
            <a:picLocks noChangeAspect="1"/>
          </p:cNvPicPr>
          <p:nvPr/>
        </p:nvPicPr>
        <p:blipFill>
          <a:blip r:embed="rId6"/>
          <a:stretch>
            <a:fillRect/>
          </a:stretch>
        </p:blipFill>
        <p:spPr>
          <a:xfrm>
            <a:off x="1316038" y="1038870"/>
            <a:ext cx="4974171" cy="5477340"/>
          </a:xfrm>
          <a:prstGeom prst="rect">
            <a:avLst/>
          </a:prstGeom>
        </p:spPr>
      </p:pic>
      <p:cxnSp>
        <p:nvCxnSpPr>
          <p:cNvPr id="15" name="Connecteur droit 4">
            <a:extLst>
              <a:ext uri="{FF2B5EF4-FFF2-40B4-BE49-F238E27FC236}">
                <a16:creationId xmlns:a16="http://schemas.microsoft.com/office/drawing/2014/main" id="{F7C5219C-49EE-4F2A-AF19-3CFA57369E4E}"/>
              </a:ext>
            </a:extLst>
          </p:cNvPr>
          <p:cNvCxnSpPr>
            <a:cxnSpLocks/>
          </p:cNvCxnSpPr>
          <p:nvPr/>
        </p:nvCxnSpPr>
        <p:spPr bwMode="auto">
          <a:xfrm>
            <a:off x="153380" y="1276433"/>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6" name="ZoneTexte 6">
            <a:extLst>
              <a:ext uri="{FF2B5EF4-FFF2-40B4-BE49-F238E27FC236}">
                <a16:creationId xmlns:a16="http://schemas.microsoft.com/office/drawing/2014/main" id="{82B671EF-58F9-4ECF-BEF8-BEE2C691CAAB}"/>
              </a:ext>
            </a:extLst>
          </p:cNvPr>
          <p:cNvSpPr txBox="1"/>
          <p:nvPr/>
        </p:nvSpPr>
        <p:spPr>
          <a:xfrm>
            <a:off x="2753030" y="1017030"/>
            <a:ext cx="4515367" cy="518808"/>
          </a:xfrm>
          <a:prstGeom prst="rect">
            <a:avLst/>
          </a:prstGeom>
          <a:solidFill>
            <a:schemeClr val="bg1"/>
          </a:solidFill>
          <a:ln>
            <a:noFill/>
          </a:ln>
        </p:spPr>
        <p:txBody>
          <a:bodyPr wrap="square" rtlCol="0" anchor="ctr">
            <a:noAutofit/>
          </a:bodyPr>
          <a:lstStyle/>
          <a:p>
            <a:pPr algn="ctr"/>
            <a:r>
              <a:rPr lang="en-GB" sz="1100">
                <a:latin typeface="Trebuchet MS" panose="020B0603020202020204" pitchFamily="34" charset="0"/>
              </a:rPr>
              <a:t>B2B lead generation market size estimation by geographies</a:t>
            </a:r>
          </a:p>
        </p:txBody>
      </p:sp>
      <p:grpSp>
        <p:nvGrpSpPr>
          <p:cNvPr id="32" name="Group 31">
            <a:extLst>
              <a:ext uri="{FF2B5EF4-FFF2-40B4-BE49-F238E27FC236}">
                <a16:creationId xmlns:a16="http://schemas.microsoft.com/office/drawing/2014/main" id="{8C68FF02-09D0-49EB-81E7-DD5CBDC91EFE}"/>
              </a:ext>
            </a:extLst>
          </p:cNvPr>
          <p:cNvGrpSpPr/>
          <p:nvPr/>
        </p:nvGrpSpPr>
        <p:grpSpPr>
          <a:xfrm>
            <a:off x="7097624" y="2811616"/>
            <a:ext cx="2542133" cy="3420904"/>
            <a:chOff x="7097624" y="1682046"/>
            <a:chExt cx="2542133" cy="3420904"/>
          </a:xfrm>
        </p:grpSpPr>
        <p:sp>
          <p:nvSpPr>
            <p:cNvPr id="17" name="Rectangle 16">
              <a:extLst>
                <a:ext uri="{FF2B5EF4-FFF2-40B4-BE49-F238E27FC236}">
                  <a16:creationId xmlns:a16="http://schemas.microsoft.com/office/drawing/2014/main" id="{8AE057FB-738F-40FA-B820-46AB087DBF49}"/>
                </a:ext>
              </a:extLst>
            </p:cNvPr>
            <p:cNvSpPr/>
            <p:nvPr/>
          </p:nvSpPr>
          <p:spPr bwMode="auto">
            <a:xfrm>
              <a:off x="7097624" y="3579637"/>
              <a:ext cx="2542133" cy="1523313"/>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defRPr/>
              </a:pPr>
              <a:r>
                <a:rPr lang="en-GB" sz="1000" i="1" spc="-30">
                  <a:latin typeface="Trebuchet MS" panose="020B0603020202020204" pitchFamily="34" charset="0"/>
                </a:rPr>
                <a:t>“The market is experiencing a </a:t>
              </a:r>
              <a:r>
                <a:rPr lang="en-GB" sz="1000" i="1" spc="-30">
                  <a:solidFill>
                    <a:schemeClr val="tx2"/>
                  </a:solidFill>
                  <a:latin typeface="Trebuchet MS" panose="020B0603020202020204" pitchFamily="34" charset="0"/>
                </a:rPr>
                <a:t>significant</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growth</a:t>
              </a:r>
              <a:r>
                <a:rPr lang="en-GB" sz="1000" i="1" spc="-30">
                  <a:latin typeface="Trebuchet MS" panose="020B0603020202020204" pitchFamily="34" charset="0"/>
                </a:rPr>
                <a:t> in the </a:t>
              </a:r>
              <a:r>
                <a:rPr lang="en-GB" sz="1000" i="1" spc="-30">
                  <a:solidFill>
                    <a:schemeClr val="tx2"/>
                  </a:solidFill>
                  <a:latin typeface="Trebuchet MS" panose="020B0603020202020204" pitchFamily="34" charset="0"/>
                </a:rPr>
                <a:t>database</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cleansing</a:t>
              </a:r>
              <a:r>
                <a:rPr lang="en-GB" sz="1000" i="1" spc="-30">
                  <a:latin typeface="Trebuchet MS" panose="020B0603020202020204" pitchFamily="34" charset="0"/>
                </a:rPr>
                <a:t> and </a:t>
              </a:r>
              <a:r>
                <a:rPr lang="en-GB" sz="1000" i="1" spc="-30">
                  <a:solidFill>
                    <a:schemeClr val="tx2"/>
                  </a:solidFill>
                  <a:latin typeface="Trebuchet MS" panose="020B0603020202020204" pitchFamily="34" charset="0"/>
                </a:rPr>
                <a:t>enrichment</a:t>
              </a:r>
              <a:r>
                <a:rPr lang="en-GB" sz="1000" i="1" spc="-30">
                  <a:latin typeface="Trebuchet MS" panose="020B0603020202020204" pitchFamily="34" charset="0"/>
                </a:rPr>
                <a:t> segment but a decrease in the number of use cases in prospecting lists, mostly due to GDPR constraints.”</a:t>
              </a:r>
            </a:p>
            <a:p>
              <a:pPr>
                <a:defRPr/>
              </a:pPr>
              <a:endParaRPr lang="en-GB" sz="1000" i="1" spc="-30">
                <a:latin typeface="Trebuchet MS" panose="020B0603020202020204" pitchFamily="34" charset="0"/>
              </a:endParaRPr>
            </a:p>
            <a:p>
              <a:pPr>
                <a:defRPr/>
              </a:pPr>
              <a:r>
                <a:rPr lang="en-GB" sz="1000" spc="-30">
                  <a:latin typeface="Trebuchet MS" panose="020B0603020202020204" pitchFamily="34" charset="0"/>
                </a:rPr>
                <a:t>Former Managing Director at Graydon</a:t>
              </a:r>
              <a:endParaRPr lang="en-GB" sz="1000">
                <a:latin typeface="Trebuchet MS" pitchFamily="34" charset="0"/>
              </a:endParaRPr>
            </a:p>
          </p:txBody>
        </p:sp>
        <p:sp>
          <p:nvSpPr>
            <p:cNvPr id="18" name="Freeform 663">
              <a:extLst>
                <a:ext uri="{FF2B5EF4-FFF2-40B4-BE49-F238E27FC236}">
                  <a16:creationId xmlns:a16="http://schemas.microsoft.com/office/drawing/2014/main" id="{E0C88EA2-4013-4C5A-A8A3-7DE67E08E6E4}"/>
                </a:ext>
              </a:extLst>
            </p:cNvPr>
            <p:cNvSpPr>
              <a:spLocks noEditPoints="1"/>
            </p:cNvSpPr>
            <p:nvPr/>
          </p:nvSpPr>
          <p:spPr bwMode="auto">
            <a:xfrm>
              <a:off x="8237154" y="3455683"/>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21" name="Rectangle 20">
              <a:extLst>
                <a:ext uri="{FF2B5EF4-FFF2-40B4-BE49-F238E27FC236}">
                  <a16:creationId xmlns:a16="http://schemas.microsoft.com/office/drawing/2014/main" id="{0CC83291-58CF-4035-A61A-D920439759F4}"/>
                </a:ext>
              </a:extLst>
            </p:cNvPr>
            <p:cNvSpPr/>
            <p:nvPr/>
          </p:nvSpPr>
          <p:spPr bwMode="auto">
            <a:xfrm>
              <a:off x="7097624" y="1788675"/>
              <a:ext cx="2542133" cy="1523313"/>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defRPr/>
              </a:pPr>
              <a:r>
                <a:rPr lang="en-GB" sz="1000" spc="-30">
                  <a:latin typeface="Trebuchet MS" panose="020B0603020202020204" pitchFamily="34" charset="0"/>
                </a:rPr>
                <a:t>Only the </a:t>
              </a:r>
              <a:r>
                <a:rPr lang="en-GB" sz="1000" spc="-30">
                  <a:solidFill>
                    <a:schemeClr val="tx2"/>
                  </a:solidFill>
                  <a:latin typeface="Trebuchet MS" panose="020B0603020202020204" pitchFamily="34" charset="0"/>
                </a:rPr>
                <a:t>lead</a:t>
              </a:r>
              <a:r>
                <a:rPr lang="en-GB" sz="1000" spc="-30">
                  <a:latin typeface="Trebuchet MS" panose="020B0603020202020204" pitchFamily="34" charset="0"/>
                </a:rPr>
                <a:t> </a:t>
              </a:r>
              <a:r>
                <a:rPr lang="en-GB" sz="1000" spc="-30">
                  <a:solidFill>
                    <a:schemeClr val="tx2"/>
                  </a:solidFill>
                  <a:latin typeface="Trebuchet MS" panose="020B0603020202020204" pitchFamily="34" charset="0"/>
                </a:rPr>
                <a:t>generation </a:t>
              </a:r>
              <a:r>
                <a:rPr lang="en-GB" sz="1000" spc="-30">
                  <a:latin typeface="Trebuchet MS" panose="020B0603020202020204" pitchFamily="34" charset="0"/>
                </a:rPr>
                <a:t>segment is </a:t>
              </a:r>
              <a:r>
                <a:rPr lang="en-GB" sz="1000" spc="-30">
                  <a:solidFill>
                    <a:schemeClr val="tx2"/>
                  </a:solidFill>
                  <a:latin typeface="Trebuchet MS" panose="020B0603020202020204" pitchFamily="34" charset="0"/>
                </a:rPr>
                <a:t>assessed</a:t>
              </a:r>
              <a:r>
                <a:rPr lang="en-GB" sz="1000" spc="-30">
                  <a:latin typeface="Trebuchet MS" panose="020B0603020202020204" pitchFamily="34" charset="0"/>
                </a:rPr>
                <a:t> in this </a:t>
              </a:r>
              <a:r>
                <a:rPr lang="en-GB" sz="1000" spc="-30">
                  <a:solidFill>
                    <a:schemeClr val="tx2"/>
                  </a:solidFill>
                  <a:latin typeface="Trebuchet MS" panose="020B0603020202020204" pitchFamily="34" charset="0"/>
                </a:rPr>
                <a:t>market</a:t>
              </a:r>
              <a:r>
                <a:rPr lang="en-GB" sz="1000" spc="-30">
                  <a:latin typeface="Trebuchet MS" panose="020B0603020202020204" pitchFamily="34" charset="0"/>
                </a:rPr>
                <a:t> </a:t>
              </a:r>
              <a:r>
                <a:rPr lang="en-GB" sz="1000" spc="-30">
                  <a:solidFill>
                    <a:schemeClr val="tx2"/>
                  </a:solidFill>
                  <a:latin typeface="Trebuchet MS" panose="020B0603020202020204" pitchFamily="34" charset="0"/>
                </a:rPr>
                <a:t>size</a:t>
              </a:r>
              <a:r>
                <a:rPr lang="en-GB" sz="1000" spc="-30">
                  <a:latin typeface="Trebuchet MS" panose="020B0603020202020204" pitchFamily="34" charset="0"/>
                </a:rPr>
                <a:t> </a:t>
              </a:r>
              <a:r>
                <a:rPr lang="en-GB" sz="1000" spc="-30">
                  <a:solidFill>
                    <a:schemeClr val="tx2"/>
                  </a:solidFill>
                  <a:latin typeface="Trebuchet MS" panose="020B0603020202020204" pitchFamily="34" charset="0"/>
                </a:rPr>
                <a:t>estimation</a:t>
              </a:r>
              <a:r>
                <a:rPr lang="en-GB" sz="1000" spc="-30">
                  <a:latin typeface="Trebuchet MS" panose="020B0603020202020204" pitchFamily="34" charset="0"/>
                </a:rPr>
                <a:t> as it’s the major segment </a:t>
              </a:r>
              <a:r>
                <a:rPr lang="en-GB" sz="1000" spc="-30">
                  <a:solidFill>
                    <a:schemeClr val="tx2"/>
                  </a:solidFill>
                  <a:latin typeface="Trebuchet MS" panose="020B0603020202020204" pitchFamily="34" charset="0"/>
                </a:rPr>
                <a:t>addressed</a:t>
              </a:r>
              <a:r>
                <a:rPr lang="en-GB" sz="1000" spc="-30">
                  <a:latin typeface="Trebuchet MS" panose="020B0603020202020204" pitchFamily="34" charset="0"/>
                </a:rPr>
                <a:t> by </a:t>
              </a:r>
              <a:r>
                <a:rPr lang="en-GB" sz="1000" spc="-30" err="1">
                  <a:solidFill>
                    <a:schemeClr val="tx2"/>
                  </a:solidFill>
                  <a:latin typeface="Trebuchet MS" panose="020B0603020202020204" pitchFamily="34" charset="0"/>
                </a:rPr>
                <a:t>Altares</a:t>
              </a:r>
              <a:r>
                <a:rPr lang="en-GB" sz="1000" spc="-30">
                  <a:latin typeface="Trebuchet MS" panose="020B0603020202020204" pitchFamily="34" charset="0"/>
                </a:rPr>
                <a:t> (i.e. lead generations solutions and master data management solutions applied to B2B marketing stakes such as database cleaning and/or enrichment)</a:t>
              </a:r>
              <a:endParaRPr lang="en-GB" sz="1000">
                <a:solidFill>
                  <a:schemeClr val="tx2"/>
                </a:solidFill>
                <a:latin typeface="Trebuchet MS" pitchFamily="34" charset="0"/>
              </a:endParaRPr>
            </a:p>
          </p:txBody>
        </p:sp>
        <p:grpSp>
          <p:nvGrpSpPr>
            <p:cNvPr id="24" name="Group 5">
              <a:extLst>
                <a:ext uri="{FF2B5EF4-FFF2-40B4-BE49-F238E27FC236}">
                  <a16:creationId xmlns:a16="http://schemas.microsoft.com/office/drawing/2014/main" id="{705F7E7F-F5C1-4E8D-8BB0-E17787E90900}"/>
                </a:ext>
              </a:extLst>
            </p:cNvPr>
            <p:cNvGrpSpPr>
              <a:grpSpLocks noChangeAspect="1"/>
            </p:cNvGrpSpPr>
            <p:nvPr/>
          </p:nvGrpSpPr>
          <p:grpSpPr bwMode="auto">
            <a:xfrm>
              <a:off x="8261888" y="1682046"/>
              <a:ext cx="170539" cy="170540"/>
              <a:chOff x="788" y="800"/>
              <a:chExt cx="742" cy="742"/>
            </a:xfrm>
            <a:solidFill>
              <a:schemeClr val="tx2"/>
            </a:solidFill>
          </p:grpSpPr>
          <p:sp>
            <p:nvSpPr>
              <p:cNvPr id="25" name="Freeform 6">
                <a:extLst>
                  <a:ext uri="{FF2B5EF4-FFF2-40B4-BE49-F238E27FC236}">
                    <a16:creationId xmlns:a16="http://schemas.microsoft.com/office/drawing/2014/main" id="{03CDC2D6-770A-4EBA-8140-30189C336DB5}"/>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sp>
            <p:nvSpPr>
              <p:cNvPr id="26" name="Freeform 7">
                <a:extLst>
                  <a:ext uri="{FF2B5EF4-FFF2-40B4-BE49-F238E27FC236}">
                    <a16:creationId xmlns:a16="http://schemas.microsoft.com/office/drawing/2014/main" id="{A33BB706-3B38-4809-B3EB-6B5D8C879204}"/>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sp>
            <p:nvSpPr>
              <p:cNvPr id="27" name="Freeform 8">
                <a:extLst>
                  <a:ext uri="{FF2B5EF4-FFF2-40B4-BE49-F238E27FC236}">
                    <a16:creationId xmlns:a16="http://schemas.microsoft.com/office/drawing/2014/main" id="{882385FF-C00A-458F-8BEC-335B924C31FF}"/>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sp>
            <p:nvSpPr>
              <p:cNvPr id="28" name="Freeform 9">
                <a:extLst>
                  <a:ext uri="{FF2B5EF4-FFF2-40B4-BE49-F238E27FC236}">
                    <a16:creationId xmlns:a16="http://schemas.microsoft.com/office/drawing/2014/main" id="{59DFF8DA-EA71-4874-B442-6B3C93A68448}"/>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sp>
            <p:nvSpPr>
              <p:cNvPr id="29" name="Freeform 10">
                <a:extLst>
                  <a:ext uri="{FF2B5EF4-FFF2-40B4-BE49-F238E27FC236}">
                    <a16:creationId xmlns:a16="http://schemas.microsoft.com/office/drawing/2014/main" id="{44981F02-14B8-429B-AAED-44A5593E08C0}"/>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sp>
            <p:nvSpPr>
              <p:cNvPr id="30" name="Freeform 11">
                <a:extLst>
                  <a:ext uri="{FF2B5EF4-FFF2-40B4-BE49-F238E27FC236}">
                    <a16:creationId xmlns:a16="http://schemas.microsoft.com/office/drawing/2014/main" id="{23956903-8DA9-466F-93C7-C5ED3BBA73EE}"/>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sp>
            <p:nvSpPr>
              <p:cNvPr id="31" name="Freeform 12">
                <a:extLst>
                  <a:ext uri="{FF2B5EF4-FFF2-40B4-BE49-F238E27FC236}">
                    <a16:creationId xmlns:a16="http://schemas.microsoft.com/office/drawing/2014/main" id="{BDF688B8-9FD9-4E83-94D6-B7435C55BD35}"/>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grpSp>
      </p:grpSp>
      <p:sp>
        <p:nvSpPr>
          <p:cNvPr id="44" name="Rectangle 43">
            <a:extLst>
              <a:ext uri="{FF2B5EF4-FFF2-40B4-BE49-F238E27FC236}">
                <a16:creationId xmlns:a16="http://schemas.microsoft.com/office/drawing/2014/main" id="{4C87B3B3-D16E-4BF4-9473-73AD82D3AC7A}"/>
              </a:ext>
            </a:extLst>
          </p:cNvPr>
          <p:cNvSpPr/>
          <p:nvPr/>
        </p:nvSpPr>
        <p:spPr bwMode="auto">
          <a:xfrm>
            <a:off x="7097624" y="1593462"/>
            <a:ext cx="2651688" cy="100874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6" name="Rectangle 45">
            <a:extLst>
              <a:ext uri="{FF2B5EF4-FFF2-40B4-BE49-F238E27FC236}">
                <a16:creationId xmlns:a16="http://schemas.microsoft.com/office/drawing/2014/main" id="{BD8C193F-E473-417E-9171-522C3ADD106E}"/>
              </a:ext>
            </a:extLst>
          </p:cNvPr>
          <p:cNvSpPr/>
          <p:nvPr/>
        </p:nvSpPr>
        <p:spPr bwMode="auto">
          <a:xfrm>
            <a:off x="7105679" y="1711980"/>
            <a:ext cx="1276931" cy="79200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iz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Future growth (CAGR</a:t>
            </a:r>
            <a:r>
              <a:rPr lang="en-GB" sz="600" i="1" baseline="-25000">
                <a:latin typeface="Trebuchet MS" panose="020B0603020202020204" pitchFamily="34" charset="0"/>
              </a:rPr>
              <a:t>2021-2025</a:t>
            </a:r>
            <a:r>
              <a:rPr lang="en-GB" sz="700" i="1">
                <a:latin typeface="Trebuchet MS" panose="020B0603020202020204" pitchFamily="34" charset="0"/>
              </a:rPr>
              <a:t>): </a:t>
            </a:r>
          </a:p>
          <a:p>
            <a:pPr marR="0" defTabSz="361950" rtl="0" eaLnBrk="1" fontAlgn="base" latinLnBrk="0" hangingPunct="1">
              <a:lnSpc>
                <a:spcPts val="1100"/>
              </a:lnSpc>
              <a:spcBef>
                <a:spcPct val="0"/>
              </a:spcBef>
              <a:spcAft>
                <a:spcPct val="0"/>
              </a:spcAft>
              <a:buClrTx/>
              <a:buSzTx/>
              <a:tabLst/>
            </a:pPr>
            <a:endParaRPr lang="en-GB" sz="700" i="1">
              <a:latin typeface="Trebuchet MS" panose="020B0603020202020204" pitchFamily="34" charset="0"/>
            </a:endParaRPr>
          </a:p>
          <a:p>
            <a:pPr marR="0" defTabSz="361950" rtl="0" eaLnBrk="1" fontAlgn="base" latinLnBrk="0" hangingPunct="1">
              <a:lnSpc>
                <a:spcPts val="1100"/>
              </a:lnSpc>
              <a:spcBef>
                <a:spcPct val="0"/>
              </a:spcBef>
              <a:spcAft>
                <a:spcPct val="0"/>
              </a:spcAft>
              <a:buClrTx/>
              <a:buSzTx/>
              <a:tabLst/>
            </a:pPr>
            <a:r>
              <a:rPr lang="en-GB" sz="700" i="1" err="1">
                <a:latin typeface="Trebuchet MS" panose="020B0603020202020204" pitchFamily="34" charset="0"/>
              </a:rPr>
              <a:t>Altares</a:t>
            </a:r>
            <a:r>
              <a:rPr lang="en-GB" sz="700" i="1">
                <a:latin typeface="Trebuchet MS" panose="020B0603020202020204" pitchFamily="34" charset="0"/>
              </a:rPr>
              <a:t>’ market share: </a:t>
            </a:r>
            <a:r>
              <a:rPr lang="en-GB" sz="700" i="1" err="1">
                <a:latin typeface="Trebuchet MS" panose="020B0603020202020204" pitchFamily="34" charset="0"/>
              </a:rPr>
              <a:t>Altares</a:t>
            </a:r>
            <a:r>
              <a:rPr lang="en-GB" sz="700" i="1">
                <a:latin typeface="Trebuchet MS" panose="020B0603020202020204" pitchFamily="34" charset="0"/>
              </a:rPr>
              <a:t>’ 2019 revenue: </a:t>
            </a:r>
          </a:p>
        </p:txBody>
      </p:sp>
      <p:sp>
        <p:nvSpPr>
          <p:cNvPr id="48" name="Rectangle 47">
            <a:extLst>
              <a:ext uri="{FF2B5EF4-FFF2-40B4-BE49-F238E27FC236}">
                <a16:creationId xmlns:a16="http://schemas.microsoft.com/office/drawing/2014/main" id="{761FF478-F9D2-4823-B1EE-AFA098AB174F}"/>
              </a:ext>
            </a:extLst>
          </p:cNvPr>
          <p:cNvSpPr/>
          <p:nvPr/>
        </p:nvSpPr>
        <p:spPr bwMode="auto">
          <a:xfrm>
            <a:off x="8390664" y="1663724"/>
            <a:ext cx="1260000" cy="900000"/>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50" b="1"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a:t>
            </a:r>
            <a:r>
              <a:rPr lang="en-GB" sz="1050" b="1">
                <a:solidFill>
                  <a:schemeClr val="tx2"/>
                </a:solidFill>
                <a:latin typeface="Trebuchet MS" panose="020B0603020202020204" pitchFamily="34" charset="0"/>
              </a:rPr>
              <a:t>146</a:t>
            </a:r>
            <a:r>
              <a:rPr kumimoji="0" lang="en-GB" sz="1050" b="1"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m</a:t>
            </a:r>
          </a:p>
          <a:p>
            <a:pPr marL="0" marR="0" lvl="0" indent="0" algn="ctr" defTabSz="361950" rtl="0" eaLnBrk="1" fontAlgn="base" latinLnBrk="0" hangingPunct="1">
              <a:lnSpc>
                <a:spcPts val="1100"/>
              </a:lnSpc>
              <a:spcBef>
                <a:spcPct val="0"/>
              </a:spcBef>
              <a:spcAft>
                <a:spcPts val="200"/>
              </a:spcAft>
              <a:buClrTx/>
              <a:buSzTx/>
              <a:buFontTx/>
              <a:buNone/>
              <a:tabLst/>
              <a:defRPr/>
            </a:pPr>
            <a:r>
              <a:rPr lang="en-GB" sz="1050" b="1" i="1">
                <a:solidFill>
                  <a:schemeClr val="tx2"/>
                </a:solidFill>
                <a:latin typeface="Trebuchet MS" panose="020B0603020202020204" pitchFamily="34" charset="0"/>
              </a:rPr>
              <a:t>+6</a:t>
            </a:r>
            <a:r>
              <a:rPr kumimoji="0" lang="en-GB" sz="1050" b="1" i="1" u="none" strike="noStrike" kern="1200" cap="none" spc="0" normalizeH="0" baseline="0" noProof="0">
                <a:ln>
                  <a:noFill/>
                </a:ln>
                <a:solidFill>
                  <a:schemeClr val="tx2"/>
                </a:solidFill>
                <a:effectLst/>
                <a:uLnTx/>
                <a:uFillTx/>
                <a:latin typeface="Trebuchet MS" pitchFamily="34" charset="0"/>
                <a:ea typeface="+mn-ea"/>
                <a:cs typeface="Arial" pitchFamily="34" charset="0"/>
              </a:rPr>
              <a:t>%</a:t>
            </a:r>
          </a:p>
          <a:p>
            <a:pPr marL="0" marR="0" lvl="0" indent="0" algn="ctr" defTabSz="361950" rtl="0" eaLnBrk="1" fontAlgn="base" latinLnBrk="0" hangingPunct="1">
              <a:lnSpc>
                <a:spcPts val="1100"/>
              </a:lnSpc>
              <a:spcBef>
                <a:spcPct val="0"/>
              </a:spcBef>
              <a:spcAft>
                <a:spcPts val="200"/>
              </a:spcAft>
              <a:buClrTx/>
              <a:buSzTx/>
              <a:buFontTx/>
              <a:buNone/>
              <a:tabLst/>
              <a:defRPr/>
            </a:pPr>
            <a:endParaRPr kumimoji="0" lang="en-GB" sz="1050" b="1" i="1" u="none" strike="noStrike" kern="1200" cap="none" spc="0" normalizeH="0" baseline="0" noProof="0">
              <a:ln>
                <a:noFill/>
              </a:ln>
              <a:solidFill>
                <a:schemeClr val="tx2"/>
              </a:solidFill>
              <a:effectLst/>
              <a:uLnTx/>
              <a:uFillTx/>
              <a:latin typeface="Trebuchet MS" pitchFamily="34" charset="0"/>
              <a:ea typeface="+mn-ea"/>
              <a:cs typeface="Arial" pitchFamily="34" charset="0"/>
            </a:endParaRPr>
          </a:p>
          <a:p>
            <a:pPr marL="0" marR="0" lvl="0" indent="0" algn="ctr" defTabSz="361950" rtl="0" eaLnBrk="1" fontAlgn="base" latinLnBrk="0" hangingPunct="1">
              <a:lnSpc>
                <a:spcPts val="1100"/>
              </a:lnSpc>
              <a:spcBef>
                <a:spcPct val="0"/>
              </a:spcBef>
              <a:spcAft>
                <a:spcPts val="200"/>
              </a:spcAft>
              <a:buClrTx/>
              <a:buSzTx/>
              <a:buFontTx/>
              <a:buNone/>
              <a:tabLst/>
              <a:defRPr/>
            </a:pPr>
            <a:r>
              <a:rPr lang="en-GB" sz="900" i="1">
                <a:solidFill>
                  <a:schemeClr val="tx2"/>
                </a:solidFill>
                <a:latin typeface="Trebuchet MS" panose="020B0603020202020204" pitchFamily="34" charset="0"/>
              </a:rPr>
              <a:t>~ 14</a:t>
            </a:r>
            <a:r>
              <a:rPr kumimoji="0" lang="en-GB" sz="900" b="0" i="1"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a:t>
            </a:r>
          </a:p>
          <a:p>
            <a:pPr marL="0" marR="0" lvl="0" indent="0" algn="ctr" defTabSz="361950" rtl="0" eaLnBrk="1" fontAlgn="base" latinLnBrk="0" hangingPunct="1">
              <a:lnSpc>
                <a:spcPts val="1100"/>
              </a:lnSpc>
              <a:spcBef>
                <a:spcPct val="0"/>
              </a:spcBef>
              <a:spcAft>
                <a:spcPts val="200"/>
              </a:spcAft>
              <a:buClrTx/>
              <a:buSzTx/>
              <a:buFontTx/>
              <a:buNone/>
              <a:tabLst/>
              <a:defRPr/>
            </a:pPr>
            <a:r>
              <a:rPr lang="en-GB" sz="900" i="1">
                <a:solidFill>
                  <a:schemeClr val="tx2"/>
                </a:solidFill>
                <a:latin typeface="Trebuchet MS" panose="020B0603020202020204" pitchFamily="34" charset="0"/>
              </a:rPr>
              <a:t>€20</a:t>
            </a:r>
            <a:r>
              <a:rPr kumimoji="0" lang="en-GB" sz="900" b="0" i="1"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m</a:t>
            </a:r>
            <a:endParaRPr lang="en-GB" sz="900">
              <a:solidFill>
                <a:schemeClr val="tx2"/>
              </a:solidFill>
              <a:latin typeface="Trebuchet MS" panose="020B0603020202020204" pitchFamily="34" charset="0"/>
            </a:endParaRPr>
          </a:p>
        </p:txBody>
      </p:sp>
      <p:grpSp>
        <p:nvGrpSpPr>
          <p:cNvPr id="42" name="Groupe 41">
            <a:extLst>
              <a:ext uri="{FF2B5EF4-FFF2-40B4-BE49-F238E27FC236}">
                <a16:creationId xmlns:a16="http://schemas.microsoft.com/office/drawing/2014/main" id="{65CD8372-83E1-46D7-B46C-20A504EF9B23}"/>
              </a:ext>
            </a:extLst>
          </p:cNvPr>
          <p:cNvGrpSpPr/>
          <p:nvPr/>
        </p:nvGrpSpPr>
        <p:grpSpPr>
          <a:xfrm>
            <a:off x="8448150" y="-11528"/>
            <a:ext cx="1435548" cy="588143"/>
            <a:chOff x="8448150" y="-11528"/>
            <a:chExt cx="1435548" cy="588143"/>
          </a:xfrm>
        </p:grpSpPr>
        <p:grpSp>
          <p:nvGrpSpPr>
            <p:cNvPr id="43" name="Groupe 42">
              <a:extLst>
                <a:ext uri="{FF2B5EF4-FFF2-40B4-BE49-F238E27FC236}">
                  <a16:creationId xmlns:a16="http://schemas.microsoft.com/office/drawing/2014/main" id="{281C7287-56D9-434C-B9C3-FA60C5C1FAC6}"/>
                </a:ext>
              </a:extLst>
            </p:cNvPr>
            <p:cNvGrpSpPr/>
            <p:nvPr/>
          </p:nvGrpSpPr>
          <p:grpSpPr>
            <a:xfrm>
              <a:off x="8448150" y="-11528"/>
              <a:ext cx="1435548" cy="555653"/>
              <a:chOff x="8448150" y="-11528"/>
              <a:chExt cx="1435548" cy="555653"/>
            </a:xfrm>
          </p:grpSpPr>
          <p:sp>
            <p:nvSpPr>
              <p:cNvPr id="47" name="Rectangle : coins arrondis 199">
                <a:extLst>
                  <a:ext uri="{FF2B5EF4-FFF2-40B4-BE49-F238E27FC236}">
                    <a16:creationId xmlns:a16="http://schemas.microsoft.com/office/drawing/2014/main" id="{40E5C15A-FC7E-4147-9F95-4EA381F0DA53}"/>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9" name="Rectangle : coins arrondis 200">
                <a:extLst>
                  <a:ext uri="{FF2B5EF4-FFF2-40B4-BE49-F238E27FC236}">
                    <a16:creationId xmlns:a16="http://schemas.microsoft.com/office/drawing/2014/main" id="{C32FF0AA-2233-4516-AF67-FAD1B5938D62}"/>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0" name="Rectangle : coins arrondis 201">
                <a:extLst>
                  <a:ext uri="{FF2B5EF4-FFF2-40B4-BE49-F238E27FC236}">
                    <a16:creationId xmlns:a16="http://schemas.microsoft.com/office/drawing/2014/main" id="{9CB14580-D25B-417F-834F-C423B4AF79CD}"/>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1" name="ZoneTexte 18">
                <a:extLst>
                  <a:ext uri="{FF2B5EF4-FFF2-40B4-BE49-F238E27FC236}">
                    <a16:creationId xmlns:a16="http://schemas.microsoft.com/office/drawing/2014/main" id="{8C2E237C-C4B5-4851-AE62-95154B3E101C}"/>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52" name="Graphique 128" descr="Jauge">
                <a:extLst>
                  <a:ext uri="{FF2B5EF4-FFF2-40B4-BE49-F238E27FC236}">
                    <a16:creationId xmlns:a16="http://schemas.microsoft.com/office/drawing/2014/main" id="{C8CC087D-410E-450D-BDA6-86472D9DFBD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53" name="Graphique 90" descr="Poignée de main">
                <a:extLst>
                  <a:ext uri="{FF2B5EF4-FFF2-40B4-BE49-F238E27FC236}">
                    <a16:creationId xmlns:a16="http://schemas.microsoft.com/office/drawing/2014/main" id="{443A4691-CE1B-4D13-9047-4AE10F826ED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54" name="Graphique 74" descr="Mégaphone">
                <a:extLst>
                  <a:ext uri="{FF2B5EF4-FFF2-40B4-BE49-F238E27FC236}">
                    <a16:creationId xmlns:a16="http://schemas.microsoft.com/office/drawing/2014/main" id="{4A67EA31-0EA6-4169-8987-A2C58577282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55" name="Picture 2" descr="Drapeau France">
                <a:extLst>
                  <a:ext uri="{FF2B5EF4-FFF2-40B4-BE49-F238E27FC236}">
                    <a16:creationId xmlns:a16="http://schemas.microsoft.com/office/drawing/2014/main" id="{9A46FD6C-317C-46AE-9E47-AB05B3F84CF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6" name="Picture 2" descr="5 ft x 3 ft 150 x 90 cm-DRAPEAU BELGE Belgique 100% Polyester ...">
                <a:extLst>
                  <a:ext uri="{FF2B5EF4-FFF2-40B4-BE49-F238E27FC236}">
                    <a16:creationId xmlns:a16="http://schemas.microsoft.com/office/drawing/2014/main" id="{306E7697-CCBA-4C10-AD24-BBFC1B998DBC}"/>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7" name="Picture 2 - 1" descr="Drapeau des Pays-Bas — Wikipédia">
                <a:extLst>
                  <a:ext uri="{FF2B5EF4-FFF2-40B4-BE49-F238E27FC236}">
                    <a16:creationId xmlns:a16="http://schemas.microsoft.com/office/drawing/2014/main" id="{71C832DA-7D34-4495-9352-864533136EE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8" name="Picture 2 - 2" descr="Drapeau du Luxembourg">
                <a:extLst>
                  <a:ext uri="{FF2B5EF4-FFF2-40B4-BE49-F238E27FC236}">
                    <a16:creationId xmlns:a16="http://schemas.microsoft.com/office/drawing/2014/main" id="{CF581BC7-E0DD-4E27-A9B8-39D93068390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45" name="ZoneTexte 18">
              <a:extLst>
                <a:ext uri="{FF2B5EF4-FFF2-40B4-BE49-F238E27FC236}">
                  <a16:creationId xmlns:a16="http://schemas.microsoft.com/office/drawing/2014/main" id="{9730AF3E-CB7E-4E0E-8D29-7D474789EA1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2B Marketing</a:t>
              </a:r>
            </a:p>
          </p:txBody>
        </p:sp>
      </p:grpSp>
      <p:grpSp>
        <p:nvGrpSpPr>
          <p:cNvPr id="59" name="Groupe 58">
            <a:extLst>
              <a:ext uri="{FF2B5EF4-FFF2-40B4-BE49-F238E27FC236}">
                <a16:creationId xmlns:a16="http://schemas.microsoft.com/office/drawing/2014/main" id="{D581B0C9-F90A-4F91-B6F0-E08D97D8F81F}"/>
              </a:ext>
            </a:extLst>
          </p:cNvPr>
          <p:cNvGrpSpPr/>
          <p:nvPr/>
        </p:nvGrpSpPr>
        <p:grpSpPr>
          <a:xfrm>
            <a:off x="1615207" y="1616156"/>
            <a:ext cx="2386340" cy="1154732"/>
            <a:chOff x="1615207" y="1616156"/>
            <a:chExt cx="2386340" cy="1154732"/>
          </a:xfrm>
        </p:grpSpPr>
        <p:sp>
          <p:nvSpPr>
            <p:cNvPr id="60" name="Speech Bubble: Rectangle 28">
              <a:extLst>
                <a:ext uri="{FF2B5EF4-FFF2-40B4-BE49-F238E27FC236}">
                  <a16:creationId xmlns:a16="http://schemas.microsoft.com/office/drawing/2014/main" id="{F44761AE-84E9-4716-A32E-5B20448F7AED}"/>
                </a:ext>
              </a:extLst>
            </p:cNvPr>
            <p:cNvSpPr/>
            <p:nvPr/>
          </p:nvSpPr>
          <p:spPr bwMode="auto">
            <a:xfrm>
              <a:off x="1615207" y="1847610"/>
              <a:ext cx="2386340" cy="923278"/>
            </a:xfrm>
            <a:prstGeom prst="wedgeRectCallout">
              <a:avLst>
                <a:gd name="adj1" fmla="val 42665"/>
                <a:gd name="adj2" fmla="val 68029"/>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endParaRPr lang="en-GB" sz="1100">
                <a:solidFill>
                  <a:schemeClr val="tx2"/>
                </a:solidFill>
                <a:latin typeface="Trebuchet MS" panose="020B0603020202020204" pitchFamily="34" charset="0"/>
              </a:endParaRPr>
            </a:p>
          </p:txBody>
        </p:sp>
        <p:sp>
          <p:nvSpPr>
            <p:cNvPr id="61" name="Rectangle 60">
              <a:extLst>
                <a:ext uri="{FF2B5EF4-FFF2-40B4-BE49-F238E27FC236}">
                  <a16:creationId xmlns:a16="http://schemas.microsoft.com/office/drawing/2014/main" id="{88C7591D-AA3A-4135-9141-CDFA4D2FBE4F}"/>
                </a:ext>
              </a:extLst>
            </p:cNvPr>
            <p:cNvSpPr/>
            <p:nvPr/>
          </p:nvSpPr>
          <p:spPr bwMode="auto">
            <a:xfrm>
              <a:off x="2660365" y="1941913"/>
              <a:ext cx="1226974"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35m</a:t>
              </a:r>
            </a:p>
            <a:p>
              <a:pPr marR="0" algn="ctr" defTabSz="361950" rtl="0" eaLnBrk="1" fontAlgn="base" latinLnBrk="0" hangingPunct="1">
                <a:lnSpc>
                  <a:spcPts val="1100"/>
                </a:lnSpc>
                <a:spcBef>
                  <a:spcPct val="0"/>
                </a:spcBef>
                <a:spcAft>
                  <a:spcPct val="0"/>
                </a:spcAft>
                <a:buClrTx/>
                <a:buSzTx/>
                <a:tabLst/>
              </a:pPr>
              <a:endParaRPr lang="en-GB" sz="1050">
                <a:latin typeface="Trebuchet MS" pitchFamily="34" charset="0"/>
              </a:endParaRP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4m</a:t>
              </a: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1%</a:t>
              </a:r>
            </a:p>
          </p:txBody>
        </p:sp>
        <p:sp>
          <p:nvSpPr>
            <p:cNvPr id="62" name="Rectangle: Rounded Corners 4">
              <a:extLst>
                <a:ext uri="{FF2B5EF4-FFF2-40B4-BE49-F238E27FC236}">
                  <a16:creationId xmlns:a16="http://schemas.microsoft.com/office/drawing/2014/main" id="{7413BC68-81A5-450A-85C9-C210E1B84423}"/>
                </a:ext>
              </a:extLst>
            </p:cNvPr>
            <p:cNvSpPr/>
            <p:nvPr/>
          </p:nvSpPr>
          <p:spPr bwMode="auto">
            <a:xfrm>
              <a:off x="1734654" y="1616156"/>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Netherlands</a:t>
              </a:r>
            </a:p>
          </p:txBody>
        </p:sp>
        <p:pic>
          <p:nvPicPr>
            <p:cNvPr id="63" name="Picture 2 - 1" descr="Drapeau des Pays-Bas — Wikipédia">
              <a:extLst>
                <a:ext uri="{FF2B5EF4-FFF2-40B4-BE49-F238E27FC236}">
                  <a16:creationId xmlns:a16="http://schemas.microsoft.com/office/drawing/2014/main" id="{867AC8FA-9878-4545-9FC4-B01E82B448F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615207" y="1665096"/>
              <a:ext cx="238894"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64" name="Rectangle 63">
              <a:extLst>
                <a:ext uri="{FF2B5EF4-FFF2-40B4-BE49-F238E27FC236}">
                  <a16:creationId xmlns:a16="http://schemas.microsoft.com/office/drawing/2014/main" id="{FA2A0918-8F9B-4279-BD7B-B4D3286A5345}"/>
                </a:ext>
              </a:extLst>
            </p:cNvPr>
            <p:cNvSpPr/>
            <p:nvPr/>
          </p:nvSpPr>
          <p:spPr bwMode="auto">
            <a:xfrm>
              <a:off x="1734653" y="1940065"/>
              <a:ext cx="811503" cy="736521"/>
            </a:xfrm>
            <a:prstGeom prst="rect">
              <a:avLst/>
            </a:prstGeom>
            <a:solidFill>
              <a:srgbClr val="E2E2E2"/>
            </a:solid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Market size:</a:t>
              </a:r>
            </a:p>
            <a:p>
              <a:pPr marR="0" defTabSz="361950" rtl="0" eaLnBrk="1" fontAlgn="base" latinLnBrk="0" hangingPunct="1">
                <a:lnSpc>
                  <a:spcPts val="1100"/>
                </a:lnSpc>
                <a:spcBef>
                  <a:spcPct val="0"/>
                </a:spcBef>
                <a:spcAft>
                  <a:spcPct val="0"/>
                </a:spcAft>
                <a:buClrTx/>
                <a:buSzTx/>
                <a:tabLst/>
              </a:pPr>
              <a:endParaRPr lang="en-GB" sz="700" i="1">
                <a:latin typeface="Trebuchet MS" pitchFamily="34" charset="0"/>
              </a:endParaRPr>
            </a:p>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Altares' mkt share (2019 rev.)²:</a:t>
              </a:r>
            </a:p>
          </p:txBody>
        </p:sp>
      </p:grpSp>
      <p:grpSp>
        <p:nvGrpSpPr>
          <p:cNvPr id="65" name="Groupe 64">
            <a:extLst>
              <a:ext uri="{FF2B5EF4-FFF2-40B4-BE49-F238E27FC236}">
                <a16:creationId xmlns:a16="http://schemas.microsoft.com/office/drawing/2014/main" id="{EFB2F387-0CE0-406B-BE85-E75E5AAD7E1E}"/>
              </a:ext>
            </a:extLst>
          </p:cNvPr>
          <p:cNvGrpSpPr/>
          <p:nvPr/>
        </p:nvGrpSpPr>
        <p:grpSpPr>
          <a:xfrm>
            <a:off x="418202" y="3262522"/>
            <a:ext cx="2487595" cy="1167698"/>
            <a:chOff x="418202" y="3262522"/>
            <a:chExt cx="2487595" cy="1167698"/>
          </a:xfrm>
        </p:grpSpPr>
        <p:sp>
          <p:nvSpPr>
            <p:cNvPr id="66" name="Speech Bubble: Rectangle 28">
              <a:extLst>
                <a:ext uri="{FF2B5EF4-FFF2-40B4-BE49-F238E27FC236}">
                  <a16:creationId xmlns:a16="http://schemas.microsoft.com/office/drawing/2014/main" id="{47438480-86C8-4FD5-A676-3CBAD3879F2F}"/>
                </a:ext>
              </a:extLst>
            </p:cNvPr>
            <p:cNvSpPr/>
            <p:nvPr/>
          </p:nvSpPr>
          <p:spPr bwMode="auto">
            <a:xfrm>
              <a:off x="519457" y="3506942"/>
              <a:ext cx="2386340" cy="923278"/>
            </a:xfrm>
            <a:prstGeom prst="wedgeRectCallout">
              <a:avLst>
                <a:gd name="adj1" fmla="val 57461"/>
                <a:gd name="adj2" fmla="val 369"/>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endParaRPr lang="en-GB" sz="1100">
                <a:solidFill>
                  <a:schemeClr val="tx2"/>
                </a:solidFill>
                <a:latin typeface="Trebuchet MS" panose="020B0603020202020204" pitchFamily="34" charset="0"/>
              </a:endParaRPr>
            </a:p>
          </p:txBody>
        </p:sp>
        <p:sp>
          <p:nvSpPr>
            <p:cNvPr id="67" name="Rectangle 66">
              <a:extLst>
                <a:ext uri="{FF2B5EF4-FFF2-40B4-BE49-F238E27FC236}">
                  <a16:creationId xmlns:a16="http://schemas.microsoft.com/office/drawing/2014/main" id="{DE665E5B-7546-4674-AF3F-FFD553F54D17}"/>
                </a:ext>
              </a:extLst>
            </p:cNvPr>
            <p:cNvSpPr/>
            <p:nvPr/>
          </p:nvSpPr>
          <p:spPr bwMode="auto">
            <a:xfrm>
              <a:off x="1564615" y="3601245"/>
              <a:ext cx="1226974"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85m</a:t>
              </a:r>
            </a:p>
            <a:p>
              <a:pPr marR="0" algn="ctr" defTabSz="361950" rtl="0" eaLnBrk="1" fontAlgn="base" latinLnBrk="0" hangingPunct="1">
                <a:lnSpc>
                  <a:spcPts val="1100"/>
                </a:lnSpc>
                <a:spcBef>
                  <a:spcPct val="0"/>
                </a:spcBef>
                <a:spcAft>
                  <a:spcPct val="0"/>
                </a:spcAft>
                <a:buClrTx/>
                <a:buSzTx/>
                <a:tabLst/>
              </a:pPr>
              <a:endParaRPr lang="en-GB" sz="1050">
                <a:latin typeface="Trebuchet MS" pitchFamily="34" charset="0"/>
              </a:endParaRP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4m</a:t>
              </a: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6%</a:t>
              </a:r>
            </a:p>
          </p:txBody>
        </p:sp>
        <p:sp>
          <p:nvSpPr>
            <p:cNvPr id="68" name="Rectangle 67">
              <a:extLst>
                <a:ext uri="{FF2B5EF4-FFF2-40B4-BE49-F238E27FC236}">
                  <a16:creationId xmlns:a16="http://schemas.microsoft.com/office/drawing/2014/main" id="{C9329512-E171-43B4-AB0C-017A0C978912}"/>
                </a:ext>
              </a:extLst>
            </p:cNvPr>
            <p:cNvSpPr/>
            <p:nvPr/>
          </p:nvSpPr>
          <p:spPr bwMode="auto">
            <a:xfrm>
              <a:off x="638903" y="3599397"/>
              <a:ext cx="811503" cy="736521"/>
            </a:xfrm>
            <a:prstGeom prst="rect">
              <a:avLst/>
            </a:prstGeom>
            <a:solidFill>
              <a:srgbClr val="E2E2E2"/>
            </a:solid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Market size:</a:t>
              </a:r>
            </a:p>
            <a:p>
              <a:pPr marR="0" defTabSz="361950" rtl="0" eaLnBrk="1" fontAlgn="base" latinLnBrk="0" hangingPunct="1">
                <a:lnSpc>
                  <a:spcPts val="1100"/>
                </a:lnSpc>
                <a:spcBef>
                  <a:spcPct val="0"/>
                </a:spcBef>
                <a:spcAft>
                  <a:spcPct val="0"/>
                </a:spcAft>
                <a:buClrTx/>
                <a:buSzTx/>
                <a:tabLst/>
              </a:pPr>
              <a:endParaRPr lang="en-GB" sz="700" i="1">
                <a:latin typeface="Trebuchet MS" pitchFamily="34" charset="0"/>
              </a:endParaRPr>
            </a:p>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Altares' mkt share (2019 rev.)²:</a:t>
              </a:r>
            </a:p>
          </p:txBody>
        </p:sp>
        <p:pic>
          <p:nvPicPr>
            <p:cNvPr id="69" name="Picture 2" descr="Drapeau France">
              <a:extLst>
                <a:ext uri="{FF2B5EF4-FFF2-40B4-BE49-F238E27FC236}">
                  <a16:creationId xmlns:a16="http://schemas.microsoft.com/office/drawing/2014/main" id="{8ED0EC99-4FC7-4D21-AF6C-4F8F6A3B5483}"/>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503051" y="3301311"/>
              <a:ext cx="238894"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70" name="Rectangle: Rounded Corners 4">
              <a:extLst>
                <a:ext uri="{FF2B5EF4-FFF2-40B4-BE49-F238E27FC236}">
                  <a16:creationId xmlns:a16="http://schemas.microsoft.com/office/drawing/2014/main" id="{EBE1CFE2-9012-46AA-BDEC-DDDAA84D2D5C}"/>
                </a:ext>
              </a:extLst>
            </p:cNvPr>
            <p:cNvSpPr/>
            <p:nvPr/>
          </p:nvSpPr>
          <p:spPr bwMode="auto">
            <a:xfrm>
              <a:off x="418202" y="3262522"/>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France </a:t>
              </a:r>
            </a:p>
          </p:txBody>
        </p:sp>
      </p:grpSp>
      <p:grpSp>
        <p:nvGrpSpPr>
          <p:cNvPr id="71" name="Groupe 70">
            <a:extLst>
              <a:ext uri="{FF2B5EF4-FFF2-40B4-BE49-F238E27FC236}">
                <a16:creationId xmlns:a16="http://schemas.microsoft.com/office/drawing/2014/main" id="{51E73DEC-24F1-4979-9113-DD9F1E5561C4}"/>
              </a:ext>
            </a:extLst>
          </p:cNvPr>
          <p:cNvGrpSpPr/>
          <p:nvPr/>
        </p:nvGrpSpPr>
        <p:grpSpPr>
          <a:xfrm>
            <a:off x="4437511" y="3656557"/>
            <a:ext cx="2386340" cy="1153024"/>
            <a:chOff x="4437511" y="3656557"/>
            <a:chExt cx="2386340" cy="1153024"/>
          </a:xfrm>
        </p:grpSpPr>
        <p:sp>
          <p:nvSpPr>
            <p:cNvPr id="72" name="Speech Bubble: Rectangle 28">
              <a:extLst>
                <a:ext uri="{FF2B5EF4-FFF2-40B4-BE49-F238E27FC236}">
                  <a16:creationId xmlns:a16="http://schemas.microsoft.com/office/drawing/2014/main" id="{72FD2B72-2FE4-47FC-8337-D246330BE4A1}"/>
                </a:ext>
              </a:extLst>
            </p:cNvPr>
            <p:cNvSpPr/>
            <p:nvPr/>
          </p:nvSpPr>
          <p:spPr bwMode="auto">
            <a:xfrm>
              <a:off x="4437511" y="3886303"/>
              <a:ext cx="2386340" cy="923278"/>
            </a:xfrm>
            <a:prstGeom prst="wedgeRectCallout">
              <a:avLst>
                <a:gd name="adj1" fmla="val -51803"/>
                <a:gd name="adj2" fmla="val -92786"/>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endParaRPr lang="en-GB" sz="1100">
                <a:solidFill>
                  <a:schemeClr val="tx2"/>
                </a:solidFill>
                <a:latin typeface="Trebuchet MS" panose="020B0603020202020204" pitchFamily="34" charset="0"/>
              </a:endParaRPr>
            </a:p>
          </p:txBody>
        </p:sp>
        <p:sp>
          <p:nvSpPr>
            <p:cNvPr id="73" name="Rectangle 72">
              <a:extLst>
                <a:ext uri="{FF2B5EF4-FFF2-40B4-BE49-F238E27FC236}">
                  <a16:creationId xmlns:a16="http://schemas.microsoft.com/office/drawing/2014/main" id="{5DD8A478-014E-436B-9BA9-BED5599E171C}"/>
                </a:ext>
              </a:extLst>
            </p:cNvPr>
            <p:cNvSpPr/>
            <p:nvPr/>
          </p:nvSpPr>
          <p:spPr bwMode="auto">
            <a:xfrm>
              <a:off x="5482669" y="3980606"/>
              <a:ext cx="1226974"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m</a:t>
              </a:r>
            </a:p>
            <a:p>
              <a:pPr marR="0" algn="ctr" defTabSz="361950" rtl="0" eaLnBrk="1" fontAlgn="base" latinLnBrk="0" hangingPunct="1">
                <a:lnSpc>
                  <a:spcPts val="1100"/>
                </a:lnSpc>
                <a:spcBef>
                  <a:spcPct val="0"/>
                </a:spcBef>
                <a:spcAft>
                  <a:spcPct val="0"/>
                </a:spcAft>
                <a:buClrTx/>
                <a:buSzTx/>
                <a:tabLst/>
              </a:pPr>
              <a:endParaRPr lang="en-GB" sz="1050">
                <a:latin typeface="Trebuchet MS" pitchFamily="34" charset="0"/>
              </a:endParaRP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25k</a:t>
              </a: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3%</a:t>
              </a:r>
            </a:p>
          </p:txBody>
        </p:sp>
        <p:sp>
          <p:nvSpPr>
            <p:cNvPr id="74" name="Rectangle 73">
              <a:extLst>
                <a:ext uri="{FF2B5EF4-FFF2-40B4-BE49-F238E27FC236}">
                  <a16:creationId xmlns:a16="http://schemas.microsoft.com/office/drawing/2014/main" id="{11360494-CA90-4CD3-9727-4814E5E85222}"/>
                </a:ext>
              </a:extLst>
            </p:cNvPr>
            <p:cNvSpPr/>
            <p:nvPr/>
          </p:nvSpPr>
          <p:spPr bwMode="auto">
            <a:xfrm>
              <a:off x="4556957" y="3978758"/>
              <a:ext cx="811503" cy="736521"/>
            </a:xfrm>
            <a:prstGeom prst="rect">
              <a:avLst/>
            </a:prstGeom>
            <a:solidFill>
              <a:srgbClr val="E2E2E2"/>
            </a:solid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Market size:</a:t>
              </a:r>
            </a:p>
            <a:p>
              <a:pPr marR="0" defTabSz="361950" rtl="0" eaLnBrk="1" fontAlgn="base" latinLnBrk="0" hangingPunct="1">
                <a:lnSpc>
                  <a:spcPts val="1100"/>
                </a:lnSpc>
                <a:spcBef>
                  <a:spcPct val="0"/>
                </a:spcBef>
                <a:spcAft>
                  <a:spcPct val="0"/>
                </a:spcAft>
                <a:buClrTx/>
                <a:buSzTx/>
                <a:tabLst/>
              </a:pPr>
              <a:endParaRPr lang="en-GB" sz="700" i="1">
                <a:latin typeface="Trebuchet MS" pitchFamily="34" charset="0"/>
              </a:endParaRPr>
            </a:p>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Altares' mkt share (2019 rev.)²:</a:t>
              </a:r>
            </a:p>
          </p:txBody>
        </p:sp>
        <p:pic>
          <p:nvPicPr>
            <p:cNvPr id="75" name="Picture 2 - 2" descr="Drapeau du Luxembourg">
              <a:extLst>
                <a:ext uri="{FF2B5EF4-FFF2-40B4-BE49-F238E27FC236}">
                  <a16:creationId xmlns:a16="http://schemas.microsoft.com/office/drawing/2014/main" id="{7CDB0055-95AD-4F54-BB78-332E8DF3056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583848" y="3696076"/>
              <a:ext cx="240003" cy="144000"/>
            </a:xfrm>
            <a:prstGeom prst="roundRect">
              <a:avLst/>
            </a:prstGeom>
            <a:solidFill>
              <a:schemeClr val="bg1"/>
            </a:solidFill>
            <a:ln w="9525" cap="flat" cmpd="sng" algn="ctr">
              <a:noFill/>
              <a:prstDash val="solid"/>
              <a:round/>
              <a:headEnd type="none" w="med" len="med"/>
              <a:tailEnd type="none" w="med" len="med"/>
            </a:ln>
            <a:effectLst/>
          </p:spPr>
        </p:pic>
        <p:sp>
          <p:nvSpPr>
            <p:cNvPr id="76" name="Rectangle: Rounded Corners 4">
              <a:extLst>
                <a:ext uri="{FF2B5EF4-FFF2-40B4-BE49-F238E27FC236}">
                  <a16:creationId xmlns:a16="http://schemas.microsoft.com/office/drawing/2014/main" id="{7D670FA2-E52F-4AA8-8465-ECA44C6D5FD2}"/>
                </a:ext>
              </a:extLst>
            </p:cNvPr>
            <p:cNvSpPr/>
            <p:nvPr/>
          </p:nvSpPr>
          <p:spPr bwMode="auto">
            <a:xfrm>
              <a:off x="5575379" y="3656557"/>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Luxembourg</a:t>
              </a:r>
            </a:p>
          </p:txBody>
        </p:sp>
      </p:grpSp>
      <p:grpSp>
        <p:nvGrpSpPr>
          <p:cNvPr id="77" name="Groupe 76">
            <a:extLst>
              <a:ext uri="{FF2B5EF4-FFF2-40B4-BE49-F238E27FC236}">
                <a16:creationId xmlns:a16="http://schemas.microsoft.com/office/drawing/2014/main" id="{E236552A-4A05-4A81-AC76-5B9CBB33AC66}"/>
              </a:ext>
            </a:extLst>
          </p:cNvPr>
          <p:cNvGrpSpPr/>
          <p:nvPr/>
        </p:nvGrpSpPr>
        <p:grpSpPr>
          <a:xfrm>
            <a:off x="4392077" y="2244787"/>
            <a:ext cx="2431774" cy="1153024"/>
            <a:chOff x="4392077" y="2244787"/>
            <a:chExt cx="2431774" cy="1153024"/>
          </a:xfrm>
        </p:grpSpPr>
        <p:sp>
          <p:nvSpPr>
            <p:cNvPr id="78" name="Speech Bubble: Rectangle 28">
              <a:extLst>
                <a:ext uri="{FF2B5EF4-FFF2-40B4-BE49-F238E27FC236}">
                  <a16:creationId xmlns:a16="http://schemas.microsoft.com/office/drawing/2014/main" id="{2326F0AB-0D25-4FDD-8C30-62C3C9CF9A92}"/>
                </a:ext>
              </a:extLst>
            </p:cNvPr>
            <p:cNvSpPr/>
            <p:nvPr/>
          </p:nvSpPr>
          <p:spPr bwMode="auto">
            <a:xfrm>
              <a:off x="4437511" y="2474533"/>
              <a:ext cx="2386340" cy="923278"/>
            </a:xfrm>
            <a:prstGeom prst="wedgeRectCallout">
              <a:avLst>
                <a:gd name="adj1" fmla="val -61287"/>
                <a:gd name="adj2" fmla="val 31748"/>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endParaRPr lang="en-GB" sz="1100">
                <a:solidFill>
                  <a:schemeClr val="tx2"/>
                </a:solidFill>
                <a:latin typeface="Trebuchet MS" panose="020B0603020202020204" pitchFamily="34" charset="0"/>
              </a:endParaRPr>
            </a:p>
          </p:txBody>
        </p:sp>
        <p:sp>
          <p:nvSpPr>
            <p:cNvPr id="79" name="Rectangle 78">
              <a:extLst>
                <a:ext uri="{FF2B5EF4-FFF2-40B4-BE49-F238E27FC236}">
                  <a16:creationId xmlns:a16="http://schemas.microsoft.com/office/drawing/2014/main" id="{51927D47-2625-4BB9-82E1-22F63C699812}"/>
                </a:ext>
              </a:extLst>
            </p:cNvPr>
            <p:cNvSpPr/>
            <p:nvPr/>
          </p:nvSpPr>
          <p:spPr bwMode="auto">
            <a:xfrm>
              <a:off x="5482669" y="2568836"/>
              <a:ext cx="1226974"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25m</a:t>
              </a:r>
            </a:p>
            <a:p>
              <a:pPr marR="0" algn="ctr" defTabSz="361950" rtl="0" eaLnBrk="1" fontAlgn="base" latinLnBrk="0" hangingPunct="1">
                <a:lnSpc>
                  <a:spcPts val="1100"/>
                </a:lnSpc>
                <a:spcBef>
                  <a:spcPct val="0"/>
                </a:spcBef>
                <a:spcAft>
                  <a:spcPct val="0"/>
                </a:spcAft>
                <a:buClrTx/>
                <a:buSzTx/>
                <a:tabLst/>
              </a:pPr>
              <a:endParaRPr lang="en-GB" sz="1050">
                <a:latin typeface="Trebuchet MS" pitchFamily="34" charset="0"/>
              </a:endParaRP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2m</a:t>
              </a: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8%</a:t>
              </a:r>
            </a:p>
          </p:txBody>
        </p:sp>
        <p:sp>
          <p:nvSpPr>
            <p:cNvPr id="80" name="Rectangle 79">
              <a:extLst>
                <a:ext uri="{FF2B5EF4-FFF2-40B4-BE49-F238E27FC236}">
                  <a16:creationId xmlns:a16="http://schemas.microsoft.com/office/drawing/2014/main" id="{7F7C75F8-5BCC-407E-99F6-1737918C7609}"/>
                </a:ext>
              </a:extLst>
            </p:cNvPr>
            <p:cNvSpPr/>
            <p:nvPr/>
          </p:nvSpPr>
          <p:spPr bwMode="auto">
            <a:xfrm>
              <a:off x="4556957" y="2566988"/>
              <a:ext cx="811503" cy="736521"/>
            </a:xfrm>
            <a:prstGeom prst="rect">
              <a:avLst/>
            </a:prstGeom>
            <a:solidFill>
              <a:srgbClr val="E2E2E2"/>
            </a:solid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Market size:</a:t>
              </a:r>
            </a:p>
            <a:p>
              <a:pPr marR="0" defTabSz="361950" rtl="0" eaLnBrk="1" fontAlgn="base" latinLnBrk="0" hangingPunct="1">
                <a:lnSpc>
                  <a:spcPts val="1100"/>
                </a:lnSpc>
                <a:spcBef>
                  <a:spcPct val="0"/>
                </a:spcBef>
                <a:spcAft>
                  <a:spcPct val="0"/>
                </a:spcAft>
                <a:buClrTx/>
                <a:buSzTx/>
                <a:tabLst/>
              </a:pPr>
              <a:endParaRPr lang="en-GB" sz="700" i="1">
                <a:latin typeface="Trebuchet MS" pitchFamily="34" charset="0"/>
              </a:endParaRPr>
            </a:p>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Altares' mkt share (2019 rev.)²:</a:t>
              </a:r>
            </a:p>
          </p:txBody>
        </p:sp>
        <p:pic>
          <p:nvPicPr>
            <p:cNvPr id="81" name="Picture 2" descr="5 ft x 3 ft 150 x 90 cm-DRAPEAU BELGE Belgique 100% Polyester ...">
              <a:extLst>
                <a:ext uri="{FF2B5EF4-FFF2-40B4-BE49-F238E27FC236}">
                  <a16:creationId xmlns:a16="http://schemas.microsoft.com/office/drawing/2014/main" id="{5931784F-84A4-4CCF-BA86-CEE07B9E58B7}"/>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4431717" y="2282953"/>
              <a:ext cx="238896"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82" name="Rectangle: Rounded Corners 4">
              <a:extLst>
                <a:ext uri="{FF2B5EF4-FFF2-40B4-BE49-F238E27FC236}">
                  <a16:creationId xmlns:a16="http://schemas.microsoft.com/office/drawing/2014/main" id="{F801B7CA-FFEE-47A5-90E8-0563CF7887CF}"/>
                </a:ext>
              </a:extLst>
            </p:cNvPr>
            <p:cNvSpPr/>
            <p:nvPr/>
          </p:nvSpPr>
          <p:spPr bwMode="auto">
            <a:xfrm>
              <a:off x="4392077" y="2244787"/>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Belgium</a:t>
              </a:r>
            </a:p>
          </p:txBody>
        </p:sp>
      </p:grpSp>
      <p:grpSp>
        <p:nvGrpSpPr>
          <p:cNvPr id="84" name="Groupe 21">
            <a:extLst>
              <a:ext uri="{FF2B5EF4-FFF2-40B4-BE49-F238E27FC236}">
                <a16:creationId xmlns:a16="http://schemas.microsoft.com/office/drawing/2014/main" id="{A4169F96-1344-4EF4-B413-8E619F9ED597}"/>
              </a:ext>
            </a:extLst>
          </p:cNvPr>
          <p:cNvGrpSpPr/>
          <p:nvPr/>
        </p:nvGrpSpPr>
        <p:grpSpPr>
          <a:xfrm>
            <a:off x="9312374" y="2732808"/>
            <a:ext cx="451426" cy="455941"/>
            <a:chOff x="195390" y="5861727"/>
            <a:chExt cx="335805" cy="335805"/>
          </a:xfrm>
        </p:grpSpPr>
        <p:sp>
          <p:nvSpPr>
            <p:cNvPr id="85" name="Ellipse 22">
              <a:extLst>
                <a:ext uri="{FF2B5EF4-FFF2-40B4-BE49-F238E27FC236}">
                  <a16:creationId xmlns:a16="http://schemas.microsoft.com/office/drawing/2014/main" id="{8E577A19-6A0B-4935-9275-A3AC6226CE98}"/>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86" name="Group 5">
              <a:extLst>
                <a:ext uri="{FF2B5EF4-FFF2-40B4-BE49-F238E27FC236}">
                  <a16:creationId xmlns:a16="http://schemas.microsoft.com/office/drawing/2014/main" id="{A3959F0C-E0D3-4592-A175-BF7CA013E7D0}"/>
                </a:ext>
              </a:extLst>
            </p:cNvPr>
            <p:cNvGrpSpPr>
              <a:grpSpLocks noChangeAspect="1"/>
            </p:cNvGrpSpPr>
            <p:nvPr/>
          </p:nvGrpSpPr>
          <p:grpSpPr bwMode="auto">
            <a:xfrm>
              <a:off x="249663" y="5915997"/>
              <a:ext cx="227258" cy="227255"/>
              <a:chOff x="788" y="800"/>
              <a:chExt cx="742" cy="742"/>
            </a:xfrm>
            <a:solidFill>
              <a:schemeClr val="tx2"/>
            </a:solidFill>
          </p:grpSpPr>
          <p:sp>
            <p:nvSpPr>
              <p:cNvPr id="87" name="Freeform 6">
                <a:extLst>
                  <a:ext uri="{FF2B5EF4-FFF2-40B4-BE49-F238E27FC236}">
                    <a16:creationId xmlns:a16="http://schemas.microsoft.com/office/drawing/2014/main" id="{DC0C5CD3-22ED-4C1E-949A-B56D0BB0FF9B}"/>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8" name="Freeform 7">
                <a:extLst>
                  <a:ext uri="{FF2B5EF4-FFF2-40B4-BE49-F238E27FC236}">
                    <a16:creationId xmlns:a16="http://schemas.microsoft.com/office/drawing/2014/main" id="{5661E580-66FD-4F60-8459-43C2A3380308}"/>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9" name="Freeform 8">
                <a:extLst>
                  <a:ext uri="{FF2B5EF4-FFF2-40B4-BE49-F238E27FC236}">
                    <a16:creationId xmlns:a16="http://schemas.microsoft.com/office/drawing/2014/main" id="{340533C8-4946-41EB-BE9D-5503FDE28E59}"/>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0" name="Freeform 9">
                <a:extLst>
                  <a:ext uri="{FF2B5EF4-FFF2-40B4-BE49-F238E27FC236}">
                    <a16:creationId xmlns:a16="http://schemas.microsoft.com/office/drawing/2014/main" id="{4695EA63-CED9-408F-A87B-A3CC7382E93E}"/>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1" name="Freeform 10">
                <a:extLst>
                  <a:ext uri="{FF2B5EF4-FFF2-40B4-BE49-F238E27FC236}">
                    <a16:creationId xmlns:a16="http://schemas.microsoft.com/office/drawing/2014/main" id="{5F900176-49A6-42C9-94EA-131B603F3D30}"/>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2" name="Freeform 11">
                <a:extLst>
                  <a:ext uri="{FF2B5EF4-FFF2-40B4-BE49-F238E27FC236}">
                    <a16:creationId xmlns:a16="http://schemas.microsoft.com/office/drawing/2014/main" id="{6CD5A8F1-2FC8-4E3F-8FB6-76D995E25C9D}"/>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3" name="Freeform 12">
                <a:extLst>
                  <a:ext uri="{FF2B5EF4-FFF2-40B4-BE49-F238E27FC236}">
                    <a16:creationId xmlns:a16="http://schemas.microsoft.com/office/drawing/2014/main" id="{7612B6DF-09DE-48AE-A85F-92C676F5EB09}"/>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spTree>
    <p:extLst>
      <p:ext uri="{BB962C8B-B14F-4D97-AF65-F5344CB8AC3E}">
        <p14:creationId xmlns:p14="http://schemas.microsoft.com/office/powerpoint/2010/main" val="84797541"/>
      </p:ext>
    </p:extLst>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60AF80-B1A4-42B4-93E7-DB95A5D4D506}"/>
              </a:ext>
            </a:extLst>
          </p:cNvPr>
          <p:cNvSpPr>
            <a:spLocks noGrp="1"/>
          </p:cNvSpPr>
          <p:nvPr>
            <p:ph type="title"/>
          </p:nvPr>
        </p:nvSpPr>
        <p:spPr>
          <a:xfrm>
            <a:off x="165600" y="147600"/>
            <a:ext cx="8227465" cy="684000"/>
          </a:xfrm>
        </p:spPr>
        <p:txBody>
          <a:bodyPr/>
          <a:lstStyle/>
          <a:p>
            <a:r>
              <a:rPr lang="en-GB" err="1">
                <a:solidFill>
                  <a:schemeClr val="tx2"/>
                </a:solidFill>
                <a:latin typeface="Trebuchet MS" panose="020B0603020202020204" pitchFamily="34" charset="0"/>
              </a:rPr>
              <a:t>Altares</a:t>
            </a:r>
            <a:r>
              <a:rPr lang="en-GB">
                <a:latin typeface="Trebuchet MS" panose="020B0603020202020204" pitchFamily="34" charset="0"/>
              </a:rPr>
              <a:t> leverages the quality and the comprehensiveness of its data to specifically </a:t>
            </a:r>
            <a:r>
              <a:rPr lang="en-GB">
                <a:solidFill>
                  <a:schemeClr val="tx2"/>
                </a:solidFill>
                <a:latin typeface="Trebuchet MS" panose="020B0603020202020204" pitchFamily="34" charset="0"/>
              </a:rPr>
              <a:t>address</a:t>
            </a:r>
            <a:r>
              <a:rPr lang="en-GB">
                <a:latin typeface="Trebuchet MS" panose="020B0603020202020204" pitchFamily="34" charset="0"/>
              </a:rPr>
              <a:t> the </a:t>
            </a:r>
            <a:r>
              <a:rPr lang="en-GB">
                <a:solidFill>
                  <a:schemeClr val="tx2"/>
                </a:solidFill>
                <a:latin typeface="Trebuchet MS" panose="020B0603020202020204" pitchFamily="34" charset="0"/>
              </a:rPr>
              <a:t>B2B prospect</a:t>
            </a:r>
            <a:r>
              <a:rPr lang="en-GB">
                <a:latin typeface="Trebuchet MS" panose="020B0603020202020204" pitchFamily="34" charset="0"/>
              </a:rPr>
              <a:t> </a:t>
            </a:r>
            <a:r>
              <a:rPr lang="en-GB">
                <a:solidFill>
                  <a:schemeClr val="tx2"/>
                </a:solidFill>
                <a:latin typeface="Trebuchet MS" panose="020B0603020202020204" pitchFamily="34" charset="0"/>
              </a:rPr>
              <a:t>qualification</a:t>
            </a:r>
            <a:r>
              <a:rPr lang="en-GB">
                <a:latin typeface="Trebuchet MS" panose="020B0603020202020204" pitchFamily="34" charset="0"/>
              </a:rPr>
              <a:t> </a:t>
            </a:r>
            <a:r>
              <a:rPr lang="en-GB">
                <a:solidFill>
                  <a:schemeClr val="tx2"/>
                </a:solidFill>
                <a:latin typeface="Trebuchet MS" panose="020B0603020202020204" pitchFamily="34" charset="0"/>
              </a:rPr>
              <a:t>segment</a:t>
            </a:r>
            <a:r>
              <a:rPr lang="en-GB">
                <a:latin typeface="Trebuchet MS" panose="020B0603020202020204" pitchFamily="34" charset="0"/>
              </a:rPr>
              <a:t> </a:t>
            </a:r>
          </a:p>
        </p:txBody>
      </p:sp>
      <p:sp>
        <p:nvSpPr>
          <p:cNvPr id="3" name="Text Placeholder 2">
            <a:extLst>
              <a:ext uri="{FF2B5EF4-FFF2-40B4-BE49-F238E27FC236}">
                <a16:creationId xmlns:a16="http://schemas.microsoft.com/office/drawing/2014/main" id="{07FBEF58-ABDE-46CD-AE57-454D452DA16B}"/>
              </a:ext>
            </a:extLst>
          </p:cNvPr>
          <p:cNvSpPr>
            <a:spLocks noGrp="1"/>
          </p:cNvSpPr>
          <p:nvPr>
            <p:ph type="body" sz="quarter" idx="10"/>
          </p:nvPr>
        </p:nvSpPr>
        <p:spPr/>
        <p:txBody>
          <a:bodyPr/>
          <a:lstStyle/>
          <a:p>
            <a:r>
              <a:rPr lang="en-GB"/>
              <a:t>Sources: eleven research &amp; analysis, company websites</a:t>
            </a:r>
          </a:p>
        </p:txBody>
      </p:sp>
      <p:sp>
        <p:nvSpPr>
          <p:cNvPr id="8" name="Rectangle 7">
            <a:extLst>
              <a:ext uri="{FF2B5EF4-FFF2-40B4-BE49-F238E27FC236}">
                <a16:creationId xmlns:a16="http://schemas.microsoft.com/office/drawing/2014/main" id="{86B0CF2E-6BDF-44D8-BC36-A90571F7FA93}"/>
              </a:ext>
            </a:extLst>
          </p:cNvPr>
          <p:cNvSpPr/>
          <p:nvPr/>
        </p:nvSpPr>
        <p:spPr bwMode="auto">
          <a:xfrm>
            <a:off x="70311" y="1709867"/>
            <a:ext cx="1266831" cy="3856856"/>
          </a:xfrm>
          <a:prstGeom prst="rect">
            <a:avLst/>
          </a:prstGeom>
          <a:solidFill>
            <a:schemeClr val="bg1"/>
          </a:solid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solidFill>
                  <a:schemeClr val="tx2"/>
                </a:solidFill>
                <a:latin typeface="Trebuchet MS" panose="020B0603020202020204" pitchFamily="34" charset="0"/>
              </a:rPr>
              <a:t>B2B Marketing Strategy</a:t>
            </a:r>
          </a:p>
        </p:txBody>
      </p:sp>
      <p:sp>
        <p:nvSpPr>
          <p:cNvPr id="4" name="Rectangle 3">
            <a:extLst>
              <a:ext uri="{FF2B5EF4-FFF2-40B4-BE49-F238E27FC236}">
                <a16:creationId xmlns:a16="http://schemas.microsoft.com/office/drawing/2014/main" id="{9D1D5660-74DF-45D6-8CCD-5C116124E8CD}"/>
              </a:ext>
            </a:extLst>
          </p:cNvPr>
          <p:cNvSpPr/>
          <p:nvPr/>
        </p:nvSpPr>
        <p:spPr bwMode="auto">
          <a:xfrm>
            <a:off x="8038712" y="4385456"/>
            <a:ext cx="1694552" cy="1103757"/>
          </a:xfrm>
          <a:prstGeom prst="rect">
            <a:avLst/>
          </a:prstGeom>
          <a:solidFill>
            <a:schemeClr val="bg2">
              <a:lumMod val="20000"/>
              <a:lumOff val="80000"/>
            </a:schemeClr>
          </a:solidFill>
          <a:ln w="12700" cap="flat" cmpd="sng" algn="ctr">
            <a:solidFill>
              <a:schemeClr val="tx2"/>
            </a:solidFill>
            <a:prstDash val="dash"/>
            <a:round/>
            <a:headEnd type="none" w="med" len="med"/>
            <a:tailEnd type="none" w="med" len="med"/>
          </a:ln>
          <a:effectLst/>
        </p:spPr>
        <p:txBody>
          <a:bodyPr vert="horz" wrap="square" lIns="0" tIns="90000" rIns="0" bIns="45720" numCol="1" rtlCol="0" anchor="t" anchorCtr="0" compatLnSpc="1">
            <a:prstTxWarp prst="textNoShape">
              <a:avLst/>
            </a:prstTxWarp>
          </a:bodyPr>
          <a:lstStyle/>
          <a:p>
            <a:pPr algn="ctr"/>
            <a:r>
              <a:rPr lang="en-GB" sz="1000">
                <a:solidFill>
                  <a:schemeClr val="tx2"/>
                </a:solidFill>
                <a:latin typeface="Trebuchet MS" pitchFamily="34" charset="0"/>
              </a:rPr>
              <a:t>CRM</a:t>
            </a:r>
          </a:p>
          <a:p>
            <a:pPr algn="ctr"/>
            <a:endParaRPr lang="en-GB" sz="1000">
              <a:solidFill>
                <a:schemeClr val="tx2"/>
              </a:solidFill>
              <a:latin typeface="Trebuchet MS" pitchFamily="34" charset="0"/>
            </a:endParaRPr>
          </a:p>
          <a:p>
            <a:pPr algn="ctr"/>
            <a:endParaRPr lang="en-GB" sz="1000">
              <a:solidFill>
                <a:schemeClr val="tx2"/>
              </a:solidFill>
              <a:latin typeface="Trebuchet MS" pitchFamily="34" charset="0"/>
            </a:endParaRPr>
          </a:p>
        </p:txBody>
      </p:sp>
      <p:sp>
        <p:nvSpPr>
          <p:cNvPr id="6" name="Rectangle 5">
            <a:extLst>
              <a:ext uri="{FF2B5EF4-FFF2-40B4-BE49-F238E27FC236}">
                <a16:creationId xmlns:a16="http://schemas.microsoft.com/office/drawing/2014/main" id="{ABB6686B-7406-4EFE-96C9-956C190654F5}"/>
              </a:ext>
            </a:extLst>
          </p:cNvPr>
          <p:cNvSpPr/>
          <p:nvPr/>
        </p:nvSpPr>
        <p:spPr bwMode="auto">
          <a:xfrm>
            <a:off x="1429560" y="1709867"/>
            <a:ext cx="6398123" cy="1836000"/>
          </a:xfrm>
          <a:prstGeom prst="rect">
            <a:avLst/>
          </a:prstGeom>
          <a:solidFill>
            <a:schemeClr val="bg2">
              <a:lumMod val="20000"/>
              <a:lumOff val="80000"/>
            </a:schemeClr>
          </a:solidFill>
          <a:ln w="19050" cap="flat" cmpd="sng" algn="ctr">
            <a:noFill/>
            <a:prstDash val="dash"/>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algn="ctr"/>
            <a:r>
              <a:rPr lang="en-GB" sz="1200" b="1">
                <a:solidFill>
                  <a:schemeClr val="tx2"/>
                </a:solidFill>
                <a:latin typeface="Trebuchet MS" panose="020B0603020202020204" pitchFamily="34" charset="0"/>
              </a:rPr>
              <a:t>Inbound Marketing</a:t>
            </a:r>
          </a:p>
        </p:txBody>
      </p:sp>
      <p:sp>
        <p:nvSpPr>
          <p:cNvPr id="10" name="Rectangle 9">
            <a:extLst>
              <a:ext uri="{FF2B5EF4-FFF2-40B4-BE49-F238E27FC236}">
                <a16:creationId xmlns:a16="http://schemas.microsoft.com/office/drawing/2014/main" id="{A602704D-B47F-4AA3-BFE1-EA4DB93A8FDF}"/>
              </a:ext>
            </a:extLst>
          </p:cNvPr>
          <p:cNvSpPr/>
          <p:nvPr/>
        </p:nvSpPr>
        <p:spPr bwMode="auto">
          <a:xfrm>
            <a:off x="7920101" y="1709867"/>
            <a:ext cx="1916359" cy="3856855"/>
          </a:xfrm>
          <a:prstGeom prst="rect">
            <a:avLst/>
          </a:prstGeom>
          <a:noFill/>
          <a:ln w="12700" cap="flat" cmpd="sng" algn="ctr">
            <a:solidFill>
              <a:schemeClr val="tx2"/>
            </a:solidFill>
            <a:prstDash val="dash"/>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algn="ctr"/>
            <a:r>
              <a:rPr lang="en-GB" sz="1200" b="1">
                <a:solidFill>
                  <a:schemeClr val="tx2"/>
                </a:solidFill>
                <a:latin typeface="Trebuchet MS" panose="020B0603020202020204" pitchFamily="34" charset="0"/>
              </a:rPr>
              <a:t>Tools</a:t>
            </a:r>
          </a:p>
        </p:txBody>
      </p:sp>
      <p:pic>
        <p:nvPicPr>
          <p:cNvPr id="11" name="Graphic 10">
            <a:extLst>
              <a:ext uri="{FF2B5EF4-FFF2-40B4-BE49-F238E27FC236}">
                <a16:creationId xmlns:a16="http://schemas.microsoft.com/office/drawing/2014/main" id="{B3E23BCB-2AFE-4BFC-8CCE-484B2180FC8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0134" y="2947122"/>
            <a:ext cx="446258" cy="557822"/>
          </a:xfrm>
          <a:prstGeom prst="rect">
            <a:avLst/>
          </a:prstGeom>
        </p:spPr>
      </p:pic>
      <p:sp>
        <p:nvSpPr>
          <p:cNvPr id="7" name="Rectangle 6">
            <a:extLst>
              <a:ext uri="{FF2B5EF4-FFF2-40B4-BE49-F238E27FC236}">
                <a16:creationId xmlns:a16="http://schemas.microsoft.com/office/drawing/2014/main" id="{63382622-5048-4C87-B8A0-B9F93A07B925}"/>
              </a:ext>
            </a:extLst>
          </p:cNvPr>
          <p:cNvSpPr/>
          <p:nvPr/>
        </p:nvSpPr>
        <p:spPr bwMode="auto">
          <a:xfrm>
            <a:off x="1432802" y="3730722"/>
            <a:ext cx="6398124" cy="1836000"/>
          </a:xfrm>
          <a:prstGeom prst="rect">
            <a:avLst/>
          </a:prstGeom>
          <a:solidFill>
            <a:schemeClr val="bg2">
              <a:lumMod val="20000"/>
              <a:lumOff val="80000"/>
            </a:schemeClr>
          </a:solidFill>
          <a:ln w="19050" cap="flat" cmpd="sng" algn="ctr">
            <a:noFill/>
            <a:prstDash val="dash"/>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algn="ctr"/>
            <a:r>
              <a:rPr lang="en-GB" sz="1200" b="1">
                <a:solidFill>
                  <a:schemeClr val="tx2"/>
                </a:solidFill>
                <a:latin typeface="Trebuchet MS" panose="020B0603020202020204" pitchFamily="34" charset="0"/>
              </a:rPr>
              <a:t>Outbound Marketing</a:t>
            </a:r>
          </a:p>
        </p:txBody>
      </p:sp>
      <p:sp>
        <p:nvSpPr>
          <p:cNvPr id="55" name="Rectangle 54">
            <a:extLst>
              <a:ext uri="{FF2B5EF4-FFF2-40B4-BE49-F238E27FC236}">
                <a16:creationId xmlns:a16="http://schemas.microsoft.com/office/drawing/2014/main" id="{A911B27E-6611-46E8-A7CB-8EA79B925723}"/>
              </a:ext>
            </a:extLst>
          </p:cNvPr>
          <p:cNvSpPr/>
          <p:nvPr/>
        </p:nvSpPr>
        <p:spPr bwMode="auto">
          <a:xfrm>
            <a:off x="8038712" y="3195432"/>
            <a:ext cx="1694552" cy="1103757"/>
          </a:xfrm>
          <a:prstGeom prst="rect">
            <a:avLst/>
          </a:prstGeom>
          <a:solidFill>
            <a:schemeClr val="bg2">
              <a:lumMod val="20000"/>
              <a:lumOff val="80000"/>
            </a:schemeClr>
          </a:solidFill>
          <a:ln w="12700" cap="flat" cmpd="sng" algn="ctr">
            <a:solidFill>
              <a:schemeClr val="tx2"/>
            </a:solidFill>
            <a:prstDash val="dash"/>
            <a:round/>
            <a:headEnd type="none" w="med" len="med"/>
            <a:tailEnd type="none" w="med" len="med"/>
          </a:ln>
          <a:effectLst/>
        </p:spPr>
        <p:txBody>
          <a:bodyPr vert="horz" wrap="square" lIns="0" tIns="90000" rIns="0" bIns="45720" numCol="1" rtlCol="0" anchor="t" anchorCtr="0" compatLnSpc="1">
            <a:prstTxWarp prst="textNoShape">
              <a:avLst/>
            </a:prstTxWarp>
          </a:bodyPr>
          <a:lstStyle/>
          <a:p>
            <a:pPr algn="ctr"/>
            <a:r>
              <a:rPr lang="en-GB" sz="1000">
                <a:solidFill>
                  <a:schemeClr val="tx2"/>
                </a:solidFill>
                <a:latin typeface="Trebuchet MS" pitchFamily="34" charset="0"/>
              </a:rPr>
              <a:t>Marketing automation </a:t>
            </a:r>
          </a:p>
          <a:p>
            <a:pPr algn="ctr"/>
            <a:endParaRPr lang="en-GB" sz="1000">
              <a:solidFill>
                <a:schemeClr val="tx2"/>
              </a:solidFill>
              <a:latin typeface="Trebuchet MS" pitchFamily="34" charset="0"/>
            </a:endParaRPr>
          </a:p>
        </p:txBody>
      </p:sp>
      <p:sp>
        <p:nvSpPr>
          <p:cNvPr id="56" name="Rectangle 55">
            <a:extLst>
              <a:ext uri="{FF2B5EF4-FFF2-40B4-BE49-F238E27FC236}">
                <a16:creationId xmlns:a16="http://schemas.microsoft.com/office/drawing/2014/main" id="{66034046-10D4-47E7-AD30-D5760DCF0C55}"/>
              </a:ext>
            </a:extLst>
          </p:cNvPr>
          <p:cNvSpPr/>
          <p:nvPr/>
        </p:nvSpPr>
        <p:spPr bwMode="auto">
          <a:xfrm>
            <a:off x="8038712" y="2005408"/>
            <a:ext cx="1694552" cy="1103757"/>
          </a:xfrm>
          <a:prstGeom prst="rect">
            <a:avLst/>
          </a:prstGeom>
          <a:solidFill>
            <a:schemeClr val="bg2">
              <a:lumMod val="20000"/>
              <a:lumOff val="80000"/>
            </a:schemeClr>
          </a:solidFill>
          <a:ln w="12700" cap="flat" cmpd="sng" algn="ctr">
            <a:solidFill>
              <a:schemeClr val="tx2"/>
            </a:solidFill>
            <a:prstDash val="dash"/>
            <a:round/>
            <a:headEnd type="none" w="med" len="med"/>
            <a:tailEnd type="none" w="med" len="med"/>
          </a:ln>
          <a:effectLst/>
        </p:spPr>
        <p:txBody>
          <a:bodyPr vert="horz" wrap="square" lIns="0" tIns="90000" rIns="0" bIns="45720" numCol="1" rtlCol="0" anchor="t" anchorCtr="0" compatLnSpc="1">
            <a:prstTxWarp prst="textNoShape">
              <a:avLst/>
            </a:prstTxWarp>
          </a:bodyPr>
          <a:lstStyle/>
          <a:p>
            <a:pPr algn="ctr"/>
            <a:r>
              <a:rPr lang="en-GB" sz="1000">
                <a:solidFill>
                  <a:schemeClr val="tx2"/>
                </a:solidFill>
                <a:latin typeface="Trebuchet MS" panose="020B0603020202020204" pitchFamily="34" charset="0"/>
              </a:rPr>
              <a:t>Marketing Analytics</a:t>
            </a:r>
          </a:p>
        </p:txBody>
      </p:sp>
      <p:pic>
        <p:nvPicPr>
          <p:cNvPr id="12" name="Graphic 11">
            <a:extLst>
              <a:ext uri="{FF2B5EF4-FFF2-40B4-BE49-F238E27FC236}">
                <a16:creationId xmlns:a16="http://schemas.microsoft.com/office/drawing/2014/main" id="{5A47801D-3846-4658-B6F3-7D2F83D93A22}"/>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16250"/>
          <a:stretch/>
        </p:blipFill>
        <p:spPr>
          <a:xfrm>
            <a:off x="3612085" y="1739359"/>
            <a:ext cx="284384" cy="297714"/>
          </a:xfrm>
          <a:prstGeom prst="rect">
            <a:avLst/>
          </a:prstGeom>
        </p:spPr>
      </p:pic>
      <p:pic>
        <p:nvPicPr>
          <p:cNvPr id="14" name="Graphic 13">
            <a:extLst>
              <a:ext uri="{FF2B5EF4-FFF2-40B4-BE49-F238E27FC236}">
                <a16:creationId xmlns:a16="http://schemas.microsoft.com/office/drawing/2014/main" id="{BBD9B658-73A1-4633-B3BB-6BAC5D2D2BBC}"/>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22345"/>
          <a:stretch/>
        </p:blipFill>
        <p:spPr>
          <a:xfrm>
            <a:off x="3632896" y="3780873"/>
            <a:ext cx="248315" cy="242106"/>
          </a:xfrm>
          <a:prstGeom prst="rect">
            <a:avLst/>
          </a:prstGeom>
        </p:spPr>
      </p:pic>
      <p:pic>
        <p:nvPicPr>
          <p:cNvPr id="17" name="Graphic 16">
            <a:extLst>
              <a:ext uri="{FF2B5EF4-FFF2-40B4-BE49-F238E27FC236}">
                <a16:creationId xmlns:a16="http://schemas.microsoft.com/office/drawing/2014/main" id="{003E5264-0832-4DCA-9526-AE5D242B88EB}"/>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1" r="-1" b="16241"/>
          <a:stretch/>
        </p:blipFill>
        <p:spPr>
          <a:xfrm>
            <a:off x="8446874" y="1753881"/>
            <a:ext cx="197641" cy="227626"/>
          </a:xfrm>
          <a:prstGeom prst="rect">
            <a:avLst/>
          </a:prstGeom>
        </p:spPr>
      </p:pic>
      <p:pic>
        <p:nvPicPr>
          <p:cNvPr id="13" name="Picture 12" descr="Image result for 1min30 marketing logo">
            <a:extLst>
              <a:ext uri="{FF2B5EF4-FFF2-40B4-BE49-F238E27FC236}">
                <a16:creationId xmlns:a16="http://schemas.microsoft.com/office/drawing/2014/main" id="{051E5EAC-B573-46C0-9C74-BC0980F9B7E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60979" y="3090563"/>
            <a:ext cx="492087" cy="305093"/>
          </a:xfrm>
          <a:prstGeom prst="rect">
            <a:avLst/>
          </a:prstGeom>
          <a:noFill/>
          <a:ln>
            <a:noFill/>
          </a:ln>
        </p:spPr>
      </p:pic>
      <p:pic>
        <p:nvPicPr>
          <p:cNvPr id="15" name="Picture 2" descr="Image result for havas logo">
            <a:extLst>
              <a:ext uri="{FF2B5EF4-FFF2-40B4-BE49-F238E27FC236}">
                <a16:creationId xmlns:a16="http://schemas.microsoft.com/office/drawing/2014/main" id="{94065C4A-2E73-4C22-9C82-55E38E427C0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585507" y="2437027"/>
            <a:ext cx="517769" cy="273820"/>
          </a:xfrm>
          <a:prstGeom prst="rect">
            <a:avLst/>
          </a:prstGeom>
          <a:noFill/>
          <a:ln>
            <a:noFill/>
          </a:ln>
        </p:spPr>
      </p:pic>
      <p:pic>
        <p:nvPicPr>
          <p:cNvPr id="18" name="Picture 6" descr="Image result for publicis lma">
            <a:extLst>
              <a:ext uri="{FF2B5EF4-FFF2-40B4-BE49-F238E27FC236}">
                <a16:creationId xmlns:a16="http://schemas.microsoft.com/office/drawing/2014/main" id="{BFF8F3A3-5A54-4E64-ADD4-89C901C54FDA}"/>
              </a:ext>
            </a:extLst>
          </p:cNvPr>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45025" y="2439471"/>
            <a:ext cx="977466" cy="274335"/>
          </a:xfrm>
          <a:prstGeom prst="rect">
            <a:avLst/>
          </a:prstGeom>
          <a:noFill/>
          <a:ln>
            <a:noFill/>
          </a:ln>
        </p:spPr>
      </p:pic>
      <p:pic>
        <p:nvPicPr>
          <p:cNvPr id="19" name="Picture 8" descr="Agence inbound marketing, uniquement">
            <a:extLst>
              <a:ext uri="{FF2B5EF4-FFF2-40B4-BE49-F238E27FC236}">
                <a16:creationId xmlns:a16="http://schemas.microsoft.com/office/drawing/2014/main" id="{7763CB33-2B63-4016-9E30-5D911017F30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512482" y="2817734"/>
            <a:ext cx="490087" cy="155935"/>
          </a:xfrm>
          <a:prstGeom prst="rect">
            <a:avLst/>
          </a:prstGeom>
          <a:noFill/>
          <a:ln>
            <a:noFill/>
          </a:ln>
        </p:spPr>
      </p:pic>
      <p:pic>
        <p:nvPicPr>
          <p:cNvPr id="23" name="Picture 4" descr="RÃ©sultat de recherche d'images pour &quot;okÃ©dito&quot;">
            <a:extLst>
              <a:ext uri="{FF2B5EF4-FFF2-40B4-BE49-F238E27FC236}">
                <a16:creationId xmlns:a16="http://schemas.microsoft.com/office/drawing/2014/main" id="{ED3DE96B-4588-4149-8600-73A6FB1681C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623174" y="2772488"/>
            <a:ext cx="567698" cy="232720"/>
          </a:xfrm>
          <a:prstGeom prst="rect">
            <a:avLst/>
          </a:prstGeom>
          <a:noFill/>
          <a:ln>
            <a:noFill/>
          </a:ln>
        </p:spPr>
      </p:pic>
      <p:pic>
        <p:nvPicPr>
          <p:cNvPr id="37" name="Picture 23" descr="RÃ©sultat de recherche d'images pour &quot;hubspot&quot;">
            <a:extLst>
              <a:ext uri="{FF2B5EF4-FFF2-40B4-BE49-F238E27FC236}">
                <a16:creationId xmlns:a16="http://schemas.microsoft.com/office/drawing/2014/main" id="{C1C74BF3-3710-429E-8907-570C9A014A9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465761" y="2858124"/>
            <a:ext cx="570977" cy="16552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6" descr="RÃ©sultat de recherche d'images pour &quot;marketo&quot;">
            <a:extLst>
              <a:ext uri="{FF2B5EF4-FFF2-40B4-BE49-F238E27FC236}">
                <a16:creationId xmlns:a16="http://schemas.microsoft.com/office/drawing/2014/main" id="{8584F133-769A-4704-908D-24960FA92315}"/>
              </a:ext>
            </a:extLst>
          </p:cNvPr>
          <p:cNvPicPr>
            <a:picLocks noChangeAspect="1" noChangeArrowheads="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44733" y="2424081"/>
            <a:ext cx="526697" cy="227845"/>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a:extLst>
              <a:ext uri="{FF2B5EF4-FFF2-40B4-BE49-F238E27FC236}">
                <a16:creationId xmlns:a16="http://schemas.microsoft.com/office/drawing/2014/main" id="{C6DD8D59-446C-483D-B003-D20AF0DBA2C5}"/>
              </a:ext>
            </a:extLst>
          </p:cNvPr>
          <p:cNvPicPr>
            <a:picLocks noChangeAspect="1"/>
          </p:cNvPicPr>
          <p:nvPr/>
        </p:nvPicPr>
        <p:blipFill>
          <a:blip r:embed="rId17">
            <a:clrChange>
              <a:clrFrom>
                <a:srgbClr val="FFFFFF"/>
              </a:clrFrom>
              <a:clrTo>
                <a:srgbClr val="FFFFFF">
                  <a:alpha val="0"/>
                </a:srgbClr>
              </a:clrTo>
            </a:clrChange>
          </a:blip>
          <a:stretch>
            <a:fillRect/>
          </a:stretch>
        </p:blipFill>
        <p:spPr>
          <a:xfrm>
            <a:off x="3653639" y="2510807"/>
            <a:ext cx="741176" cy="146901"/>
          </a:xfrm>
          <a:prstGeom prst="rect">
            <a:avLst/>
          </a:prstGeom>
        </p:spPr>
      </p:pic>
      <p:pic>
        <p:nvPicPr>
          <p:cNvPr id="47" name="Picture 46">
            <a:extLst>
              <a:ext uri="{FF2B5EF4-FFF2-40B4-BE49-F238E27FC236}">
                <a16:creationId xmlns:a16="http://schemas.microsoft.com/office/drawing/2014/main" id="{E401E73B-1D68-4743-A8AC-A484346C87F7}"/>
              </a:ext>
            </a:extLst>
          </p:cNvPr>
          <p:cNvPicPr>
            <a:picLocks noChangeAspect="1"/>
          </p:cNvPicPr>
          <p:nvPr/>
        </p:nvPicPr>
        <p:blipFill>
          <a:blip r:embed="rId18">
            <a:clrChange>
              <a:clrFrom>
                <a:srgbClr val="FFFFFF"/>
              </a:clrFrom>
              <a:clrTo>
                <a:srgbClr val="FFFFFF">
                  <a:alpha val="0"/>
                </a:srgbClr>
              </a:clrTo>
            </a:clrChange>
          </a:blip>
          <a:stretch>
            <a:fillRect/>
          </a:stretch>
        </p:blipFill>
        <p:spPr>
          <a:xfrm>
            <a:off x="3663507" y="2802157"/>
            <a:ext cx="670841" cy="244833"/>
          </a:xfrm>
          <a:prstGeom prst="rect">
            <a:avLst/>
          </a:prstGeom>
        </p:spPr>
      </p:pic>
      <p:sp>
        <p:nvSpPr>
          <p:cNvPr id="80" name="Rectangle 79">
            <a:extLst>
              <a:ext uri="{FF2B5EF4-FFF2-40B4-BE49-F238E27FC236}">
                <a16:creationId xmlns:a16="http://schemas.microsoft.com/office/drawing/2014/main" id="{DA2B536F-5BE2-4550-B811-C3089A99FF32}"/>
              </a:ext>
            </a:extLst>
          </p:cNvPr>
          <p:cNvSpPr/>
          <p:nvPr/>
        </p:nvSpPr>
        <p:spPr bwMode="auto">
          <a:xfrm>
            <a:off x="2467460" y="5174458"/>
            <a:ext cx="603796" cy="2215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0" i="1" u="none" strike="noStrike" cap="none" normalizeH="0" baseline="0">
                <a:ln>
                  <a:noFill/>
                </a:ln>
                <a:solidFill>
                  <a:schemeClr val="tx2"/>
                </a:solidFill>
                <a:effectLst/>
                <a:latin typeface="Trebuchet MS" panose="020B0603020202020204" pitchFamily="34" charset="0"/>
              </a:rPr>
              <a:t>…</a:t>
            </a:r>
          </a:p>
        </p:txBody>
      </p:sp>
      <p:grpSp>
        <p:nvGrpSpPr>
          <p:cNvPr id="181" name="Group 180">
            <a:extLst>
              <a:ext uri="{FF2B5EF4-FFF2-40B4-BE49-F238E27FC236}">
                <a16:creationId xmlns:a16="http://schemas.microsoft.com/office/drawing/2014/main" id="{2EE45189-7066-47E7-ADA6-BC758DE44991}"/>
              </a:ext>
            </a:extLst>
          </p:cNvPr>
          <p:cNvGrpSpPr/>
          <p:nvPr/>
        </p:nvGrpSpPr>
        <p:grpSpPr>
          <a:xfrm>
            <a:off x="1470890" y="4076560"/>
            <a:ext cx="1597704" cy="1351033"/>
            <a:chOff x="1440946" y="3633214"/>
            <a:chExt cx="1597704" cy="1351033"/>
          </a:xfrm>
        </p:grpSpPr>
        <p:sp>
          <p:nvSpPr>
            <p:cNvPr id="49" name="Rectangle 48">
              <a:extLst>
                <a:ext uri="{FF2B5EF4-FFF2-40B4-BE49-F238E27FC236}">
                  <a16:creationId xmlns:a16="http://schemas.microsoft.com/office/drawing/2014/main" id="{985A6FC7-275F-4352-849F-C6B7B31089D3}"/>
                </a:ext>
              </a:extLst>
            </p:cNvPr>
            <p:cNvSpPr/>
            <p:nvPr/>
          </p:nvSpPr>
          <p:spPr bwMode="auto">
            <a:xfrm>
              <a:off x="1490650" y="3633214"/>
              <a:ext cx="1548000" cy="1351033"/>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2"/>
                  </a:solidFill>
                  <a:effectLst/>
                  <a:latin typeface="Trebuchet MS" pitchFamily="34" charset="0"/>
                </a:rPr>
                <a:t>Behavioural intelligence</a:t>
              </a:r>
            </a:p>
          </p:txBody>
        </p:sp>
        <p:sp>
          <p:nvSpPr>
            <p:cNvPr id="50" name="Rectangle 49">
              <a:extLst>
                <a:ext uri="{FF2B5EF4-FFF2-40B4-BE49-F238E27FC236}">
                  <a16:creationId xmlns:a16="http://schemas.microsoft.com/office/drawing/2014/main" id="{891077B8-3A85-42A6-91F7-045A25E7D8C2}"/>
                </a:ext>
              </a:extLst>
            </p:cNvPr>
            <p:cNvSpPr/>
            <p:nvPr/>
          </p:nvSpPr>
          <p:spPr>
            <a:xfrm>
              <a:off x="1868493" y="4276194"/>
              <a:ext cx="319318" cy="246221"/>
            </a:xfrm>
            <a:prstGeom prst="rect">
              <a:avLst/>
            </a:prstGeom>
          </p:spPr>
          <p:txBody>
            <a:bodyPr wrap="none">
              <a:spAutoFit/>
            </a:bodyPr>
            <a:lstStyle/>
            <a:p>
              <a:r>
                <a:rPr lang="en-GB" sz="1000">
                  <a:solidFill>
                    <a:schemeClr val="tx1">
                      <a:lumMod val="75000"/>
                    </a:schemeClr>
                  </a:solidFill>
                </a:rPr>
                <a:t>by</a:t>
              </a:r>
            </a:p>
          </p:txBody>
        </p:sp>
        <p:pic>
          <p:nvPicPr>
            <p:cNvPr id="51" name="Picture 4" descr="Logo GetQuanty">
              <a:extLst>
                <a:ext uri="{FF2B5EF4-FFF2-40B4-BE49-F238E27FC236}">
                  <a16:creationId xmlns:a16="http://schemas.microsoft.com/office/drawing/2014/main" id="{358C8FE9-9896-4ED2-9025-B9E63DEF163C}"/>
                </a:ext>
              </a:extLst>
            </p:cNvPr>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2157876" y="4103588"/>
              <a:ext cx="842944" cy="129813"/>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 descr="RÃ©sultat de recherche d'images pour &quot;infopro digital&quot;">
              <a:extLst>
                <a:ext uri="{FF2B5EF4-FFF2-40B4-BE49-F238E27FC236}">
                  <a16:creationId xmlns:a16="http://schemas.microsoft.com/office/drawing/2014/main" id="{8137A4AD-08CB-4808-9CB1-7D1DCEFC7EF7}"/>
                </a:ext>
              </a:extLst>
            </p:cNvPr>
            <p:cNvPicPr>
              <a:picLocks noChangeAspect="1" noChangeArrowheads="1"/>
            </p:cNvPicPr>
            <p:nvPr/>
          </p:nvPicPr>
          <p:blipFill>
            <a:blip r:embed="rId2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45219" y="4358897"/>
              <a:ext cx="682465" cy="358295"/>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2" descr="RÃ©sultat de recherche d'images pour &quot;salezeo&quot;">
              <a:extLst>
                <a:ext uri="{FF2B5EF4-FFF2-40B4-BE49-F238E27FC236}">
                  <a16:creationId xmlns:a16="http://schemas.microsoft.com/office/drawing/2014/main" id="{3253C87F-7994-4E20-8365-4D26EEE98D0A}"/>
                </a:ext>
              </a:extLst>
            </p:cNvPr>
            <p:cNvPicPr>
              <a:picLocks noChangeAspect="1" noChangeArrowheads="1"/>
            </p:cNvPicPr>
            <p:nvPr/>
          </p:nvPicPr>
          <p:blipFill>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40096" y="4403663"/>
              <a:ext cx="831478" cy="276731"/>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Image associÃ©e">
              <a:extLst>
                <a:ext uri="{FF2B5EF4-FFF2-40B4-BE49-F238E27FC236}">
                  <a16:creationId xmlns:a16="http://schemas.microsoft.com/office/drawing/2014/main" id="{F50D78BF-C44A-472D-BCE6-CADE8DBA3F86}"/>
                </a:ext>
              </a:extLst>
            </p:cNvPr>
            <p:cNvPicPr>
              <a:picLocks noChangeAspect="1" noChangeArrowheads="1"/>
            </p:cNvPicPr>
            <p:nvPr/>
          </p:nvPicPr>
          <p:blipFill>
            <a:blip r:embed="rId22">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1440946" y="4009212"/>
              <a:ext cx="665733" cy="333266"/>
            </a:xfrm>
            <a:prstGeom prst="rect">
              <a:avLst/>
            </a:prstGeom>
            <a:noFill/>
            <a:extLst>
              <a:ext uri="{909E8E84-426E-40DD-AFC4-6F175D3DCCD1}">
                <a14:hiddenFill xmlns:a14="http://schemas.microsoft.com/office/drawing/2010/main">
                  <a:solidFill>
                    <a:srgbClr val="FFFFFF"/>
                  </a:solidFill>
                </a14:hiddenFill>
              </a:ext>
            </a:extLst>
          </p:spPr>
        </p:pic>
      </p:grpSp>
      <p:pic>
        <p:nvPicPr>
          <p:cNvPr id="132" name="Picture 9" descr="RÃ©sultat de recherche d'images pour &quot;salesforce&quot;">
            <a:extLst>
              <a:ext uri="{FF2B5EF4-FFF2-40B4-BE49-F238E27FC236}">
                <a16:creationId xmlns:a16="http://schemas.microsoft.com/office/drawing/2014/main" id="{125E1FCF-8618-4C6D-BA1E-3A0E063FE2EE}"/>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8154698" y="3866663"/>
            <a:ext cx="584352" cy="290888"/>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12" descr="Résultat de recherche d'images pour &quot;oracle crm logo&quot;">
            <a:extLst>
              <a:ext uri="{FF2B5EF4-FFF2-40B4-BE49-F238E27FC236}">
                <a16:creationId xmlns:a16="http://schemas.microsoft.com/office/drawing/2014/main" id="{90268E08-D260-4071-B00E-47CD6CC35C11}"/>
              </a:ext>
            </a:extLst>
          </p:cNvPr>
          <p:cNvPicPr>
            <a:picLocks noChangeAspect="1" noChangeArrowheads="1"/>
          </p:cNvPicPr>
          <p:nvPr/>
        </p:nvPicPr>
        <p:blipFill>
          <a:blip r:embed="rId2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077025" y="3490036"/>
            <a:ext cx="739698" cy="336709"/>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12" descr="RÃ©sultat de recherche d'images pour &quot;sendinblue&quot;">
            <a:extLst>
              <a:ext uri="{FF2B5EF4-FFF2-40B4-BE49-F238E27FC236}">
                <a16:creationId xmlns:a16="http://schemas.microsoft.com/office/drawing/2014/main" id="{3D7E4F39-9167-4E84-88C4-57E33E923A3F}"/>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8868159" y="3553919"/>
            <a:ext cx="813668" cy="197721"/>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9" descr="RÃ©sultat de recherche d'images pour &quot;salesforce&quot;">
            <a:extLst>
              <a:ext uri="{FF2B5EF4-FFF2-40B4-BE49-F238E27FC236}">
                <a16:creationId xmlns:a16="http://schemas.microsoft.com/office/drawing/2014/main" id="{E0DCDE24-675F-4AED-80B2-23796615B0E5}"/>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8154698" y="5056727"/>
            <a:ext cx="584352" cy="290888"/>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12" descr="Résultat de recherche d'images pour &quot;oracle crm logo&quot;">
            <a:extLst>
              <a:ext uri="{FF2B5EF4-FFF2-40B4-BE49-F238E27FC236}">
                <a16:creationId xmlns:a16="http://schemas.microsoft.com/office/drawing/2014/main" id="{92920716-F9D1-462B-B1E3-77DAB511A89C}"/>
              </a:ext>
            </a:extLst>
          </p:cNvPr>
          <p:cNvPicPr>
            <a:picLocks noChangeAspect="1" noChangeArrowheads="1"/>
          </p:cNvPicPr>
          <p:nvPr/>
        </p:nvPicPr>
        <p:blipFill>
          <a:blip r:embed="rId2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077025" y="4680100"/>
            <a:ext cx="739698" cy="336709"/>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8" descr="Agence inbound marketing, uniquement">
            <a:extLst>
              <a:ext uri="{FF2B5EF4-FFF2-40B4-BE49-F238E27FC236}">
                <a16:creationId xmlns:a16="http://schemas.microsoft.com/office/drawing/2014/main" id="{13488371-D89E-4944-8DC9-CAA153BDCC9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210465" y="2712545"/>
            <a:ext cx="490087" cy="155935"/>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18" descr="Image result for mi4 data driven marketing logo">
            <a:extLst>
              <a:ext uri="{FF2B5EF4-FFF2-40B4-BE49-F238E27FC236}">
                <a16:creationId xmlns:a16="http://schemas.microsoft.com/office/drawing/2014/main" id="{3FB90E0C-AF9E-44D1-876E-AFE081D75572}"/>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23495" y="2351031"/>
            <a:ext cx="479311" cy="227596"/>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8" descr="RÃ©sultat de recherche d'images pour &quot;junto logo&quot;">
            <a:extLst>
              <a:ext uri="{FF2B5EF4-FFF2-40B4-BE49-F238E27FC236}">
                <a16:creationId xmlns:a16="http://schemas.microsoft.com/office/drawing/2014/main" id="{A8AB7223-8797-451B-85C5-3BEB987A5BB2}"/>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t="21944" b="21944"/>
          <a:stretch/>
        </p:blipFill>
        <p:spPr bwMode="auto">
          <a:xfrm>
            <a:off x="8998287" y="2286056"/>
            <a:ext cx="575550" cy="322952"/>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4" descr="Image result for awe data minded b2b logo">
            <a:extLst>
              <a:ext uri="{FF2B5EF4-FFF2-40B4-BE49-F238E27FC236}">
                <a16:creationId xmlns:a16="http://schemas.microsoft.com/office/drawing/2014/main" id="{9CFFF1A8-1247-4462-BD3E-9C51EB0DD86B}"/>
              </a:ext>
            </a:extLst>
          </p:cNvPr>
          <p:cNvPicPr>
            <a:picLocks noChangeAspect="1" noChangeArrowheads="1"/>
          </p:cNvPicPr>
          <p:nvPr/>
        </p:nvPicPr>
        <p:blipFill>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65217" y="2672202"/>
            <a:ext cx="441690" cy="236619"/>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23" descr="RÃ©sultat de recherche d'images pour &quot;hubspot&quot;">
            <a:extLst>
              <a:ext uri="{FF2B5EF4-FFF2-40B4-BE49-F238E27FC236}">
                <a16:creationId xmlns:a16="http://schemas.microsoft.com/office/drawing/2014/main" id="{298E2F5B-A5C8-4CF5-AC2C-FEE92A97A3F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954035" y="4706582"/>
            <a:ext cx="690882" cy="200289"/>
          </a:xfrm>
          <a:prstGeom prst="rect">
            <a:avLst/>
          </a:prstGeom>
          <a:noFill/>
          <a:extLst>
            <a:ext uri="{909E8E84-426E-40DD-AFC4-6F175D3DCCD1}">
              <a14:hiddenFill xmlns:a14="http://schemas.microsoft.com/office/drawing/2010/main">
                <a:solidFill>
                  <a:srgbClr val="FFFFFF"/>
                </a:solidFill>
              </a14:hiddenFill>
            </a:ext>
          </a:extLst>
        </p:spPr>
      </p:pic>
      <p:pic>
        <p:nvPicPr>
          <p:cNvPr id="171" name="Picture 170">
            <a:extLst>
              <a:ext uri="{FF2B5EF4-FFF2-40B4-BE49-F238E27FC236}">
                <a16:creationId xmlns:a16="http://schemas.microsoft.com/office/drawing/2014/main" id="{1D7AD862-C7EE-4F8C-8D23-760CB19D25F0}"/>
              </a:ext>
            </a:extLst>
          </p:cNvPr>
          <p:cNvPicPr>
            <a:picLocks noChangeAspect="1"/>
          </p:cNvPicPr>
          <p:nvPr/>
        </p:nvPicPr>
        <p:blipFill>
          <a:blip r:embed="rId29">
            <a:clrChange>
              <a:clrFrom>
                <a:srgbClr val="FFFFFF"/>
              </a:clrFrom>
              <a:clrTo>
                <a:srgbClr val="FFFFFF">
                  <a:alpha val="0"/>
                </a:srgbClr>
              </a:clrTo>
            </a:clrChange>
          </a:blip>
          <a:stretch>
            <a:fillRect/>
          </a:stretch>
        </p:blipFill>
        <p:spPr>
          <a:xfrm>
            <a:off x="8739050" y="5028908"/>
            <a:ext cx="1066990" cy="277591"/>
          </a:xfrm>
          <a:prstGeom prst="rect">
            <a:avLst/>
          </a:prstGeom>
        </p:spPr>
      </p:pic>
      <p:sp>
        <p:nvSpPr>
          <p:cNvPr id="172" name="Rectangle 171">
            <a:extLst>
              <a:ext uri="{FF2B5EF4-FFF2-40B4-BE49-F238E27FC236}">
                <a16:creationId xmlns:a16="http://schemas.microsoft.com/office/drawing/2014/main" id="{970E6F62-8951-43A5-95F0-379B5F44B71B}"/>
              </a:ext>
            </a:extLst>
          </p:cNvPr>
          <p:cNvSpPr/>
          <p:nvPr/>
        </p:nvSpPr>
        <p:spPr bwMode="auto">
          <a:xfrm>
            <a:off x="9198832" y="5216292"/>
            <a:ext cx="603796" cy="2215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i="1" u="none" strike="noStrike" cap="none" normalizeH="0" baseline="0">
                <a:ln>
                  <a:noFill/>
                </a:ln>
                <a:solidFill>
                  <a:schemeClr val="tx2"/>
                </a:solidFill>
                <a:effectLst/>
                <a:latin typeface="Trebuchet MS" panose="020B0603020202020204" pitchFamily="34" charset="0"/>
              </a:rPr>
              <a:t>…</a:t>
            </a:r>
          </a:p>
        </p:txBody>
      </p:sp>
      <p:sp>
        <p:nvSpPr>
          <p:cNvPr id="173" name="Rectangle 172">
            <a:extLst>
              <a:ext uri="{FF2B5EF4-FFF2-40B4-BE49-F238E27FC236}">
                <a16:creationId xmlns:a16="http://schemas.microsoft.com/office/drawing/2014/main" id="{E723AB41-DD80-4CA8-AEDD-8C90BB09AAB3}"/>
              </a:ext>
            </a:extLst>
          </p:cNvPr>
          <p:cNvSpPr/>
          <p:nvPr/>
        </p:nvSpPr>
        <p:spPr bwMode="auto">
          <a:xfrm>
            <a:off x="9198832" y="4034804"/>
            <a:ext cx="603796" cy="2215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i="1" u="none" strike="noStrike" cap="none" normalizeH="0" baseline="0">
                <a:ln>
                  <a:noFill/>
                </a:ln>
                <a:solidFill>
                  <a:schemeClr val="tx2"/>
                </a:solidFill>
                <a:effectLst/>
                <a:latin typeface="Trebuchet MS" panose="020B0603020202020204" pitchFamily="34" charset="0"/>
              </a:rPr>
              <a:t>…</a:t>
            </a:r>
          </a:p>
        </p:txBody>
      </p:sp>
      <p:sp>
        <p:nvSpPr>
          <p:cNvPr id="176" name="Rectangle 175">
            <a:extLst>
              <a:ext uri="{FF2B5EF4-FFF2-40B4-BE49-F238E27FC236}">
                <a16:creationId xmlns:a16="http://schemas.microsoft.com/office/drawing/2014/main" id="{5E868AC3-D02F-4509-B99C-1C6EAD2A6396}"/>
              </a:ext>
            </a:extLst>
          </p:cNvPr>
          <p:cNvSpPr/>
          <p:nvPr/>
        </p:nvSpPr>
        <p:spPr bwMode="auto">
          <a:xfrm>
            <a:off x="9198832" y="2844766"/>
            <a:ext cx="603796" cy="2215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i="1" u="none" strike="noStrike" cap="none" normalizeH="0" baseline="0">
                <a:ln>
                  <a:noFill/>
                </a:ln>
                <a:solidFill>
                  <a:schemeClr val="tx2"/>
                </a:solidFill>
                <a:effectLst/>
                <a:latin typeface="Trebuchet MS" panose="020B0603020202020204" pitchFamily="34" charset="0"/>
              </a:rPr>
              <a:t>…</a:t>
            </a:r>
          </a:p>
        </p:txBody>
      </p:sp>
      <p:grpSp>
        <p:nvGrpSpPr>
          <p:cNvPr id="9" name="Groupe 8">
            <a:extLst>
              <a:ext uri="{FF2B5EF4-FFF2-40B4-BE49-F238E27FC236}">
                <a16:creationId xmlns:a16="http://schemas.microsoft.com/office/drawing/2014/main" id="{9D104E76-8801-4C19-8462-C6D7423CD2C9}"/>
              </a:ext>
            </a:extLst>
          </p:cNvPr>
          <p:cNvGrpSpPr/>
          <p:nvPr/>
        </p:nvGrpSpPr>
        <p:grpSpPr>
          <a:xfrm>
            <a:off x="3563373" y="4086630"/>
            <a:ext cx="1553821" cy="1351033"/>
            <a:chOff x="5641003" y="4086630"/>
            <a:chExt cx="1553821" cy="1351033"/>
          </a:xfrm>
        </p:grpSpPr>
        <p:sp>
          <p:nvSpPr>
            <p:cNvPr id="179" name="Rectangle 178">
              <a:extLst>
                <a:ext uri="{FF2B5EF4-FFF2-40B4-BE49-F238E27FC236}">
                  <a16:creationId xmlns:a16="http://schemas.microsoft.com/office/drawing/2014/main" id="{9A43F088-128D-44E4-A522-9C0AD6F88DAE}"/>
                </a:ext>
              </a:extLst>
            </p:cNvPr>
            <p:cNvSpPr/>
            <p:nvPr/>
          </p:nvSpPr>
          <p:spPr bwMode="auto">
            <a:xfrm>
              <a:off x="5641003" y="4086630"/>
              <a:ext cx="1548000" cy="1351033"/>
            </a:xfrm>
            <a:prstGeom prst="rect">
              <a:avLst/>
            </a:prstGeom>
            <a:noFill/>
            <a:ln w="9525" cap="flat" cmpd="sng" algn="ctr">
              <a:solidFill>
                <a:schemeClr val="tx2"/>
              </a:solidFill>
              <a:prstDash val="dash"/>
              <a:round/>
              <a:headEnd type="none" w="med" len="med"/>
              <a:tailEnd type="none" w="med" len="med"/>
            </a:ln>
            <a:effectLst/>
          </p:spPr>
          <p:txBody>
            <a:bodyPr vert="horz" wrap="square" lIns="0" tIns="36000" rIns="0" bIns="3600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2"/>
                  </a:solidFill>
                  <a:effectLst/>
                  <a:latin typeface="Trebuchet MS" panose="020B0603020202020204" pitchFamily="34" charset="0"/>
                </a:rPr>
                <a:t>Physical advertising</a:t>
              </a:r>
            </a:p>
          </p:txBody>
        </p:sp>
        <p:sp>
          <p:nvSpPr>
            <p:cNvPr id="182" name="Rectangle 181">
              <a:extLst>
                <a:ext uri="{FF2B5EF4-FFF2-40B4-BE49-F238E27FC236}">
                  <a16:creationId xmlns:a16="http://schemas.microsoft.com/office/drawing/2014/main" id="{F87ACC1F-4BE0-442B-A6FE-80E3F23E1B4F}"/>
                </a:ext>
              </a:extLst>
            </p:cNvPr>
            <p:cNvSpPr/>
            <p:nvPr/>
          </p:nvSpPr>
          <p:spPr bwMode="auto">
            <a:xfrm>
              <a:off x="6591028" y="5174458"/>
              <a:ext cx="603796" cy="2215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0" i="1" u="none" strike="noStrike" cap="none" normalizeH="0" baseline="0">
                  <a:ln>
                    <a:noFill/>
                  </a:ln>
                  <a:solidFill>
                    <a:schemeClr val="tx2"/>
                  </a:solidFill>
                  <a:effectLst/>
                  <a:latin typeface="Trebuchet MS" panose="020B0603020202020204" pitchFamily="34" charset="0"/>
                </a:rPr>
                <a:t>…</a:t>
              </a:r>
            </a:p>
          </p:txBody>
        </p:sp>
        <p:pic>
          <p:nvPicPr>
            <p:cNvPr id="196" name="Picture 2" descr="Image result for havas logo">
              <a:extLst>
                <a:ext uri="{FF2B5EF4-FFF2-40B4-BE49-F238E27FC236}">
                  <a16:creationId xmlns:a16="http://schemas.microsoft.com/office/drawing/2014/main" id="{8E2AB6CC-8452-4700-8DA8-130D5494811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821484" y="4488364"/>
              <a:ext cx="509240" cy="269309"/>
            </a:xfrm>
            <a:prstGeom prst="rect">
              <a:avLst/>
            </a:prstGeom>
            <a:noFill/>
            <a:extLst>
              <a:ext uri="{909E8E84-426E-40DD-AFC4-6F175D3DCCD1}">
                <a14:hiddenFill xmlns:a14="http://schemas.microsoft.com/office/drawing/2010/main">
                  <a:solidFill>
                    <a:srgbClr val="FFFFFF"/>
                  </a:solidFill>
                </a14:hiddenFill>
              </a:ext>
            </a:extLst>
          </p:spPr>
        </p:pic>
        <p:pic>
          <p:nvPicPr>
            <p:cNvPr id="198" name="Picture 14" descr="RÃ©sultat de recherche d'images pour &quot;mkti&quot;">
              <a:extLst>
                <a:ext uri="{FF2B5EF4-FFF2-40B4-BE49-F238E27FC236}">
                  <a16:creationId xmlns:a16="http://schemas.microsoft.com/office/drawing/2014/main" id="{36E72C19-5837-4FAB-B14A-D445EC31E755}"/>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6573947" y="4541626"/>
              <a:ext cx="450492" cy="189206"/>
            </a:xfrm>
            <a:prstGeom prst="rect">
              <a:avLst/>
            </a:prstGeom>
            <a:noFill/>
            <a:extLst>
              <a:ext uri="{909E8E84-426E-40DD-AFC4-6F175D3DCCD1}">
                <a14:hiddenFill xmlns:a14="http://schemas.microsoft.com/office/drawing/2010/main">
                  <a:solidFill>
                    <a:srgbClr val="FFFFFF"/>
                  </a:solidFill>
                </a14:hiddenFill>
              </a:ext>
            </a:extLst>
          </p:spPr>
        </p:pic>
        <p:pic>
          <p:nvPicPr>
            <p:cNvPr id="200" name="Picture 6" descr="Image result for publicis lma">
              <a:extLst>
                <a:ext uri="{FF2B5EF4-FFF2-40B4-BE49-F238E27FC236}">
                  <a16:creationId xmlns:a16="http://schemas.microsoft.com/office/drawing/2014/main" id="{3C42824B-CA40-445C-9DCF-C244A028BA77}"/>
                </a:ext>
              </a:extLst>
            </p:cNvPr>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665749" y="4929743"/>
              <a:ext cx="734385" cy="206112"/>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20" descr="artenium">
              <a:extLst>
                <a:ext uri="{FF2B5EF4-FFF2-40B4-BE49-F238E27FC236}">
                  <a16:creationId xmlns:a16="http://schemas.microsoft.com/office/drawing/2014/main" id="{F4FDE672-3494-4383-A713-161CFFA32C3D}"/>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6592008" y="4785824"/>
              <a:ext cx="414369" cy="398147"/>
            </a:xfrm>
            <a:prstGeom prst="rect">
              <a:avLst/>
            </a:prstGeom>
            <a:noFill/>
            <a:extLst>
              <a:ext uri="{909E8E84-426E-40DD-AFC4-6F175D3DCCD1}">
                <a14:hiddenFill xmlns:a14="http://schemas.microsoft.com/office/drawing/2010/main">
                  <a:solidFill>
                    <a:srgbClr val="FFFFFF"/>
                  </a:solidFill>
                </a14:hiddenFill>
              </a:ext>
            </a:extLst>
          </p:spPr>
        </p:pic>
      </p:grpSp>
      <p:sp>
        <p:nvSpPr>
          <p:cNvPr id="67" name="Rectangle 66">
            <a:extLst>
              <a:ext uri="{FF2B5EF4-FFF2-40B4-BE49-F238E27FC236}">
                <a16:creationId xmlns:a16="http://schemas.microsoft.com/office/drawing/2014/main" id="{8DCFAF46-B04E-4728-92AD-571C728DF781}"/>
              </a:ext>
            </a:extLst>
          </p:cNvPr>
          <p:cNvSpPr/>
          <p:nvPr/>
        </p:nvSpPr>
        <p:spPr bwMode="auto">
          <a:xfrm>
            <a:off x="2467460" y="3160357"/>
            <a:ext cx="603796" cy="2215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0" i="1" u="none" strike="noStrike" cap="none" normalizeH="0" baseline="0">
                <a:ln>
                  <a:noFill/>
                </a:ln>
                <a:solidFill>
                  <a:schemeClr val="tx2"/>
                </a:solidFill>
                <a:effectLst/>
                <a:latin typeface="Trebuchet MS" panose="020B0603020202020204" pitchFamily="34" charset="0"/>
              </a:rPr>
              <a:t>…</a:t>
            </a:r>
          </a:p>
        </p:txBody>
      </p:sp>
      <p:sp>
        <p:nvSpPr>
          <p:cNvPr id="69" name="Rectangle 68">
            <a:extLst>
              <a:ext uri="{FF2B5EF4-FFF2-40B4-BE49-F238E27FC236}">
                <a16:creationId xmlns:a16="http://schemas.microsoft.com/office/drawing/2014/main" id="{AEA07038-651F-4C1A-8EFE-8E415FE4B880}"/>
              </a:ext>
            </a:extLst>
          </p:cNvPr>
          <p:cNvSpPr/>
          <p:nvPr/>
        </p:nvSpPr>
        <p:spPr bwMode="auto">
          <a:xfrm>
            <a:off x="1520594" y="2062459"/>
            <a:ext cx="1548000" cy="1351033"/>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2"/>
                </a:solidFill>
                <a:effectLst/>
                <a:latin typeface="Trebuchet MS" panose="020B0603020202020204" pitchFamily="34" charset="0"/>
              </a:rPr>
              <a:t>Content creation</a:t>
            </a:r>
          </a:p>
        </p:txBody>
      </p:sp>
      <p:sp>
        <p:nvSpPr>
          <p:cNvPr id="78" name="Rectangle 77">
            <a:extLst>
              <a:ext uri="{FF2B5EF4-FFF2-40B4-BE49-F238E27FC236}">
                <a16:creationId xmlns:a16="http://schemas.microsoft.com/office/drawing/2014/main" id="{52BE6408-3B52-4E10-81FA-531AE186C479}"/>
              </a:ext>
            </a:extLst>
          </p:cNvPr>
          <p:cNvSpPr/>
          <p:nvPr/>
        </p:nvSpPr>
        <p:spPr bwMode="auto">
          <a:xfrm>
            <a:off x="4504748" y="3160357"/>
            <a:ext cx="603796" cy="2215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0" i="1" u="none" strike="noStrike" cap="none" normalizeH="0" baseline="0">
                <a:ln>
                  <a:noFill/>
                </a:ln>
                <a:solidFill>
                  <a:schemeClr val="tx2"/>
                </a:solidFill>
                <a:effectLst/>
                <a:latin typeface="Trebuchet MS" panose="020B0603020202020204" pitchFamily="34" charset="0"/>
              </a:rPr>
              <a:t>…</a:t>
            </a:r>
          </a:p>
        </p:txBody>
      </p:sp>
      <p:sp>
        <p:nvSpPr>
          <p:cNvPr id="81" name="Rectangle 80">
            <a:extLst>
              <a:ext uri="{FF2B5EF4-FFF2-40B4-BE49-F238E27FC236}">
                <a16:creationId xmlns:a16="http://schemas.microsoft.com/office/drawing/2014/main" id="{7AC3AED8-8539-42A4-A0B0-2F5FAE6DA565}"/>
              </a:ext>
            </a:extLst>
          </p:cNvPr>
          <p:cNvSpPr/>
          <p:nvPr/>
        </p:nvSpPr>
        <p:spPr bwMode="auto">
          <a:xfrm>
            <a:off x="3578551" y="2062459"/>
            <a:ext cx="1548000" cy="1351033"/>
          </a:xfrm>
          <a:prstGeom prst="rect">
            <a:avLst/>
          </a:prstGeom>
          <a:noFill/>
          <a:ln w="9525" cap="flat" cmpd="sng" algn="ctr">
            <a:solidFill>
              <a:schemeClr val="tx2"/>
            </a:solidFill>
            <a:prstDash val="dash"/>
            <a:round/>
            <a:headEnd type="none" w="med" len="med"/>
            <a:tailEnd type="none" w="med" len="med"/>
          </a:ln>
          <a:effectLst/>
        </p:spPr>
        <p:txBody>
          <a:bodyPr vert="horz" wrap="square" lIns="0" tIns="36000" rIns="0" bIns="3600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2"/>
                </a:solidFill>
                <a:effectLst/>
                <a:latin typeface="Trebuchet MS" panose="020B0603020202020204" pitchFamily="34" charset="0"/>
              </a:rPr>
              <a:t>Inbound software providers</a:t>
            </a:r>
          </a:p>
        </p:txBody>
      </p:sp>
      <p:sp>
        <p:nvSpPr>
          <p:cNvPr id="89" name="Rectangle 88">
            <a:extLst>
              <a:ext uri="{FF2B5EF4-FFF2-40B4-BE49-F238E27FC236}">
                <a16:creationId xmlns:a16="http://schemas.microsoft.com/office/drawing/2014/main" id="{B0E5F424-F8D2-49ED-A8F7-D94B5AEB42D6}"/>
              </a:ext>
            </a:extLst>
          </p:cNvPr>
          <p:cNvSpPr/>
          <p:nvPr/>
        </p:nvSpPr>
        <p:spPr bwMode="auto">
          <a:xfrm>
            <a:off x="5641003" y="2072529"/>
            <a:ext cx="1548000" cy="1351033"/>
          </a:xfrm>
          <a:prstGeom prst="rect">
            <a:avLst/>
          </a:prstGeom>
          <a:noFill/>
          <a:ln w="9525" cap="flat" cmpd="sng" algn="ctr">
            <a:solidFill>
              <a:schemeClr val="tx2"/>
            </a:solidFill>
            <a:prstDash val="dash"/>
            <a:round/>
            <a:headEnd type="none" w="med" len="med"/>
            <a:tailEnd type="none" w="med" len="med"/>
          </a:ln>
          <a:effectLst/>
        </p:spPr>
        <p:txBody>
          <a:bodyPr vert="horz" wrap="square" lIns="0" tIns="36000" rIns="0" bIns="3600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2"/>
                </a:solidFill>
                <a:effectLst/>
                <a:latin typeface="Trebuchet MS" panose="020B0603020202020204" pitchFamily="34" charset="0"/>
              </a:rPr>
              <a:t>Web agencies</a:t>
            </a:r>
          </a:p>
        </p:txBody>
      </p:sp>
      <p:sp>
        <p:nvSpPr>
          <p:cNvPr id="91" name="Rectangle 90">
            <a:extLst>
              <a:ext uri="{FF2B5EF4-FFF2-40B4-BE49-F238E27FC236}">
                <a16:creationId xmlns:a16="http://schemas.microsoft.com/office/drawing/2014/main" id="{0FF5EDD0-3B8A-44B6-AAB8-03C8310B1721}"/>
              </a:ext>
            </a:extLst>
          </p:cNvPr>
          <p:cNvSpPr/>
          <p:nvPr/>
        </p:nvSpPr>
        <p:spPr bwMode="auto">
          <a:xfrm>
            <a:off x="6591028" y="3160357"/>
            <a:ext cx="603796" cy="2215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0" i="1" u="none" strike="noStrike" cap="none" normalizeH="0" baseline="0">
                <a:ln>
                  <a:noFill/>
                </a:ln>
                <a:solidFill>
                  <a:schemeClr val="tx2"/>
                </a:solidFill>
                <a:effectLst/>
                <a:latin typeface="Trebuchet MS" panose="020B0603020202020204" pitchFamily="34" charset="0"/>
              </a:rPr>
              <a:t>…</a:t>
            </a:r>
          </a:p>
        </p:txBody>
      </p:sp>
      <p:pic>
        <p:nvPicPr>
          <p:cNvPr id="16" name="Picture 15" descr="A picture containing object, clock, drawing, light&#10;&#10;Description automatically generated">
            <a:extLst>
              <a:ext uri="{FF2B5EF4-FFF2-40B4-BE49-F238E27FC236}">
                <a16:creationId xmlns:a16="http://schemas.microsoft.com/office/drawing/2014/main" id="{3C30C748-1BB1-40BD-A31B-804814845B82}"/>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5740387" y="2517515"/>
            <a:ext cx="581235" cy="134411"/>
          </a:xfrm>
          <a:prstGeom prst="rect">
            <a:avLst/>
          </a:prstGeom>
        </p:spPr>
      </p:pic>
      <p:pic>
        <p:nvPicPr>
          <p:cNvPr id="22" name="Picture 21">
            <a:extLst>
              <a:ext uri="{FF2B5EF4-FFF2-40B4-BE49-F238E27FC236}">
                <a16:creationId xmlns:a16="http://schemas.microsoft.com/office/drawing/2014/main" id="{95C66866-93F0-4310-BD9F-427CCF4FD278}"/>
              </a:ext>
            </a:extLst>
          </p:cNvPr>
          <p:cNvPicPr>
            <a:picLocks noChangeAspect="1"/>
          </p:cNvPicPr>
          <p:nvPr/>
        </p:nvPicPr>
        <p:blipFill>
          <a:blip r:embed="rId33">
            <a:clrChange>
              <a:clrFrom>
                <a:srgbClr val="DCDCE0"/>
              </a:clrFrom>
              <a:clrTo>
                <a:srgbClr val="DCDCE0">
                  <a:alpha val="0"/>
                </a:srgbClr>
              </a:clrTo>
            </a:clrChange>
          </a:blip>
          <a:stretch>
            <a:fillRect/>
          </a:stretch>
        </p:blipFill>
        <p:spPr>
          <a:xfrm>
            <a:off x="6583045" y="2495898"/>
            <a:ext cx="475774" cy="211816"/>
          </a:xfrm>
          <a:prstGeom prst="rect">
            <a:avLst/>
          </a:prstGeom>
        </p:spPr>
      </p:pic>
      <p:pic>
        <p:nvPicPr>
          <p:cNvPr id="25" name="Picture 24" descr="A picture containing plate, drawing, food&#10;&#10;Description automatically generated">
            <a:extLst>
              <a:ext uri="{FF2B5EF4-FFF2-40B4-BE49-F238E27FC236}">
                <a16:creationId xmlns:a16="http://schemas.microsoft.com/office/drawing/2014/main" id="{F4BA275E-0A6F-4022-855E-922B07DD1E93}"/>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740387" y="2834196"/>
            <a:ext cx="461955" cy="213384"/>
          </a:xfrm>
          <a:prstGeom prst="rect">
            <a:avLst/>
          </a:prstGeom>
        </p:spPr>
      </p:pic>
      <p:cxnSp>
        <p:nvCxnSpPr>
          <p:cNvPr id="20" name="Connecteur droit 15">
            <a:extLst>
              <a:ext uri="{FF2B5EF4-FFF2-40B4-BE49-F238E27FC236}">
                <a16:creationId xmlns:a16="http://schemas.microsoft.com/office/drawing/2014/main" id="{B231A456-C589-4EF9-A70E-D9123DB48E4F}"/>
              </a:ext>
            </a:extLst>
          </p:cNvPr>
          <p:cNvCxnSpPr>
            <a:cxnSpLocks/>
          </p:cNvCxnSpPr>
          <p:nvPr/>
        </p:nvCxnSpPr>
        <p:spPr bwMode="auto">
          <a:xfrm>
            <a:off x="243295" y="1412122"/>
            <a:ext cx="9403213"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1" name="ZoneTexte 6">
            <a:extLst>
              <a:ext uri="{FF2B5EF4-FFF2-40B4-BE49-F238E27FC236}">
                <a16:creationId xmlns:a16="http://schemas.microsoft.com/office/drawing/2014/main" id="{91DE67D2-FFEB-46A2-87F1-A3CDBDEF52CC}"/>
              </a:ext>
            </a:extLst>
          </p:cNvPr>
          <p:cNvSpPr txBox="1"/>
          <p:nvPr/>
        </p:nvSpPr>
        <p:spPr>
          <a:xfrm>
            <a:off x="2529900" y="1281110"/>
            <a:ext cx="4786066" cy="251817"/>
          </a:xfrm>
          <a:prstGeom prst="rect">
            <a:avLst/>
          </a:prstGeom>
          <a:solidFill>
            <a:schemeClr val="bg1"/>
          </a:solidFill>
        </p:spPr>
        <p:txBody>
          <a:bodyPr wrap="square" rtlCol="0">
            <a:noAutofit/>
          </a:bodyPr>
          <a:lstStyle/>
          <a:p>
            <a:pPr algn="ctr"/>
            <a:r>
              <a:rPr lang="en-GB" sz="1100">
                <a:latin typeface="Trebuchet MS" panose="020B0603020202020204" pitchFamily="34" charset="0"/>
              </a:rPr>
              <a:t>Overview of the main segments constituting the B2B marketing market</a:t>
            </a:r>
          </a:p>
        </p:txBody>
      </p:sp>
      <p:grpSp>
        <p:nvGrpSpPr>
          <p:cNvPr id="26" name="Groupe 25">
            <a:extLst>
              <a:ext uri="{FF2B5EF4-FFF2-40B4-BE49-F238E27FC236}">
                <a16:creationId xmlns:a16="http://schemas.microsoft.com/office/drawing/2014/main" id="{7053370C-A987-40D1-A12B-781CB1B9C138}"/>
              </a:ext>
            </a:extLst>
          </p:cNvPr>
          <p:cNvGrpSpPr/>
          <p:nvPr/>
        </p:nvGrpSpPr>
        <p:grpSpPr>
          <a:xfrm>
            <a:off x="5637485" y="4076560"/>
            <a:ext cx="1979758" cy="2020554"/>
            <a:chOff x="3578551" y="4076560"/>
            <a:chExt cx="1979758" cy="2020554"/>
          </a:xfrm>
        </p:grpSpPr>
        <p:sp>
          <p:nvSpPr>
            <p:cNvPr id="124" name="Rectangle 123">
              <a:extLst>
                <a:ext uri="{FF2B5EF4-FFF2-40B4-BE49-F238E27FC236}">
                  <a16:creationId xmlns:a16="http://schemas.microsoft.com/office/drawing/2014/main" id="{3718FD8A-5018-4802-84A8-AC3EF18BEC26}"/>
                </a:ext>
              </a:extLst>
            </p:cNvPr>
            <p:cNvSpPr/>
            <p:nvPr/>
          </p:nvSpPr>
          <p:spPr bwMode="auto">
            <a:xfrm>
              <a:off x="4639342" y="5174458"/>
              <a:ext cx="603796" cy="2215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0" i="1" u="none" strike="noStrike" cap="none" normalizeH="0" baseline="0">
                  <a:ln>
                    <a:noFill/>
                  </a:ln>
                  <a:solidFill>
                    <a:schemeClr val="accent1"/>
                  </a:solidFill>
                  <a:effectLst/>
                  <a:latin typeface="Trebuchet MS" panose="020B0603020202020204" pitchFamily="34" charset="0"/>
                </a:rPr>
                <a:t>…</a:t>
              </a:r>
            </a:p>
          </p:txBody>
        </p:sp>
        <p:grpSp>
          <p:nvGrpSpPr>
            <p:cNvPr id="180" name="Group 179">
              <a:extLst>
                <a:ext uri="{FF2B5EF4-FFF2-40B4-BE49-F238E27FC236}">
                  <a16:creationId xmlns:a16="http://schemas.microsoft.com/office/drawing/2014/main" id="{7FEF7AA2-D4E1-4DA4-8A18-F17507F0EA4E}"/>
                </a:ext>
              </a:extLst>
            </p:cNvPr>
            <p:cNvGrpSpPr/>
            <p:nvPr/>
          </p:nvGrpSpPr>
          <p:grpSpPr>
            <a:xfrm>
              <a:off x="3578551" y="4076560"/>
              <a:ext cx="1548000" cy="1351033"/>
              <a:chOff x="3703343" y="3633214"/>
              <a:chExt cx="1548000" cy="1351033"/>
            </a:xfrm>
          </p:grpSpPr>
          <p:sp>
            <p:nvSpPr>
              <p:cNvPr id="90" name="Rectangle 89">
                <a:extLst>
                  <a:ext uri="{FF2B5EF4-FFF2-40B4-BE49-F238E27FC236}">
                    <a16:creationId xmlns:a16="http://schemas.microsoft.com/office/drawing/2014/main" id="{8D7923F5-5C13-4546-8201-7C37BFCACF60}"/>
                  </a:ext>
                </a:extLst>
              </p:cNvPr>
              <p:cNvSpPr/>
              <p:nvPr/>
            </p:nvSpPr>
            <p:spPr bwMode="auto">
              <a:xfrm>
                <a:off x="3703343" y="3633214"/>
                <a:ext cx="1548000" cy="1351033"/>
              </a:xfrm>
              <a:prstGeom prst="rect">
                <a:avLst/>
              </a:prstGeom>
              <a:noFill/>
              <a:ln w="19050" cap="flat" cmpd="sng" algn="ctr">
                <a:solidFill>
                  <a:schemeClr val="accent1"/>
                </a:solidFill>
                <a:prstDash val="sysDot"/>
                <a:round/>
                <a:headEnd type="none" w="med" len="med"/>
                <a:tailEnd type="none" w="med" len="med"/>
              </a:ln>
              <a:effectLst/>
            </p:spPr>
            <p:txBody>
              <a:bodyPr vert="horz" wrap="square" lIns="0" tIns="36000" rIns="0" bIns="3600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a:ln>
                      <a:noFill/>
                    </a:ln>
                    <a:solidFill>
                      <a:schemeClr val="accent1"/>
                    </a:solidFill>
                    <a:effectLst/>
                    <a:latin typeface="Trebuchet MS" pitchFamily="34" charset="0"/>
                  </a:rPr>
                  <a:t>B2B prospect qualification</a:t>
                </a:r>
              </a:p>
            </p:txBody>
          </p:sp>
          <p:pic>
            <p:nvPicPr>
              <p:cNvPr id="93" name="Picture 4" descr="Image result for manageo logo">
                <a:extLst>
                  <a:ext uri="{FF2B5EF4-FFF2-40B4-BE49-F238E27FC236}">
                    <a16:creationId xmlns:a16="http://schemas.microsoft.com/office/drawing/2014/main" id="{215AE050-57A1-4EB4-B81B-BDBB1D5BFF89}"/>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3872148" y="4677567"/>
                <a:ext cx="453462" cy="185586"/>
              </a:xfrm>
              <a:prstGeom prst="rect">
                <a:avLst/>
              </a:prstGeom>
              <a:noFill/>
            </p:spPr>
          </p:pic>
          <p:pic>
            <p:nvPicPr>
              <p:cNvPr id="118" name="Picture 6" descr="Image result for logo kompass">
                <a:extLst>
                  <a:ext uri="{FF2B5EF4-FFF2-40B4-BE49-F238E27FC236}">
                    <a16:creationId xmlns:a16="http://schemas.microsoft.com/office/drawing/2014/main" id="{470D6B74-CB18-4076-9AB3-011BE1B40CE7}"/>
                  </a:ext>
                </a:extLst>
              </p:cNvPr>
              <p:cNvPicPr>
                <a:picLocks noChangeAspect="1" noChangeArrowheads="1"/>
              </p:cNvPicPr>
              <p:nvPr/>
            </p:nvPicPr>
            <p:blipFill rotWithShape="1">
              <a:blip r:embed="rId36">
                <a:extLst>
                  <a:ext uri="{28A0092B-C50C-407E-A947-70E740481C1C}">
                    <a14:useLocalDpi xmlns:a14="http://schemas.microsoft.com/office/drawing/2010/main" val="0"/>
                  </a:ext>
                </a:extLst>
              </a:blip>
              <a:srcRect t="32861" b="26695"/>
              <a:stretch/>
            </p:blipFill>
            <p:spPr bwMode="auto">
              <a:xfrm>
                <a:off x="4506059" y="4308730"/>
                <a:ext cx="700130" cy="283167"/>
              </a:xfrm>
              <a:prstGeom prst="rect">
                <a:avLst/>
              </a:prstGeom>
              <a:noFill/>
            </p:spPr>
          </p:pic>
          <p:pic>
            <p:nvPicPr>
              <p:cNvPr id="126" name="Picture 11" descr="RÃ©sultat de recherche d'images pour &quot;sidetrade&quot;">
                <a:extLst>
                  <a:ext uri="{FF2B5EF4-FFF2-40B4-BE49-F238E27FC236}">
                    <a16:creationId xmlns:a16="http://schemas.microsoft.com/office/drawing/2014/main" id="{0FAE5506-FE70-411E-A346-F3FFC13823B8}"/>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4587120" y="4062015"/>
                <a:ext cx="577842" cy="225358"/>
              </a:xfrm>
              <a:prstGeom prst="rect">
                <a:avLst/>
              </a:prstGeom>
              <a:noFill/>
            </p:spPr>
          </p:pic>
        </p:grpSp>
        <p:pic>
          <p:nvPicPr>
            <p:cNvPr id="28" name="Picture 27" descr="A picture containing computer, computer&#10;&#10;Description automatically generated">
              <a:extLst>
                <a:ext uri="{FF2B5EF4-FFF2-40B4-BE49-F238E27FC236}">
                  <a16:creationId xmlns:a16="http://schemas.microsoft.com/office/drawing/2014/main" id="{B92ED30C-FCDF-4673-861C-8F485EF877D0}"/>
                </a:ext>
              </a:extLst>
            </p:cNvPr>
            <p:cNvPicPr>
              <a:picLocks noChangeAspect="1"/>
            </p:cNvPicPr>
            <p:nvPr/>
          </p:nvPicPr>
          <p:blipFill rotWithShape="1">
            <a:blip r:embed="rId38">
              <a:extLst>
                <a:ext uri="{28A0092B-C50C-407E-A947-70E740481C1C}">
                  <a14:useLocalDpi xmlns:a14="http://schemas.microsoft.com/office/drawing/2010/main" val="0"/>
                </a:ext>
              </a:extLst>
            </a:blip>
            <a:srcRect l="12024" t="40724" r="12024" b="40724"/>
            <a:stretch/>
          </p:blipFill>
          <p:spPr>
            <a:xfrm>
              <a:off x="3661541" y="4811980"/>
              <a:ext cx="612126" cy="112136"/>
            </a:xfrm>
            <a:prstGeom prst="rect">
              <a:avLst/>
            </a:prstGeom>
          </p:spPr>
        </p:pic>
        <p:pic>
          <p:nvPicPr>
            <p:cNvPr id="30" name="Picture 29">
              <a:extLst>
                <a:ext uri="{FF2B5EF4-FFF2-40B4-BE49-F238E27FC236}">
                  <a16:creationId xmlns:a16="http://schemas.microsoft.com/office/drawing/2014/main" id="{868450C8-7061-486E-ADFD-E3CF2AC5D9BB}"/>
                </a:ext>
              </a:extLst>
            </p:cNvPr>
            <p:cNvPicPr>
              <a:picLocks noChangeAspect="1"/>
            </p:cNvPicPr>
            <p:nvPr/>
          </p:nvPicPr>
          <p:blipFill>
            <a:blip r:embed="rId39">
              <a:clrChange>
                <a:clrFrom>
                  <a:srgbClr val="FFFFFF"/>
                </a:clrFrom>
                <a:clrTo>
                  <a:srgbClr val="FFFFFF">
                    <a:alpha val="0"/>
                  </a:srgbClr>
                </a:clrTo>
              </a:clrChange>
            </a:blip>
            <a:stretch>
              <a:fillRect/>
            </a:stretch>
          </p:blipFill>
          <p:spPr>
            <a:xfrm>
              <a:off x="4296818" y="5102197"/>
              <a:ext cx="772335" cy="189188"/>
            </a:xfrm>
            <a:prstGeom prst="rect">
              <a:avLst/>
            </a:prstGeom>
          </p:spPr>
        </p:pic>
        <p:pic>
          <p:nvPicPr>
            <p:cNvPr id="73" name="Picture 72">
              <a:extLst>
                <a:ext uri="{FF2B5EF4-FFF2-40B4-BE49-F238E27FC236}">
                  <a16:creationId xmlns:a16="http://schemas.microsoft.com/office/drawing/2014/main" id="{3C41FA8F-C7A8-49E5-A9D5-5BB561FC4AE0}"/>
                </a:ext>
              </a:extLst>
            </p:cNvPr>
            <p:cNvPicPr>
              <a:picLocks noChangeAspect="1"/>
            </p:cNvPicPr>
            <p:nvPr/>
          </p:nvPicPr>
          <p:blipFill>
            <a:blip r:embed="rId40">
              <a:clrChange>
                <a:clrFrom>
                  <a:srgbClr val="FFFFFF"/>
                </a:clrFrom>
                <a:clrTo>
                  <a:srgbClr val="FFFFFF">
                    <a:alpha val="0"/>
                  </a:srgbClr>
                </a:clrTo>
              </a:clrChange>
            </a:blip>
            <a:stretch>
              <a:fillRect/>
            </a:stretch>
          </p:blipFill>
          <p:spPr>
            <a:xfrm>
              <a:off x="3666172" y="4465360"/>
              <a:ext cx="602864" cy="254180"/>
            </a:xfrm>
            <a:prstGeom prst="rect">
              <a:avLst/>
            </a:prstGeom>
          </p:spPr>
        </p:pic>
        <p:pic>
          <p:nvPicPr>
            <p:cNvPr id="24" name="Graphique 37" descr="Loupe">
              <a:extLst>
                <a:ext uri="{FF2B5EF4-FFF2-40B4-BE49-F238E27FC236}">
                  <a16:creationId xmlns:a16="http://schemas.microsoft.com/office/drawing/2014/main" id="{89C99421-8A23-47DC-B7B3-F95176141A3F}"/>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4841413" y="5339593"/>
              <a:ext cx="223174" cy="223174"/>
            </a:xfrm>
            <a:prstGeom prst="rect">
              <a:avLst/>
            </a:prstGeom>
          </p:spPr>
        </p:pic>
        <p:sp>
          <p:nvSpPr>
            <p:cNvPr id="76" name="ZoneTexte 75">
              <a:extLst>
                <a:ext uri="{FF2B5EF4-FFF2-40B4-BE49-F238E27FC236}">
                  <a16:creationId xmlns:a16="http://schemas.microsoft.com/office/drawing/2014/main" id="{E937BF6E-4D06-4083-8DB6-8C1BACCA79C7}"/>
                </a:ext>
              </a:extLst>
            </p:cNvPr>
            <p:cNvSpPr txBox="1"/>
            <p:nvPr/>
          </p:nvSpPr>
          <p:spPr>
            <a:xfrm>
              <a:off x="4347692" y="5520033"/>
              <a:ext cx="1210617" cy="577081"/>
            </a:xfrm>
            <a:prstGeom prst="rect">
              <a:avLst/>
            </a:prstGeom>
            <a:noFill/>
          </p:spPr>
          <p:txBody>
            <a:bodyPr wrap="square">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solidFill>
                  <a:effectLst/>
                  <a:latin typeface="Trebuchet MS" panose="020B0603020202020204" pitchFamily="34" charset="0"/>
                </a:rPr>
                <a:t>Altares' directly addressable market</a:t>
              </a:r>
            </a:p>
          </p:txBody>
        </p:sp>
      </p:grpSp>
      <p:sp>
        <p:nvSpPr>
          <p:cNvPr id="92" name="Rectangle 91">
            <a:extLst>
              <a:ext uri="{FF2B5EF4-FFF2-40B4-BE49-F238E27FC236}">
                <a16:creationId xmlns:a16="http://schemas.microsoft.com/office/drawing/2014/main" id="{4B30F97C-B3FD-42C5-A86A-B73F346CFC9F}"/>
              </a:ext>
            </a:extLst>
          </p:cNvPr>
          <p:cNvSpPr/>
          <p:nvPr/>
        </p:nvSpPr>
        <p:spPr bwMode="auto">
          <a:xfrm>
            <a:off x="7315966" y="5285223"/>
            <a:ext cx="603796" cy="2215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0" i="1" u="none" strike="noStrike" cap="none" normalizeH="0" baseline="0">
                <a:ln>
                  <a:noFill/>
                </a:ln>
                <a:solidFill>
                  <a:schemeClr val="tx2"/>
                </a:solidFill>
                <a:effectLst/>
                <a:latin typeface="Trebuchet MS" panose="020B0603020202020204" pitchFamily="34" charset="0"/>
              </a:rPr>
              <a:t>…</a:t>
            </a:r>
          </a:p>
        </p:txBody>
      </p:sp>
      <p:sp>
        <p:nvSpPr>
          <p:cNvPr id="94" name="Rectangle 93">
            <a:extLst>
              <a:ext uri="{FF2B5EF4-FFF2-40B4-BE49-F238E27FC236}">
                <a16:creationId xmlns:a16="http://schemas.microsoft.com/office/drawing/2014/main" id="{642DFECE-CBCB-4E56-8105-76905DF54B5D}"/>
              </a:ext>
            </a:extLst>
          </p:cNvPr>
          <p:cNvSpPr/>
          <p:nvPr/>
        </p:nvSpPr>
        <p:spPr bwMode="auto">
          <a:xfrm>
            <a:off x="7315966" y="3271122"/>
            <a:ext cx="603796" cy="2215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0" i="1" u="none" strike="noStrike" cap="none" normalizeH="0" baseline="0">
                <a:ln>
                  <a:noFill/>
                </a:ln>
                <a:solidFill>
                  <a:schemeClr val="tx2"/>
                </a:solidFill>
                <a:effectLst/>
                <a:latin typeface="Trebuchet MS" panose="020B0603020202020204" pitchFamily="34" charset="0"/>
              </a:rPr>
              <a:t>…</a:t>
            </a:r>
          </a:p>
        </p:txBody>
      </p:sp>
      <p:sp>
        <p:nvSpPr>
          <p:cNvPr id="95" name="Rectangle 94">
            <a:extLst>
              <a:ext uri="{FF2B5EF4-FFF2-40B4-BE49-F238E27FC236}">
                <a16:creationId xmlns:a16="http://schemas.microsoft.com/office/drawing/2014/main" id="{B64DB0F2-F013-4776-ABA9-9C8624E2AC05}"/>
              </a:ext>
            </a:extLst>
          </p:cNvPr>
          <p:cNvSpPr/>
          <p:nvPr/>
        </p:nvSpPr>
        <p:spPr bwMode="auto">
          <a:xfrm>
            <a:off x="7096924" y="4749191"/>
            <a:ext cx="821552" cy="26259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50" i="1">
                <a:solidFill>
                  <a:schemeClr val="accent1"/>
                </a:solidFill>
                <a:latin typeface="Trebuchet MS" panose="020B0603020202020204" pitchFamily="34" charset="0"/>
              </a:rPr>
              <a:t>Connexion to CRM</a:t>
            </a:r>
          </a:p>
        </p:txBody>
      </p:sp>
      <p:cxnSp>
        <p:nvCxnSpPr>
          <p:cNvPr id="96" name="Connecteur : en angle 95">
            <a:extLst>
              <a:ext uri="{FF2B5EF4-FFF2-40B4-BE49-F238E27FC236}">
                <a16:creationId xmlns:a16="http://schemas.microsoft.com/office/drawing/2014/main" id="{76CE497D-400C-4210-B2A7-D52A5007E256}"/>
              </a:ext>
            </a:extLst>
          </p:cNvPr>
          <p:cNvCxnSpPr>
            <a:cxnSpLocks/>
            <a:endCxn id="4" idx="1"/>
          </p:cNvCxnSpPr>
          <p:nvPr/>
        </p:nvCxnSpPr>
        <p:spPr bwMode="auto">
          <a:xfrm flipV="1">
            <a:off x="7174230" y="4937335"/>
            <a:ext cx="864482" cy="181538"/>
          </a:xfrm>
          <a:prstGeom prst="bentConnector3">
            <a:avLst>
              <a:gd name="adj1" fmla="val 69833"/>
            </a:avLst>
          </a:prstGeom>
          <a:solidFill>
            <a:schemeClr val="accent1"/>
          </a:solidFill>
          <a:ln w="9525" cap="flat" cmpd="sng" algn="ctr">
            <a:solidFill>
              <a:schemeClr val="accent1"/>
            </a:solidFill>
            <a:prstDash val="solid"/>
            <a:round/>
            <a:headEnd type="diamond" w="med" len="med"/>
            <a:tailEnd type="diamond" w="med" len="med"/>
          </a:ln>
          <a:effectLst/>
        </p:spPr>
      </p:cxnSp>
      <p:grpSp>
        <p:nvGrpSpPr>
          <p:cNvPr id="97" name="Groupe 96">
            <a:extLst>
              <a:ext uri="{FF2B5EF4-FFF2-40B4-BE49-F238E27FC236}">
                <a16:creationId xmlns:a16="http://schemas.microsoft.com/office/drawing/2014/main" id="{770E5491-3D44-40E7-8AFC-A39D0EE4AAA4}"/>
              </a:ext>
            </a:extLst>
          </p:cNvPr>
          <p:cNvGrpSpPr/>
          <p:nvPr/>
        </p:nvGrpSpPr>
        <p:grpSpPr>
          <a:xfrm>
            <a:off x="8448150" y="-11528"/>
            <a:ext cx="1435548" cy="588143"/>
            <a:chOff x="8448150" y="-11528"/>
            <a:chExt cx="1435548" cy="588143"/>
          </a:xfrm>
        </p:grpSpPr>
        <p:grpSp>
          <p:nvGrpSpPr>
            <p:cNvPr id="98" name="Groupe 97">
              <a:extLst>
                <a:ext uri="{FF2B5EF4-FFF2-40B4-BE49-F238E27FC236}">
                  <a16:creationId xmlns:a16="http://schemas.microsoft.com/office/drawing/2014/main" id="{0529F5B2-91BB-462F-8DF3-4D0DAEAF58E4}"/>
                </a:ext>
              </a:extLst>
            </p:cNvPr>
            <p:cNvGrpSpPr/>
            <p:nvPr/>
          </p:nvGrpSpPr>
          <p:grpSpPr>
            <a:xfrm>
              <a:off x="8448150" y="-11528"/>
              <a:ext cx="1435548" cy="555653"/>
              <a:chOff x="8448150" y="-11528"/>
              <a:chExt cx="1435548" cy="555653"/>
            </a:xfrm>
          </p:grpSpPr>
          <p:sp>
            <p:nvSpPr>
              <p:cNvPr id="100" name="Rectangle : coins arrondis 199">
                <a:extLst>
                  <a:ext uri="{FF2B5EF4-FFF2-40B4-BE49-F238E27FC236}">
                    <a16:creationId xmlns:a16="http://schemas.microsoft.com/office/drawing/2014/main" id="{5DFE1EE5-94DB-4E97-B31B-45FEEB042206}"/>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1" name="Rectangle : coins arrondis 200">
                <a:extLst>
                  <a:ext uri="{FF2B5EF4-FFF2-40B4-BE49-F238E27FC236}">
                    <a16:creationId xmlns:a16="http://schemas.microsoft.com/office/drawing/2014/main" id="{D7027CDB-825A-4AAE-8179-B215312642F3}"/>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2" name="Rectangle : coins arrondis 201">
                <a:extLst>
                  <a:ext uri="{FF2B5EF4-FFF2-40B4-BE49-F238E27FC236}">
                    <a16:creationId xmlns:a16="http://schemas.microsoft.com/office/drawing/2014/main" id="{841275F8-2D8A-4445-8E04-19554918A1DD}"/>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3" name="ZoneTexte 18">
                <a:extLst>
                  <a:ext uri="{FF2B5EF4-FFF2-40B4-BE49-F238E27FC236}">
                    <a16:creationId xmlns:a16="http://schemas.microsoft.com/office/drawing/2014/main" id="{F5CBDEBF-7C49-4E90-8081-26487D2B56F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04" name="Graphique 128" descr="Jauge">
                <a:extLst>
                  <a:ext uri="{FF2B5EF4-FFF2-40B4-BE49-F238E27FC236}">
                    <a16:creationId xmlns:a16="http://schemas.microsoft.com/office/drawing/2014/main" id="{1A06450F-55C9-4239-954B-6DDAA9C14645}"/>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8553764" y="187516"/>
                <a:ext cx="234953" cy="218224"/>
              </a:xfrm>
              <a:prstGeom prst="rect">
                <a:avLst/>
              </a:prstGeom>
              <a:effectLst/>
            </p:spPr>
          </p:pic>
          <p:pic>
            <p:nvPicPr>
              <p:cNvPr id="105" name="Graphique 90" descr="Poignée de main">
                <a:extLst>
                  <a:ext uri="{FF2B5EF4-FFF2-40B4-BE49-F238E27FC236}">
                    <a16:creationId xmlns:a16="http://schemas.microsoft.com/office/drawing/2014/main" id="{ED67C2CA-F330-4DBA-8312-E92A2B2D076C}"/>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8960868" y="152880"/>
                <a:ext cx="256313" cy="287496"/>
              </a:xfrm>
              <a:prstGeom prst="rect">
                <a:avLst/>
              </a:prstGeom>
              <a:effectLst/>
            </p:spPr>
          </p:pic>
          <p:pic>
            <p:nvPicPr>
              <p:cNvPr id="106" name="Graphique 74" descr="Mégaphone">
                <a:extLst>
                  <a:ext uri="{FF2B5EF4-FFF2-40B4-BE49-F238E27FC236}">
                    <a16:creationId xmlns:a16="http://schemas.microsoft.com/office/drawing/2014/main" id="{85C69B71-7ED1-4C36-A1F4-5656C460855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9389331" y="181519"/>
                <a:ext cx="233011" cy="216420"/>
              </a:xfrm>
              <a:prstGeom prst="rect">
                <a:avLst/>
              </a:prstGeom>
              <a:effectLst/>
            </p:spPr>
          </p:pic>
          <p:pic>
            <p:nvPicPr>
              <p:cNvPr id="107" name="Picture 2" descr="Drapeau France">
                <a:extLst>
                  <a:ext uri="{FF2B5EF4-FFF2-40B4-BE49-F238E27FC236}">
                    <a16:creationId xmlns:a16="http://schemas.microsoft.com/office/drawing/2014/main" id="{A314DEE5-E9AF-44E5-9FDF-5EDE31BAD854}"/>
                  </a:ext>
                </a:extLst>
              </p:cNvPr>
              <p:cNvPicPr>
                <a:picLocks noChangeAspect="1" noChangeArrowheads="1"/>
              </p:cNvPicPr>
              <p:nvPr/>
            </p:nvPicPr>
            <p:blipFill rotWithShape="1">
              <a:blip r:embed="rId49">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08" name="Picture 2" descr="5 ft x 3 ft 150 x 90 cm-DRAPEAU BELGE Belgique 100% Polyester ...">
                <a:extLst>
                  <a:ext uri="{FF2B5EF4-FFF2-40B4-BE49-F238E27FC236}">
                    <a16:creationId xmlns:a16="http://schemas.microsoft.com/office/drawing/2014/main" id="{4123FBC5-4D18-4119-AA51-E00AB377E6E7}"/>
                  </a:ext>
                </a:extLst>
              </p:cNvPr>
              <p:cNvPicPr>
                <a:picLocks noChangeAspect="1" noChangeArrowheads="1"/>
              </p:cNvPicPr>
              <p:nvPr/>
            </p:nvPicPr>
            <p:blipFill rotWithShape="1">
              <a:blip r:embed="rId50">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09" name="Picture 2 - 1" descr="Drapeau des Pays-Bas — Wikipédia">
                <a:extLst>
                  <a:ext uri="{FF2B5EF4-FFF2-40B4-BE49-F238E27FC236}">
                    <a16:creationId xmlns:a16="http://schemas.microsoft.com/office/drawing/2014/main" id="{B911755E-E13A-4E73-B0B0-4B98DBFBE407}"/>
                  </a:ext>
                </a:extLst>
              </p:cNvPr>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10" name="Picture 2 - 2" descr="Drapeau du Luxembourg">
                <a:extLst>
                  <a:ext uri="{FF2B5EF4-FFF2-40B4-BE49-F238E27FC236}">
                    <a16:creationId xmlns:a16="http://schemas.microsoft.com/office/drawing/2014/main" id="{8CEE7451-35EA-4DDA-B6D6-9EC4CECD68FC}"/>
                  </a:ext>
                </a:extLst>
              </p:cNvPr>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99" name="ZoneTexte 18">
              <a:extLst>
                <a:ext uri="{FF2B5EF4-FFF2-40B4-BE49-F238E27FC236}">
                  <a16:creationId xmlns:a16="http://schemas.microsoft.com/office/drawing/2014/main" id="{11A49E26-BF68-4FEA-95EA-0EE043F8D0AD}"/>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2B Marketing</a:t>
              </a:r>
            </a:p>
          </p:txBody>
        </p:sp>
      </p:grpSp>
    </p:spTree>
    <p:extLst>
      <p:ext uri="{BB962C8B-B14F-4D97-AF65-F5344CB8AC3E}">
        <p14:creationId xmlns:p14="http://schemas.microsoft.com/office/powerpoint/2010/main" val="1308138060"/>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t 18" hidden="1">
            <a:extLst>
              <a:ext uri="{FF2B5EF4-FFF2-40B4-BE49-F238E27FC236}">
                <a16:creationId xmlns:a16="http://schemas.microsoft.com/office/drawing/2014/main" id="{D59CF9B7-D8DD-4E5C-A7D7-BB1FAE0049B4}"/>
              </a:ext>
            </a:extLst>
          </p:cNvPr>
          <p:cNvGraphicFramePr>
            <a:graphicFrameLocks noChangeAspect="1"/>
          </p:cNvGraphicFramePr>
          <p:nvPr>
            <p:custDataLst>
              <p:tags r:id="rId1"/>
            </p:custDataLst>
            <p:extLst>
              <p:ext uri="{D42A27DB-BD31-4B8C-83A1-F6EECF244321}">
                <p14:modId xmlns:p14="http://schemas.microsoft.com/office/powerpoint/2010/main" val="3178797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19" name="Objet 18" hidden="1">
                        <a:extLst>
                          <a:ext uri="{FF2B5EF4-FFF2-40B4-BE49-F238E27FC236}">
                            <a16:creationId xmlns:a16="http://schemas.microsoft.com/office/drawing/2014/main" id="{D59CF9B7-D8DD-4E5C-A7D7-BB1FAE0049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2CB229BC-D2DC-4A17-8DD7-2B774B9684D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BF60AF80-B1A4-42B4-93E7-DB95A5D4D506}"/>
              </a:ext>
            </a:extLst>
          </p:cNvPr>
          <p:cNvSpPr>
            <a:spLocks noGrp="1"/>
          </p:cNvSpPr>
          <p:nvPr>
            <p:ph type="title"/>
          </p:nvPr>
        </p:nvSpPr>
        <p:spPr>
          <a:xfrm>
            <a:off x="165600" y="147600"/>
            <a:ext cx="8046779" cy="684000"/>
          </a:xfrm>
        </p:spPr>
        <p:txBody>
          <a:bodyPr/>
          <a:lstStyle/>
          <a:p>
            <a:r>
              <a:rPr lang="en-GB">
                <a:latin typeface="Trebuchet MS" panose="020B0603020202020204" pitchFamily="34" charset="0"/>
              </a:rPr>
              <a:t>The </a:t>
            </a:r>
            <a:r>
              <a:rPr lang="en-GB">
                <a:solidFill>
                  <a:schemeClr val="tx2"/>
                </a:solidFill>
                <a:latin typeface="Trebuchet MS" panose="020B0603020202020204" pitchFamily="34" charset="0"/>
              </a:rPr>
              <a:t>B2B</a:t>
            </a:r>
            <a:r>
              <a:rPr lang="en-GB">
                <a:latin typeface="Trebuchet MS" panose="020B0603020202020204" pitchFamily="34" charset="0"/>
              </a:rPr>
              <a:t> </a:t>
            </a:r>
            <a:r>
              <a:rPr lang="en-GB">
                <a:solidFill>
                  <a:schemeClr val="tx2"/>
                </a:solidFill>
                <a:latin typeface="Trebuchet MS" panose="020B0603020202020204" pitchFamily="34" charset="0"/>
              </a:rPr>
              <a:t>marketing</a:t>
            </a:r>
            <a:r>
              <a:rPr lang="en-GB">
                <a:latin typeface="Trebuchet MS" panose="020B0603020202020204" pitchFamily="34" charset="0"/>
              </a:rPr>
              <a:t> market can be segmented into </a:t>
            </a:r>
            <a:r>
              <a:rPr lang="en-GB">
                <a:solidFill>
                  <a:schemeClr val="tx2"/>
                </a:solidFill>
                <a:latin typeface="Trebuchet MS" panose="020B0603020202020204" pitchFamily="34" charset="0"/>
              </a:rPr>
              <a:t>two</a:t>
            </a:r>
            <a:r>
              <a:rPr lang="en-GB">
                <a:latin typeface="Trebuchet MS" panose="020B0603020202020204" pitchFamily="34" charset="0"/>
              </a:rPr>
              <a:t> complementary </a:t>
            </a:r>
            <a:r>
              <a:rPr lang="en-GB">
                <a:solidFill>
                  <a:schemeClr val="tx2"/>
                </a:solidFill>
                <a:latin typeface="Trebuchet MS" panose="020B0603020202020204" pitchFamily="34" charset="0"/>
              </a:rPr>
              <a:t>sub-markets</a:t>
            </a:r>
            <a:r>
              <a:rPr lang="en-GB">
                <a:latin typeface="Trebuchet MS" panose="020B0603020202020204" pitchFamily="34" charset="0"/>
              </a:rPr>
              <a:t>: </a:t>
            </a:r>
            <a:r>
              <a:rPr lang="en-GB">
                <a:solidFill>
                  <a:schemeClr val="tx2"/>
                </a:solidFill>
                <a:latin typeface="Trebuchet MS" panose="020B0603020202020204" pitchFamily="34" charset="0"/>
              </a:rPr>
              <a:t>inbound</a:t>
            </a:r>
            <a:r>
              <a:rPr lang="en-GB">
                <a:latin typeface="Trebuchet MS" panose="020B0603020202020204" pitchFamily="34" charset="0"/>
              </a:rPr>
              <a:t> (i.e. the target engages the first contact) and </a:t>
            </a:r>
            <a:r>
              <a:rPr lang="en-GB">
                <a:solidFill>
                  <a:schemeClr val="tx2"/>
                </a:solidFill>
                <a:latin typeface="Trebuchet MS" panose="020B0603020202020204" pitchFamily="34" charset="0"/>
              </a:rPr>
              <a:t>outbound</a:t>
            </a:r>
            <a:r>
              <a:rPr lang="en-GB">
                <a:latin typeface="Trebuchet MS" panose="020B0603020202020204" pitchFamily="34" charset="0"/>
              </a:rPr>
              <a:t> </a:t>
            </a:r>
            <a:r>
              <a:rPr lang="en-GB">
                <a:solidFill>
                  <a:schemeClr val="tx2"/>
                </a:solidFill>
                <a:latin typeface="Trebuchet MS" panose="020B0603020202020204" pitchFamily="34" charset="0"/>
              </a:rPr>
              <a:t>B2B</a:t>
            </a:r>
            <a:r>
              <a:rPr lang="en-GB">
                <a:latin typeface="Trebuchet MS" panose="020B0603020202020204" pitchFamily="34" charset="0"/>
              </a:rPr>
              <a:t> </a:t>
            </a:r>
            <a:r>
              <a:rPr lang="en-GB">
                <a:solidFill>
                  <a:schemeClr val="tx2"/>
                </a:solidFill>
                <a:latin typeface="Trebuchet MS" panose="020B0603020202020204" pitchFamily="34" charset="0"/>
              </a:rPr>
              <a:t>marketing </a:t>
            </a:r>
            <a:r>
              <a:rPr lang="en-GB">
                <a:latin typeface="Trebuchet MS" panose="020B0603020202020204" pitchFamily="34" charset="0"/>
              </a:rPr>
              <a:t>(i.e. the advertiser pushes the message to the target)</a:t>
            </a:r>
          </a:p>
        </p:txBody>
      </p:sp>
      <p:sp>
        <p:nvSpPr>
          <p:cNvPr id="3" name="Text Placeholder 2">
            <a:extLst>
              <a:ext uri="{FF2B5EF4-FFF2-40B4-BE49-F238E27FC236}">
                <a16:creationId xmlns:a16="http://schemas.microsoft.com/office/drawing/2014/main" id="{07FBEF58-ABDE-46CD-AE57-454D452DA16B}"/>
              </a:ext>
            </a:extLst>
          </p:cNvPr>
          <p:cNvSpPr>
            <a:spLocks noGrp="1"/>
          </p:cNvSpPr>
          <p:nvPr>
            <p:ph type="body" sz="quarter" idx="10"/>
          </p:nvPr>
        </p:nvSpPr>
        <p:spPr/>
        <p:txBody>
          <a:bodyPr/>
          <a:lstStyle/>
          <a:p>
            <a:r>
              <a:rPr lang="en-GB"/>
              <a:t>Sources: eleven research &amp; analysis</a:t>
            </a:r>
          </a:p>
        </p:txBody>
      </p:sp>
      <p:sp>
        <p:nvSpPr>
          <p:cNvPr id="8" name="Rectangle 7">
            <a:extLst>
              <a:ext uri="{FF2B5EF4-FFF2-40B4-BE49-F238E27FC236}">
                <a16:creationId xmlns:a16="http://schemas.microsoft.com/office/drawing/2014/main" id="{86B0CF2E-6BDF-44D8-BC36-A90571F7FA93}"/>
              </a:ext>
            </a:extLst>
          </p:cNvPr>
          <p:cNvSpPr/>
          <p:nvPr/>
        </p:nvSpPr>
        <p:spPr bwMode="auto">
          <a:xfrm>
            <a:off x="70311" y="1547087"/>
            <a:ext cx="1266831" cy="3856856"/>
          </a:xfrm>
          <a:prstGeom prst="rect">
            <a:avLst/>
          </a:prstGeom>
          <a:solidFill>
            <a:schemeClr val="bg1"/>
          </a:solid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solidFill>
                  <a:schemeClr val="tx2"/>
                </a:solidFill>
                <a:latin typeface="Trebuchet MS" panose="020B0603020202020204" pitchFamily="34" charset="0"/>
              </a:rPr>
              <a:t>B2B Marketing Strategy</a:t>
            </a:r>
          </a:p>
        </p:txBody>
      </p:sp>
      <p:sp>
        <p:nvSpPr>
          <p:cNvPr id="4" name="Rectangle 3">
            <a:extLst>
              <a:ext uri="{FF2B5EF4-FFF2-40B4-BE49-F238E27FC236}">
                <a16:creationId xmlns:a16="http://schemas.microsoft.com/office/drawing/2014/main" id="{9D1D5660-74DF-45D6-8CCD-5C116124E8CD}"/>
              </a:ext>
            </a:extLst>
          </p:cNvPr>
          <p:cNvSpPr/>
          <p:nvPr/>
        </p:nvSpPr>
        <p:spPr bwMode="auto">
          <a:xfrm>
            <a:off x="8038712" y="4222676"/>
            <a:ext cx="1694552" cy="1103757"/>
          </a:xfrm>
          <a:prstGeom prst="rect">
            <a:avLst/>
          </a:prstGeom>
          <a:solidFill>
            <a:schemeClr val="bg2">
              <a:lumMod val="20000"/>
              <a:lumOff val="80000"/>
            </a:schemeClr>
          </a:solidFill>
          <a:ln w="12700" cap="flat" cmpd="sng" algn="ctr">
            <a:solidFill>
              <a:schemeClr val="tx2"/>
            </a:solidFill>
            <a:prstDash val="dash"/>
            <a:round/>
            <a:headEnd type="none" w="med" len="med"/>
            <a:tailEnd type="none" w="med" len="med"/>
          </a:ln>
          <a:effectLst/>
        </p:spPr>
        <p:txBody>
          <a:bodyPr vert="horz" wrap="square" lIns="0" tIns="90000" rIns="0" bIns="45720" numCol="1" rtlCol="0" anchor="t" anchorCtr="0" compatLnSpc="1">
            <a:prstTxWarp prst="textNoShape">
              <a:avLst/>
            </a:prstTxWarp>
          </a:bodyPr>
          <a:lstStyle/>
          <a:p>
            <a:pPr algn="ctr"/>
            <a:r>
              <a:rPr lang="en-GB" sz="1000" b="1">
                <a:solidFill>
                  <a:schemeClr val="tx2"/>
                </a:solidFill>
                <a:latin typeface="Trebuchet MS" pitchFamily="34" charset="0"/>
              </a:rPr>
              <a:t>CRM</a:t>
            </a:r>
          </a:p>
          <a:p>
            <a:pPr algn="ctr"/>
            <a:endParaRPr lang="en-GB" sz="1000" b="1">
              <a:solidFill>
                <a:schemeClr val="tx2"/>
              </a:solidFill>
              <a:latin typeface="Trebuchet MS" pitchFamily="34" charset="0"/>
            </a:endParaRPr>
          </a:p>
          <a:p>
            <a:pPr algn="ctr">
              <a:lnSpc>
                <a:spcPts val="1000"/>
              </a:lnSpc>
            </a:pPr>
            <a:r>
              <a:rPr lang="en-GB" sz="1000">
                <a:latin typeface="Trebuchet MS" panose="020B0603020202020204" pitchFamily="34" charset="0"/>
              </a:rPr>
              <a:t>Solutions that gather all company’s data from integrated platforms from multiple departments to keep it organized</a:t>
            </a:r>
          </a:p>
          <a:p>
            <a:pPr algn="ctr"/>
            <a:endParaRPr lang="en-GB" sz="1000" b="1">
              <a:solidFill>
                <a:schemeClr val="tx2"/>
              </a:solidFill>
              <a:latin typeface="Trebuchet MS" panose="020B0603020202020204" pitchFamily="34" charset="0"/>
            </a:endParaRPr>
          </a:p>
        </p:txBody>
      </p:sp>
      <p:sp>
        <p:nvSpPr>
          <p:cNvPr id="6" name="Rectangle 5">
            <a:extLst>
              <a:ext uri="{FF2B5EF4-FFF2-40B4-BE49-F238E27FC236}">
                <a16:creationId xmlns:a16="http://schemas.microsoft.com/office/drawing/2014/main" id="{ABB6686B-7406-4EFE-96C9-956C190654F5}"/>
              </a:ext>
            </a:extLst>
          </p:cNvPr>
          <p:cNvSpPr/>
          <p:nvPr/>
        </p:nvSpPr>
        <p:spPr bwMode="auto">
          <a:xfrm>
            <a:off x="1429560" y="1547087"/>
            <a:ext cx="6398123" cy="1836000"/>
          </a:xfrm>
          <a:prstGeom prst="rect">
            <a:avLst/>
          </a:prstGeom>
          <a:solidFill>
            <a:schemeClr val="bg2">
              <a:lumMod val="20000"/>
              <a:lumOff val="80000"/>
            </a:schemeClr>
          </a:solidFill>
          <a:ln w="19050" cap="flat" cmpd="sng" algn="ctr">
            <a:noFill/>
            <a:prstDash val="dash"/>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algn="ctr"/>
            <a:r>
              <a:rPr lang="en-GB" sz="1200" b="1">
                <a:solidFill>
                  <a:schemeClr val="tx2"/>
                </a:solidFill>
                <a:latin typeface="Trebuchet MS" panose="020B0603020202020204" pitchFamily="34" charset="0"/>
              </a:rPr>
              <a:t>Inbound Marketing</a:t>
            </a:r>
          </a:p>
        </p:txBody>
      </p:sp>
      <p:sp>
        <p:nvSpPr>
          <p:cNvPr id="10" name="Rectangle 9">
            <a:extLst>
              <a:ext uri="{FF2B5EF4-FFF2-40B4-BE49-F238E27FC236}">
                <a16:creationId xmlns:a16="http://schemas.microsoft.com/office/drawing/2014/main" id="{A602704D-B47F-4AA3-BFE1-EA4DB93A8FDF}"/>
              </a:ext>
            </a:extLst>
          </p:cNvPr>
          <p:cNvSpPr/>
          <p:nvPr/>
        </p:nvSpPr>
        <p:spPr bwMode="auto">
          <a:xfrm>
            <a:off x="7920101" y="1547087"/>
            <a:ext cx="1916359" cy="3856855"/>
          </a:xfrm>
          <a:prstGeom prst="rect">
            <a:avLst/>
          </a:prstGeom>
          <a:noFill/>
          <a:ln w="12700" cap="flat" cmpd="sng" algn="ctr">
            <a:solidFill>
              <a:schemeClr val="tx2"/>
            </a:solidFill>
            <a:prstDash val="dash"/>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algn="ctr"/>
            <a:r>
              <a:rPr lang="en-GB" sz="1200" b="1">
                <a:solidFill>
                  <a:schemeClr val="tx2"/>
                </a:solidFill>
                <a:latin typeface="Trebuchet MS" panose="020B0603020202020204" pitchFamily="34" charset="0"/>
              </a:rPr>
              <a:t>Tools</a:t>
            </a:r>
          </a:p>
        </p:txBody>
      </p:sp>
      <p:pic>
        <p:nvPicPr>
          <p:cNvPr id="11" name="Graphic 10">
            <a:extLst>
              <a:ext uri="{FF2B5EF4-FFF2-40B4-BE49-F238E27FC236}">
                <a16:creationId xmlns:a16="http://schemas.microsoft.com/office/drawing/2014/main" id="{B3E23BCB-2AFE-4BFC-8CCE-484B2180FC8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0134" y="2784342"/>
            <a:ext cx="446258" cy="557822"/>
          </a:xfrm>
          <a:prstGeom prst="rect">
            <a:avLst/>
          </a:prstGeom>
        </p:spPr>
      </p:pic>
      <p:sp>
        <p:nvSpPr>
          <p:cNvPr id="16" name="Rectangle 15">
            <a:extLst>
              <a:ext uri="{FF2B5EF4-FFF2-40B4-BE49-F238E27FC236}">
                <a16:creationId xmlns:a16="http://schemas.microsoft.com/office/drawing/2014/main" id="{C026D4DA-5BA0-4ECC-9A7A-C70C13C56204}"/>
              </a:ext>
            </a:extLst>
          </p:cNvPr>
          <p:cNvSpPr/>
          <p:nvPr/>
        </p:nvSpPr>
        <p:spPr bwMode="auto">
          <a:xfrm>
            <a:off x="1521978" y="1811585"/>
            <a:ext cx="6087907" cy="4496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000">
                <a:latin typeface="Trebuchet MS" panose="020B0603020202020204" pitchFamily="34" charset="0"/>
              </a:rPr>
              <a:t>Inbound marketing refers to the corporate content creation strategy to attract online visitors on the company’s website or blog </a:t>
            </a:r>
          </a:p>
        </p:txBody>
      </p:sp>
      <p:grpSp>
        <p:nvGrpSpPr>
          <p:cNvPr id="59" name="Group 58">
            <a:extLst>
              <a:ext uri="{FF2B5EF4-FFF2-40B4-BE49-F238E27FC236}">
                <a16:creationId xmlns:a16="http://schemas.microsoft.com/office/drawing/2014/main" id="{26952ADD-5FA0-4941-AC61-764D4CFD7CDA}"/>
              </a:ext>
            </a:extLst>
          </p:cNvPr>
          <p:cNvGrpSpPr/>
          <p:nvPr/>
        </p:nvGrpSpPr>
        <p:grpSpPr>
          <a:xfrm>
            <a:off x="1405993" y="2287754"/>
            <a:ext cx="6387822" cy="672326"/>
            <a:chOff x="1502596" y="2156308"/>
            <a:chExt cx="7225981" cy="672326"/>
          </a:xfrm>
        </p:grpSpPr>
        <p:sp>
          <p:nvSpPr>
            <p:cNvPr id="20" name="Flèche : droite 6">
              <a:extLst>
                <a:ext uri="{FF2B5EF4-FFF2-40B4-BE49-F238E27FC236}">
                  <a16:creationId xmlns:a16="http://schemas.microsoft.com/office/drawing/2014/main" id="{C11A55E8-4DD2-45F9-99D6-C71CA69F689B}"/>
                </a:ext>
              </a:extLst>
            </p:cNvPr>
            <p:cNvSpPr/>
            <p:nvPr/>
          </p:nvSpPr>
          <p:spPr bwMode="auto">
            <a:xfrm>
              <a:off x="1564606" y="2181975"/>
              <a:ext cx="7163971" cy="222698"/>
            </a:xfrm>
            <a:prstGeom prst="rightArrow">
              <a:avLst/>
            </a:prstGeom>
            <a:solidFill>
              <a:schemeClr val="bg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2" name="Ellipse 8">
              <a:extLst>
                <a:ext uri="{FF2B5EF4-FFF2-40B4-BE49-F238E27FC236}">
                  <a16:creationId xmlns:a16="http://schemas.microsoft.com/office/drawing/2014/main" id="{BEE307D4-3F8F-44EA-87B2-2C46140B62B7}"/>
                </a:ext>
              </a:extLst>
            </p:cNvPr>
            <p:cNvSpPr/>
            <p:nvPr/>
          </p:nvSpPr>
          <p:spPr bwMode="auto">
            <a:xfrm>
              <a:off x="2024418" y="2156308"/>
              <a:ext cx="288000" cy="288000"/>
            </a:xfrm>
            <a:prstGeom prst="ellipse">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50">
                  <a:latin typeface="Trebuchet MS" pitchFamily="34" charset="0"/>
                </a:rPr>
                <a:t>1</a:t>
              </a:r>
              <a:endParaRPr kumimoji="0" lang="en-GB" sz="1050" b="0" i="0" u="none" strike="noStrike" cap="none" normalizeH="0" baseline="0">
                <a:ln>
                  <a:noFill/>
                </a:ln>
                <a:solidFill>
                  <a:schemeClr val="tx1"/>
                </a:solidFill>
                <a:effectLst/>
                <a:latin typeface="Trebuchet MS" pitchFamily="34" charset="0"/>
              </a:endParaRPr>
            </a:p>
          </p:txBody>
        </p:sp>
        <p:sp>
          <p:nvSpPr>
            <p:cNvPr id="24" name="Ellipse 23">
              <a:extLst>
                <a:ext uri="{FF2B5EF4-FFF2-40B4-BE49-F238E27FC236}">
                  <a16:creationId xmlns:a16="http://schemas.microsoft.com/office/drawing/2014/main" id="{EE9B931F-A275-40D7-8CFC-03ACE5FCEFAE}"/>
                </a:ext>
              </a:extLst>
            </p:cNvPr>
            <p:cNvSpPr/>
            <p:nvPr/>
          </p:nvSpPr>
          <p:spPr bwMode="auto">
            <a:xfrm>
              <a:off x="7759135" y="2156308"/>
              <a:ext cx="288000" cy="288000"/>
            </a:xfrm>
            <a:prstGeom prst="ellipse">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1"/>
                  </a:solidFill>
                  <a:effectLst/>
                  <a:latin typeface="Trebuchet MS" pitchFamily="34" charset="0"/>
                </a:rPr>
                <a:t>4</a:t>
              </a:r>
            </a:p>
          </p:txBody>
        </p:sp>
        <p:sp>
          <p:nvSpPr>
            <p:cNvPr id="28" name="Rectangle 27">
              <a:extLst>
                <a:ext uri="{FF2B5EF4-FFF2-40B4-BE49-F238E27FC236}">
                  <a16:creationId xmlns:a16="http://schemas.microsoft.com/office/drawing/2014/main" id="{FEA60E3E-4BA4-4DBA-9A43-4957C0D46687}"/>
                </a:ext>
              </a:extLst>
            </p:cNvPr>
            <p:cNvSpPr/>
            <p:nvPr/>
          </p:nvSpPr>
          <p:spPr bwMode="auto">
            <a:xfrm>
              <a:off x="1502596" y="2477159"/>
              <a:ext cx="1339086" cy="35147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900">
                  <a:latin typeface="Trebuchet MS" pitchFamily="34" charset="0"/>
                </a:rPr>
                <a:t>Definition and analysis of the targets</a:t>
              </a:r>
            </a:p>
          </p:txBody>
        </p:sp>
        <p:sp>
          <p:nvSpPr>
            <p:cNvPr id="30" name="Rectangle 29">
              <a:extLst>
                <a:ext uri="{FF2B5EF4-FFF2-40B4-BE49-F238E27FC236}">
                  <a16:creationId xmlns:a16="http://schemas.microsoft.com/office/drawing/2014/main" id="{C56358EB-30C0-4843-B7E7-AE1DEC2D6372}"/>
                </a:ext>
              </a:extLst>
            </p:cNvPr>
            <p:cNvSpPr/>
            <p:nvPr/>
          </p:nvSpPr>
          <p:spPr bwMode="auto">
            <a:xfrm>
              <a:off x="4934883" y="2477159"/>
              <a:ext cx="2009476" cy="35147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900">
                  <a:latin typeface="Trebuchet MS" pitchFamily="34" charset="0"/>
                </a:rPr>
                <a:t>Development of an optimized website or existing ones (Facebook page, etc.)</a:t>
              </a:r>
            </a:p>
          </p:txBody>
        </p:sp>
        <p:sp>
          <p:nvSpPr>
            <p:cNvPr id="32" name="Rectangle 31">
              <a:extLst>
                <a:ext uri="{FF2B5EF4-FFF2-40B4-BE49-F238E27FC236}">
                  <a16:creationId xmlns:a16="http://schemas.microsoft.com/office/drawing/2014/main" id="{A2AD1EED-2B72-4F8E-9201-ED32EAA15107}"/>
                </a:ext>
              </a:extLst>
            </p:cNvPr>
            <p:cNvSpPr/>
            <p:nvPr/>
          </p:nvSpPr>
          <p:spPr bwMode="auto">
            <a:xfrm>
              <a:off x="7185051" y="2477159"/>
              <a:ext cx="1432843" cy="35147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900">
                  <a:latin typeface="Trebuchet MS" pitchFamily="34" charset="0"/>
                </a:rPr>
                <a:t>Performance monitoring</a:t>
              </a:r>
            </a:p>
          </p:txBody>
        </p:sp>
        <p:sp>
          <p:nvSpPr>
            <p:cNvPr id="34" name="Ellipse 20">
              <a:extLst>
                <a:ext uri="{FF2B5EF4-FFF2-40B4-BE49-F238E27FC236}">
                  <a16:creationId xmlns:a16="http://schemas.microsoft.com/office/drawing/2014/main" id="{64FA3305-E835-4F27-8946-30FDA06D4DD3}"/>
                </a:ext>
              </a:extLst>
            </p:cNvPr>
            <p:cNvSpPr/>
            <p:nvPr/>
          </p:nvSpPr>
          <p:spPr bwMode="auto">
            <a:xfrm>
              <a:off x="3835560" y="2156308"/>
              <a:ext cx="288000" cy="288000"/>
            </a:xfrm>
            <a:prstGeom prst="ellipse">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1"/>
                  </a:solidFill>
                  <a:effectLst/>
                  <a:latin typeface="Trebuchet MS" pitchFamily="34" charset="0"/>
                </a:rPr>
                <a:t>2</a:t>
              </a:r>
            </a:p>
          </p:txBody>
        </p:sp>
        <p:sp>
          <p:nvSpPr>
            <p:cNvPr id="36" name="Ellipse 21">
              <a:extLst>
                <a:ext uri="{FF2B5EF4-FFF2-40B4-BE49-F238E27FC236}">
                  <a16:creationId xmlns:a16="http://schemas.microsoft.com/office/drawing/2014/main" id="{0CFD5E3F-150D-4F6E-8916-6EE3EDA6DAEA}"/>
                </a:ext>
              </a:extLst>
            </p:cNvPr>
            <p:cNvSpPr/>
            <p:nvPr/>
          </p:nvSpPr>
          <p:spPr bwMode="auto">
            <a:xfrm>
              <a:off x="5797347" y="2156308"/>
              <a:ext cx="288000" cy="288000"/>
            </a:xfrm>
            <a:prstGeom prst="ellipse">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1"/>
                  </a:solidFill>
                  <a:effectLst/>
                  <a:latin typeface="Trebuchet MS" pitchFamily="34" charset="0"/>
                </a:rPr>
                <a:t>3</a:t>
              </a:r>
            </a:p>
          </p:txBody>
        </p:sp>
        <p:sp>
          <p:nvSpPr>
            <p:cNvPr id="58" name="Rectangle 57">
              <a:extLst>
                <a:ext uri="{FF2B5EF4-FFF2-40B4-BE49-F238E27FC236}">
                  <a16:creationId xmlns:a16="http://schemas.microsoft.com/office/drawing/2014/main" id="{A4AE88CD-85B2-4898-A186-424A67B3BD56}"/>
                </a:ext>
              </a:extLst>
            </p:cNvPr>
            <p:cNvSpPr/>
            <p:nvPr/>
          </p:nvSpPr>
          <p:spPr bwMode="auto">
            <a:xfrm>
              <a:off x="3223248" y="2477159"/>
              <a:ext cx="1470942" cy="35147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900">
                  <a:latin typeface="Trebuchet MS" pitchFamily="34" charset="0"/>
                </a:rPr>
                <a:t>Creation of  adapted quality content</a:t>
              </a:r>
            </a:p>
          </p:txBody>
        </p:sp>
      </p:grpSp>
      <p:grpSp>
        <p:nvGrpSpPr>
          <p:cNvPr id="5" name="Group 4">
            <a:extLst>
              <a:ext uri="{FF2B5EF4-FFF2-40B4-BE49-F238E27FC236}">
                <a16:creationId xmlns:a16="http://schemas.microsoft.com/office/drawing/2014/main" id="{AA053624-301E-49BA-B7D3-AF69A66D3DC1}"/>
              </a:ext>
            </a:extLst>
          </p:cNvPr>
          <p:cNvGrpSpPr/>
          <p:nvPr/>
        </p:nvGrpSpPr>
        <p:grpSpPr>
          <a:xfrm>
            <a:off x="1432802" y="3567942"/>
            <a:ext cx="6398124" cy="1836000"/>
            <a:chOff x="1366870" y="3287376"/>
            <a:chExt cx="6398124" cy="1836000"/>
          </a:xfrm>
        </p:grpSpPr>
        <p:sp>
          <p:nvSpPr>
            <p:cNvPr id="7" name="Rectangle 6">
              <a:extLst>
                <a:ext uri="{FF2B5EF4-FFF2-40B4-BE49-F238E27FC236}">
                  <a16:creationId xmlns:a16="http://schemas.microsoft.com/office/drawing/2014/main" id="{63382622-5048-4C87-B8A0-B9F93A07B925}"/>
                </a:ext>
              </a:extLst>
            </p:cNvPr>
            <p:cNvSpPr/>
            <p:nvPr/>
          </p:nvSpPr>
          <p:spPr bwMode="auto">
            <a:xfrm>
              <a:off x="1366870" y="3287376"/>
              <a:ext cx="6398124" cy="1836000"/>
            </a:xfrm>
            <a:prstGeom prst="rect">
              <a:avLst/>
            </a:prstGeom>
            <a:solidFill>
              <a:schemeClr val="bg2">
                <a:lumMod val="20000"/>
                <a:lumOff val="80000"/>
              </a:schemeClr>
            </a:solidFill>
            <a:ln w="19050" cap="flat" cmpd="sng" algn="ctr">
              <a:noFill/>
              <a:prstDash val="dash"/>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algn="ctr"/>
              <a:r>
                <a:rPr lang="en-GB" sz="1200" b="1">
                  <a:solidFill>
                    <a:schemeClr val="tx2"/>
                  </a:solidFill>
                  <a:latin typeface="Trebuchet MS" pitchFamily="34" charset="0"/>
                </a:rPr>
                <a:t>Outbound Marketing</a:t>
              </a:r>
            </a:p>
          </p:txBody>
        </p:sp>
        <p:sp>
          <p:nvSpPr>
            <p:cNvPr id="61" name="Rectangle 60">
              <a:extLst>
                <a:ext uri="{FF2B5EF4-FFF2-40B4-BE49-F238E27FC236}">
                  <a16:creationId xmlns:a16="http://schemas.microsoft.com/office/drawing/2014/main" id="{7263C693-3234-43BE-9AF4-2543823AE0AB}"/>
                </a:ext>
              </a:extLst>
            </p:cNvPr>
            <p:cNvSpPr/>
            <p:nvPr/>
          </p:nvSpPr>
          <p:spPr bwMode="auto">
            <a:xfrm>
              <a:off x="1511214" y="3570422"/>
              <a:ext cx="6109436" cy="4496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000">
                  <a:latin typeface="Trebuchet MS" pitchFamily="34" charset="0"/>
                </a:rPr>
                <a:t>Most traditional form of marketing. The communication comes from the advertiser to the target</a:t>
              </a:r>
            </a:p>
          </p:txBody>
        </p:sp>
        <p:pic>
          <p:nvPicPr>
            <p:cNvPr id="63" name="Graphique 28">
              <a:extLst>
                <a:ext uri="{FF2B5EF4-FFF2-40B4-BE49-F238E27FC236}">
                  <a16:creationId xmlns:a16="http://schemas.microsoft.com/office/drawing/2014/main" id="{9A99780D-EDFE-4F04-8D86-3B5EC4A298B7}"/>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200"/>
            <a:stretch/>
          </p:blipFill>
          <p:spPr>
            <a:xfrm>
              <a:off x="2547244" y="4116100"/>
              <a:ext cx="348123" cy="360303"/>
            </a:xfrm>
            <a:prstGeom prst="rect">
              <a:avLst/>
            </a:prstGeom>
          </p:spPr>
        </p:pic>
        <p:sp>
          <p:nvSpPr>
            <p:cNvPr id="65" name="Rectangle 64">
              <a:extLst>
                <a:ext uri="{FF2B5EF4-FFF2-40B4-BE49-F238E27FC236}">
                  <a16:creationId xmlns:a16="http://schemas.microsoft.com/office/drawing/2014/main" id="{9ECC3938-69CE-492B-BFC2-D77DB310B551}"/>
                </a:ext>
              </a:extLst>
            </p:cNvPr>
            <p:cNvSpPr/>
            <p:nvPr/>
          </p:nvSpPr>
          <p:spPr bwMode="auto">
            <a:xfrm>
              <a:off x="2259890" y="4421777"/>
              <a:ext cx="932090" cy="46349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itchFamily="34" charset="0"/>
                </a:rPr>
                <a:t>Personalized message</a:t>
              </a:r>
            </a:p>
          </p:txBody>
        </p:sp>
        <p:sp>
          <p:nvSpPr>
            <p:cNvPr id="69" name="Rectangle 68">
              <a:extLst>
                <a:ext uri="{FF2B5EF4-FFF2-40B4-BE49-F238E27FC236}">
                  <a16:creationId xmlns:a16="http://schemas.microsoft.com/office/drawing/2014/main" id="{A4C1B0B8-4876-41B2-8658-A14FA87C0CAB}"/>
                </a:ext>
              </a:extLst>
            </p:cNvPr>
            <p:cNvSpPr/>
            <p:nvPr/>
          </p:nvSpPr>
          <p:spPr bwMode="auto">
            <a:xfrm>
              <a:off x="3012727" y="4410525"/>
              <a:ext cx="1018084" cy="46349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itchFamily="34" charset="0"/>
                </a:rPr>
                <a:t>Aim at an immediate answer</a:t>
              </a:r>
            </a:p>
          </p:txBody>
        </p:sp>
        <p:pic>
          <p:nvPicPr>
            <p:cNvPr id="71" name="Graphique 35">
              <a:extLst>
                <a:ext uri="{FF2B5EF4-FFF2-40B4-BE49-F238E27FC236}">
                  <a16:creationId xmlns:a16="http://schemas.microsoft.com/office/drawing/2014/main" id="{D6E2BAAC-887A-4190-A94B-E0E82883FE06}"/>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r="-1871" b="28447"/>
            <a:stretch/>
          </p:blipFill>
          <p:spPr>
            <a:xfrm>
              <a:off x="3336331" y="4113192"/>
              <a:ext cx="374874" cy="329133"/>
            </a:xfrm>
            <a:prstGeom prst="rect">
              <a:avLst/>
            </a:prstGeom>
          </p:spPr>
        </p:pic>
        <p:sp>
          <p:nvSpPr>
            <p:cNvPr id="67" name="Rectangle 66">
              <a:extLst>
                <a:ext uri="{FF2B5EF4-FFF2-40B4-BE49-F238E27FC236}">
                  <a16:creationId xmlns:a16="http://schemas.microsoft.com/office/drawing/2014/main" id="{3DD9FB98-72B9-44EC-9663-2CB648C1F035}"/>
                </a:ext>
              </a:extLst>
            </p:cNvPr>
            <p:cNvSpPr/>
            <p:nvPr/>
          </p:nvSpPr>
          <p:spPr bwMode="auto">
            <a:xfrm>
              <a:off x="1470617" y="4421777"/>
              <a:ext cx="948618" cy="46349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itchFamily="34" charset="0"/>
                </a:rPr>
                <a:t>Data-based targeting</a:t>
              </a:r>
            </a:p>
          </p:txBody>
        </p:sp>
        <p:pic>
          <p:nvPicPr>
            <p:cNvPr id="73" name="Graphique 18" descr="Base de données">
              <a:extLst>
                <a:ext uri="{FF2B5EF4-FFF2-40B4-BE49-F238E27FC236}">
                  <a16:creationId xmlns:a16="http://schemas.microsoft.com/office/drawing/2014/main" id="{CA4C2979-EC9F-486A-BEBE-98210AB198E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785880" y="4136052"/>
              <a:ext cx="320400" cy="320400"/>
            </a:xfrm>
            <a:prstGeom prst="rect">
              <a:avLst/>
            </a:prstGeom>
          </p:spPr>
        </p:pic>
        <p:sp>
          <p:nvSpPr>
            <p:cNvPr id="97" name="Rectangle 96">
              <a:extLst>
                <a:ext uri="{FF2B5EF4-FFF2-40B4-BE49-F238E27FC236}">
                  <a16:creationId xmlns:a16="http://schemas.microsoft.com/office/drawing/2014/main" id="{CAC8F506-C2E7-4CF0-840C-B0C658CEF717}"/>
                </a:ext>
              </a:extLst>
            </p:cNvPr>
            <p:cNvSpPr/>
            <p:nvPr/>
          </p:nvSpPr>
          <p:spPr bwMode="auto">
            <a:xfrm>
              <a:off x="1975209" y="3930403"/>
              <a:ext cx="1481126" cy="17040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itchFamily="34" charset="0"/>
                </a:rPr>
                <a:t>Direct marketing</a:t>
              </a:r>
              <a:endParaRPr lang="en-GB" sz="1000">
                <a:latin typeface="Trebuchet MS" pitchFamily="34" charset="0"/>
              </a:endParaRPr>
            </a:p>
          </p:txBody>
        </p:sp>
        <p:sp>
          <p:nvSpPr>
            <p:cNvPr id="98" name="Rectangle 97">
              <a:extLst>
                <a:ext uri="{FF2B5EF4-FFF2-40B4-BE49-F238E27FC236}">
                  <a16:creationId xmlns:a16="http://schemas.microsoft.com/office/drawing/2014/main" id="{230BDA7C-1B27-4ECE-92C2-6AFD4CBD87B1}"/>
                </a:ext>
              </a:extLst>
            </p:cNvPr>
            <p:cNvSpPr/>
            <p:nvPr/>
          </p:nvSpPr>
          <p:spPr bwMode="auto">
            <a:xfrm>
              <a:off x="5632122" y="3930403"/>
              <a:ext cx="1481126" cy="17040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itchFamily="34" charset="0"/>
                </a:rPr>
                <a:t>General advertising</a:t>
              </a:r>
              <a:endParaRPr lang="en-GB" sz="1000">
                <a:latin typeface="Trebuchet MS" pitchFamily="34" charset="0"/>
              </a:endParaRPr>
            </a:p>
          </p:txBody>
        </p:sp>
        <p:pic>
          <p:nvPicPr>
            <p:cNvPr id="100" name="Graphique 52">
              <a:extLst>
                <a:ext uri="{FF2B5EF4-FFF2-40B4-BE49-F238E27FC236}">
                  <a16:creationId xmlns:a16="http://schemas.microsoft.com/office/drawing/2014/main" id="{142C0EAB-7C37-486A-A334-2CFFBFA2D3AC}"/>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r="842" b="18898"/>
            <a:stretch/>
          </p:blipFill>
          <p:spPr>
            <a:xfrm>
              <a:off x="6209143" y="4150861"/>
              <a:ext cx="325690" cy="332978"/>
            </a:xfrm>
            <a:prstGeom prst="rect">
              <a:avLst/>
            </a:prstGeom>
          </p:spPr>
        </p:pic>
        <p:pic>
          <p:nvPicPr>
            <p:cNvPr id="102" name="Graphique 54">
              <a:extLst>
                <a:ext uri="{FF2B5EF4-FFF2-40B4-BE49-F238E27FC236}">
                  <a16:creationId xmlns:a16="http://schemas.microsoft.com/office/drawing/2014/main" id="{8E60BEC6-CC5E-4918-8C7C-DE82DCBD2B3D}"/>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t="-1" r="2479" b="11682"/>
            <a:stretch/>
          </p:blipFill>
          <p:spPr>
            <a:xfrm>
              <a:off x="5470933" y="4159555"/>
              <a:ext cx="297246" cy="336492"/>
            </a:xfrm>
            <a:prstGeom prst="rect">
              <a:avLst/>
            </a:prstGeom>
          </p:spPr>
        </p:pic>
        <p:pic>
          <p:nvPicPr>
            <p:cNvPr id="104" name="Graphique 69">
              <a:extLst>
                <a:ext uri="{FF2B5EF4-FFF2-40B4-BE49-F238E27FC236}">
                  <a16:creationId xmlns:a16="http://schemas.microsoft.com/office/drawing/2014/main" id="{AD3E0982-FC6F-4794-BF18-7CA0ADF77467}"/>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r="9921" b="23763"/>
            <a:stretch/>
          </p:blipFill>
          <p:spPr>
            <a:xfrm>
              <a:off x="6975799" y="4119898"/>
              <a:ext cx="333396" cy="352706"/>
            </a:xfrm>
            <a:prstGeom prst="rect">
              <a:avLst/>
            </a:prstGeom>
          </p:spPr>
        </p:pic>
        <p:sp>
          <p:nvSpPr>
            <p:cNvPr id="106" name="Rectangle 105">
              <a:extLst>
                <a:ext uri="{FF2B5EF4-FFF2-40B4-BE49-F238E27FC236}">
                  <a16:creationId xmlns:a16="http://schemas.microsoft.com/office/drawing/2014/main" id="{5F69FA45-723A-4CBF-AB9D-9B447DC9E3E4}"/>
                </a:ext>
              </a:extLst>
            </p:cNvPr>
            <p:cNvSpPr/>
            <p:nvPr/>
          </p:nvSpPr>
          <p:spPr bwMode="auto">
            <a:xfrm>
              <a:off x="5983971" y="4446498"/>
              <a:ext cx="766472" cy="46349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itchFamily="34" charset="0"/>
                </a:rPr>
                <a:t>Universal</a:t>
              </a:r>
            </a:p>
            <a:p>
              <a:pPr algn="ctr"/>
              <a:r>
                <a:rPr lang="en-GB" sz="1000">
                  <a:solidFill>
                    <a:schemeClr val="tx2"/>
                  </a:solidFill>
                  <a:latin typeface="Trebuchet MS" pitchFamily="34" charset="0"/>
                </a:rPr>
                <a:t> message</a:t>
              </a:r>
            </a:p>
          </p:txBody>
        </p:sp>
        <p:sp>
          <p:nvSpPr>
            <p:cNvPr id="108" name="Rectangle 107">
              <a:extLst>
                <a:ext uri="{FF2B5EF4-FFF2-40B4-BE49-F238E27FC236}">
                  <a16:creationId xmlns:a16="http://schemas.microsoft.com/office/drawing/2014/main" id="{25D15AB4-82EF-4F33-BFD0-A924BEDB2089}"/>
                </a:ext>
              </a:extLst>
            </p:cNvPr>
            <p:cNvSpPr/>
            <p:nvPr/>
          </p:nvSpPr>
          <p:spPr bwMode="auto">
            <a:xfrm>
              <a:off x="5239949" y="4446538"/>
              <a:ext cx="766472" cy="46349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itchFamily="34" charset="0"/>
                </a:rPr>
                <a:t>General </a:t>
              </a:r>
            </a:p>
            <a:p>
              <a:pPr algn="ctr"/>
              <a:r>
                <a:rPr lang="en-GB" sz="1000">
                  <a:solidFill>
                    <a:schemeClr val="tx2"/>
                  </a:solidFill>
                  <a:latin typeface="Trebuchet MS" pitchFamily="34" charset="0"/>
                </a:rPr>
                <a:t>targeting</a:t>
              </a:r>
            </a:p>
          </p:txBody>
        </p:sp>
        <p:sp>
          <p:nvSpPr>
            <p:cNvPr id="110" name="Rectangle 109">
              <a:extLst>
                <a:ext uri="{FF2B5EF4-FFF2-40B4-BE49-F238E27FC236}">
                  <a16:creationId xmlns:a16="http://schemas.microsoft.com/office/drawing/2014/main" id="{C98DAE98-60B5-441C-B9BC-762FCCB05C48}"/>
                </a:ext>
              </a:extLst>
            </p:cNvPr>
            <p:cNvSpPr/>
            <p:nvPr/>
          </p:nvSpPr>
          <p:spPr bwMode="auto">
            <a:xfrm>
              <a:off x="6564561" y="4451810"/>
              <a:ext cx="1116424" cy="46349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itchFamily="34" charset="0"/>
                </a:rPr>
                <a:t>Aim at mid- or long-term impact</a:t>
              </a:r>
            </a:p>
          </p:txBody>
        </p:sp>
        <p:sp>
          <p:nvSpPr>
            <p:cNvPr id="111" name="Rectangle 110">
              <a:extLst>
                <a:ext uri="{FF2B5EF4-FFF2-40B4-BE49-F238E27FC236}">
                  <a16:creationId xmlns:a16="http://schemas.microsoft.com/office/drawing/2014/main" id="{19E62E77-A593-47D2-8166-19AF291B7F7D}"/>
                </a:ext>
              </a:extLst>
            </p:cNvPr>
            <p:cNvSpPr/>
            <p:nvPr/>
          </p:nvSpPr>
          <p:spPr bwMode="auto">
            <a:xfrm>
              <a:off x="4152169" y="4270913"/>
              <a:ext cx="877800" cy="17040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itchFamily="34" charset="0"/>
                </a:rPr>
                <a:t>Or/and</a:t>
              </a:r>
            </a:p>
          </p:txBody>
        </p:sp>
      </p:grpSp>
      <p:sp>
        <p:nvSpPr>
          <p:cNvPr id="120" name="Flèche : bas 137">
            <a:extLst>
              <a:ext uri="{FF2B5EF4-FFF2-40B4-BE49-F238E27FC236}">
                <a16:creationId xmlns:a16="http://schemas.microsoft.com/office/drawing/2014/main" id="{072BBBDF-E2D1-45C0-8CC0-FDE87C29A5E6}"/>
              </a:ext>
            </a:extLst>
          </p:cNvPr>
          <p:cNvSpPr/>
          <p:nvPr/>
        </p:nvSpPr>
        <p:spPr bwMode="auto">
          <a:xfrm>
            <a:off x="2802161" y="3070558"/>
            <a:ext cx="431224" cy="765139"/>
          </a:xfrm>
          <a:prstGeom prst="downArrow">
            <a:avLst/>
          </a:prstGeom>
          <a:solidFill>
            <a:schemeClr val="bg2">
              <a:lumMod val="20000"/>
              <a:lumOff val="80000"/>
            </a:schemeClr>
          </a:solidFill>
          <a:ln w="190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2" name="Rectangle 121">
            <a:extLst>
              <a:ext uri="{FF2B5EF4-FFF2-40B4-BE49-F238E27FC236}">
                <a16:creationId xmlns:a16="http://schemas.microsoft.com/office/drawing/2014/main" id="{3B74F160-00AF-46C0-BE9A-C37F5E6ECAEF}"/>
              </a:ext>
            </a:extLst>
          </p:cNvPr>
          <p:cNvSpPr/>
          <p:nvPr/>
        </p:nvSpPr>
        <p:spPr bwMode="auto">
          <a:xfrm>
            <a:off x="1405993" y="3226838"/>
            <a:ext cx="1693799" cy="19663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anose="020B0603020202020204" pitchFamily="34" charset="0"/>
              </a:rPr>
              <a:t>Database building or enrichment thanks to website visits</a:t>
            </a:r>
          </a:p>
        </p:txBody>
      </p:sp>
      <p:sp>
        <p:nvSpPr>
          <p:cNvPr id="55" name="Rectangle 54">
            <a:extLst>
              <a:ext uri="{FF2B5EF4-FFF2-40B4-BE49-F238E27FC236}">
                <a16:creationId xmlns:a16="http://schemas.microsoft.com/office/drawing/2014/main" id="{A911B27E-6611-46E8-A7CB-8EA79B925723}"/>
              </a:ext>
            </a:extLst>
          </p:cNvPr>
          <p:cNvSpPr/>
          <p:nvPr/>
        </p:nvSpPr>
        <p:spPr bwMode="auto">
          <a:xfrm>
            <a:off x="8038712" y="3032652"/>
            <a:ext cx="1694552" cy="1103757"/>
          </a:xfrm>
          <a:prstGeom prst="rect">
            <a:avLst/>
          </a:prstGeom>
          <a:solidFill>
            <a:schemeClr val="bg2">
              <a:lumMod val="20000"/>
              <a:lumOff val="80000"/>
            </a:schemeClr>
          </a:solidFill>
          <a:ln w="12700" cap="flat" cmpd="sng" algn="ctr">
            <a:solidFill>
              <a:schemeClr val="tx2"/>
            </a:solidFill>
            <a:prstDash val="dash"/>
            <a:round/>
            <a:headEnd type="none" w="med" len="med"/>
            <a:tailEnd type="none" w="med" len="med"/>
          </a:ln>
          <a:effectLst/>
        </p:spPr>
        <p:txBody>
          <a:bodyPr vert="horz" wrap="square" lIns="0" tIns="90000" rIns="0" bIns="45720" numCol="1" rtlCol="0" anchor="t" anchorCtr="0" compatLnSpc="1">
            <a:prstTxWarp prst="textNoShape">
              <a:avLst/>
            </a:prstTxWarp>
          </a:bodyPr>
          <a:lstStyle/>
          <a:p>
            <a:pPr algn="ctr"/>
            <a:r>
              <a:rPr lang="en-GB" sz="1000" b="1">
                <a:solidFill>
                  <a:schemeClr val="tx2"/>
                </a:solidFill>
                <a:latin typeface="Trebuchet MS" pitchFamily="34" charset="0"/>
              </a:rPr>
              <a:t>Marketing automation </a:t>
            </a:r>
          </a:p>
          <a:p>
            <a:pPr algn="ctr"/>
            <a:endParaRPr lang="en-GB" sz="1000" b="1">
              <a:solidFill>
                <a:schemeClr val="tx2"/>
              </a:solidFill>
              <a:latin typeface="Trebuchet MS" pitchFamily="34" charset="0"/>
            </a:endParaRPr>
          </a:p>
          <a:p>
            <a:pPr algn="ctr">
              <a:lnSpc>
                <a:spcPts val="1000"/>
              </a:lnSpc>
            </a:pPr>
            <a:r>
              <a:rPr lang="en-GB" sz="1000">
                <a:latin typeface="Trebuchet MS" panose="020B0603020202020204" pitchFamily="34" charset="0"/>
              </a:rPr>
              <a:t>Comprises all the processes or utilizing technology to automate and streamline marketing activities</a:t>
            </a:r>
          </a:p>
        </p:txBody>
      </p:sp>
      <p:sp>
        <p:nvSpPr>
          <p:cNvPr id="56" name="Rectangle 55">
            <a:extLst>
              <a:ext uri="{FF2B5EF4-FFF2-40B4-BE49-F238E27FC236}">
                <a16:creationId xmlns:a16="http://schemas.microsoft.com/office/drawing/2014/main" id="{66034046-10D4-47E7-AD30-D5760DCF0C55}"/>
              </a:ext>
            </a:extLst>
          </p:cNvPr>
          <p:cNvSpPr/>
          <p:nvPr/>
        </p:nvSpPr>
        <p:spPr bwMode="auto">
          <a:xfrm>
            <a:off x="8038712" y="1842628"/>
            <a:ext cx="1694552" cy="1103757"/>
          </a:xfrm>
          <a:prstGeom prst="rect">
            <a:avLst/>
          </a:prstGeom>
          <a:solidFill>
            <a:schemeClr val="bg2">
              <a:lumMod val="20000"/>
              <a:lumOff val="80000"/>
            </a:schemeClr>
          </a:solidFill>
          <a:ln w="12700" cap="flat" cmpd="sng" algn="ctr">
            <a:solidFill>
              <a:schemeClr val="tx2"/>
            </a:solidFill>
            <a:prstDash val="dash"/>
            <a:round/>
            <a:headEnd type="none" w="med" len="med"/>
            <a:tailEnd type="none" w="med" len="med"/>
          </a:ln>
          <a:effectLst/>
        </p:spPr>
        <p:txBody>
          <a:bodyPr vert="horz" wrap="square" lIns="0" tIns="90000" rIns="0" bIns="45720" numCol="1" rtlCol="0" anchor="t" anchorCtr="0" compatLnSpc="1">
            <a:prstTxWarp prst="textNoShape">
              <a:avLst/>
            </a:prstTxWarp>
          </a:bodyPr>
          <a:lstStyle/>
          <a:p>
            <a:pPr algn="ctr"/>
            <a:r>
              <a:rPr lang="en-GB" sz="1000" b="1">
                <a:solidFill>
                  <a:schemeClr val="tx2"/>
                </a:solidFill>
                <a:latin typeface="Trebuchet MS" pitchFamily="34" charset="0"/>
              </a:rPr>
              <a:t>Marketing Analytics</a:t>
            </a:r>
          </a:p>
          <a:p>
            <a:pPr algn="ctr"/>
            <a:endParaRPr lang="en-GB" sz="1000" b="1">
              <a:solidFill>
                <a:schemeClr val="tx2"/>
              </a:solidFill>
              <a:latin typeface="Trebuchet MS" pitchFamily="34" charset="0"/>
            </a:endParaRPr>
          </a:p>
          <a:p>
            <a:pPr algn="ctr">
              <a:lnSpc>
                <a:spcPts val="1000"/>
              </a:lnSpc>
            </a:pPr>
            <a:r>
              <a:rPr lang="en-GB" sz="1000">
                <a:latin typeface="Trebuchet MS" panose="020B0603020202020204" pitchFamily="34" charset="0"/>
              </a:rPr>
              <a:t>Comprises all the processes and technologies to evaluate the success of marketing initiative</a:t>
            </a:r>
          </a:p>
        </p:txBody>
      </p:sp>
      <p:pic>
        <p:nvPicPr>
          <p:cNvPr id="12" name="Graphic 11">
            <a:extLst>
              <a:ext uri="{FF2B5EF4-FFF2-40B4-BE49-F238E27FC236}">
                <a16:creationId xmlns:a16="http://schemas.microsoft.com/office/drawing/2014/main" id="{5A47801D-3846-4658-B6F3-7D2F83D93A22}"/>
              </a:ext>
            </a:extLst>
          </p:cNvPr>
          <p:cNvPicPr>
            <a:picLocks noChangeAspect="1"/>
          </p:cNvPicPr>
          <p:nvPr/>
        </p:nvPicPr>
        <p:blipFill rotWithShape="1">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b="16250"/>
          <a:stretch/>
        </p:blipFill>
        <p:spPr>
          <a:xfrm>
            <a:off x="3612085" y="1576579"/>
            <a:ext cx="284384" cy="297714"/>
          </a:xfrm>
          <a:prstGeom prst="rect">
            <a:avLst/>
          </a:prstGeom>
        </p:spPr>
      </p:pic>
      <p:pic>
        <p:nvPicPr>
          <p:cNvPr id="14" name="Graphic 13">
            <a:extLst>
              <a:ext uri="{FF2B5EF4-FFF2-40B4-BE49-F238E27FC236}">
                <a16:creationId xmlns:a16="http://schemas.microsoft.com/office/drawing/2014/main" id="{BBD9B658-73A1-4633-B3BB-6BAC5D2D2BBC}"/>
              </a:ext>
            </a:extLst>
          </p:cNvPr>
          <p:cNvPicPr>
            <a:picLocks noChangeAspect="1"/>
          </p:cNvPicPr>
          <p:nvPr/>
        </p:nvPicPr>
        <p:blipFill rotWithShape="1">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b="22345"/>
          <a:stretch/>
        </p:blipFill>
        <p:spPr>
          <a:xfrm>
            <a:off x="3632896" y="3637143"/>
            <a:ext cx="248315" cy="242106"/>
          </a:xfrm>
          <a:prstGeom prst="rect">
            <a:avLst/>
          </a:prstGeom>
        </p:spPr>
      </p:pic>
      <p:pic>
        <p:nvPicPr>
          <p:cNvPr id="17" name="Graphic 16">
            <a:extLst>
              <a:ext uri="{FF2B5EF4-FFF2-40B4-BE49-F238E27FC236}">
                <a16:creationId xmlns:a16="http://schemas.microsoft.com/office/drawing/2014/main" id="{003E5264-0832-4DCA-9526-AE5D242B88EB}"/>
              </a:ext>
            </a:extLst>
          </p:cNvPr>
          <p:cNvPicPr>
            <a:picLocks noChangeAspect="1"/>
          </p:cNvPicPr>
          <p:nvPr/>
        </p:nvPicPr>
        <p:blipFill rotWithShape="1">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rcRect l="1" r="-1" b="16241"/>
          <a:stretch/>
        </p:blipFill>
        <p:spPr>
          <a:xfrm>
            <a:off x="8410148" y="1583959"/>
            <a:ext cx="197641" cy="227626"/>
          </a:xfrm>
          <a:prstGeom prst="rect">
            <a:avLst/>
          </a:prstGeom>
        </p:spPr>
      </p:pic>
      <p:cxnSp>
        <p:nvCxnSpPr>
          <p:cNvPr id="13" name="Connecteur droit 4">
            <a:extLst>
              <a:ext uri="{FF2B5EF4-FFF2-40B4-BE49-F238E27FC236}">
                <a16:creationId xmlns:a16="http://schemas.microsoft.com/office/drawing/2014/main" id="{C166BAF3-3C16-4C42-ACD9-0D6BA46DB457}"/>
              </a:ext>
            </a:extLst>
          </p:cNvPr>
          <p:cNvCxnSpPr>
            <a:cxnSpLocks/>
          </p:cNvCxnSpPr>
          <p:nvPr/>
        </p:nvCxnSpPr>
        <p:spPr bwMode="auto">
          <a:xfrm>
            <a:off x="153380" y="1276433"/>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5" name="ZoneTexte 6">
            <a:extLst>
              <a:ext uri="{FF2B5EF4-FFF2-40B4-BE49-F238E27FC236}">
                <a16:creationId xmlns:a16="http://schemas.microsoft.com/office/drawing/2014/main" id="{62D81834-1484-4AE7-A24A-88176FE319B3}"/>
              </a:ext>
            </a:extLst>
          </p:cNvPr>
          <p:cNvSpPr txBox="1"/>
          <p:nvPr/>
        </p:nvSpPr>
        <p:spPr>
          <a:xfrm>
            <a:off x="2753030" y="1017030"/>
            <a:ext cx="4515367" cy="518808"/>
          </a:xfrm>
          <a:prstGeom prst="rect">
            <a:avLst/>
          </a:prstGeom>
          <a:solidFill>
            <a:schemeClr val="bg1"/>
          </a:solidFill>
          <a:ln>
            <a:noFill/>
          </a:ln>
        </p:spPr>
        <p:txBody>
          <a:bodyPr wrap="square" rtlCol="0" anchor="ctr">
            <a:noAutofit/>
          </a:bodyPr>
          <a:lstStyle/>
          <a:p>
            <a:pPr algn="ctr"/>
            <a:r>
              <a:rPr lang="en-GB" sz="1100">
                <a:latin typeface="Trebuchet MS" panose="020B0603020202020204" pitchFamily="34" charset="0"/>
              </a:rPr>
              <a:t>Simplified vision of the B2B Marketing structure</a:t>
            </a:r>
          </a:p>
        </p:txBody>
      </p:sp>
      <p:sp>
        <p:nvSpPr>
          <p:cNvPr id="57" name="Rectangle 56">
            <a:extLst>
              <a:ext uri="{FF2B5EF4-FFF2-40B4-BE49-F238E27FC236}">
                <a16:creationId xmlns:a16="http://schemas.microsoft.com/office/drawing/2014/main" id="{A4C6C939-E772-4F8F-B059-98312F715A12}"/>
              </a:ext>
            </a:extLst>
          </p:cNvPr>
          <p:cNvSpPr/>
          <p:nvPr/>
        </p:nvSpPr>
        <p:spPr bwMode="auto">
          <a:xfrm>
            <a:off x="466766" y="5498007"/>
            <a:ext cx="8852332" cy="95082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61950" marR="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2"/>
                </a:solidFill>
                <a:effectLst/>
                <a:latin typeface="Trebuchet MS" panose="020B0603020202020204" pitchFamily="34" charset="0"/>
              </a:rPr>
              <a:t>BD&amp;A players</a:t>
            </a:r>
            <a:r>
              <a:rPr kumimoji="0" lang="en-GB" sz="1050" b="0" i="0" u="none" strike="noStrike" cap="none" normalizeH="0" baseline="0">
                <a:ln>
                  <a:noFill/>
                </a:ln>
                <a:solidFill>
                  <a:schemeClr val="tx1"/>
                </a:solidFill>
                <a:effectLst/>
                <a:latin typeface="Trebuchet MS" panose="020B0603020202020204" pitchFamily="34" charset="0"/>
              </a:rPr>
              <a:t> could leverage </a:t>
            </a:r>
            <a:r>
              <a:rPr kumimoji="0" lang="en-GB" sz="1050" b="0" i="0" u="none" strike="noStrike" cap="none" normalizeH="0" baseline="0">
                <a:ln>
                  <a:noFill/>
                </a:ln>
                <a:solidFill>
                  <a:schemeClr val="tx2"/>
                </a:solidFill>
                <a:effectLst/>
                <a:latin typeface="Trebuchet MS" panose="020B0603020202020204" pitchFamily="34" charset="0"/>
              </a:rPr>
              <a:t>inbound</a:t>
            </a:r>
            <a:r>
              <a:rPr kumimoji="0" lang="en-GB" sz="1050" b="0" i="0" u="none" strike="noStrike" cap="none" normalizeH="0" baseline="0">
                <a:ln>
                  <a:noFill/>
                </a:ln>
                <a:solidFill>
                  <a:schemeClr val="tx1"/>
                </a:solidFill>
                <a:effectLst/>
                <a:latin typeface="Trebuchet MS" panose="020B0603020202020204" pitchFamily="34" charset="0"/>
              </a:rPr>
              <a:t> </a:t>
            </a:r>
            <a:r>
              <a:rPr kumimoji="0" lang="en-GB" sz="1050" b="0" i="0" u="none" strike="noStrike" cap="none" normalizeH="0" baseline="0">
                <a:ln>
                  <a:noFill/>
                </a:ln>
                <a:solidFill>
                  <a:schemeClr val="tx2"/>
                </a:solidFill>
                <a:effectLst/>
                <a:latin typeface="Trebuchet MS" panose="020B0603020202020204" pitchFamily="34" charset="0"/>
              </a:rPr>
              <a:t>marketing</a:t>
            </a:r>
            <a:r>
              <a:rPr kumimoji="0" lang="en-GB" sz="1050" b="0" i="0" u="none" strike="noStrike" cap="none" normalizeH="0" baseline="0">
                <a:ln>
                  <a:noFill/>
                </a:ln>
                <a:solidFill>
                  <a:schemeClr val="tx1"/>
                </a:solidFill>
                <a:effectLst/>
                <a:latin typeface="Trebuchet MS" panose="020B0603020202020204" pitchFamily="34" charset="0"/>
              </a:rPr>
              <a:t> (</a:t>
            </a:r>
            <a:r>
              <a:rPr lang="en-GB" sz="1050">
                <a:latin typeface="Trebuchet MS" panose="020B0603020202020204" pitchFamily="34" charset="0"/>
              </a:rPr>
              <a:t>e.g. webinar, articles…) </a:t>
            </a:r>
            <a:r>
              <a:rPr kumimoji="0" lang="en-GB" sz="1050" b="0" i="0" u="none" strike="noStrike" cap="none" normalizeH="0" baseline="0">
                <a:ln>
                  <a:noFill/>
                </a:ln>
                <a:solidFill>
                  <a:schemeClr val="tx1"/>
                </a:solidFill>
                <a:effectLst/>
                <a:latin typeface="Trebuchet MS" panose="020B0603020202020204" pitchFamily="34" charset="0"/>
              </a:rPr>
              <a:t>to </a:t>
            </a:r>
            <a:r>
              <a:rPr kumimoji="0" lang="en-GB" sz="1050" b="0" i="0" u="none" strike="noStrike" cap="none" normalizeH="0" baseline="0">
                <a:ln>
                  <a:noFill/>
                </a:ln>
                <a:solidFill>
                  <a:schemeClr val="tx2"/>
                </a:solidFill>
                <a:effectLst/>
                <a:latin typeface="Trebuchet MS" panose="020B0603020202020204" pitchFamily="34" charset="0"/>
              </a:rPr>
              <a:t>develop</a:t>
            </a:r>
            <a:r>
              <a:rPr kumimoji="0" lang="en-GB" sz="1050" b="0" i="0" u="none" strike="noStrike" cap="none" normalizeH="0" baseline="0">
                <a:ln>
                  <a:noFill/>
                </a:ln>
                <a:solidFill>
                  <a:schemeClr val="tx1"/>
                </a:solidFill>
                <a:effectLst/>
                <a:latin typeface="Trebuchet MS" panose="020B0603020202020204" pitchFamily="34" charset="0"/>
              </a:rPr>
              <a:t> and confirm their </a:t>
            </a:r>
            <a:r>
              <a:rPr kumimoji="0" lang="en-GB" sz="1050" b="0" i="0" u="none" strike="noStrike" cap="none" normalizeH="0" baseline="0">
                <a:ln>
                  <a:noFill/>
                </a:ln>
                <a:solidFill>
                  <a:schemeClr val="tx2"/>
                </a:solidFill>
                <a:effectLst/>
                <a:latin typeface="Trebuchet MS" panose="020B0603020202020204" pitchFamily="34" charset="0"/>
              </a:rPr>
              <a:t>brand</a:t>
            </a:r>
            <a:r>
              <a:rPr kumimoji="0" lang="en-GB" sz="1050" b="0" i="0" u="none" strike="noStrike" cap="none" normalizeH="0" baseline="0">
                <a:ln>
                  <a:noFill/>
                </a:ln>
                <a:solidFill>
                  <a:schemeClr val="tx1"/>
                </a:solidFill>
                <a:effectLst/>
                <a:latin typeface="Trebuchet MS" panose="020B0603020202020204" pitchFamily="34" charset="0"/>
              </a:rPr>
              <a:t> </a:t>
            </a:r>
            <a:r>
              <a:rPr kumimoji="0" lang="en-GB" sz="1050" b="0" i="0" u="none" strike="noStrike" cap="none" normalizeH="0" baseline="0">
                <a:ln>
                  <a:noFill/>
                </a:ln>
                <a:solidFill>
                  <a:schemeClr val="tx2"/>
                </a:solidFill>
                <a:effectLst/>
                <a:latin typeface="Trebuchet MS" panose="020B0603020202020204" pitchFamily="34" charset="0"/>
              </a:rPr>
              <a:t>equity</a:t>
            </a:r>
            <a:r>
              <a:rPr kumimoji="0" lang="en-GB" sz="1050" b="0" i="0" u="none" strike="noStrike" cap="none" normalizeH="0" baseline="0">
                <a:ln>
                  <a:noFill/>
                </a:ln>
                <a:solidFill>
                  <a:schemeClr val="tx1"/>
                </a:solidFill>
                <a:effectLst/>
                <a:latin typeface="Trebuchet MS" panose="020B0603020202020204" pitchFamily="34" charset="0"/>
              </a:rPr>
              <a:t> and position as opinion leaders but </a:t>
            </a:r>
            <a:r>
              <a:rPr kumimoji="0" lang="en-GB" sz="1050" b="0" i="0" u="none" strike="noStrike" cap="none" normalizeH="0" baseline="0">
                <a:ln>
                  <a:noFill/>
                </a:ln>
                <a:solidFill>
                  <a:schemeClr val="tx2"/>
                </a:solidFill>
                <a:effectLst/>
                <a:latin typeface="Trebuchet MS" panose="020B0603020202020204" pitchFamily="34" charset="0"/>
              </a:rPr>
              <a:t>focus</a:t>
            </a:r>
            <a:r>
              <a:rPr kumimoji="0" lang="en-GB" sz="1050" b="0" i="0" u="none" strike="noStrike" cap="none" normalizeH="0" baseline="0">
                <a:ln>
                  <a:noFill/>
                </a:ln>
                <a:solidFill>
                  <a:schemeClr val="tx1"/>
                </a:solidFill>
                <a:effectLst/>
                <a:latin typeface="Trebuchet MS" panose="020B0603020202020204" pitchFamily="34" charset="0"/>
              </a:rPr>
              <a:t> on </a:t>
            </a:r>
            <a:r>
              <a:rPr kumimoji="0" lang="en-GB" sz="1050" b="0" i="0" u="none" strike="noStrike" cap="none" normalizeH="0" baseline="0">
                <a:ln>
                  <a:noFill/>
                </a:ln>
                <a:solidFill>
                  <a:schemeClr val="tx2"/>
                </a:solidFill>
                <a:effectLst/>
                <a:latin typeface="Trebuchet MS" panose="020B0603020202020204" pitchFamily="34" charset="0"/>
              </a:rPr>
              <a:t>outbound</a:t>
            </a:r>
            <a:r>
              <a:rPr kumimoji="0" lang="en-GB" sz="1050" b="0" i="0" u="none" strike="noStrike" cap="none" normalizeH="0" baseline="0">
                <a:ln>
                  <a:noFill/>
                </a:ln>
                <a:solidFill>
                  <a:schemeClr val="tx1"/>
                </a:solidFill>
                <a:effectLst/>
                <a:latin typeface="Trebuchet MS" panose="020B0603020202020204" pitchFamily="34" charset="0"/>
              </a:rPr>
              <a:t> </a:t>
            </a:r>
            <a:r>
              <a:rPr kumimoji="0" lang="en-GB" sz="1050" b="0" i="0" u="none" strike="noStrike" cap="none" normalizeH="0" baseline="0">
                <a:ln>
                  <a:noFill/>
                </a:ln>
                <a:solidFill>
                  <a:schemeClr val="tx2"/>
                </a:solidFill>
                <a:effectLst/>
                <a:latin typeface="Trebuchet MS" panose="020B0603020202020204" pitchFamily="34" charset="0"/>
              </a:rPr>
              <a:t>marketing</a:t>
            </a:r>
            <a:r>
              <a:rPr kumimoji="0" lang="en-GB" sz="1050" b="0" i="0" u="none" strike="noStrike" cap="none" normalizeH="0" baseline="0">
                <a:ln>
                  <a:noFill/>
                </a:ln>
                <a:solidFill>
                  <a:schemeClr val="tx1"/>
                </a:solidFill>
                <a:effectLst/>
                <a:latin typeface="Trebuchet MS" panose="020B0603020202020204" pitchFamily="34" charset="0"/>
              </a:rPr>
              <a:t> in the </a:t>
            </a:r>
            <a:r>
              <a:rPr kumimoji="0" lang="en-GB" sz="1050" b="0" i="0" u="none" strike="noStrike" cap="none" normalizeH="0" baseline="0">
                <a:ln>
                  <a:noFill/>
                </a:ln>
                <a:solidFill>
                  <a:schemeClr val="tx2"/>
                </a:solidFill>
                <a:effectLst/>
                <a:latin typeface="Trebuchet MS" panose="020B0603020202020204" pitchFamily="34" charset="0"/>
              </a:rPr>
              <a:t>solutions</a:t>
            </a:r>
            <a:r>
              <a:rPr kumimoji="0" lang="en-GB" sz="1050" b="0" i="0" u="none" strike="noStrike" cap="none" normalizeH="0" baseline="0">
                <a:ln>
                  <a:noFill/>
                </a:ln>
                <a:solidFill>
                  <a:schemeClr val="tx1"/>
                </a:solidFill>
                <a:effectLst/>
                <a:latin typeface="Trebuchet MS" panose="020B0603020202020204" pitchFamily="34" charset="0"/>
              </a:rPr>
              <a:t> they </a:t>
            </a:r>
            <a:r>
              <a:rPr kumimoji="0" lang="en-GB" sz="1050" b="0" i="0" u="none" strike="noStrike" cap="none" normalizeH="0" baseline="0">
                <a:ln>
                  <a:noFill/>
                </a:ln>
                <a:solidFill>
                  <a:schemeClr val="tx2"/>
                </a:solidFill>
                <a:effectLst/>
                <a:latin typeface="Trebuchet MS" panose="020B0603020202020204" pitchFamily="34" charset="0"/>
              </a:rPr>
              <a:t>propose</a:t>
            </a:r>
            <a:r>
              <a:rPr kumimoji="0" lang="en-GB" sz="1050" b="0" i="0" u="none" strike="noStrike" cap="none" normalizeH="0" baseline="0">
                <a:ln>
                  <a:noFill/>
                </a:ln>
                <a:solidFill>
                  <a:schemeClr val="tx1"/>
                </a:solidFill>
                <a:effectLst/>
                <a:latin typeface="Trebuchet MS" panose="020B0603020202020204" pitchFamily="34" charset="0"/>
              </a:rPr>
              <a:t> to their </a:t>
            </a:r>
            <a:r>
              <a:rPr kumimoji="0" lang="en-GB" sz="1050" b="0" i="0" u="none" strike="noStrike" cap="none" normalizeH="0" baseline="0">
                <a:ln>
                  <a:noFill/>
                </a:ln>
                <a:solidFill>
                  <a:schemeClr val="tx2"/>
                </a:solidFill>
                <a:effectLst/>
                <a:latin typeface="Trebuchet MS" panose="020B0603020202020204" pitchFamily="34" charset="0"/>
              </a:rPr>
              <a:t>clients</a:t>
            </a:r>
            <a:r>
              <a:rPr kumimoji="0" lang="en-GB" sz="1050" b="0" i="0" u="none" strike="noStrike" cap="none" normalizeH="0" baseline="0">
                <a:ln>
                  <a:noFill/>
                </a:ln>
                <a:solidFill>
                  <a:schemeClr val="tx1"/>
                </a:solidFill>
                <a:effectLst/>
                <a:latin typeface="Trebuchet MS" panose="020B0603020202020204" pitchFamily="34" charset="0"/>
              </a:rPr>
              <a:t> by leveraging their databases</a:t>
            </a:r>
            <a:endParaRPr kumimoji="0" lang="en-GB" sz="1050" b="0" i="0" u="none" strike="noStrike" cap="none" normalizeH="0" baseline="0">
              <a:ln>
                <a:noFill/>
              </a:ln>
              <a:solidFill>
                <a:schemeClr val="tx2"/>
              </a:solidFill>
              <a:effectLst/>
              <a:latin typeface="Trebuchet MS" panose="020B0603020202020204" pitchFamily="34" charset="0"/>
            </a:endParaRPr>
          </a:p>
        </p:txBody>
      </p:sp>
      <p:grpSp>
        <p:nvGrpSpPr>
          <p:cNvPr id="60" name="Groupe 59">
            <a:extLst>
              <a:ext uri="{FF2B5EF4-FFF2-40B4-BE49-F238E27FC236}">
                <a16:creationId xmlns:a16="http://schemas.microsoft.com/office/drawing/2014/main" id="{32C6FF19-224C-4AA0-A96D-FF7E39D8B785}"/>
              </a:ext>
            </a:extLst>
          </p:cNvPr>
          <p:cNvGrpSpPr/>
          <p:nvPr/>
        </p:nvGrpSpPr>
        <p:grpSpPr>
          <a:xfrm>
            <a:off x="8448150" y="-11528"/>
            <a:ext cx="1435548" cy="588143"/>
            <a:chOff x="8448150" y="-11528"/>
            <a:chExt cx="1435548" cy="588143"/>
          </a:xfrm>
        </p:grpSpPr>
        <p:grpSp>
          <p:nvGrpSpPr>
            <p:cNvPr id="62" name="Groupe 61">
              <a:extLst>
                <a:ext uri="{FF2B5EF4-FFF2-40B4-BE49-F238E27FC236}">
                  <a16:creationId xmlns:a16="http://schemas.microsoft.com/office/drawing/2014/main" id="{69683B57-16B8-4B0E-A49F-2C0DBE22F7DE}"/>
                </a:ext>
              </a:extLst>
            </p:cNvPr>
            <p:cNvGrpSpPr/>
            <p:nvPr/>
          </p:nvGrpSpPr>
          <p:grpSpPr>
            <a:xfrm>
              <a:off x="8448150" y="-11528"/>
              <a:ext cx="1435548" cy="555653"/>
              <a:chOff x="8448150" y="-11528"/>
              <a:chExt cx="1435548" cy="555653"/>
            </a:xfrm>
          </p:grpSpPr>
          <p:sp>
            <p:nvSpPr>
              <p:cNvPr id="66" name="Rectangle : coins arrondis 199">
                <a:extLst>
                  <a:ext uri="{FF2B5EF4-FFF2-40B4-BE49-F238E27FC236}">
                    <a16:creationId xmlns:a16="http://schemas.microsoft.com/office/drawing/2014/main" id="{7901287D-B614-48C5-A9EC-4F5AD440F40D}"/>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8" name="Rectangle : coins arrondis 200">
                <a:extLst>
                  <a:ext uri="{FF2B5EF4-FFF2-40B4-BE49-F238E27FC236}">
                    <a16:creationId xmlns:a16="http://schemas.microsoft.com/office/drawing/2014/main" id="{128C8D3F-F71F-4415-8C86-1C46F1721C88}"/>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0" name="Rectangle : coins arrondis 201">
                <a:extLst>
                  <a:ext uri="{FF2B5EF4-FFF2-40B4-BE49-F238E27FC236}">
                    <a16:creationId xmlns:a16="http://schemas.microsoft.com/office/drawing/2014/main" id="{F77668ED-4048-4F84-9894-81DE7C5AE9B4}"/>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2" name="ZoneTexte 18">
                <a:extLst>
                  <a:ext uri="{FF2B5EF4-FFF2-40B4-BE49-F238E27FC236}">
                    <a16:creationId xmlns:a16="http://schemas.microsoft.com/office/drawing/2014/main" id="{0FD426B0-5770-4F04-9C5E-DBA7A9998C15}"/>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74" name="Graphique 128" descr="Jauge">
                <a:extLst>
                  <a:ext uri="{FF2B5EF4-FFF2-40B4-BE49-F238E27FC236}">
                    <a16:creationId xmlns:a16="http://schemas.microsoft.com/office/drawing/2014/main" id="{39D457CC-DABC-4327-9025-45B10BAC8852}"/>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8553764" y="187516"/>
                <a:ext cx="234953" cy="218224"/>
              </a:xfrm>
              <a:prstGeom prst="rect">
                <a:avLst/>
              </a:prstGeom>
              <a:effectLst/>
            </p:spPr>
          </p:pic>
          <p:pic>
            <p:nvPicPr>
              <p:cNvPr id="75" name="Graphique 90" descr="Poignée de main">
                <a:extLst>
                  <a:ext uri="{FF2B5EF4-FFF2-40B4-BE49-F238E27FC236}">
                    <a16:creationId xmlns:a16="http://schemas.microsoft.com/office/drawing/2014/main" id="{2478E65F-FB16-47E7-901D-8A65C51E4534}"/>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8960868" y="152880"/>
                <a:ext cx="256313" cy="287496"/>
              </a:xfrm>
              <a:prstGeom prst="rect">
                <a:avLst/>
              </a:prstGeom>
              <a:effectLst/>
            </p:spPr>
          </p:pic>
          <p:pic>
            <p:nvPicPr>
              <p:cNvPr id="76" name="Graphique 74" descr="Mégaphone">
                <a:extLst>
                  <a:ext uri="{FF2B5EF4-FFF2-40B4-BE49-F238E27FC236}">
                    <a16:creationId xmlns:a16="http://schemas.microsoft.com/office/drawing/2014/main" id="{D372D368-82D4-4155-A327-A1C07C84AC6A}"/>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9389331" y="181519"/>
                <a:ext cx="233011" cy="216420"/>
              </a:xfrm>
              <a:prstGeom prst="rect">
                <a:avLst/>
              </a:prstGeom>
              <a:effectLst/>
            </p:spPr>
          </p:pic>
          <p:pic>
            <p:nvPicPr>
              <p:cNvPr id="77" name="Picture 2" descr="Drapeau France">
                <a:extLst>
                  <a:ext uri="{FF2B5EF4-FFF2-40B4-BE49-F238E27FC236}">
                    <a16:creationId xmlns:a16="http://schemas.microsoft.com/office/drawing/2014/main" id="{EB597A28-5ECA-4F00-B45E-2076A987D4B8}"/>
                  </a:ext>
                </a:extLst>
              </p:cNvPr>
              <p:cNvPicPr>
                <a:picLocks noChangeAspect="1" noChangeArrowheads="1"/>
              </p:cNvPicPr>
              <p:nvPr/>
            </p:nvPicPr>
            <p:blipFill rotWithShape="1">
              <a:blip r:embed="rId3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78" name="Picture 2" descr="5 ft x 3 ft 150 x 90 cm-DRAPEAU BELGE Belgique 100% Polyester ...">
                <a:extLst>
                  <a:ext uri="{FF2B5EF4-FFF2-40B4-BE49-F238E27FC236}">
                    <a16:creationId xmlns:a16="http://schemas.microsoft.com/office/drawing/2014/main" id="{42178DA7-7F29-427C-8760-9C88591DE5F6}"/>
                  </a:ext>
                </a:extLst>
              </p:cNvPr>
              <p:cNvPicPr>
                <a:picLocks noChangeAspect="1" noChangeArrowheads="1"/>
              </p:cNvPicPr>
              <p:nvPr/>
            </p:nvPicPr>
            <p:blipFill rotWithShape="1">
              <a:blip r:embed="rId3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79" name="Picture 2 - 1" descr="Drapeau des Pays-Bas — Wikipédia">
                <a:extLst>
                  <a:ext uri="{FF2B5EF4-FFF2-40B4-BE49-F238E27FC236}">
                    <a16:creationId xmlns:a16="http://schemas.microsoft.com/office/drawing/2014/main" id="{0AA0EE57-640C-46B6-BC5F-CD1A343278D4}"/>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0" name="Picture 2 - 2" descr="Drapeau du Luxembourg">
                <a:extLst>
                  <a:ext uri="{FF2B5EF4-FFF2-40B4-BE49-F238E27FC236}">
                    <a16:creationId xmlns:a16="http://schemas.microsoft.com/office/drawing/2014/main" id="{7615BA34-B8C8-4E81-AB29-6FF4C953AEE0}"/>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64" name="ZoneTexte 18">
              <a:extLst>
                <a:ext uri="{FF2B5EF4-FFF2-40B4-BE49-F238E27FC236}">
                  <a16:creationId xmlns:a16="http://schemas.microsoft.com/office/drawing/2014/main" id="{0B8D27C6-9D61-4341-8B05-ABEE6E985103}"/>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2B Marketing</a:t>
              </a:r>
            </a:p>
          </p:txBody>
        </p:sp>
      </p:grpSp>
      <p:grpSp>
        <p:nvGrpSpPr>
          <p:cNvPr id="81" name="Groupe 21">
            <a:extLst>
              <a:ext uri="{FF2B5EF4-FFF2-40B4-BE49-F238E27FC236}">
                <a16:creationId xmlns:a16="http://schemas.microsoft.com/office/drawing/2014/main" id="{E01B22CF-1D1E-48D1-BB87-3DE22AF645AB}"/>
              </a:ext>
            </a:extLst>
          </p:cNvPr>
          <p:cNvGrpSpPr/>
          <p:nvPr/>
        </p:nvGrpSpPr>
        <p:grpSpPr>
          <a:xfrm>
            <a:off x="192881" y="5740558"/>
            <a:ext cx="451426" cy="455941"/>
            <a:chOff x="195390" y="5861727"/>
            <a:chExt cx="335805" cy="335805"/>
          </a:xfrm>
        </p:grpSpPr>
        <p:sp>
          <p:nvSpPr>
            <p:cNvPr id="82" name="Ellipse 22">
              <a:extLst>
                <a:ext uri="{FF2B5EF4-FFF2-40B4-BE49-F238E27FC236}">
                  <a16:creationId xmlns:a16="http://schemas.microsoft.com/office/drawing/2014/main" id="{5E81A229-CDF1-4AE9-9452-5A2A4C6E06DE}"/>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83" name="Group 5">
              <a:extLst>
                <a:ext uri="{FF2B5EF4-FFF2-40B4-BE49-F238E27FC236}">
                  <a16:creationId xmlns:a16="http://schemas.microsoft.com/office/drawing/2014/main" id="{7B00430F-4F04-4789-A93F-ED652B26FA94}"/>
                </a:ext>
              </a:extLst>
            </p:cNvPr>
            <p:cNvGrpSpPr>
              <a:grpSpLocks noChangeAspect="1"/>
            </p:cNvGrpSpPr>
            <p:nvPr/>
          </p:nvGrpSpPr>
          <p:grpSpPr bwMode="auto">
            <a:xfrm>
              <a:off x="249663" y="5915997"/>
              <a:ext cx="227258" cy="227255"/>
              <a:chOff x="788" y="800"/>
              <a:chExt cx="742" cy="742"/>
            </a:xfrm>
            <a:solidFill>
              <a:schemeClr val="tx2"/>
            </a:solidFill>
          </p:grpSpPr>
          <p:sp>
            <p:nvSpPr>
              <p:cNvPr id="84" name="Freeform 6">
                <a:extLst>
                  <a:ext uri="{FF2B5EF4-FFF2-40B4-BE49-F238E27FC236}">
                    <a16:creationId xmlns:a16="http://schemas.microsoft.com/office/drawing/2014/main" id="{CE740BD7-7E98-4E01-AEDA-A5CF11F2F545}"/>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5" name="Freeform 7">
                <a:extLst>
                  <a:ext uri="{FF2B5EF4-FFF2-40B4-BE49-F238E27FC236}">
                    <a16:creationId xmlns:a16="http://schemas.microsoft.com/office/drawing/2014/main" id="{5273478D-CC1F-4314-8658-FA349692246A}"/>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6" name="Freeform 8">
                <a:extLst>
                  <a:ext uri="{FF2B5EF4-FFF2-40B4-BE49-F238E27FC236}">
                    <a16:creationId xmlns:a16="http://schemas.microsoft.com/office/drawing/2014/main" id="{8D59AF26-8636-4196-A134-F4BD477C1B9E}"/>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7" name="Freeform 9">
                <a:extLst>
                  <a:ext uri="{FF2B5EF4-FFF2-40B4-BE49-F238E27FC236}">
                    <a16:creationId xmlns:a16="http://schemas.microsoft.com/office/drawing/2014/main" id="{9AE4BE8B-5740-4226-B674-7AE309F43494}"/>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8" name="Freeform 10">
                <a:extLst>
                  <a:ext uri="{FF2B5EF4-FFF2-40B4-BE49-F238E27FC236}">
                    <a16:creationId xmlns:a16="http://schemas.microsoft.com/office/drawing/2014/main" id="{8D0A2F27-8DEC-41DF-8FE2-5C57FEECB98A}"/>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9" name="Freeform 11">
                <a:extLst>
                  <a:ext uri="{FF2B5EF4-FFF2-40B4-BE49-F238E27FC236}">
                    <a16:creationId xmlns:a16="http://schemas.microsoft.com/office/drawing/2014/main" id="{6864C500-4EDD-48F1-BCBD-E24C154E5243}"/>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0" name="Freeform 12">
                <a:extLst>
                  <a:ext uri="{FF2B5EF4-FFF2-40B4-BE49-F238E27FC236}">
                    <a16:creationId xmlns:a16="http://schemas.microsoft.com/office/drawing/2014/main" id="{90A7B232-0443-4312-BD66-16FCD2E72814}"/>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spTree>
    <p:extLst>
      <p:ext uri="{BB962C8B-B14F-4D97-AF65-F5344CB8AC3E}">
        <p14:creationId xmlns:p14="http://schemas.microsoft.com/office/powerpoint/2010/main" val="1019315081"/>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4" name="Object 113" hidden="1">
            <a:extLst>
              <a:ext uri="{FF2B5EF4-FFF2-40B4-BE49-F238E27FC236}">
                <a16:creationId xmlns:a16="http://schemas.microsoft.com/office/drawing/2014/main" id="{15DFFB9E-9A55-4AA9-8206-5BC818B27F13}"/>
              </a:ext>
            </a:extLst>
          </p:cNvPr>
          <p:cNvGraphicFramePr>
            <a:graphicFrameLocks noChangeAspect="1"/>
          </p:cNvGraphicFramePr>
          <p:nvPr>
            <p:custDataLst>
              <p:tags r:id="rId1"/>
            </p:custDataLst>
            <p:extLst>
              <p:ext uri="{D42A27DB-BD31-4B8C-83A1-F6EECF244321}">
                <p14:modId xmlns:p14="http://schemas.microsoft.com/office/powerpoint/2010/main" val="3397155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6" imgH="416" progId="TCLayout.ActiveDocument.1">
                  <p:embed/>
                </p:oleObj>
              </mc:Choice>
              <mc:Fallback>
                <p:oleObj name="think-cell Slide" r:id="rId9" imgW="416" imgH="416" progId="TCLayout.ActiveDocument.1">
                  <p:embed/>
                  <p:pic>
                    <p:nvPicPr>
                      <p:cNvPr id="114" name="Object 113" hidden="1">
                        <a:extLst>
                          <a:ext uri="{FF2B5EF4-FFF2-40B4-BE49-F238E27FC236}">
                            <a16:creationId xmlns:a16="http://schemas.microsoft.com/office/drawing/2014/main" id="{15DFFB9E-9A55-4AA9-8206-5BC818B27F1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13" name="Rectangle 112" hidden="1">
            <a:extLst>
              <a:ext uri="{FF2B5EF4-FFF2-40B4-BE49-F238E27FC236}">
                <a16:creationId xmlns:a16="http://schemas.microsoft.com/office/drawing/2014/main" id="{65F9577C-E65E-4DF1-BBD9-D0503617D710}"/>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graphicFrame>
        <p:nvGraphicFramePr>
          <p:cNvPr id="23" name="Graphique 22">
            <a:extLst>
              <a:ext uri="{FF2B5EF4-FFF2-40B4-BE49-F238E27FC236}">
                <a16:creationId xmlns:a16="http://schemas.microsoft.com/office/drawing/2014/main" id="{964F6132-F15B-419D-9D2D-A76985505476}"/>
              </a:ext>
            </a:extLst>
          </p:cNvPr>
          <p:cNvGraphicFramePr/>
          <p:nvPr>
            <p:extLst>
              <p:ext uri="{D42A27DB-BD31-4B8C-83A1-F6EECF244321}">
                <p14:modId xmlns:p14="http://schemas.microsoft.com/office/powerpoint/2010/main" val="1400472330"/>
              </p:ext>
            </p:extLst>
          </p:nvPr>
        </p:nvGraphicFramePr>
        <p:xfrm>
          <a:off x="7198497" y="3256021"/>
          <a:ext cx="2759952" cy="3694804"/>
        </p:xfrm>
        <a:graphic>
          <a:graphicData uri="http://schemas.openxmlformats.org/drawingml/2006/chart">
            <c:chart xmlns:c="http://schemas.openxmlformats.org/drawingml/2006/chart" xmlns:r="http://schemas.openxmlformats.org/officeDocument/2006/relationships" r:id="rId11"/>
          </a:graphicData>
        </a:graphic>
      </p:graphicFrame>
      <p:sp>
        <p:nvSpPr>
          <p:cNvPr id="20" name="Rectangle 19">
            <a:extLst>
              <a:ext uri="{FF2B5EF4-FFF2-40B4-BE49-F238E27FC236}">
                <a16:creationId xmlns:a16="http://schemas.microsoft.com/office/drawing/2014/main" id="{46712B7F-A271-4474-A882-8DB2E78992D1}"/>
              </a:ext>
            </a:extLst>
          </p:cNvPr>
          <p:cNvSpPr/>
          <p:nvPr/>
        </p:nvSpPr>
        <p:spPr bwMode="auto">
          <a:xfrm>
            <a:off x="3855356" y="4994965"/>
            <a:ext cx="2120595" cy="126905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aphicFrame>
        <p:nvGraphicFramePr>
          <p:cNvPr id="110" name="Chart 109">
            <a:extLst>
              <a:ext uri="{FF2B5EF4-FFF2-40B4-BE49-F238E27FC236}">
                <a16:creationId xmlns:a16="http://schemas.microsoft.com/office/drawing/2014/main" id="{1D68E748-719A-4BCF-AA49-3115683701A5}"/>
              </a:ext>
            </a:extLst>
          </p:cNvPr>
          <p:cNvGraphicFramePr/>
          <p:nvPr>
            <p:extLst>
              <p:ext uri="{D42A27DB-BD31-4B8C-83A1-F6EECF244321}">
                <p14:modId xmlns:p14="http://schemas.microsoft.com/office/powerpoint/2010/main" val="1896764889"/>
              </p:ext>
            </p:extLst>
          </p:nvPr>
        </p:nvGraphicFramePr>
        <p:xfrm>
          <a:off x="235783" y="4542524"/>
          <a:ext cx="5046490" cy="1917170"/>
        </p:xfrm>
        <a:graphic>
          <a:graphicData uri="http://schemas.openxmlformats.org/drawingml/2006/chart">
            <c:chart xmlns:c="http://schemas.openxmlformats.org/drawingml/2006/chart" xmlns:r="http://schemas.openxmlformats.org/officeDocument/2006/relationships" r:id="rId12"/>
          </a:graphicData>
        </a:graphic>
      </p:graphicFrame>
      <p:sp>
        <p:nvSpPr>
          <p:cNvPr id="2" name="Titre 1">
            <a:extLst>
              <a:ext uri="{FF2B5EF4-FFF2-40B4-BE49-F238E27FC236}">
                <a16:creationId xmlns:a16="http://schemas.microsoft.com/office/drawing/2014/main" id="{3FA10D67-B0CD-467C-9FAE-459CE49A73AC}"/>
              </a:ext>
            </a:extLst>
          </p:cNvPr>
          <p:cNvSpPr>
            <a:spLocks noGrp="1"/>
          </p:cNvSpPr>
          <p:nvPr>
            <p:ph type="title"/>
          </p:nvPr>
        </p:nvSpPr>
        <p:spPr>
          <a:xfrm>
            <a:off x="165601" y="147600"/>
            <a:ext cx="8388164" cy="684000"/>
          </a:xfrm>
        </p:spPr>
        <p:txBody>
          <a:bodyPr/>
          <a:lstStyle/>
          <a:p>
            <a:r>
              <a:rPr lang="en-GB">
                <a:latin typeface="Trebuchet MS" panose="020B0603020202020204" pitchFamily="34" charset="0"/>
              </a:rPr>
              <a:t>The </a:t>
            </a:r>
            <a:r>
              <a:rPr lang="en-GB">
                <a:solidFill>
                  <a:schemeClr val="tx2"/>
                </a:solidFill>
                <a:latin typeface="Trebuchet MS" panose="020B0603020202020204" pitchFamily="34" charset="0"/>
              </a:rPr>
              <a:t>Business Data &amp; Analytics (BD&amp;A) market </a:t>
            </a:r>
            <a:r>
              <a:rPr lang="en-GB">
                <a:latin typeface="Trebuchet MS" panose="020B0603020202020204" pitchFamily="34" charset="0"/>
              </a:rPr>
              <a:t>represents a </a:t>
            </a:r>
            <a:r>
              <a:rPr lang="en-GB">
                <a:solidFill>
                  <a:schemeClr val="tx2"/>
                </a:solidFill>
                <a:latin typeface="Trebuchet MS" panose="020B0603020202020204" pitchFamily="34" charset="0"/>
              </a:rPr>
              <a:t>large market with stable growth</a:t>
            </a:r>
            <a:r>
              <a:rPr lang="en-GB">
                <a:latin typeface="Trebuchet MS" panose="020B0603020202020204" pitchFamily="34" charset="0"/>
              </a:rPr>
              <a:t>, driven by the rise of compliance &amp; marketing verticals</a:t>
            </a:r>
            <a:endParaRPr lang="en-GB">
              <a:highlight>
                <a:srgbClr val="FFFF00"/>
              </a:highlight>
              <a:latin typeface="Trebuchet MS" panose="020B0603020202020204" pitchFamily="34" charset="0"/>
            </a:endParaRPr>
          </a:p>
        </p:txBody>
      </p:sp>
      <p:sp>
        <p:nvSpPr>
          <p:cNvPr id="3" name="Espace réservé du texte 2">
            <a:extLst>
              <a:ext uri="{FF2B5EF4-FFF2-40B4-BE49-F238E27FC236}">
                <a16:creationId xmlns:a16="http://schemas.microsoft.com/office/drawing/2014/main" id="{EE562520-AE05-45DC-86C8-4773408518C0}"/>
              </a:ext>
            </a:extLst>
          </p:cNvPr>
          <p:cNvSpPr>
            <a:spLocks noGrp="1"/>
          </p:cNvSpPr>
          <p:nvPr>
            <p:ph type="body" sz="quarter" idx="10"/>
          </p:nvPr>
        </p:nvSpPr>
        <p:spPr/>
        <p:txBody>
          <a:bodyPr/>
          <a:lstStyle/>
          <a:p>
            <a:r>
              <a:rPr lang="en-GB"/>
              <a:t>Sources: eleven research &amp; analysis, expert calls, company data, interviews with management</a:t>
            </a:r>
          </a:p>
          <a:p>
            <a:r>
              <a:rPr lang="en-GB"/>
              <a:t>*Top of the mid-market represents the 25% largest Mid-size companies, public institutions included</a:t>
            </a:r>
          </a:p>
          <a:p>
            <a:endParaRPr lang="en-GB"/>
          </a:p>
        </p:txBody>
      </p:sp>
      <p:cxnSp>
        <p:nvCxnSpPr>
          <p:cNvPr id="43" name="Connecteur droit 42">
            <a:extLst>
              <a:ext uri="{FF2B5EF4-FFF2-40B4-BE49-F238E27FC236}">
                <a16:creationId xmlns:a16="http://schemas.microsoft.com/office/drawing/2014/main" id="{A97BD764-8E64-4BE5-83EE-ECAA9338966C}"/>
              </a:ext>
            </a:extLst>
          </p:cNvPr>
          <p:cNvCxnSpPr>
            <a:cxnSpLocks/>
          </p:cNvCxnSpPr>
          <p:nvPr/>
        </p:nvCxnSpPr>
        <p:spPr bwMode="auto">
          <a:xfrm>
            <a:off x="6057075" y="1246012"/>
            <a:ext cx="0" cy="504000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69" name="Rectangle 68">
            <a:extLst>
              <a:ext uri="{FF2B5EF4-FFF2-40B4-BE49-F238E27FC236}">
                <a16:creationId xmlns:a16="http://schemas.microsoft.com/office/drawing/2014/main" id="{7DEC9FAE-77A5-44C7-8F96-8BF6BDBBFA8E}"/>
              </a:ext>
            </a:extLst>
          </p:cNvPr>
          <p:cNvSpPr/>
          <p:nvPr/>
        </p:nvSpPr>
        <p:spPr bwMode="auto">
          <a:xfrm>
            <a:off x="235657" y="4446275"/>
            <a:ext cx="2407536" cy="252449"/>
          </a:xfrm>
          <a:prstGeom prst="rect">
            <a:avLst/>
          </a:prstGeom>
        </p:spPr>
        <p:txBody>
          <a:bodyPr wrap="square" anchor="ctr">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ea typeface="+mn-ea"/>
                <a:cs typeface="Arial" pitchFamily="34" charset="0"/>
              </a:rPr>
              <a:t>BD&amp;A market size evolution, in €m</a:t>
            </a:r>
          </a:p>
        </p:txBody>
      </p:sp>
      <p:grpSp>
        <p:nvGrpSpPr>
          <p:cNvPr id="24" name="Groupe 23">
            <a:extLst>
              <a:ext uri="{FF2B5EF4-FFF2-40B4-BE49-F238E27FC236}">
                <a16:creationId xmlns:a16="http://schemas.microsoft.com/office/drawing/2014/main" id="{5985F4FF-1F71-4D9A-983A-7E60CE908C6D}"/>
              </a:ext>
            </a:extLst>
          </p:cNvPr>
          <p:cNvGrpSpPr/>
          <p:nvPr/>
        </p:nvGrpSpPr>
        <p:grpSpPr>
          <a:xfrm>
            <a:off x="396619" y="1937915"/>
            <a:ext cx="1238845" cy="347255"/>
            <a:chOff x="3795117" y="1499863"/>
            <a:chExt cx="1238845" cy="347255"/>
          </a:xfrm>
        </p:grpSpPr>
        <p:pic>
          <p:nvPicPr>
            <p:cNvPr id="60" name="Picture 2 - 2" descr="Drapeau du Luxembourg">
              <a:extLst>
                <a:ext uri="{FF2B5EF4-FFF2-40B4-BE49-F238E27FC236}">
                  <a16:creationId xmlns:a16="http://schemas.microsoft.com/office/drawing/2014/main" id="{0FA43B6A-3031-4A3A-8D07-CBCD3CFBD77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795117" y="1537284"/>
              <a:ext cx="204859" cy="128985"/>
            </a:xfrm>
            <a:prstGeom prst="roundRect">
              <a:avLst/>
            </a:prstGeom>
            <a:solidFill>
              <a:schemeClr val="bg1"/>
            </a:solidFill>
            <a:ln w="9525" cap="flat" cmpd="sng" algn="ctr">
              <a:noFill/>
              <a:prstDash val="solid"/>
              <a:round/>
              <a:headEnd type="none" w="med" len="med"/>
              <a:tailEnd type="none" w="med" len="med"/>
            </a:ln>
            <a:effectLst/>
          </p:spPr>
        </p:pic>
        <p:sp>
          <p:nvSpPr>
            <p:cNvPr id="109" name="ZoneTexte 108">
              <a:extLst>
                <a:ext uri="{FF2B5EF4-FFF2-40B4-BE49-F238E27FC236}">
                  <a16:creationId xmlns:a16="http://schemas.microsoft.com/office/drawing/2014/main" id="{E130BA1D-EB13-46D8-9E88-8EF15AA3C022}"/>
                </a:ext>
              </a:extLst>
            </p:cNvPr>
            <p:cNvSpPr txBox="1"/>
            <p:nvPr/>
          </p:nvSpPr>
          <p:spPr>
            <a:xfrm>
              <a:off x="3929093" y="1499863"/>
              <a:ext cx="1104869" cy="200055"/>
            </a:xfrm>
            <a:prstGeom prst="rect">
              <a:avLst/>
            </a:prstGeom>
            <a:noFill/>
          </p:spPr>
          <p:txBody>
            <a:bodyPr wrap="square" rtlCol="0">
              <a:spAutoFit/>
            </a:bodyPr>
            <a:lstStyle/>
            <a:p>
              <a:r>
                <a:rPr lang="en-GB" sz="700" b="1">
                  <a:latin typeface="+mj-lt"/>
                </a:rPr>
                <a:t>Luxembourg</a:t>
              </a:r>
            </a:p>
          </p:txBody>
        </p:sp>
        <p:sp>
          <p:nvSpPr>
            <p:cNvPr id="155" name="ZoneTexte 154">
              <a:extLst>
                <a:ext uri="{FF2B5EF4-FFF2-40B4-BE49-F238E27FC236}">
                  <a16:creationId xmlns:a16="http://schemas.microsoft.com/office/drawing/2014/main" id="{C25FAC6F-DC9C-4F09-ADD2-707E924CC830}"/>
                </a:ext>
              </a:extLst>
            </p:cNvPr>
            <p:cNvSpPr txBox="1"/>
            <p:nvPr/>
          </p:nvSpPr>
          <p:spPr>
            <a:xfrm>
              <a:off x="3923902" y="1625454"/>
              <a:ext cx="490814" cy="221664"/>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800" b="1" i="0" u="none" strike="noStrike" kern="1200" cap="none" spc="0" normalizeH="0" baseline="0" noProof="0">
                  <a:ln>
                    <a:noFill/>
                  </a:ln>
                  <a:effectLst/>
                  <a:uLnTx/>
                  <a:uFillTx/>
                  <a:latin typeface="Trebuchet MS" panose="020B0603020202020204" pitchFamily="34" charset="0"/>
                  <a:ea typeface="+mn-ea"/>
                  <a:cs typeface="Arial" pitchFamily="34" charset="0"/>
                </a:rPr>
                <a:t>~€6m</a:t>
              </a:r>
            </a:p>
          </p:txBody>
        </p:sp>
      </p:grpSp>
      <p:cxnSp>
        <p:nvCxnSpPr>
          <p:cNvPr id="132" name="Straight Connector 131">
            <a:extLst>
              <a:ext uri="{FF2B5EF4-FFF2-40B4-BE49-F238E27FC236}">
                <a16:creationId xmlns:a16="http://schemas.microsoft.com/office/drawing/2014/main" id="{470AB543-5F56-4A89-92E7-189865C25464}"/>
              </a:ext>
            </a:extLst>
          </p:cNvPr>
          <p:cNvCxnSpPr>
            <a:cxnSpLocks/>
          </p:cNvCxnSpPr>
          <p:nvPr>
            <p:custDataLst>
              <p:tags r:id="rId3"/>
            </p:custDataLst>
          </p:nvPr>
        </p:nvCxnSpPr>
        <p:spPr bwMode="auto">
          <a:xfrm flipV="1">
            <a:off x="433635" y="4925140"/>
            <a:ext cx="1128309" cy="58215"/>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34" name="Rectangle 133">
            <a:extLst>
              <a:ext uri="{FF2B5EF4-FFF2-40B4-BE49-F238E27FC236}">
                <a16:creationId xmlns:a16="http://schemas.microsoft.com/office/drawing/2014/main" id="{AA8614A0-AD84-44E0-BE53-E53DBA7B98F2}"/>
              </a:ext>
            </a:extLst>
          </p:cNvPr>
          <p:cNvSpPr/>
          <p:nvPr/>
        </p:nvSpPr>
        <p:spPr bwMode="auto">
          <a:xfrm>
            <a:off x="4680028" y="5053389"/>
            <a:ext cx="683826" cy="17190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17-19</a:t>
            </a:r>
            <a:endParaRPr lang="en-GB" sz="900">
              <a:latin typeface="Trebuchet MS" panose="020B0603020202020204" pitchFamily="34" charset="0"/>
            </a:endParaRPr>
          </a:p>
        </p:txBody>
      </p:sp>
      <p:cxnSp>
        <p:nvCxnSpPr>
          <p:cNvPr id="162" name="Connecteur droit 13">
            <a:extLst>
              <a:ext uri="{FF2B5EF4-FFF2-40B4-BE49-F238E27FC236}">
                <a16:creationId xmlns:a16="http://schemas.microsoft.com/office/drawing/2014/main" id="{8602B880-B0A5-4907-98C7-05CE2AC6585E}"/>
              </a:ext>
            </a:extLst>
          </p:cNvPr>
          <p:cNvCxnSpPr>
            <a:cxnSpLocks/>
          </p:cNvCxnSpPr>
          <p:nvPr/>
        </p:nvCxnSpPr>
        <p:spPr bwMode="auto">
          <a:xfrm>
            <a:off x="251394" y="974778"/>
            <a:ext cx="9403213"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53" name="Rectangle 84">
            <a:extLst>
              <a:ext uri="{FF2B5EF4-FFF2-40B4-BE49-F238E27FC236}">
                <a16:creationId xmlns:a16="http://schemas.microsoft.com/office/drawing/2014/main" id="{7B1B944E-EA5B-4AE1-9528-949A1A0C5920}"/>
              </a:ext>
            </a:extLst>
          </p:cNvPr>
          <p:cNvSpPr/>
          <p:nvPr/>
        </p:nvSpPr>
        <p:spPr bwMode="auto">
          <a:xfrm>
            <a:off x="4037143" y="833628"/>
            <a:ext cx="1831714"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a:solidFill>
                  <a:schemeClr val="accent1">
                    <a:lumMod val="75000"/>
                  </a:schemeClr>
                </a:solidFill>
                <a:latin typeface="Trebuchet MS" panose="020B0603020202020204" pitchFamily="34" charset="0"/>
              </a:rPr>
              <a:t>Market overview</a:t>
            </a:r>
          </a:p>
        </p:txBody>
      </p:sp>
      <p:cxnSp>
        <p:nvCxnSpPr>
          <p:cNvPr id="165" name="Straight Connector 131">
            <a:extLst>
              <a:ext uri="{FF2B5EF4-FFF2-40B4-BE49-F238E27FC236}">
                <a16:creationId xmlns:a16="http://schemas.microsoft.com/office/drawing/2014/main" id="{A7059167-F004-4C9F-A6DD-57DF8D309551}"/>
              </a:ext>
            </a:extLst>
          </p:cNvPr>
          <p:cNvCxnSpPr>
            <a:cxnSpLocks/>
          </p:cNvCxnSpPr>
          <p:nvPr>
            <p:custDataLst>
              <p:tags r:id="rId4"/>
            </p:custDataLst>
          </p:nvPr>
        </p:nvCxnSpPr>
        <p:spPr bwMode="auto">
          <a:xfrm flipV="1">
            <a:off x="2023541" y="4835005"/>
            <a:ext cx="1368814" cy="121871"/>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68" name="Rectangle 167">
            <a:extLst>
              <a:ext uri="{FF2B5EF4-FFF2-40B4-BE49-F238E27FC236}">
                <a16:creationId xmlns:a16="http://schemas.microsoft.com/office/drawing/2014/main" id="{DBB4545E-927B-4F29-970E-6645EB167347}"/>
              </a:ext>
            </a:extLst>
          </p:cNvPr>
          <p:cNvSpPr/>
          <p:nvPr/>
        </p:nvSpPr>
        <p:spPr bwMode="auto">
          <a:xfrm>
            <a:off x="5338477" y="5053389"/>
            <a:ext cx="683826" cy="17190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21-25</a:t>
            </a:r>
            <a:endParaRPr lang="en-GB" sz="900">
              <a:latin typeface="Trebuchet MS" panose="020B0603020202020204" pitchFamily="34" charset="0"/>
            </a:endParaRPr>
          </a:p>
        </p:txBody>
      </p:sp>
      <p:sp>
        <p:nvSpPr>
          <p:cNvPr id="174" name="Rectangle 173">
            <a:extLst>
              <a:ext uri="{FF2B5EF4-FFF2-40B4-BE49-F238E27FC236}">
                <a16:creationId xmlns:a16="http://schemas.microsoft.com/office/drawing/2014/main" id="{8B76AD98-FB6B-40A6-B97F-5731DBDDCCAB}"/>
              </a:ext>
            </a:extLst>
          </p:cNvPr>
          <p:cNvSpPr/>
          <p:nvPr/>
        </p:nvSpPr>
        <p:spPr bwMode="auto">
          <a:xfrm>
            <a:off x="6756772" y="3959652"/>
            <a:ext cx="660857" cy="556364"/>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endParaRPr lang="en-GB" sz="1050" b="1">
              <a:latin typeface="Trebuchet MS" panose="020B0603020202020204" pitchFamily="34" charset="0"/>
            </a:endParaRPr>
          </a:p>
          <a:p>
            <a:pPr marR="0" algn="ctr" defTabSz="914400" rtl="0" eaLnBrk="1" fontAlgn="base" latinLnBrk="0" hangingPunct="1">
              <a:lnSpc>
                <a:spcPct val="100000"/>
              </a:lnSpc>
              <a:spcBef>
                <a:spcPct val="0"/>
              </a:spcBef>
              <a:spcAft>
                <a:spcPct val="0"/>
              </a:spcAft>
              <a:buClrTx/>
              <a:buSzTx/>
              <a:tabLst/>
            </a:pPr>
            <a:r>
              <a:rPr lang="en-GB" sz="1050" b="1">
                <a:solidFill>
                  <a:schemeClr val="accent1">
                    <a:lumMod val="75000"/>
                  </a:schemeClr>
                </a:solidFill>
                <a:latin typeface="Trebuchet MS" panose="020B0603020202020204" pitchFamily="34" charset="0"/>
              </a:rPr>
              <a:t>Key accounts</a:t>
            </a:r>
            <a:endParaRPr kumimoji="0" lang="en-GB" sz="1050" i="0" u="none" strike="noStrike" cap="none" normalizeH="0" baseline="0">
              <a:ln>
                <a:noFill/>
              </a:ln>
              <a:solidFill>
                <a:schemeClr val="accent1">
                  <a:lumMod val="75000"/>
                </a:schemeClr>
              </a:solidFill>
              <a:effectLst/>
              <a:latin typeface="Trebuchet MS" panose="020B0603020202020204" pitchFamily="34" charset="0"/>
            </a:endParaRPr>
          </a:p>
        </p:txBody>
      </p:sp>
      <p:pic>
        <p:nvPicPr>
          <p:cNvPr id="176" name="Graphique 62">
            <a:extLst>
              <a:ext uri="{FF2B5EF4-FFF2-40B4-BE49-F238E27FC236}">
                <a16:creationId xmlns:a16="http://schemas.microsoft.com/office/drawing/2014/main" id="{3D6F2E6B-7302-406D-A506-32D5C42A37FA}"/>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19795"/>
          <a:stretch/>
        </p:blipFill>
        <p:spPr>
          <a:xfrm>
            <a:off x="7010732" y="3995412"/>
            <a:ext cx="181727" cy="160974"/>
          </a:xfrm>
          <a:prstGeom prst="rect">
            <a:avLst/>
          </a:prstGeom>
          <a:effectLst/>
        </p:spPr>
      </p:pic>
      <p:sp>
        <p:nvSpPr>
          <p:cNvPr id="178" name="Rectangle 177">
            <a:extLst>
              <a:ext uri="{FF2B5EF4-FFF2-40B4-BE49-F238E27FC236}">
                <a16:creationId xmlns:a16="http://schemas.microsoft.com/office/drawing/2014/main" id="{3A303B09-561C-4BC8-8BF2-0390E64A499C}"/>
              </a:ext>
            </a:extLst>
          </p:cNvPr>
          <p:cNvSpPr/>
          <p:nvPr/>
        </p:nvSpPr>
        <p:spPr bwMode="auto">
          <a:xfrm>
            <a:off x="6756772" y="4558519"/>
            <a:ext cx="660857" cy="556364"/>
          </a:xfrm>
          <a:prstGeom prst="rect">
            <a:avLst/>
          </a:prstGeom>
          <a:solidFill>
            <a:schemeClr val="bg1"/>
          </a:solidFill>
          <a:ln w="9525" cap="flat" cmpd="sng" algn="ctr">
            <a:solidFill>
              <a:srgbClr val="55CFFF"/>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50" b="1">
              <a:latin typeface="Trebuchet MS" panose="020B0603020202020204" pitchFamily="34" charset="0"/>
            </a:endParaRPr>
          </a:p>
          <a:p>
            <a:pPr algn="ctr"/>
            <a:r>
              <a:rPr lang="en-GB" sz="1050" b="1">
                <a:solidFill>
                  <a:srgbClr val="55CFFF"/>
                </a:solidFill>
                <a:latin typeface="Trebuchet MS" panose="020B0603020202020204" pitchFamily="34" charset="0"/>
              </a:rPr>
              <a:t>Top-Mid market*</a:t>
            </a:r>
          </a:p>
        </p:txBody>
      </p:sp>
      <p:pic>
        <p:nvPicPr>
          <p:cNvPr id="180" name="Graphique 63">
            <a:extLst>
              <a:ext uri="{FF2B5EF4-FFF2-40B4-BE49-F238E27FC236}">
                <a16:creationId xmlns:a16="http://schemas.microsoft.com/office/drawing/2014/main" id="{7F2AEBFF-4C22-4AF9-851B-6811AF958D61}"/>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28139"/>
          <a:stretch/>
        </p:blipFill>
        <p:spPr>
          <a:xfrm>
            <a:off x="6981319" y="4587310"/>
            <a:ext cx="215219" cy="170805"/>
          </a:xfrm>
          <a:prstGeom prst="rect">
            <a:avLst/>
          </a:prstGeom>
          <a:effectLst/>
        </p:spPr>
      </p:pic>
      <p:sp>
        <p:nvSpPr>
          <p:cNvPr id="182" name="Rectangle 181">
            <a:extLst>
              <a:ext uri="{FF2B5EF4-FFF2-40B4-BE49-F238E27FC236}">
                <a16:creationId xmlns:a16="http://schemas.microsoft.com/office/drawing/2014/main" id="{AED717AD-68D5-4CAD-883D-EBB76A531546}"/>
              </a:ext>
            </a:extLst>
          </p:cNvPr>
          <p:cNvSpPr/>
          <p:nvPr/>
        </p:nvSpPr>
        <p:spPr bwMode="auto">
          <a:xfrm>
            <a:off x="6756772" y="5756252"/>
            <a:ext cx="660857" cy="556364"/>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50" b="1">
              <a:solidFill>
                <a:schemeClr val="bg2"/>
              </a:solidFill>
              <a:latin typeface="Trebuchet MS" panose="020B0603020202020204" pitchFamily="34" charset="0"/>
            </a:endParaRPr>
          </a:p>
          <a:p>
            <a:pPr algn="ctr"/>
            <a:r>
              <a:rPr lang="en-GB" sz="1050" b="1">
                <a:solidFill>
                  <a:schemeClr val="bg2"/>
                </a:solidFill>
                <a:latin typeface="Trebuchet MS" panose="020B0603020202020204" pitchFamily="34" charset="0"/>
              </a:rPr>
              <a:t>Mass market</a:t>
            </a:r>
          </a:p>
        </p:txBody>
      </p:sp>
      <p:pic>
        <p:nvPicPr>
          <p:cNvPr id="184" name="Graphique 64">
            <a:extLst>
              <a:ext uri="{FF2B5EF4-FFF2-40B4-BE49-F238E27FC236}">
                <a16:creationId xmlns:a16="http://schemas.microsoft.com/office/drawing/2014/main" id="{156B8711-6708-4151-A2E4-CAFC9AEA6890}"/>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r="-3601" b="22797"/>
          <a:stretch/>
        </p:blipFill>
        <p:spPr>
          <a:xfrm>
            <a:off x="6993818" y="5805217"/>
            <a:ext cx="200988" cy="165417"/>
          </a:xfrm>
          <a:prstGeom prst="rect">
            <a:avLst/>
          </a:prstGeom>
          <a:effectLst/>
        </p:spPr>
      </p:pic>
      <p:sp>
        <p:nvSpPr>
          <p:cNvPr id="190" name="ZoneTexte 189">
            <a:extLst>
              <a:ext uri="{FF2B5EF4-FFF2-40B4-BE49-F238E27FC236}">
                <a16:creationId xmlns:a16="http://schemas.microsoft.com/office/drawing/2014/main" id="{F2AAA5DC-E287-49B0-8082-93972B70424F}"/>
              </a:ext>
            </a:extLst>
          </p:cNvPr>
          <p:cNvSpPr txBox="1"/>
          <p:nvPr/>
        </p:nvSpPr>
        <p:spPr>
          <a:xfrm>
            <a:off x="6596464" y="3584166"/>
            <a:ext cx="995697" cy="400110"/>
          </a:xfrm>
          <a:prstGeom prst="rect">
            <a:avLst/>
          </a:prstGeom>
          <a:noFill/>
          <a:effectLst/>
        </p:spPr>
        <p:txBody>
          <a:bodyPr wrap="square" rtlCol="0">
            <a:spAutoFit/>
          </a:bodyPr>
          <a:lstStyle/>
          <a:p>
            <a:pPr algn="ctr"/>
            <a:r>
              <a:rPr lang="en-GB" sz="1000" i="1">
                <a:latin typeface="Trebuchet MS" panose="020B0603020202020204" pitchFamily="34" charset="0"/>
              </a:rPr>
              <a:t>Client segmentation</a:t>
            </a:r>
          </a:p>
        </p:txBody>
      </p:sp>
      <p:sp>
        <p:nvSpPr>
          <p:cNvPr id="191" name="Rectangle 190">
            <a:extLst>
              <a:ext uri="{FF2B5EF4-FFF2-40B4-BE49-F238E27FC236}">
                <a16:creationId xmlns:a16="http://schemas.microsoft.com/office/drawing/2014/main" id="{3AF10328-ED58-4997-9DCD-35E7E3022CDB}"/>
              </a:ext>
            </a:extLst>
          </p:cNvPr>
          <p:cNvSpPr/>
          <p:nvPr/>
        </p:nvSpPr>
        <p:spPr bwMode="auto">
          <a:xfrm>
            <a:off x="6127204" y="3382596"/>
            <a:ext cx="3340923" cy="252449"/>
          </a:xfrm>
          <a:prstGeom prst="rect">
            <a:avLst/>
          </a:prstGeom>
        </p:spPr>
        <p:txBody>
          <a:bodyPr wrap="square" anchor="ctr">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ea typeface="+mn-ea"/>
                <a:cs typeface="Arial" pitchFamily="34" charset="0"/>
              </a:rPr>
              <a:t>Market split per client segmentation, 2019, in €m</a:t>
            </a:r>
          </a:p>
        </p:txBody>
      </p:sp>
      <p:sp>
        <p:nvSpPr>
          <p:cNvPr id="82" name="Rectangle 81">
            <a:extLst>
              <a:ext uri="{FF2B5EF4-FFF2-40B4-BE49-F238E27FC236}">
                <a16:creationId xmlns:a16="http://schemas.microsoft.com/office/drawing/2014/main" id="{E57E42BD-359D-49BC-9898-5C3A143B4275}"/>
              </a:ext>
            </a:extLst>
          </p:cNvPr>
          <p:cNvSpPr/>
          <p:nvPr/>
        </p:nvSpPr>
        <p:spPr bwMode="auto">
          <a:xfrm>
            <a:off x="361076" y="4778431"/>
            <a:ext cx="954197" cy="149866"/>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17-19</a:t>
            </a:r>
            <a:r>
              <a:rPr lang="en-GB" sz="900">
                <a:latin typeface="Trebuchet MS" panose="020B0603020202020204" pitchFamily="34" charset="0"/>
              </a:rPr>
              <a:t>: </a:t>
            </a:r>
            <a:r>
              <a:rPr kumimoji="0" lang="en-GB" sz="900" b="0" i="0" u="none" strike="noStrike" cap="none" normalizeH="0" baseline="0">
                <a:ln>
                  <a:noFill/>
                </a:ln>
                <a:effectLst/>
                <a:latin typeface="Trebuchet MS" panose="020B0603020202020204" pitchFamily="34" charset="0"/>
              </a:rPr>
              <a:t>+</a:t>
            </a:r>
            <a:r>
              <a:rPr lang="en-GB" sz="900">
                <a:latin typeface="Trebuchet MS" panose="020B0603020202020204" pitchFamily="34" charset="0"/>
              </a:rPr>
              <a:t>3.4</a:t>
            </a:r>
            <a:r>
              <a:rPr kumimoji="0" lang="en-GB" sz="900" b="0" i="0" u="none" strike="noStrike" cap="none" normalizeH="0" baseline="0">
                <a:ln>
                  <a:noFill/>
                </a:ln>
                <a:effectLst/>
                <a:latin typeface="Trebuchet MS" panose="020B0603020202020204" pitchFamily="34" charset="0"/>
              </a:rPr>
              <a:t>% </a:t>
            </a:r>
          </a:p>
        </p:txBody>
      </p:sp>
      <p:sp>
        <p:nvSpPr>
          <p:cNvPr id="83" name="Rectangle 82">
            <a:extLst>
              <a:ext uri="{FF2B5EF4-FFF2-40B4-BE49-F238E27FC236}">
                <a16:creationId xmlns:a16="http://schemas.microsoft.com/office/drawing/2014/main" id="{5328B39B-B86B-48B9-8D71-F09533A0A716}"/>
              </a:ext>
            </a:extLst>
          </p:cNvPr>
          <p:cNvSpPr/>
          <p:nvPr/>
        </p:nvSpPr>
        <p:spPr bwMode="auto">
          <a:xfrm>
            <a:off x="2332551" y="4659266"/>
            <a:ext cx="887662" cy="149866"/>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21-25</a:t>
            </a:r>
            <a:r>
              <a:rPr lang="en-GB" sz="900">
                <a:latin typeface="Trebuchet MS" panose="020B0603020202020204" pitchFamily="34" charset="0"/>
              </a:rPr>
              <a:t>: +2.5% </a:t>
            </a:r>
            <a:endParaRPr kumimoji="0" lang="en-GB" sz="900" b="0" i="0" u="none" strike="noStrike" cap="none" normalizeH="0" baseline="0">
              <a:ln>
                <a:noFill/>
              </a:ln>
              <a:effectLst/>
              <a:latin typeface="Trebuchet MS" panose="020B0603020202020204" pitchFamily="34" charset="0"/>
            </a:endParaRPr>
          </a:p>
        </p:txBody>
      </p:sp>
      <p:sp>
        <p:nvSpPr>
          <p:cNvPr id="86" name="ZoneTexte 146">
            <a:extLst>
              <a:ext uri="{FF2B5EF4-FFF2-40B4-BE49-F238E27FC236}">
                <a16:creationId xmlns:a16="http://schemas.microsoft.com/office/drawing/2014/main" id="{910115C7-B73F-4203-89E7-E8F8B7716185}"/>
              </a:ext>
            </a:extLst>
          </p:cNvPr>
          <p:cNvSpPr txBox="1"/>
          <p:nvPr/>
        </p:nvSpPr>
        <p:spPr>
          <a:xfrm>
            <a:off x="4837318" y="5731829"/>
            <a:ext cx="546130" cy="224613"/>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0.14%</a:t>
            </a:r>
          </a:p>
        </p:txBody>
      </p:sp>
      <p:sp>
        <p:nvSpPr>
          <p:cNvPr id="87" name="ZoneTexte 146">
            <a:extLst>
              <a:ext uri="{FF2B5EF4-FFF2-40B4-BE49-F238E27FC236}">
                <a16:creationId xmlns:a16="http://schemas.microsoft.com/office/drawing/2014/main" id="{62CD7304-05FB-4564-A2F8-0235E9E61490}"/>
              </a:ext>
            </a:extLst>
          </p:cNvPr>
          <p:cNvSpPr txBox="1"/>
          <p:nvPr/>
        </p:nvSpPr>
        <p:spPr>
          <a:xfrm>
            <a:off x="5406569" y="5732353"/>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lang="en-GB" sz="900">
                <a:latin typeface="Trebuchet MS" panose="020B0603020202020204" pitchFamily="34" charset="0"/>
              </a:rPr>
              <a:t>~0</a:t>
            </a: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a:t>
            </a:r>
          </a:p>
        </p:txBody>
      </p:sp>
      <p:sp>
        <p:nvSpPr>
          <p:cNvPr id="8" name="Rectangle 7">
            <a:extLst>
              <a:ext uri="{FF2B5EF4-FFF2-40B4-BE49-F238E27FC236}">
                <a16:creationId xmlns:a16="http://schemas.microsoft.com/office/drawing/2014/main" id="{E0384457-C418-477F-BB45-C66BE5AC97AA}"/>
              </a:ext>
            </a:extLst>
          </p:cNvPr>
          <p:cNvSpPr/>
          <p:nvPr/>
        </p:nvSpPr>
        <p:spPr bwMode="auto">
          <a:xfrm>
            <a:off x="235657" y="1488075"/>
            <a:ext cx="4679996" cy="252449"/>
          </a:xfrm>
          <a:prstGeom prst="rect">
            <a:avLst/>
          </a:prstGeom>
        </p:spPr>
        <p:txBody>
          <a:bodyPr wrap="square" anchor="ctr">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ea typeface="+mn-ea"/>
                <a:cs typeface="Arial" pitchFamily="34" charset="0"/>
              </a:rPr>
              <a:t>Market size estimation per verticals and geographies, 2019, in €m</a:t>
            </a:r>
          </a:p>
        </p:txBody>
      </p:sp>
      <p:grpSp>
        <p:nvGrpSpPr>
          <p:cNvPr id="7" name="Groupe 6">
            <a:extLst>
              <a:ext uri="{FF2B5EF4-FFF2-40B4-BE49-F238E27FC236}">
                <a16:creationId xmlns:a16="http://schemas.microsoft.com/office/drawing/2014/main" id="{4D82C139-3F5E-4FFB-B209-A0A074061CED}"/>
              </a:ext>
            </a:extLst>
          </p:cNvPr>
          <p:cNvGrpSpPr/>
          <p:nvPr/>
        </p:nvGrpSpPr>
        <p:grpSpPr>
          <a:xfrm>
            <a:off x="386807" y="3579622"/>
            <a:ext cx="728119" cy="353754"/>
            <a:chOff x="750692" y="2620400"/>
            <a:chExt cx="728119" cy="353754"/>
          </a:xfrm>
        </p:grpSpPr>
        <p:pic>
          <p:nvPicPr>
            <p:cNvPr id="54" name="Picture 2" descr="Drapeau France">
              <a:extLst>
                <a:ext uri="{FF2B5EF4-FFF2-40B4-BE49-F238E27FC236}">
                  <a16:creationId xmlns:a16="http://schemas.microsoft.com/office/drawing/2014/main" id="{5FDD1960-BCF3-45D8-94EA-22C4806B6DBC}"/>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7006" b="16757"/>
            <a:stretch/>
          </p:blipFill>
          <p:spPr bwMode="auto">
            <a:xfrm>
              <a:off x="759740" y="2664320"/>
              <a:ext cx="203912" cy="128985"/>
            </a:xfrm>
            <a:prstGeom prst="roundRect">
              <a:avLst/>
            </a:prstGeom>
            <a:noFill/>
            <a:extLst>
              <a:ext uri="{909E8E84-426E-40DD-AFC4-6F175D3DCCD1}">
                <a14:hiddenFill xmlns:a14="http://schemas.microsoft.com/office/drawing/2010/main">
                  <a:solidFill>
                    <a:srgbClr val="FFFFFF"/>
                  </a:solidFill>
                </a14:hiddenFill>
              </a:ext>
            </a:extLst>
          </p:spPr>
        </p:pic>
        <p:sp>
          <p:nvSpPr>
            <p:cNvPr id="61" name="ZoneTexte 60">
              <a:extLst>
                <a:ext uri="{FF2B5EF4-FFF2-40B4-BE49-F238E27FC236}">
                  <a16:creationId xmlns:a16="http://schemas.microsoft.com/office/drawing/2014/main" id="{C9B059BF-D299-4C61-AB4C-16AC34780315}"/>
                </a:ext>
              </a:extLst>
            </p:cNvPr>
            <p:cNvSpPr txBox="1"/>
            <p:nvPr/>
          </p:nvSpPr>
          <p:spPr>
            <a:xfrm>
              <a:off x="912806" y="2620400"/>
              <a:ext cx="566005" cy="200055"/>
            </a:xfrm>
            <a:prstGeom prst="rect">
              <a:avLst/>
            </a:prstGeom>
            <a:noFill/>
          </p:spPr>
          <p:txBody>
            <a:bodyPr wrap="square" rtlCol="0">
              <a:spAutoFit/>
            </a:bodyPr>
            <a:lstStyle/>
            <a:p>
              <a:r>
                <a:rPr lang="en-GB" sz="700" b="1">
                  <a:latin typeface="+mj-lt"/>
                </a:rPr>
                <a:t>France</a:t>
              </a:r>
            </a:p>
          </p:txBody>
        </p:sp>
        <p:sp>
          <p:nvSpPr>
            <p:cNvPr id="150" name="ZoneTexte 149">
              <a:extLst>
                <a:ext uri="{FF2B5EF4-FFF2-40B4-BE49-F238E27FC236}">
                  <a16:creationId xmlns:a16="http://schemas.microsoft.com/office/drawing/2014/main" id="{B5009B96-6A4D-4884-90E4-52ED2EB0E4B4}"/>
                </a:ext>
              </a:extLst>
            </p:cNvPr>
            <p:cNvSpPr txBox="1"/>
            <p:nvPr/>
          </p:nvSpPr>
          <p:spPr>
            <a:xfrm>
              <a:off x="750692" y="2752490"/>
              <a:ext cx="721921" cy="221664"/>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800" b="1" i="0" u="none" strike="noStrike" kern="1200" cap="none" spc="0" normalizeH="0" baseline="0" noProof="0">
                  <a:ln>
                    <a:noFill/>
                  </a:ln>
                  <a:effectLst/>
                  <a:uLnTx/>
                  <a:uFillTx/>
                  <a:latin typeface="Trebuchet MS" panose="020B0603020202020204" pitchFamily="34" charset="0"/>
                  <a:ea typeface="+mn-ea"/>
                  <a:cs typeface="Arial" pitchFamily="34" charset="0"/>
                </a:rPr>
                <a:t>~€</a:t>
              </a:r>
              <a:r>
                <a:rPr lang="en-GB" sz="800" b="1">
                  <a:latin typeface="Trebuchet MS" panose="020B0603020202020204" pitchFamily="34" charset="0"/>
                </a:rPr>
                <a:t>287</a:t>
              </a:r>
              <a:r>
                <a:rPr kumimoji="0" lang="en-GB" sz="800" b="1" i="0" u="none" strike="noStrike" kern="1200" cap="none" spc="0" normalizeH="0" baseline="0" noProof="0">
                  <a:ln>
                    <a:noFill/>
                  </a:ln>
                  <a:effectLst/>
                  <a:uLnTx/>
                  <a:uFillTx/>
                  <a:latin typeface="Trebuchet MS" panose="020B0603020202020204" pitchFamily="34" charset="0"/>
                  <a:ea typeface="+mn-ea"/>
                  <a:cs typeface="Arial" pitchFamily="34" charset="0"/>
                </a:rPr>
                <a:t>m</a:t>
              </a:r>
            </a:p>
          </p:txBody>
        </p:sp>
      </p:grpSp>
      <p:grpSp>
        <p:nvGrpSpPr>
          <p:cNvPr id="15" name="Groupe 14">
            <a:extLst>
              <a:ext uri="{FF2B5EF4-FFF2-40B4-BE49-F238E27FC236}">
                <a16:creationId xmlns:a16="http://schemas.microsoft.com/office/drawing/2014/main" id="{CD4B764A-0EC9-4E58-BA43-319686F27EA4}"/>
              </a:ext>
            </a:extLst>
          </p:cNvPr>
          <p:cNvGrpSpPr/>
          <p:nvPr/>
        </p:nvGrpSpPr>
        <p:grpSpPr>
          <a:xfrm>
            <a:off x="396628" y="2248501"/>
            <a:ext cx="907077" cy="353754"/>
            <a:chOff x="2956798" y="1736829"/>
            <a:chExt cx="907077" cy="353754"/>
          </a:xfrm>
        </p:grpSpPr>
        <p:pic>
          <p:nvPicPr>
            <p:cNvPr id="59" name="Picture 2" descr="5 ft x 3 ft 150 x 90 cm-DRAPEAU BELGE Belgique 100% Polyester ...">
              <a:extLst>
                <a:ext uri="{FF2B5EF4-FFF2-40B4-BE49-F238E27FC236}">
                  <a16:creationId xmlns:a16="http://schemas.microsoft.com/office/drawing/2014/main" id="{4B7975B3-C54B-47FE-B016-CEC7C3251C68}"/>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973"/>
            <a:stretch/>
          </p:blipFill>
          <p:spPr bwMode="auto">
            <a:xfrm>
              <a:off x="2956798" y="1780749"/>
              <a:ext cx="203914" cy="128985"/>
            </a:xfrm>
            <a:prstGeom prst="roundRect">
              <a:avLst/>
            </a:prstGeom>
            <a:noFill/>
            <a:extLst>
              <a:ext uri="{909E8E84-426E-40DD-AFC4-6F175D3DCCD1}">
                <a14:hiddenFill xmlns:a14="http://schemas.microsoft.com/office/drawing/2010/main">
                  <a:solidFill>
                    <a:srgbClr val="FFFFFF"/>
                  </a:solidFill>
                </a14:hiddenFill>
              </a:ext>
            </a:extLst>
          </p:spPr>
        </p:pic>
        <p:sp>
          <p:nvSpPr>
            <p:cNvPr id="107" name="ZoneTexte 106">
              <a:extLst>
                <a:ext uri="{FF2B5EF4-FFF2-40B4-BE49-F238E27FC236}">
                  <a16:creationId xmlns:a16="http://schemas.microsoft.com/office/drawing/2014/main" id="{BD458A23-9E88-4881-956E-29AFB82B1C38}"/>
                </a:ext>
              </a:extLst>
            </p:cNvPr>
            <p:cNvSpPr txBox="1"/>
            <p:nvPr/>
          </p:nvSpPr>
          <p:spPr>
            <a:xfrm>
              <a:off x="3110522" y="1736829"/>
              <a:ext cx="753353" cy="200055"/>
            </a:xfrm>
            <a:prstGeom prst="rect">
              <a:avLst/>
            </a:prstGeom>
            <a:noFill/>
          </p:spPr>
          <p:txBody>
            <a:bodyPr wrap="square" rtlCol="0">
              <a:spAutoFit/>
            </a:bodyPr>
            <a:lstStyle/>
            <a:p>
              <a:r>
                <a:rPr lang="en-GB" sz="700" b="1">
                  <a:latin typeface="+mj-lt"/>
                </a:rPr>
                <a:t>Belgium</a:t>
              </a:r>
            </a:p>
          </p:txBody>
        </p:sp>
        <p:sp>
          <p:nvSpPr>
            <p:cNvPr id="151" name="ZoneTexte 150">
              <a:extLst>
                <a:ext uri="{FF2B5EF4-FFF2-40B4-BE49-F238E27FC236}">
                  <a16:creationId xmlns:a16="http://schemas.microsoft.com/office/drawing/2014/main" id="{C5FB69E2-C78D-42AB-843F-297843A83A1E}"/>
                </a:ext>
              </a:extLst>
            </p:cNvPr>
            <p:cNvSpPr txBox="1"/>
            <p:nvPr/>
          </p:nvSpPr>
          <p:spPr>
            <a:xfrm>
              <a:off x="3031394" y="1868919"/>
              <a:ext cx="721921" cy="221664"/>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800" b="1" i="0" u="none" strike="noStrike" kern="1200" cap="none" spc="0" normalizeH="0" baseline="0" noProof="0">
                  <a:ln>
                    <a:noFill/>
                  </a:ln>
                  <a:effectLst/>
                  <a:uLnTx/>
                  <a:uFillTx/>
                  <a:latin typeface="Trebuchet MS" panose="020B0603020202020204" pitchFamily="34" charset="0"/>
                  <a:ea typeface="+mn-ea"/>
                  <a:cs typeface="Arial" pitchFamily="34" charset="0"/>
                </a:rPr>
                <a:t>~€</a:t>
              </a:r>
              <a:r>
                <a:rPr lang="en-GB" sz="800" b="1">
                  <a:latin typeface="Trebuchet MS" panose="020B0603020202020204" pitchFamily="34" charset="0"/>
                </a:rPr>
                <a:t>79</a:t>
              </a:r>
              <a:r>
                <a:rPr kumimoji="0" lang="en-GB" sz="800" b="1" i="0" u="none" strike="noStrike" kern="1200" cap="none" spc="0" normalizeH="0" baseline="0" noProof="0">
                  <a:ln>
                    <a:noFill/>
                  </a:ln>
                  <a:effectLst/>
                  <a:uLnTx/>
                  <a:uFillTx/>
                  <a:latin typeface="Trebuchet MS" panose="020B0603020202020204" pitchFamily="34" charset="0"/>
                  <a:ea typeface="+mn-ea"/>
                  <a:cs typeface="Arial" pitchFamily="34" charset="0"/>
                </a:rPr>
                <a:t>m</a:t>
              </a:r>
            </a:p>
          </p:txBody>
        </p:sp>
      </p:grpSp>
      <p:grpSp>
        <p:nvGrpSpPr>
          <p:cNvPr id="9" name="Groupe 8">
            <a:extLst>
              <a:ext uri="{FF2B5EF4-FFF2-40B4-BE49-F238E27FC236}">
                <a16:creationId xmlns:a16="http://schemas.microsoft.com/office/drawing/2014/main" id="{20EFD478-C65C-4782-BF4D-20D79C2389B9}"/>
              </a:ext>
            </a:extLst>
          </p:cNvPr>
          <p:cNvGrpSpPr/>
          <p:nvPr/>
        </p:nvGrpSpPr>
        <p:grpSpPr>
          <a:xfrm>
            <a:off x="395855" y="2783347"/>
            <a:ext cx="916464" cy="353754"/>
            <a:chOff x="1612403" y="2620400"/>
            <a:chExt cx="916464" cy="353754"/>
          </a:xfrm>
        </p:grpSpPr>
        <p:pic>
          <p:nvPicPr>
            <p:cNvPr id="58" name="Picture 2 - 1" descr="Drapeau des Pays-Bas — Wikipédia">
              <a:extLst>
                <a:ext uri="{FF2B5EF4-FFF2-40B4-BE49-F238E27FC236}">
                  <a16:creationId xmlns:a16="http://schemas.microsoft.com/office/drawing/2014/main" id="{3CF3FA9B-47E3-4C06-B539-5F2DFF46E0A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612403" y="2664320"/>
              <a:ext cx="203912" cy="128985"/>
            </a:xfrm>
            <a:prstGeom prst="roundRect">
              <a:avLst/>
            </a:prstGeom>
            <a:noFill/>
            <a:extLst>
              <a:ext uri="{909E8E84-426E-40DD-AFC4-6F175D3DCCD1}">
                <a14:hiddenFill xmlns:a14="http://schemas.microsoft.com/office/drawing/2010/main">
                  <a:solidFill>
                    <a:srgbClr val="FFFFFF"/>
                  </a:solidFill>
                </a14:hiddenFill>
              </a:ext>
            </a:extLst>
          </p:spPr>
        </p:pic>
        <p:sp>
          <p:nvSpPr>
            <p:cNvPr id="63" name="ZoneTexte 62">
              <a:extLst>
                <a:ext uri="{FF2B5EF4-FFF2-40B4-BE49-F238E27FC236}">
                  <a16:creationId xmlns:a16="http://schemas.microsoft.com/office/drawing/2014/main" id="{9BA37649-E45D-4D10-AFEA-95D895A5583F}"/>
                </a:ext>
              </a:extLst>
            </p:cNvPr>
            <p:cNvSpPr txBox="1"/>
            <p:nvPr/>
          </p:nvSpPr>
          <p:spPr>
            <a:xfrm>
              <a:off x="1775514" y="2620400"/>
              <a:ext cx="753353" cy="200055"/>
            </a:xfrm>
            <a:prstGeom prst="rect">
              <a:avLst/>
            </a:prstGeom>
            <a:noFill/>
          </p:spPr>
          <p:txBody>
            <a:bodyPr wrap="square" rtlCol="0">
              <a:spAutoFit/>
            </a:bodyPr>
            <a:lstStyle/>
            <a:p>
              <a:r>
                <a:rPr lang="en-GB" sz="700" b="1">
                  <a:latin typeface="+mj-lt"/>
                </a:rPr>
                <a:t>Netherlands</a:t>
              </a:r>
            </a:p>
          </p:txBody>
        </p:sp>
        <p:sp>
          <p:nvSpPr>
            <p:cNvPr id="156" name="ZoneTexte 155">
              <a:extLst>
                <a:ext uri="{FF2B5EF4-FFF2-40B4-BE49-F238E27FC236}">
                  <a16:creationId xmlns:a16="http://schemas.microsoft.com/office/drawing/2014/main" id="{E8B4B5F8-ED28-4DBA-A8BA-C0FA94F1E630}"/>
                </a:ext>
              </a:extLst>
            </p:cNvPr>
            <p:cNvSpPr txBox="1"/>
            <p:nvPr/>
          </p:nvSpPr>
          <p:spPr>
            <a:xfrm>
              <a:off x="1743305" y="2752490"/>
              <a:ext cx="721921" cy="221664"/>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800" b="1" i="0" u="none" strike="noStrike" kern="1200" cap="none" spc="0" normalizeH="0" baseline="0" noProof="0">
                  <a:ln>
                    <a:noFill/>
                  </a:ln>
                  <a:effectLst/>
                  <a:uLnTx/>
                  <a:uFillTx/>
                  <a:latin typeface="Trebuchet MS" panose="020B0603020202020204" pitchFamily="34" charset="0"/>
                  <a:ea typeface="+mn-ea"/>
                  <a:cs typeface="Arial" pitchFamily="34" charset="0"/>
                </a:rPr>
                <a:t>~€151m</a:t>
              </a:r>
            </a:p>
          </p:txBody>
        </p:sp>
      </p:grpSp>
      <p:sp>
        <p:nvSpPr>
          <p:cNvPr id="26" name="Flèche : double flèche horizontale 25">
            <a:extLst>
              <a:ext uri="{FF2B5EF4-FFF2-40B4-BE49-F238E27FC236}">
                <a16:creationId xmlns:a16="http://schemas.microsoft.com/office/drawing/2014/main" id="{0E92E948-7C54-4125-A61C-DE37D0920822}"/>
              </a:ext>
            </a:extLst>
          </p:cNvPr>
          <p:cNvSpPr/>
          <p:nvPr/>
        </p:nvSpPr>
        <p:spPr bwMode="auto">
          <a:xfrm rot="5400000">
            <a:off x="6101294" y="4495398"/>
            <a:ext cx="1155234" cy="83740"/>
          </a:xfrm>
          <a:prstGeom prst="leftRight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1" name="ZoneTexte 80">
            <a:extLst>
              <a:ext uri="{FF2B5EF4-FFF2-40B4-BE49-F238E27FC236}">
                <a16:creationId xmlns:a16="http://schemas.microsoft.com/office/drawing/2014/main" id="{4F1E6CCC-F5B5-4C99-8640-CC6FDDEE1E91}"/>
              </a:ext>
            </a:extLst>
          </p:cNvPr>
          <p:cNvSpPr txBox="1"/>
          <p:nvPr/>
        </p:nvSpPr>
        <p:spPr>
          <a:xfrm>
            <a:off x="6018111" y="4418503"/>
            <a:ext cx="760924" cy="646331"/>
          </a:xfrm>
          <a:prstGeom prst="rect">
            <a:avLst/>
          </a:prstGeom>
          <a:noFill/>
          <a:effectLst/>
        </p:spPr>
        <p:txBody>
          <a:bodyPr wrap="square" rtlCol="0">
            <a:spAutoFit/>
          </a:bodyPr>
          <a:lstStyle/>
          <a:p>
            <a:pPr algn="ctr"/>
            <a:r>
              <a:rPr lang="en-GB" sz="900" i="1" err="1">
                <a:latin typeface="Trebuchet MS" panose="020B0603020202020204" pitchFamily="34" charset="0"/>
              </a:rPr>
              <a:t>Altares</a:t>
            </a:r>
            <a:r>
              <a:rPr lang="en-GB" sz="900" i="1">
                <a:latin typeface="Trebuchet MS" panose="020B0603020202020204" pitchFamily="34" charset="0"/>
              </a:rPr>
              <a:t>’ targeted client segment</a:t>
            </a:r>
          </a:p>
        </p:txBody>
      </p:sp>
      <p:grpSp>
        <p:nvGrpSpPr>
          <p:cNvPr id="25" name="Groupe 24">
            <a:extLst>
              <a:ext uri="{FF2B5EF4-FFF2-40B4-BE49-F238E27FC236}">
                <a16:creationId xmlns:a16="http://schemas.microsoft.com/office/drawing/2014/main" id="{6C8EFB06-E079-4AFE-B73E-9EA259F0EB0B}"/>
              </a:ext>
            </a:extLst>
          </p:cNvPr>
          <p:cNvGrpSpPr/>
          <p:nvPr/>
        </p:nvGrpSpPr>
        <p:grpSpPr>
          <a:xfrm>
            <a:off x="8448150" y="-11528"/>
            <a:ext cx="1435548" cy="711253"/>
            <a:chOff x="8448150" y="-11528"/>
            <a:chExt cx="1435548" cy="711253"/>
          </a:xfrm>
        </p:grpSpPr>
        <p:grpSp>
          <p:nvGrpSpPr>
            <p:cNvPr id="21" name="Groupe 20">
              <a:extLst>
                <a:ext uri="{FF2B5EF4-FFF2-40B4-BE49-F238E27FC236}">
                  <a16:creationId xmlns:a16="http://schemas.microsoft.com/office/drawing/2014/main" id="{FE07E5F5-6C92-4E9B-A9D9-D54094C5A1D2}"/>
                </a:ext>
              </a:extLst>
            </p:cNvPr>
            <p:cNvGrpSpPr/>
            <p:nvPr/>
          </p:nvGrpSpPr>
          <p:grpSpPr>
            <a:xfrm>
              <a:off x="8448150" y="-11528"/>
              <a:ext cx="1435548" cy="555653"/>
              <a:chOff x="8448150" y="-11528"/>
              <a:chExt cx="1435548" cy="555653"/>
            </a:xfrm>
          </p:grpSpPr>
          <p:sp>
            <p:nvSpPr>
              <p:cNvPr id="4" name="Rectangle : coins arrondis 199">
                <a:extLst>
                  <a:ext uri="{FF2B5EF4-FFF2-40B4-BE49-F238E27FC236}">
                    <a16:creationId xmlns:a16="http://schemas.microsoft.com/office/drawing/2014/main" id="{1769F871-8B2E-445A-BD09-BAFAFE505D49}"/>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 name="Rectangle : coins arrondis 200">
                <a:extLst>
                  <a:ext uri="{FF2B5EF4-FFF2-40B4-BE49-F238E27FC236}">
                    <a16:creationId xmlns:a16="http://schemas.microsoft.com/office/drawing/2014/main" id="{1EA5CD55-EE2E-4832-AC40-CEDFD622217D}"/>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 name="Rectangle : coins arrondis 201">
                <a:extLst>
                  <a:ext uri="{FF2B5EF4-FFF2-40B4-BE49-F238E27FC236}">
                    <a16:creationId xmlns:a16="http://schemas.microsoft.com/office/drawing/2014/main" id="{3F29675B-5805-49FA-BA92-1A11B633D877}"/>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 name="ZoneTexte 18">
                <a:extLst>
                  <a:ext uri="{FF2B5EF4-FFF2-40B4-BE49-F238E27FC236}">
                    <a16:creationId xmlns:a16="http://schemas.microsoft.com/office/drawing/2014/main" id="{18947DD1-81A4-4A04-A5E8-870882608D9B}"/>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1" name="Graphique 128" descr="Jauge">
                <a:extLst>
                  <a:ext uri="{FF2B5EF4-FFF2-40B4-BE49-F238E27FC236}">
                    <a16:creationId xmlns:a16="http://schemas.microsoft.com/office/drawing/2014/main" id="{22493356-097E-4BB9-ABCE-A4E182A7C62B}"/>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553764" y="187516"/>
                <a:ext cx="234953" cy="218224"/>
              </a:xfrm>
              <a:prstGeom prst="rect">
                <a:avLst/>
              </a:prstGeom>
              <a:effectLst/>
            </p:spPr>
          </p:pic>
          <p:pic>
            <p:nvPicPr>
              <p:cNvPr id="12" name="Graphique 90" descr="Poignée de main">
                <a:extLst>
                  <a:ext uri="{FF2B5EF4-FFF2-40B4-BE49-F238E27FC236}">
                    <a16:creationId xmlns:a16="http://schemas.microsoft.com/office/drawing/2014/main" id="{174055F3-A679-49CE-A82E-B623F410FB3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960868" y="152880"/>
                <a:ext cx="256313" cy="287496"/>
              </a:xfrm>
              <a:prstGeom prst="rect">
                <a:avLst/>
              </a:prstGeom>
              <a:effectLst/>
            </p:spPr>
          </p:pic>
          <p:pic>
            <p:nvPicPr>
              <p:cNvPr id="13" name="Graphique 74" descr="Mégaphone">
                <a:extLst>
                  <a:ext uri="{FF2B5EF4-FFF2-40B4-BE49-F238E27FC236}">
                    <a16:creationId xmlns:a16="http://schemas.microsoft.com/office/drawing/2014/main" id="{9134D4BC-EDF0-4A23-9E1A-53242660B81F}"/>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9389331" y="181519"/>
                <a:ext cx="233011" cy="216420"/>
              </a:xfrm>
              <a:prstGeom prst="rect">
                <a:avLst/>
              </a:prstGeom>
              <a:effectLst/>
            </p:spPr>
          </p:pic>
          <p:pic>
            <p:nvPicPr>
              <p:cNvPr id="14" name="Picture 2" descr="Drapeau France">
                <a:extLst>
                  <a:ext uri="{FF2B5EF4-FFF2-40B4-BE49-F238E27FC236}">
                    <a16:creationId xmlns:a16="http://schemas.microsoft.com/office/drawing/2014/main" id="{F0EF71D0-AB92-4DE6-8FFF-702DCA1DE97E}"/>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6" name="Picture 2" descr="5 ft x 3 ft 150 x 90 cm-DRAPEAU BELGE Belgique 100% Polyester ...">
                <a:extLst>
                  <a:ext uri="{FF2B5EF4-FFF2-40B4-BE49-F238E27FC236}">
                    <a16:creationId xmlns:a16="http://schemas.microsoft.com/office/drawing/2014/main" id="{67E0389A-6373-4E00-8CFD-15AD42DD1731}"/>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7" name="Picture 2 - 1" descr="Drapeau des Pays-Bas — Wikipédia">
                <a:extLst>
                  <a:ext uri="{FF2B5EF4-FFF2-40B4-BE49-F238E27FC236}">
                    <a16:creationId xmlns:a16="http://schemas.microsoft.com/office/drawing/2014/main" id="{882B5EDF-6386-4318-96D0-B9AB22EF0E35}"/>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8" name="Picture 2 - 2" descr="Drapeau du Luxembourg">
                <a:extLst>
                  <a:ext uri="{FF2B5EF4-FFF2-40B4-BE49-F238E27FC236}">
                    <a16:creationId xmlns:a16="http://schemas.microsoft.com/office/drawing/2014/main" id="{DF64FEE8-026F-4163-90F0-00A1F0D76B4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72" name="ZoneTexte 18">
              <a:extLst>
                <a:ext uri="{FF2B5EF4-FFF2-40B4-BE49-F238E27FC236}">
                  <a16:creationId xmlns:a16="http://schemas.microsoft.com/office/drawing/2014/main" id="{7ED8CEDC-8765-41B6-A34E-5E7F88FFC7ED}"/>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Global market assessment</a:t>
              </a:r>
            </a:p>
          </p:txBody>
        </p:sp>
      </p:grpSp>
      <p:cxnSp>
        <p:nvCxnSpPr>
          <p:cNvPr id="29" name="Connecteur droit 28">
            <a:extLst>
              <a:ext uri="{FF2B5EF4-FFF2-40B4-BE49-F238E27FC236}">
                <a16:creationId xmlns:a16="http://schemas.microsoft.com/office/drawing/2014/main" id="{54DF1807-E581-45A0-BA78-78BC2D07B122}"/>
              </a:ext>
            </a:extLst>
          </p:cNvPr>
          <p:cNvCxnSpPr/>
          <p:nvPr/>
        </p:nvCxnSpPr>
        <p:spPr bwMode="auto">
          <a:xfrm flipV="1">
            <a:off x="1044969" y="3666427"/>
            <a:ext cx="313625" cy="4848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33" name="Connecteur droit 132">
            <a:extLst>
              <a:ext uri="{FF2B5EF4-FFF2-40B4-BE49-F238E27FC236}">
                <a16:creationId xmlns:a16="http://schemas.microsoft.com/office/drawing/2014/main" id="{4B2650D0-25D5-4A8F-B08A-43B3E07C58A6}"/>
              </a:ext>
            </a:extLst>
          </p:cNvPr>
          <p:cNvCxnSpPr>
            <a:cxnSpLocks/>
          </p:cNvCxnSpPr>
          <p:nvPr/>
        </p:nvCxnSpPr>
        <p:spPr bwMode="auto">
          <a:xfrm flipV="1">
            <a:off x="1248678" y="2990233"/>
            <a:ext cx="109916" cy="36036"/>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35" name="Connecteur droit 134">
            <a:extLst>
              <a:ext uri="{FF2B5EF4-FFF2-40B4-BE49-F238E27FC236}">
                <a16:creationId xmlns:a16="http://schemas.microsoft.com/office/drawing/2014/main" id="{CAD72492-2609-42B1-801A-56BCF0611603}"/>
              </a:ext>
            </a:extLst>
          </p:cNvPr>
          <p:cNvCxnSpPr>
            <a:cxnSpLocks/>
          </p:cNvCxnSpPr>
          <p:nvPr/>
        </p:nvCxnSpPr>
        <p:spPr bwMode="auto">
          <a:xfrm flipV="1">
            <a:off x="1193145" y="2391508"/>
            <a:ext cx="191490" cy="99915"/>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36" name="Connecteur droit 135">
            <a:extLst>
              <a:ext uri="{FF2B5EF4-FFF2-40B4-BE49-F238E27FC236}">
                <a16:creationId xmlns:a16="http://schemas.microsoft.com/office/drawing/2014/main" id="{4122FB23-B775-48E3-BCC4-508EC05E0372}"/>
              </a:ext>
            </a:extLst>
          </p:cNvPr>
          <p:cNvCxnSpPr>
            <a:cxnSpLocks/>
          </p:cNvCxnSpPr>
          <p:nvPr/>
        </p:nvCxnSpPr>
        <p:spPr bwMode="auto">
          <a:xfrm flipV="1">
            <a:off x="1193145" y="2161344"/>
            <a:ext cx="239592" cy="6833"/>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37" name="Rectangle 136">
            <a:extLst>
              <a:ext uri="{FF2B5EF4-FFF2-40B4-BE49-F238E27FC236}">
                <a16:creationId xmlns:a16="http://schemas.microsoft.com/office/drawing/2014/main" id="{3A4BBA4A-35A4-446D-9CBE-B5F06DD9BADB}"/>
              </a:ext>
            </a:extLst>
          </p:cNvPr>
          <p:cNvSpPr/>
          <p:nvPr/>
        </p:nvSpPr>
        <p:spPr bwMode="auto">
          <a:xfrm>
            <a:off x="4078985" y="2533473"/>
            <a:ext cx="1877863" cy="1698073"/>
          </a:xfrm>
          <a:prstGeom prst="rect">
            <a:avLst/>
          </a:prstGeom>
          <a:solidFill>
            <a:srgbClr val="F2F2F2"/>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2"/>
              </a:solidFill>
              <a:effectLst/>
              <a:latin typeface="Trebuchet MS" panose="020B0603020202020204" pitchFamily="34" charset="0"/>
            </a:endParaRPr>
          </a:p>
          <a:p>
            <a:pPr marL="534988" marR="0" defTabSz="534988"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Credit &amp; financial risk</a:t>
            </a:r>
          </a:p>
          <a:p>
            <a:pPr marL="534988" marR="0" defTabSz="534988" rtl="0" eaLnBrk="1" fontAlgn="base" latinLnBrk="0" hangingPunct="1">
              <a:lnSpc>
                <a:spcPct val="100000"/>
              </a:lnSpc>
              <a:spcBef>
                <a:spcPct val="0"/>
              </a:spcBef>
              <a:spcAft>
                <a:spcPct val="0"/>
              </a:spcAft>
              <a:buClrTx/>
              <a:buSzTx/>
              <a:buFontTx/>
              <a:buNone/>
            </a:pPr>
            <a:r>
              <a:rPr lang="en-GB" sz="1000">
                <a:solidFill>
                  <a:schemeClr val="tx2"/>
                </a:solidFill>
                <a:latin typeface="Trebuchet MS" panose="020B0603020202020204" pitchFamily="34" charset="0"/>
              </a:rPr>
              <a:t>~€341m</a:t>
            </a:r>
          </a:p>
          <a:p>
            <a:pPr marL="534988" marR="0" defTabSz="534988" rtl="0" eaLnBrk="1" fontAlgn="base" latinLnBrk="0" hangingPunct="1">
              <a:lnSpc>
                <a:spcPct val="100000"/>
              </a:lnSpc>
              <a:spcBef>
                <a:spcPct val="0"/>
              </a:spcBef>
              <a:spcAft>
                <a:spcPct val="0"/>
              </a:spcAft>
              <a:buClrTx/>
              <a:buSzTx/>
              <a:buFontTx/>
              <a:buNone/>
            </a:pPr>
            <a:endParaRPr lang="en-GB" sz="1000">
              <a:solidFill>
                <a:schemeClr val="tx2"/>
              </a:solidFill>
              <a:latin typeface="Trebuchet MS" panose="020B0603020202020204" pitchFamily="34" charset="0"/>
            </a:endParaRPr>
          </a:p>
          <a:p>
            <a:pPr marL="534988" marR="0" defTabSz="914400" rtl="0" eaLnBrk="1" fontAlgn="base" latinLnBrk="0" hangingPunct="1">
              <a:lnSpc>
                <a:spcPct val="100000"/>
              </a:lnSpc>
              <a:spcBef>
                <a:spcPct val="0"/>
              </a:spcBef>
              <a:spcAft>
                <a:spcPct val="0"/>
              </a:spcAft>
              <a:buClrTx/>
              <a:buSzTx/>
              <a:buFontTx/>
              <a:buNone/>
              <a:tabLst/>
            </a:pPr>
            <a:endParaRPr lang="en-GB" sz="1000">
              <a:latin typeface="Trebuchet MS" panose="020B0603020202020204" pitchFamily="34" charset="0"/>
            </a:endParaRPr>
          </a:p>
          <a:p>
            <a:pPr marL="534988" marR="0"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Compliance</a:t>
            </a:r>
          </a:p>
          <a:p>
            <a:pPr marL="534988" marR="0" defTabSz="914400" rtl="0" eaLnBrk="1" fontAlgn="base" latinLnBrk="0" hangingPunct="1">
              <a:lnSpc>
                <a:spcPct val="100000"/>
              </a:lnSpc>
              <a:spcBef>
                <a:spcPct val="0"/>
              </a:spcBef>
              <a:spcAft>
                <a:spcPct val="0"/>
              </a:spcAft>
              <a:buClrTx/>
              <a:buSzTx/>
              <a:buFontTx/>
              <a:buNone/>
              <a:tabLst/>
            </a:pPr>
            <a:r>
              <a:rPr lang="en-GB" sz="1000">
                <a:solidFill>
                  <a:schemeClr val="tx2"/>
                </a:solidFill>
                <a:latin typeface="Trebuchet MS" panose="020B0603020202020204" pitchFamily="34" charset="0"/>
              </a:rPr>
              <a:t>~€35m</a:t>
            </a:r>
          </a:p>
          <a:p>
            <a:pPr marL="534988" marR="0" defTabSz="914400" rtl="0" eaLnBrk="1" fontAlgn="base" latinLnBrk="0" hangingPunct="1">
              <a:lnSpc>
                <a:spcPct val="100000"/>
              </a:lnSpc>
              <a:spcBef>
                <a:spcPct val="0"/>
              </a:spcBef>
              <a:spcAft>
                <a:spcPct val="0"/>
              </a:spcAft>
              <a:buClrTx/>
              <a:buSzTx/>
              <a:buFontTx/>
              <a:buNone/>
              <a:tabLst/>
            </a:pPr>
            <a:endParaRPr lang="en-GB" sz="1000">
              <a:solidFill>
                <a:schemeClr val="tx2"/>
              </a:solidFill>
              <a:latin typeface="Trebuchet MS" panose="020B0603020202020204" pitchFamily="34" charset="0"/>
            </a:endParaRPr>
          </a:p>
          <a:p>
            <a:pPr marL="534988" marR="0" defTabSz="914400" rtl="0" eaLnBrk="1" fontAlgn="base" latinLnBrk="0" hangingPunct="1">
              <a:lnSpc>
                <a:spcPct val="100000"/>
              </a:lnSpc>
              <a:spcBef>
                <a:spcPct val="0"/>
              </a:spcBef>
              <a:spcAft>
                <a:spcPct val="0"/>
              </a:spcAft>
              <a:buClrTx/>
              <a:buSzTx/>
              <a:buFontTx/>
              <a:buNone/>
              <a:tabLst/>
            </a:pPr>
            <a:endParaRPr lang="en-GB" sz="1000">
              <a:solidFill>
                <a:schemeClr val="tx2"/>
              </a:solidFill>
              <a:latin typeface="Trebuchet MS" panose="020B0603020202020204" pitchFamily="34" charset="0"/>
            </a:endParaRPr>
          </a:p>
          <a:p>
            <a:pPr marL="534988" marR="0"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B2B Marketing</a:t>
            </a:r>
          </a:p>
          <a:p>
            <a:pPr marL="534988" marR="0" defTabSz="914400" rtl="0" eaLnBrk="1" fontAlgn="base" latinLnBrk="0" hangingPunct="1">
              <a:lnSpc>
                <a:spcPct val="100000"/>
              </a:lnSpc>
              <a:spcBef>
                <a:spcPct val="0"/>
              </a:spcBef>
              <a:spcAft>
                <a:spcPct val="0"/>
              </a:spcAft>
              <a:buClrTx/>
              <a:buSzTx/>
              <a:buFontTx/>
              <a:buNone/>
              <a:tabLst/>
            </a:pPr>
            <a:r>
              <a:rPr lang="en-GB" sz="1000">
                <a:solidFill>
                  <a:schemeClr val="tx2"/>
                </a:solidFill>
                <a:latin typeface="Trebuchet MS" panose="020B0603020202020204" pitchFamily="34" charset="0"/>
              </a:rPr>
              <a:t>~€146m</a:t>
            </a:r>
          </a:p>
          <a:p>
            <a:pPr marL="0" marR="0" indent="0"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138" name="ZoneTexte 146">
            <a:extLst>
              <a:ext uri="{FF2B5EF4-FFF2-40B4-BE49-F238E27FC236}">
                <a16:creationId xmlns:a16="http://schemas.microsoft.com/office/drawing/2014/main" id="{D302F3A9-6B6D-44E0-BD73-70E350E2A15D}"/>
              </a:ext>
            </a:extLst>
          </p:cNvPr>
          <p:cNvSpPr txBox="1"/>
          <p:nvPr/>
        </p:nvSpPr>
        <p:spPr>
          <a:xfrm>
            <a:off x="4837318" y="5499966"/>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8%</a:t>
            </a:r>
          </a:p>
        </p:txBody>
      </p:sp>
      <p:sp>
        <p:nvSpPr>
          <p:cNvPr id="139" name="ZoneTexte 146">
            <a:extLst>
              <a:ext uri="{FF2B5EF4-FFF2-40B4-BE49-F238E27FC236}">
                <a16:creationId xmlns:a16="http://schemas.microsoft.com/office/drawing/2014/main" id="{70C44E9C-ECBD-43F4-AD6C-4C938FAA7E88}"/>
              </a:ext>
            </a:extLst>
          </p:cNvPr>
          <p:cNvSpPr txBox="1"/>
          <p:nvPr/>
        </p:nvSpPr>
        <p:spPr>
          <a:xfrm>
            <a:off x="5406569" y="5500490"/>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5.3%</a:t>
            </a:r>
          </a:p>
        </p:txBody>
      </p:sp>
      <p:sp>
        <p:nvSpPr>
          <p:cNvPr id="140" name="ZoneTexte 146">
            <a:extLst>
              <a:ext uri="{FF2B5EF4-FFF2-40B4-BE49-F238E27FC236}">
                <a16:creationId xmlns:a16="http://schemas.microsoft.com/office/drawing/2014/main" id="{A9DC10D4-B8ED-453D-B70F-45DE09F5D91C}"/>
              </a:ext>
            </a:extLst>
          </p:cNvPr>
          <p:cNvSpPr txBox="1"/>
          <p:nvPr/>
        </p:nvSpPr>
        <p:spPr>
          <a:xfrm>
            <a:off x="4837318" y="5294422"/>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24%</a:t>
            </a:r>
          </a:p>
        </p:txBody>
      </p:sp>
      <p:sp>
        <p:nvSpPr>
          <p:cNvPr id="141" name="ZoneTexte 146">
            <a:extLst>
              <a:ext uri="{FF2B5EF4-FFF2-40B4-BE49-F238E27FC236}">
                <a16:creationId xmlns:a16="http://schemas.microsoft.com/office/drawing/2014/main" id="{3E7E335B-005C-407C-BAD7-D396E6F3FAAB}"/>
              </a:ext>
            </a:extLst>
          </p:cNvPr>
          <p:cNvSpPr txBox="1"/>
          <p:nvPr/>
        </p:nvSpPr>
        <p:spPr>
          <a:xfrm>
            <a:off x="5406569" y="5294946"/>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10.3%</a:t>
            </a:r>
          </a:p>
        </p:txBody>
      </p:sp>
      <p:cxnSp>
        <p:nvCxnSpPr>
          <p:cNvPr id="142" name="Straight Connector 131">
            <a:extLst>
              <a:ext uri="{FF2B5EF4-FFF2-40B4-BE49-F238E27FC236}">
                <a16:creationId xmlns:a16="http://schemas.microsoft.com/office/drawing/2014/main" id="{004AB576-6BE1-40D8-AD0B-44F3095366A1}"/>
              </a:ext>
            </a:extLst>
          </p:cNvPr>
          <p:cNvCxnSpPr>
            <a:cxnSpLocks/>
          </p:cNvCxnSpPr>
          <p:nvPr>
            <p:custDataLst>
              <p:tags r:id="rId5"/>
            </p:custDataLst>
          </p:nvPr>
        </p:nvCxnSpPr>
        <p:spPr bwMode="auto">
          <a:xfrm>
            <a:off x="1618148" y="4914934"/>
            <a:ext cx="246671" cy="107787"/>
          </a:xfrm>
          <a:prstGeom prst="line">
            <a:avLst/>
          </a:prstGeom>
          <a:solidFill>
            <a:schemeClr val="accent1"/>
          </a:solidFill>
          <a:ln w="9525" cap="flat" cmpd="sng" algn="ctr">
            <a:solidFill>
              <a:schemeClr val="tx1"/>
            </a:solidFill>
            <a:prstDash val="dash"/>
            <a:round/>
            <a:headEnd type="none" w="med" len="med"/>
            <a:tailEnd type="triangle"/>
          </a:ln>
          <a:effectLst/>
        </p:spPr>
      </p:cxnSp>
      <p:cxnSp>
        <p:nvCxnSpPr>
          <p:cNvPr id="143" name="Straight Connector 131">
            <a:extLst>
              <a:ext uri="{FF2B5EF4-FFF2-40B4-BE49-F238E27FC236}">
                <a16:creationId xmlns:a16="http://schemas.microsoft.com/office/drawing/2014/main" id="{5FACC68F-636A-4ECF-98F7-CA807E92C153}"/>
              </a:ext>
            </a:extLst>
          </p:cNvPr>
          <p:cNvCxnSpPr>
            <a:cxnSpLocks/>
          </p:cNvCxnSpPr>
          <p:nvPr>
            <p:custDataLst>
              <p:tags r:id="rId6"/>
            </p:custDataLst>
          </p:nvPr>
        </p:nvCxnSpPr>
        <p:spPr bwMode="auto">
          <a:xfrm flipV="1">
            <a:off x="1846178" y="4890484"/>
            <a:ext cx="229522" cy="114935"/>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44" name="ZoneTexte 146">
            <a:extLst>
              <a:ext uri="{FF2B5EF4-FFF2-40B4-BE49-F238E27FC236}">
                <a16:creationId xmlns:a16="http://schemas.microsoft.com/office/drawing/2014/main" id="{ECEE62FD-5541-4B53-B3BC-C37BB925B102}"/>
              </a:ext>
            </a:extLst>
          </p:cNvPr>
          <p:cNvSpPr txBox="1"/>
          <p:nvPr/>
        </p:nvSpPr>
        <p:spPr>
          <a:xfrm>
            <a:off x="1383995" y="4697657"/>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2.3%</a:t>
            </a:r>
          </a:p>
        </p:txBody>
      </p:sp>
      <p:sp>
        <p:nvSpPr>
          <p:cNvPr id="145" name="ZoneTexte 146">
            <a:extLst>
              <a:ext uri="{FF2B5EF4-FFF2-40B4-BE49-F238E27FC236}">
                <a16:creationId xmlns:a16="http://schemas.microsoft.com/office/drawing/2014/main" id="{FF36A1D0-0768-4618-B6D5-1BC61A898E42}"/>
              </a:ext>
            </a:extLst>
          </p:cNvPr>
          <p:cNvSpPr txBox="1"/>
          <p:nvPr/>
        </p:nvSpPr>
        <p:spPr>
          <a:xfrm>
            <a:off x="1812826" y="4697657"/>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lang="en-GB" sz="900">
                <a:latin typeface="Trebuchet MS" panose="020B0603020202020204" pitchFamily="34" charset="0"/>
              </a:rPr>
              <a:t>+3.3%</a:t>
            </a:r>
            <a:endPar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endParaRPr>
          </a:p>
        </p:txBody>
      </p:sp>
      <p:sp>
        <p:nvSpPr>
          <p:cNvPr id="85" name="Rectangle : coins arrondis 199">
            <a:extLst>
              <a:ext uri="{FF2B5EF4-FFF2-40B4-BE49-F238E27FC236}">
                <a16:creationId xmlns:a16="http://schemas.microsoft.com/office/drawing/2014/main" id="{8C277912-D391-45B9-9B4A-B7082FB05D18}"/>
              </a:ext>
            </a:extLst>
          </p:cNvPr>
          <p:cNvSpPr/>
          <p:nvPr/>
        </p:nvSpPr>
        <p:spPr bwMode="auto">
          <a:xfrm>
            <a:off x="4177123" y="2641648"/>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8" name="Rectangle : coins arrondis 200">
            <a:extLst>
              <a:ext uri="{FF2B5EF4-FFF2-40B4-BE49-F238E27FC236}">
                <a16:creationId xmlns:a16="http://schemas.microsoft.com/office/drawing/2014/main" id="{E6DDC46B-7748-4935-B180-4705B6A872B3}"/>
              </a:ext>
            </a:extLst>
          </p:cNvPr>
          <p:cNvSpPr/>
          <p:nvPr/>
        </p:nvSpPr>
        <p:spPr bwMode="auto">
          <a:xfrm>
            <a:off x="4177123" y="3222117"/>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0" name="Rectangle : coins arrondis 201">
            <a:extLst>
              <a:ext uri="{FF2B5EF4-FFF2-40B4-BE49-F238E27FC236}">
                <a16:creationId xmlns:a16="http://schemas.microsoft.com/office/drawing/2014/main" id="{76CDCAC3-E573-4933-A873-C953696FB512}"/>
              </a:ext>
            </a:extLst>
          </p:cNvPr>
          <p:cNvSpPr/>
          <p:nvPr/>
        </p:nvSpPr>
        <p:spPr bwMode="auto">
          <a:xfrm>
            <a:off x="4177123" y="384881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pic>
        <p:nvPicPr>
          <p:cNvPr id="92" name="Graphique 128" descr="Jauge">
            <a:extLst>
              <a:ext uri="{FF2B5EF4-FFF2-40B4-BE49-F238E27FC236}">
                <a16:creationId xmlns:a16="http://schemas.microsoft.com/office/drawing/2014/main" id="{BAF06680-FA22-4B80-9266-418ED84D5BB5}"/>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4227446" y="2633129"/>
            <a:ext cx="234953" cy="218224"/>
          </a:xfrm>
          <a:prstGeom prst="rect">
            <a:avLst/>
          </a:prstGeom>
          <a:effectLst/>
        </p:spPr>
      </p:pic>
      <p:pic>
        <p:nvPicPr>
          <p:cNvPr id="93" name="Graphique 90" descr="Poignée de main">
            <a:extLst>
              <a:ext uri="{FF2B5EF4-FFF2-40B4-BE49-F238E27FC236}">
                <a16:creationId xmlns:a16="http://schemas.microsoft.com/office/drawing/2014/main" id="{58AE4F08-A0CA-447D-BD02-92BFEDAC5B20}"/>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4216766" y="3178962"/>
            <a:ext cx="256313" cy="287496"/>
          </a:xfrm>
          <a:prstGeom prst="rect">
            <a:avLst/>
          </a:prstGeom>
          <a:effectLst/>
        </p:spPr>
      </p:pic>
      <p:pic>
        <p:nvPicPr>
          <p:cNvPr id="94" name="Graphique 74" descr="Mégaphone">
            <a:extLst>
              <a:ext uri="{FF2B5EF4-FFF2-40B4-BE49-F238E27FC236}">
                <a16:creationId xmlns:a16="http://schemas.microsoft.com/office/drawing/2014/main" id="{AD1AB24F-DE35-4F62-9EB5-60F6D4278BF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228417" y="3834299"/>
            <a:ext cx="233011" cy="216420"/>
          </a:xfrm>
          <a:prstGeom prst="rect">
            <a:avLst/>
          </a:prstGeom>
          <a:effectLst/>
        </p:spPr>
      </p:pic>
      <p:sp>
        <p:nvSpPr>
          <p:cNvPr id="146" name="Rectangle 145">
            <a:extLst>
              <a:ext uri="{FF2B5EF4-FFF2-40B4-BE49-F238E27FC236}">
                <a16:creationId xmlns:a16="http://schemas.microsoft.com/office/drawing/2014/main" id="{4491C46B-90F0-40A3-8169-DEDD6E65C300}"/>
              </a:ext>
            </a:extLst>
          </p:cNvPr>
          <p:cNvSpPr/>
          <p:nvPr/>
        </p:nvSpPr>
        <p:spPr bwMode="auto">
          <a:xfrm>
            <a:off x="6756772" y="5157386"/>
            <a:ext cx="660857" cy="556364"/>
          </a:xfrm>
          <a:prstGeom prst="rect">
            <a:avLst/>
          </a:prstGeom>
          <a:solidFill>
            <a:schemeClr val="bg1"/>
          </a:solidFill>
          <a:ln w="9525" cap="flat" cmpd="sng" algn="ctr">
            <a:solidFill>
              <a:schemeClr val="accent1">
                <a:lumMod val="20000"/>
                <a:lumOff val="80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50" b="1">
              <a:solidFill>
                <a:schemeClr val="accent1">
                  <a:lumMod val="60000"/>
                  <a:lumOff val="40000"/>
                </a:schemeClr>
              </a:solidFill>
              <a:latin typeface="Trebuchet MS" panose="020B0603020202020204" pitchFamily="34" charset="0"/>
            </a:endParaRPr>
          </a:p>
          <a:p>
            <a:pPr algn="ctr"/>
            <a:r>
              <a:rPr lang="en-GB" sz="1050" b="1">
                <a:solidFill>
                  <a:schemeClr val="accent1">
                    <a:lumMod val="40000"/>
                    <a:lumOff val="60000"/>
                  </a:schemeClr>
                </a:solidFill>
                <a:latin typeface="Trebuchet MS" panose="020B0603020202020204" pitchFamily="34" charset="0"/>
              </a:rPr>
              <a:t>Mid market</a:t>
            </a:r>
          </a:p>
        </p:txBody>
      </p:sp>
      <p:pic>
        <p:nvPicPr>
          <p:cNvPr id="148" name="Graphique 63">
            <a:extLst>
              <a:ext uri="{FF2B5EF4-FFF2-40B4-BE49-F238E27FC236}">
                <a16:creationId xmlns:a16="http://schemas.microsoft.com/office/drawing/2014/main" id="{33A54AC3-8C64-44EA-A37A-1AD00C94FC67}"/>
              </a:ext>
            </a:extLst>
          </p:cNvPr>
          <p:cNvPicPr>
            <a:picLocks noChangeAspect="1"/>
          </p:cNvPicPr>
          <p:nvPr/>
        </p:nvPicPr>
        <p:blipFill rotWithShape="1">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b="28139"/>
          <a:stretch/>
        </p:blipFill>
        <p:spPr>
          <a:xfrm>
            <a:off x="7002202" y="5164168"/>
            <a:ext cx="215219" cy="170805"/>
          </a:xfrm>
          <a:prstGeom prst="rect">
            <a:avLst/>
          </a:prstGeom>
          <a:effectLst/>
        </p:spPr>
      </p:pic>
      <p:sp>
        <p:nvSpPr>
          <p:cNvPr id="99" name="ZoneTexte 146">
            <a:extLst>
              <a:ext uri="{FF2B5EF4-FFF2-40B4-BE49-F238E27FC236}">
                <a16:creationId xmlns:a16="http://schemas.microsoft.com/office/drawing/2014/main" id="{BCA999ED-2436-4742-A01C-D40E68AF087B}"/>
              </a:ext>
            </a:extLst>
          </p:cNvPr>
          <p:cNvSpPr txBox="1"/>
          <p:nvPr/>
        </p:nvSpPr>
        <p:spPr>
          <a:xfrm>
            <a:off x="4837318" y="5958301"/>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b="1" i="0" u="none" strike="noStrike" kern="1200" cap="none" spc="0" normalizeH="0" baseline="0" noProof="0">
                <a:ln>
                  <a:noFill/>
                </a:ln>
                <a:effectLst/>
                <a:uLnTx/>
                <a:uFillTx/>
                <a:latin typeface="Trebuchet MS" panose="020B0603020202020204" pitchFamily="34" charset="0"/>
                <a:ea typeface="+mn-ea"/>
                <a:cs typeface="Arial" pitchFamily="34" charset="0"/>
              </a:rPr>
              <a:t>+3.4%</a:t>
            </a:r>
          </a:p>
        </p:txBody>
      </p:sp>
      <p:sp>
        <p:nvSpPr>
          <p:cNvPr id="101" name="ZoneTexte 146">
            <a:extLst>
              <a:ext uri="{FF2B5EF4-FFF2-40B4-BE49-F238E27FC236}">
                <a16:creationId xmlns:a16="http://schemas.microsoft.com/office/drawing/2014/main" id="{768566B8-AA16-4B80-81C9-9961BC246A70}"/>
              </a:ext>
            </a:extLst>
          </p:cNvPr>
          <p:cNvSpPr txBox="1"/>
          <p:nvPr/>
        </p:nvSpPr>
        <p:spPr>
          <a:xfrm>
            <a:off x="5363854" y="5958301"/>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b="1" i="0" u="none" strike="noStrike" kern="1200" cap="none" spc="0" normalizeH="0" baseline="0" noProof="0">
                <a:ln>
                  <a:noFill/>
                </a:ln>
                <a:effectLst/>
                <a:uLnTx/>
                <a:uFillTx/>
                <a:latin typeface="Trebuchet MS" panose="020B0603020202020204" pitchFamily="34" charset="0"/>
                <a:ea typeface="+mn-ea"/>
                <a:cs typeface="Arial" pitchFamily="34" charset="0"/>
              </a:rPr>
              <a:t>+2.5%</a:t>
            </a:r>
          </a:p>
        </p:txBody>
      </p:sp>
      <p:sp>
        <p:nvSpPr>
          <p:cNvPr id="102" name="Rectangle 101">
            <a:extLst>
              <a:ext uri="{FF2B5EF4-FFF2-40B4-BE49-F238E27FC236}">
                <a16:creationId xmlns:a16="http://schemas.microsoft.com/office/drawing/2014/main" id="{AD0F52B8-C6D8-49CF-A1B7-E2780DD4C6C1}"/>
              </a:ext>
            </a:extLst>
          </p:cNvPr>
          <p:cNvSpPr/>
          <p:nvPr/>
        </p:nvSpPr>
        <p:spPr bwMode="auto">
          <a:xfrm>
            <a:off x="239937" y="1093509"/>
            <a:ext cx="5747010" cy="39775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a:spcBef>
                <a:spcPts val="300"/>
              </a:spcBef>
            </a:pPr>
            <a:r>
              <a:rPr lang="en-GB" sz="1000">
                <a:latin typeface="Trebuchet MS" panose="020B0603020202020204" pitchFamily="34" charset="0"/>
              </a:rPr>
              <a:t>The </a:t>
            </a:r>
            <a:r>
              <a:rPr lang="en-GB" sz="1000">
                <a:solidFill>
                  <a:schemeClr val="tx2"/>
                </a:solidFill>
                <a:latin typeface="Trebuchet MS" panose="020B0603020202020204" pitchFamily="34" charset="0"/>
              </a:rPr>
              <a:t>BD&amp;A market</a:t>
            </a:r>
            <a:r>
              <a:rPr lang="en-GB" sz="1000">
                <a:latin typeface="Trebuchet MS" panose="020B0603020202020204" pitchFamily="34" charset="0"/>
              </a:rPr>
              <a:t> addressed by </a:t>
            </a:r>
            <a:r>
              <a:rPr lang="en-GB" sz="1000" err="1">
                <a:latin typeface="Trebuchet MS" panose="020B0603020202020204" pitchFamily="34" charset="0"/>
              </a:rPr>
              <a:t>Altares</a:t>
            </a:r>
            <a:r>
              <a:rPr lang="en-GB" sz="1000">
                <a:latin typeface="Trebuchet MS" panose="020B0603020202020204" pitchFamily="34" charset="0"/>
              </a:rPr>
              <a:t> will globally experience an estimated </a:t>
            </a:r>
            <a:r>
              <a:rPr lang="en-GB" sz="1000">
                <a:solidFill>
                  <a:schemeClr val="tx2"/>
                </a:solidFill>
                <a:latin typeface="Trebuchet MS" panose="020B0603020202020204" pitchFamily="34" charset="0"/>
              </a:rPr>
              <a:t>stable</a:t>
            </a:r>
            <a:r>
              <a:rPr lang="en-GB" sz="1000">
                <a:latin typeface="Trebuchet MS" panose="020B0603020202020204" pitchFamily="34" charset="0"/>
              </a:rPr>
              <a:t> </a:t>
            </a:r>
            <a:r>
              <a:rPr lang="en-GB" sz="1000">
                <a:solidFill>
                  <a:schemeClr val="tx2"/>
                </a:solidFill>
                <a:latin typeface="Trebuchet MS" panose="020B0603020202020204" pitchFamily="34" charset="0"/>
              </a:rPr>
              <a:t>growth</a:t>
            </a:r>
            <a:r>
              <a:rPr lang="en-GB" sz="1000">
                <a:latin typeface="Trebuchet MS" panose="020B0603020202020204" pitchFamily="34" charset="0"/>
              </a:rPr>
              <a:t> of around </a:t>
            </a:r>
            <a:r>
              <a:rPr lang="en-GB" sz="1000">
                <a:solidFill>
                  <a:schemeClr val="tx2"/>
                </a:solidFill>
                <a:latin typeface="Trebuchet MS" panose="020B0603020202020204" pitchFamily="34" charset="0"/>
              </a:rPr>
              <a:t>2.5%</a:t>
            </a:r>
            <a:r>
              <a:rPr lang="en-GB" sz="1000">
                <a:latin typeface="Trebuchet MS" panose="020B0603020202020204" pitchFamily="34" charset="0"/>
              </a:rPr>
              <a:t> per year (CAGR</a:t>
            </a:r>
            <a:r>
              <a:rPr lang="en-GB" sz="1000" baseline="-25000">
                <a:latin typeface="Trebuchet MS" panose="020B0603020202020204" pitchFamily="34" charset="0"/>
              </a:rPr>
              <a:t>21-25</a:t>
            </a:r>
            <a:r>
              <a:rPr lang="en-GB" sz="1000">
                <a:latin typeface="Trebuchet MS" panose="020B0603020202020204" pitchFamily="34" charset="0"/>
              </a:rPr>
              <a:t>), </a:t>
            </a:r>
            <a:r>
              <a:rPr lang="en-GB" sz="1000">
                <a:solidFill>
                  <a:schemeClr val="tx2"/>
                </a:solidFill>
                <a:latin typeface="Trebuchet MS" panose="020B0603020202020204" pitchFamily="34" charset="0"/>
              </a:rPr>
              <a:t>driven</a:t>
            </a:r>
            <a:r>
              <a:rPr lang="en-GB" sz="1000">
                <a:latin typeface="Trebuchet MS" panose="020B0603020202020204" pitchFamily="34" charset="0"/>
              </a:rPr>
              <a:t> by the </a:t>
            </a:r>
            <a:r>
              <a:rPr lang="en-GB" sz="1000">
                <a:solidFill>
                  <a:schemeClr val="tx2"/>
                </a:solidFill>
                <a:latin typeface="Trebuchet MS" panose="020B0603020202020204" pitchFamily="34" charset="0"/>
              </a:rPr>
              <a:t>compliance</a:t>
            </a:r>
            <a:r>
              <a:rPr lang="en-GB" sz="1000">
                <a:latin typeface="Trebuchet MS" panose="020B0603020202020204" pitchFamily="34" charset="0"/>
              </a:rPr>
              <a:t> and </a:t>
            </a:r>
            <a:r>
              <a:rPr lang="en-GB" sz="1000">
                <a:solidFill>
                  <a:schemeClr val="tx2"/>
                </a:solidFill>
                <a:latin typeface="Trebuchet MS" panose="020B0603020202020204" pitchFamily="34" charset="0"/>
              </a:rPr>
              <a:t>B2B</a:t>
            </a:r>
            <a:r>
              <a:rPr lang="en-GB" sz="1000">
                <a:latin typeface="Trebuchet MS" panose="020B0603020202020204" pitchFamily="34" charset="0"/>
              </a:rPr>
              <a:t> </a:t>
            </a:r>
            <a:r>
              <a:rPr lang="en-GB" sz="1000">
                <a:solidFill>
                  <a:schemeClr val="tx2"/>
                </a:solidFill>
                <a:latin typeface="Trebuchet MS" panose="020B0603020202020204" pitchFamily="34" charset="0"/>
              </a:rPr>
              <a:t>marketing</a:t>
            </a:r>
            <a:r>
              <a:rPr lang="en-GB" sz="1000">
                <a:latin typeface="Trebuchet MS" panose="020B0603020202020204" pitchFamily="34" charset="0"/>
              </a:rPr>
              <a:t> verticals</a:t>
            </a:r>
          </a:p>
        </p:txBody>
      </p:sp>
      <p:sp>
        <p:nvSpPr>
          <p:cNvPr id="103" name="Rectangle 102">
            <a:extLst>
              <a:ext uri="{FF2B5EF4-FFF2-40B4-BE49-F238E27FC236}">
                <a16:creationId xmlns:a16="http://schemas.microsoft.com/office/drawing/2014/main" id="{C8A52D54-9E96-4855-BF97-88907E41C19C}"/>
              </a:ext>
            </a:extLst>
          </p:cNvPr>
          <p:cNvSpPr/>
          <p:nvPr/>
        </p:nvSpPr>
        <p:spPr bwMode="auto">
          <a:xfrm>
            <a:off x="6148834" y="1093508"/>
            <a:ext cx="3581064" cy="218751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spcBef>
                <a:spcPts val="300"/>
              </a:spcBef>
            </a:pPr>
            <a:r>
              <a:rPr lang="en-GB" sz="1000" dirty="0">
                <a:latin typeface="Trebuchet MS" panose="020B0603020202020204" pitchFamily="34" charset="0"/>
              </a:rPr>
              <a:t>In terms of client segmentation, </a:t>
            </a:r>
            <a:r>
              <a:rPr lang="en-GB" sz="1000" dirty="0" err="1">
                <a:solidFill>
                  <a:schemeClr val="tx2"/>
                </a:solidFill>
                <a:latin typeface="Trebuchet MS" panose="020B0603020202020204" pitchFamily="34" charset="0"/>
              </a:rPr>
              <a:t>Altares</a:t>
            </a:r>
            <a:r>
              <a:rPr lang="en-GB" sz="1000" dirty="0">
                <a:solidFill>
                  <a:schemeClr val="tx2"/>
                </a:solidFill>
                <a:latin typeface="Trebuchet MS" panose="020B0603020202020204" pitchFamily="34" charset="0"/>
              </a:rPr>
              <a:t> </a:t>
            </a:r>
            <a:r>
              <a:rPr lang="en-GB" sz="1000" dirty="0">
                <a:latin typeface="Trebuchet MS" panose="020B0603020202020204" pitchFamily="34" charset="0"/>
              </a:rPr>
              <a:t>only</a:t>
            </a:r>
            <a:r>
              <a:rPr lang="en-GB" sz="1000" dirty="0">
                <a:solidFill>
                  <a:schemeClr val="tx2"/>
                </a:solidFill>
                <a:latin typeface="Trebuchet MS" panose="020B0603020202020204" pitchFamily="34" charset="0"/>
              </a:rPr>
              <a:t> addresses </a:t>
            </a:r>
            <a:r>
              <a:rPr lang="en-GB" sz="1000" dirty="0">
                <a:latin typeface="Trebuchet MS" panose="020B0603020202020204" pitchFamily="34" charset="0"/>
              </a:rPr>
              <a:t>the</a:t>
            </a:r>
            <a:r>
              <a:rPr lang="en-GB" sz="1000" dirty="0">
                <a:solidFill>
                  <a:schemeClr val="tx2"/>
                </a:solidFill>
                <a:latin typeface="Trebuchet MS" panose="020B0603020202020204" pitchFamily="34" charset="0"/>
              </a:rPr>
              <a:t> large accounts </a:t>
            </a:r>
            <a:r>
              <a:rPr lang="en-GB" sz="1000" dirty="0">
                <a:latin typeface="Trebuchet MS" panose="020B0603020202020204" pitchFamily="34" charset="0"/>
              </a:rPr>
              <a:t>and the </a:t>
            </a:r>
            <a:r>
              <a:rPr lang="en-GB" sz="1000" dirty="0">
                <a:solidFill>
                  <a:schemeClr val="tx2"/>
                </a:solidFill>
                <a:latin typeface="Trebuchet MS" panose="020B0603020202020204" pitchFamily="34" charset="0"/>
              </a:rPr>
              <a:t>upper-mid market. </a:t>
            </a:r>
            <a:endParaRPr lang="en-GB" sz="1000" dirty="0">
              <a:latin typeface="Trebuchet MS" panose="020B0603020202020204" pitchFamily="34" charset="0"/>
            </a:endParaRPr>
          </a:p>
          <a:p>
            <a:pPr marL="171450" indent="-171450">
              <a:spcBef>
                <a:spcPts val="300"/>
              </a:spcBef>
              <a:buFont typeface="Arial" panose="020B0604020202020204" pitchFamily="34" charset="0"/>
              <a:buChar char="•"/>
            </a:pPr>
            <a:r>
              <a:rPr lang="en-GB" sz="1000" b="1" i="1" dirty="0">
                <a:latin typeface="Trebuchet MS" panose="020B0603020202020204" pitchFamily="34" charset="0"/>
              </a:rPr>
              <a:t>On the Credit risk vertical</a:t>
            </a:r>
            <a:r>
              <a:rPr lang="en-GB" sz="1000" dirty="0">
                <a:latin typeface="Trebuchet MS" panose="020B0603020202020204" pitchFamily="34" charset="0"/>
              </a:rPr>
              <a:t>: Key accounts and the upper mid-market represent </a:t>
            </a:r>
            <a:r>
              <a:rPr lang="en-GB" sz="1000" dirty="0">
                <a:solidFill>
                  <a:schemeClr val="tx2"/>
                </a:solidFill>
                <a:latin typeface="Trebuchet MS" panose="020B0603020202020204" pitchFamily="34" charset="0"/>
              </a:rPr>
              <a:t>60% of the market</a:t>
            </a:r>
            <a:r>
              <a:rPr lang="en-GB" sz="1000" dirty="0">
                <a:latin typeface="Trebuchet MS" panose="020B0603020202020204" pitchFamily="34" charset="0"/>
              </a:rPr>
              <a:t>. The mass market being less mature as it has been recently penetrated by players positioned on the lower-end</a:t>
            </a:r>
          </a:p>
          <a:p>
            <a:pPr marL="171450" indent="-171450">
              <a:spcBef>
                <a:spcPts val="300"/>
              </a:spcBef>
              <a:buFont typeface="Arial" panose="020B0604020202020204" pitchFamily="34" charset="0"/>
              <a:buChar char="•"/>
            </a:pPr>
            <a:r>
              <a:rPr lang="en-GB" sz="1000" b="1" i="1" dirty="0">
                <a:latin typeface="Trebuchet MS" panose="020B0603020202020204" pitchFamily="34" charset="0"/>
              </a:rPr>
              <a:t>On the compliance vertical</a:t>
            </a:r>
            <a:r>
              <a:rPr lang="en-GB" sz="1000" dirty="0">
                <a:latin typeface="Trebuchet MS" panose="020B0603020202020204" pitchFamily="34" charset="0"/>
              </a:rPr>
              <a:t>, t</a:t>
            </a:r>
            <a:r>
              <a:rPr lang="en-US" sz="1000" dirty="0">
                <a:latin typeface="Trebuchet MS" panose="020B0603020202020204" pitchFamily="34" charset="0"/>
              </a:rPr>
              <a:t>he addressable market which initially targeted large and upper mid-size companies is growing rapidly with a larger proportion of the mid-size companies looking for compliance solutions</a:t>
            </a:r>
            <a:endParaRPr lang="en-GB" sz="1000" dirty="0">
              <a:latin typeface="Trebuchet MS" panose="020B0603020202020204" pitchFamily="34" charset="0"/>
            </a:endParaRPr>
          </a:p>
          <a:p>
            <a:pPr marL="171450" indent="-171450">
              <a:spcBef>
                <a:spcPts val="300"/>
              </a:spcBef>
              <a:buFont typeface="Arial" panose="020B0604020202020204" pitchFamily="34" charset="0"/>
              <a:buChar char="•"/>
            </a:pPr>
            <a:r>
              <a:rPr lang="en-GB" sz="1000" b="1" i="1" dirty="0">
                <a:latin typeface="Trebuchet MS" panose="020B0603020202020204" pitchFamily="34" charset="0"/>
              </a:rPr>
              <a:t>On the B2B marketing vertical</a:t>
            </a:r>
            <a:r>
              <a:rPr lang="en-GB" sz="1000" dirty="0">
                <a:latin typeface="Trebuchet MS" panose="020B0603020202020204" pitchFamily="34" charset="0"/>
              </a:rPr>
              <a:t>, the repartition between the client segments is more balanced</a:t>
            </a:r>
          </a:p>
        </p:txBody>
      </p:sp>
      <p:pic>
        <p:nvPicPr>
          <p:cNvPr id="104" name="Picture 2" descr="ALTARES-D&amp;B - L'ASSOCIATION FRANCAISE DES CREDIT MANAGERS ET CONSEILS">
            <a:extLst>
              <a:ext uri="{FF2B5EF4-FFF2-40B4-BE49-F238E27FC236}">
                <a16:creationId xmlns:a16="http://schemas.microsoft.com/office/drawing/2014/main" id="{DFDC5A00-E3DB-40E3-88B6-DE495CD76B3F}"/>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6176745" y="4174515"/>
            <a:ext cx="416692" cy="233401"/>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 coins arrondis 201">
            <a:extLst>
              <a:ext uri="{FF2B5EF4-FFF2-40B4-BE49-F238E27FC236}">
                <a16:creationId xmlns:a16="http://schemas.microsoft.com/office/drawing/2014/main" id="{4A998605-7ECD-4304-B9D2-9AEA65D2298F}"/>
              </a:ext>
            </a:extLst>
          </p:cNvPr>
          <p:cNvSpPr/>
          <p:nvPr/>
        </p:nvSpPr>
        <p:spPr bwMode="auto">
          <a:xfrm>
            <a:off x="9221531" y="367946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pic>
        <p:nvPicPr>
          <p:cNvPr id="106" name="Graphique 74" descr="Mégaphone">
            <a:extLst>
              <a:ext uri="{FF2B5EF4-FFF2-40B4-BE49-F238E27FC236}">
                <a16:creationId xmlns:a16="http://schemas.microsoft.com/office/drawing/2014/main" id="{0A0F6E44-ACAD-45EA-BAF4-FE447E380E3F}"/>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9272825" y="3677324"/>
            <a:ext cx="233011" cy="216420"/>
          </a:xfrm>
          <a:prstGeom prst="rect">
            <a:avLst/>
          </a:prstGeom>
          <a:effectLst/>
        </p:spPr>
      </p:pic>
      <p:sp>
        <p:nvSpPr>
          <p:cNvPr id="108" name="Rectangle : coins arrondis 200">
            <a:extLst>
              <a:ext uri="{FF2B5EF4-FFF2-40B4-BE49-F238E27FC236}">
                <a16:creationId xmlns:a16="http://schemas.microsoft.com/office/drawing/2014/main" id="{FFAC3459-DE3C-4EB5-BBCB-E6078F310C00}"/>
              </a:ext>
            </a:extLst>
          </p:cNvPr>
          <p:cNvSpPr/>
          <p:nvPr/>
        </p:nvSpPr>
        <p:spPr bwMode="auto">
          <a:xfrm>
            <a:off x="8402816" y="367946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pic>
        <p:nvPicPr>
          <p:cNvPr id="111" name="Graphique 90" descr="Poignée de main">
            <a:extLst>
              <a:ext uri="{FF2B5EF4-FFF2-40B4-BE49-F238E27FC236}">
                <a16:creationId xmlns:a16="http://schemas.microsoft.com/office/drawing/2014/main" id="{FC3ABABC-8635-4C09-B727-7D9956D49B8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442459" y="3641786"/>
            <a:ext cx="256313" cy="287496"/>
          </a:xfrm>
          <a:prstGeom prst="rect">
            <a:avLst/>
          </a:prstGeom>
          <a:effectLst/>
        </p:spPr>
      </p:pic>
      <p:sp>
        <p:nvSpPr>
          <p:cNvPr id="112" name="Rectangle : coins arrondis 199">
            <a:extLst>
              <a:ext uri="{FF2B5EF4-FFF2-40B4-BE49-F238E27FC236}">
                <a16:creationId xmlns:a16="http://schemas.microsoft.com/office/drawing/2014/main" id="{FA3C3630-2358-4A47-B775-D001EFC95E1E}"/>
              </a:ext>
            </a:extLst>
          </p:cNvPr>
          <p:cNvSpPr/>
          <p:nvPr/>
        </p:nvSpPr>
        <p:spPr bwMode="auto">
          <a:xfrm>
            <a:off x="7577579" y="367946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pic>
        <p:nvPicPr>
          <p:cNvPr id="115" name="Graphique 128" descr="Jauge">
            <a:extLst>
              <a:ext uri="{FF2B5EF4-FFF2-40B4-BE49-F238E27FC236}">
                <a16:creationId xmlns:a16="http://schemas.microsoft.com/office/drawing/2014/main" id="{A3CABC7E-F497-44DD-9D87-94CF3FFB417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7627902" y="3676422"/>
            <a:ext cx="234953" cy="218224"/>
          </a:xfrm>
          <a:prstGeom prst="rect">
            <a:avLst/>
          </a:prstGeom>
          <a:effectLst/>
        </p:spPr>
      </p:pic>
      <p:sp>
        <p:nvSpPr>
          <p:cNvPr id="89" name="Rectangle 88">
            <a:extLst>
              <a:ext uri="{FF2B5EF4-FFF2-40B4-BE49-F238E27FC236}">
                <a16:creationId xmlns:a16="http://schemas.microsoft.com/office/drawing/2014/main" id="{88307EE7-5D2D-49EF-AE46-80E1324263C0}"/>
              </a:ext>
            </a:extLst>
          </p:cNvPr>
          <p:cNvSpPr/>
          <p:nvPr/>
        </p:nvSpPr>
        <p:spPr bwMode="auto">
          <a:xfrm>
            <a:off x="4078985" y="2107736"/>
            <a:ext cx="1877863" cy="382927"/>
          </a:xfrm>
          <a:prstGeom prst="rect">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Total estimated BD&amp;A market: </a:t>
            </a:r>
          </a:p>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2"/>
                </a:solidFill>
                <a:effectLst/>
                <a:latin typeface="Trebuchet MS" panose="020B0603020202020204" pitchFamily="34" charset="0"/>
              </a:rPr>
              <a:t>~ €522m</a:t>
            </a:r>
          </a:p>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100" name="Flèche : double flèche horizontale 99">
            <a:extLst>
              <a:ext uri="{FF2B5EF4-FFF2-40B4-BE49-F238E27FC236}">
                <a16:creationId xmlns:a16="http://schemas.microsoft.com/office/drawing/2014/main" id="{F343EEEA-DA3B-4276-B135-A47F1DB66145}"/>
              </a:ext>
            </a:extLst>
          </p:cNvPr>
          <p:cNvSpPr/>
          <p:nvPr/>
        </p:nvSpPr>
        <p:spPr bwMode="auto">
          <a:xfrm rot="5400000">
            <a:off x="7261808" y="4629274"/>
            <a:ext cx="1422984" cy="83740"/>
          </a:xfrm>
          <a:prstGeom prst="leftRight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6" name="Flèche : double flèche horizontale 115">
            <a:extLst>
              <a:ext uri="{FF2B5EF4-FFF2-40B4-BE49-F238E27FC236}">
                <a16:creationId xmlns:a16="http://schemas.microsoft.com/office/drawing/2014/main" id="{4ACE5FC1-CB48-4769-93E8-294A8D02849A}"/>
              </a:ext>
            </a:extLst>
          </p:cNvPr>
          <p:cNvSpPr/>
          <p:nvPr/>
        </p:nvSpPr>
        <p:spPr bwMode="auto">
          <a:xfrm rot="5400000">
            <a:off x="7653526" y="5093873"/>
            <a:ext cx="2352183" cy="83740"/>
          </a:xfrm>
          <a:prstGeom prst="leftRight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9" name="Flèche : double flèche horizontale 118">
            <a:extLst>
              <a:ext uri="{FF2B5EF4-FFF2-40B4-BE49-F238E27FC236}">
                <a16:creationId xmlns:a16="http://schemas.microsoft.com/office/drawing/2014/main" id="{A7B0B63C-5E8E-4EC3-9E99-CE723D6BE6F1}"/>
              </a:ext>
            </a:extLst>
          </p:cNvPr>
          <p:cNvSpPr/>
          <p:nvPr/>
        </p:nvSpPr>
        <p:spPr bwMode="auto">
          <a:xfrm rot="5400000">
            <a:off x="9157191" y="4415494"/>
            <a:ext cx="995425" cy="83740"/>
          </a:xfrm>
          <a:prstGeom prst="leftRight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22" name="Image 21">
            <a:extLst>
              <a:ext uri="{FF2B5EF4-FFF2-40B4-BE49-F238E27FC236}">
                <a16:creationId xmlns:a16="http://schemas.microsoft.com/office/drawing/2014/main" id="{33982973-714C-4C93-B2CD-8088CFE342D9}"/>
              </a:ext>
            </a:extLst>
          </p:cNvPr>
          <p:cNvPicPr>
            <a:picLocks noChangeAspect="1"/>
          </p:cNvPicPr>
          <p:nvPr/>
        </p:nvPicPr>
        <p:blipFill>
          <a:blip r:embed="rId32"/>
          <a:stretch>
            <a:fillRect/>
          </a:stretch>
        </p:blipFill>
        <p:spPr>
          <a:xfrm>
            <a:off x="1439977" y="1732262"/>
            <a:ext cx="2445345" cy="2720765"/>
          </a:xfrm>
          <a:prstGeom prst="rect">
            <a:avLst/>
          </a:prstGeom>
        </p:spPr>
      </p:pic>
    </p:spTree>
    <p:extLst>
      <p:ext uri="{BB962C8B-B14F-4D97-AF65-F5344CB8AC3E}">
        <p14:creationId xmlns:p14="http://schemas.microsoft.com/office/powerpoint/2010/main" val="2763404743"/>
      </p:ext>
    </p:extLst>
  </p:cSld>
  <p:clrMapOvr>
    <a:masterClrMapping/>
  </p:clrMapOv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t 28" hidden="1">
            <a:extLst>
              <a:ext uri="{FF2B5EF4-FFF2-40B4-BE49-F238E27FC236}">
                <a16:creationId xmlns:a16="http://schemas.microsoft.com/office/drawing/2014/main" id="{E873AC55-943E-405B-9223-C774C555F6F2}"/>
              </a:ext>
            </a:extLst>
          </p:cNvPr>
          <p:cNvGraphicFramePr>
            <a:graphicFrameLocks noChangeAspect="1"/>
          </p:cNvGraphicFramePr>
          <p:nvPr>
            <p:custDataLst>
              <p:tags r:id="rId1"/>
            </p:custDataLst>
            <p:extLst>
              <p:ext uri="{D42A27DB-BD31-4B8C-83A1-F6EECF244321}">
                <p14:modId xmlns:p14="http://schemas.microsoft.com/office/powerpoint/2010/main" val="1509840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29" name="Objet 28" hidden="1">
                        <a:extLst>
                          <a:ext uri="{FF2B5EF4-FFF2-40B4-BE49-F238E27FC236}">
                            <a16:creationId xmlns:a16="http://schemas.microsoft.com/office/drawing/2014/main" id="{E873AC55-943E-405B-9223-C774C555F6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BCF466D4-B084-41C3-9F27-7651913F89E4}"/>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grpSp>
        <p:nvGrpSpPr>
          <p:cNvPr id="5" name="Groupe 4">
            <a:extLst>
              <a:ext uri="{FF2B5EF4-FFF2-40B4-BE49-F238E27FC236}">
                <a16:creationId xmlns:a16="http://schemas.microsoft.com/office/drawing/2014/main" id="{BA2EE418-4A59-4896-8293-7A6F01A7A799}"/>
              </a:ext>
            </a:extLst>
          </p:cNvPr>
          <p:cNvGrpSpPr/>
          <p:nvPr/>
        </p:nvGrpSpPr>
        <p:grpSpPr>
          <a:xfrm>
            <a:off x="3067305" y="2509707"/>
            <a:ext cx="3771390" cy="2349066"/>
            <a:chOff x="3067305" y="2509707"/>
            <a:chExt cx="3771390" cy="2349066"/>
          </a:xfrm>
        </p:grpSpPr>
        <p:sp>
          <p:nvSpPr>
            <p:cNvPr id="174" name="Rectangle 173">
              <a:extLst>
                <a:ext uri="{FF2B5EF4-FFF2-40B4-BE49-F238E27FC236}">
                  <a16:creationId xmlns:a16="http://schemas.microsoft.com/office/drawing/2014/main" id="{CD37F329-5ED3-45EF-9995-662E73CF4555}"/>
                </a:ext>
              </a:extLst>
            </p:cNvPr>
            <p:cNvSpPr/>
            <p:nvPr/>
          </p:nvSpPr>
          <p:spPr bwMode="auto">
            <a:xfrm>
              <a:off x="3067305" y="2509707"/>
              <a:ext cx="3771390" cy="234906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Aft>
                  <a:spcPts val="100"/>
                </a:spcAft>
              </a:pPr>
              <a:endParaRPr lang="en-GB" sz="900" b="1">
                <a:solidFill>
                  <a:schemeClr val="tx2"/>
                </a:solidFill>
                <a:latin typeface="Trebuchet MS" panose="020B0603020202020204" pitchFamily="34" charset="0"/>
              </a:endParaRPr>
            </a:p>
          </p:txBody>
        </p:sp>
        <p:sp>
          <p:nvSpPr>
            <p:cNvPr id="175" name="Rectangle 174">
              <a:extLst>
                <a:ext uri="{FF2B5EF4-FFF2-40B4-BE49-F238E27FC236}">
                  <a16:creationId xmlns:a16="http://schemas.microsoft.com/office/drawing/2014/main" id="{DB41871F-C83B-4E6D-BD7F-511DC9483CE6}"/>
                </a:ext>
              </a:extLst>
            </p:cNvPr>
            <p:cNvSpPr/>
            <p:nvPr/>
          </p:nvSpPr>
          <p:spPr bwMode="auto">
            <a:xfrm>
              <a:off x="5774835" y="2642376"/>
              <a:ext cx="864000" cy="1949824"/>
            </a:xfrm>
            <a:prstGeom prst="rect">
              <a:avLst/>
            </a:prstGeom>
            <a:solidFill>
              <a:schemeClr val="bg2">
                <a:lumMod val="20000"/>
                <a:lumOff val="80000"/>
                <a:alpha val="37000"/>
              </a:schemeClr>
            </a:solid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2"/>
                </a:solidFill>
                <a:effectLst/>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Tools</a:t>
              </a:r>
            </a:p>
          </p:txBody>
        </p:sp>
        <p:sp>
          <p:nvSpPr>
            <p:cNvPr id="178" name="Rectangle 177">
              <a:extLst>
                <a:ext uri="{FF2B5EF4-FFF2-40B4-BE49-F238E27FC236}">
                  <a16:creationId xmlns:a16="http://schemas.microsoft.com/office/drawing/2014/main" id="{8DE59FD4-3060-4BF6-8614-F8BB360C9640}"/>
                </a:ext>
              </a:extLst>
            </p:cNvPr>
            <p:cNvSpPr/>
            <p:nvPr/>
          </p:nvSpPr>
          <p:spPr bwMode="auto">
            <a:xfrm>
              <a:off x="5906574" y="3083269"/>
              <a:ext cx="595041" cy="431608"/>
            </a:xfrm>
            <a:prstGeom prst="rect">
              <a:avLst/>
            </a:prstGeom>
            <a:noFill/>
            <a:ln w="9525" cap="flat" cmpd="sng" algn="ctr">
              <a:solidFill>
                <a:schemeClr val="tx2"/>
              </a:solidFill>
              <a:prstDash val="dash"/>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Marketing analytics</a:t>
              </a:r>
            </a:p>
          </p:txBody>
        </p:sp>
        <p:sp>
          <p:nvSpPr>
            <p:cNvPr id="183" name="Rectangle 182">
              <a:extLst>
                <a:ext uri="{FF2B5EF4-FFF2-40B4-BE49-F238E27FC236}">
                  <a16:creationId xmlns:a16="http://schemas.microsoft.com/office/drawing/2014/main" id="{B63EB87C-6CA7-4D30-9724-5B3DBCC86EE7}"/>
                </a:ext>
              </a:extLst>
            </p:cNvPr>
            <p:cNvSpPr/>
            <p:nvPr/>
          </p:nvSpPr>
          <p:spPr bwMode="auto">
            <a:xfrm>
              <a:off x="5906574" y="3719700"/>
              <a:ext cx="595041" cy="431608"/>
            </a:xfrm>
            <a:prstGeom prst="rect">
              <a:avLst/>
            </a:prstGeom>
            <a:noFill/>
            <a:ln w="9525" cap="flat" cmpd="sng" algn="ctr">
              <a:solidFill>
                <a:schemeClr val="tx2"/>
              </a:solidFill>
              <a:prstDash val="dash"/>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CRM</a:t>
              </a:r>
            </a:p>
          </p:txBody>
        </p:sp>
        <p:sp>
          <p:nvSpPr>
            <p:cNvPr id="185" name="Rectangle 184">
              <a:extLst>
                <a:ext uri="{FF2B5EF4-FFF2-40B4-BE49-F238E27FC236}">
                  <a16:creationId xmlns:a16="http://schemas.microsoft.com/office/drawing/2014/main" id="{B992FE53-237B-44A5-B61D-9A72C3E3A819}"/>
                </a:ext>
              </a:extLst>
            </p:cNvPr>
            <p:cNvSpPr/>
            <p:nvPr/>
          </p:nvSpPr>
          <p:spPr bwMode="auto">
            <a:xfrm>
              <a:off x="3246482" y="2642376"/>
              <a:ext cx="2404645" cy="917117"/>
            </a:xfrm>
            <a:prstGeom prst="rect">
              <a:avLst/>
            </a:prstGeom>
            <a:solidFill>
              <a:schemeClr val="bg2">
                <a:lumMod val="40000"/>
                <a:lumOff val="60000"/>
              </a:schemeClr>
            </a:solidFill>
            <a:ln w="9525" cap="flat" cmpd="sng" algn="ctr">
              <a:solidFill>
                <a:schemeClr val="tx2"/>
              </a:solidFill>
              <a:prstDash val="solid"/>
              <a:round/>
              <a:headEnd type="none" w="med" len="med"/>
              <a:tailEnd type="none" w="med" len="med"/>
            </a:ln>
            <a:effectLst/>
          </p:spPr>
          <p:txBody>
            <a:bodyPr vert="horz" wrap="square" lIns="91440" tIns="36000" rIns="9144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Inbound Marketing</a:t>
              </a:r>
            </a:p>
          </p:txBody>
        </p:sp>
        <p:sp>
          <p:nvSpPr>
            <p:cNvPr id="186" name="Rectangle 185">
              <a:extLst>
                <a:ext uri="{FF2B5EF4-FFF2-40B4-BE49-F238E27FC236}">
                  <a16:creationId xmlns:a16="http://schemas.microsoft.com/office/drawing/2014/main" id="{41BC4A72-069C-45AD-A025-49C2EB13BBF0}"/>
                </a:ext>
              </a:extLst>
            </p:cNvPr>
            <p:cNvSpPr/>
            <p:nvPr/>
          </p:nvSpPr>
          <p:spPr bwMode="auto">
            <a:xfrm>
              <a:off x="3331182" y="3096985"/>
              <a:ext cx="684000" cy="376643"/>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Content creation</a:t>
              </a:r>
            </a:p>
          </p:txBody>
        </p:sp>
        <p:sp>
          <p:nvSpPr>
            <p:cNvPr id="187" name="Rectangle 186">
              <a:extLst>
                <a:ext uri="{FF2B5EF4-FFF2-40B4-BE49-F238E27FC236}">
                  <a16:creationId xmlns:a16="http://schemas.microsoft.com/office/drawing/2014/main" id="{8AC0612E-5ACA-4A9C-91EA-166F25496478}"/>
                </a:ext>
              </a:extLst>
            </p:cNvPr>
            <p:cNvSpPr/>
            <p:nvPr/>
          </p:nvSpPr>
          <p:spPr bwMode="auto">
            <a:xfrm>
              <a:off x="4101007" y="3096985"/>
              <a:ext cx="684000" cy="376643"/>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Inbound </a:t>
              </a:r>
              <a:r>
                <a:rPr kumimoji="0" lang="en-GB" sz="900" b="0" i="0" u="none" strike="noStrike" cap="none" normalizeH="0" baseline="0" err="1">
                  <a:ln>
                    <a:noFill/>
                  </a:ln>
                  <a:solidFill>
                    <a:schemeClr val="tx2"/>
                  </a:solidFill>
                  <a:effectLst/>
                  <a:latin typeface="Trebuchet MS" pitchFamily="34" charset="0"/>
                </a:rPr>
                <a:t>Softwares</a:t>
              </a:r>
              <a:endParaRPr kumimoji="0" lang="en-GB" sz="900" b="0" i="0" u="none" strike="noStrike" cap="none" normalizeH="0" baseline="0">
                <a:ln>
                  <a:noFill/>
                </a:ln>
                <a:solidFill>
                  <a:schemeClr val="tx2"/>
                </a:solidFill>
                <a:effectLst/>
                <a:latin typeface="Trebuchet MS" pitchFamily="34" charset="0"/>
              </a:endParaRPr>
            </a:p>
          </p:txBody>
        </p:sp>
        <p:sp>
          <p:nvSpPr>
            <p:cNvPr id="188" name="Rectangle 187">
              <a:extLst>
                <a:ext uri="{FF2B5EF4-FFF2-40B4-BE49-F238E27FC236}">
                  <a16:creationId xmlns:a16="http://schemas.microsoft.com/office/drawing/2014/main" id="{A19E658A-EE43-4A51-9630-8B1FA5DF62D9}"/>
                </a:ext>
              </a:extLst>
            </p:cNvPr>
            <p:cNvSpPr/>
            <p:nvPr/>
          </p:nvSpPr>
          <p:spPr bwMode="auto">
            <a:xfrm>
              <a:off x="4870832" y="3096985"/>
              <a:ext cx="684000" cy="376643"/>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Web agencies</a:t>
              </a:r>
            </a:p>
          </p:txBody>
        </p:sp>
        <p:sp>
          <p:nvSpPr>
            <p:cNvPr id="189" name="Rectangle 188">
              <a:extLst>
                <a:ext uri="{FF2B5EF4-FFF2-40B4-BE49-F238E27FC236}">
                  <a16:creationId xmlns:a16="http://schemas.microsoft.com/office/drawing/2014/main" id="{B2BD41EB-993D-417F-9F82-060CF07EE697}"/>
                </a:ext>
              </a:extLst>
            </p:cNvPr>
            <p:cNvSpPr/>
            <p:nvPr/>
          </p:nvSpPr>
          <p:spPr bwMode="auto">
            <a:xfrm>
              <a:off x="3201140" y="2774947"/>
              <a:ext cx="2472518" cy="4496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a:latin typeface="Trebuchet MS" panose="020B0603020202020204" pitchFamily="34" charset="0"/>
                </a:rPr>
                <a:t>Attract online customers on the company’s own channels</a:t>
              </a:r>
            </a:p>
          </p:txBody>
        </p:sp>
        <p:sp>
          <p:nvSpPr>
            <p:cNvPr id="190" name="Rectangle 189">
              <a:extLst>
                <a:ext uri="{FF2B5EF4-FFF2-40B4-BE49-F238E27FC236}">
                  <a16:creationId xmlns:a16="http://schemas.microsoft.com/office/drawing/2014/main" id="{1AF18A29-A177-4251-A35D-0AB97F51431F}"/>
                </a:ext>
              </a:extLst>
            </p:cNvPr>
            <p:cNvSpPr/>
            <p:nvPr/>
          </p:nvSpPr>
          <p:spPr bwMode="auto">
            <a:xfrm>
              <a:off x="3246483" y="3619216"/>
              <a:ext cx="2404644" cy="972984"/>
            </a:xfrm>
            <a:prstGeom prst="rect">
              <a:avLst/>
            </a:prstGeom>
            <a:solidFill>
              <a:schemeClr val="bg2">
                <a:lumMod val="40000"/>
                <a:lumOff val="60000"/>
              </a:schemeClr>
            </a:solidFill>
            <a:ln w="9525" cap="flat" cmpd="sng" algn="ctr">
              <a:solidFill>
                <a:schemeClr val="tx2"/>
              </a:solidFill>
              <a:prstDash val="solid"/>
              <a:round/>
              <a:headEnd type="none" w="med" len="med"/>
              <a:tailEnd type="none" w="med" len="med"/>
            </a:ln>
            <a:effectLst/>
          </p:spPr>
          <p:txBody>
            <a:bodyPr vert="horz" wrap="square" lIns="91440" tIns="36000" rIns="9144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Outbound Marketing</a:t>
              </a:r>
            </a:p>
          </p:txBody>
        </p:sp>
        <p:sp>
          <p:nvSpPr>
            <p:cNvPr id="191" name="Rectangle 190">
              <a:extLst>
                <a:ext uri="{FF2B5EF4-FFF2-40B4-BE49-F238E27FC236}">
                  <a16:creationId xmlns:a16="http://schemas.microsoft.com/office/drawing/2014/main" id="{29B9A966-50F5-44EE-A41D-9D529487D5D4}"/>
                </a:ext>
              </a:extLst>
            </p:cNvPr>
            <p:cNvSpPr/>
            <p:nvPr/>
          </p:nvSpPr>
          <p:spPr bwMode="auto">
            <a:xfrm>
              <a:off x="3332218" y="4090411"/>
              <a:ext cx="684000" cy="421848"/>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Physical</a:t>
              </a:r>
            </a:p>
            <a:p>
              <a:pPr marL="0" marR="0" indent="0" algn="ctr" defTabSz="914400" rtl="0" eaLnBrk="1" fontAlgn="base" latinLnBrk="0" hangingPunct="1">
                <a:lnSpc>
                  <a:spcPct val="100000"/>
                </a:lnSpc>
                <a:spcBef>
                  <a:spcPct val="0"/>
                </a:spcBef>
                <a:spcAft>
                  <a:spcPct val="0"/>
                </a:spcAft>
                <a:buClrTx/>
                <a:buSzTx/>
                <a:buFontTx/>
                <a:buNone/>
                <a:tabLst/>
              </a:pPr>
              <a:r>
                <a:rPr lang="en-GB" sz="900">
                  <a:solidFill>
                    <a:schemeClr val="tx2"/>
                  </a:solidFill>
                  <a:latin typeface="Trebuchet MS" pitchFamily="34" charset="0"/>
                </a:rPr>
                <a:t>Ads</a:t>
              </a:r>
              <a:endParaRPr kumimoji="0" lang="en-GB" sz="900" b="0" i="0" u="none" strike="noStrike" cap="none" normalizeH="0" baseline="0">
                <a:ln>
                  <a:noFill/>
                </a:ln>
                <a:solidFill>
                  <a:schemeClr val="tx2"/>
                </a:solidFill>
                <a:effectLst/>
                <a:latin typeface="Trebuchet MS" pitchFamily="34" charset="0"/>
              </a:endParaRPr>
            </a:p>
          </p:txBody>
        </p:sp>
        <p:sp>
          <p:nvSpPr>
            <p:cNvPr id="192" name="Rectangle 191">
              <a:extLst>
                <a:ext uri="{FF2B5EF4-FFF2-40B4-BE49-F238E27FC236}">
                  <a16:creationId xmlns:a16="http://schemas.microsoft.com/office/drawing/2014/main" id="{199C6786-B7D8-4AE5-9175-5F0D15752F25}"/>
                </a:ext>
              </a:extLst>
            </p:cNvPr>
            <p:cNvSpPr/>
            <p:nvPr/>
          </p:nvSpPr>
          <p:spPr bwMode="auto">
            <a:xfrm>
              <a:off x="4102043" y="4090411"/>
              <a:ext cx="684000" cy="421848"/>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900" err="1">
                  <a:solidFill>
                    <a:schemeClr val="tx2"/>
                  </a:solidFill>
                  <a:latin typeface="Trebuchet MS" pitchFamily="34" charset="0"/>
                </a:rPr>
                <a:t>Behavioral</a:t>
              </a:r>
              <a:endParaRPr lang="en-GB" sz="900">
                <a:solidFill>
                  <a:schemeClr val="tx2"/>
                </a:solidFill>
                <a:latin typeface="Trebuchet MS" pitchFamily="34" charset="0"/>
              </a:endParaRPr>
            </a:p>
            <a:p>
              <a:pPr algn="ctr"/>
              <a:r>
                <a:rPr lang="en-GB" sz="900">
                  <a:solidFill>
                    <a:schemeClr val="tx2"/>
                  </a:solidFill>
                  <a:latin typeface="Trebuchet MS" pitchFamily="34" charset="0"/>
                </a:rPr>
                <a:t>intelligence</a:t>
              </a:r>
            </a:p>
          </p:txBody>
        </p:sp>
        <p:sp>
          <p:nvSpPr>
            <p:cNvPr id="193" name="Rectangle 192">
              <a:extLst>
                <a:ext uri="{FF2B5EF4-FFF2-40B4-BE49-F238E27FC236}">
                  <a16:creationId xmlns:a16="http://schemas.microsoft.com/office/drawing/2014/main" id="{267E65C0-6CAD-4211-BA53-CDDAF0A32DF1}"/>
                </a:ext>
              </a:extLst>
            </p:cNvPr>
            <p:cNvSpPr/>
            <p:nvPr/>
          </p:nvSpPr>
          <p:spPr bwMode="auto">
            <a:xfrm>
              <a:off x="4871868" y="4090411"/>
              <a:ext cx="684000" cy="421848"/>
            </a:xfrm>
            <a:prstGeom prst="rect">
              <a:avLst/>
            </a:prstGeom>
            <a:solidFill>
              <a:schemeClr val="accent1">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1" i="0" u="none" strike="noStrike" cap="none" normalizeH="0" baseline="0">
                  <a:ln>
                    <a:noFill/>
                  </a:ln>
                  <a:solidFill>
                    <a:schemeClr val="accent1"/>
                  </a:solidFill>
                  <a:effectLst/>
                  <a:latin typeface="Trebuchet MS" pitchFamily="34" charset="0"/>
                </a:rPr>
                <a:t>B2B Prospect qualification</a:t>
              </a:r>
            </a:p>
          </p:txBody>
        </p:sp>
        <p:pic>
          <p:nvPicPr>
            <p:cNvPr id="194" name="Graphique 37" descr="Loupe">
              <a:extLst>
                <a:ext uri="{FF2B5EF4-FFF2-40B4-BE49-F238E27FC236}">
                  <a16:creationId xmlns:a16="http://schemas.microsoft.com/office/drawing/2014/main" id="{5F98C294-962A-466D-81BC-A959F9DE6A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37655" y="4480333"/>
              <a:ext cx="140310" cy="133562"/>
            </a:xfrm>
            <a:prstGeom prst="rect">
              <a:avLst/>
            </a:prstGeom>
          </p:spPr>
        </p:pic>
        <p:sp>
          <p:nvSpPr>
            <p:cNvPr id="195" name="Rectangle 194">
              <a:extLst>
                <a:ext uri="{FF2B5EF4-FFF2-40B4-BE49-F238E27FC236}">
                  <a16:creationId xmlns:a16="http://schemas.microsoft.com/office/drawing/2014/main" id="{FBC8FF1A-D1CC-413D-9E50-902C61359586}"/>
                </a:ext>
              </a:extLst>
            </p:cNvPr>
            <p:cNvSpPr/>
            <p:nvPr/>
          </p:nvSpPr>
          <p:spPr bwMode="auto">
            <a:xfrm>
              <a:off x="3223271" y="3745061"/>
              <a:ext cx="2433445" cy="4496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a:latin typeface="Trebuchet MS" pitchFamily="34" charset="0"/>
                </a:rPr>
                <a:t>Initiate conversation or contact to a targeted audience</a:t>
              </a:r>
            </a:p>
          </p:txBody>
        </p:sp>
        <p:sp>
          <p:nvSpPr>
            <p:cNvPr id="197" name="Rectangle 196">
              <a:extLst>
                <a:ext uri="{FF2B5EF4-FFF2-40B4-BE49-F238E27FC236}">
                  <a16:creationId xmlns:a16="http://schemas.microsoft.com/office/drawing/2014/main" id="{9628E998-CF3E-42BC-AD83-E0B749468D4F}"/>
                </a:ext>
              </a:extLst>
            </p:cNvPr>
            <p:cNvSpPr/>
            <p:nvPr/>
          </p:nvSpPr>
          <p:spPr bwMode="auto">
            <a:xfrm>
              <a:off x="4089557" y="4594403"/>
              <a:ext cx="2301807" cy="16689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accent1"/>
                  </a:solidFill>
                  <a:effectLst/>
                  <a:latin typeface="Trebuchet MS" pitchFamily="34" charset="0"/>
                </a:rPr>
                <a:t>Addressed market by Altares</a:t>
              </a:r>
            </a:p>
          </p:txBody>
        </p:sp>
        <p:sp>
          <p:nvSpPr>
            <p:cNvPr id="199" name="Rectangle 198">
              <a:extLst>
                <a:ext uri="{FF2B5EF4-FFF2-40B4-BE49-F238E27FC236}">
                  <a16:creationId xmlns:a16="http://schemas.microsoft.com/office/drawing/2014/main" id="{716F9EC4-5445-44E3-BD68-6C95E9C1F53D}"/>
                </a:ext>
              </a:extLst>
            </p:cNvPr>
            <p:cNvSpPr/>
            <p:nvPr/>
          </p:nvSpPr>
          <p:spPr bwMode="auto">
            <a:xfrm>
              <a:off x="5752304" y="4318318"/>
              <a:ext cx="798341" cy="26259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accent1"/>
                  </a:solidFill>
                  <a:effectLst/>
                  <a:latin typeface="Trebuchet MS" pitchFamily="34" charset="0"/>
                </a:rPr>
                <a:t>Connexion to CRM</a:t>
              </a:r>
            </a:p>
          </p:txBody>
        </p:sp>
        <p:cxnSp>
          <p:nvCxnSpPr>
            <p:cNvPr id="201" name="Connecteur : en angle 200">
              <a:extLst>
                <a:ext uri="{FF2B5EF4-FFF2-40B4-BE49-F238E27FC236}">
                  <a16:creationId xmlns:a16="http://schemas.microsoft.com/office/drawing/2014/main" id="{F040DFC0-F3A7-4DC7-A560-6AA335DE81F9}"/>
                </a:ext>
              </a:extLst>
            </p:cNvPr>
            <p:cNvCxnSpPr>
              <a:cxnSpLocks/>
              <a:stCxn id="193" idx="3"/>
              <a:endCxn id="183" idx="2"/>
            </p:cNvCxnSpPr>
            <p:nvPr/>
          </p:nvCxnSpPr>
          <p:spPr bwMode="auto">
            <a:xfrm flipV="1">
              <a:off x="5555868" y="4151308"/>
              <a:ext cx="648227" cy="150027"/>
            </a:xfrm>
            <a:prstGeom prst="bentConnector2">
              <a:avLst/>
            </a:prstGeom>
            <a:solidFill>
              <a:schemeClr val="accent1"/>
            </a:solidFill>
            <a:ln w="9525" cap="flat" cmpd="sng" algn="ctr">
              <a:solidFill>
                <a:schemeClr val="accent1"/>
              </a:solidFill>
              <a:prstDash val="solid"/>
              <a:round/>
              <a:headEnd type="diamond" w="med" len="med"/>
              <a:tailEnd type="diamond" w="med" len="med"/>
            </a:ln>
            <a:effectLst/>
          </p:spPr>
        </p:cxnSp>
      </p:grpSp>
      <p:sp>
        <p:nvSpPr>
          <p:cNvPr id="2" name="Title 1">
            <a:extLst>
              <a:ext uri="{FF2B5EF4-FFF2-40B4-BE49-F238E27FC236}">
                <a16:creationId xmlns:a16="http://schemas.microsoft.com/office/drawing/2014/main" id="{BF60AF80-B1A4-42B4-93E7-DB95A5D4D506}"/>
              </a:ext>
            </a:extLst>
          </p:cNvPr>
          <p:cNvSpPr>
            <a:spLocks noGrp="1"/>
          </p:cNvSpPr>
          <p:nvPr>
            <p:ph type="title"/>
          </p:nvPr>
        </p:nvSpPr>
        <p:spPr>
          <a:xfrm>
            <a:off x="165600" y="147600"/>
            <a:ext cx="8227465" cy="684000"/>
          </a:xfrm>
        </p:spPr>
        <p:txBody>
          <a:bodyPr/>
          <a:lstStyle/>
          <a:p>
            <a:r>
              <a:rPr lang="en-GB">
                <a:latin typeface="Trebuchet MS" panose="020B0603020202020204" pitchFamily="34" charset="0"/>
              </a:rPr>
              <a:t>The </a:t>
            </a:r>
            <a:r>
              <a:rPr lang="en-GB">
                <a:solidFill>
                  <a:schemeClr val="tx2"/>
                </a:solidFill>
                <a:latin typeface="Trebuchet MS" panose="020B0603020202020204" pitchFamily="34" charset="0"/>
              </a:rPr>
              <a:t>market</a:t>
            </a:r>
            <a:r>
              <a:rPr lang="en-GB">
                <a:latin typeface="Trebuchet MS" panose="020B0603020202020204" pitchFamily="34" charset="0"/>
              </a:rPr>
              <a:t> </a:t>
            </a:r>
            <a:r>
              <a:rPr lang="en-GB">
                <a:solidFill>
                  <a:schemeClr val="tx2"/>
                </a:solidFill>
                <a:latin typeface="Trebuchet MS" panose="020B0603020202020204" pitchFamily="34" charset="0"/>
              </a:rPr>
              <a:t>structure</a:t>
            </a:r>
            <a:r>
              <a:rPr lang="en-GB">
                <a:latin typeface="Trebuchet MS" panose="020B0603020202020204" pitchFamily="34" charset="0"/>
              </a:rPr>
              <a:t> is </a:t>
            </a:r>
            <a:r>
              <a:rPr lang="en-GB">
                <a:solidFill>
                  <a:schemeClr val="tx2"/>
                </a:solidFill>
                <a:latin typeface="Trebuchet MS" panose="020B0603020202020204" pitchFamily="34" charset="0"/>
              </a:rPr>
              <a:t>changing</a:t>
            </a:r>
            <a:r>
              <a:rPr lang="en-GB">
                <a:latin typeface="Trebuchet MS" panose="020B0603020202020204" pitchFamily="34" charset="0"/>
              </a:rPr>
              <a:t> under the influence of GDPR and the development of tracking technologies, making the </a:t>
            </a:r>
            <a:r>
              <a:rPr lang="en-GB">
                <a:solidFill>
                  <a:schemeClr val="tx2"/>
                </a:solidFill>
                <a:latin typeface="Trebuchet MS" panose="020B0603020202020204" pitchFamily="34" charset="0"/>
              </a:rPr>
              <a:t>boundary</a:t>
            </a:r>
            <a:r>
              <a:rPr lang="en-GB">
                <a:latin typeface="Trebuchet MS" panose="020B0603020202020204" pitchFamily="34" charset="0"/>
              </a:rPr>
              <a:t> </a:t>
            </a:r>
            <a:r>
              <a:rPr lang="en-GB">
                <a:solidFill>
                  <a:schemeClr val="tx2"/>
                </a:solidFill>
                <a:latin typeface="Trebuchet MS" panose="020B0603020202020204" pitchFamily="34" charset="0"/>
              </a:rPr>
              <a:t>between</a:t>
            </a:r>
            <a:r>
              <a:rPr lang="en-GB">
                <a:latin typeface="Trebuchet MS" panose="020B0603020202020204" pitchFamily="34" charset="0"/>
              </a:rPr>
              <a:t> </a:t>
            </a:r>
            <a:r>
              <a:rPr lang="en-GB">
                <a:solidFill>
                  <a:schemeClr val="tx2"/>
                </a:solidFill>
                <a:latin typeface="Trebuchet MS" panose="020B0603020202020204" pitchFamily="34" charset="0"/>
              </a:rPr>
              <a:t>inbound</a:t>
            </a:r>
            <a:r>
              <a:rPr lang="en-GB">
                <a:latin typeface="Trebuchet MS" panose="020B0603020202020204" pitchFamily="34" charset="0"/>
              </a:rPr>
              <a:t> and </a:t>
            </a:r>
            <a:r>
              <a:rPr lang="en-GB">
                <a:solidFill>
                  <a:schemeClr val="tx2"/>
                </a:solidFill>
                <a:latin typeface="Trebuchet MS" panose="020B0603020202020204" pitchFamily="34" charset="0"/>
              </a:rPr>
              <a:t>outbound</a:t>
            </a:r>
            <a:r>
              <a:rPr lang="en-GB">
                <a:latin typeface="Trebuchet MS" panose="020B0603020202020204" pitchFamily="34" charset="0"/>
              </a:rPr>
              <a:t> marketing </a:t>
            </a:r>
            <a:r>
              <a:rPr lang="en-GB">
                <a:solidFill>
                  <a:schemeClr val="tx2"/>
                </a:solidFill>
                <a:latin typeface="Trebuchet MS" panose="020B0603020202020204" pitchFamily="34" charset="0"/>
              </a:rPr>
              <a:t>porous</a:t>
            </a:r>
            <a:endParaRPr lang="en-GB">
              <a:latin typeface="Trebuchet MS" panose="020B0603020202020204" pitchFamily="34" charset="0"/>
            </a:endParaRPr>
          </a:p>
        </p:txBody>
      </p:sp>
      <p:sp>
        <p:nvSpPr>
          <p:cNvPr id="3" name="Text Placeholder 2">
            <a:extLst>
              <a:ext uri="{FF2B5EF4-FFF2-40B4-BE49-F238E27FC236}">
                <a16:creationId xmlns:a16="http://schemas.microsoft.com/office/drawing/2014/main" id="{07FBEF58-ABDE-46CD-AE57-454D452DA16B}"/>
              </a:ext>
            </a:extLst>
          </p:cNvPr>
          <p:cNvSpPr>
            <a:spLocks noGrp="1"/>
          </p:cNvSpPr>
          <p:nvPr>
            <p:ph type="body" sz="quarter" idx="10"/>
          </p:nvPr>
        </p:nvSpPr>
        <p:spPr/>
        <p:txBody>
          <a:bodyPr/>
          <a:lstStyle/>
          <a:p>
            <a:r>
              <a:rPr lang="en-GB"/>
              <a:t>Sources: eleven research &amp; analysis, expert calls</a:t>
            </a:r>
          </a:p>
        </p:txBody>
      </p:sp>
      <p:cxnSp>
        <p:nvCxnSpPr>
          <p:cNvPr id="97" name="Connecteur droit 4">
            <a:extLst>
              <a:ext uri="{FF2B5EF4-FFF2-40B4-BE49-F238E27FC236}">
                <a16:creationId xmlns:a16="http://schemas.microsoft.com/office/drawing/2014/main" id="{B0E6258F-B34B-4F46-950E-6E4DDD65178B}"/>
              </a:ext>
            </a:extLst>
          </p:cNvPr>
          <p:cNvCxnSpPr>
            <a:cxnSpLocks/>
          </p:cNvCxnSpPr>
          <p:nvPr/>
        </p:nvCxnSpPr>
        <p:spPr bwMode="auto">
          <a:xfrm>
            <a:off x="153380" y="1109904"/>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98" name="ZoneTexte 6">
            <a:extLst>
              <a:ext uri="{FF2B5EF4-FFF2-40B4-BE49-F238E27FC236}">
                <a16:creationId xmlns:a16="http://schemas.microsoft.com/office/drawing/2014/main" id="{2BE66DEC-48D7-4CD4-B4A1-1D96FC180F35}"/>
              </a:ext>
            </a:extLst>
          </p:cNvPr>
          <p:cNvSpPr txBox="1"/>
          <p:nvPr/>
        </p:nvSpPr>
        <p:spPr>
          <a:xfrm>
            <a:off x="3314482" y="1009894"/>
            <a:ext cx="3392462" cy="200023"/>
          </a:xfrm>
          <a:prstGeom prst="rect">
            <a:avLst/>
          </a:prstGeom>
          <a:solidFill>
            <a:schemeClr val="bg1"/>
          </a:solidFill>
          <a:ln>
            <a:noFill/>
          </a:ln>
        </p:spPr>
        <p:txBody>
          <a:bodyPr wrap="square" rtlCol="0" anchor="ctr">
            <a:noAutofit/>
          </a:bodyPr>
          <a:lstStyle/>
          <a:p>
            <a:pPr algn="ctr"/>
            <a:r>
              <a:rPr lang="en-GB" sz="1100">
                <a:latin typeface="Trebuchet MS" panose="020B0603020202020204" pitchFamily="34" charset="0"/>
              </a:rPr>
              <a:t>Main trends impacting the B2B Marketing market</a:t>
            </a:r>
          </a:p>
        </p:txBody>
      </p:sp>
      <p:sp>
        <p:nvSpPr>
          <p:cNvPr id="129" name="Speech Bubble: Rectangle 33">
            <a:extLst>
              <a:ext uri="{FF2B5EF4-FFF2-40B4-BE49-F238E27FC236}">
                <a16:creationId xmlns:a16="http://schemas.microsoft.com/office/drawing/2014/main" id="{B2A63ABA-5E66-4F91-A9EF-C9B155239482}"/>
              </a:ext>
            </a:extLst>
          </p:cNvPr>
          <p:cNvSpPr/>
          <p:nvPr/>
        </p:nvSpPr>
        <p:spPr bwMode="auto">
          <a:xfrm>
            <a:off x="211863" y="4803032"/>
            <a:ext cx="2691043" cy="1612288"/>
          </a:xfrm>
          <a:prstGeom prst="wedgeRectCallout">
            <a:avLst>
              <a:gd name="adj1" fmla="val 65615"/>
              <a:gd name="adj2" fmla="val -40389"/>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31" name="Speech Bubble: Rectangle 27">
            <a:extLst>
              <a:ext uri="{FF2B5EF4-FFF2-40B4-BE49-F238E27FC236}">
                <a16:creationId xmlns:a16="http://schemas.microsoft.com/office/drawing/2014/main" id="{AE935E47-C1CA-4810-91F8-616A44B02F3C}"/>
              </a:ext>
            </a:extLst>
          </p:cNvPr>
          <p:cNvSpPr/>
          <p:nvPr/>
        </p:nvSpPr>
        <p:spPr bwMode="auto">
          <a:xfrm>
            <a:off x="7017872" y="1362184"/>
            <a:ext cx="2810057" cy="2956129"/>
          </a:xfrm>
          <a:prstGeom prst="wedgeRectCallout">
            <a:avLst>
              <a:gd name="adj1" fmla="val -59309"/>
              <a:gd name="adj2" fmla="val 31984"/>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3" name="Rectangle 132">
            <a:extLst>
              <a:ext uri="{FF2B5EF4-FFF2-40B4-BE49-F238E27FC236}">
                <a16:creationId xmlns:a16="http://schemas.microsoft.com/office/drawing/2014/main" id="{0CC97725-05BE-42A2-AEA0-FDAA75F0982C}"/>
              </a:ext>
            </a:extLst>
          </p:cNvPr>
          <p:cNvSpPr/>
          <p:nvPr/>
        </p:nvSpPr>
        <p:spPr>
          <a:xfrm>
            <a:off x="7145926" y="1446266"/>
            <a:ext cx="2603386" cy="400110"/>
          </a:xfrm>
          <a:prstGeom prst="rect">
            <a:avLst/>
          </a:prstGeom>
          <a:ln>
            <a:noFill/>
          </a:ln>
        </p:spPr>
        <p:txBody>
          <a:bodyPr wrap="square">
            <a:spAutoFit/>
          </a:bodyPr>
          <a:lstStyle/>
          <a:p>
            <a:pPr marL="180000" algn="ctr"/>
            <a:r>
              <a:rPr lang="en-GB" sz="1000" b="1">
                <a:solidFill>
                  <a:schemeClr val="tx2"/>
                </a:solidFill>
                <a:latin typeface="Trebuchet MS" panose="020B0603020202020204" pitchFamily="34" charset="0"/>
              </a:rPr>
              <a:t>Increasing consolidation of data sources with CDPs</a:t>
            </a:r>
          </a:p>
        </p:txBody>
      </p:sp>
      <p:pic>
        <p:nvPicPr>
          <p:cNvPr id="134" name="Graphique 85" descr="Minimiser">
            <a:extLst>
              <a:ext uri="{FF2B5EF4-FFF2-40B4-BE49-F238E27FC236}">
                <a16:creationId xmlns:a16="http://schemas.microsoft.com/office/drawing/2014/main" id="{66630D3F-5981-4F96-BD54-0F7D11D3059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38400" y="1487775"/>
            <a:ext cx="256876" cy="256876"/>
          </a:xfrm>
          <a:prstGeom prst="rect">
            <a:avLst/>
          </a:prstGeom>
        </p:spPr>
      </p:pic>
      <p:sp>
        <p:nvSpPr>
          <p:cNvPr id="135" name="Rectangle 134">
            <a:extLst>
              <a:ext uri="{FF2B5EF4-FFF2-40B4-BE49-F238E27FC236}">
                <a16:creationId xmlns:a16="http://schemas.microsoft.com/office/drawing/2014/main" id="{915C00E5-F5AA-421A-8E91-9F97AA4E54AD}"/>
              </a:ext>
            </a:extLst>
          </p:cNvPr>
          <p:cNvSpPr/>
          <p:nvPr/>
        </p:nvSpPr>
        <p:spPr bwMode="auto">
          <a:xfrm>
            <a:off x="7312465" y="1883137"/>
            <a:ext cx="2436847" cy="650116"/>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72000">
              <a:spcAft>
                <a:spcPts val="300"/>
              </a:spcAft>
            </a:pPr>
            <a:r>
              <a:rPr kumimoji="0" lang="en-GB" sz="1000" b="0" u="none" strike="noStrike" cap="none" spc="-30" normalizeH="0">
                <a:ln>
                  <a:noFill/>
                </a:ln>
                <a:solidFill>
                  <a:schemeClr val="tx1"/>
                </a:solidFill>
                <a:effectLst/>
                <a:latin typeface="Trebuchet MS" panose="020B0603020202020204" pitchFamily="34" charset="0"/>
              </a:rPr>
              <a:t>Customer Data Platforms (CDP) are emerging to </a:t>
            </a:r>
            <a:r>
              <a:rPr kumimoji="0" lang="en-GB" sz="1000" b="0" u="none" strike="noStrike" cap="none" spc="-30" normalizeH="0">
                <a:ln>
                  <a:noFill/>
                </a:ln>
                <a:solidFill>
                  <a:schemeClr val="tx2"/>
                </a:solidFill>
                <a:effectLst/>
                <a:latin typeface="Trebuchet MS" panose="020B0603020202020204" pitchFamily="34" charset="0"/>
              </a:rPr>
              <a:t>consolidate the data </a:t>
            </a:r>
            <a:r>
              <a:rPr kumimoji="0" lang="en-GB" sz="1000" b="0" u="none" strike="noStrike" cap="none" spc="-30" normalizeH="0">
                <a:ln>
                  <a:noFill/>
                </a:ln>
                <a:solidFill>
                  <a:schemeClr val="tx1"/>
                </a:solidFill>
                <a:effectLst/>
                <a:latin typeface="Trebuchet MS" panose="020B0603020202020204" pitchFamily="34" charset="0"/>
              </a:rPr>
              <a:t>from inbound marketing and database providers</a:t>
            </a:r>
          </a:p>
        </p:txBody>
      </p:sp>
      <p:sp>
        <p:nvSpPr>
          <p:cNvPr id="136" name="Rectangle 135">
            <a:extLst>
              <a:ext uri="{FF2B5EF4-FFF2-40B4-BE49-F238E27FC236}">
                <a16:creationId xmlns:a16="http://schemas.microsoft.com/office/drawing/2014/main" id="{68A8568C-485E-444C-9D8E-58608F263EC6}"/>
              </a:ext>
            </a:extLst>
          </p:cNvPr>
          <p:cNvSpPr/>
          <p:nvPr/>
        </p:nvSpPr>
        <p:spPr bwMode="auto">
          <a:xfrm>
            <a:off x="7262511" y="2607225"/>
            <a:ext cx="2486801" cy="105542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1" u="none" strike="noStrike" cap="none" normalizeH="0" baseline="0">
                <a:ln>
                  <a:noFill/>
                </a:ln>
                <a:solidFill>
                  <a:schemeClr val="tx1"/>
                </a:solidFill>
                <a:effectLst/>
                <a:latin typeface="Trebuchet MS" panose="020B0603020202020204" pitchFamily="34" charset="0"/>
              </a:rPr>
              <a:t>Example of use case</a:t>
            </a:r>
          </a:p>
          <a:p>
            <a:pPr marL="228600" marR="0" indent="-228600" defTabSz="914400" rtl="0" eaLnBrk="1" fontAlgn="base" latinLnBrk="0" hangingPunct="1">
              <a:lnSpc>
                <a:spcPct val="100000"/>
              </a:lnSpc>
              <a:spcBef>
                <a:spcPct val="0"/>
              </a:spcBef>
              <a:spcAft>
                <a:spcPct val="0"/>
              </a:spcAft>
              <a:buClr>
                <a:schemeClr val="tx2"/>
              </a:buClr>
              <a:buSzTx/>
              <a:buFontTx/>
              <a:buAutoNum type="arabicPeriod"/>
              <a:tabLst/>
            </a:pPr>
            <a:r>
              <a:rPr lang="en-GB" sz="1000" i="1">
                <a:latin typeface="Trebuchet MS" pitchFamily="34" charset="0"/>
              </a:rPr>
              <a:t>The client’ prospect opens the outbound email and goes on the website via an incorporated link</a:t>
            </a:r>
          </a:p>
          <a:p>
            <a:pPr marL="228600" marR="0" indent="-228600" defTabSz="914400" rtl="0" eaLnBrk="1" fontAlgn="base" latinLnBrk="0" hangingPunct="1">
              <a:lnSpc>
                <a:spcPct val="100000"/>
              </a:lnSpc>
              <a:spcBef>
                <a:spcPct val="0"/>
              </a:spcBef>
              <a:spcAft>
                <a:spcPct val="0"/>
              </a:spcAft>
              <a:buClr>
                <a:schemeClr val="tx2"/>
              </a:buClr>
              <a:buSzTx/>
              <a:buFontTx/>
              <a:buAutoNum type="arabicPeriod"/>
              <a:tabLst/>
            </a:pPr>
            <a:r>
              <a:rPr lang="en-GB" sz="1000" i="1">
                <a:latin typeface="Trebuchet MS" pitchFamily="34" charset="0"/>
              </a:rPr>
              <a:t>The prospect is on the website and is identified by the personalized link (inbound marketing)</a:t>
            </a:r>
          </a:p>
          <a:p>
            <a:pPr marL="228600" marR="0" indent="-228600" defTabSz="914400" rtl="0" eaLnBrk="1" fontAlgn="base" latinLnBrk="0" hangingPunct="1">
              <a:lnSpc>
                <a:spcPct val="100000"/>
              </a:lnSpc>
              <a:spcBef>
                <a:spcPct val="0"/>
              </a:spcBef>
              <a:spcAft>
                <a:spcPct val="0"/>
              </a:spcAft>
              <a:buClr>
                <a:schemeClr val="tx2"/>
              </a:buClr>
              <a:buSzTx/>
              <a:buFontTx/>
              <a:buAutoNum type="arabicPeriod"/>
              <a:tabLst/>
            </a:pPr>
            <a:r>
              <a:rPr lang="en-GB" sz="1000" i="1">
                <a:latin typeface="Trebuchet MS" pitchFamily="34" charset="0"/>
              </a:rPr>
              <a:t>The client’ CRM is updated with this new information on its prospect and the client now has a qualified lead</a:t>
            </a:r>
            <a:endParaRPr kumimoji="0" lang="en-GB" sz="1000" b="0" i="1" u="none" strike="noStrike" cap="none" normalizeH="0" baseline="0">
              <a:ln>
                <a:noFill/>
              </a:ln>
              <a:solidFill>
                <a:schemeClr val="tx1"/>
              </a:solidFill>
              <a:effectLst/>
              <a:latin typeface="Trebuchet MS" panose="020B0603020202020204" pitchFamily="34" charset="0"/>
            </a:endParaRPr>
          </a:p>
        </p:txBody>
      </p:sp>
      <p:sp>
        <p:nvSpPr>
          <p:cNvPr id="137" name="Rectangle 136">
            <a:extLst>
              <a:ext uri="{FF2B5EF4-FFF2-40B4-BE49-F238E27FC236}">
                <a16:creationId xmlns:a16="http://schemas.microsoft.com/office/drawing/2014/main" id="{2D667BFC-58E3-4009-915D-F740CB005DBD}"/>
              </a:ext>
            </a:extLst>
          </p:cNvPr>
          <p:cNvSpPr/>
          <p:nvPr/>
        </p:nvSpPr>
        <p:spPr>
          <a:xfrm>
            <a:off x="255691" y="4848120"/>
            <a:ext cx="2603386" cy="246221"/>
          </a:xfrm>
          <a:prstGeom prst="rect">
            <a:avLst/>
          </a:prstGeom>
          <a:ln>
            <a:noFill/>
          </a:ln>
        </p:spPr>
        <p:txBody>
          <a:bodyPr wrap="square">
            <a:spAutoFit/>
          </a:bodyPr>
          <a:lstStyle/>
          <a:p>
            <a:pPr marL="180000" algn="ctr"/>
            <a:r>
              <a:rPr lang="en-GB" sz="1000" b="1">
                <a:solidFill>
                  <a:schemeClr val="tx2"/>
                </a:solidFill>
                <a:latin typeface="Trebuchet MS" panose="020B0603020202020204" pitchFamily="34" charset="0"/>
              </a:rPr>
              <a:t>GDPR threats direct marketing</a:t>
            </a:r>
          </a:p>
        </p:txBody>
      </p:sp>
      <p:pic>
        <p:nvPicPr>
          <p:cNvPr id="138" name="Graphic 35">
            <a:extLst>
              <a:ext uri="{FF2B5EF4-FFF2-40B4-BE49-F238E27FC236}">
                <a16:creationId xmlns:a16="http://schemas.microsoft.com/office/drawing/2014/main" id="{FE043FC4-93E7-4BB0-BAC9-92F2F2F6F994}"/>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t="1" b="19812"/>
          <a:stretch/>
        </p:blipFill>
        <p:spPr>
          <a:xfrm>
            <a:off x="343435" y="4829952"/>
            <a:ext cx="338174" cy="338964"/>
          </a:xfrm>
          <a:prstGeom prst="rect">
            <a:avLst/>
          </a:prstGeom>
        </p:spPr>
      </p:pic>
      <p:sp>
        <p:nvSpPr>
          <p:cNvPr id="139" name="Rectangle 138">
            <a:extLst>
              <a:ext uri="{FF2B5EF4-FFF2-40B4-BE49-F238E27FC236}">
                <a16:creationId xmlns:a16="http://schemas.microsoft.com/office/drawing/2014/main" id="{10C0D61E-2E74-41BC-9AEC-253B01A45AF5}"/>
              </a:ext>
            </a:extLst>
          </p:cNvPr>
          <p:cNvSpPr/>
          <p:nvPr/>
        </p:nvSpPr>
        <p:spPr bwMode="auto">
          <a:xfrm>
            <a:off x="338388" y="5224707"/>
            <a:ext cx="2437993" cy="107682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72000">
              <a:spcAft>
                <a:spcPts val="300"/>
              </a:spcAft>
            </a:pPr>
            <a:r>
              <a:rPr kumimoji="0" lang="en-GB" sz="1000" b="0" i="1" u="none" strike="noStrike" cap="none" spc="-30" normalizeH="0">
                <a:ln>
                  <a:noFill/>
                </a:ln>
                <a:solidFill>
                  <a:schemeClr val="tx1"/>
                </a:solidFill>
                <a:effectLst/>
                <a:latin typeface="Trebuchet MS" panose="020B0603020202020204" pitchFamily="34" charset="0"/>
              </a:rPr>
              <a:t>“</a:t>
            </a:r>
            <a:r>
              <a:rPr kumimoji="0" lang="en-GB" sz="1000" b="0" i="1" u="none" strike="noStrike" cap="none" spc="-30" normalizeH="0">
                <a:ln>
                  <a:noFill/>
                </a:ln>
                <a:solidFill>
                  <a:schemeClr val="tx2"/>
                </a:solidFill>
                <a:effectLst/>
                <a:latin typeface="Trebuchet MS" panose="020B0603020202020204" pitchFamily="34" charset="0"/>
              </a:rPr>
              <a:t>Prospects</a:t>
            </a:r>
            <a:r>
              <a:rPr kumimoji="0" lang="en-GB" sz="1000" b="0" i="1" u="none" strike="noStrike" cap="none" spc="-30" normalizeH="0">
                <a:ln>
                  <a:noFill/>
                </a:ln>
                <a:solidFill>
                  <a:schemeClr val="tx1"/>
                </a:solidFill>
                <a:effectLst/>
                <a:latin typeface="Trebuchet MS" panose="020B0603020202020204" pitchFamily="34" charset="0"/>
              </a:rPr>
              <a:t> are </a:t>
            </a:r>
            <a:r>
              <a:rPr kumimoji="0" lang="en-GB" sz="1000" b="0" i="1" u="none" strike="noStrike" cap="none" spc="-30" normalizeH="0">
                <a:ln>
                  <a:noFill/>
                </a:ln>
                <a:solidFill>
                  <a:schemeClr val="tx2"/>
                </a:solidFill>
                <a:effectLst/>
                <a:latin typeface="Trebuchet MS" panose="020B0603020202020204" pitchFamily="34" charset="0"/>
              </a:rPr>
              <a:t>no</a:t>
            </a:r>
            <a:r>
              <a:rPr kumimoji="0" lang="en-GB" sz="1000" b="0" i="1" u="none" strike="noStrike" cap="none" spc="-30" normalizeH="0">
                <a:ln>
                  <a:noFill/>
                </a:ln>
                <a:solidFill>
                  <a:schemeClr val="tx1"/>
                </a:solidFill>
                <a:effectLst/>
                <a:latin typeface="Trebuchet MS" panose="020B0603020202020204" pitchFamily="34" charset="0"/>
              </a:rPr>
              <a:t> </a:t>
            </a:r>
            <a:r>
              <a:rPr kumimoji="0" lang="en-GB" sz="1000" b="0" i="1" u="none" strike="noStrike" cap="none" spc="-30" normalizeH="0">
                <a:ln>
                  <a:noFill/>
                </a:ln>
                <a:solidFill>
                  <a:schemeClr val="tx2"/>
                </a:solidFill>
                <a:effectLst/>
                <a:latin typeface="Trebuchet MS" panose="020B0603020202020204" pitchFamily="34" charset="0"/>
              </a:rPr>
              <a:t>longer</a:t>
            </a:r>
            <a:r>
              <a:rPr kumimoji="0" lang="en-GB" sz="1000" b="0" i="1" u="none" strike="noStrike" cap="none" spc="-30" normalizeH="0">
                <a:ln>
                  <a:noFill/>
                </a:ln>
                <a:solidFill>
                  <a:schemeClr val="tx1"/>
                </a:solidFill>
                <a:effectLst/>
                <a:latin typeface="Trebuchet MS" panose="020B0603020202020204" pitchFamily="34" charset="0"/>
              </a:rPr>
              <a:t> being </a:t>
            </a:r>
            <a:r>
              <a:rPr kumimoji="0" lang="en-GB" sz="1000" b="0" i="1" u="none" strike="noStrike" cap="none" spc="-30" normalizeH="0">
                <a:ln>
                  <a:noFill/>
                </a:ln>
                <a:solidFill>
                  <a:schemeClr val="tx2"/>
                </a:solidFill>
                <a:effectLst/>
                <a:latin typeface="Trebuchet MS" panose="020B0603020202020204" pitchFamily="34" charset="0"/>
              </a:rPr>
              <a:t>flooded</a:t>
            </a:r>
            <a:r>
              <a:rPr kumimoji="0" lang="en-GB" sz="1000" b="0" i="1" u="none" strike="noStrike" cap="none" spc="-30" normalizeH="0">
                <a:ln>
                  <a:noFill/>
                </a:ln>
                <a:solidFill>
                  <a:schemeClr val="tx1"/>
                </a:solidFill>
                <a:effectLst/>
                <a:latin typeface="Trebuchet MS" panose="020B0603020202020204" pitchFamily="34" charset="0"/>
              </a:rPr>
              <a:t> as they used to be, particularly </a:t>
            </a:r>
            <a:r>
              <a:rPr kumimoji="0" lang="en-GB" sz="1000" b="0" i="1" u="none" strike="noStrike" cap="none" spc="-30" normalizeH="0">
                <a:ln>
                  <a:noFill/>
                </a:ln>
                <a:solidFill>
                  <a:schemeClr val="tx2"/>
                </a:solidFill>
                <a:effectLst/>
                <a:latin typeface="Trebuchet MS" panose="020B0603020202020204" pitchFamily="34" charset="0"/>
              </a:rPr>
              <a:t>because</a:t>
            </a:r>
            <a:r>
              <a:rPr kumimoji="0" lang="en-GB" sz="1000" b="0" i="1" u="none" strike="noStrike" cap="none" spc="-30" normalizeH="0">
                <a:ln>
                  <a:noFill/>
                </a:ln>
                <a:solidFill>
                  <a:schemeClr val="tx1"/>
                </a:solidFill>
                <a:effectLst/>
                <a:latin typeface="Trebuchet MS" panose="020B0603020202020204" pitchFamily="34" charset="0"/>
              </a:rPr>
              <a:t> of the </a:t>
            </a:r>
            <a:r>
              <a:rPr kumimoji="0" lang="en-GB" sz="1000" b="0" i="1" u="none" strike="noStrike" cap="none" spc="-30" normalizeH="0">
                <a:ln>
                  <a:noFill/>
                </a:ln>
                <a:solidFill>
                  <a:schemeClr val="tx2"/>
                </a:solidFill>
                <a:effectLst/>
                <a:latin typeface="Trebuchet MS" panose="020B0603020202020204" pitchFamily="34" charset="0"/>
              </a:rPr>
              <a:t>fines</a:t>
            </a:r>
            <a:r>
              <a:rPr kumimoji="0" lang="en-GB" sz="1000" b="0" i="1" u="none" strike="noStrike" cap="none" spc="-30" normalizeH="0">
                <a:ln>
                  <a:noFill/>
                </a:ln>
                <a:solidFill>
                  <a:schemeClr val="tx1"/>
                </a:solidFill>
                <a:effectLst/>
                <a:latin typeface="Trebuchet MS" panose="020B0603020202020204" pitchFamily="34" charset="0"/>
              </a:rPr>
              <a:t> incurred and the </a:t>
            </a:r>
            <a:r>
              <a:rPr kumimoji="0" lang="en-GB" sz="1000" b="0" i="1" u="none" strike="noStrike" cap="none" spc="-30" normalizeH="0">
                <a:ln>
                  <a:noFill/>
                </a:ln>
                <a:solidFill>
                  <a:schemeClr val="tx2"/>
                </a:solidFill>
                <a:effectLst/>
                <a:latin typeface="Trebuchet MS" panose="020B0603020202020204" pitchFamily="34" charset="0"/>
              </a:rPr>
              <a:t>low</a:t>
            </a:r>
            <a:r>
              <a:rPr kumimoji="0" lang="en-GB" sz="1000" b="0" i="1" u="none" strike="noStrike" cap="none" spc="-30" normalizeH="0">
                <a:ln>
                  <a:noFill/>
                </a:ln>
                <a:solidFill>
                  <a:schemeClr val="tx1"/>
                </a:solidFill>
                <a:effectLst/>
                <a:latin typeface="Trebuchet MS" panose="020B0603020202020204" pitchFamily="34" charset="0"/>
              </a:rPr>
              <a:t> </a:t>
            </a:r>
            <a:r>
              <a:rPr kumimoji="0" lang="en-GB" sz="1000" b="0" i="1" u="none" strike="noStrike" cap="none" spc="-30" normalizeH="0">
                <a:ln>
                  <a:noFill/>
                </a:ln>
                <a:solidFill>
                  <a:schemeClr val="tx2"/>
                </a:solidFill>
                <a:effectLst/>
                <a:latin typeface="Trebuchet MS" panose="020B0603020202020204" pitchFamily="34" charset="0"/>
              </a:rPr>
              <a:t>rates</a:t>
            </a:r>
            <a:r>
              <a:rPr kumimoji="0" lang="en-GB" sz="1000" b="0" i="1" u="none" strike="noStrike" cap="none" spc="-30" normalizeH="0">
                <a:ln>
                  <a:noFill/>
                </a:ln>
                <a:solidFill>
                  <a:schemeClr val="tx1"/>
                </a:solidFill>
                <a:effectLst/>
                <a:latin typeface="Trebuchet MS" panose="020B0603020202020204" pitchFamily="34" charset="0"/>
              </a:rPr>
              <a:t> of </a:t>
            </a:r>
            <a:r>
              <a:rPr kumimoji="0" lang="en-GB" sz="1000" b="0" i="1" u="none" strike="noStrike" cap="none" spc="-30" normalizeH="0">
                <a:ln>
                  <a:noFill/>
                </a:ln>
                <a:solidFill>
                  <a:schemeClr val="tx2"/>
                </a:solidFill>
                <a:effectLst/>
                <a:latin typeface="Trebuchet MS" panose="020B0603020202020204" pitchFamily="34" charset="0"/>
              </a:rPr>
              <a:t>return</a:t>
            </a:r>
            <a:r>
              <a:rPr kumimoji="0" lang="en-GB" sz="1000" b="0" i="1" u="none" strike="noStrike" cap="none" spc="-30" normalizeH="0">
                <a:ln>
                  <a:noFill/>
                </a:ln>
                <a:solidFill>
                  <a:schemeClr val="tx1"/>
                </a:solidFill>
                <a:effectLst/>
                <a:latin typeface="Trebuchet MS" panose="020B0603020202020204" pitchFamily="34" charset="0"/>
              </a:rPr>
              <a:t>”</a:t>
            </a:r>
          </a:p>
          <a:p>
            <a:pPr marL="72000">
              <a:spcAft>
                <a:spcPts val="300"/>
              </a:spcAft>
            </a:pPr>
            <a:r>
              <a:rPr lang="en-GB" sz="1000" spc="-30">
                <a:latin typeface="Trebuchet MS" panose="020B0603020202020204" pitchFamily="34" charset="0"/>
              </a:rPr>
              <a:t>M.D. </a:t>
            </a:r>
            <a:r>
              <a:rPr lang="en-GB" sz="1000" spc="-30">
                <a:solidFill>
                  <a:srgbClr val="6C6C6C"/>
                </a:solidFill>
                <a:latin typeface="Trebuchet MS" panose="020B0603020202020204" pitchFamily="34" charset="0"/>
              </a:rPr>
              <a:t>France </a:t>
            </a:r>
            <a:br>
              <a:rPr lang="en-GB" sz="1000" spc="-30">
                <a:solidFill>
                  <a:srgbClr val="6C6C6C"/>
                </a:solidFill>
                <a:latin typeface="Trebuchet MS" panose="020B0603020202020204" pitchFamily="34" charset="0"/>
              </a:rPr>
            </a:br>
            <a:r>
              <a:rPr lang="en-GB" sz="1000" spc="-30">
                <a:solidFill>
                  <a:srgbClr val="6C6C6C"/>
                </a:solidFill>
                <a:latin typeface="Trebuchet MS" panose="020B0603020202020204" pitchFamily="34" charset="0"/>
              </a:rPr>
              <a:t>&amp; Belgium at </a:t>
            </a:r>
            <a:r>
              <a:rPr lang="en-GB" sz="1000" spc="-30" err="1">
                <a:solidFill>
                  <a:srgbClr val="6C6C6C"/>
                </a:solidFill>
                <a:latin typeface="Trebuchet MS" panose="020B0603020202020204" pitchFamily="34" charset="0"/>
              </a:rPr>
              <a:t>Creditsafe</a:t>
            </a:r>
            <a:endParaRPr kumimoji="0" lang="en-GB" sz="1000" b="0" u="none" strike="noStrike" cap="none" spc="-30" normalizeH="0">
              <a:ln>
                <a:noFill/>
              </a:ln>
              <a:solidFill>
                <a:schemeClr val="tx1"/>
              </a:solidFill>
              <a:effectLst/>
              <a:latin typeface="Trebuchet MS" panose="020B0603020202020204" pitchFamily="34" charset="0"/>
            </a:endParaRPr>
          </a:p>
        </p:txBody>
      </p:sp>
      <p:sp>
        <p:nvSpPr>
          <p:cNvPr id="140" name="Freeform 663">
            <a:extLst>
              <a:ext uri="{FF2B5EF4-FFF2-40B4-BE49-F238E27FC236}">
                <a16:creationId xmlns:a16="http://schemas.microsoft.com/office/drawing/2014/main" id="{4271542B-8683-4A6F-A817-39565E846FDF}"/>
              </a:ext>
            </a:extLst>
          </p:cNvPr>
          <p:cNvSpPr>
            <a:spLocks noChangeAspect="1" noEditPoints="1"/>
          </p:cNvSpPr>
          <p:nvPr/>
        </p:nvSpPr>
        <p:spPr bwMode="auto">
          <a:xfrm>
            <a:off x="253328" y="5624492"/>
            <a:ext cx="286725"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41" name="Speech Bubble: Rectangle 127">
            <a:extLst>
              <a:ext uri="{FF2B5EF4-FFF2-40B4-BE49-F238E27FC236}">
                <a16:creationId xmlns:a16="http://schemas.microsoft.com/office/drawing/2014/main" id="{2F21CF39-C71B-4696-B910-494DAFAE9CF3}"/>
              </a:ext>
            </a:extLst>
          </p:cNvPr>
          <p:cNvSpPr/>
          <p:nvPr/>
        </p:nvSpPr>
        <p:spPr bwMode="auto">
          <a:xfrm>
            <a:off x="7017872" y="4613895"/>
            <a:ext cx="2774523" cy="1838417"/>
          </a:xfrm>
          <a:prstGeom prst="wedgeRectCallout">
            <a:avLst>
              <a:gd name="adj1" fmla="val -58032"/>
              <a:gd name="adj2" fmla="val -44402"/>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42" name="Rectangle 141">
            <a:extLst>
              <a:ext uri="{FF2B5EF4-FFF2-40B4-BE49-F238E27FC236}">
                <a16:creationId xmlns:a16="http://schemas.microsoft.com/office/drawing/2014/main" id="{1B0C15D4-DD62-4586-B983-9C9862D852F8}"/>
              </a:ext>
            </a:extLst>
          </p:cNvPr>
          <p:cNvSpPr/>
          <p:nvPr/>
        </p:nvSpPr>
        <p:spPr>
          <a:xfrm>
            <a:off x="7606521" y="4713798"/>
            <a:ext cx="1697925" cy="400110"/>
          </a:xfrm>
          <a:prstGeom prst="rect">
            <a:avLst/>
          </a:prstGeom>
          <a:ln>
            <a:noFill/>
          </a:ln>
        </p:spPr>
        <p:txBody>
          <a:bodyPr wrap="square">
            <a:spAutoFit/>
          </a:bodyPr>
          <a:lstStyle/>
          <a:p>
            <a:pPr marL="180000" algn="ctr"/>
            <a:r>
              <a:rPr lang="en-GB" sz="1000" b="1">
                <a:solidFill>
                  <a:schemeClr val="tx2"/>
                </a:solidFill>
                <a:latin typeface="Trebuchet MS" panose="020B0603020202020204" pitchFamily="34" charset="0"/>
              </a:rPr>
              <a:t>Increasing online targeting possibilities</a:t>
            </a:r>
          </a:p>
        </p:txBody>
      </p:sp>
      <p:sp>
        <p:nvSpPr>
          <p:cNvPr id="143" name="Rectangle 142">
            <a:extLst>
              <a:ext uri="{FF2B5EF4-FFF2-40B4-BE49-F238E27FC236}">
                <a16:creationId xmlns:a16="http://schemas.microsoft.com/office/drawing/2014/main" id="{1D0A0C96-E1FA-4DD4-9C5A-D28965594E82}"/>
              </a:ext>
            </a:extLst>
          </p:cNvPr>
          <p:cNvSpPr/>
          <p:nvPr/>
        </p:nvSpPr>
        <p:spPr bwMode="auto">
          <a:xfrm>
            <a:off x="7293525" y="5113908"/>
            <a:ext cx="2455787" cy="1224611"/>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72000">
              <a:spcAft>
                <a:spcPts val="300"/>
              </a:spcAft>
            </a:pPr>
            <a:r>
              <a:rPr kumimoji="0" lang="en-GB" sz="1000" b="0" u="none" strike="noStrike" cap="none" spc="-30" normalizeH="0">
                <a:ln>
                  <a:noFill/>
                </a:ln>
                <a:solidFill>
                  <a:schemeClr val="tx1"/>
                </a:solidFill>
                <a:effectLst/>
                <a:latin typeface="Trebuchet MS" panose="020B0603020202020204" pitchFamily="34" charset="0"/>
              </a:rPr>
              <a:t>Online tracking technologies enable display of online advertisements to specific leads, which are generated by inbound and outbound marketing players, making boundaries between to two market growlingly porous</a:t>
            </a:r>
          </a:p>
        </p:txBody>
      </p:sp>
      <p:pic>
        <p:nvPicPr>
          <p:cNvPr id="144" name="Graphic 40">
            <a:extLst>
              <a:ext uri="{FF2B5EF4-FFF2-40B4-BE49-F238E27FC236}">
                <a16:creationId xmlns:a16="http://schemas.microsoft.com/office/drawing/2014/main" id="{9EEBE8CC-B244-4377-A8F2-20F8121ED1FA}"/>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b="21467"/>
          <a:stretch/>
        </p:blipFill>
        <p:spPr>
          <a:xfrm>
            <a:off x="7214438" y="4733649"/>
            <a:ext cx="304800" cy="299210"/>
          </a:xfrm>
          <a:prstGeom prst="rect">
            <a:avLst/>
          </a:prstGeom>
        </p:spPr>
      </p:pic>
      <p:sp>
        <p:nvSpPr>
          <p:cNvPr id="145" name="Speech Bubble: Rectangle 133">
            <a:extLst>
              <a:ext uri="{FF2B5EF4-FFF2-40B4-BE49-F238E27FC236}">
                <a16:creationId xmlns:a16="http://schemas.microsoft.com/office/drawing/2014/main" id="{DD150F1D-EDAC-4FDD-80D7-A533BAC21BBB}"/>
              </a:ext>
            </a:extLst>
          </p:cNvPr>
          <p:cNvSpPr/>
          <p:nvPr/>
        </p:nvSpPr>
        <p:spPr bwMode="auto">
          <a:xfrm>
            <a:off x="211863" y="1362185"/>
            <a:ext cx="2691043" cy="1612288"/>
          </a:xfrm>
          <a:prstGeom prst="wedgeRectCallout">
            <a:avLst>
              <a:gd name="adj1" fmla="val 61479"/>
              <a:gd name="adj2" fmla="val 19163"/>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46" name="Rectangle 145">
            <a:extLst>
              <a:ext uri="{FF2B5EF4-FFF2-40B4-BE49-F238E27FC236}">
                <a16:creationId xmlns:a16="http://schemas.microsoft.com/office/drawing/2014/main" id="{4CF640E5-677B-445A-B8D6-CE1D716DEFC1}"/>
              </a:ext>
            </a:extLst>
          </p:cNvPr>
          <p:cNvSpPr/>
          <p:nvPr/>
        </p:nvSpPr>
        <p:spPr>
          <a:xfrm>
            <a:off x="781807" y="1407273"/>
            <a:ext cx="1697925" cy="400110"/>
          </a:xfrm>
          <a:prstGeom prst="rect">
            <a:avLst/>
          </a:prstGeom>
          <a:ln>
            <a:noFill/>
          </a:ln>
        </p:spPr>
        <p:txBody>
          <a:bodyPr wrap="square">
            <a:spAutoFit/>
          </a:bodyPr>
          <a:lstStyle/>
          <a:p>
            <a:pPr marL="180000" algn="ctr"/>
            <a:r>
              <a:rPr lang="en-GB" sz="1000" b="1">
                <a:solidFill>
                  <a:schemeClr val="tx2"/>
                </a:solidFill>
                <a:latin typeface="Trebuchet MS" panose="020B0603020202020204" pitchFamily="34" charset="0"/>
              </a:rPr>
              <a:t>Growing importance of inbound marketing</a:t>
            </a:r>
          </a:p>
        </p:txBody>
      </p:sp>
      <p:sp>
        <p:nvSpPr>
          <p:cNvPr id="147" name="Rectangle 146">
            <a:extLst>
              <a:ext uri="{FF2B5EF4-FFF2-40B4-BE49-F238E27FC236}">
                <a16:creationId xmlns:a16="http://schemas.microsoft.com/office/drawing/2014/main" id="{E881CAE9-A27F-4ADA-83BA-9C4B838E7CF1}"/>
              </a:ext>
            </a:extLst>
          </p:cNvPr>
          <p:cNvSpPr/>
          <p:nvPr/>
        </p:nvSpPr>
        <p:spPr bwMode="auto">
          <a:xfrm>
            <a:off x="501867" y="1768119"/>
            <a:ext cx="2309878" cy="118450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72000">
              <a:spcAft>
                <a:spcPts val="300"/>
              </a:spcAft>
            </a:pPr>
            <a:r>
              <a:rPr kumimoji="0" lang="en-GB" sz="1000" b="0" u="none" strike="noStrike" cap="none" spc="-30" normalizeH="0">
                <a:ln>
                  <a:noFill/>
                </a:ln>
                <a:solidFill>
                  <a:schemeClr val="tx1"/>
                </a:solidFill>
                <a:effectLst/>
                <a:latin typeface="Trebuchet MS" panose="020B0603020202020204" pitchFamily="34" charset="0"/>
              </a:rPr>
              <a:t>Inbound marketing is increasingly being used by B2B players, mostly by small companies (i.e. 70% of companies that have an inbound marketing strategy have less than 50 employees)</a:t>
            </a:r>
          </a:p>
          <a:p>
            <a:pPr marL="72000">
              <a:spcAft>
                <a:spcPts val="300"/>
              </a:spcAft>
            </a:pPr>
            <a:r>
              <a:rPr kumimoji="0" lang="en-GB" sz="1000" b="0" u="none" strike="noStrike" cap="none" spc="-30" normalizeH="0">
                <a:ln>
                  <a:noFill/>
                </a:ln>
                <a:solidFill>
                  <a:schemeClr val="tx1"/>
                </a:solidFill>
                <a:effectLst/>
                <a:latin typeface="Trebuchet MS" panose="020B0603020202020204" pitchFamily="34" charset="0"/>
              </a:rPr>
              <a:t>Inbound Marketing Barometer, 2020</a:t>
            </a:r>
          </a:p>
        </p:txBody>
      </p:sp>
      <p:pic>
        <p:nvPicPr>
          <p:cNvPr id="148" name="Graphic 42" descr="Upward trend">
            <a:extLst>
              <a:ext uri="{FF2B5EF4-FFF2-40B4-BE49-F238E27FC236}">
                <a16:creationId xmlns:a16="http://schemas.microsoft.com/office/drawing/2014/main" id="{CB01E6DA-1CB0-4A04-B509-CB129F3D706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43435" y="1388692"/>
            <a:ext cx="352541" cy="352541"/>
          </a:xfrm>
          <a:prstGeom prst="rect">
            <a:avLst/>
          </a:prstGeom>
        </p:spPr>
      </p:pic>
      <p:sp>
        <p:nvSpPr>
          <p:cNvPr id="149" name="Speech Bubble: Rectangle 139">
            <a:extLst>
              <a:ext uri="{FF2B5EF4-FFF2-40B4-BE49-F238E27FC236}">
                <a16:creationId xmlns:a16="http://schemas.microsoft.com/office/drawing/2014/main" id="{FDD90AFC-5DA8-4C92-AD8E-A999EA225E8E}"/>
              </a:ext>
            </a:extLst>
          </p:cNvPr>
          <p:cNvSpPr/>
          <p:nvPr/>
        </p:nvSpPr>
        <p:spPr bwMode="auto">
          <a:xfrm>
            <a:off x="211863" y="3102031"/>
            <a:ext cx="2691043" cy="1612288"/>
          </a:xfrm>
          <a:prstGeom prst="wedgeRectCallout">
            <a:avLst>
              <a:gd name="adj1" fmla="val 58684"/>
              <a:gd name="adj2" fmla="val -22567"/>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50" name="Rectangle 149">
            <a:extLst>
              <a:ext uri="{FF2B5EF4-FFF2-40B4-BE49-F238E27FC236}">
                <a16:creationId xmlns:a16="http://schemas.microsoft.com/office/drawing/2014/main" id="{80A5D2DA-BEB7-45F8-BD92-8132C9E7010B}"/>
              </a:ext>
            </a:extLst>
          </p:cNvPr>
          <p:cNvSpPr/>
          <p:nvPr/>
        </p:nvSpPr>
        <p:spPr>
          <a:xfrm>
            <a:off x="790271" y="3147119"/>
            <a:ext cx="1697925" cy="400110"/>
          </a:xfrm>
          <a:prstGeom prst="rect">
            <a:avLst/>
          </a:prstGeom>
          <a:ln>
            <a:noFill/>
          </a:ln>
        </p:spPr>
        <p:txBody>
          <a:bodyPr wrap="square">
            <a:spAutoFit/>
          </a:bodyPr>
          <a:lstStyle/>
          <a:p>
            <a:pPr marL="180000" algn="ctr"/>
            <a:r>
              <a:rPr lang="en-GB" sz="1000" b="1">
                <a:solidFill>
                  <a:schemeClr val="tx2"/>
                </a:solidFill>
                <a:latin typeface="Trebuchet MS" panose="020B0603020202020204" pitchFamily="34" charset="0"/>
              </a:rPr>
              <a:t>Strong expertise of pure players</a:t>
            </a:r>
          </a:p>
        </p:txBody>
      </p:sp>
      <p:sp>
        <p:nvSpPr>
          <p:cNvPr id="151" name="Rectangle 150">
            <a:extLst>
              <a:ext uri="{FF2B5EF4-FFF2-40B4-BE49-F238E27FC236}">
                <a16:creationId xmlns:a16="http://schemas.microsoft.com/office/drawing/2014/main" id="{2FEEB8E0-6F0A-4E6F-8161-8BE9348A65A9}"/>
              </a:ext>
            </a:extLst>
          </p:cNvPr>
          <p:cNvSpPr/>
          <p:nvPr/>
        </p:nvSpPr>
        <p:spPr bwMode="auto">
          <a:xfrm>
            <a:off x="382216" y="3523706"/>
            <a:ext cx="2437993" cy="107682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72000">
              <a:spcAft>
                <a:spcPts val="300"/>
              </a:spcAft>
            </a:pPr>
            <a:r>
              <a:rPr kumimoji="0" lang="en-GB" sz="1000" b="0" u="none" strike="noStrike" cap="none" spc="-30" normalizeH="0">
                <a:ln>
                  <a:noFill/>
                </a:ln>
                <a:solidFill>
                  <a:schemeClr val="tx1"/>
                </a:solidFill>
                <a:effectLst/>
                <a:latin typeface="Trebuchet MS" panose="020B0603020202020204" pitchFamily="34" charset="0"/>
              </a:rPr>
              <a:t>“</a:t>
            </a:r>
            <a:r>
              <a:rPr lang="en-GB" sz="1000" i="1" spc="-30">
                <a:latin typeface="Trebuchet MS" panose="020B0603020202020204" pitchFamily="34" charset="0"/>
              </a:rPr>
              <a:t>Currently, </a:t>
            </a:r>
            <a:r>
              <a:rPr lang="en-GB" sz="1000" i="1" spc="-30">
                <a:solidFill>
                  <a:schemeClr val="tx2"/>
                </a:solidFill>
                <a:latin typeface="Trebuchet MS" panose="020B0603020202020204" pitchFamily="34" charset="0"/>
              </a:rPr>
              <a:t>traditional</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BD&amp;A</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players</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lack</a:t>
            </a:r>
            <a:r>
              <a:rPr lang="en-GB" sz="1000" i="1" spc="-30">
                <a:latin typeface="Trebuchet MS" panose="020B0603020202020204" pitchFamily="34" charset="0"/>
              </a:rPr>
              <a:t> of core </a:t>
            </a:r>
            <a:r>
              <a:rPr lang="en-GB" sz="1000" i="1" spc="-30">
                <a:solidFill>
                  <a:schemeClr val="tx2"/>
                </a:solidFill>
                <a:latin typeface="Trebuchet MS" panose="020B0603020202020204" pitchFamily="34" charset="0"/>
              </a:rPr>
              <a:t>business</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intelligence</a:t>
            </a:r>
            <a:r>
              <a:rPr lang="en-GB" sz="1000" i="1" spc="-30">
                <a:latin typeface="Trebuchet MS" panose="020B0603020202020204" pitchFamily="34" charset="0"/>
              </a:rPr>
              <a:t> to </a:t>
            </a:r>
            <a:r>
              <a:rPr lang="en-GB" sz="1000" i="1" spc="-30">
                <a:solidFill>
                  <a:schemeClr val="tx2"/>
                </a:solidFill>
                <a:latin typeface="Trebuchet MS" panose="020B0603020202020204" pitchFamily="34" charset="0"/>
              </a:rPr>
              <a:t>compete</a:t>
            </a:r>
            <a:r>
              <a:rPr lang="en-GB" sz="1000" i="1" spc="-30">
                <a:latin typeface="Trebuchet MS" panose="020B0603020202020204" pitchFamily="34" charset="0"/>
              </a:rPr>
              <a:t> with marketing </a:t>
            </a:r>
            <a:r>
              <a:rPr lang="en-GB" sz="1000" i="1" spc="-30">
                <a:solidFill>
                  <a:schemeClr val="tx2"/>
                </a:solidFill>
                <a:latin typeface="Trebuchet MS" panose="020B0603020202020204" pitchFamily="34" charset="0"/>
              </a:rPr>
              <a:t>pure</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players</a:t>
            </a:r>
            <a:r>
              <a:rPr lang="en-GB" sz="1000" spc="-30">
                <a:latin typeface="Trebuchet MS" panose="020B0603020202020204" pitchFamily="34" charset="0"/>
              </a:rPr>
              <a:t>”</a:t>
            </a:r>
          </a:p>
          <a:p>
            <a:pPr marL="72000">
              <a:spcAft>
                <a:spcPts val="300"/>
              </a:spcAft>
            </a:pPr>
            <a:r>
              <a:rPr kumimoji="0" lang="en-GB" sz="1000" b="0" u="none" strike="noStrike" cap="none" spc="-30" normalizeH="0">
                <a:ln>
                  <a:noFill/>
                </a:ln>
                <a:solidFill>
                  <a:schemeClr val="tx1"/>
                </a:solidFill>
                <a:effectLst/>
                <a:latin typeface="Trebuchet MS" panose="020B0603020202020204" pitchFamily="34" charset="0"/>
              </a:rPr>
              <a:t>Former Commercial Manager at </a:t>
            </a:r>
            <a:r>
              <a:rPr kumimoji="0" lang="en-GB" sz="1000" b="0" u="none" strike="noStrike" cap="none" spc="-30" normalizeH="0" err="1">
                <a:ln>
                  <a:noFill/>
                </a:ln>
                <a:solidFill>
                  <a:schemeClr val="tx1"/>
                </a:solidFill>
                <a:effectLst/>
                <a:latin typeface="Trebuchet MS" panose="020B0603020202020204" pitchFamily="34" charset="0"/>
              </a:rPr>
              <a:t>Ellispere</a:t>
            </a:r>
            <a:endParaRPr kumimoji="0" lang="en-GB" sz="1000" b="0" u="none" strike="noStrike" cap="none" spc="-30" normalizeH="0">
              <a:ln>
                <a:noFill/>
              </a:ln>
              <a:solidFill>
                <a:schemeClr val="tx1"/>
              </a:solidFill>
              <a:effectLst/>
              <a:latin typeface="Trebuchet MS" panose="020B0603020202020204" pitchFamily="34" charset="0"/>
            </a:endParaRPr>
          </a:p>
        </p:txBody>
      </p:sp>
      <p:pic>
        <p:nvPicPr>
          <p:cNvPr id="153" name="Graphic 45">
            <a:extLst>
              <a:ext uri="{FF2B5EF4-FFF2-40B4-BE49-F238E27FC236}">
                <a16:creationId xmlns:a16="http://schemas.microsoft.com/office/drawing/2014/main" id="{DBDDB184-CBB7-4DEB-B7DE-226E8E17637C}"/>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16778"/>
          <a:stretch/>
        </p:blipFill>
        <p:spPr>
          <a:xfrm>
            <a:off x="343435" y="3137944"/>
            <a:ext cx="353159" cy="367382"/>
          </a:xfrm>
          <a:prstGeom prst="rect">
            <a:avLst/>
          </a:prstGeom>
        </p:spPr>
      </p:pic>
      <p:grpSp>
        <p:nvGrpSpPr>
          <p:cNvPr id="117" name="Groupe 116">
            <a:extLst>
              <a:ext uri="{FF2B5EF4-FFF2-40B4-BE49-F238E27FC236}">
                <a16:creationId xmlns:a16="http://schemas.microsoft.com/office/drawing/2014/main" id="{A6013198-429D-4860-BB46-D57D62CDCA2D}"/>
              </a:ext>
            </a:extLst>
          </p:cNvPr>
          <p:cNvGrpSpPr/>
          <p:nvPr/>
        </p:nvGrpSpPr>
        <p:grpSpPr>
          <a:xfrm>
            <a:off x="8448150" y="-11528"/>
            <a:ext cx="1435548" cy="588143"/>
            <a:chOff x="8448150" y="-11528"/>
            <a:chExt cx="1435548" cy="588143"/>
          </a:xfrm>
        </p:grpSpPr>
        <p:grpSp>
          <p:nvGrpSpPr>
            <p:cNvPr id="119" name="Groupe 118">
              <a:extLst>
                <a:ext uri="{FF2B5EF4-FFF2-40B4-BE49-F238E27FC236}">
                  <a16:creationId xmlns:a16="http://schemas.microsoft.com/office/drawing/2014/main" id="{BE94C39F-9456-4BF1-910B-34A304D5078B}"/>
                </a:ext>
              </a:extLst>
            </p:cNvPr>
            <p:cNvGrpSpPr/>
            <p:nvPr/>
          </p:nvGrpSpPr>
          <p:grpSpPr>
            <a:xfrm>
              <a:off x="8448150" y="-11528"/>
              <a:ext cx="1435548" cy="555653"/>
              <a:chOff x="8448150" y="-11528"/>
              <a:chExt cx="1435548" cy="555653"/>
            </a:xfrm>
          </p:grpSpPr>
          <p:sp>
            <p:nvSpPr>
              <p:cNvPr id="121" name="Rectangle : coins arrondis 199">
                <a:extLst>
                  <a:ext uri="{FF2B5EF4-FFF2-40B4-BE49-F238E27FC236}">
                    <a16:creationId xmlns:a16="http://schemas.microsoft.com/office/drawing/2014/main" id="{76382C05-A4C1-4077-86DB-0CC06D69DB41}"/>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2" name="Rectangle : coins arrondis 200">
                <a:extLst>
                  <a:ext uri="{FF2B5EF4-FFF2-40B4-BE49-F238E27FC236}">
                    <a16:creationId xmlns:a16="http://schemas.microsoft.com/office/drawing/2014/main" id="{67EA3C39-2888-49F7-B756-13407EF264B9}"/>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55" name="Rectangle : coins arrondis 201">
                <a:extLst>
                  <a:ext uri="{FF2B5EF4-FFF2-40B4-BE49-F238E27FC236}">
                    <a16:creationId xmlns:a16="http://schemas.microsoft.com/office/drawing/2014/main" id="{1BFA263A-40B9-43CF-8752-2FEB41A0B0E6}"/>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56" name="ZoneTexte 18">
                <a:extLst>
                  <a:ext uri="{FF2B5EF4-FFF2-40B4-BE49-F238E27FC236}">
                    <a16:creationId xmlns:a16="http://schemas.microsoft.com/office/drawing/2014/main" id="{E839D39D-EBD4-47E6-9098-51CED7362C8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57" name="Graphique 128" descr="Jauge">
                <a:extLst>
                  <a:ext uri="{FF2B5EF4-FFF2-40B4-BE49-F238E27FC236}">
                    <a16:creationId xmlns:a16="http://schemas.microsoft.com/office/drawing/2014/main" id="{B35B754A-D8DB-4EC0-9FD8-A311AD00A954}"/>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553764" y="187516"/>
                <a:ext cx="234953" cy="218224"/>
              </a:xfrm>
              <a:prstGeom prst="rect">
                <a:avLst/>
              </a:prstGeom>
              <a:effectLst/>
            </p:spPr>
          </p:pic>
          <p:pic>
            <p:nvPicPr>
              <p:cNvPr id="160" name="Graphique 90" descr="Poignée de main">
                <a:extLst>
                  <a:ext uri="{FF2B5EF4-FFF2-40B4-BE49-F238E27FC236}">
                    <a16:creationId xmlns:a16="http://schemas.microsoft.com/office/drawing/2014/main" id="{8609884E-45C7-4A9B-B48E-872D707F56F2}"/>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960868" y="152880"/>
                <a:ext cx="256313" cy="287496"/>
              </a:xfrm>
              <a:prstGeom prst="rect">
                <a:avLst/>
              </a:prstGeom>
              <a:effectLst/>
            </p:spPr>
          </p:pic>
          <p:pic>
            <p:nvPicPr>
              <p:cNvPr id="162" name="Graphique 74" descr="Mégaphone">
                <a:extLst>
                  <a:ext uri="{FF2B5EF4-FFF2-40B4-BE49-F238E27FC236}">
                    <a16:creationId xmlns:a16="http://schemas.microsoft.com/office/drawing/2014/main" id="{F7A733CF-B74F-4A3B-9D1C-A77ACC3245FE}"/>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389331" y="181519"/>
                <a:ext cx="233011" cy="216420"/>
              </a:xfrm>
              <a:prstGeom prst="rect">
                <a:avLst/>
              </a:prstGeom>
              <a:effectLst/>
            </p:spPr>
          </p:pic>
          <p:pic>
            <p:nvPicPr>
              <p:cNvPr id="164" name="Picture 2" descr="Drapeau France">
                <a:extLst>
                  <a:ext uri="{FF2B5EF4-FFF2-40B4-BE49-F238E27FC236}">
                    <a16:creationId xmlns:a16="http://schemas.microsoft.com/office/drawing/2014/main" id="{FEFC1EBC-B63A-4BEE-BA89-807BE5154270}"/>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66" name="Picture 2" descr="5 ft x 3 ft 150 x 90 cm-DRAPEAU BELGE Belgique 100% Polyester ...">
                <a:extLst>
                  <a:ext uri="{FF2B5EF4-FFF2-40B4-BE49-F238E27FC236}">
                    <a16:creationId xmlns:a16="http://schemas.microsoft.com/office/drawing/2014/main" id="{4850F243-B0EA-4105-81BA-2BAB50F8D4B9}"/>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68" name="Picture 2 - 1" descr="Drapeau des Pays-Bas — Wikipédia">
                <a:extLst>
                  <a:ext uri="{FF2B5EF4-FFF2-40B4-BE49-F238E27FC236}">
                    <a16:creationId xmlns:a16="http://schemas.microsoft.com/office/drawing/2014/main" id="{8973F011-E2F1-4C8B-88AA-66BEC696AAA4}"/>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70" name="Picture 2 - 2" descr="Drapeau du Luxembourg">
                <a:extLst>
                  <a:ext uri="{FF2B5EF4-FFF2-40B4-BE49-F238E27FC236}">
                    <a16:creationId xmlns:a16="http://schemas.microsoft.com/office/drawing/2014/main" id="{79024953-C715-410D-8262-E0BE84B1F3CA}"/>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120" name="ZoneTexte 18">
              <a:extLst>
                <a:ext uri="{FF2B5EF4-FFF2-40B4-BE49-F238E27FC236}">
                  <a16:creationId xmlns:a16="http://schemas.microsoft.com/office/drawing/2014/main" id="{12219009-295D-48D2-A6A0-222739EE3FA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2B Marketing</a:t>
              </a:r>
            </a:p>
          </p:txBody>
        </p:sp>
      </p:grpSp>
      <p:sp>
        <p:nvSpPr>
          <p:cNvPr id="203" name="Freeform 663">
            <a:extLst>
              <a:ext uri="{FF2B5EF4-FFF2-40B4-BE49-F238E27FC236}">
                <a16:creationId xmlns:a16="http://schemas.microsoft.com/office/drawing/2014/main" id="{51661A47-EB9A-497A-A368-1332B35B9C56}"/>
              </a:ext>
            </a:extLst>
          </p:cNvPr>
          <p:cNvSpPr>
            <a:spLocks noChangeAspect="1" noEditPoints="1"/>
          </p:cNvSpPr>
          <p:nvPr/>
        </p:nvSpPr>
        <p:spPr bwMode="auto">
          <a:xfrm>
            <a:off x="253328" y="3874057"/>
            <a:ext cx="286725"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nvGrpSpPr>
          <p:cNvPr id="64" name="Groupe 21">
            <a:extLst>
              <a:ext uri="{FF2B5EF4-FFF2-40B4-BE49-F238E27FC236}">
                <a16:creationId xmlns:a16="http://schemas.microsoft.com/office/drawing/2014/main" id="{AFDBB844-14B8-454E-A809-56B020B2F95C}"/>
              </a:ext>
            </a:extLst>
          </p:cNvPr>
          <p:cNvGrpSpPr/>
          <p:nvPr/>
        </p:nvGrpSpPr>
        <p:grpSpPr>
          <a:xfrm>
            <a:off x="241678" y="2081513"/>
            <a:ext cx="451426" cy="455941"/>
            <a:chOff x="195390" y="5861727"/>
            <a:chExt cx="335805" cy="335805"/>
          </a:xfrm>
        </p:grpSpPr>
        <p:sp>
          <p:nvSpPr>
            <p:cNvPr id="65" name="Ellipse 22">
              <a:extLst>
                <a:ext uri="{FF2B5EF4-FFF2-40B4-BE49-F238E27FC236}">
                  <a16:creationId xmlns:a16="http://schemas.microsoft.com/office/drawing/2014/main" id="{6FEA18CF-6BEC-4714-B0B7-0D275F199D5C}"/>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66" name="Group 5">
              <a:extLst>
                <a:ext uri="{FF2B5EF4-FFF2-40B4-BE49-F238E27FC236}">
                  <a16:creationId xmlns:a16="http://schemas.microsoft.com/office/drawing/2014/main" id="{CEC5E732-F0E8-4228-B3AA-293B1E07714B}"/>
                </a:ext>
              </a:extLst>
            </p:cNvPr>
            <p:cNvGrpSpPr>
              <a:grpSpLocks noChangeAspect="1"/>
            </p:cNvGrpSpPr>
            <p:nvPr/>
          </p:nvGrpSpPr>
          <p:grpSpPr bwMode="auto">
            <a:xfrm>
              <a:off x="249663" y="5915997"/>
              <a:ext cx="227258" cy="227255"/>
              <a:chOff x="788" y="800"/>
              <a:chExt cx="742" cy="742"/>
            </a:xfrm>
            <a:solidFill>
              <a:schemeClr val="tx2"/>
            </a:solidFill>
          </p:grpSpPr>
          <p:sp>
            <p:nvSpPr>
              <p:cNvPr id="67" name="Freeform 6">
                <a:extLst>
                  <a:ext uri="{FF2B5EF4-FFF2-40B4-BE49-F238E27FC236}">
                    <a16:creationId xmlns:a16="http://schemas.microsoft.com/office/drawing/2014/main" id="{B020542A-FA69-4258-BCE7-995440B3F4B0}"/>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68" name="Freeform 7">
                <a:extLst>
                  <a:ext uri="{FF2B5EF4-FFF2-40B4-BE49-F238E27FC236}">
                    <a16:creationId xmlns:a16="http://schemas.microsoft.com/office/drawing/2014/main" id="{DD83ADB7-5431-4BE4-869E-C72724A92746}"/>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69" name="Freeform 8">
                <a:extLst>
                  <a:ext uri="{FF2B5EF4-FFF2-40B4-BE49-F238E27FC236}">
                    <a16:creationId xmlns:a16="http://schemas.microsoft.com/office/drawing/2014/main" id="{7B31B631-5958-4256-A69A-B45BEEE8FFA0}"/>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70" name="Freeform 9">
                <a:extLst>
                  <a:ext uri="{FF2B5EF4-FFF2-40B4-BE49-F238E27FC236}">
                    <a16:creationId xmlns:a16="http://schemas.microsoft.com/office/drawing/2014/main" id="{D872051F-D7CA-4D73-932A-B8D0C0B303AD}"/>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71" name="Freeform 10">
                <a:extLst>
                  <a:ext uri="{FF2B5EF4-FFF2-40B4-BE49-F238E27FC236}">
                    <a16:creationId xmlns:a16="http://schemas.microsoft.com/office/drawing/2014/main" id="{9E6476D8-C4F5-4BD0-9B07-24C7096391EF}"/>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72" name="Freeform 11">
                <a:extLst>
                  <a:ext uri="{FF2B5EF4-FFF2-40B4-BE49-F238E27FC236}">
                    <a16:creationId xmlns:a16="http://schemas.microsoft.com/office/drawing/2014/main" id="{AD2A8DB5-CFC8-4778-A56C-9FF4B5107AAE}"/>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73" name="Freeform 12">
                <a:extLst>
                  <a:ext uri="{FF2B5EF4-FFF2-40B4-BE49-F238E27FC236}">
                    <a16:creationId xmlns:a16="http://schemas.microsoft.com/office/drawing/2014/main" id="{296813A8-70D3-4E34-B672-7EF87C2B082D}"/>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grpSp>
        <p:nvGrpSpPr>
          <p:cNvPr id="74" name="Groupe 21">
            <a:extLst>
              <a:ext uri="{FF2B5EF4-FFF2-40B4-BE49-F238E27FC236}">
                <a16:creationId xmlns:a16="http://schemas.microsoft.com/office/drawing/2014/main" id="{2E8F91EA-9D22-4C5C-B432-EAE463FDBD8E}"/>
              </a:ext>
            </a:extLst>
          </p:cNvPr>
          <p:cNvGrpSpPr/>
          <p:nvPr/>
        </p:nvGrpSpPr>
        <p:grpSpPr>
          <a:xfrm>
            <a:off x="7067812" y="1977483"/>
            <a:ext cx="451426" cy="455941"/>
            <a:chOff x="195390" y="5861727"/>
            <a:chExt cx="335805" cy="335805"/>
          </a:xfrm>
        </p:grpSpPr>
        <p:sp>
          <p:nvSpPr>
            <p:cNvPr id="75" name="Ellipse 22">
              <a:extLst>
                <a:ext uri="{FF2B5EF4-FFF2-40B4-BE49-F238E27FC236}">
                  <a16:creationId xmlns:a16="http://schemas.microsoft.com/office/drawing/2014/main" id="{A1E3958F-10D0-487C-AD6E-75EAF2B47E46}"/>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76" name="Group 5">
              <a:extLst>
                <a:ext uri="{FF2B5EF4-FFF2-40B4-BE49-F238E27FC236}">
                  <a16:creationId xmlns:a16="http://schemas.microsoft.com/office/drawing/2014/main" id="{243D946B-0F9A-4FD2-BCED-E58F691CA58B}"/>
                </a:ext>
              </a:extLst>
            </p:cNvPr>
            <p:cNvGrpSpPr>
              <a:grpSpLocks noChangeAspect="1"/>
            </p:cNvGrpSpPr>
            <p:nvPr/>
          </p:nvGrpSpPr>
          <p:grpSpPr bwMode="auto">
            <a:xfrm>
              <a:off x="249663" y="5915997"/>
              <a:ext cx="227258" cy="227255"/>
              <a:chOff x="788" y="800"/>
              <a:chExt cx="742" cy="742"/>
            </a:xfrm>
            <a:solidFill>
              <a:schemeClr val="tx2"/>
            </a:solidFill>
          </p:grpSpPr>
          <p:sp>
            <p:nvSpPr>
              <p:cNvPr id="77" name="Freeform 6">
                <a:extLst>
                  <a:ext uri="{FF2B5EF4-FFF2-40B4-BE49-F238E27FC236}">
                    <a16:creationId xmlns:a16="http://schemas.microsoft.com/office/drawing/2014/main" id="{84C2C4B3-F7C3-4047-8C88-2F06661C2B1D}"/>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78" name="Freeform 7">
                <a:extLst>
                  <a:ext uri="{FF2B5EF4-FFF2-40B4-BE49-F238E27FC236}">
                    <a16:creationId xmlns:a16="http://schemas.microsoft.com/office/drawing/2014/main" id="{DD259493-48C4-4B0C-BAA1-59672800F8FF}"/>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79" name="Freeform 8">
                <a:extLst>
                  <a:ext uri="{FF2B5EF4-FFF2-40B4-BE49-F238E27FC236}">
                    <a16:creationId xmlns:a16="http://schemas.microsoft.com/office/drawing/2014/main" id="{0F7B7ADE-F523-4E6C-A96E-0219B626EABC}"/>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0" name="Freeform 9">
                <a:extLst>
                  <a:ext uri="{FF2B5EF4-FFF2-40B4-BE49-F238E27FC236}">
                    <a16:creationId xmlns:a16="http://schemas.microsoft.com/office/drawing/2014/main" id="{0EE063FC-34D8-492F-A368-2837F2FF85D1}"/>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1" name="Freeform 10">
                <a:extLst>
                  <a:ext uri="{FF2B5EF4-FFF2-40B4-BE49-F238E27FC236}">
                    <a16:creationId xmlns:a16="http://schemas.microsoft.com/office/drawing/2014/main" id="{D327EB3A-225E-422F-9550-889918225EC6}"/>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2" name="Freeform 11">
                <a:extLst>
                  <a:ext uri="{FF2B5EF4-FFF2-40B4-BE49-F238E27FC236}">
                    <a16:creationId xmlns:a16="http://schemas.microsoft.com/office/drawing/2014/main" id="{9CAD64F8-FBF0-47FD-8A8E-3DACAACB3352}"/>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3" name="Freeform 12">
                <a:extLst>
                  <a:ext uri="{FF2B5EF4-FFF2-40B4-BE49-F238E27FC236}">
                    <a16:creationId xmlns:a16="http://schemas.microsoft.com/office/drawing/2014/main" id="{68B40034-25A8-472E-942B-EECD0003BFDF}"/>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grpSp>
        <p:nvGrpSpPr>
          <p:cNvPr id="84" name="Groupe 21">
            <a:extLst>
              <a:ext uri="{FF2B5EF4-FFF2-40B4-BE49-F238E27FC236}">
                <a16:creationId xmlns:a16="http://schemas.microsoft.com/office/drawing/2014/main" id="{001A0241-D610-4228-BC63-38064D37D781}"/>
              </a:ext>
            </a:extLst>
          </p:cNvPr>
          <p:cNvGrpSpPr/>
          <p:nvPr/>
        </p:nvGrpSpPr>
        <p:grpSpPr>
          <a:xfrm>
            <a:off x="7067812" y="5468425"/>
            <a:ext cx="451426" cy="455941"/>
            <a:chOff x="195390" y="5861727"/>
            <a:chExt cx="335805" cy="335805"/>
          </a:xfrm>
        </p:grpSpPr>
        <p:sp>
          <p:nvSpPr>
            <p:cNvPr id="85" name="Ellipse 22">
              <a:extLst>
                <a:ext uri="{FF2B5EF4-FFF2-40B4-BE49-F238E27FC236}">
                  <a16:creationId xmlns:a16="http://schemas.microsoft.com/office/drawing/2014/main" id="{4ED190C1-98FE-4B0F-9B51-0DB648D79EC3}"/>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86" name="Group 5">
              <a:extLst>
                <a:ext uri="{FF2B5EF4-FFF2-40B4-BE49-F238E27FC236}">
                  <a16:creationId xmlns:a16="http://schemas.microsoft.com/office/drawing/2014/main" id="{40E954B2-F11E-4720-980E-EE08A3571632}"/>
                </a:ext>
              </a:extLst>
            </p:cNvPr>
            <p:cNvGrpSpPr>
              <a:grpSpLocks noChangeAspect="1"/>
            </p:cNvGrpSpPr>
            <p:nvPr/>
          </p:nvGrpSpPr>
          <p:grpSpPr bwMode="auto">
            <a:xfrm>
              <a:off x="249663" y="5915997"/>
              <a:ext cx="227258" cy="227255"/>
              <a:chOff x="788" y="800"/>
              <a:chExt cx="742" cy="742"/>
            </a:xfrm>
            <a:solidFill>
              <a:schemeClr val="tx2"/>
            </a:solidFill>
          </p:grpSpPr>
          <p:sp>
            <p:nvSpPr>
              <p:cNvPr id="87" name="Freeform 6">
                <a:extLst>
                  <a:ext uri="{FF2B5EF4-FFF2-40B4-BE49-F238E27FC236}">
                    <a16:creationId xmlns:a16="http://schemas.microsoft.com/office/drawing/2014/main" id="{65B3C373-D666-4199-9D83-1B5248CB5285}"/>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8" name="Freeform 7">
                <a:extLst>
                  <a:ext uri="{FF2B5EF4-FFF2-40B4-BE49-F238E27FC236}">
                    <a16:creationId xmlns:a16="http://schemas.microsoft.com/office/drawing/2014/main" id="{312AB9CA-21A6-48F8-9A3F-81033EC7FDC2}"/>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9" name="Freeform 8">
                <a:extLst>
                  <a:ext uri="{FF2B5EF4-FFF2-40B4-BE49-F238E27FC236}">
                    <a16:creationId xmlns:a16="http://schemas.microsoft.com/office/drawing/2014/main" id="{68002A32-7527-4CE2-A0BF-9432C0E555AD}"/>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0" name="Freeform 9">
                <a:extLst>
                  <a:ext uri="{FF2B5EF4-FFF2-40B4-BE49-F238E27FC236}">
                    <a16:creationId xmlns:a16="http://schemas.microsoft.com/office/drawing/2014/main" id="{441B7465-F0DD-48C0-A7C4-C5AF004208DA}"/>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1" name="Freeform 10">
                <a:extLst>
                  <a:ext uri="{FF2B5EF4-FFF2-40B4-BE49-F238E27FC236}">
                    <a16:creationId xmlns:a16="http://schemas.microsoft.com/office/drawing/2014/main" id="{763E2CD9-DB2D-4CDB-8314-AA989F7BCB00}"/>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2" name="Freeform 11">
                <a:extLst>
                  <a:ext uri="{FF2B5EF4-FFF2-40B4-BE49-F238E27FC236}">
                    <a16:creationId xmlns:a16="http://schemas.microsoft.com/office/drawing/2014/main" id="{B154BF64-D55C-4F4A-95D7-D3B772FF0705}"/>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3" name="Freeform 12">
                <a:extLst>
                  <a:ext uri="{FF2B5EF4-FFF2-40B4-BE49-F238E27FC236}">
                    <a16:creationId xmlns:a16="http://schemas.microsoft.com/office/drawing/2014/main" id="{05FA63CB-D531-4094-985A-4C6384856361}"/>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spTree>
    <p:extLst>
      <p:ext uri="{BB962C8B-B14F-4D97-AF65-F5344CB8AC3E}">
        <p14:creationId xmlns:p14="http://schemas.microsoft.com/office/powerpoint/2010/main" val="3934374976"/>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4B5EBFA0-6C56-43F0-8621-857D9BED234C}"/>
              </a:ext>
            </a:extLst>
          </p:cNvPr>
          <p:cNvGraphicFramePr>
            <a:graphicFrameLocks noChangeAspect="1"/>
          </p:cNvGraphicFramePr>
          <p:nvPr>
            <p:custDataLst>
              <p:tags r:id="rId1"/>
            </p:custDataLst>
            <p:extLst>
              <p:ext uri="{D42A27DB-BD31-4B8C-83A1-F6EECF244321}">
                <p14:modId xmlns:p14="http://schemas.microsoft.com/office/powerpoint/2010/main" val="3595870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4" name="Objet 3" hidden="1">
                        <a:extLst>
                          <a:ext uri="{FF2B5EF4-FFF2-40B4-BE49-F238E27FC236}">
                            <a16:creationId xmlns:a16="http://schemas.microsoft.com/office/drawing/2014/main" id="{4B5EBFA0-6C56-43F0-8621-857D9BED23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EED7867-D88E-480E-BDFF-2CB02D29B807}"/>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63" name="Rectangle 162">
            <a:extLst>
              <a:ext uri="{FF2B5EF4-FFF2-40B4-BE49-F238E27FC236}">
                <a16:creationId xmlns:a16="http://schemas.microsoft.com/office/drawing/2014/main" id="{F73C942E-EE28-41E1-9A85-73F3D7D14850}"/>
              </a:ext>
            </a:extLst>
          </p:cNvPr>
          <p:cNvSpPr/>
          <p:nvPr/>
        </p:nvSpPr>
        <p:spPr bwMode="auto">
          <a:xfrm>
            <a:off x="7404753" y="1824968"/>
            <a:ext cx="1414520" cy="3288353"/>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i="1">
                <a:solidFill>
                  <a:schemeClr val="tx2"/>
                </a:solidFill>
                <a:latin typeface="Trebuchet MS" panose="020B0603020202020204" pitchFamily="34" charset="0"/>
              </a:rPr>
              <a:t>Adjacent market not considered</a:t>
            </a:r>
            <a:endParaRPr kumimoji="0" lang="en-GB" sz="1200" b="0" i="1" u="none" strike="noStrike" cap="none" normalizeH="0" baseline="0">
              <a:ln>
                <a:noFill/>
              </a:ln>
              <a:solidFill>
                <a:schemeClr val="tx2"/>
              </a:solidFill>
              <a:effectLst/>
              <a:latin typeface="Trebuchet MS" panose="020B0603020202020204" pitchFamily="34" charset="0"/>
            </a:endParaRPr>
          </a:p>
        </p:txBody>
      </p:sp>
      <p:sp>
        <p:nvSpPr>
          <p:cNvPr id="3" name="Titre 2">
            <a:extLst>
              <a:ext uri="{FF2B5EF4-FFF2-40B4-BE49-F238E27FC236}">
                <a16:creationId xmlns:a16="http://schemas.microsoft.com/office/drawing/2014/main" id="{AFF29DAC-7E9F-4518-B749-BE02D7EBF18F}"/>
              </a:ext>
            </a:extLst>
          </p:cNvPr>
          <p:cNvSpPr>
            <a:spLocks noGrp="1"/>
          </p:cNvSpPr>
          <p:nvPr>
            <p:ph type="title"/>
          </p:nvPr>
        </p:nvSpPr>
        <p:spPr>
          <a:xfrm>
            <a:off x="165600" y="147600"/>
            <a:ext cx="8357688" cy="684000"/>
          </a:xfrm>
        </p:spPr>
        <p:txBody>
          <a:bodyPr/>
          <a:lstStyle/>
          <a:p>
            <a:r>
              <a:rPr lang="en-GB" dirty="0" err="1">
                <a:solidFill>
                  <a:schemeClr val="tx2"/>
                </a:solidFill>
                <a:latin typeface="Trebuchet MS" panose="020B0603020202020204" pitchFamily="34" charset="0"/>
              </a:rPr>
              <a:t>Altares</a:t>
            </a:r>
            <a:r>
              <a:rPr lang="en-GB" dirty="0">
                <a:latin typeface="Trebuchet MS" panose="020B0603020202020204" pitchFamily="34" charset="0"/>
              </a:rPr>
              <a:t> is positioned as the </a:t>
            </a:r>
            <a:r>
              <a:rPr lang="en-GB" dirty="0">
                <a:solidFill>
                  <a:schemeClr val="tx2"/>
                </a:solidFill>
                <a:latin typeface="Trebuchet MS" panose="020B0603020202020204" pitchFamily="34" charset="0"/>
              </a:rPr>
              <a:t>only</a:t>
            </a:r>
            <a:r>
              <a:rPr lang="en-GB" dirty="0">
                <a:latin typeface="Trebuchet MS" panose="020B0603020202020204" pitchFamily="34" charset="0"/>
              </a:rPr>
              <a:t> </a:t>
            </a:r>
            <a:r>
              <a:rPr lang="en-GB" dirty="0">
                <a:solidFill>
                  <a:schemeClr val="tx2"/>
                </a:solidFill>
                <a:latin typeface="Trebuchet MS" panose="020B0603020202020204" pitchFamily="34" charset="0"/>
              </a:rPr>
              <a:t>player</a:t>
            </a:r>
            <a:r>
              <a:rPr lang="en-GB" dirty="0">
                <a:latin typeface="Trebuchet MS" panose="020B0603020202020204" pitchFamily="34" charset="0"/>
              </a:rPr>
              <a:t> in the market to </a:t>
            </a:r>
            <a:r>
              <a:rPr lang="en-GB" dirty="0">
                <a:solidFill>
                  <a:schemeClr val="tx2"/>
                </a:solidFill>
                <a:latin typeface="Trebuchet MS" panose="020B0603020202020204" pitchFamily="34" charset="0"/>
              </a:rPr>
              <a:t>address</a:t>
            </a:r>
            <a:r>
              <a:rPr lang="en-GB" dirty="0">
                <a:latin typeface="Trebuchet MS" panose="020B0603020202020204" pitchFamily="34" charset="0"/>
              </a:rPr>
              <a:t> the </a:t>
            </a:r>
            <a:r>
              <a:rPr lang="en-GB" dirty="0">
                <a:solidFill>
                  <a:schemeClr val="tx2"/>
                </a:solidFill>
                <a:latin typeface="Trebuchet MS" panose="020B0603020202020204" pitchFamily="34" charset="0"/>
              </a:rPr>
              <a:t>entire</a:t>
            </a:r>
            <a:r>
              <a:rPr lang="en-GB" dirty="0">
                <a:latin typeface="Trebuchet MS" panose="020B0603020202020204" pitchFamily="34" charset="0"/>
              </a:rPr>
              <a:t> </a:t>
            </a:r>
            <a:r>
              <a:rPr lang="en-GB" dirty="0">
                <a:solidFill>
                  <a:schemeClr val="tx2"/>
                </a:solidFill>
                <a:latin typeface="Trebuchet MS" panose="020B0603020202020204" pitchFamily="34" charset="0"/>
              </a:rPr>
              <a:t>B2B</a:t>
            </a:r>
            <a:r>
              <a:rPr lang="en-GB" dirty="0">
                <a:latin typeface="Trebuchet MS" panose="020B0603020202020204" pitchFamily="34" charset="0"/>
              </a:rPr>
              <a:t> </a:t>
            </a:r>
            <a:r>
              <a:rPr lang="en-GB" dirty="0">
                <a:solidFill>
                  <a:schemeClr val="tx2"/>
                </a:solidFill>
                <a:latin typeface="Trebuchet MS" panose="020B0603020202020204" pitchFamily="34" charset="0"/>
              </a:rPr>
              <a:t>prospect</a:t>
            </a:r>
            <a:r>
              <a:rPr lang="en-GB" dirty="0">
                <a:latin typeface="Trebuchet MS" panose="020B0603020202020204" pitchFamily="34" charset="0"/>
              </a:rPr>
              <a:t> </a:t>
            </a:r>
            <a:r>
              <a:rPr lang="en-GB" dirty="0">
                <a:solidFill>
                  <a:schemeClr val="tx2"/>
                </a:solidFill>
                <a:latin typeface="Trebuchet MS" panose="020B0603020202020204" pitchFamily="34" charset="0"/>
              </a:rPr>
              <a:t>qualification</a:t>
            </a:r>
            <a:r>
              <a:rPr lang="en-GB" dirty="0">
                <a:latin typeface="Trebuchet MS" panose="020B0603020202020204" pitchFamily="34" charset="0"/>
              </a:rPr>
              <a:t> market </a:t>
            </a:r>
            <a:r>
              <a:rPr lang="en-GB" dirty="0">
                <a:solidFill>
                  <a:schemeClr val="tx2"/>
                </a:solidFill>
                <a:latin typeface="Trebuchet MS" panose="020B0603020202020204" pitchFamily="34" charset="0"/>
              </a:rPr>
              <a:t>value</a:t>
            </a:r>
            <a:r>
              <a:rPr lang="en-GB" dirty="0">
                <a:latin typeface="Trebuchet MS" panose="020B0603020202020204" pitchFamily="34" charset="0"/>
              </a:rPr>
              <a:t> </a:t>
            </a:r>
            <a:r>
              <a:rPr lang="en-GB" dirty="0">
                <a:solidFill>
                  <a:schemeClr val="tx2"/>
                </a:solidFill>
                <a:latin typeface="Trebuchet MS" panose="020B0603020202020204" pitchFamily="34" charset="0"/>
              </a:rPr>
              <a:t>chain</a:t>
            </a:r>
            <a:r>
              <a:rPr lang="en-GB" dirty="0">
                <a:latin typeface="Trebuchet MS" panose="020B0603020202020204" pitchFamily="34" charset="0"/>
              </a:rPr>
              <a:t> thanks to its comprehensive range of offerings</a:t>
            </a:r>
          </a:p>
        </p:txBody>
      </p:sp>
      <p:cxnSp>
        <p:nvCxnSpPr>
          <p:cNvPr id="83" name="Connecteur droit 82">
            <a:extLst>
              <a:ext uri="{FF2B5EF4-FFF2-40B4-BE49-F238E27FC236}">
                <a16:creationId xmlns:a16="http://schemas.microsoft.com/office/drawing/2014/main" id="{6AD78DF9-FC8E-4E1E-99E4-09092BE04BDE}"/>
              </a:ext>
            </a:extLst>
          </p:cNvPr>
          <p:cNvCxnSpPr>
            <a:cxnSpLocks/>
          </p:cNvCxnSpPr>
          <p:nvPr/>
        </p:nvCxnSpPr>
        <p:spPr bwMode="auto">
          <a:xfrm>
            <a:off x="266330" y="1140164"/>
            <a:ext cx="9380178"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4" name="Rectangle 84">
            <a:extLst>
              <a:ext uri="{FF2B5EF4-FFF2-40B4-BE49-F238E27FC236}">
                <a16:creationId xmlns:a16="http://schemas.microsoft.com/office/drawing/2014/main" id="{6C88BDF4-C4B0-4DC9-A0A2-8F05D5494C77}"/>
              </a:ext>
            </a:extLst>
          </p:cNvPr>
          <p:cNvSpPr/>
          <p:nvPr/>
        </p:nvSpPr>
        <p:spPr bwMode="auto">
          <a:xfrm>
            <a:off x="2665351" y="1004149"/>
            <a:ext cx="4582137" cy="24579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defRPr/>
            </a:pPr>
            <a:r>
              <a:rPr lang="en-GB" sz="1100">
                <a:latin typeface="Trebuchet MS" panose="020B0603020202020204" pitchFamily="34" charset="0"/>
              </a:rPr>
              <a:t>Mapping of the ecosystem of the </a:t>
            </a:r>
            <a:r>
              <a:rPr lang="en-GB" sz="1100">
                <a:solidFill>
                  <a:srgbClr val="289B38"/>
                </a:solidFill>
                <a:latin typeface="Trebuchet MS" panose="020B0603020202020204" pitchFamily="34" charset="0"/>
              </a:rPr>
              <a:t>B2B prospect qualification market</a:t>
            </a:r>
          </a:p>
        </p:txBody>
      </p:sp>
      <p:sp>
        <p:nvSpPr>
          <p:cNvPr id="182" name="Flèche : chevron 95">
            <a:extLst>
              <a:ext uri="{FF2B5EF4-FFF2-40B4-BE49-F238E27FC236}">
                <a16:creationId xmlns:a16="http://schemas.microsoft.com/office/drawing/2014/main" id="{1464F6C8-5FBB-464E-B425-E3938C2D03FB}"/>
              </a:ext>
            </a:extLst>
          </p:cNvPr>
          <p:cNvSpPr/>
          <p:nvPr/>
        </p:nvSpPr>
        <p:spPr bwMode="auto">
          <a:xfrm>
            <a:off x="2623612" y="1309339"/>
            <a:ext cx="1555236" cy="457464"/>
          </a:xfrm>
          <a:prstGeom prst="chevron">
            <a:avLst>
              <a:gd name="adj" fmla="val 19648"/>
            </a:avLst>
          </a:prstGeom>
          <a:solidFill>
            <a:schemeClr val="tx2"/>
          </a:solidFill>
          <a:ln w="9525" cap="flat" cmpd="sng" algn="ctr">
            <a:noFill/>
            <a:prstDash val="solid"/>
            <a:round/>
            <a:headEnd type="none" w="med" len="med"/>
            <a:tailEnd type="none" w="med" len="med"/>
          </a:ln>
          <a:effectLst/>
        </p:spPr>
        <p:txBody>
          <a:bodyPr vert="horz" wrap="square" lIns="216000" tIns="4572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Cleansing and basic enrichment</a:t>
            </a:r>
          </a:p>
        </p:txBody>
      </p:sp>
      <p:sp>
        <p:nvSpPr>
          <p:cNvPr id="183" name="Flèche : chevron 96">
            <a:extLst>
              <a:ext uri="{FF2B5EF4-FFF2-40B4-BE49-F238E27FC236}">
                <a16:creationId xmlns:a16="http://schemas.microsoft.com/office/drawing/2014/main" id="{6DEFB767-83D5-4E01-99F9-2C3C972F483D}"/>
              </a:ext>
            </a:extLst>
          </p:cNvPr>
          <p:cNvSpPr/>
          <p:nvPr/>
        </p:nvSpPr>
        <p:spPr bwMode="auto">
          <a:xfrm>
            <a:off x="4210456" y="1309339"/>
            <a:ext cx="1555236" cy="457464"/>
          </a:xfrm>
          <a:prstGeom prst="chevron">
            <a:avLst>
              <a:gd name="adj" fmla="val 19648"/>
            </a:avLst>
          </a:prstGeom>
          <a:solidFill>
            <a:schemeClr val="tx2"/>
          </a:solidFill>
          <a:ln w="9525" cap="flat" cmpd="sng" algn="ctr">
            <a:no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High-quality enrichment</a:t>
            </a:r>
          </a:p>
        </p:txBody>
      </p:sp>
      <p:sp>
        <p:nvSpPr>
          <p:cNvPr id="184" name="Flèche : chevron 97">
            <a:extLst>
              <a:ext uri="{FF2B5EF4-FFF2-40B4-BE49-F238E27FC236}">
                <a16:creationId xmlns:a16="http://schemas.microsoft.com/office/drawing/2014/main" id="{1071D81A-C4B8-43C9-8E81-22FF11B937F8}"/>
              </a:ext>
            </a:extLst>
          </p:cNvPr>
          <p:cNvSpPr/>
          <p:nvPr/>
        </p:nvSpPr>
        <p:spPr bwMode="auto">
          <a:xfrm>
            <a:off x="5797300" y="1309339"/>
            <a:ext cx="1555236" cy="457464"/>
          </a:xfrm>
          <a:prstGeom prst="chevron">
            <a:avLst>
              <a:gd name="adj" fmla="val 19648"/>
            </a:avLst>
          </a:prstGeom>
          <a:solidFill>
            <a:schemeClr val="tx2"/>
          </a:solidFill>
          <a:ln w="9525" cap="flat" cmpd="sng" algn="ctr">
            <a:no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Lead </a:t>
            </a:r>
          </a:p>
          <a:p>
            <a:pPr algn="ctr"/>
            <a:r>
              <a:rPr lang="en-GB" sz="1000" b="1">
                <a:solidFill>
                  <a:schemeClr val="bg1"/>
                </a:solidFill>
                <a:latin typeface="Trebuchet MS" panose="020B0603020202020204" pitchFamily="34" charset="0"/>
              </a:rPr>
              <a:t>qualification</a:t>
            </a:r>
          </a:p>
        </p:txBody>
      </p:sp>
      <p:sp>
        <p:nvSpPr>
          <p:cNvPr id="185" name="Flèche : chevron 98">
            <a:extLst>
              <a:ext uri="{FF2B5EF4-FFF2-40B4-BE49-F238E27FC236}">
                <a16:creationId xmlns:a16="http://schemas.microsoft.com/office/drawing/2014/main" id="{56D58476-4A7F-427D-A345-E5A1EDB3C3E4}"/>
              </a:ext>
            </a:extLst>
          </p:cNvPr>
          <p:cNvSpPr/>
          <p:nvPr/>
        </p:nvSpPr>
        <p:spPr bwMode="auto">
          <a:xfrm>
            <a:off x="7384144" y="1309339"/>
            <a:ext cx="1414519" cy="457464"/>
          </a:xfrm>
          <a:prstGeom prst="chevron">
            <a:avLst>
              <a:gd name="adj" fmla="val 19648"/>
            </a:avLst>
          </a:prstGeom>
          <a:solidFill>
            <a:schemeClr val="bg2">
              <a:lumMod val="60000"/>
              <a:lumOff val="4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Chanel activation &amp; Marketing automation</a:t>
            </a:r>
          </a:p>
        </p:txBody>
      </p:sp>
      <p:sp>
        <p:nvSpPr>
          <p:cNvPr id="191" name="Flèche : chevron 94">
            <a:extLst>
              <a:ext uri="{FF2B5EF4-FFF2-40B4-BE49-F238E27FC236}">
                <a16:creationId xmlns:a16="http://schemas.microsoft.com/office/drawing/2014/main" id="{06BD907B-CDAE-4FA6-AF08-ECB58BCD0B70}"/>
              </a:ext>
            </a:extLst>
          </p:cNvPr>
          <p:cNvSpPr/>
          <p:nvPr/>
        </p:nvSpPr>
        <p:spPr bwMode="auto">
          <a:xfrm>
            <a:off x="1036768" y="1309339"/>
            <a:ext cx="1555236" cy="457464"/>
          </a:xfrm>
          <a:prstGeom prst="chevron">
            <a:avLst>
              <a:gd name="adj" fmla="val 19648"/>
            </a:avLst>
          </a:prstGeom>
          <a:solidFill>
            <a:schemeClr val="tx2"/>
          </a:solidFill>
          <a:ln w="9525" cap="flat" cmpd="sng" algn="ctr">
            <a:no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Database constitution</a:t>
            </a:r>
          </a:p>
        </p:txBody>
      </p:sp>
      <p:pic>
        <p:nvPicPr>
          <p:cNvPr id="192" name="Graphic 191">
            <a:extLst>
              <a:ext uri="{FF2B5EF4-FFF2-40B4-BE49-F238E27FC236}">
                <a16:creationId xmlns:a16="http://schemas.microsoft.com/office/drawing/2014/main" id="{E1260775-BEBF-4419-B71D-6CE3B925EF1A}"/>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8334"/>
          <a:stretch/>
        </p:blipFill>
        <p:spPr>
          <a:xfrm>
            <a:off x="1155281" y="1433869"/>
            <a:ext cx="194238" cy="198283"/>
          </a:xfrm>
          <a:prstGeom prst="rect">
            <a:avLst/>
          </a:prstGeom>
          <a:effectLst/>
        </p:spPr>
      </p:pic>
      <p:pic>
        <p:nvPicPr>
          <p:cNvPr id="193" name="Graphic 192">
            <a:extLst>
              <a:ext uri="{FF2B5EF4-FFF2-40B4-BE49-F238E27FC236}">
                <a16:creationId xmlns:a16="http://schemas.microsoft.com/office/drawing/2014/main" id="{26F3AA77-CC07-4944-B976-F519A010CB97}"/>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3743"/>
          <a:stretch/>
        </p:blipFill>
        <p:spPr>
          <a:xfrm>
            <a:off x="2728272" y="1431092"/>
            <a:ext cx="188635" cy="203835"/>
          </a:xfrm>
          <a:prstGeom prst="rect">
            <a:avLst/>
          </a:prstGeom>
          <a:effectLst/>
        </p:spPr>
      </p:pic>
      <p:pic>
        <p:nvPicPr>
          <p:cNvPr id="194" name="Graphic 193">
            <a:extLst>
              <a:ext uri="{FF2B5EF4-FFF2-40B4-BE49-F238E27FC236}">
                <a16:creationId xmlns:a16="http://schemas.microsoft.com/office/drawing/2014/main" id="{53FB7011-1E43-4DAF-B998-3406AC6AB9DB}"/>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b="17999"/>
          <a:stretch/>
        </p:blipFill>
        <p:spPr>
          <a:xfrm>
            <a:off x="4324764" y="1406604"/>
            <a:ext cx="250823" cy="257095"/>
          </a:xfrm>
          <a:prstGeom prst="rect">
            <a:avLst/>
          </a:prstGeom>
          <a:effectLst/>
        </p:spPr>
      </p:pic>
      <p:pic>
        <p:nvPicPr>
          <p:cNvPr id="195" name="Graphic 194">
            <a:extLst>
              <a:ext uri="{FF2B5EF4-FFF2-40B4-BE49-F238E27FC236}">
                <a16:creationId xmlns:a16="http://schemas.microsoft.com/office/drawing/2014/main" id="{205C630B-0B75-44A5-BBF3-5F0009AC3DD6}"/>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b="24933"/>
          <a:stretch/>
        </p:blipFill>
        <p:spPr>
          <a:xfrm>
            <a:off x="5908025" y="1406604"/>
            <a:ext cx="250823" cy="235355"/>
          </a:xfrm>
          <a:prstGeom prst="rect">
            <a:avLst/>
          </a:prstGeom>
          <a:effectLst/>
        </p:spPr>
      </p:pic>
      <p:sp>
        <p:nvSpPr>
          <p:cNvPr id="98" name="Rectangle 97">
            <a:extLst>
              <a:ext uri="{FF2B5EF4-FFF2-40B4-BE49-F238E27FC236}">
                <a16:creationId xmlns:a16="http://schemas.microsoft.com/office/drawing/2014/main" id="{165DCA80-2233-4F2E-84B0-2174B0BC36BD}"/>
              </a:ext>
            </a:extLst>
          </p:cNvPr>
          <p:cNvSpPr/>
          <p:nvPr/>
        </p:nvSpPr>
        <p:spPr bwMode="auto">
          <a:xfrm>
            <a:off x="1026639" y="1826226"/>
            <a:ext cx="1474500" cy="627377"/>
          </a:xfrm>
          <a:prstGeom prst="rect">
            <a:avLst/>
          </a:prstGeom>
          <a:solidFill>
            <a:srgbClr val="F2F2F2"/>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a:r>
              <a:rPr lang="en-GB" sz="1000">
                <a:latin typeface="Trebuchet MS" panose="020B0603020202020204" pitchFamily="34" charset="0"/>
              </a:rPr>
              <a:t>Create a </a:t>
            </a:r>
            <a:r>
              <a:rPr lang="en-GB" sz="1000">
                <a:solidFill>
                  <a:schemeClr val="tx2"/>
                </a:solidFill>
                <a:latin typeface="Trebuchet MS" panose="020B0603020202020204" pitchFamily="34" charset="0"/>
              </a:rPr>
              <a:t>structured</a:t>
            </a:r>
            <a:r>
              <a:rPr lang="en-GB" sz="1000">
                <a:latin typeface="Trebuchet MS" panose="020B0603020202020204" pitchFamily="34" charset="0"/>
              </a:rPr>
              <a:t> </a:t>
            </a:r>
            <a:r>
              <a:rPr lang="en-GB" sz="1000">
                <a:solidFill>
                  <a:schemeClr val="tx2"/>
                </a:solidFill>
                <a:latin typeface="Trebuchet MS" panose="020B0603020202020204" pitchFamily="34" charset="0"/>
              </a:rPr>
              <a:t>set</a:t>
            </a:r>
            <a:r>
              <a:rPr lang="en-GB" sz="1000">
                <a:latin typeface="Trebuchet MS" panose="020B0603020202020204" pitchFamily="34" charset="0"/>
              </a:rPr>
              <a:t> of </a:t>
            </a:r>
            <a:r>
              <a:rPr lang="en-GB" sz="1000">
                <a:solidFill>
                  <a:schemeClr val="tx2"/>
                </a:solidFill>
                <a:latin typeface="Trebuchet MS" panose="020B0603020202020204" pitchFamily="34" charset="0"/>
              </a:rPr>
              <a:t>data</a:t>
            </a:r>
            <a:r>
              <a:rPr lang="en-GB" sz="1000">
                <a:latin typeface="Trebuchet MS" panose="020B0603020202020204" pitchFamily="34" charset="0"/>
              </a:rPr>
              <a:t> accessible in various ways</a:t>
            </a:r>
          </a:p>
        </p:txBody>
      </p:sp>
      <p:sp>
        <p:nvSpPr>
          <p:cNvPr id="99" name="Rectangle 98">
            <a:extLst>
              <a:ext uri="{FF2B5EF4-FFF2-40B4-BE49-F238E27FC236}">
                <a16:creationId xmlns:a16="http://schemas.microsoft.com/office/drawing/2014/main" id="{5C8C06F5-72C7-4B72-BBBA-AD70C738D574}"/>
              </a:ext>
            </a:extLst>
          </p:cNvPr>
          <p:cNvSpPr/>
          <p:nvPr/>
        </p:nvSpPr>
        <p:spPr bwMode="auto">
          <a:xfrm>
            <a:off x="2622991" y="1826226"/>
            <a:ext cx="1474500" cy="627377"/>
          </a:xfrm>
          <a:prstGeom prst="rect">
            <a:avLst/>
          </a:prstGeom>
          <a:solidFill>
            <a:srgbClr val="F2F2F2"/>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a:r>
              <a:rPr lang="en-GB" sz="1000">
                <a:solidFill>
                  <a:schemeClr val="tx2"/>
                </a:solidFill>
                <a:latin typeface="Trebuchet MS" panose="020B0603020202020204" pitchFamily="34" charset="0"/>
              </a:rPr>
              <a:t>Detect</a:t>
            </a:r>
            <a:r>
              <a:rPr lang="en-GB" sz="1000">
                <a:latin typeface="Trebuchet MS" panose="020B0603020202020204" pitchFamily="34" charset="0"/>
              </a:rPr>
              <a:t> and </a:t>
            </a:r>
            <a:r>
              <a:rPr lang="en-GB" sz="1000">
                <a:solidFill>
                  <a:schemeClr val="tx2"/>
                </a:solidFill>
                <a:latin typeface="Trebuchet MS" panose="020B0603020202020204" pitchFamily="34" charset="0"/>
              </a:rPr>
              <a:t>correct</a:t>
            </a:r>
            <a:r>
              <a:rPr lang="en-GB" sz="1000">
                <a:latin typeface="Trebuchet MS" panose="020B0603020202020204" pitchFamily="34" charset="0"/>
              </a:rPr>
              <a:t> present </a:t>
            </a:r>
            <a:r>
              <a:rPr lang="en-GB" sz="1000">
                <a:solidFill>
                  <a:schemeClr val="tx2"/>
                </a:solidFill>
                <a:latin typeface="Trebuchet MS" panose="020B0603020202020204" pitchFamily="34" charset="0"/>
              </a:rPr>
              <a:t>errors</a:t>
            </a:r>
            <a:r>
              <a:rPr lang="en-GB" sz="1000">
                <a:latin typeface="Trebuchet MS" panose="020B0603020202020204" pitchFamily="34" charset="0"/>
              </a:rPr>
              <a:t> in data stored in databases or files</a:t>
            </a:r>
          </a:p>
        </p:txBody>
      </p:sp>
      <p:sp>
        <p:nvSpPr>
          <p:cNvPr id="100" name="Rectangle 99">
            <a:extLst>
              <a:ext uri="{FF2B5EF4-FFF2-40B4-BE49-F238E27FC236}">
                <a16:creationId xmlns:a16="http://schemas.microsoft.com/office/drawing/2014/main" id="{621E144C-63E9-452F-BA0C-CDEF37CBE3C8}"/>
              </a:ext>
            </a:extLst>
          </p:cNvPr>
          <p:cNvSpPr/>
          <p:nvPr/>
        </p:nvSpPr>
        <p:spPr bwMode="auto">
          <a:xfrm>
            <a:off x="4211140" y="1826226"/>
            <a:ext cx="1474500" cy="627377"/>
          </a:xfrm>
          <a:prstGeom prst="rect">
            <a:avLst/>
          </a:prstGeom>
          <a:solidFill>
            <a:srgbClr val="F2F2F2"/>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000">
                <a:solidFill>
                  <a:schemeClr val="tx2"/>
                </a:solidFill>
                <a:latin typeface="Trebuchet MS" panose="020B0603020202020204" pitchFamily="34" charset="0"/>
              </a:rPr>
              <a:t>Merge</a:t>
            </a:r>
            <a:r>
              <a:rPr lang="en-GB" sz="1000">
                <a:latin typeface="Trebuchet MS" panose="020B0603020202020204" pitchFamily="34" charset="0"/>
              </a:rPr>
              <a:t> third-party </a:t>
            </a:r>
            <a:r>
              <a:rPr lang="en-GB" sz="1000">
                <a:solidFill>
                  <a:schemeClr val="tx2"/>
                </a:solidFill>
                <a:latin typeface="Trebuchet MS" panose="020B0603020202020204" pitchFamily="34" charset="0"/>
              </a:rPr>
              <a:t>data</a:t>
            </a:r>
            <a:r>
              <a:rPr lang="en-GB" sz="1000">
                <a:latin typeface="Trebuchet MS" panose="020B0603020202020204" pitchFamily="34" charset="0"/>
              </a:rPr>
              <a:t> with an external authoritative source with a </a:t>
            </a:r>
            <a:r>
              <a:rPr lang="en-GB" sz="1000">
                <a:solidFill>
                  <a:schemeClr val="tx2"/>
                </a:solidFill>
                <a:latin typeface="Trebuchet MS" panose="020B0603020202020204" pitchFamily="34" charset="0"/>
              </a:rPr>
              <a:t>qualified</a:t>
            </a:r>
            <a:r>
              <a:rPr lang="en-GB" sz="1000">
                <a:latin typeface="Trebuchet MS" panose="020B0603020202020204" pitchFamily="34" charset="0"/>
              </a:rPr>
              <a:t> </a:t>
            </a:r>
            <a:r>
              <a:rPr lang="en-GB" sz="1000">
                <a:solidFill>
                  <a:schemeClr val="tx2"/>
                </a:solidFill>
                <a:latin typeface="Trebuchet MS" panose="020B0603020202020204" pitchFamily="34" charset="0"/>
              </a:rPr>
              <a:t>database</a:t>
            </a:r>
          </a:p>
        </p:txBody>
      </p:sp>
      <p:sp>
        <p:nvSpPr>
          <p:cNvPr id="101" name="Rectangle 100">
            <a:extLst>
              <a:ext uri="{FF2B5EF4-FFF2-40B4-BE49-F238E27FC236}">
                <a16:creationId xmlns:a16="http://schemas.microsoft.com/office/drawing/2014/main" id="{87AD77C8-21D0-4F49-B688-B4B3828F4155}"/>
              </a:ext>
            </a:extLst>
          </p:cNvPr>
          <p:cNvSpPr/>
          <p:nvPr/>
        </p:nvSpPr>
        <p:spPr bwMode="auto">
          <a:xfrm>
            <a:off x="5781538" y="1826226"/>
            <a:ext cx="1474500" cy="627377"/>
          </a:xfrm>
          <a:prstGeom prst="rect">
            <a:avLst/>
          </a:prstGeom>
          <a:solidFill>
            <a:srgbClr val="F2F2F2"/>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a:r>
              <a:rPr lang="en-GB" sz="1000">
                <a:solidFill>
                  <a:schemeClr val="tx2"/>
                </a:solidFill>
                <a:latin typeface="Trebuchet MS" panose="020B0603020202020204" pitchFamily="34" charset="0"/>
              </a:rPr>
              <a:t>Evaluate</a:t>
            </a:r>
            <a:r>
              <a:rPr lang="en-GB" sz="1000">
                <a:latin typeface="Trebuchet MS" panose="020B0603020202020204" pitchFamily="34" charset="0"/>
              </a:rPr>
              <a:t> and </a:t>
            </a:r>
            <a:r>
              <a:rPr lang="en-GB" sz="1000">
                <a:solidFill>
                  <a:schemeClr val="tx2"/>
                </a:solidFill>
                <a:latin typeface="Trebuchet MS" panose="020B0603020202020204" pitchFamily="34" charset="0"/>
              </a:rPr>
              <a:t>determine</a:t>
            </a:r>
            <a:r>
              <a:rPr lang="en-GB" sz="1000">
                <a:latin typeface="Trebuchet MS" panose="020B0603020202020204" pitchFamily="34" charset="0"/>
              </a:rPr>
              <a:t> whether a </a:t>
            </a:r>
            <a:r>
              <a:rPr lang="en-GB" sz="1000">
                <a:solidFill>
                  <a:schemeClr val="tx2"/>
                </a:solidFill>
                <a:latin typeface="Trebuchet MS" panose="020B0603020202020204" pitchFamily="34" charset="0"/>
              </a:rPr>
              <a:t>prospect</a:t>
            </a:r>
            <a:r>
              <a:rPr lang="en-GB" sz="1000">
                <a:latin typeface="Trebuchet MS" panose="020B0603020202020204" pitchFamily="34" charset="0"/>
              </a:rPr>
              <a:t> fits customer profile</a:t>
            </a:r>
          </a:p>
        </p:txBody>
      </p:sp>
      <p:cxnSp>
        <p:nvCxnSpPr>
          <p:cNvPr id="106" name="Connecteur droit avec flèche 31">
            <a:extLst>
              <a:ext uri="{FF2B5EF4-FFF2-40B4-BE49-F238E27FC236}">
                <a16:creationId xmlns:a16="http://schemas.microsoft.com/office/drawing/2014/main" id="{8C53B46B-91D0-43BE-A145-632CA35BD9E1}"/>
              </a:ext>
            </a:extLst>
          </p:cNvPr>
          <p:cNvCxnSpPr>
            <a:cxnSpLocks/>
          </p:cNvCxnSpPr>
          <p:nvPr/>
        </p:nvCxnSpPr>
        <p:spPr bwMode="auto">
          <a:xfrm flipV="1">
            <a:off x="899680" y="2997605"/>
            <a:ext cx="0" cy="2235794"/>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sp>
        <p:nvSpPr>
          <p:cNvPr id="108" name="Rectangle 107">
            <a:extLst>
              <a:ext uri="{FF2B5EF4-FFF2-40B4-BE49-F238E27FC236}">
                <a16:creationId xmlns:a16="http://schemas.microsoft.com/office/drawing/2014/main" id="{B21769D1-FEC3-4B06-A5B3-4507ED8FBCB5}"/>
              </a:ext>
            </a:extLst>
          </p:cNvPr>
          <p:cNvSpPr/>
          <p:nvPr/>
        </p:nvSpPr>
        <p:spPr bwMode="auto">
          <a:xfrm rot="16200000">
            <a:off x="48035" y="3908141"/>
            <a:ext cx="1351000" cy="1436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1" u="none" strike="noStrike" cap="none" normalizeH="0" baseline="0">
                <a:ln>
                  <a:noFill/>
                </a:ln>
                <a:effectLst/>
                <a:latin typeface="Trebuchet MS" panose="020B0603020202020204" pitchFamily="34" charset="0"/>
              </a:rPr>
              <a:t>Company size</a:t>
            </a:r>
          </a:p>
        </p:txBody>
      </p:sp>
      <p:sp>
        <p:nvSpPr>
          <p:cNvPr id="109" name="Rectangle 108">
            <a:extLst>
              <a:ext uri="{FF2B5EF4-FFF2-40B4-BE49-F238E27FC236}">
                <a16:creationId xmlns:a16="http://schemas.microsoft.com/office/drawing/2014/main" id="{A0A562DA-A4BE-429E-8D0F-C6AAB4D8711C}"/>
              </a:ext>
            </a:extLst>
          </p:cNvPr>
          <p:cNvSpPr/>
          <p:nvPr/>
        </p:nvSpPr>
        <p:spPr bwMode="auto">
          <a:xfrm>
            <a:off x="352392" y="3002301"/>
            <a:ext cx="800359" cy="2215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b="1" i="1">
                <a:latin typeface="Trebuchet MS" panose="020B0603020202020204" pitchFamily="34" charset="0"/>
              </a:rPr>
              <a:t>+</a:t>
            </a:r>
            <a:endParaRPr kumimoji="0" lang="en-GB" b="1" i="1" u="none" strike="noStrike" cap="none" normalizeH="0" baseline="0">
              <a:ln>
                <a:noFill/>
              </a:ln>
              <a:effectLst/>
              <a:latin typeface="Trebuchet MS" panose="020B0603020202020204" pitchFamily="34" charset="0"/>
            </a:endParaRPr>
          </a:p>
        </p:txBody>
      </p:sp>
      <p:sp>
        <p:nvSpPr>
          <p:cNvPr id="110" name="Rectangle 109">
            <a:extLst>
              <a:ext uri="{FF2B5EF4-FFF2-40B4-BE49-F238E27FC236}">
                <a16:creationId xmlns:a16="http://schemas.microsoft.com/office/drawing/2014/main" id="{18F37AC0-131F-4C51-B220-63F0CD710603}"/>
              </a:ext>
            </a:extLst>
          </p:cNvPr>
          <p:cNvSpPr/>
          <p:nvPr/>
        </p:nvSpPr>
        <p:spPr bwMode="auto">
          <a:xfrm>
            <a:off x="361953" y="5059796"/>
            <a:ext cx="800359" cy="2215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b="1" i="1" u="none" strike="noStrike" cap="none" normalizeH="0" baseline="0">
                <a:ln>
                  <a:noFill/>
                </a:ln>
                <a:effectLst/>
                <a:latin typeface="Trebuchet MS" panose="020B0603020202020204" pitchFamily="34" charset="0"/>
              </a:rPr>
              <a:t>-</a:t>
            </a:r>
          </a:p>
        </p:txBody>
      </p:sp>
      <p:sp>
        <p:nvSpPr>
          <p:cNvPr id="111" name="Rectangle 110">
            <a:extLst>
              <a:ext uri="{FF2B5EF4-FFF2-40B4-BE49-F238E27FC236}">
                <a16:creationId xmlns:a16="http://schemas.microsoft.com/office/drawing/2014/main" id="{F56B19CA-C85A-4317-8DE5-79A94D56B8BF}"/>
              </a:ext>
            </a:extLst>
          </p:cNvPr>
          <p:cNvSpPr/>
          <p:nvPr/>
        </p:nvSpPr>
        <p:spPr bwMode="auto">
          <a:xfrm>
            <a:off x="1026639" y="2488590"/>
            <a:ext cx="7227024" cy="459569"/>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12" name="Picture 2" descr="ALTARES-D&amp;B - L'ASSOCIATION FRANCAISE DES CREDIT MANAGERS ET CONSEILS">
            <a:extLst>
              <a:ext uri="{FF2B5EF4-FFF2-40B4-BE49-F238E27FC236}">
                <a16:creationId xmlns:a16="http://schemas.microsoft.com/office/drawing/2014/main" id="{59EBEE26-9FD2-41E5-B097-72C645B59FB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12747" y="2571322"/>
            <a:ext cx="534788" cy="299550"/>
          </a:xfrm>
          <a:prstGeom prst="rect">
            <a:avLst/>
          </a:prstGeom>
          <a:noFill/>
          <a:extLst>
            <a:ext uri="{909E8E84-426E-40DD-AFC4-6F175D3DCCD1}">
              <a14:hiddenFill xmlns:a14="http://schemas.microsoft.com/office/drawing/2010/main">
                <a:solidFill>
                  <a:srgbClr val="FFFFFF"/>
                </a:solidFill>
              </a14:hiddenFill>
            </a:ext>
          </a:extLst>
        </p:spPr>
      </p:pic>
      <p:sp>
        <p:nvSpPr>
          <p:cNvPr id="113" name="ZoneTexte 150">
            <a:extLst>
              <a:ext uri="{FF2B5EF4-FFF2-40B4-BE49-F238E27FC236}">
                <a16:creationId xmlns:a16="http://schemas.microsoft.com/office/drawing/2014/main" id="{A9285460-9B1B-441D-AA2B-94867C1249EA}"/>
              </a:ext>
            </a:extLst>
          </p:cNvPr>
          <p:cNvSpPr txBox="1"/>
          <p:nvPr/>
        </p:nvSpPr>
        <p:spPr>
          <a:xfrm>
            <a:off x="2662480" y="2581011"/>
            <a:ext cx="866605" cy="169277"/>
          </a:xfrm>
          <a:prstGeom prst="rect">
            <a:avLst/>
          </a:prstGeom>
          <a:noFill/>
        </p:spPr>
        <p:txBody>
          <a:bodyPr wrap="square" lIns="0" tIns="0" rIns="0" bIns="0">
            <a:spAutoFit/>
          </a:bodyPr>
          <a:lstStyle/>
          <a:p>
            <a:pPr algn="ctr"/>
            <a:r>
              <a:rPr lang="en-GB" sz="1100" err="1">
                <a:solidFill>
                  <a:schemeClr val="bg2">
                    <a:lumMod val="75000"/>
                  </a:schemeClr>
                </a:solidFill>
                <a:latin typeface="Trebuchet MS" panose="020B0603020202020204" pitchFamily="34" charset="0"/>
              </a:rPr>
              <a:t>m</a:t>
            </a:r>
            <a:r>
              <a:rPr lang="en-GB" sz="1100" err="1">
                <a:solidFill>
                  <a:srgbClr val="0070C0"/>
                </a:solidFill>
                <a:latin typeface="Trebuchet MS" panose="020B0603020202020204" pitchFamily="34" charset="0"/>
              </a:rPr>
              <a:t>List</a:t>
            </a:r>
            <a:endParaRPr lang="en-GB" sz="1100">
              <a:solidFill>
                <a:srgbClr val="0070C0"/>
              </a:solidFill>
              <a:latin typeface="Trebuchet MS" panose="020B0603020202020204" pitchFamily="34" charset="0"/>
            </a:endParaRPr>
          </a:p>
        </p:txBody>
      </p:sp>
      <p:sp>
        <p:nvSpPr>
          <p:cNvPr id="114" name="ZoneTexte 84">
            <a:extLst>
              <a:ext uri="{FF2B5EF4-FFF2-40B4-BE49-F238E27FC236}">
                <a16:creationId xmlns:a16="http://schemas.microsoft.com/office/drawing/2014/main" id="{D1FE7E7E-1948-4E17-BE88-4E79F1836345}"/>
              </a:ext>
            </a:extLst>
          </p:cNvPr>
          <p:cNvSpPr txBox="1"/>
          <p:nvPr/>
        </p:nvSpPr>
        <p:spPr>
          <a:xfrm>
            <a:off x="7166331" y="2679731"/>
            <a:ext cx="668630" cy="261610"/>
          </a:xfrm>
          <a:prstGeom prst="rect">
            <a:avLst/>
          </a:prstGeom>
          <a:noFill/>
        </p:spPr>
        <p:txBody>
          <a:bodyPr wrap="square">
            <a:spAutoFit/>
          </a:bodyPr>
          <a:lstStyle/>
          <a:p>
            <a:r>
              <a:rPr kumimoji="0" lang="en-GB" sz="1100" b="1" i="0" u="none" strike="noStrike" kern="1200" cap="none" spc="0" normalizeH="0" baseline="0" noProof="0" err="1">
                <a:ln>
                  <a:noFill/>
                </a:ln>
                <a:solidFill>
                  <a:srgbClr val="E38C35"/>
                </a:solidFill>
                <a:effectLst/>
                <a:uLnTx/>
                <a:uFillTx/>
                <a:latin typeface="Trebuchet MS" panose="020B0603020202020204" pitchFamily="34" charset="0"/>
                <a:ea typeface="+mn-ea"/>
                <a:cs typeface="Arial" pitchFamily="34" charset="0"/>
              </a:rPr>
              <a:t>m</a:t>
            </a:r>
            <a:r>
              <a:rPr kumimoji="0" lang="en-GB" sz="1100" b="1" i="0" u="none" strike="noStrike" kern="1200" cap="none" spc="0" normalizeH="0" baseline="0" noProof="0" err="1">
                <a:ln>
                  <a:noFill/>
                </a:ln>
                <a:solidFill>
                  <a:srgbClr val="0070C0"/>
                </a:solidFill>
                <a:effectLst/>
                <a:uLnTx/>
                <a:uFillTx/>
                <a:latin typeface="Trebuchet MS" panose="020B0603020202020204" pitchFamily="34" charset="0"/>
                <a:ea typeface="+mn-ea"/>
                <a:cs typeface="Arial" pitchFamily="34" charset="0"/>
              </a:rPr>
              <a:t>Ads</a:t>
            </a:r>
            <a:endParaRPr lang="en-GB" sz="1000">
              <a:latin typeface="Trebuchet MS" panose="020B0603020202020204" pitchFamily="34" charset="0"/>
            </a:endParaRPr>
          </a:p>
        </p:txBody>
      </p:sp>
      <p:sp>
        <p:nvSpPr>
          <p:cNvPr id="115" name="ZoneTexte 86">
            <a:extLst>
              <a:ext uri="{FF2B5EF4-FFF2-40B4-BE49-F238E27FC236}">
                <a16:creationId xmlns:a16="http://schemas.microsoft.com/office/drawing/2014/main" id="{74F907D2-857A-4563-81F7-107E8D89052F}"/>
              </a:ext>
            </a:extLst>
          </p:cNvPr>
          <p:cNvSpPr txBox="1"/>
          <p:nvPr/>
        </p:nvSpPr>
        <p:spPr>
          <a:xfrm>
            <a:off x="5960065" y="2536655"/>
            <a:ext cx="866605" cy="261610"/>
          </a:xfrm>
          <a:prstGeom prst="rect">
            <a:avLst/>
          </a:prstGeom>
          <a:noFill/>
        </p:spPr>
        <p:txBody>
          <a:bodyPr wrap="square">
            <a:spAutoFit/>
          </a:bodyPr>
          <a:lstStyle/>
          <a:p>
            <a:r>
              <a:rPr kumimoji="0" lang="en-GB" sz="1100" b="0" i="0" u="none" strike="noStrike" kern="1200" cap="none" spc="0" normalizeH="0" baseline="0" noProof="0" err="1">
                <a:ln>
                  <a:noFill/>
                </a:ln>
                <a:solidFill>
                  <a:srgbClr val="6C6C6C">
                    <a:lumMod val="50000"/>
                  </a:srgbClr>
                </a:solidFill>
                <a:effectLst/>
                <a:uLnTx/>
                <a:uFillTx/>
                <a:latin typeface="Trebuchet MS" panose="020B0603020202020204" pitchFamily="34" charset="0"/>
                <a:ea typeface="+mn-ea"/>
                <a:cs typeface="Arial" pitchFamily="34" charset="0"/>
              </a:rPr>
              <a:t>m</a:t>
            </a:r>
            <a:r>
              <a:rPr kumimoji="0" lang="en-GB" sz="1100" b="0" i="0" u="none" strike="noStrike" kern="1200" cap="none" spc="0" normalizeH="0" baseline="0" noProof="0" err="1">
                <a:ln>
                  <a:noFill/>
                </a:ln>
                <a:solidFill>
                  <a:srgbClr val="0070C0"/>
                </a:solidFill>
                <a:effectLst/>
                <a:uLnTx/>
                <a:uFillTx/>
                <a:latin typeface="Trebuchet MS" panose="020B0603020202020204" pitchFamily="34" charset="0"/>
                <a:ea typeface="+mn-ea"/>
                <a:cs typeface="Arial" pitchFamily="34" charset="0"/>
              </a:rPr>
              <a:t>Lead</a:t>
            </a:r>
            <a:endParaRPr lang="en-GB" sz="1000">
              <a:latin typeface="Trebuchet MS" panose="020B0603020202020204" pitchFamily="34" charset="0"/>
            </a:endParaRPr>
          </a:p>
        </p:txBody>
      </p:sp>
      <p:sp>
        <p:nvSpPr>
          <p:cNvPr id="116" name="ZoneTexte 87">
            <a:extLst>
              <a:ext uri="{FF2B5EF4-FFF2-40B4-BE49-F238E27FC236}">
                <a16:creationId xmlns:a16="http://schemas.microsoft.com/office/drawing/2014/main" id="{371195D7-AA1A-4806-8051-7F0E2274CC64}"/>
              </a:ext>
            </a:extLst>
          </p:cNvPr>
          <p:cNvSpPr txBox="1"/>
          <p:nvPr/>
        </p:nvSpPr>
        <p:spPr>
          <a:xfrm>
            <a:off x="5886684" y="2735995"/>
            <a:ext cx="976817" cy="261610"/>
          </a:xfrm>
          <a:prstGeom prst="rect">
            <a:avLst/>
          </a:prstGeom>
          <a:noFill/>
        </p:spPr>
        <p:txBody>
          <a:bodyPr wrap="square">
            <a:spAutoFit/>
          </a:bodyPr>
          <a:lstStyle/>
          <a:p>
            <a:r>
              <a:rPr kumimoji="0" lang="en-GB" sz="1100" b="0" i="0" u="none" strike="noStrike" kern="1200" cap="none" spc="0" normalizeH="0" baseline="0" noProof="0">
                <a:ln>
                  <a:noFill/>
                </a:ln>
                <a:solidFill>
                  <a:srgbClr val="6C6C6C">
                    <a:lumMod val="50000"/>
                  </a:srgbClr>
                </a:solidFill>
                <a:effectLst/>
                <a:uLnTx/>
                <a:uFillTx/>
                <a:latin typeface="Trebuchet MS" panose="020B0603020202020204" pitchFamily="34" charset="0"/>
                <a:ea typeface="+mn-ea"/>
                <a:cs typeface="Arial" pitchFamily="34" charset="0"/>
              </a:rPr>
              <a:t>m</a:t>
            </a:r>
            <a:r>
              <a:rPr lang="en-GB" sz="1100">
                <a:solidFill>
                  <a:srgbClr val="0070C0"/>
                </a:solidFill>
                <a:latin typeface="Trebuchet MS" panose="020B0603020202020204" pitchFamily="34" charset="0"/>
              </a:rPr>
              <a:t>Detect</a:t>
            </a:r>
            <a:endParaRPr lang="en-GB" sz="1000">
              <a:latin typeface="Trebuchet MS" panose="020B0603020202020204" pitchFamily="34" charset="0"/>
            </a:endParaRPr>
          </a:p>
        </p:txBody>
      </p:sp>
      <p:pic>
        <p:nvPicPr>
          <p:cNvPr id="117" name="Picture 44">
            <a:extLst>
              <a:ext uri="{FF2B5EF4-FFF2-40B4-BE49-F238E27FC236}">
                <a16:creationId xmlns:a16="http://schemas.microsoft.com/office/drawing/2014/main" id="{793855FD-8E88-4CCB-BDFD-1D657450086A}"/>
              </a:ext>
            </a:extLst>
          </p:cNvPr>
          <p:cNvPicPr>
            <a:picLocks noChangeAspect="1"/>
          </p:cNvPicPr>
          <p:nvPr/>
        </p:nvPicPr>
        <p:blipFill>
          <a:blip r:embed="rId16">
            <a:clrChange>
              <a:clrFrom>
                <a:srgbClr val="FFFFFF"/>
              </a:clrFrom>
              <a:clrTo>
                <a:srgbClr val="FFFFFF">
                  <a:alpha val="0"/>
                </a:srgbClr>
              </a:clrTo>
            </a:clrChange>
            <a:extLst>
              <a:ext uri="{BEBA8EAE-BF5A-486C-A8C5-ECC9F3942E4B}">
                <a14:imgProps xmlns:a14="http://schemas.microsoft.com/office/drawing/2010/main">
                  <a14:imgLayer r:embed="rId17">
                    <a14:imgEffect>
                      <a14:brightnessContrast bright="7000"/>
                    </a14:imgEffect>
                  </a14:imgLayer>
                </a14:imgProps>
              </a:ext>
            </a:extLst>
          </a:blip>
          <a:stretch>
            <a:fillRect/>
          </a:stretch>
        </p:blipFill>
        <p:spPr>
          <a:xfrm>
            <a:off x="3433178" y="2578067"/>
            <a:ext cx="584833" cy="232434"/>
          </a:xfrm>
          <a:prstGeom prst="rect">
            <a:avLst/>
          </a:prstGeom>
        </p:spPr>
      </p:pic>
      <p:sp>
        <p:nvSpPr>
          <p:cNvPr id="118" name="ZoneTexte 150">
            <a:extLst>
              <a:ext uri="{FF2B5EF4-FFF2-40B4-BE49-F238E27FC236}">
                <a16:creationId xmlns:a16="http://schemas.microsoft.com/office/drawing/2014/main" id="{05913019-FC7E-4F94-B4C0-5D234C26C192}"/>
              </a:ext>
            </a:extLst>
          </p:cNvPr>
          <p:cNvSpPr txBox="1"/>
          <p:nvPr/>
        </p:nvSpPr>
        <p:spPr>
          <a:xfrm>
            <a:off x="3305134" y="2769939"/>
            <a:ext cx="866605" cy="169277"/>
          </a:xfrm>
          <a:prstGeom prst="rect">
            <a:avLst/>
          </a:prstGeom>
          <a:noFill/>
        </p:spPr>
        <p:txBody>
          <a:bodyPr wrap="square" lIns="0" tIns="0" rIns="0" bIns="0">
            <a:spAutoFit/>
          </a:bodyPr>
          <a:lstStyle/>
          <a:p>
            <a:pPr algn="ctr"/>
            <a:r>
              <a:rPr lang="en-GB" sz="1100" err="1">
                <a:solidFill>
                  <a:schemeClr val="bg2">
                    <a:lumMod val="75000"/>
                  </a:schemeClr>
                </a:solidFill>
                <a:latin typeface="Trebuchet MS" panose="020B0603020202020204" pitchFamily="34" charset="0"/>
              </a:rPr>
              <a:t>mAPI</a:t>
            </a:r>
            <a:endParaRPr lang="en-GB" sz="1100">
              <a:solidFill>
                <a:srgbClr val="0070C0"/>
              </a:solidFill>
              <a:latin typeface="Trebuchet MS" panose="020B0603020202020204" pitchFamily="34" charset="0"/>
            </a:endParaRPr>
          </a:p>
        </p:txBody>
      </p:sp>
      <p:sp>
        <p:nvSpPr>
          <p:cNvPr id="119" name="ZoneTexte 150">
            <a:extLst>
              <a:ext uri="{FF2B5EF4-FFF2-40B4-BE49-F238E27FC236}">
                <a16:creationId xmlns:a16="http://schemas.microsoft.com/office/drawing/2014/main" id="{E92C7339-56C9-47DC-BC09-6CC9D7843AD3}"/>
              </a:ext>
            </a:extLst>
          </p:cNvPr>
          <p:cNvSpPr txBox="1"/>
          <p:nvPr/>
        </p:nvSpPr>
        <p:spPr>
          <a:xfrm>
            <a:off x="2652831" y="2750231"/>
            <a:ext cx="866605" cy="169277"/>
          </a:xfrm>
          <a:prstGeom prst="rect">
            <a:avLst/>
          </a:prstGeom>
          <a:noFill/>
        </p:spPr>
        <p:txBody>
          <a:bodyPr wrap="square" lIns="0" tIns="0" rIns="0" bIns="0">
            <a:spAutoFit/>
          </a:bodyPr>
          <a:lstStyle/>
          <a:p>
            <a:pPr algn="ctr"/>
            <a:r>
              <a:rPr lang="en-GB" sz="1100" err="1">
                <a:solidFill>
                  <a:schemeClr val="bg2">
                    <a:lumMod val="75000"/>
                  </a:schemeClr>
                </a:solidFill>
                <a:latin typeface="Trebuchet MS" panose="020B0603020202020204" pitchFamily="34" charset="0"/>
              </a:rPr>
              <a:t>mData</a:t>
            </a:r>
            <a:endParaRPr lang="en-GB" sz="1100">
              <a:solidFill>
                <a:srgbClr val="0070C0"/>
              </a:solidFill>
              <a:latin typeface="Trebuchet MS" panose="020B0603020202020204" pitchFamily="34" charset="0"/>
            </a:endParaRPr>
          </a:p>
        </p:txBody>
      </p:sp>
      <p:sp>
        <p:nvSpPr>
          <p:cNvPr id="120" name="Accolade fermante 23">
            <a:extLst>
              <a:ext uri="{FF2B5EF4-FFF2-40B4-BE49-F238E27FC236}">
                <a16:creationId xmlns:a16="http://schemas.microsoft.com/office/drawing/2014/main" id="{A1311CAC-DC83-410F-993D-C7FBF6E6503C}"/>
              </a:ext>
            </a:extLst>
          </p:cNvPr>
          <p:cNvSpPr/>
          <p:nvPr/>
        </p:nvSpPr>
        <p:spPr bwMode="auto">
          <a:xfrm rot="5400000">
            <a:off x="3318771" y="209000"/>
            <a:ext cx="119008" cy="4642019"/>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121" name="Accolade fermante 95">
            <a:extLst>
              <a:ext uri="{FF2B5EF4-FFF2-40B4-BE49-F238E27FC236}">
                <a16:creationId xmlns:a16="http://schemas.microsoft.com/office/drawing/2014/main" id="{C47405E4-878F-4B4A-B959-DE2362599266}"/>
              </a:ext>
            </a:extLst>
          </p:cNvPr>
          <p:cNvSpPr/>
          <p:nvPr/>
        </p:nvSpPr>
        <p:spPr bwMode="auto">
          <a:xfrm rot="5400000">
            <a:off x="6457759" y="1851796"/>
            <a:ext cx="119008" cy="1356427"/>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122" name="Accolade fermante 96">
            <a:extLst>
              <a:ext uri="{FF2B5EF4-FFF2-40B4-BE49-F238E27FC236}">
                <a16:creationId xmlns:a16="http://schemas.microsoft.com/office/drawing/2014/main" id="{6EB6DB15-70FA-4991-AA51-EFD93AF7F82A}"/>
              </a:ext>
            </a:extLst>
          </p:cNvPr>
          <p:cNvSpPr/>
          <p:nvPr/>
        </p:nvSpPr>
        <p:spPr bwMode="auto">
          <a:xfrm rot="5400000">
            <a:off x="7391111" y="1982777"/>
            <a:ext cx="119010" cy="1249836"/>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123" name="Rectangle 122">
            <a:extLst>
              <a:ext uri="{FF2B5EF4-FFF2-40B4-BE49-F238E27FC236}">
                <a16:creationId xmlns:a16="http://schemas.microsoft.com/office/drawing/2014/main" id="{6C13654B-E996-4A21-B471-3541E238C1D6}"/>
              </a:ext>
            </a:extLst>
          </p:cNvPr>
          <p:cNvSpPr/>
          <p:nvPr/>
        </p:nvSpPr>
        <p:spPr bwMode="auto">
          <a:xfrm>
            <a:off x="1038083" y="3004799"/>
            <a:ext cx="4613157" cy="277815"/>
          </a:xfrm>
          <a:prstGeom prst="rect">
            <a:avLst/>
          </a:prstGeom>
          <a:solidFill>
            <a:schemeClr val="bg1">
              <a:lumMod val="95000"/>
            </a:schemeClr>
          </a:solidFill>
          <a:ln w="6350" cap="flat" cmpd="sng" algn="ctr">
            <a:solidFill>
              <a:schemeClr val="bg1">
                <a:lumMod val="65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124" name="Rectangle 123">
            <a:extLst>
              <a:ext uri="{FF2B5EF4-FFF2-40B4-BE49-F238E27FC236}">
                <a16:creationId xmlns:a16="http://schemas.microsoft.com/office/drawing/2014/main" id="{B2DEC8DB-BF99-46D4-9EAD-DE4D129D1F3B}"/>
              </a:ext>
            </a:extLst>
          </p:cNvPr>
          <p:cNvSpPr/>
          <p:nvPr/>
        </p:nvSpPr>
        <p:spPr bwMode="auto">
          <a:xfrm>
            <a:off x="5799439" y="3004798"/>
            <a:ext cx="1438636" cy="277815"/>
          </a:xfrm>
          <a:prstGeom prst="rect">
            <a:avLst/>
          </a:prstGeom>
          <a:solidFill>
            <a:schemeClr val="bg1">
              <a:lumMod val="95000"/>
            </a:schemeClr>
          </a:solidFill>
          <a:ln w="6350" cap="flat" cmpd="sng" algn="ctr">
            <a:solidFill>
              <a:schemeClr val="bg1">
                <a:lumMod val="65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pic>
        <p:nvPicPr>
          <p:cNvPr id="125" name="Picture 12" descr="Image result for sidetrade group logo">
            <a:extLst>
              <a:ext uri="{FF2B5EF4-FFF2-40B4-BE49-F238E27FC236}">
                <a16:creationId xmlns:a16="http://schemas.microsoft.com/office/drawing/2014/main" id="{E8ACB9B7-19D7-4264-ADC6-57D87EE6A778}"/>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148723" y="3028536"/>
            <a:ext cx="691082" cy="261746"/>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2" descr="Image result for bureau van dijk logo">
            <a:extLst>
              <a:ext uri="{FF2B5EF4-FFF2-40B4-BE49-F238E27FC236}">
                <a16:creationId xmlns:a16="http://schemas.microsoft.com/office/drawing/2014/main" id="{63DC02F2-4605-4BCF-A8AA-35C58F914FE0}"/>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515782" y="3047013"/>
            <a:ext cx="475610" cy="224793"/>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6" descr="Image result for logo kompass">
            <a:extLst>
              <a:ext uri="{FF2B5EF4-FFF2-40B4-BE49-F238E27FC236}">
                <a16:creationId xmlns:a16="http://schemas.microsoft.com/office/drawing/2014/main" id="{9179C6D3-411E-4260-B52F-2FC49D6C00DB}"/>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9033" b="19033"/>
          <a:stretch/>
        </p:blipFill>
        <p:spPr bwMode="auto">
          <a:xfrm>
            <a:off x="2242972" y="2948858"/>
            <a:ext cx="700130" cy="421102"/>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127" descr="A picture containing computer, computer&#10;&#10;Description automatically generated">
            <a:extLst>
              <a:ext uri="{FF2B5EF4-FFF2-40B4-BE49-F238E27FC236}">
                <a16:creationId xmlns:a16="http://schemas.microsoft.com/office/drawing/2014/main" id="{4F5221DB-1EA3-4C38-9F9C-CAB22D6CD3D9}"/>
              </a:ext>
            </a:extLst>
          </p:cNvPr>
          <p:cNvPicPr>
            <a:picLocks noChangeAspect="1"/>
          </p:cNvPicPr>
          <p:nvPr/>
        </p:nvPicPr>
        <p:blipFill rotWithShape="1">
          <a:blip r:embed="rId21">
            <a:extLst>
              <a:ext uri="{28A0092B-C50C-407E-A947-70E740481C1C}">
                <a14:useLocalDpi xmlns:a14="http://schemas.microsoft.com/office/drawing/2010/main" val="0"/>
              </a:ext>
            </a:extLst>
          </a:blip>
          <a:srcRect l="12024" t="40724" r="12024" b="40724"/>
          <a:stretch/>
        </p:blipFill>
        <p:spPr>
          <a:xfrm>
            <a:off x="4564071" y="3103341"/>
            <a:ext cx="612126" cy="112136"/>
          </a:xfrm>
          <a:prstGeom prst="rect">
            <a:avLst/>
          </a:prstGeom>
        </p:spPr>
      </p:pic>
      <p:pic>
        <p:nvPicPr>
          <p:cNvPr id="129" name="Picture 128">
            <a:extLst>
              <a:ext uri="{FF2B5EF4-FFF2-40B4-BE49-F238E27FC236}">
                <a16:creationId xmlns:a16="http://schemas.microsoft.com/office/drawing/2014/main" id="{9254EC12-42BD-42EF-B51B-356983174C36}"/>
              </a:ext>
            </a:extLst>
          </p:cNvPr>
          <p:cNvPicPr>
            <a:picLocks noChangeAspect="1"/>
          </p:cNvPicPr>
          <p:nvPr/>
        </p:nvPicPr>
        <p:blipFill>
          <a:blip r:embed="rId22">
            <a:clrChange>
              <a:clrFrom>
                <a:srgbClr val="FFFFFF"/>
              </a:clrFrom>
              <a:clrTo>
                <a:srgbClr val="FFFFFF">
                  <a:alpha val="0"/>
                </a:srgbClr>
              </a:clrTo>
            </a:clrChange>
          </a:blip>
          <a:stretch>
            <a:fillRect/>
          </a:stretch>
        </p:blipFill>
        <p:spPr>
          <a:xfrm>
            <a:off x="1284005" y="3013089"/>
            <a:ext cx="386287" cy="292641"/>
          </a:xfrm>
          <a:prstGeom prst="rect">
            <a:avLst/>
          </a:prstGeom>
        </p:spPr>
      </p:pic>
      <p:sp>
        <p:nvSpPr>
          <p:cNvPr id="130" name="Rectangle 129">
            <a:extLst>
              <a:ext uri="{FF2B5EF4-FFF2-40B4-BE49-F238E27FC236}">
                <a16:creationId xmlns:a16="http://schemas.microsoft.com/office/drawing/2014/main" id="{AFBF36AF-8D67-47EF-BFE7-27F7C034E917}"/>
              </a:ext>
            </a:extLst>
          </p:cNvPr>
          <p:cNvSpPr/>
          <p:nvPr/>
        </p:nvSpPr>
        <p:spPr bwMode="auto">
          <a:xfrm>
            <a:off x="1038082" y="3330545"/>
            <a:ext cx="2035769" cy="277200"/>
          </a:xfrm>
          <a:prstGeom prst="rect">
            <a:avLst/>
          </a:prstGeom>
          <a:solidFill>
            <a:schemeClr val="bg1">
              <a:lumMod val="95000"/>
            </a:schemeClr>
          </a:solidFill>
          <a:ln w="6350" cap="flat" cmpd="sng" algn="ctr">
            <a:solidFill>
              <a:schemeClr val="bg1">
                <a:lumMod val="65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pic>
        <p:nvPicPr>
          <p:cNvPr id="131" name="Picture 14" descr="new-logo-soms-VF">
            <a:extLst>
              <a:ext uri="{FF2B5EF4-FFF2-40B4-BE49-F238E27FC236}">
                <a16:creationId xmlns:a16="http://schemas.microsoft.com/office/drawing/2014/main" id="{BB332876-8CE9-432E-AA97-F9012E06A249}"/>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620570" y="3270693"/>
            <a:ext cx="792000" cy="371015"/>
          </a:xfrm>
          <a:prstGeom prst="rect">
            <a:avLst/>
          </a:prstGeom>
          <a:noFill/>
          <a:extLst>
            <a:ext uri="{909E8E84-426E-40DD-AFC4-6F175D3DCCD1}">
              <a14:hiddenFill xmlns:a14="http://schemas.microsoft.com/office/drawing/2010/main">
                <a:solidFill>
                  <a:srgbClr val="FFFFFF"/>
                </a:solidFill>
              </a14:hiddenFill>
            </a:ext>
          </a:extLst>
        </p:spPr>
      </p:pic>
      <p:sp>
        <p:nvSpPr>
          <p:cNvPr id="140" name="Rectangle 139">
            <a:extLst>
              <a:ext uri="{FF2B5EF4-FFF2-40B4-BE49-F238E27FC236}">
                <a16:creationId xmlns:a16="http://schemas.microsoft.com/office/drawing/2014/main" id="{487F1CB9-A59D-441B-AC46-D74B3695FE10}"/>
              </a:ext>
            </a:extLst>
          </p:cNvPr>
          <p:cNvSpPr/>
          <p:nvPr/>
        </p:nvSpPr>
        <p:spPr bwMode="auto">
          <a:xfrm>
            <a:off x="1039550" y="4956198"/>
            <a:ext cx="1312511" cy="277200"/>
          </a:xfrm>
          <a:prstGeom prst="rect">
            <a:avLst/>
          </a:prstGeom>
          <a:solidFill>
            <a:schemeClr val="bg1">
              <a:lumMod val="95000"/>
            </a:schemeClr>
          </a:solidFill>
          <a:ln w="6350" cap="flat" cmpd="sng" algn="ctr">
            <a:solidFill>
              <a:schemeClr val="bg1">
                <a:lumMod val="65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1" name="Rectangle 140">
            <a:extLst>
              <a:ext uri="{FF2B5EF4-FFF2-40B4-BE49-F238E27FC236}">
                <a16:creationId xmlns:a16="http://schemas.microsoft.com/office/drawing/2014/main" id="{8248936C-30E1-403A-8E51-7BC84ED0ED46}"/>
              </a:ext>
            </a:extLst>
          </p:cNvPr>
          <p:cNvSpPr/>
          <p:nvPr/>
        </p:nvSpPr>
        <p:spPr bwMode="auto">
          <a:xfrm>
            <a:off x="1038082" y="4305938"/>
            <a:ext cx="5229795" cy="277200"/>
          </a:xfrm>
          <a:prstGeom prst="rect">
            <a:avLst/>
          </a:prstGeom>
          <a:solidFill>
            <a:schemeClr val="bg1">
              <a:lumMod val="95000"/>
            </a:schemeClr>
          </a:solidFill>
          <a:ln w="6350" cap="flat" cmpd="sng" algn="ctr">
            <a:solidFill>
              <a:schemeClr val="bg1">
                <a:lumMod val="65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142" name="Rectangle 141">
            <a:extLst>
              <a:ext uri="{FF2B5EF4-FFF2-40B4-BE49-F238E27FC236}">
                <a16:creationId xmlns:a16="http://schemas.microsoft.com/office/drawing/2014/main" id="{6669686F-8EF3-43BA-95A0-328F8F511F29}"/>
              </a:ext>
            </a:extLst>
          </p:cNvPr>
          <p:cNvSpPr/>
          <p:nvPr/>
        </p:nvSpPr>
        <p:spPr bwMode="auto">
          <a:xfrm>
            <a:off x="1026639" y="3980807"/>
            <a:ext cx="6199993" cy="277200"/>
          </a:xfrm>
          <a:prstGeom prst="rect">
            <a:avLst/>
          </a:prstGeom>
          <a:solidFill>
            <a:schemeClr val="bg1">
              <a:lumMod val="95000"/>
            </a:schemeClr>
          </a:solidFill>
          <a:ln w="6350" cap="flat" cmpd="sng" algn="ctr">
            <a:solidFill>
              <a:schemeClr val="bg1">
                <a:lumMod val="65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143" name="Rectangle 142">
            <a:extLst>
              <a:ext uri="{FF2B5EF4-FFF2-40B4-BE49-F238E27FC236}">
                <a16:creationId xmlns:a16="http://schemas.microsoft.com/office/drawing/2014/main" id="{3628CE27-BC01-4F5E-BFC9-7FF1F2E972D3}"/>
              </a:ext>
            </a:extLst>
          </p:cNvPr>
          <p:cNvSpPr/>
          <p:nvPr/>
        </p:nvSpPr>
        <p:spPr bwMode="auto">
          <a:xfrm>
            <a:off x="1038082" y="3655676"/>
            <a:ext cx="6199993" cy="277200"/>
          </a:xfrm>
          <a:prstGeom prst="rect">
            <a:avLst/>
          </a:prstGeom>
          <a:solidFill>
            <a:schemeClr val="bg1">
              <a:lumMod val="95000"/>
            </a:schemeClr>
          </a:solidFill>
          <a:ln w="6350" cap="flat" cmpd="sng" algn="ctr">
            <a:solidFill>
              <a:schemeClr val="bg1">
                <a:lumMod val="65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144" name="Rectangle 143">
            <a:extLst>
              <a:ext uri="{FF2B5EF4-FFF2-40B4-BE49-F238E27FC236}">
                <a16:creationId xmlns:a16="http://schemas.microsoft.com/office/drawing/2014/main" id="{06F8DB41-3925-4966-A2C4-1C6AABBC64AA}"/>
              </a:ext>
            </a:extLst>
          </p:cNvPr>
          <p:cNvSpPr/>
          <p:nvPr/>
        </p:nvSpPr>
        <p:spPr bwMode="auto">
          <a:xfrm>
            <a:off x="1038082" y="4631069"/>
            <a:ext cx="3027246" cy="277200"/>
          </a:xfrm>
          <a:prstGeom prst="rect">
            <a:avLst/>
          </a:prstGeom>
          <a:solidFill>
            <a:schemeClr val="bg1">
              <a:lumMod val="95000"/>
            </a:schemeClr>
          </a:solidFill>
          <a:ln w="6350" cap="flat" cmpd="sng" algn="ctr">
            <a:solidFill>
              <a:schemeClr val="bg1">
                <a:lumMod val="65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pic>
        <p:nvPicPr>
          <p:cNvPr id="145" name="Picture 2" descr="Afficher l'image d'origine">
            <a:extLst>
              <a:ext uri="{FF2B5EF4-FFF2-40B4-BE49-F238E27FC236}">
                <a16:creationId xmlns:a16="http://schemas.microsoft.com/office/drawing/2014/main" id="{EAD55BFE-D527-4B10-BD99-5C78C6C010EE}"/>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742879" y="5008695"/>
            <a:ext cx="547382" cy="187455"/>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16" descr="Vertical-Mail Logo">
            <a:extLst>
              <a:ext uri="{FF2B5EF4-FFF2-40B4-BE49-F238E27FC236}">
                <a16:creationId xmlns:a16="http://schemas.microsoft.com/office/drawing/2014/main" id="{7AD40C61-2BA7-4D99-B4EC-2988A0D45FBB}"/>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075251" y="5034056"/>
            <a:ext cx="595041" cy="121484"/>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2" descr="Image result for creditsafe logo">
            <a:extLst>
              <a:ext uri="{FF2B5EF4-FFF2-40B4-BE49-F238E27FC236}">
                <a16:creationId xmlns:a16="http://schemas.microsoft.com/office/drawing/2014/main" id="{BEEF2805-1AD8-4446-B7D8-1254E2DC06BA}"/>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279004" y="3769699"/>
            <a:ext cx="654545" cy="112973"/>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4" descr="Image result for logo sparklane">
            <a:extLst>
              <a:ext uri="{FF2B5EF4-FFF2-40B4-BE49-F238E27FC236}">
                <a16:creationId xmlns:a16="http://schemas.microsoft.com/office/drawing/2014/main" id="{51D379D8-23F2-4F9B-B7AF-55F56FD1152B}"/>
              </a:ext>
            </a:extLst>
          </p:cNvPr>
          <p:cNvPicPr>
            <a:picLocks noChangeAspect="1" noChangeArrowheads="1"/>
          </p:cNvPicPr>
          <p:nvPr/>
        </p:nvPicPr>
        <p:blipFill>
          <a:blip r:embed="rId27">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2715248" y="3990647"/>
            <a:ext cx="306481" cy="269858"/>
          </a:xfrm>
          <a:prstGeom prst="rect">
            <a:avLst/>
          </a:prstGeom>
          <a:noFill/>
          <a:extLst>
            <a:ext uri="{909E8E84-426E-40DD-AFC4-6F175D3DCCD1}">
              <a14:hiddenFill xmlns:a14="http://schemas.microsoft.com/office/drawing/2010/main">
                <a:solidFill>
                  <a:srgbClr val="FFFFFF"/>
                </a:solidFill>
              </a14:hiddenFill>
            </a:ext>
          </a:extLst>
        </p:spPr>
      </p:pic>
      <p:grpSp>
        <p:nvGrpSpPr>
          <p:cNvPr id="149" name="Groupe 3">
            <a:extLst>
              <a:ext uri="{FF2B5EF4-FFF2-40B4-BE49-F238E27FC236}">
                <a16:creationId xmlns:a16="http://schemas.microsoft.com/office/drawing/2014/main" id="{5A34A56A-A022-4AA0-8420-0BE2AED74194}"/>
              </a:ext>
            </a:extLst>
          </p:cNvPr>
          <p:cNvGrpSpPr/>
          <p:nvPr/>
        </p:nvGrpSpPr>
        <p:grpSpPr>
          <a:xfrm>
            <a:off x="1246654" y="4045026"/>
            <a:ext cx="715455" cy="179539"/>
            <a:chOff x="1272466" y="4230903"/>
            <a:chExt cx="865701" cy="246066"/>
          </a:xfrm>
        </p:grpSpPr>
        <p:pic>
          <p:nvPicPr>
            <p:cNvPr id="150" name="Picture 6" descr="Corporama">
              <a:extLst>
                <a:ext uri="{FF2B5EF4-FFF2-40B4-BE49-F238E27FC236}">
                  <a16:creationId xmlns:a16="http://schemas.microsoft.com/office/drawing/2014/main" id="{F7FD319F-8D47-41AA-A7B9-320C732CE030}"/>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272466" y="4230903"/>
              <a:ext cx="665633" cy="153948"/>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6" descr="Image result for intescia logo">
              <a:extLst>
                <a:ext uri="{FF2B5EF4-FFF2-40B4-BE49-F238E27FC236}">
                  <a16:creationId xmlns:a16="http://schemas.microsoft.com/office/drawing/2014/main" id="{93FFF744-8103-42AF-833C-91EC58BF61A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829414" y="4392941"/>
              <a:ext cx="308753" cy="84028"/>
            </a:xfrm>
            <a:prstGeom prst="rect">
              <a:avLst/>
            </a:prstGeom>
            <a:noFill/>
            <a:extLst>
              <a:ext uri="{909E8E84-426E-40DD-AFC4-6F175D3DCCD1}">
                <a14:hiddenFill xmlns:a14="http://schemas.microsoft.com/office/drawing/2010/main">
                  <a:solidFill>
                    <a:srgbClr val="FFFFFF"/>
                  </a:solidFill>
                </a14:hiddenFill>
              </a:ext>
            </a:extLst>
          </p:spPr>
        </p:pic>
      </p:grpSp>
      <p:pic>
        <p:nvPicPr>
          <p:cNvPr id="152" name="Picture 2" descr="Image result for nomination logo">
            <a:extLst>
              <a:ext uri="{FF2B5EF4-FFF2-40B4-BE49-F238E27FC236}">
                <a16:creationId xmlns:a16="http://schemas.microsoft.com/office/drawing/2014/main" id="{6EC130AF-CFE4-4953-A209-325B326B10A8}"/>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536888" y="4324933"/>
            <a:ext cx="340463" cy="250240"/>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2" descr="Image result for salezeo">
            <a:extLst>
              <a:ext uri="{FF2B5EF4-FFF2-40B4-BE49-F238E27FC236}">
                <a16:creationId xmlns:a16="http://schemas.microsoft.com/office/drawing/2014/main" id="{16033B93-8FEB-4EED-97BD-3D4746EE7A84}"/>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t="28083" b="28083"/>
          <a:stretch/>
        </p:blipFill>
        <p:spPr bwMode="auto">
          <a:xfrm>
            <a:off x="3758336" y="3979993"/>
            <a:ext cx="613985" cy="261373"/>
          </a:xfrm>
          <a:prstGeom prst="rect">
            <a:avLst/>
          </a:prstGeom>
          <a:noFill/>
          <a:extLst>
            <a:ext uri="{909E8E84-426E-40DD-AFC4-6F175D3DCCD1}">
              <a14:hiddenFill xmlns:a14="http://schemas.microsoft.com/office/drawing/2010/main">
                <a:solidFill>
                  <a:srgbClr val="FFFFFF"/>
                </a:solidFill>
              </a14:hiddenFill>
            </a:ext>
          </a:extLst>
        </p:spPr>
      </p:pic>
      <p:pic>
        <p:nvPicPr>
          <p:cNvPr id="154" name="Image 86">
            <a:extLst>
              <a:ext uri="{FF2B5EF4-FFF2-40B4-BE49-F238E27FC236}">
                <a16:creationId xmlns:a16="http://schemas.microsoft.com/office/drawing/2014/main" id="{E633EF5E-A38D-4DD3-8279-A4486820B5C6}"/>
              </a:ext>
            </a:extLst>
          </p:cNvPr>
          <p:cNvPicPr>
            <a:picLocks noChangeAspect="1"/>
          </p:cNvPicPr>
          <p:nvPr/>
        </p:nvPicPr>
        <p:blipFill>
          <a:blip r:embed="rId32">
            <a:clrChange>
              <a:clrFrom>
                <a:srgbClr val="FFFFFF"/>
              </a:clrFrom>
              <a:clrTo>
                <a:srgbClr val="FFFFFF">
                  <a:alpha val="0"/>
                </a:srgbClr>
              </a:clrTo>
            </a:clrChange>
          </a:blip>
          <a:stretch>
            <a:fillRect/>
          </a:stretch>
        </p:blipFill>
        <p:spPr>
          <a:xfrm>
            <a:off x="2970568" y="3729519"/>
            <a:ext cx="655295" cy="193332"/>
          </a:xfrm>
          <a:prstGeom prst="rect">
            <a:avLst/>
          </a:prstGeom>
        </p:spPr>
      </p:pic>
      <p:pic>
        <p:nvPicPr>
          <p:cNvPr id="155" name="Picture 10" descr="Image result for espace direct logo">
            <a:extLst>
              <a:ext uri="{FF2B5EF4-FFF2-40B4-BE49-F238E27FC236}">
                <a16:creationId xmlns:a16="http://schemas.microsoft.com/office/drawing/2014/main" id="{7C8BF7D2-BF1D-4806-96B5-51FB01344742}"/>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2837102" y="4633528"/>
            <a:ext cx="440698" cy="321778"/>
          </a:xfrm>
          <a:prstGeom prst="rect">
            <a:avLst/>
          </a:prstGeom>
          <a:noFill/>
          <a:extLst>
            <a:ext uri="{909E8E84-426E-40DD-AFC4-6F175D3DCCD1}">
              <a14:hiddenFill xmlns:a14="http://schemas.microsoft.com/office/drawing/2010/main">
                <a:solidFill>
                  <a:srgbClr val="FFFFFF"/>
                </a:solidFill>
              </a14:hiddenFill>
            </a:ext>
          </a:extLst>
        </p:spPr>
      </p:pic>
      <p:pic>
        <p:nvPicPr>
          <p:cNvPr id="156" name="Picture 155" descr="A picture containing drawing&#10;&#10;Description automatically generated">
            <a:extLst>
              <a:ext uri="{FF2B5EF4-FFF2-40B4-BE49-F238E27FC236}">
                <a16:creationId xmlns:a16="http://schemas.microsoft.com/office/drawing/2014/main" id="{9782BA31-BD0B-4DB7-B3BE-B20423006D3B}"/>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036212" y="3985236"/>
            <a:ext cx="709834" cy="274635"/>
          </a:xfrm>
          <a:prstGeom prst="rect">
            <a:avLst/>
          </a:prstGeom>
        </p:spPr>
      </p:pic>
      <p:pic>
        <p:nvPicPr>
          <p:cNvPr id="157" name="Picture 156">
            <a:extLst>
              <a:ext uri="{FF2B5EF4-FFF2-40B4-BE49-F238E27FC236}">
                <a16:creationId xmlns:a16="http://schemas.microsoft.com/office/drawing/2014/main" id="{78C943E2-D1F0-411B-B6AC-5C24E206C5F7}"/>
              </a:ext>
            </a:extLst>
          </p:cNvPr>
          <p:cNvPicPr>
            <a:picLocks noChangeAspect="1"/>
          </p:cNvPicPr>
          <p:nvPr/>
        </p:nvPicPr>
        <p:blipFill>
          <a:blip r:embed="rId35">
            <a:clrChange>
              <a:clrFrom>
                <a:srgbClr val="FFFFFF"/>
              </a:clrFrom>
              <a:clrTo>
                <a:srgbClr val="FFFFFF">
                  <a:alpha val="0"/>
                </a:srgbClr>
              </a:clrTo>
            </a:clrChange>
          </a:blip>
          <a:stretch>
            <a:fillRect/>
          </a:stretch>
        </p:blipFill>
        <p:spPr>
          <a:xfrm>
            <a:off x="6295288" y="3975955"/>
            <a:ext cx="548059" cy="231073"/>
          </a:xfrm>
          <a:prstGeom prst="rect">
            <a:avLst/>
          </a:prstGeom>
        </p:spPr>
      </p:pic>
      <p:pic>
        <p:nvPicPr>
          <p:cNvPr id="158" name="Picture 157" descr="A picture containing light&#10;&#10;Description automatically generated">
            <a:extLst>
              <a:ext uri="{FF2B5EF4-FFF2-40B4-BE49-F238E27FC236}">
                <a16:creationId xmlns:a16="http://schemas.microsoft.com/office/drawing/2014/main" id="{2EAA1B3A-446D-40C0-8E7A-4196F0C8DE89}"/>
              </a:ext>
            </a:extLst>
          </p:cNvPr>
          <p:cNvPicPr>
            <a:picLocks noChangeAspect="1"/>
          </p:cNvPicPr>
          <p:nvPr/>
        </p:nvPicPr>
        <p:blipFill rotWithShape="1">
          <a:blip r:embed="rId36">
            <a:extLst>
              <a:ext uri="{28A0092B-C50C-407E-A947-70E740481C1C}">
                <a14:useLocalDpi xmlns:a14="http://schemas.microsoft.com/office/drawing/2010/main" val="0"/>
              </a:ext>
            </a:extLst>
          </a:blip>
          <a:srcRect t="40335" b="35823"/>
          <a:stretch/>
        </p:blipFill>
        <p:spPr>
          <a:xfrm>
            <a:off x="5592214" y="3758672"/>
            <a:ext cx="707915" cy="135027"/>
          </a:xfrm>
          <a:prstGeom prst="rect">
            <a:avLst/>
          </a:prstGeom>
        </p:spPr>
      </p:pic>
      <p:pic>
        <p:nvPicPr>
          <p:cNvPr id="159" name="Picture 158" descr="A picture containing computer&#10;&#10;Description automatically generated">
            <a:extLst>
              <a:ext uri="{FF2B5EF4-FFF2-40B4-BE49-F238E27FC236}">
                <a16:creationId xmlns:a16="http://schemas.microsoft.com/office/drawing/2014/main" id="{E95EF8AE-8374-4668-B362-D15C04279E0F}"/>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1574329" y="4692819"/>
            <a:ext cx="719185" cy="195755"/>
          </a:xfrm>
          <a:prstGeom prst="rect">
            <a:avLst/>
          </a:prstGeom>
        </p:spPr>
      </p:pic>
      <p:pic>
        <p:nvPicPr>
          <p:cNvPr id="160" name="Picture 159">
            <a:extLst>
              <a:ext uri="{FF2B5EF4-FFF2-40B4-BE49-F238E27FC236}">
                <a16:creationId xmlns:a16="http://schemas.microsoft.com/office/drawing/2014/main" id="{8BD60AC9-4B3C-46CF-9F31-E76EDB0B05A4}"/>
              </a:ext>
            </a:extLst>
          </p:cNvPr>
          <p:cNvPicPr>
            <a:picLocks noChangeAspect="1"/>
          </p:cNvPicPr>
          <p:nvPr/>
        </p:nvPicPr>
        <p:blipFill>
          <a:blip r:embed="rId38">
            <a:clrChange>
              <a:clrFrom>
                <a:srgbClr val="FFFFFF"/>
              </a:clrFrom>
              <a:clrTo>
                <a:srgbClr val="FFFFFF">
                  <a:alpha val="0"/>
                </a:srgbClr>
              </a:clrTo>
            </a:clrChange>
          </a:blip>
          <a:stretch>
            <a:fillRect/>
          </a:stretch>
        </p:blipFill>
        <p:spPr>
          <a:xfrm>
            <a:off x="4705106" y="4320100"/>
            <a:ext cx="864258" cy="230144"/>
          </a:xfrm>
          <a:prstGeom prst="rect">
            <a:avLst/>
          </a:prstGeom>
        </p:spPr>
      </p:pic>
      <p:pic>
        <p:nvPicPr>
          <p:cNvPr id="161" name="Picture 160">
            <a:extLst>
              <a:ext uri="{FF2B5EF4-FFF2-40B4-BE49-F238E27FC236}">
                <a16:creationId xmlns:a16="http://schemas.microsoft.com/office/drawing/2014/main" id="{E100AC08-8A0F-4B26-A39B-9A4DF90F6B36}"/>
              </a:ext>
            </a:extLst>
          </p:cNvPr>
          <p:cNvPicPr>
            <a:picLocks noChangeAspect="1"/>
          </p:cNvPicPr>
          <p:nvPr/>
        </p:nvPicPr>
        <p:blipFill>
          <a:blip r:embed="rId3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973165" y="3700980"/>
            <a:ext cx="373747" cy="250411"/>
          </a:xfrm>
          <a:prstGeom prst="rect">
            <a:avLst/>
          </a:prstGeom>
        </p:spPr>
      </p:pic>
      <p:pic>
        <p:nvPicPr>
          <p:cNvPr id="164" name="Picture 163" descr="A picture containing drawing&#10;&#10;Description automatically generated">
            <a:extLst>
              <a:ext uri="{FF2B5EF4-FFF2-40B4-BE49-F238E27FC236}">
                <a16:creationId xmlns:a16="http://schemas.microsoft.com/office/drawing/2014/main" id="{EAC3C0BD-4926-4AC7-8112-4E2B69D18F7C}"/>
              </a:ext>
            </a:extLst>
          </p:cNvPr>
          <p:cNvPicPr>
            <a:picLocks noChangeAspect="1"/>
          </p:cNvPicPr>
          <p:nvPr/>
        </p:nvPicPr>
        <p:blipFill>
          <a:blip r:embed="rId40">
            <a:clrChange>
              <a:clrFrom>
                <a:srgbClr val="FFFFFF"/>
              </a:clrFrom>
              <a:clrTo>
                <a:srgbClr val="FFFFFF">
                  <a:alpha val="0"/>
                </a:srgbClr>
              </a:clrTo>
            </a:clrChange>
            <a:alphaModFix amt="35000"/>
            <a:extLst>
              <a:ext uri="{28A0092B-C50C-407E-A947-70E740481C1C}">
                <a14:useLocalDpi xmlns:a14="http://schemas.microsoft.com/office/drawing/2010/main" val="0"/>
              </a:ext>
            </a:extLst>
          </a:blip>
          <a:stretch>
            <a:fillRect/>
          </a:stretch>
        </p:blipFill>
        <p:spPr>
          <a:xfrm>
            <a:off x="7773383" y="4296584"/>
            <a:ext cx="773625" cy="230154"/>
          </a:xfrm>
          <a:prstGeom prst="rect">
            <a:avLst/>
          </a:prstGeom>
        </p:spPr>
      </p:pic>
      <p:pic>
        <p:nvPicPr>
          <p:cNvPr id="165" name="Picture 164" descr="A picture containing table&#10;&#10;Description automatically generated">
            <a:extLst>
              <a:ext uri="{FF2B5EF4-FFF2-40B4-BE49-F238E27FC236}">
                <a16:creationId xmlns:a16="http://schemas.microsoft.com/office/drawing/2014/main" id="{C745149A-F307-40CE-A747-F45C1BBF4D2B}"/>
              </a:ext>
            </a:extLst>
          </p:cNvPr>
          <p:cNvPicPr>
            <a:picLocks noChangeAspect="1"/>
          </p:cNvPicPr>
          <p:nvPr/>
        </p:nvPicPr>
        <p:blipFill>
          <a:blip r:embed="rId41">
            <a:clrChange>
              <a:clrFrom>
                <a:srgbClr val="FBFBFB"/>
              </a:clrFrom>
              <a:clrTo>
                <a:srgbClr val="FBFBFB">
                  <a:alpha val="0"/>
                </a:srgbClr>
              </a:clrTo>
            </a:clrChange>
            <a:alphaModFix amt="50000"/>
            <a:extLst>
              <a:ext uri="{28A0092B-C50C-407E-A947-70E740481C1C}">
                <a14:useLocalDpi xmlns:a14="http://schemas.microsoft.com/office/drawing/2010/main" val="0"/>
              </a:ext>
            </a:extLst>
          </a:blip>
          <a:stretch>
            <a:fillRect/>
          </a:stretch>
        </p:blipFill>
        <p:spPr>
          <a:xfrm>
            <a:off x="7699066" y="3720128"/>
            <a:ext cx="922258" cy="425495"/>
          </a:xfrm>
          <a:prstGeom prst="rect">
            <a:avLst/>
          </a:prstGeom>
        </p:spPr>
      </p:pic>
      <p:sp>
        <p:nvSpPr>
          <p:cNvPr id="166" name="Rectangle : coins arrondis 300">
            <a:extLst>
              <a:ext uri="{FF2B5EF4-FFF2-40B4-BE49-F238E27FC236}">
                <a16:creationId xmlns:a16="http://schemas.microsoft.com/office/drawing/2014/main" id="{EBED7CCA-A40F-4CE3-9859-F98A4D4515A3}"/>
              </a:ext>
            </a:extLst>
          </p:cNvPr>
          <p:cNvSpPr/>
          <p:nvPr/>
        </p:nvSpPr>
        <p:spPr bwMode="auto">
          <a:xfrm>
            <a:off x="1685874" y="5763857"/>
            <a:ext cx="2551661" cy="540000"/>
          </a:xfrm>
          <a:prstGeom prst="roundRect">
            <a:avLst/>
          </a:prstGeom>
          <a:solidFill>
            <a:schemeClr val="bg1"/>
          </a:solid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0" name="ZoneTexte 304">
            <a:extLst>
              <a:ext uri="{FF2B5EF4-FFF2-40B4-BE49-F238E27FC236}">
                <a16:creationId xmlns:a16="http://schemas.microsoft.com/office/drawing/2014/main" id="{62E65521-6D3C-406A-B1B6-DCF2DE6E94BE}"/>
              </a:ext>
            </a:extLst>
          </p:cNvPr>
          <p:cNvSpPr txBox="1"/>
          <p:nvPr/>
        </p:nvSpPr>
        <p:spPr>
          <a:xfrm>
            <a:off x="3903903" y="6027303"/>
            <a:ext cx="416233" cy="261610"/>
          </a:xfrm>
          <a:prstGeom prst="rect">
            <a:avLst/>
          </a:prstGeom>
          <a:noFill/>
        </p:spPr>
        <p:txBody>
          <a:bodyPr wrap="square" rtlCol="0">
            <a:spAutoFit/>
          </a:bodyPr>
          <a:lstStyle/>
          <a:p>
            <a:r>
              <a:rPr lang="en-GB" sz="1100">
                <a:latin typeface="Trebuchet MS" panose="020B0603020202020204" pitchFamily="34" charset="0"/>
              </a:rPr>
              <a:t>…</a:t>
            </a:r>
          </a:p>
        </p:txBody>
      </p:sp>
      <p:sp>
        <p:nvSpPr>
          <p:cNvPr id="175" name="ZoneTexte 312">
            <a:extLst>
              <a:ext uri="{FF2B5EF4-FFF2-40B4-BE49-F238E27FC236}">
                <a16:creationId xmlns:a16="http://schemas.microsoft.com/office/drawing/2014/main" id="{ED6DB31B-F115-4B05-AA66-981026743D07}"/>
              </a:ext>
            </a:extLst>
          </p:cNvPr>
          <p:cNvSpPr txBox="1"/>
          <p:nvPr/>
        </p:nvSpPr>
        <p:spPr>
          <a:xfrm>
            <a:off x="1605595" y="5475975"/>
            <a:ext cx="1852884" cy="276999"/>
          </a:xfrm>
          <a:prstGeom prst="rect">
            <a:avLst/>
          </a:prstGeom>
          <a:noFill/>
        </p:spPr>
        <p:txBody>
          <a:bodyPr wrap="square" lIns="0" rIns="0" rtlCol="0">
            <a:spAutoFit/>
          </a:bodyPr>
          <a:lstStyle/>
          <a:p>
            <a:pPr algn="ctr"/>
            <a:r>
              <a:rPr lang="en-GB" sz="1200" b="1" i="1">
                <a:solidFill>
                  <a:schemeClr val="tx2"/>
                </a:solidFill>
                <a:latin typeface="Trebuchet MS" panose="020B0603020202020204" pitchFamily="34" charset="0"/>
              </a:rPr>
              <a:t>BD&amp;A multi-specialists</a:t>
            </a:r>
          </a:p>
        </p:txBody>
      </p:sp>
      <p:pic>
        <p:nvPicPr>
          <p:cNvPr id="229" name="Picture 2" descr="ALTARES-D&amp;B - L'ASSOCIATION FRANCAISE DES CREDIT MANAGERS ET CONSEILS">
            <a:extLst>
              <a:ext uri="{FF2B5EF4-FFF2-40B4-BE49-F238E27FC236}">
                <a16:creationId xmlns:a16="http://schemas.microsoft.com/office/drawing/2014/main" id="{1199B1CE-9D30-46CC-A9A7-7B3E0383B60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891989" y="5848667"/>
            <a:ext cx="353328" cy="197909"/>
          </a:xfrm>
          <a:prstGeom prst="rect">
            <a:avLst/>
          </a:prstGeom>
          <a:noFill/>
          <a:extLst>
            <a:ext uri="{909E8E84-426E-40DD-AFC4-6F175D3DCCD1}">
              <a14:hiddenFill xmlns:a14="http://schemas.microsoft.com/office/drawing/2010/main">
                <a:solidFill>
                  <a:srgbClr val="FFFFFF"/>
                </a:solidFill>
              </a14:hiddenFill>
            </a:ext>
          </a:extLst>
        </p:spPr>
      </p:pic>
      <p:pic>
        <p:nvPicPr>
          <p:cNvPr id="232" name="Picture 2" descr="Image result for creditsafe logo">
            <a:extLst>
              <a:ext uri="{FF2B5EF4-FFF2-40B4-BE49-F238E27FC236}">
                <a16:creationId xmlns:a16="http://schemas.microsoft.com/office/drawing/2014/main" id="{8D5DE8C3-2EAF-45CC-8974-76B36A1EED4A}"/>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3221721" y="5857178"/>
            <a:ext cx="654545" cy="112973"/>
          </a:xfrm>
          <a:prstGeom prst="rect">
            <a:avLst/>
          </a:prstGeom>
          <a:noFill/>
          <a:extLst>
            <a:ext uri="{909E8E84-426E-40DD-AFC4-6F175D3DCCD1}">
              <a14:hiddenFill xmlns:a14="http://schemas.microsoft.com/office/drawing/2010/main">
                <a:solidFill>
                  <a:srgbClr val="FFFFFF"/>
                </a:solidFill>
              </a14:hiddenFill>
            </a:ext>
          </a:extLst>
        </p:spPr>
      </p:pic>
      <p:pic>
        <p:nvPicPr>
          <p:cNvPr id="234" name="Picture 2" descr="Image result for bureau van dijk logo">
            <a:extLst>
              <a:ext uri="{FF2B5EF4-FFF2-40B4-BE49-F238E27FC236}">
                <a16:creationId xmlns:a16="http://schemas.microsoft.com/office/drawing/2014/main" id="{DF7423AD-A7DA-4299-984E-DBA6E31F9C3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356779" y="5833953"/>
            <a:ext cx="475610" cy="224793"/>
          </a:xfrm>
          <a:prstGeom prst="rect">
            <a:avLst/>
          </a:prstGeom>
          <a:noFill/>
          <a:extLst>
            <a:ext uri="{909E8E84-426E-40DD-AFC4-6F175D3DCCD1}">
              <a14:hiddenFill xmlns:a14="http://schemas.microsoft.com/office/drawing/2010/main">
                <a:solidFill>
                  <a:srgbClr val="FFFFFF"/>
                </a:solidFill>
              </a14:hiddenFill>
            </a:ext>
          </a:extLst>
        </p:spPr>
      </p:pic>
      <p:pic>
        <p:nvPicPr>
          <p:cNvPr id="236" name="Picture 235" descr="A picture containing light&#10;&#10;Description automatically generated">
            <a:extLst>
              <a:ext uri="{FF2B5EF4-FFF2-40B4-BE49-F238E27FC236}">
                <a16:creationId xmlns:a16="http://schemas.microsoft.com/office/drawing/2014/main" id="{4BB283D7-14A4-4450-80B3-8529A363EF26}"/>
              </a:ext>
            </a:extLst>
          </p:cNvPr>
          <p:cNvPicPr>
            <a:picLocks noChangeAspect="1"/>
          </p:cNvPicPr>
          <p:nvPr/>
        </p:nvPicPr>
        <p:blipFill rotWithShape="1">
          <a:blip r:embed="rId36">
            <a:extLst>
              <a:ext uri="{28A0092B-C50C-407E-A947-70E740481C1C}">
                <a14:useLocalDpi xmlns:a14="http://schemas.microsoft.com/office/drawing/2010/main" val="0"/>
              </a:ext>
            </a:extLst>
          </a:blip>
          <a:srcRect t="40335" b="35823"/>
          <a:stretch/>
        </p:blipFill>
        <p:spPr>
          <a:xfrm>
            <a:off x="2804024" y="6102203"/>
            <a:ext cx="707915" cy="135027"/>
          </a:xfrm>
          <a:prstGeom prst="rect">
            <a:avLst/>
          </a:prstGeom>
        </p:spPr>
      </p:pic>
      <p:sp>
        <p:nvSpPr>
          <p:cNvPr id="237" name="Rectangle : coins arrondis 300">
            <a:extLst>
              <a:ext uri="{FF2B5EF4-FFF2-40B4-BE49-F238E27FC236}">
                <a16:creationId xmlns:a16="http://schemas.microsoft.com/office/drawing/2014/main" id="{BC18603D-1A94-4AAA-BF60-65D063A8B860}"/>
              </a:ext>
            </a:extLst>
          </p:cNvPr>
          <p:cNvSpPr/>
          <p:nvPr/>
        </p:nvSpPr>
        <p:spPr bwMode="auto">
          <a:xfrm>
            <a:off x="5682418" y="5763857"/>
            <a:ext cx="2689264" cy="540000"/>
          </a:xfrm>
          <a:prstGeom prst="roundRect">
            <a:avLst/>
          </a:prstGeom>
          <a:solidFill>
            <a:schemeClr val="bg1"/>
          </a:solidFill>
          <a:ln w="9525" cap="flat" cmpd="sng" algn="ctr">
            <a:solidFill>
              <a:srgbClr val="C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38" name="ZoneTexte 312">
            <a:extLst>
              <a:ext uri="{FF2B5EF4-FFF2-40B4-BE49-F238E27FC236}">
                <a16:creationId xmlns:a16="http://schemas.microsoft.com/office/drawing/2014/main" id="{1A35BEC1-571C-4481-A657-8D599ECE9785}"/>
              </a:ext>
            </a:extLst>
          </p:cNvPr>
          <p:cNvSpPr txBox="1"/>
          <p:nvPr/>
        </p:nvSpPr>
        <p:spPr>
          <a:xfrm>
            <a:off x="5250086" y="5486919"/>
            <a:ext cx="1852884" cy="276999"/>
          </a:xfrm>
          <a:prstGeom prst="rect">
            <a:avLst/>
          </a:prstGeom>
          <a:noFill/>
        </p:spPr>
        <p:txBody>
          <a:bodyPr wrap="square" lIns="0" rIns="0" rtlCol="0">
            <a:spAutoFit/>
          </a:bodyPr>
          <a:lstStyle/>
          <a:p>
            <a:pPr algn="ctr"/>
            <a:r>
              <a:rPr lang="en-GB" sz="1200" b="1" i="1">
                <a:solidFill>
                  <a:srgbClr val="C00000"/>
                </a:solidFill>
                <a:latin typeface="Trebuchet MS" panose="020B0603020202020204" pitchFamily="34" charset="0"/>
              </a:rPr>
              <a:t>Pure players</a:t>
            </a:r>
          </a:p>
        </p:txBody>
      </p:sp>
      <p:pic>
        <p:nvPicPr>
          <p:cNvPr id="244" name="Picture 2" descr="Image result for nomination logo">
            <a:extLst>
              <a:ext uri="{FF2B5EF4-FFF2-40B4-BE49-F238E27FC236}">
                <a16:creationId xmlns:a16="http://schemas.microsoft.com/office/drawing/2014/main" id="{0E6FA95B-A76F-4E68-866A-6D63AFB2A902}"/>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778125" y="5822501"/>
            <a:ext cx="340463" cy="250240"/>
          </a:xfrm>
          <a:prstGeom prst="rect">
            <a:avLst/>
          </a:prstGeom>
          <a:noFill/>
          <a:extLst>
            <a:ext uri="{909E8E84-426E-40DD-AFC4-6F175D3DCCD1}">
              <a14:hiddenFill xmlns:a14="http://schemas.microsoft.com/office/drawing/2010/main">
                <a:solidFill>
                  <a:srgbClr val="FFFFFF"/>
                </a:solidFill>
              </a14:hiddenFill>
            </a:ext>
          </a:extLst>
        </p:spPr>
      </p:pic>
      <p:pic>
        <p:nvPicPr>
          <p:cNvPr id="245" name="Picture 4" descr="Image result for logo sparklane">
            <a:extLst>
              <a:ext uri="{FF2B5EF4-FFF2-40B4-BE49-F238E27FC236}">
                <a16:creationId xmlns:a16="http://schemas.microsoft.com/office/drawing/2014/main" id="{72ECCC16-23D2-4DC8-97EA-82AE42D16F90}"/>
              </a:ext>
            </a:extLst>
          </p:cNvPr>
          <p:cNvPicPr>
            <a:picLocks noChangeAspect="1" noChangeArrowheads="1"/>
          </p:cNvPicPr>
          <p:nvPr/>
        </p:nvPicPr>
        <p:blipFill>
          <a:blip r:embed="rId27">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6416626" y="5812692"/>
            <a:ext cx="306481" cy="269858"/>
          </a:xfrm>
          <a:prstGeom prst="rect">
            <a:avLst/>
          </a:prstGeom>
          <a:noFill/>
          <a:extLst>
            <a:ext uri="{909E8E84-426E-40DD-AFC4-6F175D3DCCD1}">
              <a14:hiddenFill xmlns:a14="http://schemas.microsoft.com/office/drawing/2010/main">
                <a:solidFill>
                  <a:srgbClr val="FFFFFF"/>
                </a:solidFill>
              </a14:hiddenFill>
            </a:ext>
          </a:extLst>
        </p:spPr>
      </p:pic>
      <p:pic>
        <p:nvPicPr>
          <p:cNvPr id="246" name="Picture 16" descr="Vertical-Mail Logo">
            <a:extLst>
              <a:ext uri="{FF2B5EF4-FFF2-40B4-BE49-F238E27FC236}">
                <a16:creationId xmlns:a16="http://schemas.microsoft.com/office/drawing/2014/main" id="{5EB4500E-5710-4820-8933-155939481BCE}"/>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7649575" y="5848667"/>
            <a:ext cx="595041" cy="121484"/>
          </a:xfrm>
          <a:prstGeom prst="rect">
            <a:avLst/>
          </a:prstGeom>
          <a:noFill/>
          <a:extLst>
            <a:ext uri="{909E8E84-426E-40DD-AFC4-6F175D3DCCD1}">
              <a14:hiddenFill xmlns:a14="http://schemas.microsoft.com/office/drawing/2010/main">
                <a:solidFill>
                  <a:srgbClr val="FFFFFF"/>
                </a:solidFill>
              </a14:hiddenFill>
            </a:ext>
          </a:extLst>
        </p:spPr>
      </p:pic>
      <p:pic>
        <p:nvPicPr>
          <p:cNvPr id="247" name="Picture 2" descr="Image result for salezeo">
            <a:extLst>
              <a:ext uri="{FF2B5EF4-FFF2-40B4-BE49-F238E27FC236}">
                <a16:creationId xmlns:a16="http://schemas.microsoft.com/office/drawing/2014/main" id="{4F0E9A53-0D7C-4B6D-86AE-61FA1E788C65}"/>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t="28083" b="28083"/>
          <a:stretch/>
        </p:blipFill>
        <p:spPr bwMode="auto">
          <a:xfrm>
            <a:off x="6185292" y="6082550"/>
            <a:ext cx="613985" cy="261373"/>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2" descr="Afficher l'image d'origine">
            <a:extLst>
              <a:ext uri="{FF2B5EF4-FFF2-40B4-BE49-F238E27FC236}">
                <a16:creationId xmlns:a16="http://schemas.microsoft.com/office/drawing/2014/main" id="{1975C11D-29B5-467D-8C8C-614BA6DE3495}"/>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7008794" y="5881251"/>
            <a:ext cx="547382" cy="187455"/>
          </a:xfrm>
          <a:prstGeom prst="rect">
            <a:avLst/>
          </a:prstGeom>
          <a:noFill/>
          <a:extLst>
            <a:ext uri="{909E8E84-426E-40DD-AFC4-6F175D3DCCD1}">
              <a14:hiddenFill xmlns:a14="http://schemas.microsoft.com/office/drawing/2010/main">
                <a:solidFill>
                  <a:srgbClr val="FFFFFF"/>
                </a:solidFill>
              </a14:hiddenFill>
            </a:ext>
          </a:extLst>
        </p:spPr>
      </p:pic>
      <p:pic>
        <p:nvPicPr>
          <p:cNvPr id="249" name="Image 86">
            <a:extLst>
              <a:ext uri="{FF2B5EF4-FFF2-40B4-BE49-F238E27FC236}">
                <a16:creationId xmlns:a16="http://schemas.microsoft.com/office/drawing/2014/main" id="{6BC2625D-C4E2-43EF-A474-AB7559AEFC4A}"/>
              </a:ext>
            </a:extLst>
          </p:cNvPr>
          <p:cNvPicPr>
            <a:picLocks noChangeAspect="1"/>
          </p:cNvPicPr>
          <p:nvPr/>
        </p:nvPicPr>
        <p:blipFill>
          <a:blip r:embed="rId32">
            <a:clrChange>
              <a:clrFrom>
                <a:srgbClr val="FFFFFF"/>
              </a:clrFrom>
              <a:clrTo>
                <a:srgbClr val="FFFFFF">
                  <a:alpha val="0"/>
                </a:srgbClr>
              </a:clrTo>
            </a:clrChange>
          </a:blip>
          <a:stretch>
            <a:fillRect/>
          </a:stretch>
        </p:blipFill>
        <p:spPr>
          <a:xfrm>
            <a:off x="6974503" y="6106600"/>
            <a:ext cx="655295" cy="193332"/>
          </a:xfrm>
          <a:prstGeom prst="rect">
            <a:avLst/>
          </a:prstGeom>
        </p:spPr>
      </p:pic>
      <p:sp>
        <p:nvSpPr>
          <p:cNvPr id="250" name="ZoneTexte 304">
            <a:extLst>
              <a:ext uri="{FF2B5EF4-FFF2-40B4-BE49-F238E27FC236}">
                <a16:creationId xmlns:a16="http://schemas.microsoft.com/office/drawing/2014/main" id="{49518C6D-B45B-4316-B9A0-A51F4AF95221}"/>
              </a:ext>
            </a:extLst>
          </p:cNvPr>
          <p:cNvSpPr txBox="1"/>
          <p:nvPr/>
        </p:nvSpPr>
        <p:spPr>
          <a:xfrm>
            <a:off x="7962852" y="6049966"/>
            <a:ext cx="416233" cy="261610"/>
          </a:xfrm>
          <a:prstGeom prst="rect">
            <a:avLst/>
          </a:prstGeom>
          <a:noFill/>
        </p:spPr>
        <p:txBody>
          <a:bodyPr wrap="square" rtlCol="0">
            <a:spAutoFit/>
          </a:bodyPr>
          <a:lstStyle/>
          <a:p>
            <a:r>
              <a:rPr lang="en-GB" sz="1100">
                <a:latin typeface="Trebuchet MS" panose="020B0603020202020204" pitchFamily="34" charset="0"/>
              </a:rPr>
              <a:t>…</a:t>
            </a:r>
          </a:p>
        </p:txBody>
      </p:sp>
      <p:sp>
        <p:nvSpPr>
          <p:cNvPr id="252" name="ZoneTexte 304">
            <a:extLst>
              <a:ext uri="{FF2B5EF4-FFF2-40B4-BE49-F238E27FC236}">
                <a16:creationId xmlns:a16="http://schemas.microsoft.com/office/drawing/2014/main" id="{DB898132-AB0E-4DE7-BF54-8E88B91C2E1F}"/>
              </a:ext>
            </a:extLst>
          </p:cNvPr>
          <p:cNvSpPr txBox="1"/>
          <p:nvPr/>
        </p:nvSpPr>
        <p:spPr>
          <a:xfrm>
            <a:off x="9019268" y="5975620"/>
            <a:ext cx="416233" cy="261610"/>
          </a:xfrm>
          <a:prstGeom prst="rect">
            <a:avLst/>
          </a:prstGeom>
          <a:noFill/>
        </p:spPr>
        <p:txBody>
          <a:bodyPr wrap="square" rtlCol="0">
            <a:spAutoFit/>
          </a:bodyPr>
          <a:lstStyle/>
          <a:p>
            <a:r>
              <a:rPr lang="en-GB" sz="1100">
                <a:latin typeface="Trebuchet MS" panose="020B0603020202020204" pitchFamily="34" charset="0"/>
              </a:rPr>
              <a:t>…</a:t>
            </a:r>
          </a:p>
        </p:txBody>
      </p:sp>
      <p:sp>
        <p:nvSpPr>
          <p:cNvPr id="255" name="Bulle narrative : rectangle à coins arrondis 78">
            <a:extLst>
              <a:ext uri="{FF2B5EF4-FFF2-40B4-BE49-F238E27FC236}">
                <a16:creationId xmlns:a16="http://schemas.microsoft.com/office/drawing/2014/main" id="{5A7ECA80-CA6F-4763-AFFB-FB3252D6DB74}"/>
              </a:ext>
            </a:extLst>
          </p:cNvPr>
          <p:cNvSpPr/>
          <p:nvPr/>
        </p:nvSpPr>
        <p:spPr bwMode="auto">
          <a:xfrm>
            <a:off x="8478799" y="1924674"/>
            <a:ext cx="1350167" cy="1083649"/>
          </a:xfrm>
          <a:prstGeom prst="wedgeRoundRectCallout">
            <a:avLst>
              <a:gd name="adj1" fmla="val -95491"/>
              <a:gd name="adj2" fmla="val 24484"/>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err="1">
                <a:ln>
                  <a:noFill/>
                </a:ln>
                <a:solidFill>
                  <a:schemeClr val="tx1"/>
                </a:solidFill>
                <a:effectLst/>
                <a:latin typeface="Trebuchet MS" panose="020B0603020202020204" pitchFamily="34" charset="0"/>
              </a:rPr>
              <a:t>Altares</a:t>
            </a:r>
            <a:r>
              <a:rPr kumimoji="0" lang="en-GB" sz="1000" b="0" i="0" u="none" strike="noStrike" cap="none" normalizeH="0" baseline="0">
                <a:ln>
                  <a:noFill/>
                </a:ln>
                <a:solidFill>
                  <a:schemeClr val="tx1"/>
                </a:solidFill>
                <a:effectLst/>
                <a:latin typeface="Trebuchet MS" panose="020B0603020202020204" pitchFamily="34" charset="0"/>
              </a:rPr>
              <a:t> leverages existing market solutions for lead activation, fuelled with </a:t>
            </a:r>
            <a:r>
              <a:rPr kumimoji="0" lang="en-GB" sz="1000" b="0" i="0" u="none" strike="noStrike" cap="none" normalizeH="0" baseline="0" err="1">
                <a:ln>
                  <a:noFill/>
                </a:ln>
                <a:solidFill>
                  <a:schemeClr val="tx1"/>
                </a:solidFill>
                <a:effectLst/>
                <a:latin typeface="Trebuchet MS" panose="020B0603020202020204" pitchFamily="34" charset="0"/>
              </a:rPr>
              <a:t>Altares</a:t>
            </a:r>
            <a:r>
              <a:rPr kumimoji="0" lang="en-GB" sz="1000" b="0" i="0" u="none" strike="noStrike" cap="none" normalizeH="0" baseline="0">
                <a:ln>
                  <a:noFill/>
                </a:ln>
                <a:solidFill>
                  <a:schemeClr val="tx1"/>
                </a:solidFill>
                <a:effectLst/>
                <a:latin typeface="Trebuchet MS" panose="020B0603020202020204" pitchFamily="34" charset="0"/>
              </a:rPr>
              <a:t>' </a:t>
            </a:r>
            <a:r>
              <a:rPr lang="en-GB" sz="1000">
                <a:latin typeface="Trebuchet MS" panose="020B0603020202020204" pitchFamily="34" charset="0"/>
              </a:rPr>
              <a:t>available </a:t>
            </a:r>
            <a:r>
              <a:rPr kumimoji="0" lang="en-GB" sz="1000" b="0" i="0" u="none" strike="noStrike" cap="none" normalizeH="0" baseline="0">
                <a:ln>
                  <a:noFill/>
                </a:ln>
                <a:solidFill>
                  <a:schemeClr val="tx1"/>
                </a:solidFill>
                <a:effectLst/>
                <a:latin typeface="Trebuchet MS" panose="020B0603020202020204" pitchFamily="34" charset="0"/>
              </a:rPr>
              <a:t>data</a:t>
            </a:r>
          </a:p>
        </p:txBody>
      </p:sp>
      <p:cxnSp>
        <p:nvCxnSpPr>
          <p:cNvPr id="256" name="Connecteur droit 255">
            <a:extLst>
              <a:ext uri="{FF2B5EF4-FFF2-40B4-BE49-F238E27FC236}">
                <a16:creationId xmlns:a16="http://schemas.microsoft.com/office/drawing/2014/main" id="{C46241D6-703F-427D-8E6C-B36ED4D069B3}"/>
              </a:ext>
            </a:extLst>
          </p:cNvPr>
          <p:cNvCxnSpPr>
            <a:cxnSpLocks/>
          </p:cNvCxnSpPr>
          <p:nvPr/>
        </p:nvCxnSpPr>
        <p:spPr bwMode="auto">
          <a:xfrm>
            <a:off x="266330" y="5436025"/>
            <a:ext cx="9380178"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26" name="Rectangle 225">
            <a:extLst>
              <a:ext uri="{FF2B5EF4-FFF2-40B4-BE49-F238E27FC236}">
                <a16:creationId xmlns:a16="http://schemas.microsoft.com/office/drawing/2014/main" id="{E449BC5E-AAC6-4BF3-B78E-6349F6E40568}"/>
              </a:ext>
            </a:extLst>
          </p:cNvPr>
          <p:cNvSpPr/>
          <p:nvPr/>
        </p:nvSpPr>
        <p:spPr bwMode="auto">
          <a:xfrm>
            <a:off x="3879352" y="5289167"/>
            <a:ext cx="2148068" cy="2388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1" u="none" strike="noStrike" cap="none" normalizeH="0" baseline="0">
                <a:ln>
                  <a:noFill/>
                </a:ln>
                <a:effectLst/>
                <a:latin typeface="Trebuchet MS" panose="020B0603020202020204" pitchFamily="34" charset="0"/>
              </a:rPr>
              <a:t>Players segmentation</a:t>
            </a:r>
          </a:p>
        </p:txBody>
      </p:sp>
      <p:sp>
        <p:nvSpPr>
          <p:cNvPr id="135" name="Text Placeholder 2">
            <a:extLst>
              <a:ext uri="{FF2B5EF4-FFF2-40B4-BE49-F238E27FC236}">
                <a16:creationId xmlns:a16="http://schemas.microsoft.com/office/drawing/2014/main" id="{AECF1CB0-DCE8-430B-8613-109F926F5229}"/>
              </a:ext>
            </a:extLst>
          </p:cNvPr>
          <p:cNvSpPr>
            <a:spLocks noGrp="1"/>
          </p:cNvSpPr>
          <p:nvPr>
            <p:ph type="body" sz="quarter" idx="10"/>
          </p:nvPr>
        </p:nvSpPr>
        <p:spPr>
          <a:xfrm>
            <a:off x="1315274" y="6580025"/>
            <a:ext cx="7131600" cy="244800"/>
          </a:xfrm>
        </p:spPr>
        <p:txBody>
          <a:bodyPr/>
          <a:lstStyle/>
          <a:p>
            <a:r>
              <a:rPr lang="en-GB"/>
              <a:t>Sources: eleven research &amp; analysis, expert calls, company websites</a:t>
            </a:r>
          </a:p>
        </p:txBody>
      </p:sp>
      <p:grpSp>
        <p:nvGrpSpPr>
          <p:cNvPr id="136" name="Groupe 135">
            <a:extLst>
              <a:ext uri="{FF2B5EF4-FFF2-40B4-BE49-F238E27FC236}">
                <a16:creationId xmlns:a16="http://schemas.microsoft.com/office/drawing/2014/main" id="{BEB23D7E-3A76-4489-A054-F07A557E8A96}"/>
              </a:ext>
            </a:extLst>
          </p:cNvPr>
          <p:cNvGrpSpPr/>
          <p:nvPr/>
        </p:nvGrpSpPr>
        <p:grpSpPr>
          <a:xfrm>
            <a:off x="8448150" y="-11528"/>
            <a:ext cx="1435548" cy="588143"/>
            <a:chOff x="8448150" y="-11528"/>
            <a:chExt cx="1435548" cy="588143"/>
          </a:xfrm>
        </p:grpSpPr>
        <p:grpSp>
          <p:nvGrpSpPr>
            <p:cNvPr id="137" name="Groupe 136">
              <a:extLst>
                <a:ext uri="{FF2B5EF4-FFF2-40B4-BE49-F238E27FC236}">
                  <a16:creationId xmlns:a16="http://schemas.microsoft.com/office/drawing/2014/main" id="{3C909C3D-FB02-4C0F-A561-5CCE828ABF6E}"/>
                </a:ext>
              </a:extLst>
            </p:cNvPr>
            <p:cNvGrpSpPr/>
            <p:nvPr/>
          </p:nvGrpSpPr>
          <p:grpSpPr>
            <a:xfrm>
              <a:off x="8448150" y="-11528"/>
              <a:ext cx="1435548" cy="555653"/>
              <a:chOff x="8448150" y="-11528"/>
              <a:chExt cx="1435548" cy="555653"/>
            </a:xfrm>
          </p:grpSpPr>
          <p:sp>
            <p:nvSpPr>
              <p:cNvPr id="139" name="Rectangle : coins arrondis 199">
                <a:extLst>
                  <a:ext uri="{FF2B5EF4-FFF2-40B4-BE49-F238E27FC236}">
                    <a16:creationId xmlns:a16="http://schemas.microsoft.com/office/drawing/2014/main" id="{D5950053-D83B-4592-9D93-DC7AD1D155BE}"/>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62" name="Rectangle : coins arrondis 200">
                <a:extLst>
                  <a:ext uri="{FF2B5EF4-FFF2-40B4-BE49-F238E27FC236}">
                    <a16:creationId xmlns:a16="http://schemas.microsoft.com/office/drawing/2014/main" id="{C12D429A-4838-40C7-BF1A-404FD569E66F}"/>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67" name="Rectangle : coins arrondis 201">
                <a:extLst>
                  <a:ext uri="{FF2B5EF4-FFF2-40B4-BE49-F238E27FC236}">
                    <a16:creationId xmlns:a16="http://schemas.microsoft.com/office/drawing/2014/main" id="{1BA6ABB7-0946-4F92-92E4-5271DF9373F3}"/>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68" name="ZoneTexte 18">
                <a:extLst>
                  <a:ext uri="{FF2B5EF4-FFF2-40B4-BE49-F238E27FC236}">
                    <a16:creationId xmlns:a16="http://schemas.microsoft.com/office/drawing/2014/main" id="{6429B8ED-EBC6-49B0-B8CA-A5BB5C85BE5C}"/>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69" name="Graphique 128" descr="Jauge">
                <a:extLst>
                  <a:ext uri="{FF2B5EF4-FFF2-40B4-BE49-F238E27FC236}">
                    <a16:creationId xmlns:a16="http://schemas.microsoft.com/office/drawing/2014/main" id="{8EFBBCBF-A9AC-46A4-B9EB-E44F6774687C}"/>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8553764" y="187516"/>
                <a:ext cx="234953" cy="218224"/>
              </a:xfrm>
              <a:prstGeom prst="rect">
                <a:avLst/>
              </a:prstGeom>
              <a:effectLst/>
            </p:spPr>
          </p:pic>
          <p:pic>
            <p:nvPicPr>
              <p:cNvPr id="171" name="Graphique 90" descr="Poignée de main">
                <a:extLst>
                  <a:ext uri="{FF2B5EF4-FFF2-40B4-BE49-F238E27FC236}">
                    <a16:creationId xmlns:a16="http://schemas.microsoft.com/office/drawing/2014/main" id="{DCCDA09A-E1A9-4B38-BE9D-EEB124303F24}"/>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8960868" y="152880"/>
                <a:ext cx="256313" cy="287496"/>
              </a:xfrm>
              <a:prstGeom prst="rect">
                <a:avLst/>
              </a:prstGeom>
              <a:effectLst/>
            </p:spPr>
          </p:pic>
          <p:pic>
            <p:nvPicPr>
              <p:cNvPr id="172" name="Graphique 74" descr="Mégaphone">
                <a:extLst>
                  <a:ext uri="{FF2B5EF4-FFF2-40B4-BE49-F238E27FC236}">
                    <a16:creationId xmlns:a16="http://schemas.microsoft.com/office/drawing/2014/main" id="{C698E7D8-264F-4073-B476-2E13554D966D}"/>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9389331" y="181519"/>
                <a:ext cx="233011" cy="216420"/>
              </a:xfrm>
              <a:prstGeom prst="rect">
                <a:avLst/>
              </a:prstGeom>
              <a:effectLst/>
            </p:spPr>
          </p:pic>
          <p:pic>
            <p:nvPicPr>
              <p:cNvPr id="173" name="Picture 2" descr="Drapeau France">
                <a:extLst>
                  <a:ext uri="{FF2B5EF4-FFF2-40B4-BE49-F238E27FC236}">
                    <a16:creationId xmlns:a16="http://schemas.microsoft.com/office/drawing/2014/main" id="{C4503FC3-0606-46BD-91A0-0B4F0DFB330C}"/>
                  </a:ext>
                </a:extLst>
              </p:cNvPr>
              <p:cNvPicPr>
                <a:picLocks noChangeAspect="1" noChangeArrowheads="1"/>
              </p:cNvPicPr>
              <p:nvPr/>
            </p:nvPicPr>
            <p:blipFill rotWithShape="1">
              <a:blip r:embed="rId4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74" name="Picture 2" descr="5 ft x 3 ft 150 x 90 cm-DRAPEAU BELGE Belgique 100% Polyester ...">
                <a:extLst>
                  <a:ext uri="{FF2B5EF4-FFF2-40B4-BE49-F238E27FC236}">
                    <a16:creationId xmlns:a16="http://schemas.microsoft.com/office/drawing/2014/main" id="{47812C82-68D3-47D2-A9A2-AEE47742C38D}"/>
                  </a:ext>
                </a:extLst>
              </p:cNvPr>
              <p:cNvPicPr>
                <a:picLocks noChangeAspect="1" noChangeArrowheads="1"/>
              </p:cNvPicPr>
              <p:nvPr/>
            </p:nvPicPr>
            <p:blipFill rotWithShape="1">
              <a:blip r:embed="rId4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76" name="Picture 2 - 1" descr="Drapeau des Pays-Bas — Wikipédia">
                <a:extLst>
                  <a:ext uri="{FF2B5EF4-FFF2-40B4-BE49-F238E27FC236}">
                    <a16:creationId xmlns:a16="http://schemas.microsoft.com/office/drawing/2014/main" id="{192D96B8-80C9-415E-8C48-8121F3D97E4A}"/>
                  </a:ext>
                </a:extLst>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77" name="Picture 2 - 2" descr="Drapeau du Luxembourg">
                <a:extLst>
                  <a:ext uri="{FF2B5EF4-FFF2-40B4-BE49-F238E27FC236}">
                    <a16:creationId xmlns:a16="http://schemas.microsoft.com/office/drawing/2014/main" id="{3733B7B6-403A-40DD-A58D-27210E1FBF8D}"/>
                  </a:ext>
                </a:extLst>
              </p:cNvPr>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138" name="ZoneTexte 18">
              <a:extLst>
                <a:ext uri="{FF2B5EF4-FFF2-40B4-BE49-F238E27FC236}">
                  <a16:creationId xmlns:a16="http://schemas.microsoft.com/office/drawing/2014/main" id="{BC0A3FD8-96BB-40AF-80AC-E37924D0298C}"/>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2B Marketing</a:t>
              </a:r>
            </a:p>
          </p:txBody>
        </p:sp>
      </p:grpSp>
      <p:pic>
        <p:nvPicPr>
          <p:cNvPr id="178" name="Picture 2" descr="Standardiser votre référentiel | Altares DB France">
            <a:extLst>
              <a:ext uri="{FF2B5EF4-FFF2-40B4-BE49-F238E27FC236}">
                <a16:creationId xmlns:a16="http://schemas.microsoft.com/office/drawing/2014/main" id="{9FCA6927-6C43-4E89-B284-9B561661825D}"/>
              </a:ext>
            </a:extLst>
          </p:cNvPr>
          <p:cNvPicPr>
            <a:picLocks noChangeAspect="1" noChangeArrowheads="1"/>
          </p:cNvPicPr>
          <p:nvPr/>
        </p:nvPicPr>
        <p:blipFill rotWithShape="1">
          <a:blip r:embed="rId52">
            <a:extLst>
              <a:ext uri="{28A0092B-C50C-407E-A947-70E740481C1C}">
                <a14:useLocalDpi xmlns:a14="http://schemas.microsoft.com/office/drawing/2010/main" val="0"/>
              </a:ext>
            </a:extLst>
          </a:blip>
          <a:srcRect t="8917" r="26612" b="19799"/>
          <a:stretch/>
        </p:blipFill>
        <p:spPr bwMode="auto">
          <a:xfrm>
            <a:off x="1844234" y="2638318"/>
            <a:ext cx="826830" cy="1856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9866240"/>
      </p:ext>
    </p:extLst>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6864E0A0-4DF6-470B-819B-BB7822610FCF}"/>
              </a:ext>
            </a:extLst>
          </p:cNvPr>
          <p:cNvGraphicFramePr>
            <a:graphicFrameLocks noChangeAspect="1"/>
          </p:cNvGraphicFramePr>
          <p:nvPr>
            <p:custDataLst>
              <p:tags r:id="rId1"/>
            </p:custDataLst>
            <p:extLst>
              <p:ext uri="{D42A27DB-BD31-4B8C-83A1-F6EECF244321}">
                <p14:modId xmlns:p14="http://schemas.microsoft.com/office/powerpoint/2010/main" val="2348839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2" progId="TCLayout.ActiveDocument.1">
                  <p:embed/>
                </p:oleObj>
              </mc:Choice>
              <mc:Fallback>
                <p:oleObj name="think-cell Slide" r:id="rId5" imgW="501" imgH="502" progId="TCLayout.ActiveDocument.1">
                  <p:embed/>
                  <p:pic>
                    <p:nvPicPr>
                      <p:cNvPr id="8" name="Objet 7" hidden="1">
                        <a:extLst>
                          <a:ext uri="{FF2B5EF4-FFF2-40B4-BE49-F238E27FC236}">
                            <a16:creationId xmlns:a16="http://schemas.microsoft.com/office/drawing/2014/main" id="{6864E0A0-4DF6-470B-819B-BB7822610FC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D99B9BA-4926-453D-89E7-FE53D86F6A9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graphicFrame>
        <p:nvGraphicFramePr>
          <p:cNvPr id="20" name="Chart 19">
            <a:extLst>
              <a:ext uri="{FF2B5EF4-FFF2-40B4-BE49-F238E27FC236}">
                <a16:creationId xmlns:a16="http://schemas.microsoft.com/office/drawing/2014/main" id="{057ABFCA-C863-482D-A152-FFDA0BD1F22D}"/>
              </a:ext>
            </a:extLst>
          </p:cNvPr>
          <p:cNvGraphicFramePr/>
          <p:nvPr>
            <p:extLst>
              <p:ext uri="{D42A27DB-BD31-4B8C-83A1-F6EECF244321}">
                <p14:modId xmlns:p14="http://schemas.microsoft.com/office/powerpoint/2010/main" val="2071722286"/>
              </p:ext>
            </p:extLst>
          </p:nvPr>
        </p:nvGraphicFramePr>
        <p:xfrm>
          <a:off x="244142" y="2240623"/>
          <a:ext cx="4453992" cy="2931878"/>
        </p:xfrm>
        <a:graphic>
          <a:graphicData uri="http://schemas.openxmlformats.org/drawingml/2006/chart">
            <c:chart xmlns:c="http://schemas.openxmlformats.org/drawingml/2006/chart" xmlns:r="http://schemas.openxmlformats.org/officeDocument/2006/relationships" r:id="rId7"/>
          </a:graphicData>
        </a:graphic>
      </p:graphicFrame>
      <p:sp>
        <p:nvSpPr>
          <p:cNvPr id="2" name="Title 1">
            <a:extLst>
              <a:ext uri="{FF2B5EF4-FFF2-40B4-BE49-F238E27FC236}">
                <a16:creationId xmlns:a16="http://schemas.microsoft.com/office/drawing/2014/main" id="{970D2097-DE0E-44B1-A6C9-A208C28D922E}"/>
              </a:ext>
            </a:extLst>
          </p:cNvPr>
          <p:cNvSpPr>
            <a:spLocks noGrp="1"/>
          </p:cNvSpPr>
          <p:nvPr>
            <p:ph type="title"/>
          </p:nvPr>
        </p:nvSpPr>
        <p:spPr>
          <a:xfrm>
            <a:off x="165600" y="147600"/>
            <a:ext cx="8350286" cy="684000"/>
          </a:xfrm>
        </p:spPr>
        <p:txBody>
          <a:bodyPr/>
          <a:lstStyle/>
          <a:p>
            <a:r>
              <a:rPr lang="en-GB">
                <a:latin typeface="Trebuchet MS" panose="020B0603020202020204" pitchFamily="34" charset="0"/>
              </a:rPr>
              <a:t>The </a:t>
            </a:r>
            <a:r>
              <a:rPr lang="en-GB">
                <a:solidFill>
                  <a:schemeClr val="tx2"/>
                </a:solidFill>
                <a:latin typeface="Trebuchet MS" panose="020B0603020202020204" pitchFamily="34" charset="0"/>
              </a:rPr>
              <a:t>Covid-19</a:t>
            </a:r>
            <a:r>
              <a:rPr lang="en-GB">
                <a:latin typeface="Trebuchet MS" panose="020B0603020202020204" pitchFamily="34" charset="0"/>
              </a:rPr>
              <a:t> crisis had led to a general </a:t>
            </a:r>
            <a:r>
              <a:rPr lang="en-GB">
                <a:solidFill>
                  <a:schemeClr val="tx2"/>
                </a:solidFill>
                <a:latin typeface="Trebuchet MS" panose="020B0603020202020204" pitchFamily="34" charset="0"/>
              </a:rPr>
              <a:t>decrease</a:t>
            </a:r>
            <a:r>
              <a:rPr lang="en-GB">
                <a:latin typeface="Trebuchet MS" panose="020B0603020202020204" pitchFamily="34" charset="0"/>
              </a:rPr>
              <a:t> in B2B marketing </a:t>
            </a:r>
            <a:r>
              <a:rPr lang="en-GB">
                <a:solidFill>
                  <a:schemeClr val="tx2"/>
                </a:solidFill>
                <a:latin typeface="Trebuchet MS" panose="020B0603020202020204" pitchFamily="34" charset="0"/>
              </a:rPr>
              <a:t>spending</a:t>
            </a:r>
            <a:r>
              <a:rPr lang="en-GB">
                <a:latin typeface="Trebuchet MS" panose="020B0603020202020204" pitchFamily="34" charset="0"/>
              </a:rPr>
              <a:t> but has potentially </a:t>
            </a:r>
            <a:r>
              <a:rPr lang="en-GB">
                <a:solidFill>
                  <a:schemeClr val="tx2"/>
                </a:solidFill>
                <a:latin typeface="Trebuchet MS" panose="020B0603020202020204" pitchFamily="34" charset="0"/>
              </a:rPr>
              <a:t>paved</a:t>
            </a:r>
            <a:r>
              <a:rPr lang="en-GB">
                <a:latin typeface="Trebuchet MS" panose="020B0603020202020204" pitchFamily="34" charset="0"/>
              </a:rPr>
              <a:t> </a:t>
            </a:r>
            <a:r>
              <a:rPr lang="en-GB">
                <a:solidFill>
                  <a:schemeClr val="tx2"/>
                </a:solidFill>
                <a:latin typeface="Trebuchet MS" panose="020B0603020202020204" pitchFamily="34" charset="0"/>
              </a:rPr>
              <a:t>the</a:t>
            </a:r>
            <a:r>
              <a:rPr lang="en-GB">
                <a:latin typeface="Trebuchet MS" panose="020B0603020202020204" pitchFamily="34" charset="0"/>
              </a:rPr>
              <a:t> </a:t>
            </a:r>
            <a:r>
              <a:rPr lang="en-GB">
                <a:solidFill>
                  <a:schemeClr val="tx2"/>
                </a:solidFill>
                <a:latin typeface="Trebuchet MS" panose="020B0603020202020204" pitchFamily="34" charset="0"/>
              </a:rPr>
              <a:t>way</a:t>
            </a:r>
            <a:r>
              <a:rPr lang="en-GB">
                <a:latin typeface="Trebuchet MS" panose="020B0603020202020204" pitchFamily="34" charset="0"/>
              </a:rPr>
              <a:t> for a </a:t>
            </a:r>
            <a:r>
              <a:rPr lang="en-GB">
                <a:solidFill>
                  <a:schemeClr val="tx2"/>
                </a:solidFill>
                <a:latin typeface="Trebuchet MS" panose="020B0603020202020204" pitchFamily="34" charset="0"/>
              </a:rPr>
              <a:t>greater</a:t>
            </a:r>
            <a:r>
              <a:rPr lang="en-GB">
                <a:latin typeface="Trebuchet MS" panose="020B0603020202020204" pitchFamily="34" charset="0"/>
              </a:rPr>
              <a:t> </a:t>
            </a:r>
            <a:r>
              <a:rPr lang="en-GB">
                <a:solidFill>
                  <a:schemeClr val="tx2"/>
                </a:solidFill>
                <a:latin typeface="Trebuchet MS" panose="020B0603020202020204" pitchFamily="34" charset="0"/>
              </a:rPr>
              <a:t>digitalization</a:t>
            </a:r>
            <a:r>
              <a:rPr lang="en-GB">
                <a:latin typeface="Trebuchet MS" panose="020B0603020202020204" pitchFamily="34" charset="0"/>
              </a:rPr>
              <a:t> of sales processes</a:t>
            </a:r>
          </a:p>
        </p:txBody>
      </p:sp>
      <p:sp>
        <p:nvSpPr>
          <p:cNvPr id="3" name="Text Placeholder 2">
            <a:extLst>
              <a:ext uri="{FF2B5EF4-FFF2-40B4-BE49-F238E27FC236}">
                <a16:creationId xmlns:a16="http://schemas.microsoft.com/office/drawing/2014/main" id="{D8789C8C-16C3-4806-880B-0F8241B8DE4E}"/>
              </a:ext>
            </a:extLst>
          </p:cNvPr>
          <p:cNvSpPr>
            <a:spLocks noGrp="1"/>
          </p:cNvSpPr>
          <p:nvPr>
            <p:ph type="body" sz="quarter" idx="10"/>
          </p:nvPr>
        </p:nvSpPr>
        <p:spPr/>
        <p:txBody>
          <a:bodyPr/>
          <a:lstStyle/>
          <a:p>
            <a:r>
              <a:rPr lang="en-GB"/>
              <a:t>Sources: eleven research &amp; analysis, expert calls</a:t>
            </a:r>
          </a:p>
          <a:p>
            <a:r>
              <a:rPr lang="en-GB"/>
              <a:t> 1.Statista (</a:t>
            </a:r>
            <a:r>
              <a:rPr lang="en-GB" err="1"/>
              <a:t>avril</a:t>
            </a:r>
            <a:r>
              <a:rPr lang="en-GB"/>
              <a:t> 2020), 2.McKinsey “How sales have changed during Covid-19” ‘report, BCG report</a:t>
            </a:r>
          </a:p>
        </p:txBody>
      </p:sp>
      <p:cxnSp>
        <p:nvCxnSpPr>
          <p:cNvPr id="13" name="Connecteur droit 4">
            <a:extLst>
              <a:ext uri="{FF2B5EF4-FFF2-40B4-BE49-F238E27FC236}">
                <a16:creationId xmlns:a16="http://schemas.microsoft.com/office/drawing/2014/main" id="{01F06095-DD81-49D6-9DE0-60B735935B94}"/>
              </a:ext>
            </a:extLst>
          </p:cNvPr>
          <p:cNvCxnSpPr>
            <a:cxnSpLocks/>
          </p:cNvCxnSpPr>
          <p:nvPr/>
        </p:nvCxnSpPr>
        <p:spPr bwMode="auto">
          <a:xfrm>
            <a:off x="209811" y="1081654"/>
            <a:ext cx="9275407"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4" name="ZoneTexte 6">
            <a:extLst>
              <a:ext uri="{FF2B5EF4-FFF2-40B4-BE49-F238E27FC236}">
                <a16:creationId xmlns:a16="http://schemas.microsoft.com/office/drawing/2014/main" id="{1F4C0C92-9A6E-4F3E-B93D-5E5355EB674D}"/>
              </a:ext>
            </a:extLst>
          </p:cNvPr>
          <p:cNvSpPr txBox="1"/>
          <p:nvPr/>
        </p:nvSpPr>
        <p:spPr>
          <a:xfrm>
            <a:off x="2051083" y="822251"/>
            <a:ext cx="5592862" cy="518808"/>
          </a:xfrm>
          <a:prstGeom prst="rect">
            <a:avLst/>
          </a:prstGeom>
          <a:solidFill>
            <a:schemeClr val="bg1"/>
          </a:solidFill>
          <a:ln>
            <a:noFill/>
          </a:ln>
        </p:spPr>
        <p:txBody>
          <a:bodyPr wrap="square" rtlCol="0" anchor="ctr">
            <a:noAutofit/>
          </a:bodyPr>
          <a:lstStyle/>
          <a:p>
            <a:pPr algn="ctr"/>
            <a:r>
              <a:rPr lang="en-GB" sz="1100">
                <a:latin typeface="Trebuchet MS" panose="020B0603020202020204" pitchFamily="34" charset="0"/>
              </a:rPr>
              <a:t>Overview of the main changes in B2B sales and marketing due to the Covid-19 crisis</a:t>
            </a:r>
          </a:p>
        </p:txBody>
      </p:sp>
      <p:sp>
        <p:nvSpPr>
          <p:cNvPr id="21" name="Rectangle 20">
            <a:extLst>
              <a:ext uri="{FF2B5EF4-FFF2-40B4-BE49-F238E27FC236}">
                <a16:creationId xmlns:a16="http://schemas.microsoft.com/office/drawing/2014/main" id="{D0F80A0C-1F16-4E4C-9FAD-25F9A477A30B}"/>
              </a:ext>
            </a:extLst>
          </p:cNvPr>
          <p:cNvSpPr/>
          <p:nvPr/>
        </p:nvSpPr>
        <p:spPr bwMode="auto">
          <a:xfrm>
            <a:off x="847359" y="4048770"/>
            <a:ext cx="567899" cy="22253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62%</a:t>
            </a:r>
          </a:p>
        </p:txBody>
      </p:sp>
      <p:sp>
        <p:nvSpPr>
          <p:cNvPr id="22" name="Rectangle 21">
            <a:extLst>
              <a:ext uri="{FF2B5EF4-FFF2-40B4-BE49-F238E27FC236}">
                <a16:creationId xmlns:a16="http://schemas.microsoft.com/office/drawing/2014/main" id="{5D087893-C6CF-4198-BAF5-912A9962B8D9}"/>
              </a:ext>
            </a:extLst>
          </p:cNvPr>
          <p:cNvSpPr/>
          <p:nvPr/>
        </p:nvSpPr>
        <p:spPr bwMode="auto">
          <a:xfrm>
            <a:off x="847359" y="2784441"/>
            <a:ext cx="567899" cy="22253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20%</a:t>
            </a:r>
          </a:p>
        </p:txBody>
      </p:sp>
      <p:sp>
        <p:nvSpPr>
          <p:cNvPr id="23" name="Rectangle 22">
            <a:extLst>
              <a:ext uri="{FF2B5EF4-FFF2-40B4-BE49-F238E27FC236}">
                <a16:creationId xmlns:a16="http://schemas.microsoft.com/office/drawing/2014/main" id="{88A9BA4A-B4C7-4D05-BE79-2CFD0C4AEED8}"/>
              </a:ext>
            </a:extLst>
          </p:cNvPr>
          <p:cNvSpPr/>
          <p:nvPr/>
        </p:nvSpPr>
        <p:spPr bwMode="auto">
          <a:xfrm>
            <a:off x="847359" y="3204069"/>
            <a:ext cx="567899" cy="22253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bg1"/>
                </a:solidFill>
                <a:latin typeface="Trebuchet MS" panose="020B0603020202020204" pitchFamily="34" charset="0"/>
              </a:rPr>
              <a:t>18</a:t>
            </a:r>
            <a:r>
              <a:rPr kumimoji="0" lang="en-GB" sz="1200" b="0" i="0" u="none" strike="noStrike" cap="none" normalizeH="0" baseline="0">
                <a:ln>
                  <a:noFill/>
                </a:ln>
                <a:solidFill>
                  <a:schemeClr val="bg1"/>
                </a:solidFill>
                <a:effectLst/>
                <a:latin typeface="Trebuchet MS" panose="020B0603020202020204" pitchFamily="34" charset="0"/>
              </a:rPr>
              <a:t>%</a:t>
            </a:r>
          </a:p>
        </p:txBody>
      </p:sp>
      <p:sp>
        <p:nvSpPr>
          <p:cNvPr id="24" name="Rectangle 23">
            <a:extLst>
              <a:ext uri="{FF2B5EF4-FFF2-40B4-BE49-F238E27FC236}">
                <a16:creationId xmlns:a16="http://schemas.microsoft.com/office/drawing/2014/main" id="{40F36AAB-6CA2-4EE3-B73A-F384B7F8A076}"/>
              </a:ext>
            </a:extLst>
          </p:cNvPr>
          <p:cNvSpPr/>
          <p:nvPr/>
        </p:nvSpPr>
        <p:spPr bwMode="auto">
          <a:xfrm>
            <a:off x="2328513" y="4048770"/>
            <a:ext cx="567899" cy="22253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63%</a:t>
            </a:r>
          </a:p>
        </p:txBody>
      </p:sp>
      <p:sp>
        <p:nvSpPr>
          <p:cNvPr id="25" name="Rectangle 24">
            <a:extLst>
              <a:ext uri="{FF2B5EF4-FFF2-40B4-BE49-F238E27FC236}">
                <a16:creationId xmlns:a16="http://schemas.microsoft.com/office/drawing/2014/main" id="{365B27DD-28ED-4858-9B9A-025EEAFED172}"/>
              </a:ext>
            </a:extLst>
          </p:cNvPr>
          <p:cNvSpPr/>
          <p:nvPr/>
        </p:nvSpPr>
        <p:spPr bwMode="auto">
          <a:xfrm>
            <a:off x="2328513" y="2784441"/>
            <a:ext cx="567899" cy="22253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bg1"/>
                </a:solidFill>
                <a:latin typeface="Trebuchet MS" panose="020B0603020202020204" pitchFamily="34" charset="0"/>
              </a:rPr>
              <a:t>18</a:t>
            </a:r>
            <a:r>
              <a:rPr kumimoji="0" lang="en-GB" sz="1200" b="0" i="0" u="none" strike="noStrike" cap="none" normalizeH="0" baseline="0">
                <a:ln>
                  <a:noFill/>
                </a:ln>
                <a:solidFill>
                  <a:schemeClr val="bg1"/>
                </a:solidFill>
                <a:effectLst/>
                <a:latin typeface="Trebuchet MS" panose="020B0603020202020204" pitchFamily="34" charset="0"/>
              </a:rPr>
              <a:t>%</a:t>
            </a:r>
          </a:p>
        </p:txBody>
      </p:sp>
      <p:sp>
        <p:nvSpPr>
          <p:cNvPr id="26" name="Rectangle 25">
            <a:extLst>
              <a:ext uri="{FF2B5EF4-FFF2-40B4-BE49-F238E27FC236}">
                <a16:creationId xmlns:a16="http://schemas.microsoft.com/office/drawing/2014/main" id="{6F45FDCB-9C2A-4BEF-AC41-42C5CB2B7EAD}"/>
              </a:ext>
            </a:extLst>
          </p:cNvPr>
          <p:cNvSpPr/>
          <p:nvPr/>
        </p:nvSpPr>
        <p:spPr bwMode="auto">
          <a:xfrm>
            <a:off x="2328513" y="3204069"/>
            <a:ext cx="567899" cy="22253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bg1"/>
                </a:solidFill>
                <a:latin typeface="Trebuchet MS" panose="020B0603020202020204" pitchFamily="34" charset="0"/>
              </a:rPr>
              <a:t>19</a:t>
            </a:r>
            <a:r>
              <a:rPr kumimoji="0" lang="en-GB" sz="1200" b="0" i="0" u="none" strike="noStrike" cap="none" normalizeH="0" baseline="0">
                <a:ln>
                  <a:noFill/>
                </a:ln>
                <a:solidFill>
                  <a:schemeClr val="bg1"/>
                </a:solidFill>
                <a:effectLst/>
                <a:latin typeface="Trebuchet MS" panose="020B0603020202020204" pitchFamily="34" charset="0"/>
              </a:rPr>
              <a:t>%</a:t>
            </a:r>
          </a:p>
        </p:txBody>
      </p:sp>
      <p:cxnSp>
        <p:nvCxnSpPr>
          <p:cNvPr id="46" name="Straight Connector 45">
            <a:extLst>
              <a:ext uri="{FF2B5EF4-FFF2-40B4-BE49-F238E27FC236}">
                <a16:creationId xmlns:a16="http://schemas.microsoft.com/office/drawing/2014/main" id="{7074B6EC-46A7-452C-9E3E-562C49690AF6}"/>
              </a:ext>
            </a:extLst>
          </p:cNvPr>
          <p:cNvCxnSpPr>
            <a:cxnSpLocks/>
          </p:cNvCxnSpPr>
          <p:nvPr/>
        </p:nvCxnSpPr>
        <p:spPr bwMode="auto">
          <a:xfrm>
            <a:off x="5409755" y="4483263"/>
            <a:ext cx="1666366" cy="0"/>
          </a:xfrm>
          <a:prstGeom prst="line">
            <a:avLst/>
          </a:prstGeom>
          <a:solidFill>
            <a:schemeClr val="accent1"/>
          </a:solidFill>
          <a:ln w="9525" cap="flat" cmpd="sng" algn="ctr">
            <a:solidFill>
              <a:srgbClr val="E9E9E9"/>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15439E20-8B35-42D5-9CB1-D444252FF319}"/>
              </a:ext>
            </a:extLst>
          </p:cNvPr>
          <p:cNvCxnSpPr>
            <a:cxnSpLocks/>
          </p:cNvCxnSpPr>
          <p:nvPr/>
        </p:nvCxnSpPr>
        <p:spPr bwMode="auto">
          <a:xfrm>
            <a:off x="7662150" y="4483263"/>
            <a:ext cx="1849354" cy="0"/>
          </a:xfrm>
          <a:prstGeom prst="line">
            <a:avLst/>
          </a:prstGeom>
          <a:solidFill>
            <a:schemeClr val="accent1"/>
          </a:solidFill>
          <a:ln w="9525" cap="flat" cmpd="sng" algn="ctr">
            <a:solidFill>
              <a:srgbClr val="E9E9E9"/>
            </a:solidFill>
            <a:prstDash val="solid"/>
            <a:round/>
            <a:headEnd type="none" w="med" len="med"/>
            <a:tailEnd type="none" w="med" len="med"/>
          </a:ln>
          <a:effectLst/>
        </p:spPr>
      </p:cxnSp>
      <p:grpSp>
        <p:nvGrpSpPr>
          <p:cNvPr id="54" name="Group 53">
            <a:extLst>
              <a:ext uri="{FF2B5EF4-FFF2-40B4-BE49-F238E27FC236}">
                <a16:creationId xmlns:a16="http://schemas.microsoft.com/office/drawing/2014/main" id="{E3CAE7CE-4453-4357-A91F-20EE36AFA1CA}"/>
              </a:ext>
            </a:extLst>
          </p:cNvPr>
          <p:cNvGrpSpPr/>
          <p:nvPr/>
        </p:nvGrpSpPr>
        <p:grpSpPr>
          <a:xfrm>
            <a:off x="5596848" y="3313795"/>
            <a:ext cx="1292180" cy="1169454"/>
            <a:chOff x="5627958" y="2596774"/>
            <a:chExt cx="1292180" cy="1169454"/>
          </a:xfrm>
        </p:grpSpPr>
        <p:sp>
          <p:nvSpPr>
            <p:cNvPr id="50" name="Rectangle 49">
              <a:extLst>
                <a:ext uri="{FF2B5EF4-FFF2-40B4-BE49-F238E27FC236}">
                  <a16:creationId xmlns:a16="http://schemas.microsoft.com/office/drawing/2014/main" id="{860574A1-DB52-4EC7-9175-8A706A90E0DD}"/>
                </a:ext>
              </a:extLst>
            </p:cNvPr>
            <p:cNvSpPr/>
            <p:nvPr/>
          </p:nvSpPr>
          <p:spPr bwMode="auto">
            <a:xfrm>
              <a:off x="5631251" y="2596774"/>
              <a:ext cx="561315" cy="1169454"/>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1" name="Rectangle 50">
              <a:extLst>
                <a:ext uri="{FF2B5EF4-FFF2-40B4-BE49-F238E27FC236}">
                  <a16:creationId xmlns:a16="http://schemas.microsoft.com/office/drawing/2014/main" id="{719F7512-4950-4A5A-9A29-2FE33A145D1C}"/>
                </a:ext>
              </a:extLst>
            </p:cNvPr>
            <p:cNvSpPr/>
            <p:nvPr/>
          </p:nvSpPr>
          <p:spPr bwMode="auto">
            <a:xfrm>
              <a:off x="6355532" y="2788466"/>
              <a:ext cx="561315" cy="977761"/>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52" name="Rectangle 51">
              <a:extLst>
                <a:ext uri="{FF2B5EF4-FFF2-40B4-BE49-F238E27FC236}">
                  <a16:creationId xmlns:a16="http://schemas.microsoft.com/office/drawing/2014/main" id="{18914693-65B2-4310-B1A7-C392E745B40D}"/>
                </a:ext>
              </a:extLst>
            </p:cNvPr>
            <p:cNvSpPr/>
            <p:nvPr/>
          </p:nvSpPr>
          <p:spPr bwMode="auto">
            <a:xfrm>
              <a:off x="5627958" y="3039577"/>
              <a:ext cx="567899" cy="22253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bg1"/>
                  </a:solidFill>
                  <a:latin typeface="Trebuchet MS" pitchFamily="34" charset="0"/>
                </a:rPr>
                <a:t>52</a:t>
              </a:r>
              <a:r>
                <a:rPr kumimoji="0" lang="en-GB" sz="1200" b="0" i="0" u="none" strike="noStrike" cap="none" normalizeH="0" baseline="0">
                  <a:ln>
                    <a:noFill/>
                  </a:ln>
                  <a:solidFill>
                    <a:schemeClr val="bg1"/>
                  </a:solidFill>
                  <a:effectLst/>
                  <a:latin typeface="Trebuchet MS" pitchFamily="34" charset="0"/>
                </a:rPr>
                <a:t>%</a:t>
              </a:r>
            </a:p>
          </p:txBody>
        </p:sp>
        <p:sp>
          <p:nvSpPr>
            <p:cNvPr id="53" name="Rectangle 52">
              <a:extLst>
                <a:ext uri="{FF2B5EF4-FFF2-40B4-BE49-F238E27FC236}">
                  <a16:creationId xmlns:a16="http://schemas.microsoft.com/office/drawing/2014/main" id="{152E5187-3399-49E3-B38A-151267723CB3}"/>
                </a:ext>
              </a:extLst>
            </p:cNvPr>
            <p:cNvSpPr/>
            <p:nvPr/>
          </p:nvSpPr>
          <p:spPr bwMode="auto">
            <a:xfrm>
              <a:off x="6352239" y="3039577"/>
              <a:ext cx="567899" cy="22253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itchFamily="34" charset="0"/>
                </a:rPr>
                <a:t>48%</a:t>
              </a:r>
            </a:p>
          </p:txBody>
        </p:sp>
      </p:grpSp>
      <p:sp>
        <p:nvSpPr>
          <p:cNvPr id="56" name="Rectangle 55">
            <a:extLst>
              <a:ext uri="{FF2B5EF4-FFF2-40B4-BE49-F238E27FC236}">
                <a16:creationId xmlns:a16="http://schemas.microsoft.com/office/drawing/2014/main" id="{FAA6C4C8-C55E-4F19-8431-7C3F35B21EE4}"/>
              </a:ext>
            </a:extLst>
          </p:cNvPr>
          <p:cNvSpPr/>
          <p:nvPr/>
        </p:nvSpPr>
        <p:spPr bwMode="auto">
          <a:xfrm>
            <a:off x="7944030" y="3756598"/>
            <a:ext cx="561315" cy="726651"/>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7" name="Rectangle 56">
            <a:extLst>
              <a:ext uri="{FF2B5EF4-FFF2-40B4-BE49-F238E27FC236}">
                <a16:creationId xmlns:a16="http://schemas.microsoft.com/office/drawing/2014/main" id="{56E3F740-094B-4DEE-AAB8-4A876B2C28C5}"/>
              </a:ext>
            </a:extLst>
          </p:cNvPr>
          <p:cNvSpPr/>
          <p:nvPr/>
        </p:nvSpPr>
        <p:spPr bwMode="auto">
          <a:xfrm>
            <a:off x="8668311" y="3043768"/>
            <a:ext cx="561315" cy="1439482"/>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58" name="Rectangle 57">
            <a:extLst>
              <a:ext uri="{FF2B5EF4-FFF2-40B4-BE49-F238E27FC236}">
                <a16:creationId xmlns:a16="http://schemas.microsoft.com/office/drawing/2014/main" id="{02115306-F1F1-45CD-9360-CF2439287271}"/>
              </a:ext>
            </a:extLst>
          </p:cNvPr>
          <p:cNvSpPr/>
          <p:nvPr/>
        </p:nvSpPr>
        <p:spPr bwMode="auto">
          <a:xfrm>
            <a:off x="7940737" y="4038429"/>
            <a:ext cx="567899" cy="22253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34%</a:t>
            </a:r>
          </a:p>
        </p:txBody>
      </p:sp>
      <p:sp>
        <p:nvSpPr>
          <p:cNvPr id="59" name="Rectangle 58">
            <a:extLst>
              <a:ext uri="{FF2B5EF4-FFF2-40B4-BE49-F238E27FC236}">
                <a16:creationId xmlns:a16="http://schemas.microsoft.com/office/drawing/2014/main" id="{FB320439-CAD2-4F6F-9FD5-F3CE137D27FF}"/>
              </a:ext>
            </a:extLst>
          </p:cNvPr>
          <p:cNvSpPr/>
          <p:nvPr/>
        </p:nvSpPr>
        <p:spPr bwMode="auto">
          <a:xfrm>
            <a:off x="8665018" y="3339499"/>
            <a:ext cx="567899" cy="22253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64%</a:t>
            </a:r>
          </a:p>
        </p:txBody>
      </p:sp>
      <p:sp>
        <p:nvSpPr>
          <p:cNvPr id="60" name="Rectangle 59">
            <a:extLst>
              <a:ext uri="{FF2B5EF4-FFF2-40B4-BE49-F238E27FC236}">
                <a16:creationId xmlns:a16="http://schemas.microsoft.com/office/drawing/2014/main" id="{0ED8CFE8-4754-4C34-811E-102668B8FDF6}"/>
              </a:ext>
            </a:extLst>
          </p:cNvPr>
          <p:cNvSpPr/>
          <p:nvPr/>
        </p:nvSpPr>
        <p:spPr bwMode="auto">
          <a:xfrm>
            <a:off x="5180128" y="2367673"/>
            <a:ext cx="2122330" cy="3307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a:latin typeface="Trebuchet MS" panose="020B0603020202020204" pitchFamily="34" charset="0"/>
              </a:rPr>
              <a:t>“Before Covid-19, which method was more important to costumers? ”</a:t>
            </a:r>
            <a:r>
              <a:rPr lang="en-GB" sz="900" i="1" baseline="30000">
                <a:latin typeface="Trebuchet MS" panose="020B0603020202020204" pitchFamily="34" charset="0"/>
              </a:rPr>
              <a:t>2</a:t>
            </a:r>
            <a:endParaRPr kumimoji="0" lang="en-GB" sz="900" b="0" i="1" u="none" strike="noStrike" cap="none" normalizeH="0" baseline="0">
              <a:ln>
                <a:noFill/>
              </a:ln>
              <a:solidFill>
                <a:schemeClr val="tx1"/>
              </a:solidFill>
              <a:effectLst/>
              <a:latin typeface="Trebuchet MS" panose="020B0603020202020204" pitchFamily="34" charset="0"/>
            </a:endParaRPr>
          </a:p>
        </p:txBody>
      </p:sp>
      <p:sp>
        <p:nvSpPr>
          <p:cNvPr id="61" name="Rectangle 60">
            <a:extLst>
              <a:ext uri="{FF2B5EF4-FFF2-40B4-BE49-F238E27FC236}">
                <a16:creationId xmlns:a16="http://schemas.microsoft.com/office/drawing/2014/main" id="{6A7FCA5A-F02D-4B89-82E7-8F5A774290B6}"/>
              </a:ext>
            </a:extLst>
          </p:cNvPr>
          <p:cNvSpPr/>
          <p:nvPr/>
        </p:nvSpPr>
        <p:spPr bwMode="auto">
          <a:xfrm>
            <a:off x="7607568" y="2367673"/>
            <a:ext cx="2122330" cy="3307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a:latin typeface="Trebuchet MS" panose="020B0603020202020204" pitchFamily="34" charset="0"/>
              </a:rPr>
              <a:t>“For the period during Covid-19, which method was more important to costumers? ”</a:t>
            </a:r>
            <a:r>
              <a:rPr lang="en-GB" sz="900" i="1" baseline="30000">
                <a:latin typeface="Trebuchet MS" panose="020B0603020202020204" pitchFamily="34" charset="0"/>
              </a:rPr>
              <a:t>2</a:t>
            </a:r>
            <a:endParaRPr kumimoji="0" lang="en-GB" sz="900" b="0" i="1" u="none" strike="noStrike" cap="none" normalizeH="0" baseline="0">
              <a:ln>
                <a:noFill/>
              </a:ln>
              <a:solidFill>
                <a:schemeClr val="tx1"/>
              </a:solidFill>
              <a:effectLst/>
              <a:latin typeface="Trebuchet MS" panose="020B0603020202020204" pitchFamily="34" charset="0"/>
            </a:endParaRPr>
          </a:p>
        </p:txBody>
      </p:sp>
      <p:sp>
        <p:nvSpPr>
          <p:cNvPr id="64" name="Rectangle 63">
            <a:extLst>
              <a:ext uri="{FF2B5EF4-FFF2-40B4-BE49-F238E27FC236}">
                <a16:creationId xmlns:a16="http://schemas.microsoft.com/office/drawing/2014/main" id="{89376D02-36D0-4410-8470-67806D79880B}"/>
              </a:ext>
            </a:extLst>
          </p:cNvPr>
          <p:cNvSpPr/>
          <p:nvPr/>
        </p:nvSpPr>
        <p:spPr bwMode="auto">
          <a:xfrm>
            <a:off x="5384159" y="4603501"/>
            <a:ext cx="993276" cy="3307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Traditional sales interactions</a:t>
            </a:r>
            <a:endParaRPr kumimoji="0" lang="en-GB" sz="900" b="0" u="none" strike="noStrike" cap="none" normalizeH="0" baseline="0">
              <a:ln>
                <a:noFill/>
              </a:ln>
              <a:solidFill>
                <a:schemeClr val="tx1"/>
              </a:solidFill>
              <a:effectLst/>
              <a:latin typeface="Trebuchet MS" panose="020B0603020202020204" pitchFamily="34" charset="0"/>
            </a:endParaRPr>
          </a:p>
        </p:txBody>
      </p:sp>
      <p:sp>
        <p:nvSpPr>
          <p:cNvPr id="65" name="Rectangle 64">
            <a:extLst>
              <a:ext uri="{FF2B5EF4-FFF2-40B4-BE49-F238E27FC236}">
                <a16:creationId xmlns:a16="http://schemas.microsoft.com/office/drawing/2014/main" id="{BC9BBBE7-D550-4BBE-B753-D87DF3D98A3F}"/>
              </a:ext>
            </a:extLst>
          </p:cNvPr>
          <p:cNvSpPr/>
          <p:nvPr/>
        </p:nvSpPr>
        <p:spPr bwMode="auto">
          <a:xfrm>
            <a:off x="6211970" y="4651232"/>
            <a:ext cx="866035" cy="3307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Digital-enabled sales interactions</a:t>
            </a:r>
            <a:endParaRPr kumimoji="0" lang="en-GB" sz="900" b="0" u="none" strike="noStrike" cap="none" normalizeH="0" baseline="0">
              <a:ln>
                <a:noFill/>
              </a:ln>
              <a:solidFill>
                <a:schemeClr val="tx1"/>
              </a:solidFill>
              <a:effectLst/>
              <a:latin typeface="Trebuchet MS" panose="020B0603020202020204" pitchFamily="34" charset="0"/>
            </a:endParaRPr>
          </a:p>
        </p:txBody>
      </p:sp>
      <p:cxnSp>
        <p:nvCxnSpPr>
          <p:cNvPr id="71" name="Straight Connector 70">
            <a:extLst>
              <a:ext uri="{FF2B5EF4-FFF2-40B4-BE49-F238E27FC236}">
                <a16:creationId xmlns:a16="http://schemas.microsoft.com/office/drawing/2014/main" id="{C271A41B-AD44-473C-83BE-A20BC593E713}"/>
              </a:ext>
            </a:extLst>
          </p:cNvPr>
          <p:cNvCxnSpPr>
            <a:cxnSpLocks/>
          </p:cNvCxnSpPr>
          <p:nvPr/>
        </p:nvCxnSpPr>
        <p:spPr bwMode="auto">
          <a:xfrm flipV="1">
            <a:off x="8505345" y="3043768"/>
            <a:ext cx="0" cy="71283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75" name="Rectangle 74">
            <a:extLst>
              <a:ext uri="{FF2B5EF4-FFF2-40B4-BE49-F238E27FC236}">
                <a16:creationId xmlns:a16="http://schemas.microsoft.com/office/drawing/2014/main" id="{63502ABA-E073-45CB-927B-A41AB91E18AE}"/>
              </a:ext>
            </a:extLst>
          </p:cNvPr>
          <p:cNvSpPr/>
          <p:nvPr/>
        </p:nvSpPr>
        <p:spPr bwMode="auto">
          <a:xfrm>
            <a:off x="8004601" y="3091262"/>
            <a:ext cx="567899" cy="22253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effectLst/>
                <a:latin typeface="Trebuchet MS" panose="020B0603020202020204" pitchFamily="34" charset="0"/>
              </a:rPr>
              <a:t>~2X</a:t>
            </a:r>
          </a:p>
        </p:txBody>
      </p:sp>
      <p:sp>
        <p:nvSpPr>
          <p:cNvPr id="76" name="Rectangle 75">
            <a:extLst>
              <a:ext uri="{FF2B5EF4-FFF2-40B4-BE49-F238E27FC236}">
                <a16:creationId xmlns:a16="http://schemas.microsoft.com/office/drawing/2014/main" id="{C7ECD30B-DCF9-42C7-A8AB-5522F56A1D76}"/>
              </a:ext>
            </a:extLst>
          </p:cNvPr>
          <p:cNvSpPr/>
          <p:nvPr/>
        </p:nvSpPr>
        <p:spPr bwMode="auto">
          <a:xfrm>
            <a:off x="354388" y="5309896"/>
            <a:ext cx="4395039" cy="858781"/>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a:ln>
                  <a:noFill/>
                </a:ln>
                <a:solidFill>
                  <a:schemeClr val="tx1"/>
                </a:solidFill>
                <a:effectLst/>
                <a:latin typeface="Trebuchet MS" panose="020B0603020202020204" pitchFamily="34" charset="0"/>
              </a:rPr>
              <a:t>“The B2B marketing market is experiencing extremely </a:t>
            </a:r>
            <a:r>
              <a:rPr kumimoji="0" lang="en-GB" sz="1000" b="0" i="1" u="none" strike="noStrike" cap="none" normalizeH="0" baseline="0">
                <a:ln>
                  <a:noFill/>
                </a:ln>
                <a:solidFill>
                  <a:schemeClr val="tx2"/>
                </a:solidFill>
                <a:effectLst/>
                <a:latin typeface="Trebuchet MS" panose="020B0603020202020204" pitchFamily="34" charset="0"/>
              </a:rPr>
              <a:t>significant</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losses</a:t>
            </a:r>
            <a:r>
              <a:rPr kumimoji="0" lang="en-GB" sz="1000" b="0" i="1" u="none" strike="noStrike" cap="none" normalizeH="0" baseline="0">
                <a:ln>
                  <a:noFill/>
                </a:ln>
                <a:solidFill>
                  <a:schemeClr val="tx1"/>
                </a:solidFill>
                <a:effectLst/>
                <a:latin typeface="Trebuchet MS" panose="020B0603020202020204" pitchFamily="34" charset="0"/>
              </a:rPr>
              <a:t> of up to -70% of the turnover of some players, due in particular to the </a:t>
            </a:r>
            <a:r>
              <a:rPr kumimoji="0" lang="en-GB" sz="1000" b="0" i="1" u="none" strike="noStrike" cap="none" normalizeH="0" baseline="0">
                <a:ln>
                  <a:noFill/>
                </a:ln>
                <a:solidFill>
                  <a:schemeClr val="tx2"/>
                </a:solidFill>
                <a:effectLst/>
                <a:latin typeface="Trebuchet MS" panose="020B0603020202020204" pitchFamily="34" charset="0"/>
              </a:rPr>
              <a:t>postponement</a:t>
            </a:r>
            <a:r>
              <a:rPr kumimoji="0" lang="en-GB" sz="1000" b="0" i="1" u="none" strike="noStrike" cap="none" normalizeH="0" baseline="0">
                <a:ln>
                  <a:noFill/>
                </a:ln>
                <a:solidFill>
                  <a:schemeClr val="tx1"/>
                </a:solidFill>
                <a:effectLst/>
                <a:latin typeface="Trebuchet MS" panose="020B0603020202020204" pitchFamily="34" charset="0"/>
              </a:rPr>
              <a:t> of </a:t>
            </a:r>
            <a:r>
              <a:rPr kumimoji="0" lang="en-GB" sz="1000" b="0" i="1" u="none" strike="noStrike" cap="none" normalizeH="0" baseline="0">
                <a:ln>
                  <a:noFill/>
                </a:ln>
                <a:solidFill>
                  <a:schemeClr val="tx2"/>
                </a:solidFill>
                <a:effectLst/>
                <a:latin typeface="Trebuchet MS" panose="020B0603020202020204" pitchFamily="34" charset="0"/>
              </a:rPr>
              <a:t>product</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launches</a:t>
            </a:r>
            <a:r>
              <a:rPr kumimoji="0" lang="en-GB" sz="1000" b="0" i="1" u="none" strike="noStrike" cap="none" normalizeH="0" baseline="0">
                <a:ln>
                  <a:noFill/>
                </a:ln>
                <a:solidFill>
                  <a:schemeClr val="tx1"/>
                </a:solidFill>
                <a:effectLst/>
                <a:latin typeface="Trebuchet MS" panose="020B0603020202020204" pitchFamily="34" charset="0"/>
              </a:rPr>
              <a:t> and commercial </a:t>
            </a:r>
            <a:r>
              <a:rPr kumimoji="0" lang="en-GB" sz="1000" b="0" i="1" u="none" strike="noStrike" cap="none" normalizeH="0" baseline="0">
                <a:ln>
                  <a:noFill/>
                </a:ln>
                <a:solidFill>
                  <a:schemeClr val="tx2"/>
                </a:solidFill>
                <a:effectLst/>
                <a:latin typeface="Trebuchet MS" panose="020B0603020202020204" pitchFamily="34" charset="0"/>
              </a:rPr>
              <a:t>activations</a:t>
            </a:r>
            <a:r>
              <a:rPr kumimoji="0" lang="en-GB" sz="1000" b="0" i="1" u="none" strike="noStrike" cap="none" normalizeH="0" baseline="0">
                <a:ln>
                  <a:noFill/>
                </a:ln>
                <a:solidFill>
                  <a:schemeClr val="tx1"/>
                </a:solidFill>
                <a:effectLst/>
                <a:latin typeface="Trebuchet MS" panose="020B0603020202020204" pitchFamily="34" charset="0"/>
              </a:rPr>
              <a:t> during the lockdown</a:t>
            </a:r>
            <a:r>
              <a:rPr lang="en-GB" sz="1000" i="1">
                <a:latin typeface="Trebuchet MS" panose="020B0603020202020204" pitchFamily="34" charset="0"/>
              </a:rPr>
              <a:t>”</a:t>
            </a:r>
          </a:p>
          <a:p>
            <a:pPr>
              <a:defRPr/>
            </a:pPr>
            <a:r>
              <a:rPr lang="en-GB" sz="1000" spc="-50">
                <a:solidFill>
                  <a:srgbClr val="6C6C6C"/>
                </a:solidFill>
                <a:latin typeface="Trebuchet MS" panose="020B0603020202020204" pitchFamily="34" charset="0"/>
              </a:rPr>
              <a:t>M.D. France &amp; Belgium at </a:t>
            </a:r>
            <a:r>
              <a:rPr lang="en-GB" sz="1000" spc="-50" err="1">
                <a:solidFill>
                  <a:srgbClr val="6C6C6C"/>
                </a:solidFill>
                <a:latin typeface="Trebuchet MS" panose="020B0603020202020204" pitchFamily="34" charset="0"/>
              </a:rPr>
              <a:t>Creditsafe</a:t>
            </a:r>
            <a:r>
              <a:rPr lang="en-GB" sz="1000" spc="-50">
                <a:solidFill>
                  <a:srgbClr val="6C6C6C"/>
                </a:solidFill>
                <a:latin typeface="Trebuchet MS" panose="020B0603020202020204" pitchFamily="34" charset="0"/>
              </a:rPr>
              <a:t> </a:t>
            </a:r>
          </a:p>
        </p:txBody>
      </p:sp>
      <p:sp>
        <p:nvSpPr>
          <p:cNvPr id="77" name="Freeform 663">
            <a:extLst>
              <a:ext uri="{FF2B5EF4-FFF2-40B4-BE49-F238E27FC236}">
                <a16:creationId xmlns:a16="http://schemas.microsoft.com/office/drawing/2014/main" id="{3D9A6A0A-9F7E-4E88-A419-DF771EA5DB41}"/>
              </a:ext>
            </a:extLst>
          </p:cNvPr>
          <p:cNvSpPr>
            <a:spLocks noChangeAspect="1" noEditPoints="1"/>
          </p:cNvSpPr>
          <p:nvPr/>
        </p:nvSpPr>
        <p:spPr bwMode="auto">
          <a:xfrm>
            <a:off x="209811" y="5600660"/>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78" name="Rectangle 77">
            <a:extLst>
              <a:ext uri="{FF2B5EF4-FFF2-40B4-BE49-F238E27FC236}">
                <a16:creationId xmlns:a16="http://schemas.microsoft.com/office/drawing/2014/main" id="{9C6ADF94-6D39-421D-8451-67D1C9986708}"/>
              </a:ext>
            </a:extLst>
          </p:cNvPr>
          <p:cNvSpPr/>
          <p:nvPr/>
        </p:nvSpPr>
        <p:spPr bwMode="auto">
          <a:xfrm>
            <a:off x="5189406" y="5309896"/>
            <a:ext cx="4399230" cy="858781"/>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a:ln>
                  <a:noFill/>
                </a:ln>
                <a:solidFill>
                  <a:schemeClr val="tx1"/>
                </a:solidFill>
                <a:effectLst/>
                <a:latin typeface="Trebuchet MS" panose="020B0603020202020204" pitchFamily="34" charset="0"/>
              </a:rPr>
              <a:t>“</a:t>
            </a:r>
            <a:r>
              <a:rPr lang="en-GB" sz="1000" i="1">
                <a:latin typeface="Trebuchet MS" panose="020B0603020202020204" pitchFamily="34" charset="0"/>
              </a:rPr>
              <a:t>With customers working from home, they will spend more time online, so it may be time to </a:t>
            </a:r>
            <a:r>
              <a:rPr lang="en-GB" sz="1000" i="1">
                <a:solidFill>
                  <a:schemeClr val="tx2"/>
                </a:solidFill>
                <a:latin typeface="Trebuchet MS" panose="020B0603020202020204" pitchFamily="34" charset="0"/>
              </a:rPr>
              <a:t>shift</a:t>
            </a:r>
            <a:r>
              <a:rPr lang="en-GB" sz="1000" i="1">
                <a:latin typeface="Trebuchet MS" panose="020B0603020202020204" pitchFamily="34" charset="0"/>
              </a:rPr>
              <a:t> to a </a:t>
            </a:r>
            <a:r>
              <a:rPr lang="en-GB" sz="1000" i="1">
                <a:solidFill>
                  <a:schemeClr val="tx2"/>
                </a:solidFill>
                <a:latin typeface="Trebuchet MS" panose="020B0603020202020204" pitchFamily="34" charset="0"/>
              </a:rPr>
              <a:t>digital</a:t>
            </a:r>
            <a:r>
              <a:rPr lang="en-GB" sz="1000" i="1">
                <a:latin typeface="Trebuchet MS" panose="020B0603020202020204" pitchFamily="34" charset="0"/>
              </a:rPr>
              <a:t> </a:t>
            </a:r>
            <a:r>
              <a:rPr lang="en-GB" sz="1000" i="1">
                <a:solidFill>
                  <a:schemeClr val="tx2"/>
                </a:solidFill>
                <a:latin typeface="Trebuchet MS" panose="020B0603020202020204" pitchFamily="34" charset="0"/>
              </a:rPr>
              <a:t>marketing</a:t>
            </a:r>
            <a:r>
              <a:rPr lang="en-GB" sz="1000" i="1">
                <a:latin typeface="Trebuchet MS" panose="020B0603020202020204" pitchFamily="34" charset="0"/>
              </a:rPr>
              <a:t> </a:t>
            </a:r>
            <a:r>
              <a:rPr lang="en-GB" sz="1000" i="1">
                <a:solidFill>
                  <a:schemeClr val="tx2"/>
                </a:solidFill>
                <a:latin typeface="Trebuchet MS" panose="020B0603020202020204" pitchFamily="34" charset="0"/>
              </a:rPr>
              <a:t>model</a:t>
            </a:r>
            <a:r>
              <a:rPr lang="en-GB" sz="1000" i="1">
                <a:latin typeface="Trebuchet MS" panose="020B0603020202020204" pitchFamily="34" charset="0"/>
              </a:rPr>
              <a:t>. Companies must </a:t>
            </a:r>
            <a:r>
              <a:rPr lang="en-GB" sz="1000" i="1">
                <a:solidFill>
                  <a:schemeClr val="tx2"/>
                </a:solidFill>
                <a:latin typeface="Trebuchet MS" panose="020B0603020202020204" pitchFamily="34" charset="0"/>
              </a:rPr>
              <a:t>transfer</a:t>
            </a:r>
            <a:r>
              <a:rPr lang="en-GB" sz="1000" i="1">
                <a:latin typeface="Trebuchet MS" panose="020B0603020202020204" pitchFamily="34" charset="0"/>
              </a:rPr>
              <a:t> marketing </a:t>
            </a:r>
            <a:r>
              <a:rPr lang="en-GB" sz="1000" i="1">
                <a:solidFill>
                  <a:schemeClr val="tx2"/>
                </a:solidFill>
                <a:latin typeface="Trebuchet MS" panose="020B0603020202020204" pitchFamily="34" charset="0"/>
              </a:rPr>
              <a:t>budgets</a:t>
            </a:r>
            <a:r>
              <a:rPr lang="en-GB" sz="1000" i="1">
                <a:latin typeface="Trebuchet MS" panose="020B0603020202020204" pitchFamily="34" charset="0"/>
              </a:rPr>
              <a:t> to </a:t>
            </a:r>
            <a:r>
              <a:rPr lang="en-GB" sz="1000" i="1">
                <a:solidFill>
                  <a:schemeClr val="tx2"/>
                </a:solidFill>
                <a:latin typeface="Trebuchet MS" panose="020B0603020202020204" pitchFamily="34" charset="0"/>
              </a:rPr>
              <a:t>online</a:t>
            </a:r>
            <a:r>
              <a:rPr lang="en-GB" sz="1000" i="1">
                <a:latin typeface="Trebuchet MS" panose="020B0603020202020204" pitchFamily="34" charset="0"/>
              </a:rPr>
              <a:t> </a:t>
            </a:r>
            <a:r>
              <a:rPr lang="en-GB" sz="1000" i="1">
                <a:solidFill>
                  <a:schemeClr val="tx2"/>
                </a:solidFill>
                <a:latin typeface="Trebuchet MS" panose="020B0603020202020204" pitchFamily="34" charset="0"/>
              </a:rPr>
              <a:t>channels</a:t>
            </a:r>
            <a:r>
              <a:rPr lang="en-GB" sz="1000" i="1">
                <a:latin typeface="Trebuchet MS" panose="020B0603020202020204" pitchFamily="34" charset="0"/>
              </a:rPr>
              <a:t>, using the unique capabilities of digital marketing to target audiences”</a:t>
            </a:r>
            <a:endParaRPr kumimoji="0" lang="en-GB" sz="1000" b="0" i="1" u="none" strike="noStrike" cap="none" normalizeH="0" baseline="0">
              <a:ln>
                <a:noFill/>
              </a:ln>
              <a:solidFill>
                <a:schemeClr val="tx1"/>
              </a:solidFill>
              <a:effectLst/>
              <a:latin typeface="Trebuchet MS" panose="020B0603020202020204" pitchFamily="34" charset="0"/>
            </a:endParaRPr>
          </a:p>
          <a:p>
            <a:r>
              <a:rPr lang="en-GB" sz="1000">
                <a:latin typeface="Trebuchet MS" panose="020B0603020202020204" pitchFamily="34" charset="0"/>
              </a:rPr>
              <a:t>Leading Sales Through the Covid-19 crisis - BCG</a:t>
            </a:r>
          </a:p>
        </p:txBody>
      </p:sp>
      <p:sp>
        <p:nvSpPr>
          <p:cNvPr id="79" name="Freeform 663">
            <a:extLst>
              <a:ext uri="{FF2B5EF4-FFF2-40B4-BE49-F238E27FC236}">
                <a16:creationId xmlns:a16="http://schemas.microsoft.com/office/drawing/2014/main" id="{B0C6EF0E-8829-4B6C-B89E-C14EA11F272B}"/>
              </a:ext>
            </a:extLst>
          </p:cNvPr>
          <p:cNvSpPr>
            <a:spLocks noChangeAspect="1" noEditPoints="1"/>
          </p:cNvSpPr>
          <p:nvPr/>
        </p:nvSpPr>
        <p:spPr bwMode="auto">
          <a:xfrm>
            <a:off x="5069252" y="5600660"/>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55" name="Rectangle 54">
            <a:extLst>
              <a:ext uri="{FF2B5EF4-FFF2-40B4-BE49-F238E27FC236}">
                <a16:creationId xmlns:a16="http://schemas.microsoft.com/office/drawing/2014/main" id="{D8C586C3-F383-443F-B308-A39AB5E3E7F3}"/>
              </a:ext>
            </a:extLst>
          </p:cNvPr>
          <p:cNvSpPr/>
          <p:nvPr/>
        </p:nvSpPr>
        <p:spPr bwMode="auto">
          <a:xfrm>
            <a:off x="427753" y="2290266"/>
            <a:ext cx="3759836" cy="3307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a:latin typeface="Trebuchet MS" panose="020B0603020202020204" pitchFamily="34" charset="0"/>
              </a:rPr>
              <a:t>Changes in B2B marketing spending due to Covid-19 crisis, in %</a:t>
            </a:r>
            <a:r>
              <a:rPr lang="en-GB" sz="900" i="1" baseline="30000">
                <a:latin typeface="Trebuchet MS" panose="020B0603020202020204" pitchFamily="34" charset="0"/>
              </a:rPr>
              <a:t>1</a:t>
            </a:r>
            <a:endParaRPr kumimoji="0" lang="en-GB" sz="900" b="0" i="1" u="none" strike="noStrike" cap="none" normalizeH="0" baseline="0">
              <a:ln>
                <a:noFill/>
              </a:ln>
              <a:solidFill>
                <a:schemeClr val="tx1"/>
              </a:solidFill>
              <a:effectLst/>
              <a:latin typeface="Trebuchet MS" panose="020B0603020202020204" pitchFamily="34" charset="0"/>
            </a:endParaRPr>
          </a:p>
        </p:txBody>
      </p:sp>
      <p:sp>
        <p:nvSpPr>
          <p:cNvPr id="66" name="Rectangle 65">
            <a:extLst>
              <a:ext uri="{FF2B5EF4-FFF2-40B4-BE49-F238E27FC236}">
                <a16:creationId xmlns:a16="http://schemas.microsoft.com/office/drawing/2014/main" id="{5321217B-3719-4202-AF47-8926412E1DE3}"/>
              </a:ext>
            </a:extLst>
          </p:cNvPr>
          <p:cNvSpPr/>
          <p:nvPr/>
        </p:nvSpPr>
        <p:spPr bwMode="auto">
          <a:xfrm>
            <a:off x="426393" y="1330170"/>
            <a:ext cx="4249024" cy="7621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80975" marR="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The </a:t>
            </a:r>
            <a:r>
              <a:rPr kumimoji="0" lang="en-GB" sz="1000" b="0" i="0" u="none" strike="noStrike" cap="none" normalizeH="0" baseline="0">
                <a:ln>
                  <a:noFill/>
                </a:ln>
                <a:solidFill>
                  <a:schemeClr val="tx2"/>
                </a:solidFill>
                <a:effectLst/>
                <a:latin typeface="Trebuchet MS" panose="020B0603020202020204" pitchFamily="34" charset="0"/>
              </a:rPr>
              <a:t>Covid-19</a:t>
            </a:r>
            <a:r>
              <a:rPr kumimoji="0" lang="en-GB" sz="1000" b="0" i="0" u="none" strike="noStrike" cap="none" normalizeH="0" baseline="0">
                <a:ln>
                  <a:noFill/>
                </a:ln>
                <a:solidFill>
                  <a:schemeClr val="tx1"/>
                </a:solidFill>
                <a:effectLst/>
                <a:latin typeface="Trebuchet MS" panose="020B0603020202020204" pitchFamily="34" charset="0"/>
              </a:rPr>
              <a:t> crisis has led to a significant </a:t>
            </a:r>
            <a:r>
              <a:rPr kumimoji="0" lang="en-GB" sz="1000" b="0" i="0" u="none" strike="noStrike" cap="none" normalizeH="0" baseline="0">
                <a:ln>
                  <a:noFill/>
                </a:ln>
                <a:solidFill>
                  <a:schemeClr val="tx2"/>
                </a:solidFill>
                <a:effectLst/>
                <a:latin typeface="Trebuchet MS" panose="020B0603020202020204" pitchFamily="34" charset="0"/>
              </a:rPr>
              <a:t>contraction</a:t>
            </a:r>
            <a:r>
              <a:rPr kumimoji="0" lang="en-GB" sz="1000" b="0" i="0" u="none" strike="noStrike" cap="none" normalizeH="0" baseline="0">
                <a:ln>
                  <a:noFill/>
                </a:ln>
                <a:solidFill>
                  <a:schemeClr val="tx1"/>
                </a:solidFill>
                <a:effectLst/>
                <a:latin typeface="Trebuchet MS" panose="020B0603020202020204" pitchFamily="34" charset="0"/>
              </a:rPr>
              <a:t> in the </a:t>
            </a:r>
            <a:r>
              <a:rPr kumimoji="0" lang="en-GB" sz="1000" b="0" i="0" u="none" strike="noStrike" cap="none" normalizeH="0" baseline="0">
                <a:ln>
                  <a:noFill/>
                </a:ln>
                <a:solidFill>
                  <a:schemeClr val="tx2"/>
                </a:solidFill>
                <a:effectLst/>
                <a:latin typeface="Trebuchet MS" panose="020B0603020202020204" pitchFamily="34" charset="0"/>
              </a:rPr>
              <a:t>B2B</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marketing</a:t>
            </a:r>
            <a:r>
              <a:rPr kumimoji="0" lang="en-GB" sz="1000" b="0" i="0" u="none" strike="noStrike" cap="none" normalizeH="0" baseline="0">
                <a:ln>
                  <a:noFill/>
                </a:ln>
                <a:solidFill>
                  <a:schemeClr val="tx1"/>
                </a:solidFill>
                <a:effectLst/>
                <a:latin typeface="Trebuchet MS" panose="020B0603020202020204" pitchFamily="34" charset="0"/>
              </a:rPr>
              <a:t> spending of most companies, due to a parallel decrease in prospects' budgets for financing new projects</a:t>
            </a:r>
          </a:p>
        </p:txBody>
      </p:sp>
      <p:sp>
        <p:nvSpPr>
          <p:cNvPr id="67" name="Rectangle 66">
            <a:extLst>
              <a:ext uri="{FF2B5EF4-FFF2-40B4-BE49-F238E27FC236}">
                <a16:creationId xmlns:a16="http://schemas.microsoft.com/office/drawing/2014/main" id="{35040F98-2270-402E-9219-A4FFED1FF05D}"/>
              </a:ext>
            </a:extLst>
          </p:cNvPr>
          <p:cNvSpPr/>
          <p:nvPr/>
        </p:nvSpPr>
        <p:spPr bwMode="auto">
          <a:xfrm>
            <a:off x="5346503" y="1330170"/>
            <a:ext cx="4163932" cy="7621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66700" marR="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The health </a:t>
            </a:r>
            <a:r>
              <a:rPr kumimoji="0" lang="en-GB" sz="1000" b="0" i="0" u="none" strike="noStrike" cap="none" normalizeH="0" baseline="0">
                <a:ln>
                  <a:noFill/>
                </a:ln>
                <a:solidFill>
                  <a:schemeClr val="tx2"/>
                </a:solidFill>
                <a:effectLst/>
                <a:latin typeface="Trebuchet MS" panose="020B0603020202020204" pitchFamily="34" charset="0"/>
              </a:rPr>
              <a:t>constraints</a:t>
            </a:r>
            <a:r>
              <a:rPr kumimoji="0" lang="en-GB" sz="1000" b="0" i="0" u="none" strike="noStrike" cap="none" normalizeH="0" baseline="0">
                <a:ln>
                  <a:noFill/>
                </a:ln>
                <a:solidFill>
                  <a:schemeClr val="tx1"/>
                </a:solidFill>
                <a:effectLst/>
                <a:latin typeface="Trebuchet MS" panose="020B0603020202020204" pitchFamily="34" charset="0"/>
              </a:rPr>
              <a:t> imposed by certain governments (e.g. teleworking, social distancing…) have led to a change in certain customer paths and purchasing </a:t>
            </a:r>
            <a:r>
              <a:rPr kumimoji="0" lang="en-GB" sz="1000" b="0" i="0" u="none" strike="noStrike" cap="none" normalizeH="0" baseline="0" err="1">
                <a:ln>
                  <a:noFill/>
                </a:ln>
                <a:solidFill>
                  <a:schemeClr val="tx1"/>
                </a:solidFill>
                <a:effectLst/>
                <a:latin typeface="Trebuchet MS" panose="020B0603020202020204" pitchFamily="34" charset="0"/>
              </a:rPr>
              <a:t>behavior</a:t>
            </a:r>
            <a:r>
              <a:rPr kumimoji="0" lang="en-GB" sz="1000" b="0" i="0" u="none" strike="noStrike" cap="none" normalizeH="0" baseline="0">
                <a:ln>
                  <a:noFill/>
                </a:ln>
                <a:solidFill>
                  <a:schemeClr val="tx1"/>
                </a:solidFill>
                <a:effectLst/>
                <a:latin typeface="Trebuchet MS" panose="020B0603020202020204" pitchFamily="34" charset="0"/>
              </a:rPr>
              <a:t> by </a:t>
            </a:r>
            <a:r>
              <a:rPr kumimoji="0" lang="en-GB" sz="1000" b="0" i="0" u="none" strike="noStrike" cap="none" normalizeH="0" baseline="0" err="1">
                <a:ln>
                  <a:noFill/>
                </a:ln>
                <a:solidFill>
                  <a:schemeClr val="tx2"/>
                </a:solidFill>
                <a:effectLst/>
                <a:latin typeface="Trebuchet MS" panose="020B0603020202020204" pitchFamily="34" charset="0"/>
              </a:rPr>
              <a:t>favoring</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dematerialized</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channels</a:t>
            </a:r>
          </a:p>
        </p:txBody>
      </p:sp>
      <p:cxnSp>
        <p:nvCxnSpPr>
          <p:cNvPr id="68" name="Connecteur droit 4">
            <a:extLst>
              <a:ext uri="{FF2B5EF4-FFF2-40B4-BE49-F238E27FC236}">
                <a16:creationId xmlns:a16="http://schemas.microsoft.com/office/drawing/2014/main" id="{06D49325-330C-4EB2-8975-AFB640E76FEF}"/>
              </a:ext>
            </a:extLst>
          </p:cNvPr>
          <p:cNvCxnSpPr>
            <a:cxnSpLocks/>
          </p:cNvCxnSpPr>
          <p:nvPr/>
        </p:nvCxnSpPr>
        <p:spPr bwMode="auto">
          <a:xfrm>
            <a:off x="4953000" y="1330170"/>
            <a:ext cx="0" cy="5023005"/>
          </a:xfrm>
          <a:prstGeom prst="line">
            <a:avLst/>
          </a:prstGeom>
          <a:solidFill>
            <a:schemeClr val="accent1"/>
          </a:solidFill>
          <a:ln w="9525" cap="flat" cmpd="sng" algn="ctr">
            <a:solidFill>
              <a:schemeClr val="tx2"/>
            </a:solidFill>
            <a:prstDash val="solid"/>
            <a:round/>
            <a:headEnd type="none" w="med" len="med"/>
            <a:tailEnd type="none" w="med" len="med"/>
          </a:ln>
          <a:effectLst/>
        </p:spPr>
      </p:cxnSp>
      <p:grpSp>
        <p:nvGrpSpPr>
          <p:cNvPr id="69" name="Groupe 68">
            <a:extLst>
              <a:ext uri="{FF2B5EF4-FFF2-40B4-BE49-F238E27FC236}">
                <a16:creationId xmlns:a16="http://schemas.microsoft.com/office/drawing/2014/main" id="{9830A246-ADD1-4778-B3BD-C0629AE5E5D2}"/>
              </a:ext>
            </a:extLst>
          </p:cNvPr>
          <p:cNvGrpSpPr/>
          <p:nvPr/>
        </p:nvGrpSpPr>
        <p:grpSpPr>
          <a:xfrm>
            <a:off x="8448150" y="-11528"/>
            <a:ext cx="1435548" cy="588143"/>
            <a:chOff x="8448150" y="-11528"/>
            <a:chExt cx="1435548" cy="588143"/>
          </a:xfrm>
        </p:grpSpPr>
        <p:grpSp>
          <p:nvGrpSpPr>
            <p:cNvPr id="70" name="Groupe 69">
              <a:extLst>
                <a:ext uri="{FF2B5EF4-FFF2-40B4-BE49-F238E27FC236}">
                  <a16:creationId xmlns:a16="http://schemas.microsoft.com/office/drawing/2014/main" id="{680CCACC-B0EB-4570-B217-81D0DAF3098A}"/>
                </a:ext>
              </a:extLst>
            </p:cNvPr>
            <p:cNvGrpSpPr/>
            <p:nvPr/>
          </p:nvGrpSpPr>
          <p:grpSpPr>
            <a:xfrm>
              <a:off x="8448150" y="-11528"/>
              <a:ext cx="1435548" cy="555653"/>
              <a:chOff x="8448150" y="-11528"/>
              <a:chExt cx="1435548" cy="555653"/>
            </a:xfrm>
          </p:grpSpPr>
          <p:sp>
            <p:nvSpPr>
              <p:cNvPr id="73" name="Rectangle : coins arrondis 199">
                <a:extLst>
                  <a:ext uri="{FF2B5EF4-FFF2-40B4-BE49-F238E27FC236}">
                    <a16:creationId xmlns:a16="http://schemas.microsoft.com/office/drawing/2014/main" id="{BCC518EC-DC7F-413A-8BE3-8092C48A8437}"/>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4" name="Rectangle : coins arrondis 200">
                <a:extLst>
                  <a:ext uri="{FF2B5EF4-FFF2-40B4-BE49-F238E27FC236}">
                    <a16:creationId xmlns:a16="http://schemas.microsoft.com/office/drawing/2014/main" id="{FBBC38A0-820F-448D-BF79-3F32AAE19785}"/>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0" name="Rectangle : coins arrondis 201">
                <a:extLst>
                  <a:ext uri="{FF2B5EF4-FFF2-40B4-BE49-F238E27FC236}">
                    <a16:creationId xmlns:a16="http://schemas.microsoft.com/office/drawing/2014/main" id="{FC50BA78-639D-4689-9EDB-9FFAEB3EC742}"/>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1" name="ZoneTexte 18">
                <a:extLst>
                  <a:ext uri="{FF2B5EF4-FFF2-40B4-BE49-F238E27FC236}">
                    <a16:creationId xmlns:a16="http://schemas.microsoft.com/office/drawing/2014/main" id="{C40295D7-119F-4483-996D-D2FB05366CC4}"/>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82" name="Graphique 128" descr="Jauge">
                <a:extLst>
                  <a:ext uri="{FF2B5EF4-FFF2-40B4-BE49-F238E27FC236}">
                    <a16:creationId xmlns:a16="http://schemas.microsoft.com/office/drawing/2014/main" id="{E338215E-E289-4F6A-B745-C2AA5C56D53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3764" y="187516"/>
                <a:ext cx="234953" cy="218224"/>
              </a:xfrm>
              <a:prstGeom prst="rect">
                <a:avLst/>
              </a:prstGeom>
              <a:effectLst/>
            </p:spPr>
          </p:pic>
          <p:pic>
            <p:nvPicPr>
              <p:cNvPr id="83" name="Graphique 90" descr="Poignée de main">
                <a:extLst>
                  <a:ext uri="{FF2B5EF4-FFF2-40B4-BE49-F238E27FC236}">
                    <a16:creationId xmlns:a16="http://schemas.microsoft.com/office/drawing/2014/main" id="{9371AEAD-0BBB-4EE4-8305-16494D1397A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60868" y="152880"/>
                <a:ext cx="256313" cy="287496"/>
              </a:xfrm>
              <a:prstGeom prst="rect">
                <a:avLst/>
              </a:prstGeom>
              <a:effectLst/>
            </p:spPr>
          </p:pic>
          <p:pic>
            <p:nvPicPr>
              <p:cNvPr id="84" name="Graphique 74" descr="Mégaphone">
                <a:extLst>
                  <a:ext uri="{FF2B5EF4-FFF2-40B4-BE49-F238E27FC236}">
                    <a16:creationId xmlns:a16="http://schemas.microsoft.com/office/drawing/2014/main" id="{F000539C-4630-483F-B571-EC7023D3E1E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89331" y="181519"/>
                <a:ext cx="233011" cy="216420"/>
              </a:xfrm>
              <a:prstGeom prst="rect">
                <a:avLst/>
              </a:prstGeom>
              <a:effectLst/>
            </p:spPr>
          </p:pic>
          <p:pic>
            <p:nvPicPr>
              <p:cNvPr id="85" name="Picture 2" descr="Drapeau France">
                <a:extLst>
                  <a:ext uri="{FF2B5EF4-FFF2-40B4-BE49-F238E27FC236}">
                    <a16:creationId xmlns:a16="http://schemas.microsoft.com/office/drawing/2014/main" id="{EA59A49C-A0F0-4ACC-8F1C-0783B9C05F7B}"/>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86" name="Picture 2" descr="5 ft x 3 ft 150 x 90 cm-DRAPEAU BELGE Belgique 100% Polyester ...">
                <a:extLst>
                  <a:ext uri="{FF2B5EF4-FFF2-40B4-BE49-F238E27FC236}">
                    <a16:creationId xmlns:a16="http://schemas.microsoft.com/office/drawing/2014/main" id="{B9805DA4-AC4E-40CA-8A79-1434A0E41323}"/>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87" name="Picture 2 - 1" descr="Drapeau des Pays-Bas — Wikipédia">
                <a:extLst>
                  <a:ext uri="{FF2B5EF4-FFF2-40B4-BE49-F238E27FC236}">
                    <a16:creationId xmlns:a16="http://schemas.microsoft.com/office/drawing/2014/main" id="{ED1FE6B1-B2A1-4651-A4B1-894DDB7ECC6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8" name="Picture 2 - 2" descr="Drapeau du Luxembourg">
                <a:extLst>
                  <a:ext uri="{FF2B5EF4-FFF2-40B4-BE49-F238E27FC236}">
                    <a16:creationId xmlns:a16="http://schemas.microsoft.com/office/drawing/2014/main" id="{66622BBF-234E-46D0-AD04-A1ECF8432FC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72" name="ZoneTexte 18">
              <a:extLst>
                <a:ext uri="{FF2B5EF4-FFF2-40B4-BE49-F238E27FC236}">
                  <a16:creationId xmlns:a16="http://schemas.microsoft.com/office/drawing/2014/main" id="{9F50F4DC-D1EC-4CF4-B3D9-8AD8E157A422}"/>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2B Marketing</a:t>
              </a:r>
            </a:p>
          </p:txBody>
        </p:sp>
      </p:grpSp>
      <p:sp>
        <p:nvSpPr>
          <p:cNvPr id="89" name="Rectangle 88">
            <a:extLst>
              <a:ext uri="{FF2B5EF4-FFF2-40B4-BE49-F238E27FC236}">
                <a16:creationId xmlns:a16="http://schemas.microsoft.com/office/drawing/2014/main" id="{B97D26A5-5A9B-4DEE-87CD-0DE84E570153}"/>
              </a:ext>
            </a:extLst>
          </p:cNvPr>
          <p:cNvSpPr/>
          <p:nvPr/>
        </p:nvSpPr>
        <p:spPr bwMode="auto">
          <a:xfrm>
            <a:off x="7760523" y="4603501"/>
            <a:ext cx="993276" cy="3307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Traditional sales interactions</a:t>
            </a:r>
            <a:endParaRPr kumimoji="0" lang="en-GB" sz="900" b="0" u="none" strike="noStrike" cap="none" normalizeH="0" baseline="0">
              <a:ln>
                <a:noFill/>
              </a:ln>
              <a:solidFill>
                <a:schemeClr val="tx1"/>
              </a:solidFill>
              <a:effectLst/>
              <a:latin typeface="Trebuchet MS" panose="020B0603020202020204" pitchFamily="34" charset="0"/>
            </a:endParaRPr>
          </a:p>
        </p:txBody>
      </p:sp>
      <p:sp>
        <p:nvSpPr>
          <p:cNvPr id="90" name="Rectangle 89">
            <a:extLst>
              <a:ext uri="{FF2B5EF4-FFF2-40B4-BE49-F238E27FC236}">
                <a16:creationId xmlns:a16="http://schemas.microsoft.com/office/drawing/2014/main" id="{6BAA9D31-40D9-4DD8-A7C1-638AD348C251}"/>
              </a:ext>
            </a:extLst>
          </p:cNvPr>
          <p:cNvSpPr/>
          <p:nvPr/>
        </p:nvSpPr>
        <p:spPr bwMode="auto">
          <a:xfrm>
            <a:off x="8588334" y="4651232"/>
            <a:ext cx="866035" cy="3307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Digital-enabled sales interactions</a:t>
            </a:r>
            <a:endParaRPr kumimoji="0" lang="en-GB" sz="900" b="0" u="none" strike="noStrike" cap="none" normalizeH="0" baseline="0">
              <a:ln>
                <a:noFill/>
              </a:ln>
              <a:solidFill>
                <a:schemeClr val="tx1"/>
              </a:solidFill>
              <a:effectLst/>
              <a:latin typeface="Trebuchet MS" panose="020B0603020202020204" pitchFamily="34" charset="0"/>
            </a:endParaRPr>
          </a:p>
        </p:txBody>
      </p:sp>
      <p:sp>
        <p:nvSpPr>
          <p:cNvPr id="5" name="Rectangle 4">
            <a:extLst>
              <a:ext uri="{FF2B5EF4-FFF2-40B4-BE49-F238E27FC236}">
                <a16:creationId xmlns:a16="http://schemas.microsoft.com/office/drawing/2014/main" id="{6CE5C42E-C6D8-4BA7-B0A8-2F7387E8111B}"/>
              </a:ext>
            </a:extLst>
          </p:cNvPr>
          <p:cNvSpPr/>
          <p:nvPr/>
        </p:nvSpPr>
        <p:spPr bwMode="auto">
          <a:xfrm>
            <a:off x="3235085" y="2758174"/>
            <a:ext cx="212385" cy="147755"/>
          </a:xfrm>
          <a:prstGeom prst="rect">
            <a:avLst/>
          </a:prstGeom>
          <a:solidFill>
            <a:srgbClr val="9BE5A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1" name="Rectangle 90">
            <a:extLst>
              <a:ext uri="{FF2B5EF4-FFF2-40B4-BE49-F238E27FC236}">
                <a16:creationId xmlns:a16="http://schemas.microsoft.com/office/drawing/2014/main" id="{90D3D37C-F5BB-476B-A8A3-24AA4E8CEB87}"/>
              </a:ext>
            </a:extLst>
          </p:cNvPr>
          <p:cNvSpPr/>
          <p:nvPr/>
        </p:nvSpPr>
        <p:spPr bwMode="auto">
          <a:xfrm>
            <a:off x="3235085" y="3402832"/>
            <a:ext cx="212385" cy="147755"/>
          </a:xfrm>
          <a:prstGeom prst="rect">
            <a:avLst/>
          </a:prstGeom>
          <a:solidFill>
            <a:srgbClr val="69D87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2" name="Rectangle 91">
            <a:extLst>
              <a:ext uri="{FF2B5EF4-FFF2-40B4-BE49-F238E27FC236}">
                <a16:creationId xmlns:a16="http://schemas.microsoft.com/office/drawing/2014/main" id="{D3F1E75C-C03C-4CEC-B769-84343CA7F5D7}"/>
              </a:ext>
            </a:extLst>
          </p:cNvPr>
          <p:cNvSpPr/>
          <p:nvPr/>
        </p:nvSpPr>
        <p:spPr bwMode="auto">
          <a:xfrm>
            <a:off x="3235085" y="3926079"/>
            <a:ext cx="212385" cy="147755"/>
          </a:xfrm>
          <a:prstGeom prst="rect">
            <a:avLst/>
          </a:prstGeom>
          <a:solidFill>
            <a:srgbClr val="1E742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3" name="Rectangle 92">
            <a:extLst>
              <a:ext uri="{FF2B5EF4-FFF2-40B4-BE49-F238E27FC236}">
                <a16:creationId xmlns:a16="http://schemas.microsoft.com/office/drawing/2014/main" id="{29E9CCDC-BEF6-4582-B3BA-9C660FA491C1}"/>
              </a:ext>
            </a:extLst>
          </p:cNvPr>
          <p:cNvSpPr/>
          <p:nvPr/>
        </p:nvSpPr>
        <p:spPr bwMode="auto">
          <a:xfrm>
            <a:off x="3432558" y="2720544"/>
            <a:ext cx="1453287" cy="3307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Increase of marketing spending (between 4 to 25% increase)</a:t>
            </a:r>
            <a:endParaRPr kumimoji="0" lang="en-GB" sz="900" b="0" u="none" strike="noStrike" cap="none" normalizeH="0" baseline="0">
              <a:ln>
                <a:noFill/>
              </a:ln>
              <a:solidFill>
                <a:schemeClr val="tx1"/>
              </a:solidFill>
              <a:effectLst/>
              <a:latin typeface="Trebuchet MS" panose="020B0603020202020204" pitchFamily="34" charset="0"/>
            </a:endParaRPr>
          </a:p>
        </p:txBody>
      </p:sp>
      <p:sp>
        <p:nvSpPr>
          <p:cNvPr id="94" name="Rectangle 93">
            <a:extLst>
              <a:ext uri="{FF2B5EF4-FFF2-40B4-BE49-F238E27FC236}">
                <a16:creationId xmlns:a16="http://schemas.microsoft.com/office/drawing/2014/main" id="{E8760EBC-16A9-4D0D-BA07-847C766AAEB5}"/>
              </a:ext>
            </a:extLst>
          </p:cNvPr>
          <p:cNvSpPr/>
          <p:nvPr/>
        </p:nvSpPr>
        <p:spPr bwMode="auto">
          <a:xfrm>
            <a:off x="3432559" y="3357580"/>
            <a:ext cx="1597872" cy="3307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No evolution of marketing spending (+/- 3%)</a:t>
            </a:r>
            <a:endParaRPr kumimoji="0" lang="en-GB" sz="900" b="0" u="none" strike="noStrike" cap="none" normalizeH="0" baseline="0">
              <a:ln>
                <a:noFill/>
              </a:ln>
              <a:solidFill>
                <a:schemeClr val="tx1"/>
              </a:solidFill>
              <a:effectLst/>
              <a:latin typeface="Trebuchet MS" panose="020B0603020202020204" pitchFamily="34" charset="0"/>
            </a:endParaRPr>
          </a:p>
        </p:txBody>
      </p:sp>
      <p:sp>
        <p:nvSpPr>
          <p:cNvPr id="95" name="Rectangle 94">
            <a:extLst>
              <a:ext uri="{FF2B5EF4-FFF2-40B4-BE49-F238E27FC236}">
                <a16:creationId xmlns:a16="http://schemas.microsoft.com/office/drawing/2014/main" id="{B28168DB-4AE3-4F31-B0F4-C3ACFAD593AB}"/>
              </a:ext>
            </a:extLst>
          </p:cNvPr>
          <p:cNvSpPr/>
          <p:nvPr/>
        </p:nvSpPr>
        <p:spPr bwMode="auto">
          <a:xfrm>
            <a:off x="3432559" y="3911420"/>
            <a:ext cx="1466415" cy="3307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Reduction of marketing spending (between 4 and 25% decrease)</a:t>
            </a:r>
            <a:endParaRPr kumimoji="0" lang="en-GB" sz="900" b="0" u="none" strike="noStrike" cap="none" normalizeH="0" baseline="0">
              <a:ln>
                <a:noFill/>
              </a:ln>
              <a:solidFill>
                <a:schemeClr val="tx1"/>
              </a:solidFill>
              <a:effectLst/>
              <a:latin typeface="Trebuchet MS" panose="020B0603020202020204" pitchFamily="34" charset="0"/>
            </a:endParaRPr>
          </a:p>
        </p:txBody>
      </p:sp>
      <p:grpSp>
        <p:nvGrpSpPr>
          <p:cNvPr id="62" name="Groupe 21">
            <a:extLst>
              <a:ext uri="{FF2B5EF4-FFF2-40B4-BE49-F238E27FC236}">
                <a16:creationId xmlns:a16="http://schemas.microsoft.com/office/drawing/2014/main" id="{F2A60029-2CE0-4E38-BA8B-574370EA10FE}"/>
              </a:ext>
            </a:extLst>
          </p:cNvPr>
          <p:cNvGrpSpPr/>
          <p:nvPr/>
        </p:nvGrpSpPr>
        <p:grpSpPr>
          <a:xfrm>
            <a:off x="165600" y="1476948"/>
            <a:ext cx="451426" cy="455941"/>
            <a:chOff x="195390" y="5861727"/>
            <a:chExt cx="335805" cy="335805"/>
          </a:xfrm>
        </p:grpSpPr>
        <p:sp>
          <p:nvSpPr>
            <p:cNvPr id="63" name="Ellipse 22">
              <a:extLst>
                <a:ext uri="{FF2B5EF4-FFF2-40B4-BE49-F238E27FC236}">
                  <a16:creationId xmlns:a16="http://schemas.microsoft.com/office/drawing/2014/main" id="{11923E20-5CEE-4597-9696-211DA200441F}"/>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96" name="Group 5">
              <a:extLst>
                <a:ext uri="{FF2B5EF4-FFF2-40B4-BE49-F238E27FC236}">
                  <a16:creationId xmlns:a16="http://schemas.microsoft.com/office/drawing/2014/main" id="{EAC89907-406B-41C7-8078-1D019B1F2082}"/>
                </a:ext>
              </a:extLst>
            </p:cNvPr>
            <p:cNvGrpSpPr>
              <a:grpSpLocks noChangeAspect="1"/>
            </p:cNvGrpSpPr>
            <p:nvPr/>
          </p:nvGrpSpPr>
          <p:grpSpPr bwMode="auto">
            <a:xfrm>
              <a:off x="249663" y="5915997"/>
              <a:ext cx="227258" cy="227255"/>
              <a:chOff x="788" y="800"/>
              <a:chExt cx="742" cy="742"/>
            </a:xfrm>
            <a:solidFill>
              <a:schemeClr val="tx2"/>
            </a:solidFill>
          </p:grpSpPr>
          <p:sp>
            <p:nvSpPr>
              <p:cNvPr id="97" name="Freeform 6">
                <a:extLst>
                  <a:ext uri="{FF2B5EF4-FFF2-40B4-BE49-F238E27FC236}">
                    <a16:creationId xmlns:a16="http://schemas.microsoft.com/office/drawing/2014/main" id="{67FC50C3-D5E7-479B-A869-78F951AFC7A0}"/>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8" name="Freeform 7">
                <a:extLst>
                  <a:ext uri="{FF2B5EF4-FFF2-40B4-BE49-F238E27FC236}">
                    <a16:creationId xmlns:a16="http://schemas.microsoft.com/office/drawing/2014/main" id="{BA1DFD4C-3988-42DF-91D6-841C7061D408}"/>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9" name="Freeform 8">
                <a:extLst>
                  <a:ext uri="{FF2B5EF4-FFF2-40B4-BE49-F238E27FC236}">
                    <a16:creationId xmlns:a16="http://schemas.microsoft.com/office/drawing/2014/main" id="{F8C2FA93-5A6D-480E-B1C7-A7D124441EEC}"/>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00" name="Freeform 9">
                <a:extLst>
                  <a:ext uri="{FF2B5EF4-FFF2-40B4-BE49-F238E27FC236}">
                    <a16:creationId xmlns:a16="http://schemas.microsoft.com/office/drawing/2014/main" id="{C3A53F6A-5273-4CF9-A5D1-0137AAD84A10}"/>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01" name="Freeform 10">
                <a:extLst>
                  <a:ext uri="{FF2B5EF4-FFF2-40B4-BE49-F238E27FC236}">
                    <a16:creationId xmlns:a16="http://schemas.microsoft.com/office/drawing/2014/main" id="{74B852B2-036B-497C-884E-818B86CB4EF9}"/>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02" name="Freeform 11">
                <a:extLst>
                  <a:ext uri="{FF2B5EF4-FFF2-40B4-BE49-F238E27FC236}">
                    <a16:creationId xmlns:a16="http://schemas.microsoft.com/office/drawing/2014/main" id="{9AE2A305-063F-45FA-8FA8-497C2E68411E}"/>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03" name="Freeform 12">
                <a:extLst>
                  <a:ext uri="{FF2B5EF4-FFF2-40B4-BE49-F238E27FC236}">
                    <a16:creationId xmlns:a16="http://schemas.microsoft.com/office/drawing/2014/main" id="{E80AD246-ADB0-4BD9-B26F-55C57B03A870}"/>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grpSp>
        <p:nvGrpSpPr>
          <p:cNvPr id="104" name="Groupe 21">
            <a:extLst>
              <a:ext uri="{FF2B5EF4-FFF2-40B4-BE49-F238E27FC236}">
                <a16:creationId xmlns:a16="http://schemas.microsoft.com/office/drawing/2014/main" id="{03C55DAE-9F40-4F3F-8523-74A95F9872E2}"/>
              </a:ext>
            </a:extLst>
          </p:cNvPr>
          <p:cNvGrpSpPr/>
          <p:nvPr/>
        </p:nvGrpSpPr>
        <p:grpSpPr>
          <a:xfrm>
            <a:off x="5103580" y="1476948"/>
            <a:ext cx="451426" cy="455941"/>
            <a:chOff x="195390" y="5861727"/>
            <a:chExt cx="335805" cy="335805"/>
          </a:xfrm>
        </p:grpSpPr>
        <p:sp>
          <p:nvSpPr>
            <p:cNvPr id="105" name="Ellipse 22">
              <a:extLst>
                <a:ext uri="{FF2B5EF4-FFF2-40B4-BE49-F238E27FC236}">
                  <a16:creationId xmlns:a16="http://schemas.microsoft.com/office/drawing/2014/main" id="{1C210F1A-9F47-4038-8EE2-4D0FC0C2497D}"/>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106" name="Group 5">
              <a:extLst>
                <a:ext uri="{FF2B5EF4-FFF2-40B4-BE49-F238E27FC236}">
                  <a16:creationId xmlns:a16="http://schemas.microsoft.com/office/drawing/2014/main" id="{A93E0685-0484-4557-B021-7D0DC885301E}"/>
                </a:ext>
              </a:extLst>
            </p:cNvPr>
            <p:cNvGrpSpPr>
              <a:grpSpLocks noChangeAspect="1"/>
            </p:cNvGrpSpPr>
            <p:nvPr/>
          </p:nvGrpSpPr>
          <p:grpSpPr bwMode="auto">
            <a:xfrm>
              <a:off x="249663" y="5915997"/>
              <a:ext cx="227258" cy="227255"/>
              <a:chOff x="788" y="800"/>
              <a:chExt cx="742" cy="742"/>
            </a:xfrm>
            <a:solidFill>
              <a:schemeClr val="tx2"/>
            </a:solidFill>
          </p:grpSpPr>
          <p:sp>
            <p:nvSpPr>
              <p:cNvPr id="107" name="Freeform 6">
                <a:extLst>
                  <a:ext uri="{FF2B5EF4-FFF2-40B4-BE49-F238E27FC236}">
                    <a16:creationId xmlns:a16="http://schemas.microsoft.com/office/drawing/2014/main" id="{B680EC2B-E6FD-4DA0-BB81-FFEF76B94CA0}"/>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08" name="Freeform 7">
                <a:extLst>
                  <a:ext uri="{FF2B5EF4-FFF2-40B4-BE49-F238E27FC236}">
                    <a16:creationId xmlns:a16="http://schemas.microsoft.com/office/drawing/2014/main" id="{215D5D37-6024-4B38-AEF5-FD9039A3C784}"/>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09" name="Freeform 8">
                <a:extLst>
                  <a:ext uri="{FF2B5EF4-FFF2-40B4-BE49-F238E27FC236}">
                    <a16:creationId xmlns:a16="http://schemas.microsoft.com/office/drawing/2014/main" id="{668CA120-5DED-4468-A538-FDF176064A63}"/>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10" name="Freeform 9">
                <a:extLst>
                  <a:ext uri="{FF2B5EF4-FFF2-40B4-BE49-F238E27FC236}">
                    <a16:creationId xmlns:a16="http://schemas.microsoft.com/office/drawing/2014/main" id="{6DFAB300-701A-4B8F-95DB-ED50A3AD63A0}"/>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11" name="Freeform 10">
                <a:extLst>
                  <a:ext uri="{FF2B5EF4-FFF2-40B4-BE49-F238E27FC236}">
                    <a16:creationId xmlns:a16="http://schemas.microsoft.com/office/drawing/2014/main" id="{E39C98A6-C846-4C6A-91E5-7566EBDA39FE}"/>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12" name="Freeform 11">
                <a:extLst>
                  <a:ext uri="{FF2B5EF4-FFF2-40B4-BE49-F238E27FC236}">
                    <a16:creationId xmlns:a16="http://schemas.microsoft.com/office/drawing/2014/main" id="{854F6C40-5093-4216-9730-2E366C9DF5C5}"/>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13" name="Freeform 12">
                <a:extLst>
                  <a:ext uri="{FF2B5EF4-FFF2-40B4-BE49-F238E27FC236}">
                    <a16:creationId xmlns:a16="http://schemas.microsoft.com/office/drawing/2014/main" id="{36CE28A4-FB9D-4320-B30E-181622C5E085}"/>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pic>
        <p:nvPicPr>
          <p:cNvPr id="114" name="Picture 2" descr="Drapeau France">
            <a:extLst>
              <a:ext uri="{FF2B5EF4-FFF2-40B4-BE49-F238E27FC236}">
                <a16:creationId xmlns:a16="http://schemas.microsoft.com/office/drawing/2014/main" id="{C80B9651-E550-4554-80AF-E3E612DF91BB}"/>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2471138" y="4796839"/>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 name="Bulle narrative : rectangle 5">
            <a:extLst>
              <a:ext uri="{FF2B5EF4-FFF2-40B4-BE49-F238E27FC236}">
                <a16:creationId xmlns:a16="http://schemas.microsoft.com/office/drawing/2014/main" id="{8EC44BB7-1653-45AC-956F-7AD3125E2E0D}"/>
              </a:ext>
            </a:extLst>
          </p:cNvPr>
          <p:cNvSpPr/>
          <p:nvPr/>
        </p:nvSpPr>
        <p:spPr bwMode="auto">
          <a:xfrm>
            <a:off x="3104713" y="4501277"/>
            <a:ext cx="1649961" cy="640254"/>
          </a:xfrm>
          <a:prstGeom prst="wedgeRectCallout">
            <a:avLst>
              <a:gd name="adj1" fmla="val -71778"/>
              <a:gd name="adj2" fmla="val -96845"/>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1" u="none" strike="noStrike" cap="none" normalizeH="0" baseline="0">
                <a:ln>
                  <a:noFill/>
                </a:ln>
                <a:solidFill>
                  <a:schemeClr val="tx1"/>
                </a:solidFill>
                <a:effectLst/>
                <a:latin typeface="Trebuchet MS" pitchFamily="34" charset="0"/>
              </a:rPr>
              <a:t>Reading insight</a:t>
            </a:r>
            <a:r>
              <a:rPr kumimoji="0" lang="en-GB" sz="800" b="0" i="0" u="none" strike="noStrike" cap="none" normalizeH="0" baseline="0">
                <a:ln>
                  <a:noFill/>
                </a:ln>
                <a:solidFill>
                  <a:schemeClr val="tx1"/>
                </a:solidFill>
                <a:effectLst/>
                <a:latin typeface="Trebuchet MS" pitchFamily="34" charset="0"/>
              </a:rPr>
              <a:t>:  63% of French marketing &amp; commercial directors have reduced their marketing spending with the Covid-19 crisis</a:t>
            </a:r>
          </a:p>
        </p:txBody>
      </p:sp>
      <p:pic>
        <p:nvPicPr>
          <p:cNvPr id="10" name="Graphique 9" descr="Globe terrestre : Amériques">
            <a:extLst>
              <a:ext uri="{FF2B5EF4-FFF2-40B4-BE49-F238E27FC236}">
                <a16:creationId xmlns:a16="http://schemas.microsoft.com/office/drawing/2014/main" id="{DC0D09D1-0701-4B22-99A6-726E3CC33132}"/>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23970" y="4781848"/>
            <a:ext cx="330146" cy="330146"/>
          </a:xfrm>
          <a:prstGeom prst="rect">
            <a:avLst/>
          </a:prstGeom>
        </p:spPr>
      </p:pic>
    </p:spTree>
    <p:extLst>
      <p:ext uri="{BB962C8B-B14F-4D97-AF65-F5344CB8AC3E}">
        <p14:creationId xmlns:p14="http://schemas.microsoft.com/office/powerpoint/2010/main" val="2596497667"/>
      </p:ext>
    </p:extLst>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E29950-9222-4340-87A9-F71DECD42118}"/>
              </a:ext>
            </a:extLst>
          </p:cNvPr>
          <p:cNvGraphicFramePr>
            <a:graphicFrameLocks noChangeAspect="1"/>
          </p:cNvGraphicFramePr>
          <p:nvPr>
            <p:custDataLst>
              <p:tags r:id="rId1"/>
            </p:custDataLst>
            <p:extLst>
              <p:ext uri="{D42A27DB-BD31-4B8C-83A1-F6EECF244321}">
                <p14:modId xmlns:p14="http://schemas.microsoft.com/office/powerpoint/2010/main" val="92520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6BE29950-9222-4340-87A9-F71DECD421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FFA6C4-FB36-4810-8985-357F47AC8D3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pic>
        <p:nvPicPr>
          <p:cNvPr id="56" name="Picture 2 - 1" descr="Drapeau des Pays-Bas — Wikipédia">
            <a:extLst>
              <a:ext uri="{FF2B5EF4-FFF2-40B4-BE49-F238E27FC236}">
                <a16:creationId xmlns:a16="http://schemas.microsoft.com/office/drawing/2014/main" id="{F49D5E34-80E5-4CFD-9344-E1CB277DD7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38092" y="1830120"/>
            <a:ext cx="238894"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49" name="ZoneTexte 8">
            <a:extLst>
              <a:ext uri="{FF2B5EF4-FFF2-40B4-BE49-F238E27FC236}">
                <a16:creationId xmlns:a16="http://schemas.microsoft.com/office/drawing/2014/main" id="{E0225A4B-B6B2-412D-9094-8CAF2F61B597}"/>
              </a:ext>
            </a:extLst>
          </p:cNvPr>
          <p:cNvSpPr txBox="1"/>
          <p:nvPr/>
        </p:nvSpPr>
        <p:spPr>
          <a:xfrm>
            <a:off x="5307221" y="1775590"/>
            <a:ext cx="4377797" cy="246221"/>
          </a:xfrm>
          <a:prstGeom prst="rect">
            <a:avLst/>
          </a:prstGeom>
          <a:noFill/>
        </p:spPr>
        <p:txBody>
          <a:bodyPr wrap="square" rtlCol="0">
            <a:spAutoFit/>
          </a:bodyPr>
          <a:lstStyle/>
          <a:p>
            <a:pPr algn="ctr"/>
            <a:r>
              <a:rPr lang="en-GB" sz="1000" i="1">
                <a:latin typeface="Trebuchet MS" panose="020B0603020202020204" pitchFamily="34" charset="0"/>
              </a:rPr>
              <a:t>Benelux B2B marketing market revenue evolution, in €m, 2017-2023</a:t>
            </a:r>
            <a:endParaRPr lang="en-GB" sz="1000" i="1" baseline="30000">
              <a:latin typeface="Trebuchet MS" panose="020B0603020202020204" pitchFamily="34" charset="0"/>
            </a:endParaRPr>
          </a:p>
        </p:txBody>
      </p:sp>
      <p:cxnSp>
        <p:nvCxnSpPr>
          <p:cNvPr id="39" name="Connecteur droit 38">
            <a:extLst>
              <a:ext uri="{FF2B5EF4-FFF2-40B4-BE49-F238E27FC236}">
                <a16:creationId xmlns:a16="http://schemas.microsoft.com/office/drawing/2014/main" id="{41C44781-C15D-4373-A95D-F73EC192A728}"/>
              </a:ext>
            </a:extLst>
          </p:cNvPr>
          <p:cNvCxnSpPr>
            <a:cxnSpLocks/>
          </p:cNvCxnSpPr>
          <p:nvPr/>
        </p:nvCxnSpPr>
        <p:spPr bwMode="auto">
          <a:xfrm>
            <a:off x="272227" y="1074815"/>
            <a:ext cx="9297901"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 name="Titre 1">
            <a:extLst>
              <a:ext uri="{FF2B5EF4-FFF2-40B4-BE49-F238E27FC236}">
                <a16:creationId xmlns:a16="http://schemas.microsoft.com/office/drawing/2014/main" id="{2881A290-A964-4589-8D4A-32237EA140FB}"/>
              </a:ext>
            </a:extLst>
          </p:cNvPr>
          <p:cNvSpPr>
            <a:spLocks noGrp="1"/>
          </p:cNvSpPr>
          <p:nvPr>
            <p:ph type="title"/>
          </p:nvPr>
        </p:nvSpPr>
        <p:spPr>
          <a:xfrm>
            <a:off x="165600" y="147600"/>
            <a:ext cx="8388164" cy="684000"/>
          </a:xfrm>
        </p:spPr>
        <p:txBody>
          <a:bodyPr/>
          <a:lstStyle/>
          <a:p>
            <a:r>
              <a:rPr lang="en-GB" dirty="0">
                <a:latin typeface="Trebuchet MS" panose="020B0603020202020204" pitchFamily="34" charset="0"/>
              </a:rPr>
              <a:t>The </a:t>
            </a:r>
            <a:r>
              <a:rPr lang="en-GB" dirty="0">
                <a:solidFill>
                  <a:schemeClr val="tx2"/>
                </a:solidFill>
                <a:latin typeface="Trebuchet MS" panose="020B0603020202020204" pitchFamily="34" charset="0"/>
              </a:rPr>
              <a:t>B2B prospect qualification</a:t>
            </a:r>
            <a:r>
              <a:rPr lang="en-GB" dirty="0">
                <a:latin typeface="Trebuchet MS" panose="020B0603020202020204" pitchFamily="34" charset="0"/>
              </a:rPr>
              <a:t> market </a:t>
            </a:r>
            <a:r>
              <a:rPr lang="en-GB" dirty="0">
                <a:solidFill>
                  <a:schemeClr val="tx2"/>
                </a:solidFill>
                <a:latin typeface="Trebuchet MS" panose="020B0603020202020204" pitchFamily="34" charset="0"/>
              </a:rPr>
              <a:t>growth</a:t>
            </a:r>
            <a:r>
              <a:rPr lang="en-GB" dirty="0">
                <a:latin typeface="Trebuchet MS" panose="020B0603020202020204" pitchFamily="34" charset="0"/>
              </a:rPr>
              <a:t> is mainly driven by the </a:t>
            </a:r>
            <a:r>
              <a:rPr lang="en-GB" dirty="0">
                <a:solidFill>
                  <a:schemeClr val="tx2"/>
                </a:solidFill>
                <a:latin typeface="Trebuchet MS" panose="020B0603020202020204" pitchFamily="34" charset="0"/>
              </a:rPr>
              <a:t>upstream part of the value chain</a:t>
            </a:r>
            <a:r>
              <a:rPr lang="en-GB" dirty="0">
                <a:latin typeface="Trebuchet MS" panose="020B0603020202020204" pitchFamily="34" charset="0"/>
              </a:rPr>
              <a:t>, i.e. the creation, cleansing and continuous enrichment of a database</a:t>
            </a:r>
          </a:p>
        </p:txBody>
      </p:sp>
      <p:sp>
        <p:nvSpPr>
          <p:cNvPr id="3" name="Espace réservé du texte 2">
            <a:extLst>
              <a:ext uri="{FF2B5EF4-FFF2-40B4-BE49-F238E27FC236}">
                <a16:creationId xmlns:a16="http://schemas.microsoft.com/office/drawing/2014/main" id="{7D73B612-83D0-4797-9341-963BC626A21C}"/>
              </a:ext>
            </a:extLst>
          </p:cNvPr>
          <p:cNvSpPr>
            <a:spLocks noGrp="1"/>
          </p:cNvSpPr>
          <p:nvPr>
            <p:ph type="body" sz="quarter" idx="10"/>
          </p:nvPr>
        </p:nvSpPr>
        <p:spPr/>
        <p:txBody>
          <a:bodyPr/>
          <a:lstStyle/>
          <a:p>
            <a:r>
              <a:rPr lang="en-GB"/>
              <a:t>Sources: eleven research &amp; analysis, expert calls</a:t>
            </a:r>
          </a:p>
        </p:txBody>
      </p:sp>
      <p:sp>
        <p:nvSpPr>
          <p:cNvPr id="32" name="ZoneTexte 31">
            <a:extLst>
              <a:ext uri="{FF2B5EF4-FFF2-40B4-BE49-F238E27FC236}">
                <a16:creationId xmlns:a16="http://schemas.microsoft.com/office/drawing/2014/main" id="{1A2AE403-F44D-4CF2-9ED1-5D62CEA6FBD0}"/>
              </a:ext>
            </a:extLst>
          </p:cNvPr>
          <p:cNvSpPr txBox="1"/>
          <p:nvPr/>
        </p:nvSpPr>
        <p:spPr>
          <a:xfrm>
            <a:off x="3231456" y="944010"/>
            <a:ext cx="3379444" cy="261610"/>
          </a:xfrm>
          <a:prstGeom prst="rect">
            <a:avLst/>
          </a:prstGeom>
          <a:solidFill>
            <a:schemeClr val="bg1"/>
          </a:solidFill>
        </p:spPr>
        <p:txBody>
          <a:bodyPr wrap="square" rtlCol="0">
            <a:spAutoFit/>
          </a:bodyPr>
          <a:lstStyle/>
          <a:p>
            <a:pPr algn="ctr"/>
            <a:r>
              <a:rPr lang="en-GB" sz="1100">
                <a:latin typeface="Trebuchet MS" panose="020B0603020202020204" pitchFamily="34" charset="0"/>
              </a:rPr>
              <a:t>B2B prospect generation market size estimation</a:t>
            </a:r>
          </a:p>
        </p:txBody>
      </p:sp>
      <p:cxnSp>
        <p:nvCxnSpPr>
          <p:cNvPr id="43" name="Connecteur droit 42">
            <a:extLst>
              <a:ext uri="{FF2B5EF4-FFF2-40B4-BE49-F238E27FC236}">
                <a16:creationId xmlns:a16="http://schemas.microsoft.com/office/drawing/2014/main" id="{70569A66-192C-4452-9756-F82E2601CF47}"/>
              </a:ext>
            </a:extLst>
          </p:cNvPr>
          <p:cNvCxnSpPr>
            <a:cxnSpLocks/>
          </p:cNvCxnSpPr>
          <p:nvPr/>
        </p:nvCxnSpPr>
        <p:spPr bwMode="auto">
          <a:xfrm>
            <a:off x="4953000" y="1816636"/>
            <a:ext cx="1" cy="2876892"/>
          </a:xfrm>
          <a:prstGeom prst="line">
            <a:avLst/>
          </a:prstGeom>
          <a:solidFill>
            <a:schemeClr val="accent1"/>
          </a:solidFill>
          <a:ln w="9525" cap="flat" cmpd="sng" algn="ctr">
            <a:solidFill>
              <a:schemeClr val="bg2"/>
            </a:solidFill>
            <a:prstDash val="solid"/>
            <a:round/>
            <a:headEnd type="none" w="med" len="med"/>
            <a:tailEnd type="none" w="med" len="med"/>
          </a:ln>
          <a:effectLst/>
        </p:spPr>
      </p:cxnSp>
      <p:sp>
        <p:nvSpPr>
          <p:cNvPr id="45" name="ZoneTexte 44">
            <a:extLst>
              <a:ext uri="{FF2B5EF4-FFF2-40B4-BE49-F238E27FC236}">
                <a16:creationId xmlns:a16="http://schemas.microsoft.com/office/drawing/2014/main" id="{F1221B6E-F5E0-47C9-BD67-5B54B13DACEF}"/>
              </a:ext>
            </a:extLst>
          </p:cNvPr>
          <p:cNvSpPr txBox="1"/>
          <p:nvPr/>
        </p:nvSpPr>
        <p:spPr>
          <a:xfrm>
            <a:off x="539190" y="1212793"/>
            <a:ext cx="8798847" cy="400110"/>
          </a:xfrm>
          <a:prstGeom prst="rect">
            <a:avLst/>
          </a:prstGeom>
          <a:solidFill>
            <a:schemeClr val="bg1">
              <a:lumMod val="95000"/>
            </a:schemeClr>
          </a:solidFill>
        </p:spPr>
        <p:txBody>
          <a:bodyPr wrap="square" rIns="36000" rtlCol="0">
            <a:spAutoFit/>
          </a:bodyPr>
          <a:lstStyle/>
          <a:p>
            <a:pPr>
              <a:spcAft>
                <a:spcPts val="200"/>
              </a:spcAft>
            </a:pPr>
            <a:r>
              <a:rPr lang="en-GB" sz="1000">
                <a:latin typeface="Trebuchet MS" panose="020B0603020202020204" pitchFamily="34" charset="0"/>
              </a:rPr>
              <a:t>The </a:t>
            </a:r>
            <a:r>
              <a:rPr lang="en-GB" sz="1000">
                <a:solidFill>
                  <a:schemeClr val="tx2"/>
                </a:solidFill>
                <a:latin typeface="Trebuchet MS" panose="020B0603020202020204" pitchFamily="34" charset="0"/>
              </a:rPr>
              <a:t>size of the addressable market </a:t>
            </a:r>
            <a:r>
              <a:rPr lang="en-GB" sz="1000">
                <a:latin typeface="Trebuchet MS" panose="020B0603020202020204" pitchFamily="34" charset="0"/>
              </a:rPr>
              <a:t>of B2B prospect generation is about</a:t>
            </a:r>
            <a:r>
              <a:rPr lang="en-GB" sz="1000">
                <a:solidFill>
                  <a:schemeClr val="tx2"/>
                </a:solidFill>
                <a:latin typeface="Trebuchet MS" panose="020B0603020202020204" pitchFamily="34" charset="0"/>
              </a:rPr>
              <a:t> €85m</a:t>
            </a:r>
            <a:r>
              <a:rPr lang="en-GB" sz="1000">
                <a:latin typeface="Trebuchet MS" panose="020B0603020202020204" pitchFamily="34" charset="0"/>
              </a:rPr>
              <a:t> in 2019 in </a:t>
            </a:r>
            <a:r>
              <a:rPr lang="en-GB" sz="1000">
                <a:solidFill>
                  <a:schemeClr val="tx2"/>
                </a:solidFill>
                <a:latin typeface="Trebuchet MS" panose="020B0603020202020204" pitchFamily="34" charset="0"/>
              </a:rPr>
              <a:t>France</a:t>
            </a:r>
            <a:r>
              <a:rPr lang="en-GB" sz="1000">
                <a:latin typeface="Trebuchet MS" panose="020B0603020202020204" pitchFamily="34" charset="0"/>
              </a:rPr>
              <a:t>, with an </a:t>
            </a:r>
            <a:r>
              <a:rPr lang="en-GB" sz="1000">
                <a:solidFill>
                  <a:schemeClr val="tx2"/>
                </a:solidFill>
                <a:latin typeface="Trebuchet MS" panose="020B0603020202020204" pitchFamily="34" charset="0"/>
              </a:rPr>
              <a:t>estimated</a:t>
            </a:r>
            <a:r>
              <a:rPr lang="en-GB" sz="1000">
                <a:latin typeface="Trebuchet MS" panose="020B0603020202020204" pitchFamily="34" charset="0"/>
              </a:rPr>
              <a:t> </a:t>
            </a:r>
            <a:r>
              <a:rPr lang="en-GB" sz="1000">
                <a:solidFill>
                  <a:schemeClr val="tx2"/>
                </a:solidFill>
                <a:latin typeface="Trebuchet MS" panose="020B0603020202020204" pitchFamily="34" charset="0"/>
              </a:rPr>
              <a:t>+6% growth per year </a:t>
            </a:r>
            <a:r>
              <a:rPr lang="en-GB" sz="1000">
                <a:latin typeface="Trebuchet MS" panose="020B0603020202020204" pitchFamily="34" charset="0"/>
              </a:rPr>
              <a:t>for the 5 coming years and </a:t>
            </a:r>
            <a:r>
              <a:rPr lang="en-GB" sz="1000">
                <a:solidFill>
                  <a:schemeClr val="tx2"/>
                </a:solidFill>
                <a:latin typeface="Trebuchet MS" panose="020B0603020202020204" pitchFamily="34" charset="0"/>
              </a:rPr>
              <a:t>€61m</a:t>
            </a:r>
            <a:r>
              <a:rPr lang="en-GB" sz="1000">
                <a:latin typeface="Trebuchet MS" panose="020B0603020202020204" pitchFamily="34" charset="0"/>
              </a:rPr>
              <a:t> in the </a:t>
            </a:r>
            <a:r>
              <a:rPr lang="en-GB" sz="1000">
                <a:solidFill>
                  <a:schemeClr val="tx2"/>
                </a:solidFill>
                <a:latin typeface="Trebuchet MS" panose="020B0603020202020204" pitchFamily="34" charset="0"/>
              </a:rPr>
              <a:t>Benelux</a:t>
            </a:r>
            <a:r>
              <a:rPr lang="en-GB" sz="1000">
                <a:latin typeface="Trebuchet MS" panose="020B0603020202020204" pitchFamily="34" charset="0"/>
              </a:rPr>
              <a:t>, with an estimated </a:t>
            </a:r>
            <a:r>
              <a:rPr lang="en-GB" sz="1000">
                <a:solidFill>
                  <a:schemeClr val="tx2"/>
                </a:solidFill>
                <a:latin typeface="Trebuchet MS" panose="020B0603020202020204" pitchFamily="34" charset="0"/>
              </a:rPr>
              <a:t>+5% growth</a:t>
            </a:r>
            <a:r>
              <a:rPr lang="en-GB" sz="1000">
                <a:latin typeface="Trebuchet MS" panose="020B0603020202020204" pitchFamily="34" charset="0"/>
              </a:rPr>
              <a:t> per year for the 5 next years</a:t>
            </a:r>
            <a:endParaRPr lang="en-GB" sz="1000">
              <a:solidFill>
                <a:schemeClr val="tx2"/>
              </a:solidFill>
              <a:latin typeface="Trebuchet MS" panose="020B0603020202020204" pitchFamily="34" charset="0"/>
            </a:endParaRPr>
          </a:p>
        </p:txBody>
      </p:sp>
      <p:pic>
        <p:nvPicPr>
          <p:cNvPr id="55" name="Picture 2" descr="Drapeau France">
            <a:extLst>
              <a:ext uri="{FF2B5EF4-FFF2-40B4-BE49-F238E27FC236}">
                <a16:creationId xmlns:a16="http://schemas.microsoft.com/office/drawing/2014/main" id="{8BFA3A0A-2305-4C01-AAC0-46AD8BAAEFE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06" b="16757"/>
          <a:stretch/>
        </p:blipFill>
        <p:spPr bwMode="auto">
          <a:xfrm>
            <a:off x="300298" y="1812130"/>
            <a:ext cx="238894" cy="144000"/>
          </a:xfrm>
          <a:prstGeom prst="roundRect">
            <a:avLst/>
          </a:prstGeom>
          <a:noFill/>
          <a:extLst>
            <a:ext uri="{909E8E84-426E-40DD-AFC4-6F175D3DCCD1}">
              <a14:hiddenFill xmlns:a14="http://schemas.microsoft.com/office/drawing/2010/main">
                <a:solidFill>
                  <a:srgbClr val="FFFFFF"/>
                </a:solidFill>
              </a14:hiddenFill>
            </a:ext>
          </a:extLst>
        </p:spPr>
      </p:pic>
      <p:pic>
        <p:nvPicPr>
          <p:cNvPr id="58" name="Picture 2" descr="5 ft x 3 ft 150 x 90 cm-DRAPEAU BELGE Belgique 100% Polyester ...">
            <a:extLst>
              <a:ext uri="{FF2B5EF4-FFF2-40B4-BE49-F238E27FC236}">
                <a16:creationId xmlns:a16="http://schemas.microsoft.com/office/drawing/2014/main" id="{12F65750-6F34-45B2-B604-F17ABC347F1C}"/>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5038091" y="1995010"/>
            <a:ext cx="238896" cy="144000"/>
          </a:xfrm>
          <a:prstGeom prst="roundRect">
            <a:avLst/>
          </a:prstGeom>
          <a:noFill/>
          <a:extLst>
            <a:ext uri="{909E8E84-426E-40DD-AFC4-6F175D3DCCD1}">
              <a14:hiddenFill xmlns:a14="http://schemas.microsoft.com/office/drawing/2010/main">
                <a:solidFill>
                  <a:srgbClr val="FFFFFF"/>
                </a:solidFill>
              </a14:hiddenFill>
            </a:ext>
          </a:extLst>
        </p:spPr>
      </p:pic>
      <p:pic>
        <p:nvPicPr>
          <p:cNvPr id="62" name="Picture 2 - 2" descr="Drapeau du Luxembourg">
            <a:extLst>
              <a:ext uri="{FF2B5EF4-FFF2-40B4-BE49-F238E27FC236}">
                <a16:creationId xmlns:a16="http://schemas.microsoft.com/office/drawing/2014/main" id="{C7FF16E9-7FA1-49E3-88AE-7669D336CF9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037538" y="2167086"/>
            <a:ext cx="240003" cy="144000"/>
          </a:xfrm>
          <a:prstGeom prst="roundRect">
            <a:avLst/>
          </a:prstGeom>
          <a:solidFill>
            <a:schemeClr val="bg1"/>
          </a:solidFill>
          <a:ln w="9525" cap="flat" cmpd="sng" algn="ctr">
            <a:noFill/>
            <a:prstDash val="solid"/>
            <a:round/>
            <a:headEnd type="none" w="med" len="med"/>
            <a:tailEnd type="none" w="med" len="med"/>
          </a:ln>
          <a:effectLst/>
        </p:spPr>
      </p:pic>
      <p:sp>
        <p:nvSpPr>
          <p:cNvPr id="106" name="Rectangle 105">
            <a:extLst>
              <a:ext uri="{FF2B5EF4-FFF2-40B4-BE49-F238E27FC236}">
                <a16:creationId xmlns:a16="http://schemas.microsoft.com/office/drawing/2014/main" id="{58266FBD-2E8F-4FE3-8AC2-09AD83524CD9}"/>
              </a:ext>
            </a:extLst>
          </p:cNvPr>
          <p:cNvSpPr/>
          <p:nvPr/>
        </p:nvSpPr>
        <p:spPr bwMode="auto">
          <a:xfrm>
            <a:off x="163879" y="4755605"/>
            <a:ext cx="4692904" cy="87493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a:ln>
                  <a:noFill/>
                </a:ln>
                <a:solidFill>
                  <a:schemeClr val="tx1"/>
                </a:solidFill>
                <a:effectLst/>
                <a:latin typeface="Trebuchet MS" panose="020B0603020202020204" pitchFamily="34" charset="0"/>
              </a:rPr>
              <a:t>“The </a:t>
            </a:r>
            <a:r>
              <a:rPr kumimoji="0" lang="en-GB" sz="1000" b="0" i="1" u="none" strike="noStrike" cap="none" normalizeH="0" baseline="0">
                <a:ln>
                  <a:noFill/>
                </a:ln>
                <a:solidFill>
                  <a:schemeClr val="tx2"/>
                </a:solidFill>
                <a:effectLst/>
                <a:latin typeface="Trebuchet MS" panose="020B0603020202020204" pitchFamily="34" charset="0"/>
              </a:rPr>
              <a:t>growth</a:t>
            </a:r>
            <a:r>
              <a:rPr kumimoji="0" lang="en-GB" sz="1000" b="0" i="1" u="none" strike="noStrike" cap="none" normalizeH="0" baseline="0">
                <a:ln>
                  <a:noFill/>
                </a:ln>
                <a:solidFill>
                  <a:schemeClr val="tx1"/>
                </a:solidFill>
                <a:effectLst/>
                <a:latin typeface="Trebuchet MS" panose="020B0603020202020204" pitchFamily="34" charset="0"/>
              </a:rPr>
              <a:t> of the </a:t>
            </a:r>
            <a:r>
              <a:rPr kumimoji="0" lang="en-GB" sz="1000" b="0" i="1" u="none" strike="noStrike" cap="none" normalizeH="0" baseline="0">
                <a:ln>
                  <a:noFill/>
                </a:ln>
                <a:solidFill>
                  <a:schemeClr val="tx2"/>
                </a:solidFill>
                <a:effectLst/>
                <a:latin typeface="Trebuchet MS" panose="020B0603020202020204" pitchFamily="34" charset="0"/>
              </a:rPr>
              <a:t>market</a:t>
            </a:r>
            <a:r>
              <a:rPr kumimoji="0" lang="en-GB" sz="1000" b="0" i="1" u="none" strike="noStrike" cap="none" normalizeH="0" baseline="0">
                <a:ln>
                  <a:noFill/>
                </a:ln>
                <a:solidFill>
                  <a:schemeClr val="tx1"/>
                </a:solidFill>
                <a:effectLst/>
                <a:latin typeface="Trebuchet MS" panose="020B0603020202020204" pitchFamily="34" charset="0"/>
              </a:rPr>
              <a:t> will </a:t>
            </a:r>
            <a:r>
              <a:rPr kumimoji="0" lang="en-GB" sz="1000" b="0" i="1" u="none" strike="noStrike" cap="none" normalizeH="0" baseline="0">
                <a:ln>
                  <a:noFill/>
                </a:ln>
                <a:solidFill>
                  <a:schemeClr val="tx2"/>
                </a:solidFill>
                <a:effectLst/>
                <a:latin typeface="Trebuchet MS" panose="020B0603020202020204" pitchFamily="34" charset="0"/>
              </a:rPr>
              <a:t>depend</a:t>
            </a:r>
            <a:r>
              <a:rPr kumimoji="0" lang="en-GB" sz="1000" b="0" i="1" u="none" strike="noStrike" cap="none" normalizeH="0" baseline="0">
                <a:ln>
                  <a:noFill/>
                </a:ln>
                <a:solidFill>
                  <a:schemeClr val="tx1"/>
                </a:solidFill>
                <a:effectLst/>
                <a:latin typeface="Trebuchet MS" panose="020B0603020202020204" pitchFamily="34" charset="0"/>
              </a:rPr>
              <a:t> on the turn the players take, in particular on the degree of intelligence that will be used in the </a:t>
            </a:r>
            <a:r>
              <a:rPr kumimoji="0" lang="en-GB" sz="1000" b="0" i="1" u="none" strike="noStrike" cap="none" normalizeH="0" baseline="0">
                <a:ln>
                  <a:noFill/>
                </a:ln>
                <a:solidFill>
                  <a:schemeClr val="tx2"/>
                </a:solidFill>
                <a:effectLst/>
                <a:latin typeface="Trebuchet MS" panose="020B0603020202020204" pitchFamily="34" charset="0"/>
              </a:rPr>
              <a:t>design</a:t>
            </a:r>
            <a:r>
              <a:rPr kumimoji="0" lang="en-GB" sz="1000" b="0" i="1" u="none" strike="noStrike" cap="none" normalizeH="0" baseline="0">
                <a:ln>
                  <a:noFill/>
                </a:ln>
                <a:solidFill>
                  <a:schemeClr val="tx1"/>
                </a:solidFill>
                <a:effectLst/>
                <a:latin typeface="Trebuchet MS" panose="020B0603020202020204" pitchFamily="34" charset="0"/>
              </a:rPr>
              <a:t> of </a:t>
            </a:r>
            <a:r>
              <a:rPr kumimoji="0" lang="en-GB" sz="1000" b="0" i="1" u="none" strike="noStrike" cap="none" normalizeH="0" baseline="0">
                <a:ln>
                  <a:noFill/>
                </a:ln>
                <a:solidFill>
                  <a:schemeClr val="tx2"/>
                </a:solidFill>
                <a:effectLst/>
                <a:latin typeface="Trebuchet MS" panose="020B0603020202020204" pitchFamily="34" charset="0"/>
              </a:rPr>
              <a:t>profiles</a:t>
            </a:r>
            <a:r>
              <a:rPr kumimoji="0" lang="en-GB" sz="1000" b="0" i="1" u="none" strike="noStrike" cap="none" normalizeH="0" baseline="0">
                <a:ln>
                  <a:noFill/>
                </a:ln>
                <a:solidFill>
                  <a:schemeClr val="tx1"/>
                </a:solidFill>
                <a:effectLst/>
                <a:latin typeface="Trebuchet MS" panose="020B0603020202020204" pitchFamily="34" charset="0"/>
              </a:rPr>
              <a:t> and </a:t>
            </a:r>
            <a:r>
              <a:rPr kumimoji="0" lang="en-GB" sz="1000" b="0" i="1" u="none" strike="noStrike" cap="none" normalizeH="0" baseline="0">
                <a:ln>
                  <a:noFill/>
                </a:ln>
                <a:solidFill>
                  <a:schemeClr val="tx2"/>
                </a:solidFill>
                <a:effectLst/>
                <a:latin typeface="Trebuchet MS" panose="020B0603020202020204" pitchFamily="34" charset="0"/>
              </a:rPr>
              <a:t>targeting</a:t>
            </a:r>
            <a:r>
              <a:rPr kumimoji="0" lang="en-GB" sz="1000" b="0" i="1" u="none" strike="noStrike" cap="none" normalizeH="0" baseline="0">
                <a:ln>
                  <a:noFill/>
                </a:ln>
                <a:solidFill>
                  <a:schemeClr val="tx1"/>
                </a:solidFill>
                <a:effectLst/>
                <a:latin typeface="Trebuchet MS" panose="020B0603020202020204" pitchFamily="34" charset="0"/>
              </a:rPr>
              <a:t> as well as on the </a:t>
            </a:r>
            <a:r>
              <a:rPr kumimoji="0" lang="en-GB" sz="1000" b="0" i="1" u="none" strike="noStrike" cap="none" normalizeH="0" baseline="0">
                <a:ln>
                  <a:noFill/>
                </a:ln>
                <a:solidFill>
                  <a:schemeClr val="tx2"/>
                </a:solidFill>
                <a:effectLst/>
                <a:latin typeface="Trebuchet MS" panose="020B0603020202020204" pitchFamily="34" charset="0"/>
              </a:rPr>
              <a:t>business</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model</a:t>
            </a:r>
            <a:r>
              <a:rPr kumimoji="0" lang="en-GB" sz="1000" b="0" i="1" u="none" strike="noStrike" cap="none" normalizeH="0" baseline="0">
                <a:ln>
                  <a:noFill/>
                </a:ln>
                <a:solidFill>
                  <a:schemeClr val="tx1"/>
                </a:solidFill>
                <a:effectLst/>
                <a:latin typeface="Trebuchet MS" panose="020B0603020202020204" pitchFamily="34" charset="0"/>
              </a:rPr>
              <a:t>. We will no longer be selling databases but rather access to </a:t>
            </a:r>
            <a:r>
              <a:rPr kumimoji="0" lang="en-GB" sz="1000" b="0" i="1" u="none" strike="noStrike" cap="none" normalizeH="0" baseline="0">
                <a:ln>
                  <a:noFill/>
                </a:ln>
                <a:solidFill>
                  <a:schemeClr val="tx2"/>
                </a:solidFill>
                <a:effectLst/>
                <a:latin typeface="Trebuchet MS" panose="020B0603020202020204" pitchFamily="34" charset="0"/>
              </a:rPr>
              <a:t>selfcare</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platforms</a:t>
            </a:r>
            <a:r>
              <a:rPr kumimoji="0" lang="en-GB" sz="1000" b="0" i="1" u="none" strike="noStrike" cap="none" normalizeH="0" baseline="0">
                <a:ln>
                  <a:noFill/>
                </a:ln>
                <a:solidFill>
                  <a:schemeClr val="tx1"/>
                </a:solidFill>
                <a:effectLst/>
                <a:latin typeface="Trebuchet MS" panose="020B0603020202020204" pitchFamily="34" charset="0"/>
              </a:rPr>
              <a:t>”</a:t>
            </a:r>
          </a:p>
          <a:p>
            <a:pPr>
              <a:lnSpc>
                <a:spcPts val="1100"/>
              </a:lnSpc>
              <a:defRPr/>
            </a:pPr>
            <a:r>
              <a:rPr lang="en-GB" sz="1000" spc="-30">
                <a:latin typeface="Trebuchet MS" panose="020B0603020202020204" pitchFamily="34" charset="0"/>
              </a:rPr>
              <a:t>Former Commercial Development Manager at </a:t>
            </a:r>
            <a:r>
              <a:rPr lang="en-GB" sz="1000" spc="-30" err="1">
                <a:latin typeface="Trebuchet MS" panose="020B0603020202020204" pitchFamily="34" charset="0"/>
              </a:rPr>
              <a:t>Ellisphere</a:t>
            </a:r>
            <a:endParaRPr lang="en-GB" sz="1000">
              <a:latin typeface="Trebuchet MS" panose="020B0603020202020204" pitchFamily="34" charset="0"/>
            </a:endParaRPr>
          </a:p>
        </p:txBody>
      </p:sp>
      <p:sp>
        <p:nvSpPr>
          <p:cNvPr id="107" name="Freeform 663">
            <a:extLst>
              <a:ext uri="{FF2B5EF4-FFF2-40B4-BE49-F238E27FC236}">
                <a16:creationId xmlns:a16="http://schemas.microsoft.com/office/drawing/2014/main" id="{9EB823E0-6591-45C8-8256-695C74AA436C}"/>
              </a:ext>
            </a:extLst>
          </p:cNvPr>
          <p:cNvSpPr>
            <a:spLocks noChangeAspect="1" noEditPoints="1"/>
          </p:cNvSpPr>
          <p:nvPr/>
        </p:nvSpPr>
        <p:spPr bwMode="auto">
          <a:xfrm>
            <a:off x="17437" y="5110847"/>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70" name="Rectangle 69">
            <a:extLst>
              <a:ext uri="{FF2B5EF4-FFF2-40B4-BE49-F238E27FC236}">
                <a16:creationId xmlns:a16="http://schemas.microsoft.com/office/drawing/2014/main" id="{9B377CD1-2797-433B-A193-0F7519A1D5DE}"/>
              </a:ext>
            </a:extLst>
          </p:cNvPr>
          <p:cNvSpPr/>
          <p:nvPr/>
        </p:nvSpPr>
        <p:spPr bwMode="auto">
          <a:xfrm>
            <a:off x="5149667" y="4755605"/>
            <a:ext cx="4692904" cy="87493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a:ln>
                  <a:noFill/>
                </a:ln>
                <a:solidFill>
                  <a:schemeClr val="tx1"/>
                </a:solidFill>
                <a:effectLst/>
                <a:latin typeface="Trebuchet MS" panose="020B0603020202020204" pitchFamily="34" charset="0"/>
              </a:rPr>
              <a:t>“Over the next few years, growth in lead generation will be more or less flat, while the </a:t>
            </a:r>
            <a:r>
              <a:rPr kumimoji="0" lang="en-GB" sz="1000" b="0" i="1" u="none" strike="noStrike" cap="none" normalizeH="0" baseline="0">
                <a:ln>
                  <a:noFill/>
                </a:ln>
                <a:solidFill>
                  <a:schemeClr val="tx2"/>
                </a:solidFill>
                <a:effectLst/>
                <a:latin typeface="Trebuchet MS" panose="020B0603020202020204" pitchFamily="34" charset="0"/>
              </a:rPr>
              <a:t>driving</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force</a:t>
            </a:r>
            <a:r>
              <a:rPr kumimoji="0" lang="en-GB" sz="1000" b="0" i="1" u="none" strike="noStrike" cap="none" normalizeH="0" baseline="0">
                <a:ln>
                  <a:noFill/>
                </a:ln>
                <a:solidFill>
                  <a:schemeClr val="tx1"/>
                </a:solidFill>
                <a:effectLst/>
                <a:latin typeface="Trebuchet MS" panose="020B0603020202020204" pitchFamily="34" charset="0"/>
              </a:rPr>
              <a:t> will be the intelligence provided by the </a:t>
            </a:r>
            <a:r>
              <a:rPr kumimoji="0" lang="en-GB" sz="1000" b="0" i="1" u="none" strike="noStrike" cap="none" normalizeH="0" baseline="0">
                <a:ln>
                  <a:noFill/>
                </a:ln>
                <a:solidFill>
                  <a:schemeClr val="tx2"/>
                </a:solidFill>
                <a:effectLst/>
                <a:latin typeface="Trebuchet MS" panose="020B0603020202020204" pitchFamily="34" charset="0"/>
              </a:rPr>
              <a:t>cleaning</a:t>
            </a:r>
            <a:r>
              <a:rPr kumimoji="0" lang="en-GB" sz="1000" b="0" i="1" u="none" strike="noStrike" cap="none" normalizeH="0" baseline="0">
                <a:ln>
                  <a:noFill/>
                </a:ln>
                <a:solidFill>
                  <a:schemeClr val="tx1"/>
                </a:solidFill>
                <a:effectLst/>
                <a:latin typeface="Trebuchet MS" panose="020B0603020202020204" pitchFamily="34" charset="0"/>
              </a:rPr>
              <a:t> and </a:t>
            </a:r>
            <a:r>
              <a:rPr kumimoji="0" lang="en-GB" sz="1000" b="0" i="1" u="none" strike="noStrike" cap="none" normalizeH="0" baseline="0">
                <a:ln>
                  <a:noFill/>
                </a:ln>
                <a:solidFill>
                  <a:schemeClr val="tx2"/>
                </a:solidFill>
                <a:effectLst/>
                <a:latin typeface="Trebuchet MS" panose="020B0603020202020204" pitchFamily="34" charset="0"/>
              </a:rPr>
              <a:t>enhancement</a:t>
            </a:r>
            <a:r>
              <a:rPr kumimoji="0" lang="en-GB" sz="1000" b="0" i="1" u="none" strike="noStrike" cap="none" normalizeH="0" baseline="0">
                <a:ln>
                  <a:noFill/>
                </a:ln>
                <a:solidFill>
                  <a:schemeClr val="tx1"/>
                </a:solidFill>
                <a:effectLst/>
                <a:latin typeface="Trebuchet MS" panose="020B0603020202020204" pitchFamily="34" charset="0"/>
              </a:rPr>
              <a:t> of </a:t>
            </a:r>
            <a:r>
              <a:rPr kumimoji="0" lang="en-GB" sz="1000" b="0" i="1" u="none" strike="noStrike" cap="none" normalizeH="0" baseline="0">
                <a:ln>
                  <a:noFill/>
                </a:ln>
                <a:solidFill>
                  <a:schemeClr val="tx2"/>
                </a:solidFill>
                <a:effectLst/>
                <a:latin typeface="Trebuchet MS" panose="020B0603020202020204" pitchFamily="34" charset="0"/>
              </a:rPr>
              <a:t>databases</a:t>
            </a:r>
            <a:r>
              <a:rPr kumimoji="0" lang="en-GB" sz="1000" b="0" i="1" u="none" strike="noStrike" cap="none" normalizeH="0" baseline="0">
                <a:ln>
                  <a:noFill/>
                </a:ln>
                <a:solidFill>
                  <a:schemeClr val="tx1"/>
                </a:solidFill>
                <a:effectLst/>
                <a:latin typeface="Trebuchet MS" panose="020B0603020202020204" pitchFamily="34" charset="0"/>
              </a:rPr>
              <a:t> to limit churn and develop upsell”</a:t>
            </a:r>
          </a:p>
          <a:p>
            <a:pPr>
              <a:lnSpc>
                <a:spcPts val="1100"/>
              </a:lnSpc>
              <a:defRPr/>
            </a:pPr>
            <a:r>
              <a:rPr lang="en-GB" sz="1000" spc="-30">
                <a:latin typeface="Trebuchet MS" panose="020B0603020202020204" pitchFamily="34" charset="0"/>
              </a:rPr>
              <a:t>Director Marketing, Consulting and Finance at Bisnode Belgium</a:t>
            </a:r>
            <a:endParaRPr lang="en-GB" sz="1000">
              <a:latin typeface="Trebuchet MS" panose="020B0603020202020204" pitchFamily="34" charset="0"/>
            </a:endParaRPr>
          </a:p>
        </p:txBody>
      </p:sp>
      <p:sp>
        <p:nvSpPr>
          <p:cNvPr id="71" name="Freeform 663">
            <a:extLst>
              <a:ext uri="{FF2B5EF4-FFF2-40B4-BE49-F238E27FC236}">
                <a16:creationId xmlns:a16="http://schemas.microsoft.com/office/drawing/2014/main" id="{CBCB1E53-3C7E-46E1-8158-DDB09795B929}"/>
              </a:ext>
            </a:extLst>
          </p:cNvPr>
          <p:cNvSpPr>
            <a:spLocks noChangeAspect="1" noEditPoints="1"/>
          </p:cNvSpPr>
          <p:nvPr/>
        </p:nvSpPr>
        <p:spPr bwMode="auto">
          <a:xfrm>
            <a:off x="5003225" y="5110847"/>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aphicFrame>
        <p:nvGraphicFramePr>
          <p:cNvPr id="9" name="Chart 8">
            <a:extLst>
              <a:ext uri="{FF2B5EF4-FFF2-40B4-BE49-F238E27FC236}">
                <a16:creationId xmlns:a16="http://schemas.microsoft.com/office/drawing/2014/main" id="{8AE83DCD-3801-4490-87EF-8F68CAFBD1A1}"/>
              </a:ext>
            </a:extLst>
          </p:cNvPr>
          <p:cNvGraphicFramePr/>
          <p:nvPr>
            <p:extLst>
              <p:ext uri="{D42A27DB-BD31-4B8C-83A1-F6EECF244321}">
                <p14:modId xmlns:p14="http://schemas.microsoft.com/office/powerpoint/2010/main" val="2874911606"/>
              </p:ext>
            </p:extLst>
          </p:nvPr>
        </p:nvGraphicFramePr>
        <p:xfrm>
          <a:off x="265135" y="1469902"/>
          <a:ext cx="4510621" cy="3307789"/>
        </p:xfrm>
        <a:graphic>
          <a:graphicData uri="http://schemas.openxmlformats.org/drawingml/2006/chart">
            <c:chart xmlns:c="http://schemas.openxmlformats.org/drawingml/2006/chart" xmlns:r="http://schemas.openxmlformats.org/officeDocument/2006/relationships" r:id="rId11"/>
          </a:graphicData>
        </a:graphic>
      </p:graphicFrame>
      <p:cxnSp>
        <p:nvCxnSpPr>
          <p:cNvPr id="36" name="Connecteur droit avec flèche 10">
            <a:extLst>
              <a:ext uri="{FF2B5EF4-FFF2-40B4-BE49-F238E27FC236}">
                <a16:creationId xmlns:a16="http://schemas.microsoft.com/office/drawing/2014/main" id="{3339F432-9D5B-4D69-B9F8-40AA5D3928CF}"/>
              </a:ext>
            </a:extLst>
          </p:cNvPr>
          <p:cNvCxnSpPr>
            <a:cxnSpLocks/>
          </p:cNvCxnSpPr>
          <p:nvPr/>
        </p:nvCxnSpPr>
        <p:spPr bwMode="auto">
          <a:xfrm flipH="1">
            <a:off x="539192" y="2339973"/>
            <a:ext cx="1124074" cy="413976"/>
          </a:xfrm>
          <a:prstGeom prst="straightConnector1">
            <a:avLst/>
          </a:prstGeom>
          <a:solidFill>
            <a:schemeClr val="accent1"/>
          </a:solidFill>
          <a:ln w="9525" cap="flat" cmpd="sng" algn="ctr">
            <a:solidFill>
              <a:schemeClr val="tx1"/>
            </a:solidFill>
            <a:prstDash val="solid"/>
            <a:round/>
            <a:headEnd type="triangle" w="med" len="med"/>
            <a:tailEnd type="none" w="med" len="med"/>
          </a:ln>
          <a:effectLst/>
        </p:spPr>
      </p:cxnSp>
      <p:sp>
        <p:nvSpPr>
          <p:cNvPr id="37" name="Rectangle 36">
            <a:extLst>
              <a:ext uri="{FF2B5EF4-FFF2-40B4-BE49-F238E27FC236}">
                <a16:creationId xmlns:a16="http://schemas.microsoft.com/office/drawing/2014/main" id="{F8B742EB-0B9F-40B5-8B33-4E83BAF25CB8}"/>
              </a:ext>
            </a:extLst>
          </p:cNvPr>
          <p:cNvSpPr/>
          <p:nvPr/>
        </p:nvSpPr>
        <p:spPr bwMode="auto">
          <a:xfrm>
            <a:off x="425949" y="2302984"/>
            <a:ext cx="940753" cy="146929"/>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17-19</a:t>
            </a:r>
            <a:r>
              <a:rPr lang="en-GB" sz="900">
                <a:latin typeface="Trebuchet MS" panose="020B0603020202020204" pitchFamily="34" charset="0"/>
              </a:rPr>
              <a:t>: +11%</a:t>
            </a:r>
            <a:endParaRPr kumimoji="0" lang="en-GB" sz="900" b="0" i="0" u="none" strike="noStrike" cap="none" normalizeH="0" baseline="0">
              <a:ln>
                <a:noFill/>
              </a:ln>
              <a:effectLst/>
              <a:latin typeface="Trebuchet MS" panose="020B0603020202020204" pitchFamily="34" charset="0"/>
            </a:endParaRPr>
          </a:p>
        </p:txBody>
      </p:sp>
      <p:sp>
        <p:nvSpPr>
          <p:cNvPr id="40" name="ZoneTexte 8">
            <a:extLst>
              <a:ext uri="{FF2B5EF4-FFF2-40B4-BE49-F238E27FC236}">
                <a16:creationId xmlns:a16="http://schemas.microsoft.com/office/drawing/2014/main" id="{076D3A2F-F15E-4E25-83CA-3DAC853C4DAF}"/>
              </a:ext>
            </a:extLst>
          </p:cNvPr>
          <p:cNvSpPr txBox="1"/>
          <p:nvPr/>
        </p:nvSpPr>
        <p:spPr>
          <a:xfrm>
            <a:off x="321433" y="1775590"/>
            <a:ext cx="4377797" cy="246221"/>
          </a:xfrm>
          <a:prstGeom prst="rect">
            <a:avLst/>
          </a:prstGeom>
          <a:noFill/>
        </p:spPr>
        <p:txBody>
          <a:bodyPr wrap="square" rtlCol="0">
            <a:spAutoFit/>
          </a:bodyPr>
          <a:lstStyle/>
          <a:p>
            <a:pPr algn="ctr"/>
            <a:r>
              <a:rPr lang="en-GB" sz="1000" i="1">
                <a:latin typeface="Trebuchet MS" panose="020B0603020202020204" pitchFamily="34" charset="0"/>
              </a:rPr>
              <a:t>French B2B marketing market revenue evolution, in €m, 2017-2023</a:t>
            </a:r>
            <a:endParaRPr lang="en-GB" sz="1000" i="1" baseline="30000">
              <a:latin typeface="Trebuchet MS" panose="020B0603020202020204" pitchFamily="34" charset="0"/>
            </a:endParaRPr>
          </a:p>
        </p:txBody>
      </p:sp>
      <p:graphicFrame>
        <p:nvGraphicFramePr>
          <p:cNvPr id="41" name="Chart 40">
            <a:extLst>
              <a:ext uri="{FF2B5EF4-FFF2-40B4-BE49-F238E27FC236}">
                <a16:creationId xmlns:a16="http://schemas.microsoft.com/office/drawing/2014/main" id="{457D42B4-98C8-4888-8A72-58230DED7059}"/>
              </a:ext>
            </a:extLst>
          </p:cNvPr>
          <p:cNvGraphicFramePr/>
          <p:nvPr>
            <p:extLst>
              <p:ext uri="{D42A27DB-BD31-4B8C-83A1-F6EECF244321}">
                <p14:modId xmlns:p14="http://schemas.microsoft.com/office/powerpoint/2010/main" val="1204979642"/>
              </p:ext>
            </p:extLst>
          </p:nvPr>
        </p:nvGraphicFramePr>
        <p:xfrm>
          <a:off x="5245885" y="1923574"/>
          <a:ext cx="4510621" cy="2856877"/>
        </p:xfrm>
        <a:graphic>
          <a:graphicData uri="http://schemas.openxmlformats.org/drawingml/2006/chart">
            <c:chart xmlns:c="http://schemas.openxmlformats.org/drawingml/2006/chart" xmlns:r="http://schemas.openxmlformats.org/officeDocument/2006/relationships" r:id="rId12"/>
          </a:graphicData>
        </a:graphic>
      </p:graphicFrame>
      <p:cxnSp>
        <p:nvCxnSpPr>
          <p:cNvPr id="42" name="Connecteur droit avec flèche 10">
            <a:extLst>
              <a:ext uri="{FF2B5EF4-FFF2-40B4-BE49-F238E27FC236}">
                <a16:creationId xmlns:a16="http://schemas.microsoft.com/office/drawing/2014/main" id="{03328275-156D-4ABB-8B24-89A8765F2AEF}"/>
              </a:ext>
            </a:extLst>
          </p:cNvPr>
          <p:cNvCxnSpPr>
            <a:cxnSpLocks/>
          </p:cNvCxnSpPr>
          <p:nvPr/>
        </p:nvCxnSpPr>
        <p:spPr bwMode="auto">
          <a:xfrm flipH="1">
            <a:off x="5489664" y="2573431"/>
            <a:ext cx="1096230" cy="196647"/>
          </a:xfrm>
          <a:prstGeom prst="straightConnector1">
            <a:avLst/>
          </a:prstGeom>
          <a:solidFill>
            <a:schemeClr val="accent1"/>
          </a:solidFill>
          <a:ln w="9525" cap="flat" cmpd="sng" algn="ctr">
            <a:solidFill>
              <a:schemeClr val="tx1"/>
            </a:solidFill>
            <a:prstDash val="solid"/>
            <a:round/>
            <a:headEnd type="triangle" w="med" len="med"/>
            <a:tailEnd type="none" w="med" len="med"/>
          </a:ln>
          <a:effectLst/>
        </p:spPr>
      </p:cxnSp>
      <p:cxnSp>
        <p:nvCxnSpPr>
          <p:cNvPr id="46" name="Connecteur droit avec flèche 10">
            <a:extLst>
              <a:ext uri="{FF2B5EF4-FFF2-40B4-BE49-F238E27FC236}">
                <a16:creationId xmlns:a16="http://schemas.microsoft.com/office/drawing/2014/main" id="{E43445C3-C873-473F-96DB-429B749C4C4E}"/>
              </a:ext>
            </a:extLst>
          </p:cNvPr>
          <p:cNvCxnSpPr>
            <a:cxnSpLocks/>
          </p:cNvCxnSpPr>
          <p:nvPr/>
        </p:nvCxnSpPr>
        <p:spPr bwMode="auto">
          <a:xfrm flipH="1">
            <a:off x="7496118" y="2368281"/>
            <a:ext cx="1778374" cy="192445"/>
          </a:xfrm>
          <a:prstGeom prst="straightConnector1">
            <a:avLst/>
          </a:prstGeom>
          <a:solidFill>
            <a:schemeClr val="accent1"/>
          </a:solidFill>
          <a:ln w="9525" cap="flat" cmpd="sng" algn="ctr">
            <a:solidFill>
              <a:schemeClr val="tx1"/>
            </a:solidFill>
            <a:prstDash val="solid"/>
            <a:round/>
            <a:headEnd type="triangle" w="med" len="med"/>
            <a:tailEnd type="none" w="med" len="med"/>
          </a:ln>
          <a:effectLst/>
        </p:spPr>
      </p:cxnSp>
      <p:cxnSp>
        <p:nvCxnSpPr>
          <p:cNvPr id="52" name="Connecteur droit avec flèche 10">
            <a:extLst>
              <a:ext uri="{FF2B5EF4-FFF2-40B4-BE49-F238E27FC236}">
                <a16:creationId xmlns:a16="http://schemas.microsoft.com/office/drawing/2014/main" id="{2CAA0FFB-F900-4649-8F8A-2E2C12316238}"/>
              </a:ext>
            </a:extLst>
          </p:cNvPr>
          <p:cNvCxnSpPr>
            <a:cxnSpLocks/>
          </p:cNvCxnSpPr>
          <p:nvPr/>
        </p:nvCxnSpPr>
        <p:spPr bwMode="auto">
          <a:xfrm flipH="1">
            <a:off x="2544009" y="2029162"/>
            <a:ext cx="1671046" cy="372081"/>
          </a:xfrm>
          <a:prstGeom prst="straightConnector1">
            <a:avLst/>
          </a:prstGeom>
          <a:solidFill>
            <a:schemeClr val="accent1"/>
          </a:solidFill>
          <a:ln w="9525" cap="flat" cmpd="sng" algn="ctr">
            <a:solidFill>
              <a:schemeClr val="tx1"/>
            </a:solidFill>
            <a:prstDash val="solid"/>
            <a:round/>
            <a:headEnd type="triangle" w="med" len="med"/>
            <a:tailEnd type="none" w="med" len="med"/>
          </a:ln>
          <a:effectLst/>
        </p:spPr>
      </p:cxnSp>
      <p:sp>
        <p:nvSpPr>
          <p:cNvPr id="13" name="ZoneTexte 12">
            <a:extLst>
              <a:ext uri="{FF2B5EF4-FFF2-40B4-BE49-F238E27FC236}">
                <a16:creationId xmlns:a16="http://schemas.microsoft.com/office/drawing/2014/main" id="{B4CB1A7F-CD34-4E52-B2D9-19BA065A9711}"/>
              </a:ext>
            </a:extLst>
          </p:cNvPr>
          <p:cNvSpPr txBox="1"/>
          <p:nvPr/>
        </p:nvSpPr>
        <p:spPr>
          <a:xfrm>
            <a:off x="1713798" y="2260400"/>
            <a:ext cx="419598" cy="230832"/>
          </a:xfrm>
          <a:prstGeom prst="rect">
            <a:avLst/>
          </a:prstGeom>
          <a:noFill/>
        </p:spPr>
        <p:txBody>
          <a:bodyPr wrap="square" rtlCol="0">
            <a:spAutoFit/>
          </a:bodyPr>
          <a:lstStyle/>
          <a:p>
            <a:pPr algn="ctr"/>
            <a:r>
              <a:rPr lang="en-GB" sz="900">
                <a:latin typeface="Trebuchet MS" panose="020B0603020202020204" pitchFamily="34" charset="0"/>
              </a:rPr>
              <a:t>-10%</a:t>
            </a:r>
          </a:p>
        </p:txBody>
      </p:sp>
      <p:sp>
        <p:nvSpPr>
          <p:cNvPr id="61" name="Rectangle 60">
            <a:extLst>
              <a:ext uri="{FF2B5EF4-FFF2-40B4-BE49-F238E27FC236}">
                <a16:creationId xmlns:a16="http://schemas.microsoft.com/office/drawing/2014/main" id="{57FBF830-48CE-45B6-A62D-DE20E4C0654F}"/>
              </a:ext>
            </a:extLst>
          </p:cNvPr>
          <p:cNvSpPr/>
          <p:nvPr/>
        </p:nvSpPr>
        <p:spPr bwMode="auto">
          <a:xfrm>
            <a:off x="2709719" y="2029162"/>
            <a:ext cx="940753" cy="146929"/>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21-25</a:t>
            </a:r>
            <a:r>
              <a:rPr lang="en-GB" sz="900">
                <a:latin typeface="Trebuchet MS" panose="020B0603020202020204" pitchFamily="34" charset="0"/>
              </a:rPr>
              <a:t>: +6%</a:t>
            </a:r>
            <a:endParaRPr kumimoji="0" lang="en-GB" sz="900" b="0" i="0" u="none" strike="noStrike" cap="none" normalizeH="0" baseline="0">
              <a:ln>
                <a:noFill/>
              </a:ln>
              <a:effectLst/>
              <a:latin typeface="Trebuchet MS" panose="020B0603020202020204" pitchFamily="34" charset="0"/>
            </a:endParaRPr>
          </a:p>
        </p:txBody>
      </p:sp>
      <p:sp>
        <p:nvSpPr>
          <p:cNvPr id="63" name="Rectangle 62">
            <a:extLst>
              <a:ext uri="{FF2B5EF4-FFF2-40B4-BE49-F238E27FC236}">
                <a16:creationId xmlns:a16="http://schemas.microsoft.com/office/drawing/2014/main" id="{A4A080E9-1118-4844-9462-8CBB4181EE10}"/>
              </a:ext>
            </a:extLst>
          </p:cNvPr>
          <p:cNvSpPr/>
          <p:nvPr/>
        </p:nvSpPr>
        <p:spPr bwMode="auto">
          <a:xfrm>
            <a:off x="5451275" y="2455008"/>
            <a:ext cx="940753" cy="146929"/>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17-19</a:t>
            </a:r>
            <a:r>
              <a:rPr lang="en-GB" sz="900">
                <a:latin typeface="Trebuchet MS" panose="020B0603020202020204" pitchFamily="34" charset="0"/>
              </a:rPr>
              <a:t>: +5%</a:t>
            </a:r>
            <a:endParaRPr kumimoji="0" lang="en-GB" sz="900" b="0" i="0" u="none" strike="noStrike" cap="none" normalizeH="0" baseline="0">
              <a:ln>
                <a:noFill/>
              </a:ln>
              <a:effectLst/>
              <a:latin typeface="Trebuchet MS" panose="020B0603020202020204" pitchFamily="34" charset="0"/>
            </a:endParaRPr>
          </a:p>
        </p:txBody>
      </p:sp>
      <p:sp>
        <p:nvSpPr>
          <p:cNvPr id="64" name="Rectangle 63">
            <a:extLst>
              <a:ext uri="{FF2B5EF4-FFF2-40B4-BE49-F238E27FC236}">
                <a16:creationId xmlns:a16="http://schemas.microsoft.com/office/drawing/2014/main" id="{79A16371-FC9C-4DE3-998B-6E665E5924DF}"/>
              </a:ext>
            </a:extLst>
          </p:cNvPr>
          <p:cNvSpPr/>
          <p:nvPr/>
        </p:nvSpPr>
        <p:spPr bwMode="auto">
          <a:xfrm>
            <a:off x="8065490" y="2193044"/>
            <a:ext cx="940753" cy="146929"/>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21-25</a:t>
            </a:r>
            <a:r>
              <a:rPr lang="en-GB" sz="900">
                <a:latin typeface="Trebuchet MS" panose="020B0603020202020204" pitchFamily="34" charset="0"/>
              </a:rPr>
              <a:t>: +4%</a:t>
            </a:r>
            <a:endParaRPr kumimoji="0" lang="en-GB" sz="900" b="0" i="0" u="none" strike="noStrike" cap="none" normalizeH="0" baseline="0">
              <a:ln>
                <a:noFill/>
              </a:ln>
              <a:effectLst/>
              <a:latin typeface="Trebuchet MS" panose="020B0603020202020204" pitchFamily="34" charset="0"/>
            </a:endParaRPr>
          </a:p>
        </p:txBody>
      </p:sp>
      <p:sp>
        <p:nvSpPr>
          <p:cNvPr id="15" name="Rectangle 14">
            <a:extLst>
              <a:ext uri="{FF2B5EF4-FFF2-40B4-BE49-F238E27FC236}">
                <a16:creationId xmlns:a16="http://schemas.microsoft.com/office/drawing/2014/main" id="{BF51A5FD-83D7-4EAB-9121-E3DD28C61779}"/>
              </a:ext>
            </a:extLst>
          </p:cNvPr>
          <p:cNvSpPr/>
          <p:nvPr/>
        </p:nvSpPr>
        <p:spPr bwMode="auto">
          <a:xfrm>
            <a:off x="321433" y="5696485"/>
            <a:ext cx="9248691" cy="7621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542925"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000" dirty="0">
                <a:latin typeface="Trebuchet MS" panose="020B0603020202020204" pitchFamily="34" charset="0"/>
              </a:rPr>
              <a:t>The </a:t>
            </a:r>
            <a:r>
              <a:rPr lang="en-GB" sz="1000" dirty="0">
                <a:solidFill>
                  <a:schemeClr val="tx2"/>
                </a:solidFill>
                <a:latin typeface="Trebuchet MS" panose="020B0603020202020204" pitchFamily="34" charset="0"/>
              </a:rPr>
              <a:t>B2B</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prospect</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qualification</a:t>
            </a:r>
            <a:r>
              <a:rPr lang="en-GB" sz="1000" dirty="0">
                <a:latin typeface="Trebuchet MS" panose="020B0603020202020204" pitchFamily="34" charset="0"/>
              </a:rPr>
              <a:t> market has been </a:t>
            </a:r>
            <a:r>
              <a:rPr lang="en-GB" sz="1000" dirty="0">
                <a:solidFill>
                  <a:schemeClr val="tx2"/>
                </a:solidFill>
                <a:latin typeface="Trebuchet MS" panose="020B0603020202020204" pitchFamily="34" charset="0"/>
              </a:rPr>
              <a:t>experiencing</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strong</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growth</a:t>
            </a:r>
            <a:r>
              <a:rPr lang="en-GB" sz="1000" dirty="0">
                <a:latin typeface="Trebuchet MS" panose="020B0603020202020204" pitchFamily="34" charset="0"/>
              </a:rPr>
              <a:t> for several years, driven in particular by the </a:t>
            </a:r>
            <a:r>
              <a:rPr lang="en-GB" sz="1000" dirty="0">
                <a:solidFill>
                  <a:schemeClr val="tx2"/>
                </a:solidFill>
                <a:latin typeface="Trebuchet MS" panose="020B0603020202020204" pitchFamily="34" charset="0"/>
              </a:rPr>
              <a:t>lead</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generation </a:t>
            </a:r>
            <a:r>
              <a:rPr lang="en-GB" sz="1000" dirty="0">
                <a:latin typeface="Trebuchet MS" panose="020B0603020202020204" pitchFamily="34" charset="0"/>
              </a:rPr>
              <a:t>segment</a:t>
            </a:r>
          </a:p>
          <a:p>
            <a:pPr marL="542925"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000" b="0" i="0" u="none" strike="noStrike" cap="none" normalizeH="0" baseline="0" dirty="0">
                <a:ln>
                  <a:noFill/>
                </a:ln>
                <a:solidFill>
                  <a:schemeClr val="tx1"/>
                </a:solidFill>
                <a:effectLst/>
                <a:latin typeface="Trebuchet MS" panose="020B0603020202020204" pitchFamily="34" charset="0"/>
              </a:rPr>
              <a:t>The </a:t>
            </a:r>
            <a:r>
              <a:rPr kumimoji="0" lang="en-GB" sz="1000" b="0" i="0" u="none" strike="noStrike" cap="none" normalizeH="0" baseline="0" dirty="0">
                <a:ln>
                  <a:noFill/>
                </a:ln>
                <a:solidFill>
                  <a:schemeClr val="tx2"/>
                </a:solidFill>
                <a:effectLst/>
                <a:latin typeface="Trebuchet MS" panose="020B0603020202020204" pitchFamily="34" charset="0"/>
              </a:rPr>
              <a:t>covid-19</a:t>
            </a:r>
            <a:r>
              <a:rPr kumimoji="0" lang="en-GB" sz="1000" b="0" i="0" u="none" strike="noStrike" cap="none" normalizeH="0" baseline="0" dirty="0">
                <a:ln>
                  <a:noFill/>
                </a:ln>
                <a:solidFill>
                  <a:schemeClr val="tx1"/>
                </a:solidFill>
                <a:effectLst/>
                <a:latin typeface="Trebuchet MS" panose="020B0603020202020204" pitchFamily="34" charset="0"/>
              </a:rPr>
              <a:t> cris</a:t>
            </a:r>
            <a:r>
              <a:rPr lang="en-GB" sz="1000" dirty="0">
                <a:latin typeface="Trebuchet MS" panose="020B0603020202020204" pitchFamily="34" charset="0"/>
              </a:rPr>
              <a:t>is has </a:t>
            </a:r>
            <a:r>
              <a:rPr lang="en-GB" sz="1000" dirty="0">
                <a:solidFill>
                  <a:schemeClr val="tx2"/>
                </a:solidFill>
                <a:latin typeface="Trebuchet MS" panose="020B0603020202020204" pitchFamily="34" charset="0"/>
              </a:rPr>
              <a:t>strongly</a:t>
            </a:r>
            <a:r>
              <a:rPr lang="en-GB" sz="1000" dirty="0">
                <a:latin typeface="Trebuchet MS" panose="020B0603020202020204" pitchFamily="34" charset="0"/>
              </a:rPr>
              <a:t> impacted all </a:t>
            </a:r>
            <a:r>
              <a:rPr lang="en-GB" sz="1000" dirty="0">
                <a:solidFill>
                  <a:schemeClr val="tx2"/>
                </a:solidFill>
                <a:latin typeface="Trebuchet MS" panose="020B0603020202020204" pitchFamily="34" charset="0"/>
              </a:rPr>
              <a:t>B2B</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marketing</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spending, halting the growth spawned in Q1-2020</a:t>
            </a:r>
            <a:endParaRPr kumimoji="0" lang="en-GB" sz="1000" b="0" i="0" u="none" strike="noStrike" cap="none" normalizeH="0" baseline="0" dirty="0">
              <a:ln>
                <a:noFill/>
              </a:ln>
              <a:solidFill>
                <a:schemeClr val="tx2"/>
              </a:solidFill>
              <a:effectLst/>
              <a:latin typeface="Trebuchet MS" panose="020B0603020202020204" pitchFamily="34" charset="0"/>
            </a:endParaRPr>
          </a:p>
          <a:p>
            <a:pPr marL="542925"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000" dirty="0">
                <a:latin typeface="Trebuchet MS" panose="020B0603020202020204" pitchFamily="34" charset="0"/>
              </a:rPr>
              <a:t>Thus, d</a:t>
            </a:r>
            <a:r>
              <a:rPr kumimoji="0" lang="en-GB" sz="1000" b="0" i="0" u="none" strike="noStrike" cap="none" normalizeH="0" baseline="0" dirty="0">
                <a:ln>
                  <a:noFill/>
                </a:ln>
                <a:solidFill>
                  <a:schemeClr val="tx1"/>
                </a:solidFill>
                <a:effectLst/>
                <a:latin typeface="Trebuchet MS" panose="020B0603020202020204" pitchFamily="34" charset="0"/>
              </a:rPr>
              <a:t>ue to changing needs and the regulatory impact of GDPR, </a:t>
            </a:r>
            <a:r>
              <a:rPr kumimoji="0" lang="en-GB" sz="1000" b="0" i="0" u="none" strike="noStrike" cap="none" normalizeH="0" baseline="0" dirty="0">
                <a:ln>
                  <a:noFill/>
                </a:ln>
                <a:solidFill>
                  <a:schemeClr val="tx2"/>
                </a:solidFill>
                <a:effectLst/>
                <a:latin typeface="Trebuchet MS" panose="020B0603020202020204" pitchFamily="34" charset="0"/>
              </a:rPr>
              <a:t>future</a:t>
            </a:r>
            <a:r>
              <a:rPr kumimoji="0" lang="en-GB" sz="1000" b="0" i="0" u="none" strike="noStrike" cap="none" normalizeH="0" baseline="0" dirty="0">
                <a:ln>
                  <a:noFill/>
                </a:ln>
                <a:solidFill>
                  <a:schemeClr val="tx1"/>
                </a:solidFill>
                <a:effectLst/>
                <a:latin typeface="Trebuchet MS" panose="020B0603020202020204" pitchFamily="34" charset="0"/>
              </a:rPr>
              <a:t> </a:t>
            </a:r>
            <a:r>
              <a:rPr kumimoji="0" lang="en-GB" sz="1000" b="0" i="0" u="none" strike="noStrike" cap="none" normalizeH="0" baseline="0" dirty="0">
                <a:ln>
                  <a:noFill/>
                </a:ln>
                <a:solidFill>
                  <a:schemeClr val="tx2"/>
                </a:solidFill>
                <a:effectLst/>
                <a:latin typeface="Trebuchet MS" panose="020B0603020202020204" pitchFamily="34" charset="0"/>
              </a:rPr>
              <a:t>growth</a:t>
            </a:r>
            <a:r>
              <a:rPr kumimoji="0" lang="en-GB" sz="1000" b="0" i="0" u="none" strike="noStrike" cap="none" normalizeH="0" baseline="0" dirty="0">
                <a:ln>
                  <a:noFill/>
                </a:ln>
                <a:solidFill>
                  <a:schemeClr val="tx1"/>
                </a:solidFill>
                <a:effectLst/>
                <a:latin typeface="Trebuchet MS" panose="020B0603020202020204" pitchFamily="34" charset="0"/>
              </a:rPr>
              <a:t> in the B2B prospect qualification market will mainly be </a:t>
            </a:r>
            <a:r>
              <a:rPr kumimoji="0" lang="en-GB" sz="1000" b="0" i="0" u="none" strike="noStrike" cap="none" normalizeH="0" baseline="0" dirty="0">
                <a:ln>
                  <a:noFill/>
                </a:ln>
                <a:solidFill>
                  <a:schemeClr val="tx2"/>
                </a:solidFill>
                <a:effectLst/>
                <a:latin typeface="Trebuchet MS" panose="020B0603020202020204" pitchFamily="34" charset="0"/>
              </a:rPr>
              <a:t>driven</a:t>
            </a:r>
            <a:r>
              <a:rPr kumimoji="0" lang="en-GB" sz="1000" b="0" i="0" u="none" strike="noStrike" cap="none" normalizeH="0" baseline="0" dirty="0">
                <a:ln>
                  <a:noFill/>
                </a:ln>
                <a:solidFill>
                  <a:schemeClr val="tx1"/>
                </a:solidFill>
                <a:effectLst/>
                <a:latin typeface="Trebuchet MS" panose="020B0603020202020204" pitchFamily="34" charset="0"/>
              </a:rPr>
              <a:t> by </a:t>
            </a:r>
            <a:r>
              <a:rPr kumimoji="0" lang="en-GB" sz="1000" b="0" i="0" u="none" strike="noStrike" cap="none" normalizeH="0" baseline="0" dirty="0">
                <a:ln>
                  <a:noFill/>
                </a:ln>
                <a:solidFill>
                  <a:schemeClr val="tx2"/>
                </a:solidFill>
                <a:effectLst/>
                <a:latin typeface="Trebuchet MS" panose="020B0603020202020204" pitchFamily="34" charset="0"/>
              </a:rPr>
              <a:t>services</a:t>
            </a:r>
            <a:r>
              <a:rPr kumimoji="0" lang="en-GB" sz="1000" b="0" i="0" u="none" strike="noStrike" cap="none" normalizeH="0" baseline="0" dirty="0">
                <a:ln>
                  <a:noFill/>
                </a:ln>
                <a:solidFill>
                  <a:schemeClr val="tx1"/>
                </a:solidFill>
                <a:effectLst/>
                <a:latin typeface="Trebuchet MS" panose="020B0603020202020204" pitchFamily="34" charset="0"/>
              </a:rPr>
              <a:t> at the top end of the value chain, i.e. </a:t>
            </a:r>
            <a:r>
              <a:rPr kumimoji="0" lang="en-GB" sz="1000" b="0" i="0" u="none" strike="noStrike" cap="none" normalizeH="0" baseline="0" dirty="0">
                <a:ln>
                  <a:noFill/>
                </a:ln>
                <a:solidFill>
                  <a:schemeClr val="tx2"/>
                </a:solidFill>
                <a:effectLst/>
                <a:latin typeface="Trebuchet MS" panose="020B0603020202020204" pitchFamily="34" charset="0"/>
              </a:rPr>
              <a:t>quality</a:t>
            </a:r>
            <a:r>
              <a:rPr kumimoji="0" lang="en-GB" sz="1000" b="0" i="0" u="none" strike="noStrike" cap="none" normalizeH="0" baseline="0" dirty="0">
                <a:ln>
                  <a:noFill/>
                </a:ln>
                <a:solidFill>
                  <a:schemeClr val="tx1"/>
                </a:solidFill>
                <a:effectLst/>
                <a:latin typeface="Trebuchet MS" panose="020B0603020202020204" pitchFamily="34" charset="0"/>
              </a:rPr>
              <a:t> </a:t>
            </a:r>
            <a:r>
              <a:rPr kumimoji="0" lang="en-GB" sz="1000" b="0" i="0" u="none" strike="noStrike" cap="none" normalizeH="0" baseline="0" dirty="0">
                <a:ln>
                  <a:noFill/>
                </a:ln>
                <a:solidFill>
                  <a:schemeClr val="tx2"/>
                </a:solidFill>
                <a:effectLst/>
                <a:latin typeface="Trebuchet MS" panose="020B0603020202020204" pitchFamily="34" charset="0"/>
              </a:rPr>
              <a:t>database</a:t>
            </a:r>
            <a:r>
              <a:rPr kumimoji="0" lang="en-GB" sz="1000" b="0" i="0" u="none" strike="noStrike" cap="none" normalizeH="0" baseline="0" dirty="0">
                <a:ln>
                  <a:noFill/>
                </a:ln>
                <a:solidFill>
                  <a:schemeClr val="tx1"/>
                </a:solidFill>
                <a:effectLst/>
                <a:latin typeface="Trebuchet MS" panose="020B0603020202020204" pitchFamily="34" charset="0"/>
              </a:rPr>
              <a:t> </a:t>
            </a:r>
            <a:r>
              <a:rPr kumimoji="0" lang="en-GB" sz="1000" b="0" i="0" u="none" strike="noStrike" cap="none" normalizeH="0" baseline="0" dirty="0">
                <a:ln>
                  <a:noFill/>
                </a:ln>
                <a:solidFill>
                  <a:schemeClr val="tx2"/>
                </a:solidFill>
                <a:effectLst/>
                <a:latin typeface="Trebuchet MS" panose="020B0603020202020204" pitchFamily="34" charset="0"/>
              </a:rPr>
              <a:t>building</a:t>
            </a:r>
            <a:r>
              <a:rPr kumimoji="0" lang="en-GB" sz="1000" b="0" i="0" u="none" strike="noStrike" cap="none" normalizeH="0" baseline="0" dirty="0">
                <a:ln>
                  <a:noFill/>
                </a:ln>
                <a:solidFill>
                  <a:schemeClr val="tx1"/>
                </a:solidFill>
                <a:effectLst/>
                <a:latin typeface="Trebuchet MS" panose="020B0603020202020204" pitchFamily="34" charset="0"/>
              </a:rPr>
              <a:t>, </a:t>
            </a:r>
            <a:r>
              <a:rPr kumimoji="0" lang="en-GB" sz="1000" b="0" i="0" u="none" strike="noStrike" cap="none" normalizeH="0" baseline="0" dirty="0">
                <a:ln>
                  <a:noFill/>
                </a:ln>
                <a:solidFill>
                  <a:schemeClr val="tx2"/>
                </a:solidFill>
                <a:effectLst/>
                <a:latin typeface="Trebuchet MS" panose="020B0603020202020204" pitchFamily="34" charset="0"/>
              </a:rPr>
              <a:t>cleansing</a:t>
            </a:r>
            <a:r>
              <a:rPr kumimoji="0" lang="en-GB" sz="1000" b="0" i="0" u="none" strike="noStrike" cap="none" normalizeH="0" baseline="0" dirty="0">
                <a:ln>
                  <a:noFill/>
                </a:ln>
                <a:solidFill>
                  <a:schemeClr val="tx1"/>
                </a:solidFill>
                <a:effectLst/>
                <a:latin typeface="Trebuchet MS" panose="020B0603020202020204" pitchFamily="34" charset="0"/>
              </a:rPr>
              <a:t> and </a:t>
            </a:r>
            <a:r>
              <a:rPr kumimoji="0" lang="en-GB" sz="1000" b="0" i="0" u="none" strike="noStrike" cap="none" normalizeH="0" baseline="0" dirty="0">
                <a:ln>
                  <a:noFill/>
                </a:ln>
                <a:solidFill>
                  <a:schemeClr val="tx2"/>
                </a:solidFill>
                <a:effectLst/>
                <a:latin typeface="Trebuchet MS" panose="020B0603020202020204" pitchFamily="34" charset="0"/>
              </a:rPr>
              <a:t>enrichment</a:t>
            </a:r>
            <a:r>
              <a:rPr kumimoji="0" lang="en-GB" sz="1000" b="0" i="0" u="none" strike="noStrike" cap="none" normalizeH="0" baseline="0" dirty="0">
                <a:ln>
                  <a:noFill/>
                </a:ln>
                <a:solidFill>
                  <a:schemeClr val="tx1"/>
                </a:solidFill>
                <a:effectLst/>
                <a:latin typeface="Trebuchet MS" panose="020B0603020202020204" pitchFamily="34" charset="0"/>
              </a:rPr>
              <a:t> services</a:t>
            </a:r>
          </a:p>
        </p:txBody>
      </p:sp>
      <p:grpSp>
        <p:nvGrpSpPr>
          <p:cNvPr id="44" name="Groupe 43">
            <a:extLst>
              <a:ext uri="{FF2B5EF4-FFF2-40B4-BE49-F238E27FC236}">
                <a16:creationId xmlns:a16="http://schemas.microsoft.com/office/drawing/2014/main" id="{44AA8282-A0D3-4922-92AB-188978DCFE84}"/>
              </a:ext>
            </a:extLst>
          </p:cNvPr>
          <p:cNvGrpSpPr/>
          <p:nvPr/>
        </p:nvGrpSpPr>
        <p:grpSpPr>
          <a:xfrm>
            <a:off x="8448150" y="-11528"/>
            <a:ext cx="1435548" cy="588143"/>
            <a:chOff x="8448150" y="-11528"/>
            <a:chExt cx="1435548" cy="588143"/>
          </a:xfrm>
        </p:grpSpPr>
        <p:grpSp>
          <p:nvGrpSpPr>
            <p:cNvPr id="47" name="Groupe 46">
              <a:extLst>
                <a:ext uri="{FF2B5EF4-FFF2-40B4-BE49-F238E27FC236}">
                  <a16:creationId xmlns:a16="http://schemas.microsoft.com/office/drawing/2014/main" id="{BE2C8CF3-507F-4893-B3CB-80E29A88B20E}"/>
                </a:ext>
              </a:extLst>
            </p:cNvPr>
            <p:cNvGrpSpPr/>
            <p:nvPr/>
          </p:nvGrpSpPr>
          <p:grpSpPr>
            <a:xfrm>
              <a:off x="8448150" y="-11528"/>
              <a:ext cx="1435548" cy="555653"/>
              <a:chOff x="8448150" y="-11528"/>
              <a:chExt cx="1435548" cy="555653"/>
            </a:xfrm>
          </p:grpSpPr>
          <p:sp>
            <p:nvSpPr>
              <p:cNvPr id="50" name="Rectangle : coins arrondis 199">
                <a:extLst>
                  <a:ext uri="{FF2B5EF4-FFF2-40B4-BE49-F238E27FC236}">
                    <a16:creationId xmlns:a16="http://schemas.microsoft.com/office/drawing/2014/main" id="{5546B204-521F-40C5-AFBD-423E38C7C98C}"/>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3" name="Rectangle : coins arrondis 200">
                <a:extLst>
                  <a:ext uri="{FF2B5EF4-FFF2-40B4-BE49-F238E27FC236}">
                    <a16:creationId xmlns:a16="http://schemas.microsoft.com/office/drawing/2014/main" id="{07854AF9-C9FB-49E0-8E3C-F7EFC5346564}"/>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4" name="Rectangle : coins arrondis 201">
                <a:extLst>
                  <a:ext uri="{FF2B5EF4-FFF2-40B4-BE49-F238E27FC236}">
                    <a16:creationId xmlns:a16="http://schemas.microsoft.com/office/drawing/2014/main" id="{3A403A75-FBC5-4BB3-A6C7-CE80E1C1F764}"/>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7" name="ZoneTexte 18">
                <a:extLst>
                  <a:ext uri="{FF2B5EF4-FFF2-40B4-BE49-F238E27FC236}">
                    <a16:creationId xmlns:a16="http://schemas.microsoft.com/office/drawing/2014/main" id="{FE49860B-A8BF-4DD4-B121-9F4EE986CE2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65" name="Graphique 128" descr="Jauge">
                <a:extLst>
                  <a:ext uri="{FF2B5EF4-FFF2-40B4-BE49-F238E27FC236}">
                    <a16:creationId xmlns:a16="http://schemas.microsoft.com/office/drawing/2014/main" id="{DF703ACB-B3FF-46B8-97C7-FC234941B67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553764" y="187516"/>
                <a:ext cx="234953" cy="218224"/>
              </a:xfrm>
              <a:prstGeom prst="rect">
                <a:avLst/>
              </a:prstGeom>
              <a:effectLst/>
            </p:spPr>
          </p:pic>
          <p:pic>
            <p:nvPicPr>
              <p:cNvPr id="66" name="Graphique 90" descr="Poignée de main">
                <a:extLst>
                  <a:ext uri="{FF2B5EF4-FFF2-40B4-BE49-F238E27FC236}">
                    <a16:creationId xmlns:a16="http://schemas.microsoft.com/office/drawing/2014/main" id="{8785CE53-AC03-4038-9000-93962BAD585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960868" y="152880"/>
                <a:ext cx="256313" cy="287496"/>
              </a:xfrm>
              <a:prstGeom prst="rect">
                <a:avLst/>
              </a:prstGeom>
              <a:effectLst/>
            </p:spPr>
          </p:pic>
          <p:pic>
            <p:nvPicPr>
              <p:cNvPr id="67" name="Graphique 74" descr="Mégaphone">
                <a:extLst>
                  <a:ext uri="{FF2B5EF4-FFF2-40B4-BE49-F238E27FC236}">
                    <a16:creationId xmlns:a16="http://schemas.microsoft.com/office/drawing/2014/main" id="{99F80C68-71D9-4D8A-B816-87E1B0CC1543}"/>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389331" y="181519"/>
                <a:ext cx="233011" cy="216420"/>
              </a:xfrm>
              <a:prstGeom prst="rect">
                <a:avLst/>
              </a:prstGeom>
              <a:effectLst/>
            </p:spPr>
          </p:pic>
          <p:pic>
            <p:nvPicPr>
              <p:cNvPr id="68" name="Picture 2" descr="Drapeau France">
                <a:extLst>
                  <a:ext uri="{FF2B5EF4-FFF2-40B4-BE49-F238E27FC236}">
                    <a16:creationId xmlns:a16="http://schemas.microsoft.com/office/drawing/2014/main" id="{E13AB160-D89C-4592-924B-E9EF3B251BE1}"/>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9" name="Picture 2" descr="5 ft x 3 ft 150 x 90 cm-DRAPEAU BELGE Belgique 100% Polyester ...">
                <a:extLst>
                  <a:ext uri="{FF2B5EF4-FFF2-40B4-BE49-F238E27FC236}">
                    <a16:creationId xmlns:a16="http://schemas.microsoft.com/office/drawing/2014/main" id="{0AE0AA38-34BB-41EF-A23F-10814F284291}"/>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72" name="Picture 2 - 1" descr="Drapeau des Pays-Bas — Wikipédia">
                <a:extLst>
                  <a:ext uri="{FF2B5EF4-FFF2-40B4-BE49-F238E27FC236}">
                    <a16:creationId xmlns:a16="http://schemas.microsoft.com/office/drawing/2014/main" id="{C242E57C-FB8A-4799-A885-5CEF0D4F2F0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3" name="Picture 2 - 2" descr="Drapeau du Luxembourg">
                <a:extLst>
                  <a:ext uri="{FF2B5EF4-FFF2-40B4-BE49-F238E27FC236}">
                    <a16:creationId xmlns:a16="http://schemas.microsoft.com/office/drawing/2014/main" id="{3435ADA2-DBC2-4625-858A-736FC4DC805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48" name="ZoneTexte 18">
              <a:extLst>
                <a:ext uri="{FF2B5EF4-FFF2-40B4-BE49-F238E27FC236}">
                  <a16:creationId xmlns:a16="http://schemas.microsoft.com/office/drawing/2014/main" id="{1531A3BF-040D-4366-BA19-CB6431E45D1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2B Marketing</a:t>
              </a:r>
            </a:p>
          </p:txBody>
        </p:sp>
      </p:grpSp>
      <p:cxnSp>
        <p:nvCxnSpPr>
          <p:cNvPr id="74" name="Connecteur droit avec flèche 10">
            <a:extLst>
              <a:ext uri="{FF2B5EF4-FFF2-40B4-BE49-F238E27FC236}">
                <a16:creationId xmlns:a16="http://schemas.microsoft.com/office/drawing/2014/main" id="{33BEF4ED-A8BF-4317-AF31-202616465D5B}"/>
              </a:ext>
            </a:extLst>
          </p:cNvPr>
          <p:cNvCxnSpPr>
            <a:cxnSpLocks/>
          </p:cNvCxnSpPr>
          <p:nvPr/>
        </p:nvCxnSpPr>
        <p:spPr bwMode="auto">
          <a:xfrm flipH="1" flipV="1">
            <a:off x="1759484" y="2440257"/>
            <a:ext cx="220164" cy="176433"/>
          </a:xfrm>
          <a:prstGeom prst="straightConnector1">
            <a:avLst/>
          </a:prstGeom>
          <a:solidFill>
            <a:schemeClr val="accent1"/>
          </a:solidFill>
          <a:ln w="9525" cap="flat" cmpd="sng" algn="ctr">
            <a:solidFill>
              <a:schemeClr val="tx1"/>
            </a:solidFill>
            <a:prstDash val="solid"/>
            <a:round/>
            <a:headEnd type="triangle" w="med" len="med"/>
            <a:tailEnd type="none" w="med" len="med"/>
          </a:ln>
          <a:effectLst/>
        </p:spPr>
      </p:cxnSp>
      <p:cxnSp>
        <p:nvCxnSpPr>
          <p:cNvPr id="75" name="Connecteur droit avec flèche 10">
            <a:extLst>
              <a:ext uri="{FF2B5EF4-FFF2-40B4-BE49-F238E27FC236}">
                <a16:creationId xmlns:a16="http://schemas.microsoft.com/office/drawing/2014/main" id="{FAA31634-68CD-4B5F-B06C-C19981338F20}"/>
              </a:ext>
            </a:extLst>
          </p:cNvPr>
          <p:cNvCxnSpPr>
            <a:cxnSpLocks/>
          </p:cNvCxnSpPr>
          <p:nvPr/>
        </p:nvCxnSpPr>
        <p:spPr bwMode="auto">
          <a:xfrm flipH="1">
            <a:off x="2124181" y="2454779"/>
            <a:ext cx="313914" cy="156766"/>
          </a:xfrm>
          <a:prstGeom prst="straightConnector1">
            <a:avLst/>
          </a:prstGeom>
          <a:solidFill>
            <a:schemeClr val="accent1"/>
          </a:solidFill>
          <a:ln w="9525" cap="flat" cmpd="sng" algn="ctr">
            <a:solidFill>
              <a:schemeClr val="tx1"/>
            </a:solidFill>
            <a:prstDash val="solid"/>
            <a:round/>
            <a:headEnd type="triangle" w="med" len="med"/>
            <a:tailEnd type="none" w="med" len="med"/>
          </a:ln>
          <a:effectLst/>
        </p:spPr>
      </p:cxnSp>
      <p:sp>
        <p:nvSpPr>
          <p:cNvPr id="76" name="ZoneTexte 75">
            <a:extLst>
              <a:ext uri="{FF2B5EF4-FFF2-40B4-BE49-F238E27FC236}">
                <a16:creationId xmlns:a16="http://schemas.microsoft.com/office/drawing/2014/main" id="{495DC4FD-35D2-4302-A5C5-AFA05B1E7D27}"/>
              </a:ext>
            </a:extLst>
          </p:cNvPr>
          <p:cNvSpPr txBox="1"/>
          <p:nvPr/>
        </p:nvSpPr>
        <p:spPr>
          <a:xfrm>
            <a:off x="2050199" y="2260400"/>
            <a:ext cx="419598" cy="230832"/>
          </a:xfrm>
          <a:prstGeom prst="rect">
            <a:avLst/>
          </a:prstGeom>
          <a:noFill/>
        </p:spPr>
        <p:txBody>
          <a:bodyPr wrap="square" rtlCol="0">
            <a:spAutoFit/>
          </a:bodyPr>
          <a:lstStyle/>
          <a:p>
            <a:pPr algn="ctr"/>
            <a:r>
              <a:rPr lang="en-GB" sz="900">
                <a:latin typeface="Trebuchet MS" panose="020B0603020202020204" pitchFamily="34" charset="0"/>
              </a:rPr>
              <a:t>+7%</a:t>
            </a:r>
          </a:p>
        </p:txBody>
      </p:sp>
      <p:sp>
        <p:nvSpPr>
          <p:cNvPr id="77" name="ZoneTexte 76">
            <a:extLst>
              <a:ext uri="{FF2B5EF4-FFF2-40B4-BE49-F238E27FC236}">
                <a16:creationId xmlns:a16="http://schemas.microsoft.com/office/drawing/2014/main" id="{23EFEDB8-A1AC-4487-8566-DBFCCA5ECBE8}"/>
              </a:ext>
            </a:extLst>
          </p:cNvPr>
          <p:cNvSpPr txBox="1"/>
          <p:nvPr/>
        </p:nvSpPr>
        <p:spPr>
          <a:xfrm>
            <a:off x="6659627" y="2397402"/>
            <a:ext cx="419598" cy="230832"/>
          </a:xfrm>
          <a:prstGeom prst="rect">
            <a:avLst/>
          </a:prstGeom>
          <a:noFill/>
        </p:spPr>
        <p:txBody>
          <a:bodyPr wrap="square" rtlCol="0">
            <a:spAutoFit/>
          </a:bodyPr>
          <a:lstStyle/>
          <a:p>
            <a:pPr algn="ctr"/>
            <a:r>
              <a:rPr lang="en-GB" sz="900">
                <a:latin typeface="Trebuchet MS" panose="020B0603020202020204" pitchFamily="34" charset="0"/>
              </a:rPr>
              <a:t>-10%</a:t>
            </a:r>
          </a:p>
        </p:txBody>
      </p:sp>
      <p:cxnSp>
        <p:nvCxnSpPr>
          <p:cNvPr id="78" name="Connecteur droit avec flèche 10">
            <a:extLst>
              <a:ext uri="{FF2B5EF4-FFF2-40B4-BE49-F238E27FC236}">
                <a16:creationId xmlns:a16="http://schemas.microsoft.com/office/drawing/2014/main" id="{A4170D95-4E7C-4EF7-96B4-A62E046F9CB8}"/>
              </a:ext>
            </a:extLst>
          </p:cNvPr>
          <p:cNvCxnSpPr>
            <a:cxnSpLocks/>
          </p:cNvCxnSpPr>
          <p:nvPr/>
        </p:nvCxnSpPr>
        <p:spPr bwMode="auto">
          <a:xfrm flipH="1" flipV="1">
            <a:off x="6705313" y="2577259"/>
            <a:ext cx="220164" cy="176433"/>
          </a:xfrm>
          <a:prstGeom prst="straightConnector1">
            <a:avLst/>
          </a:prstGeom>
          <a:solidFill>
            <a:schemeClr val="accent1"/>
          </a:solidFill>
          <a:ln w="9525" cap="flat" cmpd="sng" algn="ctr">
            <a:solidFill>
              <a:schemeClr val="tx1"/>
            </a:solidFill>
            <a:prstDash val="solid"/>
            <a:round/>
            <a:headEnd type="triangle" w="med" len="med"/>
            <a:tailEnd type="none" w="med" len="med"/>
          </a:ln>
          <a:effectLst/>
        </p:spPr>
      </p:cxnSp>
      <p:cxnSp>
        <p:nvCxnSpPr>
          <p:cNvPr id="79" name="Connecteur droit avec flèche 10">
            <a:extLst>
              <a:ext uri="{FF2B5EF4-FFF2-40B4-BE49-F238E27FC236}">
                <a16:creationId xmlns:a16="http://schemas.microsoft.com/office/drawing/2014/main" id="{84B95D70-2EEB-4722-8C49-12C1B1709CED}"/>
              </a:ext>
            </a:extLst>
          </p:cNvPr>
          <p:cNvCxnSpPr>
            <a:cxnSpLocks/>
          </p:cNvCxnSpPr>
          <p:nvPr/>
        </p:nvCxnSpPr>
        <p:spPr bwMode="auto">
          <a:xfrm flipH="1">
            <a:off x="7070010" y="2591781"/>
            <a:ext cx="313914" cy="156766"/>
          </a:xfrm>
          <a:prstGeom prst="straightConnector1">
            <a:avLst/>
          </a:prstGeom>
          <a:solidFill>
            <a:schemeClr val="accent1"/>
          </a:solidFill>
          <a:ln w="9525" cap="flat" cmpd="sng" algn="ctr">
            <a:solidFill>
              <a:schemeClr val="tx1"/>
            </a:solidFill>
            <a:prstDash val="solid"/>
            <a:round/>
            <a:headEnd type="triangle" w="med" len="med"/>
            <a:tailEnd type="none" w="med" len="med"/>
          </a:ln>
          <a:effectLst/>
        </p:spPr>
      </p:cxnSp>
      <p:sp>
        <p:nvSpPr>
          <p:cNvPr id="80" name="ZoneTexte 79">
            <a:extLst>
              <a:ext uri="{FF2B5EF4-FFF2-40B4-BE49-F238E27FC236}">
                <a16:creationId xmlns:a16="http://schemas.microsoft.com/office/drawing/2014/main" id="{2748958B-0CB7-47CF-9BD0-DDD1F348AB06}"/>
              </a:ext>
            </a:extLst>
          </p:cNvPr>
          <p:cNvSpPr txBox="1"/>
          <p:nvPr/>
        </p:nvSpPr>
        <p:spPr>
          <a:xfrm>
            <a:off x="6996028" y="2397402"/>
            <a:ext cx="419598" cy="230832"/>
          </a:xfrm>
          <a:prstGeom prst="rect">
            <a:avLst/>
          </a:prstGeom>
          <a:noFill/>
        </p:spPr>
        <p:txBody>
          <a:bodyPr wrap="square" rtlCol="0">
            <a:spAutoFit/>
          </a:bodyPr>
          <a:lstStyle/>
          <a:p>
            <a:pPr algn="ctr"/>
            <a:r>
              <a:rPr lang="en-GB" sz="900">
                <a:latin typeface="Trebuchet MS" panose="020B0603020202020204" pitchFamily="34" charset="0"/>
              </a:rPr>
              <a:t>+6%</a:t>
            </a:r>
          </a:p>
        </p:txBody>
      </p:sp>
      <p:pic>
        <p:nvPicPr>
          <p:cNvPr id="81" name="Graphique 80">
            <a:extLst>
              <a:ext uri="{FF2B5EF4-FFF2-40B4-BE49-F238E27FC236}">
                <a16:creationId xmlns:a16="http://schemas.microsoft.com/office/drawing/2014/main" id="{F94DC423-5325-4A25-B7D2-6C8738DEB75B}"/>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680525" y="2030917"/>
            <a:ext cx="195930" cy="242031"/>
          </a:xfrm>
          <a:prstGeom prst="rect">
            <a:avLst/>
          </a:prstGeom>
        </p:spPr>
      </p:pic>
      <p:sp>
        <p:nvSpPr>
          <p:cNvPr id="82" name="Rectangle 81">
            <a:extLst>
              <a:ext uri="{FF2B5EF4-FFF2-40B4-BE49-F238E27FC236}">
                <a16:creationId xmlns:a16="http://schemas.microsoft.com/office/drawing/2014/main" id="{4DF4DFCD-D791-48D3-98A5-97965DDAE20F}"/>
              </a:ext>
            </a:extLst>
          </p:cNvPr>
          <p:cNvSpPr/>
          <p:nvPr/>
        </p:nvSpPr>
        <p:spPr bwMode="auto">
          <a:xfrm>
            <a:off x="1824135" y="2059860"/>
            <a:ext cx="79643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err="1">
                <a:solidFill>
                  <a:schemeClr val="tx2"/>
                </a:solidFill>
                <a:latin typeface="Trebuchet MS" panose="020B0603020202020204" pitchFamily="34" charset="0"/>
              </a:rPr>
              <a:t>Covid</a:t>
            </a:r>
            <a:r>
              <a:rPr lang="en-GB" sz="900" i="1">
                <a:solidFill>
                  <a:schemeClr val="tx2"/>
                </a:solidFill>
                <a:latin typeface="Trebuchet MS" panose="020B0603020202020204" pitchFamily="34" charset="0"/>
              </a:rPr>
              <a:t> impact</a:t>
            </a:r>
            <a:endParaRPr kumimoji="0" lang="en-GB" sz="900" b="0" i="1" u="none" strike="noStrike" cap="none" normalizeH="0" baseline="0">
              <a:ln>
                <a:noFill/>
              </a:ln>
              <a:solidFill>
                <a:schemeClr val="tx2"/>
              </a:solidFill>
              <a:effectLst/>
              <a:latin typeface="Trebuchet MS" panose="020B0603020202020204" pitchFamily="34" charset="0"/>
            </a:endParaRPr>
          </a:p>
        </p:txBody>
      </p:sp>
      <p:pic>
        <p:nvPicPr>
          <p:cNvPr id="83" name="Graphique 82">
            <a:extLst>
              <a:ext uri="{FF2B5EF4-FFF2-40B4-BE49-F238E27FC236}">
                <a16:creationId xmlns:a16="http://schemas.microsoft.com/office/drawing/2014/main" id="{92550BD9-E71C-44A2-B531-B607C1E2BED8}"/>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472264" y="2174797"/>
            <a:ext cx="195930" cy="242031"/>
          </a:xfrm>
          <a:prstGeom prst="rect">
            <a:avLst/>
          </a:prstGeom>
        </p:spPr>
      </p:pic>
      <p:sp>
        <p:nvSpPr>
          <p:cNvPr id="84" name="Rectangle 83">
            <a:extLst>
              <a:ext uri="{FF2B5EF4-FFF2-40B4-BE49-F238E27FC236}">
                <a16:creationId xmlns:a16="http://schemas.microsoft.com/office/drawing/2014/main" id="{B6311BDA-8992-4159-8864-5C38621478C3}"/>
              </a:ext>
            </a:extLst>
          </p:cNvPr>
          <p:cNvSpPr/>
          <p:nvPr/>
        </p:nvSpPr>
        <p:spPr bwMode="auto">
          <a:xfrm>
            <a:off x="6615874" y="2203740"/>
            <a:ext cx="79643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err="1">
                <a:solidFill>
                  <a:schemeClr val="tx2"/>
                </a:solidFill>
                <a:latin typeface="Trebuchet MS" panose="020B0603020202020204" pitchFamily="34" charset="0"/>
              </a:rPr>
              <a:t>Covid</a:t>
            </a:r>
            <a:r>
              <a:rPr lang="en-GB" sz="900" i="1">
                <a:solidFill>
                  <a:schemeClr val="tx2"/>
                </a:solidFill>
                <a:latin typeface="Trebuchet MS" panose="020B0603020202020204" pitchFamily="34" charset="0"/>
              </a:rPr>
              <a:t> impact</a:t>
            </a:r>
            <a:endParaRPr kumimoji="0" lang="en-GB" sz="900" b="0" i="1" u="none" strike="noStrike" cap="none" normalizeH="0" baseline="0">
              <a:ln>
                <a:noFill/>
              </a:ln>
              <a:solidFill>
                <a:schemeClr val="tx2"/>
              </a:solidFill>
              <a:effectLst/>
              <a:latin typeface="Trebuchet MS" panose="020B0603020202020204" pitchFamily="34" charset="0"/>
            </a:endParaRPr>
          </a:p>
        </p:txBody>
      </p:sp>
      <p:grpSp>
        <p:nvGrpSpPr>
          <p:cNvPr id="59" name="Groupe 21">
            <a:extLst>
              <a:ext uri="{FF2B5EF4-FFF2-40B4-BE49-F238E27FC236}">
                <a16:creationId xmlns:a16="http://schemas.microsoft.com/office/drawing/2014/main" id="{D15F674B-CC03-45DF-9F12-B6C9BA3A4C9A}"/>
              </a:ext>
            </a:extLst>
          </p:cNvPr>
          <p:cNvGrpSpPr/>
          <p:nvPr/>
        </p:nvGrpSpPr>
        <p:grpSpPr>
          <a:xfrm>
            <a:off x="87764" y="5871862"/>
            <a:ext cx="451426" cy="455941"/>
            <a:chOff x="195390" y="5861727"/>
            <a:chExt cx="335805" cy="335805"/>
          </a:xfrm>
        </p:grpSpPr>
        <p:sp>
          <p:nvSpPr>
            <p:cNvPr id="60" name="Ellipse 22">
              <a:extLst>
                <a:ext uri="{FF2B5EF4-FFF2-40B4-BE49-F238E27FC236}">
                  <a16:creationId xmlns:a16="http://schemas.microsoft.com/office/drawing/2014/main" id="{28351A65-40E9-4C1C-A9E8-9A5050AB3F45}"/>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85" name="Group 5">
              <a:extLst>
                <a:ext uri="{FF2B5EF4-FFF2-40B4-BE49-F238E27FC236}">
                  <a16:creationId xmlns:a16="http://schemas.microsoft.com/office/drawing/2014/main" id="{16CA3757-5763-4F15-B213-82B501CCE817}"/>
                </a:ext>
              </a:extLst>
            </p:cNvPr>
            <p:cNvGrpSpPr>
              <a:grpSpLocks noChangeAspect="1"/>
            </p:cNvGrpSpPr>
            <p:nvPr/>
          </p:nvGrpSpPr>
          <p:grpSpPr bwMode="auto">
            <a:xfrm>
              <a:off x="249663" y="5915997"/>
              <a:ext cx="227258" cy="227255"/>
              <a:chOff x="788" y="800"/>
              <a:chExt cx="742" cy="742"/>
            </a:xfrm>
            <a:solidFill>
              <a:schemeClr val="tx2"/>
            </a:solidFill>
          </p:grpSpPr>
          <p:sp>
            <p:nvSpPr>
              <p:cNvPr id="86" name="Freeform 6">
                <a:extLst>
                  <a:ext uri="{FF2B5EF4-FFF2-40B4-BE49-F238E27FC236}">
                    <a16:creationId xmlns:a16="http://schemas.microsoft.com/office/drawing/2014/main" id="{403ED5A1-3133-4F83-975E-F18B25868B66}"/>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7" name="Freeform 7">
                <a:extLst>
                  <a:ext uri="{FF2B5EF4-FFF2-40B4-BE49-F238E27FC236}">
                    <a16:creationId xmlns:a16="http://schemas.microsoft.com/office/drawing/2014/main" id="{88860837-0323-4254-8F88-86005CFD93DC}"/>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8" name="Freeform 8">
                <a:extLst>
                  <a:ext uri="{FF2B5EF4-FFF2-40B4-BE49-F238E27FC236}">
                    <a16:creationId xmlns:a16="http://schemas.microsoft.com/office/drawing/2014/main" id="{4B05ABB5-C4AF-4DDA-8223-59F65BBAF76D}"/>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9" name="Freeform 9">
                <a:extLst>
                  <a:ext uri="{FF2B5EF4-FFF2-40B4-BE49-F238E27FC236}">
                    <a16:creationId xmlns:a16="http://schemas.microsoft.com/office/drawing/2014/main" id="{F2B5B562-B001-4BD3-A205-1C2CA516C198}"/>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0" name="Freeform 10">
                <a:extLst>
                  <a:ext uri="{FF2B5EF4-FFF2-40B4-BE49-F238E27FC236}">
                    <a16:creationId xmlns:a16="http://schemas.microsoft.com/office/drawing/2014/main" id="{CCEABF86-EEBC-42A8-8533-4E795687AC1F}"/>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1" name="Freeform 11">
                <a:extLst>
                  <a:ext uri="{FF2B5EF4-FFF2-40B4-BE49-F238E27FC236}">
                    <a16:creationId xmlns:a16="http://schemas.microsoft.com/office/drawing/2014/main" id="{6A21A92C-8005-4FE1-87B3-2F69C72217DB}"/>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2" name="Freeform 12">
                <a:extLst>
                  <a:ext uri="{FF2B5EF4-FFF2-40B4-BE49-F238E27FC236}">
                    <a16:creationId xmlns:a16="http://schemas.microsoft.com/office/drawing/2014/main" id="{C4F34CB2-3EA7-46A8-BE9E-CB4A263EF1D4}"/>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spTree>
    <p:extLst>
      <p:ext uri="{BB962C8B-B14F-4D97-AF65-F5344CB8AC3E}">
        <p14:creationId xmlns:p14="http://schemas.microsoft.com/office/powerpoint/2010/main" val="76837937"/>
      </p:ext>
    </p:extLst>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4E8BB55-4454-4FE4-A0CA-08C2677BB30A}"/>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15C80389-6548-4E62-B1DE-3FED01EC77DC}"/>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5" name="Chevron">
            <a:extLst>
              <a:ext uri="{FF2B5EF4-FFF2-40B4-BE49-F238E27FC236}">
                <a16:creationId xmlns:a16="http://schemas.microsoft.com/office/drawing/2014/main" id="{E411076D-BD7D-4F3C-BA4F-785FA7DEB8E0}"/>
              </a:ext>
            </a:extLst>
          </p:cNvPr>
          <p:cNvSpPr/>
          <p:nvPr/>
        </p:nvSpPr>
        <p:spPr bwMode="auto">
          <a:xfrm>
            <a:off x="1418399" y="2181600"/>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 name="Section">
            <a:extLst>
              <a:ext uri="{FF2B5EF4-FFF2-40B4-BE49-F238E27FC236}">
                <a16:creationId xmlns:a16="http://schemas.microsoft.com/office/drawing/2014/main" id="{326B4D12-3A06-4913-AA9A-9843CDCAF5C5}"/>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2</a:t>
            </a:r>
          </a:p>
        </p:txBody>
      </p:sp>
      <p:sp>
        <p:nvSpPr>
          <p:cNvPr id="9" name="ZoneTexte 8">
            <a:extLst>
              <a:ext uri="{FF2B5EF4-FFF2-40B4-BE49-F238E27FC236}">
                <a16:creationId xmlns:a16="http://schemas.microsoft.com/office/drawing/2014/main" id="{76C606AD-5967-4A12-8734-8F0585B2B6DC}"/>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marR="0" indent="-228600" defTabSz="914400" rtl="0" eaLnBrk="1" fontAlgn="base" latinLnBrk="0" hangingPunct="1">
              <a:lnSpc>
                <a:spcPct val="100000"/>
              </a:lnSpc>
              <a:spcBef>
                <a:spcPct val="0"/>
              </a:spcBef>
              <a:spcAft>
                <a:spcPct val="0"/>
              </a:spcAft>
              <a:buClrTx/>
              <a:buSzTx/>
              <a:buFont typeface="+mj-lt"/>
              <a:buAutoNum type="arabicPeriod"/>
              <a:tabLst/>
            </a:pPr>
            <a:r>
              <a:rPr kumimoji="0" lang="en-GB" sz="1200" b="0" u="none" strike="noStrike" cap="none" normalizeH="0" baseline="0">
                <a:ln>
                  <a:noFill/>
                </a:ln>
                <a:effectLst/>
                <a:latin typeface="Trebuchet MS" pitchFamily="34" charset="0"/>
              </a:rPr>
              <a:t>Overview of the BD&amp;A market addressed by </a:t>
            </a:r>
            <a:r>
              <a:rPr kumimoji="0" lang="en-GB" sz="1200" b="0" u="none" strike="noStrike" cap="none" normalizeH="0" baseline="0" err="1">
                <a:ln>
                  <a:noFill/>
                </a:ln>
                <a:effectLst/>
                <a:latin typeface="Trebuchet MS" pitchFamily="34" charset="0"/>
              </a:rPr>
              <a:t>Altares</a:t>
            </a:r>
            <a:endParaRPr kumimoji="0" lang="en-GB" sz="1200" b="0" u="none" strike="noStrike" cap="none" normalizeH="0" baseline="0">
              <a:ln>
                <a:noFill/>
              </a:ln>
              <a:effectLst/>
              <a:latin typeface="Trebuchet MS" pitchFamily="34" charset="0"/>
            </a:endParaRPr>
          </a:p>
          <a:p>
            <a:pPr marL="742950" lvl="1" indent="-285750">
              <a:buFont typeface="+mj-lt"/>
              <a:buAutoNum type="romanLcPeriod"/>
            </a:pPr>
            <a:r>
              <a:rPr kumimoji="0" lang="en-GB" sz="1200" b="0" u="none" strike="noStrike" cap="none" normalizeH="0" baseline="0">
                <a:ln>
                  <a:noFill/>
                </a:ln>
                <a:effectLst/>
                <a:latin typeface="Trebuchet MS" pitchFamily="34" charset="0"/>
              </a:rPr>
              <a:t>Key customers’ use cases related to BD&amp;A</a:t>
            </a:r>
          </a:p>
          <a:p>
            <a:pPr marL="742950" lvl="1" indent="-285750">
              <a:buFont typeface="+mj-lt"/>
              <a:buAutoNum type="romanLcPeriod"/>
            </a:pPr>
            <a:r>
              <a:rPr kumimoji="0" lang="en-GB" sz="1200" b="0" u="none" strike="noStrike" cap="none" normalizeH="0" baseline="0">
                <a:ln>
                  <a:noFill/>
                </a:ln>
                <a:effectLst/>
                <a:latin typeface="Trebuchet MS" pitchFamily="34" charset="0"/>
              </a:rPr>
              <a:t>Global market structure and </a:t>
            </a:r>
            <a:r>
              <a:rPr kumimoji="0" lang="en-GB" sz="1200" b="0" u="none" strike="noStrike" cap="none" normalizeH="0" baseline="0" err="1">
                <a:ln>
                  <a:noFill/>
                </a:ln>
                <a:effectLst/>
                <a:latin typeface="Trebuchet MS" pitchFamily="34" charset="0"/>
              </a:rPr>
              <a:t>Altares</a:t>
            </a:r>
            <a:r>
              <a:rPr kumimoji="0" lang="en-GB" sz="1200" b="0" u="none" strike="noStrike" cap="none" normalizeH="0" baseline="0">
                <a:ln>
                  <a:noFill/>
                </a:ln>
                <a:effectLst/>
                <a:latin typeface="Trebuchet MS" pitchFamily="34" charset="0"/>
              </a:rPr>
              <a:t> positioning</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Credit &amp; financial risk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Compliance market</a:t>
            </a:r>
          </a:p>
          <a:p>
            <a:pPr marL="742950" lvl="1" indent="-285750">
              <a:buFont typeface="+mj-lt"/>
              <a:buAutoNum type="romanLcPeriod"/>
            </a:pPr>
            <a:r>
              <a:rPr lang="en-GB" sz="1200">
                <a:latin typeface="Trebuchet MS" pitchFamily="34" charset="0"/>
              </a:rPr>
              <a:t>Market scope &amp; overview</a:t>
            </a:r>
          </a:p>
          <a:p>
            <a:pPr marL="742950" lvl="1" indent="-285750">
              <a:buFont typeface="+mj-lt"/>
              <a:buAutoNum type="romanLcPeriod"/>
            </a:pPr>
            <a:r>
              <a:rPr lang="en-GB" sz="1200">
                <a:latin typeface="Trebuchet MS" pitchFamily="34" charset="0"/>
              </a:rPr>
              <a:t>Regulatory context &amp; key drivers</a:t>
            </a:r>
          </a:p>
          <a:p>
            <a:pPr marL="742950" marR="0" lvl="1" indent="-285750" defTabSz="914400" eaLnBrk="1" latinLnBrk="0" hangingPunct="1">
              <a:lnSpc>
                <a:spcPct val="100000"/>
              </a:lnSpc>
              <a:buClrTx/>
              <a:buSzTx/>
              <a:buFont typeface="+mj-lt"/>
              <a:buAutoNum type="romanLcPeriod"/>
              <a:tabLst/>
            </a:pPr>
            <a:r>
              <a:rPr lang="en-GB" sz="1200">
                <a:latin typeface="Trebuchet MS" pitchFamily="34" charset="0"/>
              </a:rPr>
              <a:t>Altares’ compliance ecosystem</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B2B Marketing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solidFill>
                  <a:schemeClr val="tx2"/>
                </a:solidFill>
                <a:latin typeface="Trebuchet MS" panose="020B0603020202020204" pitchFamily="34" charset="0"/>
              </a:rPr>
              <a:t>BD&amp;A market overview in Maghreb</a:t>
            </a:r>
          </a:p>
        </p:txBody>
      </p:sp>
      <p:sp>
        <p:nvSpPr>
          <p:cNvPr id="4" name="Isosceles Triangle">
            <a:extLst>
              <a:ext uri="{FF2B5EF4-FFF2-40B4-BE49-F238E27FC236}">
                <a16:creationId xmlns:a16="http://schemas.microsoft.com/office/drawing/2014/main" id="{2E27B87F-6CF4-4258-A4B3-9CA634392F1E}"/>
              </a:ext>
            </a:extLst>
          </p:cNvPr>
          <p:cNvSpPr/>
          <p:nvPr/>
        </p:nvSpPr>
        <p:spPr bwMode="auto">
          <a:xfrm rot="5400000">
            <a:off x="5731200" y="2282400"/>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 name="Arrow: Pentagon">
            <a:extLst>
              <a:ext uri="{FF2B5EF4-FFF2-40B4-BE49-F238E27FC236}">
                <a16:creationId xmlns:a16="http://schemas.microsoft.com/office/drawing/2014/main" id="{9194A0C0-F166-4A19-BFF2-16D380261E11}"/>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18" name="Oval">
            <a:extLst>
              <a:ext uri="{FF2B5EF4-FFF2-40B4-BE49-F238E27FC236}">
                <a16:creationId xmlns:a16="http://schemas.microsoft.com/office/drawing/2014/main" id="{9459C359-D2BD-462B-A376-18E6992D2B62}"/>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19" name="Arrow: Pentagon">
            <a:extLst>
              <a:ext uri="{FF2B5EF4-FFF2-40B4-BE49-F238E27FC236}">
                <a16:creationId xmlns:a16="http://schemas.microsoft.com/office/drawing/2014/main" id="{7C09191C-DF68-44CC-885F-7931083B2CAB}"/>
              </a:ext>
            </a:extLst>
          </p:cNvPr>
          <p:cNvSpPr/>
          <p:nvPr/>
        </p:nvSpPr>
        <p:spPr bwMode="auto">
          <a:xfrm>
            <a:off x="1641599" y="2181600"/>
            <a:ext cx="4319994"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FFFFFF"/>
                </a:solidFill>
                <a:effectLst/>
                <a:latin typeface="Trebuchet MS" panose="020B0603020202020204" pitchFamily="34" charset="0"/>
              </a:rPr>
              <a:t>BD&amp;A Market &amp; Competition</a:t>
            </a:r>
          </a:p>
        </p:txBody>
      </p:sp>
      <p:sp>
        <p:nvSpPr>
          <p:cNvPr id="20" name="Oval">
            <a:extLst>
              <a:ext uri="{FF2B5EF4-FFF2-40B4-BE49-F238E27FC236}">
                <a16:creationId xmlns:a16="http://schemas.microsoft.com/office/drawing/2014/main" id="{64EAE4E9-1CB6-4961-AE61-DA0446CE25BD}"/>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21" name="Arrow: Pentagon">
            <a:extLst>
              <a:ext uri="{FF2B5EF4-FFF2-40B4-BE49-F238E27FC236}">
                <a16:creationId xmlns:a16="http://schemas.microsoft.com/office/drawing/2014/main" id="{60385F84-8AC2-4F92-9CA9-2DAC19C019E6}"/>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23" name="Arrow: Pentagon">
            <a:extLst>
              <a:ext uri="{FF2B5EF4-FFF2-40B4-BE49-F238E27FC236}">
                <a16:creationId xmlns:a16="http://schemas.microsoft.com/office/drawing/2014/main" id="{C496E9E0-5936-4B5F-84D0-877678746899}"/>
              </a:ext>
            </a:extLst>
          </p:cNvPr>
          <p:cNvSpPr/>
          <p:nvPr/>
        </p:nvSpPr>
        <p:spPr bwMode="auto">
          <a:xfrm>
            <a:off x="1641599" y="2685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25" name="Oval">
            <a:extLst>
              <a:ext uri="{FF2B5EF4-FFF2-40B4-BE49-F238E27FC236}">
                <a16:creationId xmlns:a16="http://schemas.microsoft.com/office/drawing/2014/main" id="{D688B9FB-3D3F-43BD-AF95-2DE67F2FF12E}"/>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27" name="Arrow: Pentagon">
            <a:extLst>
              <a:ext uri="{FF2B5EF4-FFF2-40B4-BE49-F238E27FC236}">
                <a16:creationId xmlns:a16="http://schemas.microsoft.com/office/drawing/2014/main" id="{7DA997AF-24F1-41FF-8E88-1E84E8C3DD7D}"/>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29" name="Oval">
            <a:extLst>
              <a:ext uri="{FF2B5EF4-FFF2-40B4-BE49-F238E27FC236}">
                <a16:creationId xmlns:a16="http://schemas.microsoft.com/office/drawing/2014/main" id="{7425D310-7D95-4E69-A363-42C89C774C89}"/>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31" name="Oval">
            <a:extLst>
              <a:ext uri="{FF2B5EF4-FFF2-40B4-BE49-F238E27FC236}">
                <a16:creationId xmlns:a16="http://schemas.microsoft.com/office/drawing/2014/main" id="{DAAAC5B7-4168-4D57-9259-083A15A3CE99}"/>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1462486750"/>
      </p:ext>
    </p:extLst>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684A8DF8-CA5C-4CF0-ABAB-56CD8C6CE7C6}"/>
              </a:ext>
            </a:extLst>
          </p:cNvPr>
          <p:cNvGraphicFramePr>
            <a:graphicFrameLocks noChangeAspect="1"/>
          </p:cNvGraphicFramePr>
          <p:nvPr>
            <p:custDataLst>
              <p:tags r:id="rId1"/>
            </p:custDataLst>
            <p:extLst>
              <p:ext uri="{D42A27DB-BD31-4B8C-83A1-F6EECF244321}">
                <p14:modId xmlns:p14="http://schemas.microsoft.com/office/powerpoint/2010/main" val="4114933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2" progId="TCLayout.ActiveDocument.1">
                  <p:embed/>
                </p:oleObj>
              </mc:Choice>
              <mc:Fallback>
                <p:oleObj name="think-cell Slide" r:id="rId5" imgW="501" imgH="502" progId="TCLayout.ActiveDocument.1">
                  <p:embed/>
                  <p:pic>
                    <p:nvPicPr>
                      <p:cNvPr id="7" name="Objet 6" hidden="1">
                        <a:extLst>
                          <a:ext uri="{FF2B5EF4-FFF2-40B4-BE49-F238E27FC236}">
                            <a16:creationId xmlns:a16="http://schemas.microsoft.com/office/drawing/2014/main" id="{684A8DF8-CA5C-4CF0-ABAB-56CD8C6CE7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20736DC-F643-4899-AAE1-1567081E994C}"/>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8B209259-435B-45EF-8E08-C29099D248A8}"/>
              </a:ext>
            </a:extLst>
          </p:cNvPr>
          <p:cNvSpPr>
            <a:spLocks noGrp="1"/>
          </p:cNvSpPr>
          <p:nvPr>
            <p:ph type="title"/>
          </p:nvPr>
        </p:nvSpPr>
        <p:spPr>
          <a:xfrm>
            <a:off x="165600" y="147600"/>
            <a:ext cx="8388164" cy="684000"/>
          </a:xfrm>
        </p:spPr>
        <p:txBody>
          <a:bodyPr/>
          <a:lstStyle/>
          <a:p>
            <a:r>
              <a:rPr lang="en-GB">
                <a:latin typeface="Trebuchet MS" panose="020B0603020202020204" pitchFamily="34" charset="0"/>
              </a:rPr>
              <a:t>Thanks to its presence in the </a:t>
            </a:r>
            <a:r>
              <a:rPr lang="en-GB">
                <a:solidFill>
                  <a:schemeClr val="tx2"/>
                </a:solidFill>
                <a:latin typeface="Trebuchet MS" panose="020B0603020202020204" pitchFamily="34" charset="0"/>
              </a:rPr>
              <a:t>Maghreb</a:t>
            </a:r>
            <a:r>
              <a:rPr lang="en-GB">
                <a:latin typeface="Trebuchet MS" panose="020B0603020202020204" pitchFamily="34" charset="0"/>
              </a:rPr>
              <a:t> area, </a:t>
            </a:r>
            <a:r>
              <a:rPr lang="en-GB" err="1">
                <a:latin typeface="Trebuchet MS" panose="020B0603020202020204" pitchFamily="34" charset="0"/>
              </a:rPr>
              <a:t>Altares</a:t>
            </a:r>
            <a:r>
              <a:rPr lang="en-GB">
                <a:latin typeface="Trebuchet MS" panose="020B0603020202020204" pitchFamily="34" charset="0"/>
              </a:rPr>
              <a:t> operates on a </a:t>
            </a:r>
            <a:r>
              <a:rPr lang="en-GB">
                <a:solidFill>
                  <a:schemeClr val="tx2"/>
                </a:solidFill>
                <a:latin typeface="Trebuchet MS" panose="020B0603020202020204" pitchFamily="34" charset="0"/>
              </a:rPr>
              <a:t>double-digit growth </a:t>
            </a:r>
            <a:r>
              <a:rPr lang="en-GB">
                <a:latin typeface="Trebuchet MS" panose="020B0603020202020204" pitchFamily="34" charset="0"/>
              </a:rPr>
              <a:t>market, and benefits from a </a:t>
            </a:r>
            <a:r>
              <a:rPr lang="en-GB">
                <a:solidFill>
                  <a:schemeClr val="tx2"/>
                </a:solidFill>
                <a:latin typeface="Trebuchet MS" panose="020B0603020202020204" pitchFamily="34" charset="0"/>
              </a:rPr>
              <a:t>privileged access to local data </a:t>
            </a:r>
            <a:r>
              <a:rPr lang="en-GB">
                <a:latin typeface="Trebuchet MS" panose="020B0603020202020204" pitchFamily="34" charset="0"/>
              </a:rPr>
              <a:t>which is </a:t>
            </a:r>
            <a:r>
              <a:rPr lang="en-GB">
                <a:solidFill>
                  <a:schemeClr val="tx2"/>
                </a:solidFill>
                <a:latin typeface="Trebuchet MS" panose="020B0603020202020204" pitchFamily="34" charset="0"/>
              </a:rPr>
              <a:t>leveraged internationally</a:t>
            </a:r>
            <a:endParaRPr lang="en-GB">
              <a:latin typeface="Trebuchet MS" panose="020B0603020202020204" pitchFamily="34" charset="0"/>
            </a:endParaRPr>
          </a:p>
        </p:txBody>
      </p:sp>
      <p:sp>
        <p:nvSpPr>
          <p:cNvPr id="3" name="Text Placeholder 2">
            <a:extLst>
              <a:ext uri="{FF2B5EF4-FFF2-40B4-BE49-F238E27FC236}">
                <a16:creationId xmlns:a16="http://schemas.microsoft.com/office/drawing/2014/main" id="{B66E256D-ED32-4E13-A0C0-CF1897D67355}"/>
              </a:ext>
            </a:extLst>
          </p:cNvPr>
          <p:cNvSpPr>
            <a:spLocks noGrp="1"/>
          </p:cNvSpPr>
          <p:nvPr>
            <p:ph type="body" sz="quarter" idx="10"/>
          </p:nvPr>
        </p:nvSpPr>
        <p:spPr/>
        <p:txBody>
          <a:bodyPr/>
          <a:lstStyle/>
          <a:p>
            <a:r>
              <a:rPr lang="en-GB"/>
              <a:t>Sources: eleven research &amp; analysis, expert calls, company data, interviews with management</a:t>
            </a:r>
          </a:p>
        </p:txBody>
      </p:sp>
      <p:grpSp>
        <p:nvGrpSpPr>
          <p:cNvPr id="110" name="Groupe 109">
            <a:extLst>
              <a:ext uri="{FF2B5EF4-FFF2-40B4-BE49-F238E27FC236}">
                <a16:creationId xmlns:a16="http://schemas.microsoft.com/office/drawing/2014/main" id="{3CCEAE5E-CE31-4388-B037-8136389B2167}"/>
              </a:ext>
            </a:extLst>
          </p:cNvPr>
          <p:cNvGrpSpPr/>
          <p:nvPr/>
        </p:nvGrpSpPr>
        <p:grpSpPr>
          <a:xfrm>
            <a:off x="336473" y="1798851"/>
            <a:ext cx="4437309" cy="1415847"/>
            <a:chOff x="570381" y="1767554"/>
            <a:chExt cx="4437309" cy="1415847"/>
          </a:xfrm>
        </p:grpSpPr>
        <p:pic>
          <p:nvPicPr>
            <p:cNvPr id="4" name="Picture 3">
              <a:extLst>
                <a:ext uri="{FF2B5EF4-FFF2-40B4-BE49-F238E27FC236}">
                  <a16:creationId xmlns:a16="http://schemas.microsoft.com/office/drawing/2014/main" id="{29B22090-7912-42E0-AF56-4EE307844D9D}"/>
                </a:ext>
              </a:extLst>
            </p:cNvPr>
            <p:cNvPicPr>
              <a:picLocks noChangeAspect="1"/>
            </p:cNvPicPr>
            <p:nvPr/>
          </p:nvPicPr>
          <p:blipFill rotWithShape="1">
            <a:blip r:embed="rId7">
              <a:clrChange>
                <a:clrFrom>
                  <a:srgbClr val="FFFFFF"/>
                </a:clrFrom>
                <a:clrTo>
                  <a:srgbClr val="FFFFFF">
                    <a:alpha val="0"/>
                  </a:srgbClr>
                </a:clrTo>
              </a:clrChange>
            </a:blip>
            <a:srcRect b="16495"/>
            <a:stretch/>
          </p:blipFill>
          <p:spPr>
            <a:xfrm>
              <a:off x="1144368" y="1767554"/>
              <a:ext cx="3187864" cy="1415847"/>
            </a:xfrm>
            <a:prstGeom prst="rect">
              <a:avLst/>
            </a:prstGeom>
          </p:spPr>
        </p:pic>
        <p:sp>
          <p:nvSpPr>
            <p:cNvPr id="47" name="Speech Bubble: Rectangle 46">
              <a:extLst>
                <a:ext uri="{FF2B5EF4-FFF2-40B4-BE49-F238E27FC236}">
                  <a16:creationId xmlns:a16="http://schemas.microsoft.com/office/drawing/2014/main" id="{B778DB96-BBEA-4A70-9B8C-F4F77F379970}"/>
                </a:ext>
              </a:extLst>
            </p:cNvPr>
            <p:cNvSpPr/>
            <p:nvPr/>
          </p:nvSpPr>
          <p:spPr bwMode="auto">
            <a:xfrm>
              <a:off x="570381" y="2026067"/>
              <a:ext cx="839902" cy="1113616"/>
            </a:xfrm>
            <a:prstGeom prst="wedgeRectCallout">
              <a:avLst>
                <a:gd name="adj1" fmla="val 71082"/>
                <a:gd name="adj2" fmla="val -11321"/>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b" anchorCtr="0" compatLnSpc="1">
              <a:prstTxWarp prst="textNoShape">
                <a:avLst/>
              </a:prstTxWarp>
            </a:bodyPr>
            <a:lstStyle/>
            <a:p>
              <a:pPr algn="ctr">
                <a:lnSpc>
                  <a:spcPts val="1000"/>
                </a:lnSpc>
              </a:pPr>
              <a:endParaRPr lang="en-GB" sz="1000">
                <a:latin typeface="Trebuchet MS" panose="020B0603020202020204" pitchFamily="34" charset="0"/>
              </a:endParaRPr>
            </a:p>
            <a:p>
              <a:pPr algn="ctr">
                <a:lnSpc>
                  <a:spcPts val="1000"/>
                </a:lnSpc>
              </a:pPr>
              <a:r>
                <a:rPr lang="en-GB" sz="1000">
                  <a:solidFill>
                    <a:schemeClr val="tx2"/>
                  </a:solidFill>
                  <a:latin typeface="Trebuchet MS" panose="020B0603020202020204" pitchFamily="34" charset="0"/>
                </a:rPr>
                <a:t>Morocco</a:t>
              </a:r>
              <a:r>
                <a:rPr lang="en-GB" sz="1000">
                  <a:latin typeface="Trebuchet MS" panose="020B0603020202020204" pitchFamily="34" charset="0"/>
                </a:rPr>
                <a:t> is the </a:t>
              </a:r>
              <a:r>
                <a:rPr lang="en-GB" sz="1000">
                  <a:solidFill>
                    <a:schemeClr val="tx2"/>
                  </a:solidFill>
                  <a:latin typeface="Trebuchet MS" panose="020B0603020202020204" pitchFamily="34" charset="0"/>
                </a:rPr>
                <a:t>most developed market</a:t>
              </a:r>
              <a:r>
                <a:rPr lang="en-GB" sz="1000">
                  <a:latin typeface="Trebuchet MS" panose="020B0603020202020204" pitchFamily="34" charset="0"/>
                </a:rPr>
                <a:t> of Maghreb regarding BD&amp;A needs</a:t>
              </a:r>
            </a:p>
          </p:txBody>
        </p:sp>
        <p:pic>
          <p:nvPicPr>
            <p:cNvPr id="11" name="Picture 10" descr="A picture containing drawing&#10;&#10;Description automatically generated">
              <a:extLst>
                <a:ext uri="{FF2B5EF4-FFF2-40B4-BE49-F238E27FC236}">
                  <a16:creationId xmlns:a16="http://schemas.microsoft.com/office/drawing/2014/main" id="{66347D95-8FAA-407F-BEC3-96F02EBED72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10559" y="2070124"/>
              <a:ext cx="216000" cy="144000"/>
            </a:xfrm>
            <a:prstGeom prst="roundRect">
              <a:avLst/>
            </a:prstGeom>
          </p:spPr>
        </p:pic>
        <p:sp>
          <p:nvSpPr>
            <p:cNvPr id="48" name="Speech Bubble: Rectangle 47">
              <a:extLst>
                <a:ext uri="{FF2B5EF4-FFF2-40B4-BE49-F238E27FC236}">
                  <a16:creationId xmlns:a16="http://schemas.microsoft.com/office/drawing/2014/main" id="{D7F15FF1-0C4F-4724-A716-1AFDD91A5A1B}"/>
                </a:ext>
              </a:extLst>
            </p:cNvPr>
            <p:cNvSpPr/>
            <p:nvPr/>
          </p:nvSpPr>
          <p:spPr bwMode="auto">
            <a:xfrm>
              <a:off x="2758443" y="2668943"/>
              <a:ext cx="2249247" cy="485220"/>
            </a:xfrm>
            <a:prstGeom prst="wedgeRectCallout">
              <a:avLst>
                <a:gd name="adj1" fmla="val -64344"/>
                <a:gd name="adj2" fmla="val -43896"/>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b" anchorCtr="0" compatLnSpc="1">
              <a:prstTxWarp prst="textNoShape">
                <a:avLst/>
              </a:prstTxWarp>
            </a:bodyPr>
            <a:lstStyle/>
            <a:p>
              <a:pPr algn="ctr">
                <a:lnSpc>
                  <a:spcPts val="1000"/>
                </a:lnSpc>
              </a:pPr>
              <a:r>
                <a:rPr lang="en-GB" sz="1000">
                  <a:latin typeface="Trebuchet MS" panose="020B0603020202020204" pitchFamily="34" charset="0"/>
                </a:rPr>
                <a:t>In </a:t>
              </a:r>
              <a:r>
                <a:rPr lang="en-GB" sz="1000">
                  <a:solidFill>
                    <a:schemeClr val="tx2"/>
                  </a:solidFill>
                  <a:latin typeface="Trebuchet MS" panose="020B0603020202020204" pitchFamily="34" charset="0"/>
                </a:rPr>
                <a:t>Algeria</a:t>
              </a:r>
              <a:r>
                <a:rPr lang="en-GB" sz="1000">
                  <a:latin typeface="Trebuchet MS" panose="020B0603020202020204" pitchFamily="34" charset="0"/>
                </a:rPr>
                <a:t>, </a:t>
              </a:r>
              <a:r>
                <a:rPr lang="en-GB" sz="1000">
                  <a:solidFill>
                    <a:schemeClr val="tx2"/>
                  </a:solidFill>
                  <a:latin typeface="Trebuchet MS" panose="020B0603020202020204" pitchFamily="34" charset="0"/>
                </a:rPr>
                <a:t>government taxes </a:t>
              </a:r>
              <a:r>
                <a:rPr lang="en-GB" sz="1000">
                  <a:latin typeface="Trebuchet MS" panose="020B0603020202020204" pitchFamily="34" charset="0"/>
                </a:rPr>
                <a:t>(~25%) strongly constrain the business</a:t>
              </a:r>
            </a:p>
          </p:txBody>
        </p:sp>
        <p:pic>
          <p:nvPicPr>
            <p:cNvPr id="9" name="Picture 8">
              <a:extLst>
                <a:ext uri="{FF2B5EF4-FFF2-40B4-BE49-F238E27FC236}">
                  <a16:creationId xmlns:a16="http://schemas.microsoft.com/office/drawing/2014/main" id="{B6255C84-D3B2-4777-A57E-97729D3D8F0A}"/>
                </a:ext>
              </a:extLst>
            </p:cNvPr>
            <p:cNvPicPr>
              <a:picLocks noChangeAspect="1"/>
            </p:cNvPicPr>
            <p:nvPr/>
          </p:nvPicPr>
          <p:blipFill>
            <a:blip r:embed="rId9"/>
            <a:stretch>
              <a:fillRect/>
            </a:stretch>
          </p:blipFill>
          <p:spPr>
            <a:xfrm>
              <a:off x="3746165" y="2702989"/>
              <a:ext cx="216000" cy="144000"/>
            </a:xfrm>
            <a:prstGeom prst="roundRect">
              <a:avLst/>
            </a:prstGeom>
            <a:ln>
              <a:solidFill>
                <a:schemeClr val="bg1">
                  <a:lumMod val="85000"/>
                </a:schemeClr>
              </a:solidFill>
            </a:ln>
          </p:spPr>
        </p:pic>
        <p:sp>
          <p:nvSpPr>
            <p:cNvPr id="49" name="Speech Bubble: Rectangle 48">
              <a:extLst>
                <a:ext uri="{FF2B5EF4-FFF2-40B4-BE49-F238E27FC236}">
                  <a16:creationId xmlns:a16="http://schemas.microsoft.com/office/drawing/2014/main" id="{BCA69757-7837-4D46-AB52-A4EA575A75C2}"/>
                </a:ext>
              </a:extLst>
            </p:cNvPr>
            <p:cNvSpPr/>
            <p:nvPr/>
          </p:nvSpPr>
          <p:spPr bwMode="auto">
            <a:xfrm>
              <a:off x="3502507" y="2016831"/>
              <a:ext cx="1503281" cy="611738"/>
            </a:xfrm>
            <a:prstGeom prst="wedgeRectCallout">
              <a:avLst>
                <a:gd name="adj1" fmla="val -103799"/>
                <a:gd name="adj2" fmla="val -46653"/>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b" anchorCtr="0" compatLnSpc="1">
              <a:prstTxWarp prst="textNoShape">
                <a:avLst/>
              </a:prstTxWarp>
            </a:bodyPr>
            <a:lstStyle/>
            <a:p>
              <a:pPr marR="0" algn="ctr" defTabSz="914400" rtl="0" eaLnBrk="1" fontAlgn="base" latinLnBrk="0" hangingPunct="1">
                <a:lnSpc>
                  <a:spcPts val="1000"/>
                </a:lnSpc>
                <a:spcBef>
                  <a:spcPct val="0"/>
                </a:spcBef>
                <a:spcAft>
                  <a:spcPct val="0"/>
                </a:spcAft>
                <a:buClrTx/>
                <a:buSzTx/>
                <a:buFontTx/>
                <a:buNone/>
              </a:pPr>
              <a:r>
                <a:rPr lang="en-GB" sz="1000">
                  <a:latin typeface="Trebuchet MS" panose="020B0603020202020204" pitchFamily="34" charset="0"/>
                </a:rPr>
                <a:t>In </a:t>
              </a:r>
              <a:r>
                <a:rPr lang="en-GB" sz="1000">
                  <a:solidFill>
                    <a:schemeClr val="tx2"/>
                  </a:solidFill>
                  <a:latin typeface="Trebuchet MS" panose="020B0603020202020204" pitchFamily="34" charset="0"/>
                </a:rPr>
                <a:t>Tunisia</a:t>
              </a:r>
              <a:r>
                <a:rPr lang="en-GB" sz="1000">
                  <a:latin typeface="Trebuchet MS" panose="020B0603020202020204" pitchFamily="34" charset="0"/>
                </a:rPr>
                <a:t>, the </a:t>
              </a:r>
              <a:r>
                <a:rPr lang="en-GB" sz="1000">
                  <a:solidFill>
                    <a:schemeClr val="tx2"/>
                  </a:solidFill>
                  <a:latin typeface="Trebuchet MS" panose="020B0603020202020204" pitchFamily="34" charset="0"/>
                </a:rPr>
                <a:t>business environment </a:t>
              </a:r>
              <a:r>
                <a:rPr lang="en-GB" sz="1000">
                  <a:latin typeface="Trebuchet MS" panose="020B0603020202020204" pitchFamily="34" charset="0"/>
                </a:rPr>
                <a:t>is structurally </a:t>
              </a:r>
              <a:r>
                <a:rPr lang="en-GB" sz="1000">
                  <a:solidFill>
                    <a:schemeClr val="tx2"/>
                  </a:solidFill>
                  <a:latin typeface="Trebuchet MS" panose="020B0603020202020204" pitchFamily="34" charset="0"/>
                </a:rPr>
                <a:t>complex</a:t>
              </a:r>
              <a:endParaRPr kumimoji="0" lang="en-GB" sz="1000" b="0" i="0" u="none" strike="noStrike" cap="none" normalizeH="0" baseline="0">
                <a:ln>
                  <a:noFill/>
                </a:ln>
                <a:solidFill>
                  <a:schemeClr val="tx2"/>
                </a:solidFill>
                <a:effectLst/>
                <a:latin typeface="Trebuchet MS" panose="020B0603020202020204" pitchFamily="34" charset="0"/>
              </a:endParaRPr>
            </a:p>
          </p:txBody>
        </p:sp>
        <p:pic>
          <p:nvPicPr>
            <p:cNvPr id="12" name="Picture 11">
              <a:extLst>
                <a:ext uri="{FF2B5EF4-FFF2-40B4-BE49-F238E27FC236}">
                  <a16:creationId xmlns:a16="http://schemas.microsoft.com/office/drawing/2014/main" id="{4CB564EB-DD51-4CBF-8266-57E5583417E5}"/>
                </a:ext>
              </a:extLst>
            </p:cNvPr>
            <p:cNvPicPr>
              <a:picLocks noChangeAspect="1"/>
            </p:cNvPicPr>
            <p:nvPr/>
          </p:nvPicPr>
          <p:blipFill>
            <a:blip r:embed="rId10"/>
            <a:stretch>
              <a:fillRect/>
            </a:stretch>
          </p:blipFill>
          <p:spPr>
            <a:xfrm>
              <a:off x="4159784" y="2051131"/>
              <a:ext cx="216254" cy="144000"/>
            </a:xfrm>
            <a:prstGeom prst="roundRect">
              <a:avLst/>
            </a:prstGeom>
          </p:spPr>
        </p:pic>
      </p:grpSp>
      <p:sp>
        <p:nvSpPr>
          <p:cNvPr id="73" name="Rectangle 72">
            <a:extLst>
              <a:ext uri="{FF2B5EF4-FFF2-40B4-BE49-F238E27FC236}">
                <a16:creationId xmlns:a16="http://schemas.microsoft.com/office/drawing/2014/main" id="{CD9A46E0-B9FE-40FD-9574-0C19FAB5D7FE}"/>
              </a:ext>
            </a:extLst>
          </p:cNvPr>
          <p:cNvSpPr/>
          <p:nvPr/>
        </p:nvSpPr>
        <p:spPr bwMode="auto">
          <a:xfrm>
            <a:off x="5346059" y="4243873"/>
            <a:ext cx="1195059" cy="698256"/>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361950">
              <a:lnSpc>
                <a:spcPts val="1100"/>
              </a:lnSpc>
            </a:pPr>
            <a:endParaRPr lang="en-GB" sz="1000">
              <a:solidFill>
                <a:schemeClr val="tx2"/>
              </a:solidFill>
              <a:latin typeface="Trebuchet MS" panose="020B0603020202020204" pitchFamily="34" charset="0"/>
            </a:endParaRPr>
          </a:p>
          <a:p>
            <a:pPr algn="ctr" defTabSz="361950">
              <a:lnSpc>
                <a:spcPts val="1100"/>
              </a:lnSpc>
            </a:pPr>
            <a:endParaRPr lang="en-GB" sz="1000">
              <a:solidFill>
                <a:schemeClr val="tx2"/>
              </a:solidFill>
              <a:latin typeface="Trebuchet MS" panose="020B0603020202020204" pitchFamily="34" charset="0"/>
            </a:endParaRPr>
          </a:p>
          <a:p>
            <a:pPr algn="ctr" defTabSz="361950">
              <a:lnSpc>
                <a:spcPts val="1100"/>
              </a:lnSpc>
            </a:pPr>
            <a:r>
              <a:rPr lang="en-GB" sz="1000">
                <a:solidFill>
                  <a:schemeClr val="tx2"/>
                </a:solidFill>
                <a:latin typeface="Trebuchet MS" panose="020B0603020202020204" pitchFamily="34" charset="0"/>
              </a:rPr>
              <a:t>Manual data collection</a:t>
            </a:r>
          </a:p>
        </p:txBody>
      </p:sp>
      <p:sp>
        <p:nvSpPr>
          <p:cNvPr id="74" name="Rectangle 73">
            <a:extLst>
              <a:ext uri="{FF2B5EF4-FFF2-40B4-BE49-F238E27FC236}">
                <a16:creationId xmlns:a16="http://schemas.microsoft.com/office/drawing/2014/main" id="{4811B7CA-D45D-46D8-AE72-59339E473F18}"/>
              </a:ext>
            </a:extLst>
          </p:cNvPr>
          <p:cNvSpPr/>
          <p:nvPr/>
        </p:nvSpPr>
        <p:spPr bwMode="auto">
          <a:xfrm>
            <a:off x="6831672" y="4243873"/>
            <a:ext cx="1195059" cy="698256"/>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361950">
              <a:lnSpc>
                <a:spcPts val="1100"/>
              </a:lnSpc>
            </a:pPr>
            <a:endParaRPr lang="en-GB" sz="1000">
              <a:solidFill>
                <a:schemeClr val="tx2"/>
              </a:solidFill>
              <a:latin typeface="Trebuchet MS" panose="020B0603020202020204" pitchFamily="34" charset="0"/>
            </a:endParaRPr>
          </a:p>
          <a:p>
            <a:pPr algn="ctr" defTabSz="361950">
              <a:lnSpc>
                <a:spcPts val="1100"/>
              </a:lnSpc>
            </a:pPr>
            <a:endParaRPr lang="en-GB" sz="1000">
              <a:solidFill>
                <a:schemeClr val="tx2"/>
              </a:solidFill>
              <a:latin typeface="Trebuchet MS" panose="020B0603020202020204" pitchFamily="34" charset="0"/>
            </a:endParaRPr>
          </a:p>
          <a:p>
            <a:pPr algn="ctr" defTabSz="361950">
              <a:lnSpc>
                <a:spcPts val="1100"/>
              </a:lnSpc>
            </a:pPr>
            <a:r>
              <a:rPr lang="en-GB" sz="1000">
                <a:solidFill>
                  <a:schemeClr val="tx2"/>
                </a:solidFill>
                <a:latin typeface="Trebuchet MS" panose="020B0603020202020204" pitchFamily="34" charset="0"/>
              </a:rPr>
              <a:t>Low-digitalized processes</a:t>
            </a:r>
          </a:p>
        </p:txBody>
      </p:sp>
      <p:sp>
        <p:nvSpPr>
          <p:cNvPr id="75" name="Rectangle 74">
            <a:extLst>
              <a:ext uri="{FF2B5EF4-FFF2-40B4-BE49-F238E27FC236}">
                <a16:creationId xmlns:a16="http://schemas.microsoft.com/office/drawing/2014/main" id="{C417DDE9-B9EF-4D25-8576-EF3130C7C1C6}"/>
              </a:ext>
            </a:extLst>
          </p:cNvPr>
          <p:cNvSpPr/>
          <p:nvPr/>
        </p:nvSpPr>
        <p:spPr bwMode="auto">
          <a:xfrm>
            <a:off x="8317285" y="4243873"/>
            <a:ext cx="1195059" cy="698256"/>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361950">
              <a:lnSpc>
                <a:spcPts val="1100"/>
              </a:lnSpc>
            </a:pPr>
            <a:endParaRPr lang="en-GB" sz="1000">
              <a:solidFill>
                <a:schemeClr val="tx2"/>
              </a:solidFill>
              <a:latin typeface="Trebuchet MS" panose="020B0603020202020204" pitchFamily="34" charset="0"/>
            </a:endParaRPr>
          </a:p>
          <a:p>
            <a:pPr algn="ctr" defTabSz="361950">
              <a:lnSpc>
                <a:spcPts val="1100"/>
              </a:lnSpc>
            </a:pPr>
            <a:endParaRPr lang="en-GB" sz="1000">
              <a:solidFill>
                <a:schemeClr val="tx2"/>
              </a:solidFill>
              <a:latin typeface="Trebuchet MS" panose="020B0603020202020204" pitchFamily="34" charset="0"/>
            </a:endParaRPr>
          </a:p>
          <a:p>
            <a:pPr algn="ctr" defTabSz="361950">
              <a:lnSpc>
                <a:spcPts val="1100"/>
              </a:lnSpc>
            </a:pPr>
            <a:r>
              <a:rPr lang="en-GB" sz="1000">
                <a:solidFill>
                  <a:schemeClr val="tx2"/>
                </a:solidFill>
                <a:latin typeface="Trebuchet MS" panose="020B0603020202020204" pitchFamily="34" charset="0"/>
              </a:rPr>
              <a:t>Translation of official documents</a:t>
            </a:r>
          </a:p>
        </p:txBody>
      </p:sp>
      <p:pic>
        <p:nvPicPr>
          <p:cNvPr id="77" name="Graphic 76">
            <a:extLst>
              <a:ext uri="{FF2B5EF4-FFF2-40B4-BE49-F238E27FC236}">
                <a16:creationId xmlns:a16="http://schemas.microsoft.com/office/drawing/2014/main" id="{C699E61C-5B9D-4581-BBE8-8D9FC656D116}"/>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t="19857" b="38765"/>
          <a:stretch/>
        </p:blipFill>
        <p:spPr>
          <a:xfrm>
            <a:off x="5795655" y="4280113"/>
            <a:ext cx="295866" cy="216452"/>
          </a:xfrm>
          <a:prstGeom prst="rect">
            <a:avLst/>
          </a:prstGeom>
        </p:spPr>
      </p:pic>
      <p:pic>
        <p:nvPicPr>
          <p:cNvPr id="79" name="Graphic 78">
            <a:extLst>
              <a:ext uri="{FF2B5EF4-FFF2-40B4-BE49-F238E27FC236}">
                <a16:creationId xmlns:a16="http://schemas.microsoft.com/office/drawing/2014/main" id="{8FD50F64-8E6C-48C6-9A72-5A6C0D7EB1B9}"/>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b="28933"/>
          <a:stretch/>
        </p:blipFill>
        <p:spPr>
          <a:xfrm>
            <a:off x="7303790" y="4271302"/>
            <a:ext cx="250823" cy="222815"/>
          </a:xfrm>
          <a:prstGeom prst="rect">
            <a:avLst/>
          </a:prstGeom>
        </p:spPr>
      </p:pic>
      <p:pic>
        <p:nvPicPr>
          <p:cNvPr id="81" name="Graphic 80">
            <a:extLst>
              <a:ext uri="{FF2B5EF4-FFF2-40B4-BE49-F238E27FC236}">
                <a16:creationId xmlns:a16="http://schemas.microsoft.com/office/drawing/2014/main" id="{5FB89304-F3F6-4C7E-ACC8-D5E307809D64}"/>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b="24167"/>
          <a:stretch/>
        </p:blipFill>
        <p:spPr>
          <a:xfrm>
            <a:off x="8758403" y="4247906"/>
            <a:ext cx="312822" cy="296528"/>
          </a:xfrm>
          <a:prstGeom prst="rect">
            <a:avLst/>
          </a:prstGeom>
        </p:spPr>
      </p:pic>
      <p:sp>
        <p:nvSpPr>
          <p:cNvPr id="82" name="ZoneTexte 6">
            <a:extLst>
              <a:ext uri="{FF2B5EF4-FFF2-40B4-BE49-F238E27FC236}">
                <a16:creationId xmlns:a16="http://schemas.microsoft.com/office/drawing/2014/main" id="{F119D047-B11E-44B0-A380-054F0A9F2108}"/>
              </a:ext>
            </a:extLst>
          </p:cNvPr>
          <p:cNvSpPr txBox="1"/>
          <p:nvPr/>
        </p:nvSpPr>
        <p:spPr>
          <a:xfrm>
            <a:off x="5176399" y="3982218"/>
            <a:ext cx="4536000" cy="220025"/>
          </a:xfrm>
          <a:prstGeom prst="rect">
            <a:avLst/>
          </a:prstGeom>
          <a:noFill/>
          <a:ln>
            <a:noFill/>
          </a:ln>
        </p:spPr>
        <p:txBody>
          <a:bodyPr wrap="square" rtlCol="0" anchor="ctr">
            <a:noAutofit/>
          </a:bodyPr>
          <a:lstStyle/>
          <a:p>
            <a:r>
              <a:rPr lang="en-GB" sz="1000" b="1" i="1">
                <a:latin typeface="Trebuchet MS" panose="020B0603020202020204" pitchFamily="34" charset="0"/>
              </a:rPr>
              <a:t>Examples of reasons explaining difficult data collection in the Maghreb</a:t>
            </a:r>
          </a:p>
        </p:txBody>
      </p:sp>
      <p:grpSp>
        <p:nvGrpSpPr>
          <p:cNvPr id="111" name="Groupe 110">
            <a:extLst>
              <a:ext uri="{FF2B5EF4-FFF2-40B4-BE49-F238E27FC236}">
                <a16:creationId xmlns:a16="http://schemas.microsoft.com/office/drawing/2014/main" id="{035F27E1-D653-4734-8036-D65A19C2B7E8}"/>
              </a:ext>
            </a:extLst>
          </p:cNvPr>
          <p:cNvGrpSpPr/>
          <p:nvPr/>
        </p:nvGrpSpPr>
        <p:grpSpPr>
          <a:xfrm>
            <a:off x="603484" y="4567418"/>
            <a:ext cx="3711788" cy="1253790"/>
            <a:chOff x="316096" y="4424252"/>
            <a:chExt cx="4002515" cy="1406891"/>
          </a:xfrm>
        </p:grpSpPr>
        <p:sp>
          <p:nvSpPr>
            <p:cNvPr id="52" name="Rectangle: Rounded Corners 51">
              <a:extLst>
                <a:ext uri="{FF2B5EF4-FFF2-40B4-BE49-F238E27FC236}">
                  <a16:creationId xmlns:a16="http://schemas.microsoft.com/office/drawing/2014/main" id="{5839C415-FAE0-4649-90B8-9762F9FA80DC}"/>
                </a:ext>
              </a:extLst>
            </p:cNvPr>
            <p:cNvSpPr/>
            <p:nvPr/>
          </p:nvSpPr>
          <p:spPr bwMode="auto">
            <a:xfrm>
              <a:off x="316096" y="4424252"/>
              <a:ext cx="1319249" cy="432000"/>
            </a:xfrm>
            <a:prstGeom prst="roundRect">
              <a:avLst>
                <a:gd name="adj" fmla="val 457"/>
              </a:avLst>
            </a:prstGeom>
            <a:solidFill>
              <a:schemeClr val="accent4">
                <a:lumMod val="20000"/>
                <a:lumOff val="80000"/>
              </a:schemeClr>
            </a:solidFill>
            <a:ln w="12700" cap="flat" cmpd="sng" algn="ctr">
              <a:solidFill>
                <a:schemeClr val="accent4"/>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63525" algn="ctr"/>
              <a:r>
                <a:rPr lang="en-GB" sz="1000" b="1">
                  <a:solidFill>
                    <a:schemeClr val="accent4"/>
                  </a:solidFill>
                  <a:latin typeface="Trebuchet MS" panose="020B0603020202020204" pitchFamily="34" charset="0"/>
                </a:rPr>
                <a:t>International</a:t>
              </a:r>
              <a:r>
                <a:rPr lang="en-GB" sz="1000">
                  <a:solidFill>
                    <a:schemeClr val="accent4"/>
                  </a:solidFill>
                  <a:latin typeface="Trebuchet MS" panose="020B0603020202020204" pitchFamily="34" charset="0"/>
                </a:rPr>
                <a:t> </a:t>
              </a:r>
              <a:r>
                <a:rPr lang="en-GB" sz="1000" b="1">
                  <a:solidFill>
                    <a:schemeClr val="accent4"/>
                  </a:solidFill>
                  <a:latin typeface="Trebuchet MS" panose="020B0603020202020204" pitchFamily="34" charset="0"/>
                </a:rPr>
                <a:t>players</a:t>
              </a:r>
            </a:p>
          </p:txBody>
        </p:sp>
        <p:sp>
          <p:nvSpPr>
            <p:cNvPr id="53" name="Rectangle: Rounded Corners 52">
              <a:extLst>
                <a:ext uri="{FF2B5EF4-FFF2-40B4-BE49-F238E27FC236}">
                  <a16:creationId xmlns:a16="http://schemas.microsoft.com/office/drawing/2014/main" id="{7B9AEE24-3E24-44C6-B3F2-FF002873C5C0}"/>
                </a:ext>
              </a:extLst>
            </p:cNvPr>
            <p:cNvSpPr/>
            <p:nvPr/>
          </p:nvSpPr>
          <p:spPr bwMode="auto">
            <a:xfrm>
              <a:off x="316096" y="4913334"/>
              <a:ext cx="1319249" cy="432000"/>
            </a:xfrm>
            <a:prstGeom prst="roundRect">
              <a:avLst>
                <a:gd name="adj" fmla="val 458"/>
              </a:avLst>
            </a:prstGeom>
            <a:solidFill>
              <a:schemeClr val="bg1">
                <a:lumMod val="95000"/>
              </a:schemeClr>
            </a:solidFill>
            <a:ln w="12700" cap="flat" cmpd="sng" algn="ctr">
              <a:solidFill>
                <a:schemeClr val="tx1"/>
              </a:solidFill>
              <a:prstDash val="dash"/>
              <a:round/>
              <a:headEnd type="none" w="med" len="med"/>
              <a:tailEnd type="none" w="med" len="med"/>
            </a:ln>
            <a:effectLst/>
          </p:spPr>
          <p:txBody>
            <a:bodyPr vert="horz" wrap="square" lIns="91440" tIns="45720" rIns="91440" bIns="0" numCol="1" rtlCol="0" anchor="ctr" anchorCtr="0" compatLnSpc="1">
              <a:prstTxWarp prst="textNoShape">
                <a:avLst/>
              </a:prstTxWarp>
            </a:bodyPr>
            <a:lstStyle/>
            <a:p>
              <a:pPr marL="263525" algn="ctr"/>
              <a:r>
                <a:rPr lang="en-GB" sz="1000" b="1">
                  <a:latin typeface="Trebuchet MS" panose="020B0603020202020204" pitchFamily="34" charset="0"/>
                </a:rPr>
                <a:t>Credit insurers</a:t>
              </a:r>
            </a:p>
          </p:txBody>
        </p:sp>
        <p:pic>
          <p:nvPicPr>
            <p:cNvPr id="54" name="Graphic 53">
              <a:extLst>
                <a:ext uri="{FF2B5EF4-FFF2-40B4-BE49-F238E27FC236}">
                  <a16:creationId xmlns:a16="http://schemas.microsoft.com/office/drawing/2014/main" id="{BBD064FC-2894-4E63-AE86-05C1594355A3}"/>
                </a:ext>
              </a:extLst>
            </p:cNvPr>
            <p:cNvPicPr>
              <a:picLocks noChangeAspect="1"/>
            </p:cNvPicPr>
            <p:nvPr/>
          </p:nvPicPr>
          <p:blipFill rotWithShape="1">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b="19800"/>
            <a:stretch/>
          </p:blipFill>
          <p:spPr>
            <a:xfrm>
              <a:off x="382950" y="4530336"/>
              <a:ext cx="219285" cy="219833"/>
            </a:xfrm>
            <a:prstGeom prst="rect">
              <a:avLst/>
            </a:prstGeom>
          </p:spPr>
        </p:pic>
        <p:sp>
          <p:nvSpPr>
            <p:cNvPr id="56" name="Rectangle: Rounded Corners 55">
              <a:extLst>
                <a:ext uri="{FF2B5EF4-FFF2-40B4-BE49-F238E27FC236}">
                  <a16:creationId xmlns:a16="http://schemas.microsoft.com/office/drawing/2014/main" id="{E4F69F6F-3351-4A83-820F-DCD6AA57CC4A}"/>
                </a:ext>
              </a:extLst>
            </p:cNvPr>
            <p:cNvSpPr/>
            <p:nvPr/>
          </p:nvSpPr>
          <p:spPr bwMode="auto">
            <a:xfrm>
              <a:off x="1774433" y="4424252"/>
              <a:ext cx="2544178" cy="432000"/>
            </a:xfrm>
            <a:prstGeom prst="roundRect">
              <a:avLst>
                <a:gd name="adj" fmla="val 457"/>
              </a:avLst>
            </a:prstGeom>
            <a:solidFill>
              <a:schemeClr val="accent4">
                <a:lumMod val="20000"/>
                <a:lumOff val="80000"/>
              </a:schemeClr>
            </a:solidFill>
            <a:ln w="12700" cap="flat" cmpd="sng" algn="ctr">
              <a:solidFill>
                <a:schemeClr val="accent4"/>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000">
                <a:solidFill>
                  <a:schemeClr val="accent4"/>
                </a:solidFill>
                <a:latin typeface="Trebuchet MS" pitchFamily="34" charset="0"/>
              </a:endParaRPr>
            </a:p>
            <a:p>
              <a:pPr algn="ctr"/>
              <a:endParaRPr lang="en-GB" sz="1000">
                <a:solidFill>
                  <a:schemeClr val="accent4"/>
                </a:solidFill>
                <a:latin typeface="Trebuchet MS" pitchFamily="34" charset="0"/>
              </a:endParaRPr>
            </a:p>
            <a:p>
              <a:pPr algn="ctr"/>
              <a:endParaRPr lang="en-GB" sz="1000">
                <a:solidFill>
                  <a:schemeClr val="accent4"/>
                </a:solidFill>
                <a:latin typeface="Trebuchet MS" pitchFamily="34" charset="0"/>
              </a:endParaRPr>
            </a:p>
            <a:p>
              <a:pPr algn="ctr"/>
              <a:endParaRPr lang="en-GB" sz="1000" i="1">
                <a:solidFill>
                  <a:schemeClr val="accent4"/>
                </a:solidFill>
                <a:latin typeface="Trebuchet MS" panose="020B0603020202020204" pitchFamily="34" charset="0"/>
              </a:endParaRPr>
            </a:p>
          </p:txBody>
        </p:sp>
        <p:sp>
          <p:nvSpPr>
            <p:cNvPr id="57" name="Rectangle: Rounded Corners 56">
              <a:extLst>
                <a:ext uri="{FF2B5EF4-FFF2-40B4-BE49-F238E27FC236}">
                  <a16:creationId xmlns:a16="http://schemas.microsoft.com/office/drawing/2014/main" id="{55DCCDDD-B7AD-4BE8-9CC8-8E4F4BE5CB81}"/>
                </a:ext>
              </a:extLst>
            </p:cNvPr>
            <p:cNvSpPr/>
            <p:nvPr/>
          </p:nvSpPr>
          <p:spPr bwMode="auto">
            <a:xfrm>
              <a:off x="1774433" y="4913334"/>
              <a:ext cx="2544178" cy="432000"/>
            </a:xfrm>
            <a:prstGeom prst="roundRect">
              <a:avLst>
                <a:gd name="adj" fmla="val 457"/>
              </a:avLst>
            </a:prstGeom>
            <a:solidFill>
              <a:schemeClr val="bg1">
                <a:lumMod val="95000"/>
              </a:schemeClr>
            </a:solidFill>
            <a:ln w="12700"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000">
                <a:latin typeface="Trebuchet MS" pitchFamily="34" charset="0"/>
              </a:endParaRPr>
            </a:p>
            <a:p>
              <a:pPr algn="ctr"/>
              <a:endParaRPr lang="en-GB" sz="1000">
                <a:latin typeface="Trebuchet MS" pitchFamily="34" charset="0"/>
              </a:endParaRPr>
            </a:p>
            <a:p>
              <a:pPr algn="ctr"/>
              <a:endParaRPr lang="en-GB" sz="1000">
                <a:latin typeface="Trebuchet MS" pitchFamily="34" charset="0"/>
              </a:endParaRPr>
            </a:p>
            <a:p>
              <a:pPr algn="ctr"/>
              <a:endParaRPr lang="en-GB" sz="1000">
                <a:latin typeface="Trebuchet MS" pitchFamily="34" charset="0"/>
              </a:endParaRPr>
            </a:p>
          </p:txBody>
        </p:sp>
        <p:pic>
          <p:nvPicPr>
            <p:cNvPr id="58" name="Picture 57">
              <a:extLst>
                <a:ext uri="{FF2B5EF4-FFF2-40B4-BE49-F238E27FC236}">
                  <a16:creationId xmlns:a16="http://schemas.microsoft.com/office/drawing/2014/main" id="{4569D6DC-3237-40C0-A492-13CF91229672}"/>
                </a:ext>
              </a:extLst>
            </p:cNvPr>
            <p:cNvPicPr>
              <a:picLocks noChangeAspect="1"/>
            </p:cNvPicPr>
            <p:nvPr/>
          </p:nvPicPr>
          <p:blipFill rotWithShape="1">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l="25352" b="-7258"/>
            <a:stretch/>
          </p:blipFill>
          <p:spPr>
            <a:xfrm>
              <a:off x="3434435" y="4545374"/>
              <a:ext cx="810201" cy="189757"/>
            </a:xfrm>
            <a:prstGeom prst="rect">
              <a:avLst/>
            </a:prstGeom>
          </p:spPr>
        </p:pic>
        <p:pic>
          <p:nvPicPr>
            <p:cNvPr id="59" name="Picture 58" descr="A close up of a sign&#10;&#10;Description automatically generated">
              <a:extLst>
                <a:ext uri="{FF2B5EF4-FFF2-40B4-BE49-F238E27FC236}">
                  <a16:creationId xmlns:a16="http://schemas.microsoft.com/office/drawing/2014/main" id="{324E4D94-CB93-4912-922A-3328077B6653}"/>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793913" y="4467225"/>
              <a:ext cx="480320" cy="346053"/>
            </a:xfrm>
            <a:prstGeom prst="rect">
              <a:avLst/>
            </a:prstGeom>
          </p:spPr>
        </p:pic>
        <p:pic>
          <p:nvPicPr>
            <p:cNvPr id="63" name="Picture 62" descr="A picture containing drawing&#10;&#10;Description automatically generated">
              <a:extLst>
                <a:ext uri="{FF2B5EF4-FFF2-40B4-BE49-F238E27FC236}">
                  <a16:creationId xmlns:a16="http://schemas.microsoft.com/office/drawing/2014/main" id="{29905D6D-AEF0-4CDD-A2CD-094AB7A2BF21}"/>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1943508" y="5029277"/>
              <a:ext cx="567698" cy="200114"/>
            </a:xfrm>
            <a:prstGeom prst="rect">
              <a:avLst/>
            </a:prstGeom>
          </p:spPr>
        </p:pic>
        <p:pic>
          <p:nvPicPr>
            <p:cNvPr id="65" name="Picture 64" descr="A close up of a sign&#10;&#10;Description automatically generated">
              <a:extLst>
                <a:ext uri="{FF2B5EF4-FFF2-40B4-BE49-F238E27FC236}">
                  <a16:creationId xmlns:a16="http://schemas.microsoft.com/office/drawing/2014/main" id="{1DF8E95C-9855-4D7F-A5FF-AF55F3621F83}"/>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709531" y="5047427"/>
              <a:ext cx="673982" cy="163814"/>
            </a:xfrm>
            <a:prstGeom prst="rect">
              <a:avLst/>
            </a:prstGeom>
          </p:spPr>
        </p:pic>
        <p:pic>
          <p:nvPicPr>
            <p:cNvPr id="66" name="Picture 65">
              <a:extLst>
                <a:ext uri="{FF2B5EF4-FFF2-40B4-BE49-F238E27FC236}">
                  <a16:creationId xmlns:a16="http://schemas.microsoft.com/office/drawing/2014/main" id="{5C78EDBA-76BC-4DDE-A63B-D146C88F07BC}"/>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3489338" y="5019159"/>
              <a:ext cx="717359" cy="220350"/>
            </a:xfrm>
            <a:prstGeom prst="rect">
              <a:avLst/>
            </a:prstGeom>
          </p:spPr>
        </p:pic>
        <p:sp>
          <p:nvSpPr>
            <p:cNvPr id="90" name="Rectangle: Rounded Corners 52">
              <a:extLst>
                <a:ext uri="{FF2B5EF4-FFF2-40B4-BE49-F238E27FC236}">
                  <a16:creationId xmlns:a16="http://schemas.microsoft.com/office/drawing/2014/main" id="{19156442-D4B9-40F7-AFA9-A93AF5E0D546}"/>
                </a:ext>
              </a:extLst>
            </p:cNvPr>
            <p:cNvSpPr/>
            <p:nvPr/>
          </p:nvSpPr>
          <p:spPr bwMode="auto">
            <a:xfrm>
              <a:off x="316096" y="5399143"/>
              <a:ext cx="1319249" cy="432000"/>
            </a:xfrm>
            <a:prstGeom prst="roundRect">
              <a:avLst>
                <a:gd name="adj" fmla="val 458"/>
              </a:avLst>
            </a:prstGeom>
            <a:solidFill>
              <a:schemeClr val="bg1">
                <a:lumMod val="95000"/>
              </a:schemeClr>
            </a:solidFill>
            <a:ln w="12700" cap="flat" cmpd="sng" algn="ctr">
              <a:solidFill>
                <a:schemeClr val="tx1"/>
              </a:solidFill>
              <a:prstDash val="dash"/>
              <a:round/>
              <a:headEnd type="none" w="med" len="med"/>
              <a:tailEnd type="none" w="med" len="med"/>
            </a:ln>
            <a:effectLst/>
          </p:spPr>
          <p:txBody>
            <a:bodyPr vert="horz" wrap="square" lIns="91440" tIns="45720" rIns="91440" bIns="0" numCol="1" rtlCol="0" anchor="ctr" anchorCtr="0" compatLnSpc="1">
              <a:prstTxWarp prst="textNoShape">
                <a:avLst/>
              </a:prstTxWarp>
            </a:bodyPr>
            <a:lstStyle/>
            <a:p>
              <a:pPr marL="263525" algn="ctr"/>
              <a:r>
                <a:rPr lang="en-GB" sz="1000">
                  <a:latin typeface="Trebuchet MS" pitchFamily="34" charset="0"/>
                </a:rPr>
                <a:t>Local players</a:t>
              </a:r>
            </a:p>
          </p:txBody>
        </p:sp>
        <p:pic>
          <p:nvPicPr>
            <p:cNvPr id="91" name="Graphic 54">
              <a:extLst>
                <a:ext uri="{FF2B5EF4-FFF2-40B4-BE49-F238E27FC236}">
                  <a16:creationId xmlns:a16="http://schemas.microsoft.com/office/drawing/2014/main" id="{266C8999-60C3-42B5-B576-2A5C2BBB153C}"/>
                </a:ext>
              </a:extLst>
            </p:cNvPr>
            <p:cNvPicPr>
              <a:picLocks noChangeAspect="1"/>
            </p:cNvPicPr>
            <p:nvPr/>
          </p:nvPicPr>
          <p:blipFill rotWithShape="1">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rcRect b="19800"/>
            <a:stretch/>
          </p:blipFill>
          <p:spPr>
            <a:xfrm>
              <a:off x="416544" y="5482144"/>
              <a:ext cx="265334" cy="265998"/>
            </a:xfrm>
            <a:prstGeom prst="rect">
              <a:avLst/>
            </a:prstGeom>
          </p:spPr>
        </p:pic>
        <p:sp>
          <p:nvSpPr>
            <p:cNvPr id="92" name="Rectangle: Rounded Corners 56">
              <a:extLst>
                <a:ext uri="{FF2B5EF4-FFF2-40B4-BE49-F238E27FC236}">
                  <a16:creationId xmlns:a16="http://schemas.microsoft.com/office/drawing/2014/main" id="{5507E050-33F3-46AF-BE98-F93C45F7844B}"/>
                </a:ext>
              </a:extLst>
            </p:cNvPr>
            <p:cNvSpPr/>
            <p:nvPr/>
          </p:nvSpPr>
          <p:spPr bwMode="auto">
            <a:xfrm>
              <a:off x="1774433" y="5402416"/>
              <a:ext cx="2544178" cy="425455"/>
            </a:xfrm>
            <a:prstGeom prst="roundRect">
              <a:avLst>
                <a:gd name="adj" fmla="val 457"/>
              </a:avLst>
            </a:prstGeom>
            <a:solidFill>
              <a:schemeClr val="bg1">
                <a:lumMod val="95000"/>
              </a:schemeClr>
            </a:solidFill>
            <a:ln w="12700"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000">
                <a:latin typeface="Trebuchet MS" pitchFamily="34" charset="0"/>
              </a:endParaRPr>
            </a:p>
            <a:p>
              <a:pPr algn="ctr"/>
              <a:endParaRPr lang="en-GB" sz="1000">
                <a:latin typeface="Trebuchet MS" pitchFamily="34" charset="0"/>
              </a:endParaRPr>
            </a:p>
            <a:p>
              <a:pPr algn="ctr"/>
              <a:endParaRPr lang="en-GB" sz="1000">
                <a:latin typeface="Trebuchet MS" pitchFamily="34" charset="0"/>
              </a:endParaRPr>
            </a:p>
            <a:p>
              <a:pPr algn="ctr"/>
              <a:endParaRPr lang="en-GB" sz="1000">
                <a:latin typeface="Trebuchet MS" pitchFamily="34" charset="0"/>
              </a:endParaRPr>
            </a:p>
          </p:txBody>
        </p:sp>
        <p:sp>
          <p:nvSpPr>
            <p:cNvPr id="97" name="ZoneTexte 96">
              <a:extLst>
                <a:ext uri="{FF2B5EF4-FFF2-40B4-BE49-F238E27FC236}">
                  <a16:creationId xmlns:a16="http://schemas.microsoft.com/office/drawing/2014/main" id="{77A288C4-8076-4B15-9E40-79DE8A999E6A}"/>
                </a:ext>
              </a:extLst>
            </p:cNvPr>
            <p:cNvSpPr txBox="1"/>
            <p:nvPr/>
          </p:nvSpPr>
          <p:spPr>
            <a:xfrm>
              <a:off x="2041027" y="5488184"/>
              <a:ext cx="2089744" cy="284922"/>
            </a:xfrm>
            <a:prstGeom prst="rect">
              <a:avLst/>
            </a:prstGeom>
            <a:noFill/>
          </p:spPr>
          <p:txBody>
            <a:bodyPr wrap="square">
              <a:spAutoFit/>
            </a:bodyPr>
            <a:lstStyle/>
            <a:p>
              <a:pPr algn="ctr"/>
              <a:r>
                <a:rPr lang="en-GB" sz="1050" i="1">
                  <a:latin typeface="Trebuchet MS" panose="020B0603020202020204" pitchFamily="34" charset="0"/>
                </a:rPr>
                <a:t>Few small local players</a:t>
              </a:r>
            </a:p>
          </p:txBody>
        </p:sp>
        <p:pic>
          <p:nvPicPr>
            <p:cNvPr id="33" name="Graphique 32" descr="Parapluie">
              <a:extLst>
                <a:ext uri="{FF2B5EF4-FFF2-40B4-BE49-F238E27FC236}">
                  <a16:creationId xmlns:a16="http://schemas.microsoft.com/office/drawing/2014/main" id="{AACC6742-8124-4E31-A293-2DFEC3D6D922}"/>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97658" y="4977781"/>
              <a:ext cx="303106" cy="303106"/>
            </a:xfrm>
            <a:prstGeom prst="rect">
              <a:avLst/>
            </a:prstGeom>
          </p:spPr>
        </p:pic>
      </p:grpSp>
      <p:sp>
        <p:nvSpPr>
          <p:cNvPr id="98" name="ZoneTexte 97">
            <a:extLst>
              <a:ext uri="{FF2B5EF4-FFF2-40B4-BE49-F238E27FC236}">
                <a16:creationId xmlns:a16="http://schemas.microsoft.com/office/drawing/2014/main" id="{B60A82FF-155C-44F5-8FED-27C16503E2FC}"/>
              </a:ext>
            </a:extLst>
          </p:cNvPr>
          <p:cNvSpPr txBox="1"/>
          <p:nvPr/>
        </p:nvSpPr>
        <p:spPr>
          <a:xfrm>
            <a:off x="5265470" y="1373447"/>
            <a:ext cx="4320000" cy="1278020"/>
          </a:xfrm>
          <a:prstGeom prst="rect">
            <a:avLst/>
          </a:prstGeom>
          <a:solidFill>
            <a:schemeClr val="bg1">
              <a:lumMod val="95000"/>
            </a:schemeClr>
          </a:solidFill>
        </p:spPr>
        <p:txBody>
          <a:bodyPr wrap="square" anchor="ctr">
            <a:noAutofit/>
          </a:bodyPr>
          <a:lstStyle/>
          <a:p>
            <a:r>
              <a:rPr kumimoji="0" lang="en-GB" sz="1000" b="0" u="none" strike="noStrike" cap="none" normalizeH="0" baseline="0" err="1">
                <a:ln>
                  <a:noFill/>
                </a:ln>
                <a:solidFill>
                  <a:schemeClr val="tx1"/>
                </a:solidFill>
                <a:effectLst/>
                <a:latin typeface="Trebuchet MS" panose="020B0603020202020204" pitchFamily="34" charset="0"/>
              </a:rPr>
              <a:t>Altares</a:t>
            </a:r>
            <a:r>
              <a:rPr kumimoji="0" lang="en-GB" sz="1000" b="0" u="none" strike="noStrike" cap="none" normalizeH="0" baseline="0">
                <a:ln>
                  <a:noFill/>
                </a:ln>
                <a:solidFill>
                  <a:schemeClr val="tx1"/>
                </a:solidFill>
                <a:effectLst/>
                <a:latin typeface="Trebuchet MS" panose="020B0603020202020204" pitchFamily="34" charset="0"/>
              </a:rPr>
              <a:t>' </a:t>
            </a:r>
            <a:r>
              <a:rPr kumimoji="0" lang="en-GB" sz="1000" b="0" u="none" strike="noStrike" cap="none" normalizeH="0" baseline="0">
                <a:ln>
                  <a:noFill/>
                </a:ln>
                <a:solidFill>
                  <a:schemeClr val="tx2"/>
                </a:solidFill>
                <a:effectLst/>
                <a:latin typeface="Trebuchet MS" panose="020B0603020202020204" pitchFamily="34" charset="0"/>
              </a:rPr>
              <a:t>joint</a:t>
            </a:r>
            <a:r>
              <a:rPr kumimoji="0" lang="en-GB" sz="1000" b="0" u="none" strike="noStrike" cap="none" normalizeH="0" baseline="0">
                <a:ln>
                  <a:noFill/>
                </a:ln>
                <a:solidFill>
                  <a:schemeClr val="tx1"/>
                </a:solidFill>
                <a:effectLst/>
                <a:latin typeface="Trebuchet MS" panose="020B0603020202020204" pitchFamily="34" charset="0"/>
              </a:rPr>
              <a:t> </a:t>
            </a:r>
            <a:r>
              <a:rPr kumimoji="0" lang="en-GB" sz="1000" b="0" u="none" strike="noStrike" cap="none" normalizeH="0" baseline="0">
                <a:ln>
                  <a:noFill/>
                </a:ln>
                <a:solidFill>
                  <a:schemeClr val="tx2"/>
                </a:solidFill>
                <a:effectLst/>
                <a:latin typeface="Trebuchet MS" panose="020B0603020202020204" pitchFamily="34" charset="0"/>
              </a:rPr>
              <a:t>venture</a:t>
            </a:r>
            <a:r>
              <a:rPr kumimoji="0" lang="en-GB" sz="1000" b="0" u="none" strike="noStrike" cap="none" normalizeH="0" baseline="0">
                <a:ln>
                  <a:noFill/>
                </a:ln>
                <a:solidFill>
                  <a:schemeClr val="tx1"/>
                </a:solidFill>
                <a:effectLst/>
                <a:latin typeface="Trebuchet MS" panose="020B0603020202020204" pitchFamily="34" charset="0"/>
              </a:rPr>
              <a:t> gives the group </a:t>
            </a:r>
            <a:r>
              <a:rPr kumimoji="0" lang="en-GB" sz="1000" b="0" u="none" strike="noStrike" cap="none" normalizeH="0" baseline="0">
                <a:ln>
                  <a:noFill/>
                </a:ln>
                <a:solidFill>
                  <a:schemeClr val="tx2"/>
                </a:solidFill>
                <a:effectLst/>
                <a:latin typeface="Trebuchet MS" panose="020B0603020202020204" pitchFamily="34" charset="0"/>
              </a:rPr>
              <a:t>privileged</a:t>
            </a:r>
            <a:r>
              <a:rPr kumimoji="0" lang="en-GB" sz="1000" b="0" u="none" strike="noStrike" cap="none" normalizeH="0" baseline="0">
                <a:ln>
                  <a:noFill/>
                </a:ln>
                <a:solidFill>
                  <a:schemeClr val="tx1"/>
                </a:solidFill>
                <a:effectLst/>
                <a:latin typeface="Trebuchet MS" panose="020B0603020202020204" pitchFamily="34" charset="0"/>
              </a:rPr>
              <a:t> </a:t>
            </a:r>
            <a:r>
              <a:rPr kumimoji="0" lang="en-GB" sz="1000" b="0" u="none" strike="noStrike" cap="none" normalizeH="0" baseline="0">
                <a:ln>
                  <a:noFill/>
                </a:ln>
                <a:solidFill>
                  <a:schemeClr val="tx2"/>
                </a:solidFill>
                <a:effectLst/>
                <a:latin typeface="Trebuchet MS" panose="020B0603020202020204" pitchFamily="34" charset="0"/>
              </a:rPr>
              <a:t>access</a:t>
            </a:r>
            <a:r>
              <a:rPr kumimoji="0" lang="en-GB" sz="1000" b="0" u="none" strike="noStrike" cap="none" normalizeH="0" baseline="0">
                <a:ln>
                  <a:noFill/>
                </a:ln>
                <a:solidFill>
                  <a:schemeClr val="tx1"/>
                </a:solidFill>
                <a:effectLst/>
                <a:latin typeface="Trebuchet MS" panose="020B0603020202020204" pitchFamily="34" charset="0"/>
              </a:rPr>
              <a:t> to a market in which company </a:t>
            </a:r>
            <a:r>
              <a:rPr kumimoji="0" lang="en-GB" sz="1000" b="0" u="none" strike="noStrike" cap="none" normalizeH="0" baseline="0">
                <a:ln>
                  <a:noFill/>
                </a:ln>
                <a:solidFill>
                  <a:schemeClr val="tx2"/>
                </a:solidFill>
                <a:effectLst/>
                <a:latin typeface="Trebuchet MS" panose="020B0603020202020204" pitchFamily="34" charset="0"/>
              </a:rPr>
              <a:t>data</a:t>
            </a:r>
            <a:r>
              <a:rPr kumimoji="0" lang="en-GB" sz="1000" b="0" u="none" strike="noStrike" cap="none" normalizeH="0" baseline="0">
                <a:ln>
                  <a:noFill/>
                </a:ln>
                <a:solidFill>
                  <a:schemeClr val="tx1"/>
                </a:solidFill>
                <a:effectLst/>
                <a:latin typeface="Trebuchet MS" panose="020B0603020202020204" pitchFamily="34" charset="0"/>
              </a:rPr>
              <a:t> is structurally </a:t>
            </a:r>
            <a:r>
              <a:rPr kumimoji="0" lang="en-GB" sz="1000" b="0" u="none" strike="noStrike" cap="none" normalizeH="0" baseline="0">
                <a:ln>
                  <a:noFill/>
                </a:ln>
                <a:solidFill>
                  <a:schemeClr val="tx2"/>
                </a:solidFill>
                <a:effectLst/>
                <a:latin typeface="Trebuchet MS" panose="020B0603020202020204" pitchFamily="34" charset="0"/>
              </a:rPr>
              <a:t>difficult</a:t>
            </a:r>
            <a:r>
              <a:rPr kumimoji="0" lang="en-GB" sz="1000" b="0" u="none" strike="noStrike" cap="none" normalizeH="0" baseline="0">
                <a:ln>
                  <a:noFill/>
                </a:ln>
                <a:solidFill>
                  <a:schemeClr val="tx1"/>
                </a:solidFill>
                <a:effectLst/>
                <a:latin typeface="Trebuchet MS" panose="020B0603020202020204" pitchFamily="34" charset="0"/>
              </a:rPr>
              <a:t> to </a:t>
            </a:r>
            <a:r>
              <a:rPr kumimoji="0" lang="en-GB" sz="1000" b="0" u="none" strike="noStrike" cap="none" normalizeH="0" baseline="0">
                <a:ln>
                  <a:noFill/>
                </a:ln>
                <a:solidFill>
                  <a:schemeClr val="tx2"/>
                </a:solidFill>
                <a:effectLst/>
                <a:latin typeface="Trebuchet MS" panose="020B0603020202020204" pitchFamily="34" charset="0"/>
              </a:rPr>
              <a:t>access</a:t>
            </a:r>
            <a:r>
              <a:rPr kumimoji="0" lang="en-GB" sz="1000" b="0" u="none" strike="noStrike" cap="none" normalizeH="0" baseline="0">
                <a:ln>
                  <a:noFill/>
                </a:ln>
                <a:effectLst/>
                <a:latin typeface="Trebuchet MS" panose="020B0603020202020204" pitchFamily="34" charset="0"/>
              </a:rPr>
              <a:t>, d</a:t>
            </a:r>
            <a:r>
              <a:rPr lang="en-GB" sz="1000">
                <a:latin typeface="Trebuchet MS" panose="020B0603020202020204" pitchFamily="34" charset="0"/>
              </a:rPr>
              <a:t>ata collection in the Maghreb area </a:t>
            </a:r>
            <a:r>
              <a:rPr lang="en-GB" sz="1000" err="1">
                <a:latin typeface="Trebuchet MS" panose="020B0603020202020204" pitchFamily="34" charset="0"/>
              </a:rPr>
              <a:t>requiering</a:t>
            </a:r>
            <a:r>
              <a:rPr lang="en-GB" sz="1000">
                <a:latin typeface="Trebuchet MS" panose="020B0603020202020204" pitchFamily="34" charset="0"/>
              </a:rPr>
              <a:t> a </a:t>
            </a:r>
            <a:r>
              <a:rPr lang="en-GB" sz="1000">
                <a:solidFill>
                  <a:schemeClr val="tx2"/>
                </a:solidFill>
                <a:latin typeface="Trebuchet MS" panose="020B0603020202020204" pitchFamily="34" charset="0"/>
              </a:rPr>
              <a:t>strong manual component</a:t>
            </a:r>
          </a:p>
          <a:p>
            <a:r>
              <a:rPr lang="en-GB" sz="1000">
                <a:latin typeface="Trebuchet MS" panose="020B0603020202020204" pitchFamily="34" charset="0"/>
              </a:rPr>
              <a:t> </a:t>
            </a:r>
          </a:p>
          <a:p>
            <a:r>
              <a:rPr lang="en-GB" sz="1000">
                <a:latin typeface="Trebuchet MS" panose="020B0603020202020204" pitchFamily="34" charset="0"/>
              </a:rPr>
              <a:t>This </a:t>
            </a:r>
            <a:r>
              <a:rPr lang="en-GB" sz="1000">
                <a:solidFill>
                  <a:schemeClr val="tx2"/>
                </a:solidFill>
                <a:latin typeface="Trebuchet MS" panose="020B0603020202020204" pitchFamily="34" charset="0"/>
              </a:rPr>
              <a:t>strategic </a:t>
            </a:r>
            <a:r>
              <a:rPr lang="en-GB" sz="1000" err="1">
                <a:solidFill>
                  <a:schemeClr val="tx2"/>
                </a:solidFill>
                <a:latin typeface="Trebuchet MS" panose="020B0603020202020204" pitchFamily="34" charset="0"/>
              </a:rPr>
              <a:t>positionning</a:t>
            </a:r>
            <a:r>
              <a:rPr lang="en-GB" sz="1000">
                <a:solidFill>
                  <a:schemeClr val="tx2"/>
                </a:solidFill>
                <a:latin typeface="Trebuchet MS" panose="020B0603020202020204" pitchFamily="34" charset="0"/>
              </a:rPr>
              <a:t> </a:t>
            </a:r>
            <a:r>
              <a:rPr lang="en-GB" sz="1000">
                <a:latin typeface="Trebuchet MS" panose="020B0603020202020204" pitchFamily="34" charset="0"/>
              </a:rPr>
              <a:t>around the collection of Maghreb data is enhanced with the </a:t>
            </a:r>
            <a:r>
              <a:rPr lang="en-GB" sz="1000">
                <a:solidFill>
                  <a:schemeClr val="tx2"/>
                </a:solidFill>
                <a:latin typeface="Trebuchet MS" panose="020B0603020202020204" pitchFamily="34" charset="0"/>
              </a:rPr>
              <a:t>Dun &amp; Bradstreet partnership </a:t>
            </a:r>
            <a:r>
              <a:rPr lang="en-GB" sz="1000">
                <a:latin typeface="Trebuchet MS" panose="020B0603020202020204" pitchFamily="34" charset="0"/>
              </a:rPr>
              <a:t>which distribute these data within the D&amp;B network.</a:t>
            </a:r>
          </a:p>
        </p:txBody>
      </p:sp>
      <p:cxnSp>
        <p:nvCxnSpPr>
          <p:cNvPr id="41" name="Connecteur droit 40">
            <a:extLst>
              <a:ext uri="{FF2B5EF4-FFF2-40B4-BE49-F238E27FC236}">
                <a16:creationId xmlns:a16="http://schemas.microsoft.com/office/drawing/2014/main" id="{0131E573-B493-48AF-9E43-8A6C81C3FB92}"/>
              </a:ext>
            </a:extLst>
          </p:cNvPr>
          <p:cNvCxnSpPr>
            <a:cxnSpLocks/>
          </p:cNvCxnSpPr>
          <p:nvPr/>
        </p:nvCxnSpPr>
        <p:spPr bwMode="auto">
          <a:xfrm>
            <a:off x="4961700" y="1246012"/>
            <a:ext cx="0" cy="5040000"/>
          </a:xfrm>
          <a:prstGeom prst="line">
            <a:avLst/>
          </a:prstGeom>
          <a:solidFill>
            <a:schemeClr val="accent1"/>
          </a:solidFill>
          <a:ln w="9525" cap="flat" cmpd="sng" algn="ctr">
            <a:solidFill>
              <a:schemeClr val="tx2"/>
            </a:solidFill>
            <a:prstDash val="solid"/>
            <a:round/>
            <a:headEnd type="none" w="med" len="med"/>
            <a:tailEnd type="none" w="med" len="med"/>
          </a:ln>
          <a:effectLst/>
        </p:spPr>
      </p:cxnSp>
      <p:cxnSp>
        <p:nvCxnSpPr>
          <p:cNvPr id="42" name="Connecteur droit 41">
            <a:extLst>
              <a:ext uri="{FF2B5EF4-FFF2-40B4-BE49-F238E27FC236}">
                <a16:creationId xmlns:a16="http://schemas.microsoft.com/office/drawing/2014/main" id="{7BF0B68A-87AF-43AA-A9E0-19490C0E8376}"/>
              </a:ext>
            </a:extLst>
          </p:cNvPr>
          <p:cNvCxnSpPr>
            <a:cxnSpLocks/>
          </p:cNvCxnSpPr>
          <p:nvPr/>
        </p:nvCxnSpPr>
        <p:spPr bwMode="auto">
          <a:xfrm>
            <a:off x="371700" y="1079433"/>
            <a:ext cx="432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cxnSp>
        <p:nvCxnSpPr>
          <p:cNvPr id="43" name="Connecteur droit 42">
            <a:extLst>
              <a:ext uri="{FF2B5EF4-FFF2-40B4-BE49-F238E27FC236}">
                <a16:creationId xmlns:a16="http://schemas.microsoft.com/office/drawing/2014/main" id="{884E77A1-6215-4984-A6AA-832F1AA4EBF8}"/>
              </a:ext>
            </a:extLst>
          </p:cNvPr>
          <p:cNvCxnSpPr>
            <a:cxnSpLocks/>
          </p:cNvCxnSpPr>
          <p:nvPr/>
        </p:nvCxnSpPr>
        <p:spPr bwMode="auto">
          <a:xfrm>
            <a:off x="5214300" y="1079433"/>
            <a:ext cx="432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5" name="ZoneTexte 6">
            <a:extLst>
              <a:ext uri="{FF2B5EF4-FFF2-40B4-BE49-F238E27FC236}">
                <a16:creationId xmlns:a16="http://schemas.microsoft.com/office/drawing/2014/main" id="{5339BCB2-B6F8-44C2-AA3B-F0876DCECEFB}"/>
              </a:ext>
            </a:extLst>
          </p:cNvPr>
          <p:cNvSpPr txBox="1"/>
          <p:nvPr/>
        </p:nvSpPr>
        <p:spPr>
          <a:xfrm>
            <a:off x="850689" y="974102"/>
            <a:ext cx="3030578" cy="181839"/>
          </a:xfrm>
          <a:prstGeom prst="rect">
            <a:avLst/>
          </a:prstGeom>
          <a:solidFill>
            <a:schemeClr val="bg1"/>
          </a:solidFill>
          <a:ln>
            <a:noFill/>
          </a:ln>
        </p:spPr>
        <p:txBody>
          <a:bodyPr wrap="square" lIns="36000" tIns="36000" rIns="36000" bIns="36000" rtlCol="0" anchor="ctr">
            <a:noAutofit/>
          </a:bodyPr>
          <a:lstStyle/>
          <a:p>
            <a:pPr algn="ctr"/>
            <a:r>
              <a:rPr lang="en-GB" sz="1100">
                <a:latin typeface="Trebuchet MS" panose="020B0603020202020204" pitchFamily="34" charset="0"/>
              </a:rPr>
              <a:t>A </a:t>
            </a:r>
            <a:r>
              <a:rPr lang="en-GB" sz="1100" b="1">
                <a:solidFill>
                  <a:schemeClr val="tx2"/>
                </a:solidFill>
                <a:latin typeface="Trebuchet MS" panose="020B0603020202020204" pitchFamily="34" charset="0"/>
              </a:rPr>
              <a:t>complex and growing market </a:t>
            </a:r>
            <a:r>
              <a:rPr lang="en-GB" sz="1100">
                <a:latin typeface="Trebuchet MS" panose="020B0603020202020204" pitchFamily="34" charset="0"/>
              </a:rPr>
              <a:t>in Maghreb …</a:t>
            </a:r>
          </a:p>
        </p:txBody>
      </p:sp>
      <p:sp>
        <p:nvSpPr>
          <p:cNvPr id="70" name="ZoneTexte 6">
            <a:extLst>
              <a:ext uri="{FF2B5EF4-FFF2-40B4-BE49-F238E27FC236}">
                <a16:creationId xmlns:a16="http://schemas.microsoft.com/office/drawing/2014/main" id="{25B37198-EAF5-48E4-9D1F-A9E92D436C52}"/>
              </a:ext>
            </a:extLst>
          </p:cNvPr>
          <p:cNvSpPr txBox="1"/>
          <p:nvPr/>
        </p:nvSpPr>
        <p:spPr>
          <a:xfrm>
            <a:off x="5594723" y="974102"/>
            <a:ext cx="3559154" cy="242028"/>
          </a:xfrm>
          <a:prstGeom prst="rect">
            <a:avLst/>
          </a:prstGeom>
          <a:solidFill>
            <a:schemeClr val="bg1"/>
          </a:solidFill>
          <a:ln>
            <a:noFill/>
          </a:ln>
        </p:spPr>
        <p:txBody>
          <a:bodyPr wrap="square" lIns="36000" tIns="36000" rIns="36000" bIns="36000" rtlCol="0" anchor="ctr">
            <a:noAutofit/>
          </a:bodyPr>
          <a:lstStyle/>
          <a:p>
            <a:pPr algn="ctr"/>
            <a:r>
              <a:rPr lang="en-GB" sz="1100">
                <a:latin typeface="Trebuchet MS" panose="020B0603020202020204" pitchFamily="34" charset="0"/>
              </a:rPr>
              <a:t>… offering to </a:t>
            </a:r>
            <a:r>
              <a:rPr lang="en-GB" sz="1100" b="1" err="1">
                <a:solidFill>
                  <a:schemeClr val="tx2"/>
                </a:solidFill>
                <a:latin typeface="Trebuchet MS" panose="020B0603020202020204" pitchFamily="34" charset="0"/>
              </a:rPr>
              <a:t>Altares</a:t>
            </a:r>
            <a:r>
              <a:rPr lang="en-GB" sz="1100">
                <a:latin typeface="Trebuchet MS" panose="020B0603020202020204" pitchFamily="34" charset="0"/>
              </a:rPr>
              <a:t> Group a key</a:t>
            </a:r>
            <a:r>
              <a:rPr lang="en-GB" sz="1100" b="1">
                <a:solidFill>
                  <a:schemeClr val="tx2"/>
                </a:solidFill>
                <a:latin typeface="Trebuchet MS" panose="020B0603020202020204" pitchFamily="34" charset="0"/>
              </a:rPr>
              <a:t> strategic positioning</a:t>
            </a:r>
            <a:r>
              <a:rPr lang="en-GB" sz="1100">
                <a:latin typeface="Trebuchet MS" panose="020B0603020202020204" pitchFamily="34" charset="0"/>
              </a:rPr>
              <a:t> in terms of </a:t>
            </a:r>
            <a:r>
              <a:rPr lang="en-GB" sz="1100" b="1">
                <a:solidFill>
                  <a:schemeClr val="tx2"/>
                </a:solidFill>
                <a:latin typeface="Trebuchet MS" panose="020B0603020202020204" pitchFamily="34" charset="0"/>
              </a:rPr>
              <a:t>data collection </a:t>
            </a:r>
          </a:p>
        </p:txBody>
      </p:sp>
      <p:sp>
        <p:nvSpPr>
          <p:cNvPr id="102" name="ZoneTexte 101">
            <a:extLst>
              <a:ext uri="{FF2B5EF4-FFF2-40B4-BE49-F238E27FC236}">
                <a16:creationId xmlns:a16="http://schemas.microsoft.com/office/drawing/2014/main" id="{543DE1F1-BC2E-418D-9DCE-350FB29649B8}"/>
              </a:ext>
            </a:extLst>
          </p:cNvPr>
          <p:cNvSpPr txBox="1"/>
          <p:nvPr/>
        </p:nvSpPr>
        <p:spPr>
          <a:xfrm>
            <a:off x="480219" y="5880169"/>
            <a:ext cx="4127675" cy="532381"/>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defPPr>
              <a:defRPr lang="en-US"/>
            </a:defPPr>
            <a:lvl1pPr marL="0" marR="0" indent="0" defTabSz="914400" eaLnBrk="1" latinLnBrk="0" hangingPunct="1">
              <a:lnSpc>
                <a:spcPct val="100000"/>
              </a:lnSpc>
              <a:spcAft>
                <a:spcPts val="300"/>
              </a:spcAft>
              <a:buClrTx/>
              <a:buSzTx/>
              <a:buFontTx/>
              <a:buNone/>
              <a:tabLst/>
              <a:defRPr kumimoji="0" sz="1000" b="0" i="1" u="none" strike="noStrike" cap="none" normalizeH="0" baseline="0">
                <a:ln>
                  <a:noFill/>
                </a:ln>
                <a:effectLst/>
                <a:latin typeface="Trebuchet MS" panose="020B0603020202020204" pitchFamily="34" charset="0"/>
              </a:defRPr>
            </a:lvl1pPr>
          </a:lstStyle>
          <a:p>
            <a:r>
              <a:rPr lang="en-GB"/>
              <a:t>« Credit insurers are dumping risk information which is included in their insurance contracts, but this is not their core business »</a:t>
            </a:r>
          </a:p>
          <a:p>
            <a:r>
              <a:rPr lang="en-GB" i="0"/>
              <a:t>MD Africa at </a:t>
            </a:r>
            <a:r>
              <a:rPr lang="en-GB" i="0" err="1"/>
              <a:t>Altares</a:t>
            </a:r>
            <a:endParaRPr lang="en-GB" i="0"/>
          </a:p>
        </p:txBody>
      </p:sp>
      <p:graphicFrame>
        <p:nvGraphicFramePr>
          <p:cNvPr id="104" name="Graphique 103">
            <a:extLst>
              <a:ext uri="{FF2B5EF4-FFF2-40B4-BE49-F238E27FC236}">
                <a16:creationId xmlns:a16="http://schemas.microsoft.com/office/drawing/2014/main" id="{E88F4C76-E9C7-4DEA-AC5E-494994177201}"/>
              </a:ext>
            </a:extLst>
          </p:cNvPr>
          <p:cNvGraphicFramePr/>
          <p:nvPr>
            <p:extLst>
              <p:ext uri="{D42A27DB-BD31-4B8C-83A1-F6EECF244321}">
                <p14:modId xmlns:p14="http://schemas.microsoft.com/office/powerpoint/2010/main" val="1355371686"/>
              </p:ext>
            </p:extLst>
          </p:nvPr>
        </p:nvGraphicFramePr>
        <p:xfrm>
          <a:off x="2944706" y="1217806"/>
          <a:ext cx="1914785" cy="900000"/>
        </p:xfrm>
        <a:graphic>
          <a:graphicData uri="http://schemas.openxmlformats.org/drawingml/2006/chart">
            <c:chart xmlns:c="http://schemas.openxmlformats.org/drawingml/2006/chart" xmlns:r="http://schemas.openxmlformats.org/officeDocument/2006/relationships" r:id="rId28"/>
          </a:graphicData>
        </a:graphic>
      </p:graphicFrame>
      <p:sp>
        <p:nvSpPr>
          <p:cNvPr id="105" name="ZoneTexte 104">
            <a:extLst>
              <a:ext uri="{FF2B5EF4-FFF2-40B4-BE49-F238E27FC236}">
                <a16:creationId xmlns:a16="http://schemas.microsoft.com/office/drawing/2014/main" id="{E5A56808-1098-4FA5-8A56-1E115F02DBDB}"/>
              </a:ext>
            </a:extLst>
          </p:cNvPr>
          <p:cNvSpPr txBox="1"/>
          <p:nvPr/>
        </p:nvSpPr>
        <p:spPr>
          <a:xfrm>
            <a:off x="241139" y="1259342"/>
            <a:ext cx="2882899" cy="707886"/>
          </a:xfrm>
          <a:prstGeom prst="rect">
            <a:avLst/>
          </a:prstGeom>
          <a:noFill/>
        </p:spPr>
        <p:txBody>
          <a:bodyPr wrap="square">
            <a:spAutoFit/>
          </a:bodyPr>
          <a:lstStyle/>
          <a:p>
            <a:r>
              <a:rPr lang="en-GB" sz="1000">
                <a:latin typeface="Trebuchet MS" panose="020B0603020202020204" pitchFamily="34" charset="0"/>
              </a:rPr>
              <a:t>The BD&amp;A market in Maghreb (in particular </a:t>
            </a:r>
            <a:r>
              <a:rPr lang="en-GB" sz="1000" err="1">
                <a:latin typeface="Trebuchet MS" panose="020B0603020202020204" pitchFamily="34" charset="0"/>
              </a:rPr>
              <a:t>Marocco</a:t>
            </a:r>
            <a:r>
              <a:rPr lang="en-GB" sz="1000">
                <a:latin typeface="Trebuchet MS" panose="020B0603020202020204" pitchFamily="34" charset="0"/>
              </a:rPr>
              <a:t>, Tunisia and Algeria) is </a:t>
            </a:r>
            <a:r>
              <a:rPr lang="en-GB" sz="1000">
                <a:solidFill>
                  <a:schemeClr val="tx2"/>
                </a:solidFill>
                <a:latin typeface="Trebuchet MS" panose="020B0603020202020204" pitchFamily="34" charset="0"/>
              </a:rPr>
              <a:t>smaller and less </a:t>
            </a:r>
            <a:r>
              <a:rPr lang="en-GB" sz="1000" err="1">
                <a:solidFill>
                  <a:schemeClr val="tx2"/>
                </a:solidFill>
                <a:latin typeface="Trebuchet MS" panose="020B0603020202020204" pitchFamily="34" charset="0"/>
              </a:rPr>
              <a:t>developped</a:t>
            </a:r>
            <a:r>
              <a:rPr lang="en-GB" sz="1000">
                <a:solidFill>
                  <a:schemeClr val="tx2"/>
                </a:solidFill>
                <a:latin typeface="Trebuchet MS" panose="020B0603020202020204" pitchFamily="34" charset="0"/>
              </a:rPr>
              <a:t> </a:t>
            </a:r>
            <a:r>
              <a:rPr lang="en-GB" sz="1000">
                <a:latin typeface="Trebuchet MS" panose="020B0603020202020204" pitchFamily="34" charset="0"/>
              </a:rPr>
              <a:t>than in Europe on the three verticals</a:t>
            </a:r>
          </a:p>
        </p:txBody>
      </p:sp>
      <p:cxnSp>
        <p:nvCxnSpPr>
          <p:cNvPr id="106" name="Connecteur droit 105">
            <a:extLst>
              <a:ext uri="{FF2B5EF4-FFF2-40B4-BE49-F238E27FC236}">
                <a16:creationId xmlns:a16="http://schemas.microsoft.com/office/drawing/2014/main" id="{3771F9EF-CE57-41FA-9A3D-1E53CFDF1FBE}"/>
              </a:ext>
            </a:extLst>
          </p:cNvPr>
          <p:cNvCxnSpPr>
            <a:cxnSpLocks/>
          </p:cNvCxnSpPr>
          <p:nvPr/>
        </p:nvCxnSpPr>
        <p:spPr bwMode="auto">
          <a:xfrm>
            <a:off x="371700" y="4380124"/>
            <a:ext cx="432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1" name="ZoneTexte 6">
            <a:extLst>
              <a:ext uri="{FF2B5EF4-FFF2-40B4-BE49-F238E27FC236}">
                <a16:creationId xmlns:a16="http://schemas.microsoft.com/office/drawing/2014/main" id="{8AC6DFA4-7068-4F97-B612-A20AE0181047}"/>
              </a:ext>
            </a:extLst>
          </p:cNvPr>
          <p:cNvSpPr txBox="1"/>
          <p:nvPr/>
        </p:nvSpPr>
        <p:spPr>
          <a:xfrm>
            <a:off x="565356" y="4280113"/>
            <a:ext cx="3799928" cy="200023"/>
          </a:xfrm>
          <a:prstGeom prst="rect">
            <a:avLst/>
          </a:prstGeom>
          <a:solidFill>
            <a:schemeClr val="bg1"/>
          </a:solidFill>
          <a:ln>
            <a:noFill/>
          </a:ln>
        </p:spPr>
        <p:txBody>
          <a:bodyPr wrap="square" lIns="36000" tIns="36000" rIns="36000" bIns="36000" rtlCol="0" anchor="ctr">
            <a:noAutofit/>
          </a:bodyPr>
          <a:lstStyle/>
          <a:p>
            <a:pPr algn="ctr"/>
            <a:r>
              <a:rPr lang="en-GB" sz="1100">
                <a:latin typeface="Trebuchet MS" panose="020B0603020202020204" pitchFamily="34" charset="0"/>
              </a:rPr>
              <a:t>… </a:t>
            </a:r>
            <a:r>
              <a:rPr lang="en-GB" sz="1100" b="1">
                <a:solidFill>
                  <a:schemeClr val="tx2"/>
                </a:solidFill>
                <a:latin typeface="Trebuchet MS" panose="020B0603020202020204" pitchFamily="34" charset="0"/>
              </a:rPr>
              <a:t>quite unaddressed </a:t>
            </a:r>
            <a:r>
              <a:rPr lang="en-GB" sz="1100">
                <a:latin typeface="Trebuchet MS" panose="020B0603020202020204" pitchFamily="34" charset="0"/>
              </a:rPr>
              <a:t>despite a few international players…</a:t>
            </a:r>
          </a:p>
        </p:txBody>
      </p:sp>
      <p:sp>
        <p:nvSpPr>
          <p:cNvPr id="107" name="ZoneTexte 106">
            <a:extLst>
              <a:ext uri="{FF2B5EF4-FFF2-40B4-BE49-F238E27FC236}">
                <a16:creationId xmlns:a16="http://schemas.microsoft.com/office/drawing/2014/main" id="{28983581-E9F6-4B4E-8258-0E2206782231}"/>
              </a:ext>
            </a:extLst>
          </p:cNvPr>
          <p:cNvSpPr txBox="1"/>
          <p:nvPr/>
        </p:nvSpPr>
        <p:spPr>
          <a:xfrm>
            <a:off x="480219" y="3370154"/>
            <a:ext cx="4127676" cy="831079"/>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defPPr>
              <a:defRPr lang="en-US"/>
            </a:defPPr>
            <a:lvl1pPr marL="0" marR="0" indent="0" defTabSz="914400" eaLnBrk="1" latinLnBrk="0" hangingPunct="1">
              <a:lnSpc>
                <a:spcPct val="100000"/>
              </a:lnSpc>
              <a:spcAft>
                <a:spcPts val="300"/>
              </a:spcAft>
              <a:buClrTx/>
              <a:buSzTx/>
              <a:buFontTx/>
              <a:buNone/>
              <a:tabLst/>
              <a:defRPr kumimoji="0" sz="1000" b="0" i="1" u="none" strike="noStrike" cap="none" normalizeH="0" baseline="0">
                <a:ln>
                  <a:noFill/>
                </a:ln>
                <a:effectLst/>
                <a:latin typeface="Trebuchet MS" panose="020B0603020202020204" pitchFamily="34" charset="0"/>
              </a:defRPr>
            </a:lvl1pPr>
          </a:lstStyle>
          <a:p>
            <a:r>
              <a:rPr lang="en-GB"/>
              <a:t>« The BD&amp;A market in Maghreb knows a </a:t>
            </a:r>
            <a:r>
              <a:rPr lang="en-GB">
                <a:solidFill>
                  <a:schemeClr val="tx2"/>
                </a:solidFill>
              </a:rPr>
              <a:t>double-digit growth </a:t>
            </a:r>
            <a:r>
              <a:rPr lang="en-GB"/>
              <a:t>with lots of opportunities. In </a:t>
            </a:r>
            <a:r>
              <a:rPr lang="en-GB" err="1"/>
              <a:t>Marocco</a:t>
            </a:r>
            <a:r>
              <a:rPr lang="en-GB"/>
              <a:t>, the market size is 1/4 of the French market (~€18m). Considering the 3 countries, the market might </a:t>
            </a:r>
            <a:r>
              <a:rPr lang="en-GB">
                <a:solidFill>
                  <a:schemeClr val="tx2"/>
                </a:solidFill>
              </a:rPr>
              <a:t>represent €25m to €30m </a:t>
            </a:r>
            <a:r>
              <a:rPr lang="en-GB"/>
              <a:t>maximum» </a:t>
            </a:r>
          </a:p>
          <a:p>
            <a:r>
              <a:rPr lang="en-GB" i="0"/>
              <a:t>MD Africa at </a:t>
            </a:r>
            <a:r>
              <a:rPr lang="en-GB" i="0" err="1"/>
              <a:t>Altares</a:t>
            </a:r>
            <a:endParaRPr lang="en-GB" i="0"/>
          </a:p>
        </p:txBody>
      </p:sp>
      <p:sp>
        <p:nvSpPr>
          <p:cNvPr id="109" name="Freeform 663">
            <a:extLst>
              <a:ext uri="{FF2B5EF4-FFF2-40B4-BE49-F238E27FC236}">
                <a16:creationId xmlns:a16="http://schemas.microsoft.com/office/drawing/2014/main" id="{227F43C4-9723-4351-8859-D23029A7EBFC}"/>
              </a:ext>
            </a:extLst>
          </p:cNvPr>
          <p:cNvSpPr>
            <a:spLocks noChangeAspect="1" noEditPoints="1"/>
          </p:cNvSpPr>
          <p:nvPr/>
        </p:nvSpPr>
        <p:spPr bwMode="auto">
          <a:xfrm>
            <a:off x="343888" y="3637572"/>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12" name="Freeform 663">
            <a:extLst>
              <a:ext uri="{FF2B5EF4-FFF2-40B4-BE49-F238E27FC236}">
                <a16:creationId xmlns:a16="http://schemas.microsoft.com/office/drawing/2014/main" id="{99FF848E-3671-474C-B635-74DA3D34D7D6}"/>
              </a:ext>
            </a:extLst>
          </p:cNvPr>
          <p:cNvSpPr>
            <a:spLocks noChangeAspect="1" noEditPoints="1"/>
          </p:cNvSpPr>
          <p:nvPr/>
        </p:nvSpPr>
        <p:spPr bwMode="auto">
          <a:xfrm>
            <a:off x="343889" y="6007733"/>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61" name="ZoneTexte 60">
            <a:extLst>
              <a:ext uri="{FF2B5EF4-FFF2-40B4-BE49-F238E27FC236}">
                <a16:creationId xmlns:a16="http://schemas.microsoft.com/office/drawing/2014/main" id="{704A1277-9EE9-4B15-AD34-3735CAE83776}"/>
              </a:ext>
            </a:extLst>
          </p:cNvPr>
          <p:cNvSpPr txBox="1"/>
          <p:nvPr/>
        </p:nvSpPr>
        <p:spPr>
          <a:xfrm>
            <a:off x="5512081" y="2784328"/>
            <a:ext cx="4000257" cy="1062417"/>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defPPr>
              <a:defRPr lang="en-US"/>
            </a:defPPr>
            <a:lvl1pPr marL="0" marR="0" indent="0" defTabSz="914400" eaLnBrk="1" latinLnBrk="0" hangingPunct="1">
              <a:lnSpc>
                <a:spcPct val="100000"/>
              </a:lnSpc>
              <a:spcAft>
                <a:spcPts val="300"/>
              </a:spcAft>
              <a:buClrTx/>
              <a:buSzTx/>
              <a:buFontTx/>
              <a:buNone/>
              <a:tabLst/>
              <a:defRPr kumimoji="0" sz="1000" b="0" i="1" u="none" strike="noStrike" cap="none" normalizeH="0" baseline="0">
                <a:ln>
                  <a:noFill/>
                </a:ln>
                <a:effectLst/>
                <a:latin typeface="Trebuchet MS" panose="020B0603020202020204" pitchFamily="34" charset="0"/>
              </a:defRPr>
            </a:lvl1pPr>
          </a:lstStyle>
          <a:p>
            <a:r>
              <a:rPr lang="en-GB"/>
              <a:t>« In the Maghreb area, </a:t>
            </a:r>
            <a:r>
              <a:rPr lang="en-GB" err="1"/>
              <a:t>Altares</a:t>
            </a:r>
            <a:r>
              <a:rPr lang="en-GB"/>
              <a:t> retrieves the legal announcement </a:t>
            </a:r>
            <a:r>
              <a:rPr lang="en-GB">
                <a:solidFill>
                  <a:schemeClr val="tx2"/>
                </a:solidFill>
              </a:rPr>
              <a:t>newspapers in paper format</a:t>
            </a:r>
            <a:r>
              <a:rPr lang="en-GB"/>
              <a:t>, we manage the </a:t>
            </a:r>
            <a:r>
              <a:rPr lang="en-GB">
                <a:solidFill>
                  <a:schemeClr val="tx2"/>
                </a:solidFill>
              </a:rPr>
              <a:t>reconciliation</a:t>
            </a:r>
            <a:r>
              <a:rPr lang="en-GB"/>
              <a:t> on legal announcements between several sources, and we ensure the correct </a:t>
            </a:r>
            <a:r>
              <a:rPr lang="en-GB">
                <a:solidFill>
                  <a:schemeClr val="tx2"/>
                </a:solidFill>
              </a:rPr>
              <a:t>translation</a:t>
            </a:r>
            <a:r>
              <a:rPr lang="en-GB"/>
              <a:t>… This allows </a:t>
            </a:r>
            <a:r>
              <a:rPr lang="en-GB" err="1"/>
              <a:t>Altares</a:t>
            </a:r>
            <a:r>
              <a:rPr lang="en-GB"/>
              <a:t> to have a </a:t>
            </a:r>
            <a:r>
              <a:rPr lang="en-GB">
                <a:solidFill>
                  <a:schemeClr val="tx2"/>
                </a:solidFill>
              </a:rPr>
              <a:t>high data precision </a:t>
            </a:r>
            <a:r>
              <a:rPr lang="en-GB"/>
              <a:t>and depth”</a:t>
            </a:r>
          </a:p>
          <a:p>
            <a:r>
              <a:rPr lang="en-GB" i="0"/>
              <a:t>MD Africa at </a:t>
            </a:r>
            <a:r>
              <a:rPr lang="en-GB" i="0" err="1"/>
              <a:t>Altares</a:t>
            </a:r>
            <a:endParaRPr lang="en-GB" i="0"/>
          </a:p>
        </p:txBody>
      </p:sp>
      <p:sp>
        <p:nvSpPr>
          <p:cNvPr id="62" name="Freeform 663">
            <a:extLst>
              <a:ext uri="{FF2B5EF4-FFF2-40B4-BE49-F238E27FC236}">
                <a16:creationId xmlns:a16="http://schemas.microsoft.com/office/drawing/2014/main" id="{6BFA5ECC-49A6-4119-A7D9-27D961482288}"/>
              </a:ext>
            </a:extLst>
          </p:cNvPr>
          <p:cNvSpPr>
            <a:spLocks noChangeAspect="1" noEditPoints="1"/>
          </p:cNvSpPr>
          <p:nvPr/>
        </p:nvSpPr>
        <p:spPr bwMode="auto">
          <a:xfrm>
            <a:off x="5375750" y="3156323"/>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8" name="Rectangle 7">
            <a:extLst>
              <a:ext uri="{FF2B5EF4-FFF2-40B4-BE49-F238E27FC236}">
                <a16:creationId xmlns:a16="http://schemas.microsoft.com/office/drawing/2014/main" id="{1ABC0AA4-A0AA-49CC-937C-32D49D7BCE6B}"/>
              </a:ext>
            </a:extLst>
          </p:cNvPr>
          <p:cNvSpPr/>
          <p:nvPr/>
        </p:nvSpPr>
        <p:spPr bwMode="auto">
          <a:xfrm>
            <a:off x="3097866" y="1259342"/>
            <a:ext cx="1675916" cy="755049"/>
          </a:xfrm>
          <a:prstGeom prst="rect">
            <a:avLst/>
          </a:prstGeom>
          <a:no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 name="ZoneTexte 9">
            <a:extLst>
              <a:ext uri="{FF2B5EF4-FFF2-40B4-BE49-F238E27FC236}">
                <a16:creationId xmlns:a16="http://schemas.microsoft.com/office/drawing/2014/main" id="{6A92AAE2-AD24-4D33-8AE6-3BCBD837F494}"/>
              </a:ext>
            </a:extLst>
          </p:cNvPr>
          <p:cNvSpPr txBox="1"/>
          <p:nvPr/>
        </p:nvSpPr>
        <p:spPr>
          <a:xfrm>
            <a:off x="6562747" y="4476233"/>
            <a:ext cx="259689" cy="276999"/>
          </a:xfrm>
          <a:prstGeom prst="rect">
            <a:avLst/>
          </a:prstGeom>
          <a:noFill/>
        </p:spPr>
        <p:txBody>
          <a:bodyPr wrap="square" rtlCol="0">
            <a:spAutoFit/>
          </a:bodyPr>
          <a:lstStyle/>
          <a:p>
            <a:r>
              <a:rPr lang="en-GB" sz="1200">
                <a:latin typeface="Trebuchet MS" panose="020B0603020202020204" pitchFamily="34" charset="0"/>
              </a:rPr>
              <a:t>+</a:t>
            </a:r>
          </a:p>
        </p:txBody>
      </p:sp>
      <p:sp>
        <p:nvSpPr>
          <p:cNvPr id="68" name="ZoneTexte 67">
            <a:extLst>
              <a:ext uri="{FF2B5EF4-FFF2-40B4-BE49-F238E27FC236}">
                <a16:creationId xmlns:a16="http://schemas.microsoft.com/office/drawing/2014/main" id="{026E8DB1-C02A-4F78-9623-10C32D8D1303}"/>
              </a:ext>
            </a:extLst>
          </p:cNvPr>
          <p:cNvSpPr txBox="1"/>
          <p:nvPr/>
        </p:nvSpPr>
        <p:spPr>
          <a:xfrm>
            <a:off x="8042735" y="4476233"/>
            <a:ext cx="259689" cy="276999"/>
          </a:xfrm>
          <a:prstGeom prst="rect">
            <a:avLst/>
          </a:prstGeom>
          <a:noFill/>
        </p:spPr>
        <p:txBody>
          <a:bodyPr wrap="square" rtlCol="0">
            <a:spAutoFit/>
          </a:bodyPr>
          <a:lstStyle/>
          <a:p>
            <a:r>
              <a:rPr lang="en-GB" sz="1200">
                <a:latin typeface="Trebuchet MS" panose="020B0603020202020204" pitchFamily="34" charset="0"/>
              </a:rPr>
              <a:t>+</a:t>
            </a:r>
          </a:p>
        </p:txBody>
      </p:sp>
      <p:sp>
        <p:nvSpPr>
          <p:cNvPr id="5" name="Rectangle 4">
            <a:extLst>
              <a:ext uri="{FF2B5EF4-FFF2-40B4-BE49-F238E27FC236}">
                <a16:creationId xmlns:a16="http://schemas.microsoft.com/office/drawing/2014/main" id="{4AADB979-6E29-4F1F-A113-2E8F47475B16}"/>
              </a:ext>
            </a:extLst>
          </p:cNvPr>
          <p:cNvSpPr/>
          <p:nvPr/>
        </p:nvSpPr>
        <p:spPr bwMode="auto">
          <a:xfrm>
            <a:off x="5265470" y="5122778"/>
            <a:ext cx="4320000" cy="1308195"/>
          </a:xfrm>
          <a:prstGeom prst="rect">
            <a:avLst/>
          </a:prstGeom>
          <a:solidFill>
            <a:schemeClr val="bg1">
              <a:lumMod val="95000"/>
            </a:schemeClr>
          </a:solidFill>
        </p:spPr>
        <p:txBody>
          <a:bodyPr wrap="square">
            <a:noAutofit/>
          </a:bodyPr>
          <a:lstStyle/>
          <a:p>
            <a:r>
              <a:rPr lang="en-GB" sz="1000" b="1" i="1" dirty="0">
                <a:latin typeface="Trebuchet MS" panose="020B0603020202020204" pitchFamily="34" charset="0"/>
              </a:rPr>
              <a:t>Evolution of </a:t>
            </a:r>
            <a:r>
              <a:rPr lang="en-GB" sz="1000" b="1" i="1" dirty="0" err="1">
                <a:latin typeface="Trebuchet MS" panose="020B0603020202020204" pitchFamily="34" charset="0"/>
              </a:rPr>
              <a:t>Altares</a:t>
            </a:r>
            <a:r>
              <a:rPr lang="en-GB" sz="1000" b="1" i="1" dirty="0">
                <a:latin typeface="Trebuchet MS" panose="020B0603020202020204" pitchFamily="34" charset="0"/>
              </a:rPr>
              <a:t>’ revenue in Maghreb</a:t>
            </a:r>
          </a:p>
          <a:p>
            <a:endParaRPr lang="en-GB" sz="1000" dirty="0">
              <a:latin typeface="Trebuchet MS" panose="020B0603020202020204" pitchFamily="34" charset="0"/>
            </a:endParaRPr>
          </a:p>
          <a:p>
            <a:endParaRPr lang="en-GB" sz="1000" dirty="0">
              <a:highlight>
                <a:srgbClr val="FFFF00"/>
              </a:highlight>
              <a:latin typeface="Trebuchet MS" panose="020B0603020202020204" pitchFamily="34" charset="0"/>
            </a:endParaRPr>
          </a:p>
        </p:txBody>
      </p:sp>
      <p:graphicFrame>
        <p:nvGraphicFramePr>
          <p:cNvPr id="13" name="Graphique 12">
            <a:extLst>
              <a:ext uri="{FF2B5EF4-FFF2-40B4-BE49-F238E27FC236}">
                <a16:creationId xmlns:a16="http://schemas.microsoft.com/office/drawing/2014/main" id="{1732F12A-F52F-46F9-89C1-59A527F9ED3A}"/>
              </a:ext>
            </a:extLst>
          </p:cNvPr>
          <p:cNvGraphicFramePr/>
          <p:nvPr>
            <p:extLst>
              <p:ext uri="{D42A27DB-BD31-4B8C-83A1-F6EECF244321}">
                <p14:modId xmlns:p14="http://schemas.microsoft.com/office/powerpoint/2010/main" val="3453072954"/>
              </p:ext>
            </p:extLst>
          </p:nvPr>
        </p:nvGraphicFramePr>
        <p:xfrm>
          <a:off x="7352250" y="5330832"/>
          <a:ext cx="2338802" cy="1177872"/>
        </p:xfrm>
        <a:graphic>
          <a:graphicData uri="http://schemas.openxmlformats.org/drawingml/2006/chart">
            <c:chart xmlns:c="http://schemas.openxmlformats.org/drawingml/2006/chart" xmlns:r="http://schemas.openxmlformats.org/officeDocument/2006/relationships" r:id="rId29"/>
          </a:graphicData>
        </a:graphic>
      </p:graphicFrame>
      <p:cxnSp>
        <p:nvCxnSpPr>
          <p:cNvPr id="14" name="Straight Connector 240">
            <a:extLst>
              <a:ext uri="{FF2B5EF4-FFF2-40B4-BE49-F238E27FC236}">
                <a16:creationId xmlns:a16="http://schemas.microsoft.com/office/drawing/2014/main" id="{8C448107-524E-4BF2-914B-9ED42BD55970}"/>
              </a:ext>
            </a:extLst>
          </p:cNvPr>
          <p:cNvCxnSpPr>
            <a:cxnSpLocks/>
          </p:cNvCxnSpPr>
          <p:nvPr>
            <p:custDataLst>
              <p:tags r:id="rId3"/>
            </p:custDataLst>
          </p:nvPr>
        </p:nvCxnSpPr>
        <p:spPr bwMode="auto">
          <a:xfrm flipV="1">
            <a:off x="7799359" y="5312396"/>
            <a:ext cx="1271866" cy="235094"/>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6" name="Rectangle 15">
            <a:extLst>
              <a:ext uri="{FF2B5EF4-FFF2-40B4-BE49-F238E27FC236}">
                <a16:creationId xmlns:a16="http://schemas.microsoft.com/office/drawing/2014/main" id="{70133D07-F05B-4666-9728-4B2F49B2A61C}"/>
              </a:ext>
            </a:extLst>
          </p:cNvPr>
          <p:cNvSpPr/>
          <p:nvPr/>
        </p:nvSpPr>
        <p:spPr bwMode="auto">
          <a:xfrm>
            <a:off x="7826683" y="5345422"/>
            <a:ext cx="924248" cy="121910"/>
          </a:xfrm>
          <a:prstGeom prst="rect">
            <a:avLst/>
          </a:prstGeom>
          <a:solidFill>
            <a:schemeClr val="tx1"/>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1"/>
                </a:solidFill>
                <a:effectLst/>
                <a:latin typeface="Trebuchet MS" panose="020B0603020202020204" pitchFamily="34" charset="0"/>
              </a:rPr>
              <a:t>CAGR</a:t>
            </a:r>
            <a:r>
              <a:rPr kumimoji="0" lang="en-GB" sz="900" b="0" i="0" u="none" strike="noStrike" cap="none" normalizeH="0" baseline="-25000">
                <a:ln>
                  <a:noFill/>
                </a:ln>
                <a:solidFill>
                  <a:schemeClr val="bg1"/>
                </a:solidFill>
                <a:effectLst/>
                <a:latin typeface="Trebuchet MS" panose="020B0603020202020204" pitchFamily="34" charset="0"/>
              </a:rPr>
              <a:t>17-19</a:t>
            </a:r>
            <a:r>
              <a:rPr kumimoji="0" lang="en-GB" sz="900" b="0" i="0" u="none" strike="noStrike" cap="none" normalizeH="0" baseline="0">
                <a:ln>
                  <a:noFill/>
                </a:ln>
                <a:solidFill>
                  <a:schemeClr val="bg1"/>
                </a:solidFill>
                <a:effectLst/>
                <a:latin typeface="Trebuchet MS" panose="020B0603020202020204" pitchFamily="34" charset="0"/>
              </a:rPr>
              <a:t>: +26.7%</a:t>
            </a:r>
          </a:p>
        </p:txBody>
      </p:sp>
      <p:sp>
        <p:nvSpPr>
          <p:cNvPr id="24" name="Flèche : courbe vers le bas 23">
            <a:extLst>
              <a:ext uri="{FF2B5EF4-FFF2-40B4-BE49-F238E27FC236}">
                <a16:creationId xmlns:a16="http://schemas.microsoft.com/office/drawing/2014/main" id="{A1B72933-891C-49B8-9A64-43BEDA02E189}"/>
              </a:ext>
            </a:extLst>
          </p:cNvPr>
          <p:cNvSpPr/>
          <p:nvPr/>
        </p:nvSpPr>
        <p:spPr bwMode="auto">
          <a:xfrm>
            <a:off x="7989705" y="5756777"/>
            <a:ext cx="353248" cy="98045"/>
          </a:xfrm>
          <a:prstGeom prst="curvedDownArrow">
            <a:avLst/>
          </a:prstGeom>
          <a:solidFill>
            <a:schemeClr val="bg2">
              <a:lumMod val="40000"/>
              <a:lumOff val="6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5" name="Flèche : courbe vers le bas 24">
            <a:extLst>
              <a:ext uri="{FF2B5EF4-FFF2-40B4-BE49-F238E27FC236}">
                <a16:creationId xmlns:a16="http://schemas.microsoft.com/office/drawing/2014/main" id="{3E157379-3817-48F8-8F7A-CA8FCD6E6834}"/>
              </a:ext>
            </a:extLst>
          </p:cNvPr>
          <p:cNvSpPr/>
          <p:nvPr/>
        </p:nvSpPr>
        <p:spPr bwMode="auto">
          <a:xfrm>
            <a:off x="8700222" y="5658732"/>
            <a:ext cx="353248" cy="98045"/>
          </a:xfrm>
          <a:prstGeom prst="curvedDownArrow">
            <a:avLst/>
          </a:prstGeom>
          <a:solidFill>
            <a:schemeClr val="bg2">
              <a:lumMod val="40000"/>
              <a:lumOff val="6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6" name="Rectangle 25">
            <a:extLst>
              <a:ext uri="{FF2B5EF4-FFF2-40B4-BE49-F238E27FC236}">
                <a16:creationId xmlns:a16="http://schemas.microsoft.com/office/drawing/2014/main" id="{DF15FAB7-9553-44B8-A996-E156691C6DF3}"/>
              </a:ext>
            </a:extLst>
          </p:cNvPr>
          <p:cNvSpPr/>
          <p:nvPr/>
        </p:nvSpPr>
        <p:spPr bwMode="auto">
          <a:xfrm>
            <a:off x="7963846" y="5612486"/>
            <a:ext cx="320967" cy="145939"/>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700" b="0" i="1" u="none" strike="noStrike" cap="none" normalizeH="0" baseline="0">
                <a:ln>
                  <a:noFill/>
                </a:ln>
                <a:effectLst/>
                <a:latin typeface="Trebuchet MS" panose="020B0603020202020204" pitchFamily="34" charset="0"/>
              </a:rPr>
              <a:t>+10%</a:t>
            </a:r>
          </a:p>
        </p:txBody>
      </p:sp>
      <p:sp>
        <p:nvSpPr>
          <p:cNvPr id="27" name="Rectangle 26">
            <a:extLst>
              <a:ext uri="{FF2B5EF4-FFF2-40B4-BE49-F238E27FC236}">
                <a16:creationId xmlns:a16="http://schemas.microsoft.com/office/drawing/2014/main" id="{D9A0808B-0C1E-421F-BE41-FFE4FC93ED75}"/>
              </a:ext>
            </a:extLst>
          </p:cNvPr>
          <p:cNvSpPr/>
          <p:nvPr/>
        </p:nvSpPr>
        <p:spPr bwMode="auto">
          <a:xfrm>
            <a:off x="8700941" y="5481922"/>
            <a:ext cx="320967" cy="145939"/>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700" b="0" i="1" u="none" strike="noStrike" cap="none" normalizeH="0" baseline="0">
                <a:ln>
                  <a:noFill/>
                </a:ln>
                <a:effectLst/>
                <a:latin typeface="Trebuchet MS" panose="020B0603020202020204" pitchFamily="34" charset="0"/>
              </a:rPr>
              <a:t>+46%</a:t>
            </a:r>
          </a:p>
        </p:txBody>
      </p:sp>
      <p:sp>
        <p:nvSpPr>
          <p:cNvPr id="28" name="ZoneTexte 27">
            <a:extLst>
              <a:ext uri="{FF2B5EF4-FFF2-40B4-BE49-F238E27FC236}">
                <a16:creationId xmlns:a16="http://schemas.microsoft.com/office/drawing/2014/main" id="{D3A8106A-6C07-463C-AFE5-15E7A4099B43}"/>
              </a:ext>
            </a:extLst>
          </p:cNvPr>
          <p:cNvSpPr txBox="1"/>
          <p:nvPr/>
        </p:nvSpPr>
        <p:spPr>
          <a:xfrm>
            <a:off x="5261575" y="5398485"/>
            <a:ext cx="2121655" cy="1015663"/>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err="1">
                <a:ln>
                  <a:noFill/>
                </a:ln>
                <a:solidFill>
                  <a:srgbClr val="6C6C6C"/>
                </a:solidFill>
                <a:effectLst/>
                <a:uLnTx/>
                <a:uFillTx/>
                <a:latin typeface="Trebuchet MS" panose="020B0603020202020204" pitchFamily="34" charset="0"/>
                <a:ea typeface="+mn-ea"/>
                <a:cs typeface="Arial" pitchFamily="34" charset="0"/>
              </a:rPr>
              <a:t>Altares</a:t>
            </a:r>
            <a:r>
              <a:rPr kumimoji="0" lang="en-GB" sz="1000" b="0" i="0"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 revenue in Maghreb have </a:t>
            </a:r>
            <a:r>
              <a:rPr kumimoji="0" lang="en-GB" sz="1000" b="0" i="0" u="none" strike="noStrike" kern="1200" cap="none" spc="0" normalizeH="0" baseline="0" noProof="0" dirty="0">
                <a:ln>
                  <a:noFill/>
                </a:ln>
                <a:solidFill>
                  <a:schemeClr val="tx2"/>
                </a:solidFill>
                <a:effectLst/>
                <a:uLnTx/>
                <a:uFillTx/>
                <a:latin typeface="Trebuchet MS" panose="020B0603020202020204" pitchFamily="34" charset="0"/>
                <a:ea typeface="+mn-ea"/>
                <a:cs typeface="Arial" pitchFamily="34" charset="0"/>
              </a:rPr>
              <a:t>increased exponentially over the last three years</a:t>
            </a:r>
            <a:r>
              <a:rPr lang="en-GB" sz="1000" dirty="0">
                <a:solidFill>
                  <a:srgbClr val="6C6C6C"/>
                </a:solidFill>
                <a:latin typeface="Trebuchet MS" panose="020B0603020202020204" pitchFamily="34" charset="0"/>
              </a:rPr>
              <a:t>, with a 10% growth between 2017 and 2018, and a 46% growth between 2018 and 2019</a:t>
            </a:r>
            <a:endParaRPr kumimoji="0" lang="en-GB" sz="1000" b="0" i="0" u="none" strike="noStrike" kern="1200" cap="none" spc="0" normalizeH="0" baseline="0" noProof="0" dirty="0">
              <a:ln>
                <a:noFill/>
              </a:ln>
              <a:solidFill>
                <a:srgbClr val="6C6C6C"/>
              </a:solidFill>
              <a:effectLst/>
              <a:highlight>
                <a:srgbClr val="FFFF00"/>
              </a:highlight>
              <a:uLnTx/>
              <a:uFillTx/>
              <a:latin typeface="Trebuchet MS" panose="020B0603020202020204" pitchFamily="34" charset="0"/>
              <a:ea typeface="+mn-ea"/>
              <a:cs typeface="Arial" pitchFamily="34" charset="0"/>
            </a:endParaRPr>
          </a:p>
        </p:txBody>
      </p:sp>
      <p:pic>
        <p:nvPicPr>
          <p:cNvPr id="71" name="Picture 2" descr="ALTARES-D&amp;B - L'ASSOCIATION FRANCAISE DES CREDIT MANAGERS ET CONSEILS">
            <a:extLst>
              <a:ext uri="{FF2B5EF4-FFF2-40B4-BE49-F238E27FC236}">
                <a16:creationId xmlns:a16="http://schemas.microsoft.com/office/drawing/2014/main" id="{343CF209-DC16-40E4-A5C8-C032EB3B8A00}"/>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080833" y="4644051"/>
            <a:ext cx="450867" cy="252543"/>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e 71">
            <a:extLst>
              <a:ext uri="{FF2B5EF4-FFF2-40B4-BE49-F238E27FC236}">
                <a16:creationId xmlns:a16="http://schemas.microsoft.com/office/drawing/2014/main" id="{E35D3475-DC30-46C6-B31B-9FA0D6CCB760}"/>
              </a:ext>
            </a:extLst>
          </p:cNvPr>
          <p:cNvGrpSpPr/>
          <p:nvPr/>
        </p:nvGrpSpPr>
        <p:grpSpPr>
          <a:xfrm>
            <a:off x="8448150" y="-11528"/>
            <a:ext cx="1281748" cy="588143"/>
            <a:chOff x="8448150" y="-11528"/>
            <a:chExt cx="1281748" cy="588143"/>
          </a:xfrm>
        </p:grpSpPr>
        <p:grpSp>
          <p:nvGrpSpPr>
            <p:cNvPr id="76" name="Groupe 75">
              <a:extLst>
                <a:ext uri="{FF2B5EF4-FFF2-40B4-BE49-F238E27FC236}">
                  <a16:creationId xmlns:a16="http://schemas.microsoft.com/office/drawing/2014/main" id="{E87B84B4-DF60-46C6-A754-9366052A008E}"/>
                </a:ext>
              </a:extLst>
            </p:cNvPr>
            <p:cNvGrpSpPr/>
            <p:nvPr/>
          </p:nvGrpSpPr>
          <p:grpSpPr>
            <a:xfrm>
              <a:off x="8448150" y="-11528"/>
              <a:ext cx="1281748" cy="451904"/>
              <a:chOff x="8448150" y="-11528"/>
              <a:chExt cx="1281748" cy="451904"/>
            </a:xfrm>
          </p:grpSpPr>
          <p:sp>
            <p:nvSpPr>
              <p:cNvPr id="80" name="Rectangle : coins arrondis 199">
                <a:extLst>
                  <a:ext uri="{FF2B5EF4-FFF2-40B4-BE49-F238E27FC236}">
                    <a16:creationId xmlns:a16="http://schemas.microsoft.com/office/drawing/2014/main" id="{5846FDE8-0110-4D8D-884E-F900495DB1FC}"/>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3" name="Rectangle : coins arrondis 200">
                <a:extLst>
                  <a:ext uri="{FF2B5EF4-FFF2-40B4-BE49-F238E27FC236}">
                    <a16:creationId xmlns:a16="http://schemas.microsoft.com/office/drawing/2014/main" id="{FB785FB1-039F-41B3-9A9C-4412AC25BD14}"/>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4" name="Rectangle : coins arrondis 201">
                <a:extLst>
                  <a:ext uri="{FF2B5EF4-FFF2-40B4-BE49-F238E27FC236}">
                    <a16:creationId xmlns:a16="http://schemas.microsoft.com/office/drawing/2014/main" id="{45E40A67-5710-4AB3-A3C0-24A926DD6790}"/>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5" name="ZoneTexte 18">
                <a:extLst>
                  <a:ext uri="{FF2B5EF4-FFF2-40B4-BE49-F238E27FC236}">
                    <a16:creationId xmlns:a16="http://schemas.microsoft.com/office/drawing/2014/main" id="{FC672528-A55D-4844-9F63-0A4FF7091D51}"/>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86" name="Graphique 128" descr="Jauge">
                <a:extLst>
                  <a:ext uri="{FF2B5EF4-FFF2-40B4-BE49-F238E27FC236}">
                    <a16:creationId xmlns:a16="http://schemas.microsoft.com/office/drawing/2014/main" id="{4A3D52AB-23B2-4D7D-A436-7A8A844542C7}"/>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8553764" y="187516"/>
                <a:ext cx="234953" cy="218224"/>
              </a:xfrm>
              <a:prstGeom prst="rect">
                <a:avLst/>
              </a:prstGeom>
              <a:effectLst/>
            </p:spPr>
          </p:pic>
          <p:pic>
            <p:nvPicPr>
              <p:cNvPr id="87" name="Graphique 90" descr="Poignée de main">
                <a:extLst>
                  <a:ext uri="{FF2B5EF4-FFF2-40B4-BE49-F238E27FC236}">
                    <a16:creationId xmlns:a16="http://schemas.microsoft.com/office/drawing/2014/main" id="{220940D0-417D-43F7-BF52-F6547AB29F01}"/>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8960868" y="152880"/>
                <a:ext cx="256313" cy="287496"/>
              </a:xfrm>
              <a:prstGeom prst="rect">
                <a:avLst/>
              </a:prstGeom>
              <a:effectLst/>
            </p:spPr>
          </p:pic>
          <p:pic>
            <p:nvPicPr>
              <p:cNvPr id="88" name="Graphique 74" descr="Mégaphone">
                <a:extLst>
                  <a:ext uri="{FF2B5EF4-FFF2-40B4-BE49-F238E27FC236}">
                    <a16:creationId xmlns:a16="http://schemas.microsoft.com/office/drawing/2014/main" id="{B113C46E-D7AD-4CB1-A29D-0EDBEB33CDE9}"/>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9389331" y="181519"/>
                <a:ext cx="233011" cy="216420"/>
              </a:xfrm>
              <a:prstGeom prst="rect">
                <a:avLst/>
              </a:prstGeom>
              <a:effectLst/>
            </p:spPr>
          </p:pic>
        </p:grpSp>
        <p:sp>
          <p:nvSpPr>
            <p:cNvPr id="78" name="ZoneTexte 18">
              <a:extLst>
                <a:ext uri="{FF2B5EF4-FFF2-40B4-BE49-F238E27FC236}">
                  <a16:creationId xmlns:a16="http://schemas.microsoft.com/office/drawing/2014/main" id="{BCB31372-4ECE-477C-B6B7-4BD38A84A69F}"/>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Maghreb</a:t>
              </a:r>
            </a:p>
          </p:txBody>
        </p:sp>
      </p:grpSp>
      <p:pic>
        <p:nvPicPr>
          <p:cNvPr id="96" name="Picture 10" descr="A picture containing drawing&#10;&#10;Description automatically generated">
            <a:extLst>
              <a:ext uri="{FF2B5EF4-FFF2-40B4-BE49-F238E27FC236}">
                <a16:creationId xmlns:a16="http://schemas.microsoft.com/office/drawing/2014/main" id="{8A6DF9E1-C863-4822-B9EC-5FEAB4EDE79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692145" y="224111"/>
            <a:ext cx="196364" cy="130909"/>
          </a:xfrm>
          <a:prstGeom prst="roundRect">
            <a:avLst/>
          </a:prstGeom>
        </p:spPr>
      </p:pic>
      <p:pic>
        <p:nvPicPr>
          <p:cNvPr id="99" name="Picture 8">
            <a:extLst>
              <a:ext uri="{FF2B5EF4-FFF2-40B4-BE49-F238E27FC236}">
                <a16:creationId xmlns:a16="http://schemas.microsoft.com/office/drawing/2014/main" id="{41A183ED-7BDC-4418-A442-0A37F430935A}"/>
              </a:ext>
            </a:extLst>
          </p:cNvPr>
          <p:cNvPicPr>
            <a:picLocks noChangeAspect="1"/>
          </p:cNvPicPr>
          <p:nvPr/>
        </p:nvPicPr>
        <p:blipFill>
          <a:blip r:embed="rId9"/>
          <a:stretch>
            <a:fillRect/>
          </a:stretch>
        </p:blipFill>
        <p:spPr>
          <a:xfrm>
            <a:off x="9692145" y="396367"/>
            <a:ext cx="196364" cy="130909"/>
          </a:xfrm>
          <a:prstGeom prst="roundRect">
            <a:avLst/>
          </a:prstGeom>
          <a:ln>
            <a:solidFill>
              <a:schemeClr val="bg1">
                <a:lumMod val="85000"/>
              </a:schemeClr>
            </a:solidFill>
          </a:ln>
        </p:spPr>
      </p:pic>
      <p:pic>
        <p:nvPicPr>
          <p:cNvPr id="100" name="Picture 11">
            <a:extLst>
              <a:ext uri="{FF2B5EF4-FFF2-40B4-BE49-F238E27FC236}">
                <a16:creationId xmlns:a16="http://schemas.microsoft.com/office/drawing/2014/main" id="{4FB4EE73-09AD-4317-95BA-221B77B8A05A}"/>
              </a:ext>
            </a:extLst>
          </p:cNvPr>
          <p:cNvPicPr>
            <a:picLocks noChangeAspect="1"/>
          </p:cNvPicPr>
          <p:nvPr/>
        </p:nvPicPr>
        <p:blipFill>
          <a:blip r:embed="rId10"/>
          <a:stretch>
            <a:fillRect/>
          </a:stretch>
        </p:blipFill>
        <p:spPr>
          <a:xfrm>
            <a:off x="9692145" y="52015"/>
            <a:ext cx="196364" cy="130755"/>
          </a:xfrm>
          <a:prstGeom prst="roundRect">
            <a:avLst/>
          </a:prstGeom>
        </p:spPr>
      </p:pic>
    </p:spTree>
    <p:extLst>
      <p:ext uri="{BB962C8B-B14F-4D97-AF65-F5344CB8AC3E}">
        <p14:creationId xmlns:p14="http://schemas.microsoft.com/office/powerpoint/2010/main" val="2321206819"/>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E96EA93-E714-4D0F-A1A8-2AAA5188B475}"/>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4E9DE99D-BD68-42FE-9B3C-2293D0C1089E}"/>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BC317995-D852-4549-AC70-AA5A11CAFAFC}"/>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indent="-228600">
              <a:spcBef>
                <a:spcPts val="600"/>
              </a:spcBef>
              <a:buAutoNum type="arabicPeriod"/>
            </a:pPr>
            <a:r>
              <a:rPr lang="en-GB" sz="1200">
                <a:solidFill>
                  <a:schemeClr val="tx2"/>
                </a:solidFill>
                <a:latin typeface="Trebuchet MS" panose="020B0603020202020204" pitchFamily="34" charset="0"/>
              </a:rPr>
              <a:t>Overview of </a:t>
            </a:r>
            <a:r>
              <a:rPr lang="en-GB" sz="1200" err="1">
                <a:solidFill>
                  <a:schemeClr val="tx2"/>
                </a:solidFill>
                <a:latin typeface="Trebuchet MS" panose="020B0603020202020204" pitchFamily="34" charset="0"/>
              </a:rPr>
              <a:t>Altares</a:t>
            </a:r>
            <a:r>
              <a:rPr lang="en-GB" sz="1200">
                <a:solidFill>
                  <a:schemeClr val="tx2"/>
                </a:solidFill>
                <a:latin typeface="Trebuchet MS" panose="020B0603020202020204" pitchFamily="34" charset="0"/>
              </a:rPr>
              <a:t>’ core assets</a:t>
            </a:r>
          </a:p>
          <a:p>
            <a:pPr marL="228600" indent="-228600">
              <a:spcBef>
                <a:spcPts val="600"/>
              </a:spcBef>
              <a:buAutoNum type="arabicPeriod"/>
            </a:pPr>
            <a:r>
              <a:rPr lang="en-GB" sz="1200" err="1">
                <a:latin typeface="Trebuchet MS" panose="020B0603020202020204" pitchFamily="34" charset="0"/>
              </a:rPr>
              <a:t>Altares</a:t>
            </a:r>
            <a:r>
              <a:rPr lang="en-GB" sz="1200">
                <a:latin typeface="Trebuchet MS" panose="020B0603020202020204" pitchFamily="34" charset="0"/>
              </a:rPr>
              <a:t>' offer and value proposition</a:t>
            </a:r>
          </a:p>
          <a:p>
            <a:pPr marL="685800" lvl="1" indent="-228600">
              <a:spcBef>
                <a:spcPts val="600"/>
              </a:spcBef>
              <a:buAutoNum type="romanLcPeriod"/>
            </a:pPr>
            <a:r>
              <a:rPr lang="en-GB" sz="1200" err="1">
                <a:latin typeface="Trebuchet MS" panose="020B0603020202020204" pitchFamily="34" charset="0"/>
              </a:rPr>
              <a:t>Altares</a:t>
            </a:r>
            <a:r>
              <a:rPr lang="en-GB" sz="1200">
                <a:latin typeface="Trebuchet MS" panose="020B0603020202020204" pitchFamily="34" charset="0"/>
              </a:rPr>
              <a:t>’ comprehensive offer</a:t>
            </a:r>
          </a:p>
          <a:p>
            <a:pPr marL="685800" lvl="1" indent="-228600">
              <a:spcBef>
                <a:spcPts val="600"/>
              </a:spcBef>
              <a:buAutoNum type="romanLcPeriod"/>
            </a:pPr>
            <a:r>
              <a:rPr lang="en-GB" sz="1200" err="1">
                <a:latin typeface="Trebuchet MS" panose="020B0603020202020204" pitchFamily="34" charset="0"/>
              </a:rPr>
              <a:t>Altares</a:t>
            </a:r>
            <a:r>
              <a:rPr lang="en-GB" sz="1200">
                <a:latin typeface="Trebuchet MS" panose="020B0603020202020204" pitchFamily="34" charset="0"/>
              </a:rPr>
              <a:t>’ premium value proposition </a:t>
            </a: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loyal, resilient and diversified client base</a:t>
            </a:r>
          </a:p>
          <a:p>
            <a:pPr marL="285750" indent="-285750">
              <a:spcBef>
                <a:spcPts val="600"/>
              </a:spcBef>
              <a:buFont typeface="+mj-lt"/>
              <a:buAutoNum type="arabicPeriod"/>
            </a:pPr>
            <a:r>
              <a:rPr kumimoji="0" lang="en-GB" sz="12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2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structuring partnership with Dun &amp; Bradstreet</a:t>
            </a:r>
          </a:p>
          <a:p>
            <a:pPr marL="285750" indent="-285750">
              <a:spcBef>
                <a:spcPts val="600"/>
              </a:spcBef>
              <a:buFont typeface="+mj-lt"/>
              <a:buAutoNum type="arabicPeriod"/>
            </a:pPr>
            <a:r>
              <a:rPr lang="en-GB" sz="1200" err="1">
                <a:solidFill>
                  <a:srgbClr val="6C6C6C"/>
                </a:solidFill>
                <a:latin typeface="Trebuchet MS" panose="020B0603020202020204" pitchFamily="34" charset="0"/>
              </a:rPr>
              <a:t>Altares</a:t>
            </a:r>
            <a:r>
              <a:rPr lang="en-GB" sz="1200">
                <a:solidFill>
                  <a:srgbClr val="6C6C6C"/>
                </a:solidFill>
                <a:latin typeface="Trebuchet MS" panose="020B0603020202020204" pitchFamily="34" charset="0"/>
              </a:rPr>
              <a:t>’ high-quality comprehensive data collection</a:t>
            </a:r>
            <a:endParaRPr kumimoji="0" lang="en-GB" sz="12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a:p>
            <a:pPr marL="285750" indent="-285750">
              <a:spcBef>
                <a:spcPts val="600"/>
              </a:spcBef>
              <a:buFont typeface="+mj-lt"/>
              <a:buAutoNum type="arabicPeriod"/>
            </a:pPr>
            <a:r>
              <a:rPr lang="en-GB" sz="1200" err="1">
                <a:solidFill>
                  <a:srgbClr val="6C6C6C"/>
                </a:solidFill>
                <a:latin typeface="Trebuchet MS" panose="020B0603020202020204" pitchFamily="34" charset="0"/>
              </a:rPr>
              <a:t>Altares</a:t>
            </a:r>
            <a:r>
              <a:rPr lang="en-GB" sz="1200">
                <a:solidFill>
                  <a:srgbClr val="6C6C6C"/>
                </a:solidFill>
                <a:latin typeface="Trebuchet MS" panose="020B0603020202020204" pitchFamily="34" charset="0"/>
              </a:rPr>
              <a:t>’ fine-tuned operating model</a:t>
            </a:r>
          </a:p>
        </p:txBody>
      </p:sp>
      <p:sp>
        <p:nvSpPr>
          <p:cNvPr id="5" name="Chevron">
            <a:extLst>
              <a:ext uri="{FF2B5EF4-FFF2-40B4-BE49-F238E27FC236}">
                <a16:creationId xmlns:a16="http://schemas.microsoft.com/office/drawing/2014/main" id="{19C7AF68-ADEF-46DC-A209-2CDD74387B37}"/>
              </a:ext>
            </a:extLst>
          </p:cNvPr>
          <p:cNvSpPr/>
          <p:nvPr/>
        </p:nvSpPr>
        <p:spPr bwMode="auto">
          <a:xfrm>
            <a:off x="1418399" y="2685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 name="Section">
            <a:extLst>
              <a:ext uri="{FF2B5EF4-FFF2-40B4-BE49-F238E27FC236}">
                <a16:creationId xmlns:a16="http://schemas.microsoft.com/office/drawing/2014/main" id="{636E6D9A-2F3C-453B-9C0F-03B146337E4D}"/>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3</a:t>
            </a:r>
          </a:p>
        </p:txBody>
      </p:sp>
      <p:sp>
        <p:nvSpPr>
          <p:cNvPr id="8" name="Isosceles Triangle">
            <a:extLst>
              <a:ext uri="{FF2B5EF4-FFF2-40B4-BE49-F238E27FC236}">
                <a16:creationId xmlns:a16="http://schemas.microsoft.com/office/drawing/2014/main" id="{D57C88BB-D2AD-4459-A792-2752ADA34E61}"/>
              </a:ext>
            </a:extLst>
          </p:cNvPr>
          <p:cNvSpPr/>
          <p:nvPr/>
        </p:nvSpPr>
        <p:spPr bwMode="auto">
          <a:xfrm rot="5400000">
            <a:off x="5731200" y="2791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 name="Arrow: Pentagon">
            <a:extLst>
              <a:ext uri="{FF2B5EF4-FFF2-40B4-BE49-F238E27FC236}">
                <a16:creationId xmlns:a16="http://schemas.microsoft.com/office/drawing/2014/main" id="{4D9E8845-101E-44FC-9FD0-134AA8E5E0C5}"/>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10" name="Oval">
            <a:extLst>
              <a:ext uri="{FF2B5EF4-FFF2-40B4-BE49-F238E27FC236}">
                <a16:creationId xmlns:a16="http://schemas.microsoft.com/office/drawing/2014/main" id="{ABEA6621-7C77-4C71-BABE-E7D2D3BBCCA3}"/>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11" name="Arrow: Pentagon">
            <a:extLst>
              <a:ext uri="{FF2B5EF4-FFF2-40B4-BE49-F238E27FC236}">
                <a16:creationId xmlns:a16="http://schemas.microsoft.com/office/drawing/2014/main" id="{42F256BB-AFBA-4A9E-9ECD-3BEDD5CA122D}"/>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13" name="Oval">
            <a:extLst>
              <a:ext uri="{FF2B5EF4-FFF2-40B4-BE49-F238E27FC236}">
                <a16:creationId xmlns:a16="http://schemas.microsoft.com/office/drawing/2014/main" id="{0A47209C-D0E6-4FC1-A279-845C161287C1}"/>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14" name="Arrow: Pentagon">
            <a:extLst>
              <a:ext uri="{FF2B5EF4-FFF2-40B4-BE49-F238E27FC236}">
                <a16:creationId xmlns:a16="http://schemas.microsoft.com/office/drawing/2014/main" id="{BA2A5E7A-7A29-42B2-9ADB-2C8D768FB2EE}"/>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15" name="Arrow: Pentagon">
            <a:extLst>
              <a:ext uri="{FF2B5EF4-FFF2-40B4-BE49-F238E27FC236}">
                <a16:creationId xmlns:a16="http://schemas.microsoft.com/office/drawing/2014/main" id="{48A9DC5E-0099-4F94-8310-7F43893102B6}"/>
              </a:ext>
            </a:extLst>
          </p:cNvPr>
          <p:cNvSpPr/>
          <p:nvPr/>
        </p:nvSpPr>
        <p:spPr bwMode="auto">
          <a:xfrm>
            <a:off x="1641598" y="2685599"/>
            <a:ext cx="4319993"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value proposition &amp; core assets</a:t>
            </a:r>
          </a:p>
        </p:txBody>
      </p:sp>
      <p:sp>
        <p:nvSpPr>
          <p:cNvPr id="16" name="Oval">
            <a:extLst>
              <a:ext uri="{FF2B5EF4-FFF2-40B4-BE49-F238E27FC236}">
                <a16:creationId xmlns:a16="http://schemas.microsoft.com/office/drawing/2014/main" id="{C761A8FC-2FA0-42F9-A014-FC9FC5460C4C}"/>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17" name="Arrow: Pentagon">
            <a:extLst>
              <a:ext uri="{FF2B5EF4-FFF2-40B4-BE49-F238E27FC236}">
                <a16:creationId xmlns:a16="http://schemas.microsoft.com/office/drawing/2014/main" id="{D96E2380-31FF-4AC5-BEC8-EA5B70CF5F4E}"/>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38" name="Oval">
            <a:extLst>
              <a:ext uri="{FF2B5EF4-FFF2-40B4-BE49-F238E27FC236}">
                <a16:creationId xmlns:a16="http://schemas.microsoft.com/office/drawing/2014/main" id="{F439BAB9-9E49-4D30-B1AD-7773D9936EAE}"/>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40" name="Oval">
            <a:extLst>
              <a:ext uri="{FF2B5EF4-FFF2-40B4-BE49-F238E27FC236}">
                <a16:creationId xmlns:a16="http://schemas.microsoft.com/office/drawing/2014/main" id="{744A5BFB-F62F-4E3E-83FB-17B2777B538D}"/>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868196847"/>
      </p:ext>
    </p:extLst>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t 21" hidden="1">
            <a:extLst>
              <a:ext uri="{FF2B5EF4-FFF2-40B4-BE49-F238E27FC236}">
                <a16:creationId xmlns:a16="http://schemas.microsoft.com/office/drawing/2014/main" id="{3DD7E849-ED47-4715-B12A-ED6CFDE616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22" name="Objet 21" hidden="1">
                        <a:extLst>
                          <a:ext uri="{FF2B5EF4-FFF2-40B4-BE49-F238E27FC236}">
                            <a16:creationId xmlns:a16="http://schemas.microsoft.com/office/drawing/2014/main" id="{3DD7E849-ED47-4715-B12A-ED6CFDE616B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FCCE2A74-0914-49FA-A9F8-4CA92AF47D8B}"/>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78" name="Titre 1">
            <a:extLst>
              <a:ext uri="{FF2B5EF4-FFF2-40B4-BE49-F238E27FC236}">
                <a16:creationId xmlns:a16="http://schemas.microsoft.com/office/drawing/2014/main" id="{A794636B-EC13-4E23-BA75-40709BF85190}"/>
              </a:ext>
            </a:extLst>
          </p:cNvPr>
          <p:cNvSpPr>
            <a:spLocks noGrp="1"/>
          </p:cNvSpPr>
          <p:nvPr>
            <p:ph type="title"/>
          </p:nvPr>
        </p:nvSpPr>
        <p:spPr>
          <a:xfrm>
            <a:off x="238900" y="147353"/>
            <a:ext cx="8227870" cy="607166"/>
          </a:xfrm>
        </p:spPr>
        <p:txBody>
          <a:bodyPr/>
          <a:lstStyle/>
          <a:p>
            <a:r>
              <a:rPr lang="en-GB" err="1">
                <a:solidFill>
                  <a:schemeClr val="tx2"/>
                </a:solidFill>
                <a:latin typeface="Trebuchet MS" panose="020B0603020202020204" pitchFamily="34" charset="0"/>
              </a:rPr>
              <a:t>Altares</a:t>
            </a:r>
            <a:r>
              <a:rPr lang="en-GB">
                <a:solidFill>
                  <a:schemeClr val="tx2"/>
                </a:solidFill>
                <a:latin typeface="Trebuchet MS" panose="020B0603020202020204" pitchFamily="34" charset="0"/>
              </a:rPr>
              <a:t>’ value proposition </a:t>
            </a:r>
            <a:r>
              <a:rPr lang="en-GB">
                <a:latin typeface="Trebuchet MS" panose="020B0603020202020204" pitchFamily="34" charset="0"/>
              </a:rPr>
              <a:t>consists in building and maintaining a </a:t>
            </a:r>
            <a:r>
              <a:rPr lang="en-GB">
                <a:solidFill>
                  <a:schemeClr val="tx2"/>
                </a:solidFill>
                <a:latin typeface="Trebuchet MS" panose="020B0603020202020204" pitchFamily="34" charset="0"/>
              </a:rPr>
              <a:t>global B2B database </a:t>
            </a:r>
            <a:r>
              <a:rPr lang="en-GB">
                <a:latin typeface="Trebuchet MS" panose="020B0603020202020204" pitchFamily="34" charset="0"/>
              </a:rPr>
              <a:t>and exploiting it through </a:t>
            </a:r>
            <a:r>
              <a:rPr lang="en-GB">
                <a:solidFill>
                  <a:schemeClr val="tx2"/>
                </a:solidFill>
                <a:latin typeface="Trebuchet MS" panose="020B0603020202020204" pitchFamily="34" charset="0"/>
              </a:rPr>
              <a:t>high-value services for B2B clients</a:t>
            </a:r>
          </a:p>
        </p:txBody>
      </p:sp>
      <p:sp>
        <p:nvSpPr>
          <p:cNvPr id="157" name="Espace réservé du texte 3">
            <a:extLst>
              <a:ext uri="{FF2B5EF4-FFF2-40B4-BE49-F238E27FC236}">
                <a16:creationId xmlns:a16="http://schemas.microsoft.com/office/drawing/2014/main" id="{3D863372-F95F-4691-81AA-E536D07E16E4}"/>
              </a:ext>
            </a:extLst>
          </p:cNvPr>
          <p:cNvSpPr txBox="1">
            <a:spLocks/>
          </p:cNvSpPr>
          <p:nvPr/>
        </p:nvSpPr>
        <p:spPr>
          <a:xfrm>
            <a:off x="1315274" y="6580025"/>
            <a:ext cx="6871989" cy="244800"/>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GB"/>
              <a:t>Sources: eleven research &amp; analysis, company data, interviews with management</a:t>
            </a:r>
          </a:p>
          <a:p>
            <a:r>
              <a:rPr lang="en-GB"/>
              <a:t>* Under discussion</a:t>
            </a:r>
          </a:p>
        </p:txBody>
      </p:sp>
      <p:cxnSp>
        <p:nvCxnSpPr>
          <p:cNvPr id="17" name="Connecteur droit 16">
            <a:extLst>
              <a:ext uri="{FF2B5EF4-FFF2-40B4-BE49-F238E27FC236}">
                <a16:creationId xmlns:a16="http://schemas.microsoft.com/office/drawing/2014/main" id="{CA6BF227-00C0-40A7-9EAE-161FF0169A49}"/>
              </a:ext>
            </a:extLst>
          </p:cNvPr>
          <p:cNvCxnSpPr>
            <a:cxnSpLocks/>
          </p:cNvCxnSpPr>
          <p:nvPr/>
        </p:nvCxnSpPr>
        <p:spPr bwMode="auto">
          <a:xfrm>
            <a:off x="273000" y="1079433"/>
            <a:ext cx="9360000"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23" name="ZoneTexte 6">
            <a:extLst>
              <a:ext uri="{FF2B5EF4-FFF2-40B4-BE49-F238E27FC236}">
                <a16:creationId xmlns:a16="http://schemas.microsoft.com/office/drawing/2014/main" id="{4BE70A14-B636-4FD0-B19E-A770980674ED}"/>
              </a:ext>
            </a:extLst>
          </p:cNvPr>
          <p:cNvSpPr txBox="1"/>
          <p:nvPr/>
        </p:nvSpPr>
        <p:spPr>
          <a:xfrm>
            <a:off x="3101147" y="903780"/>
            <a:ext cx="3731708" cy="251817"/>
          </a:xfrm>
          <a:prstGeom prst="rect">
            <a:avLst/>
          </a:prstGeom>
          <a:solidFill>
            <a:schemeClr val="bg1"/>
          </a:solidFill>
        </p:spPr>
        <p:txBody>
          <a:bodyPr wrap="square" rtlCol="0">
            <a:noAutofit/>
          </a:bodyPr>
          <a:lstStyle/>
          <a:p>
            <a:pPr algn="ctr"/>
            <a:r>
              <a:rPr lang="en-GB" sz="1100" err="1">
                <a:solidFill>
                  <a:schemeClr val="accent1">
                    <a:lumMod val="75000"/>
                  </a:schemeClr>
                </a:solidFill>
                <a:latin typeface="Trebuchet MS" panose="020B0603020202020204" pitchFamily="34" charset="0"/>
              </a:rPr>
              <a:t>Altares</a:t>
            </a:r>
            <a:r>
              <a:rPr lang="en-GB" sz="1100">
                <a:solidFill>
                  <a:schemeClr val="accent1">
                    <a:lumMod val="75000"/>
                  </a:schemeClr>
                </a:solidFill>
                <a:latin typeface="Trebuchet MS" panose="020B0603020202020204" pitchFamily="34" charset="0"/>
              </a:rPr>
              <a:t>' operational chain into the BD&amp;A ecosystem </a:t>
            </a:r>
          </a:p>
        </p:txBody>
      </p:sp>
      <p:grpSp>
        <p:nvGrpSpPr>
          <p:cNvPr id="103" name="Groupe 102">
            <a:extLst>
              <a:ext uri="{FF2B5EF4-FFF2-40B4-BE49-F238E27FC236}">
                <a16:creationId xmlns:a16="http://schemas.microsoft.com/office/drawing/2014/main" id="{DDBE8B02-4368-4FCB-BB4B-845370852414}"/>
              </a:ext>
            </a:extLst>
          </p:cNvPr>
          <p:cNvGrpSpPr/>
          <p:nvPr/>
        </p:nvGrpSpPr>
        <p:grpSpPr>
          <a:xfrm>
            <a:off x="8448150" y="-11528"/>
            <a:ext cx="1435548" cy="588143"/>
            <a:chOff x="8448150" y="-11528"/>
            <a:chExt cx="1435548" cy="588143"/>
          </a:xfrm>
        </p:grpSpPr>
        <p:sp>
          <p:nvSpPr>
            <p:cNvPr id="104" name="Rectangle : coins arrondis 199">
              <a:extLst>
                <a:ext uri="{FF2B5EF4-FFF2-40B4-BE49-F238E27FC236}">
                  <a16:creationId xmlns:a16="http://schemas.microsoft.com/office/drawing/2014/main" id="{8DA05D07-A81B-4298-8931-F5808D6DF974}"/>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6" name="Rectangle : coins arrondis 200">
              <a:extLst>
                <a:ext uri="{FF2B5EF4-FFF2-40B4-BE49-F238E27FC236}">
                  <a16:creationId xmlns:a16="http://schemas.microsoft.com/office/drawing/2014/main" id="{59E42056-3687-4C97-A3AE-0D9D74AA79C7}"/>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7" name="Rectangle : coins arrondis 201">
              <a:extLst>
                <a:ext uri="{FF2B5EF4-FFF2-40B4-BE49-F238E27FC236}">
                  <a16:creationId xmlns:a16="http://schemas.microsoft.com/office/drawing/2014/main" id="{42FBE62F-77E8-46F8-B7DB-1B7A003D1AD4}"/>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0" name="ZoneTexte 18">
              <a:extLst>
                <a:ext uri="{FF2B5EF4-FFF2-40B4-BE49-F238E27FC236}">
                  <a16:creationId xmlns:a16="http://schemas.microsoft.com/office/drawing/2014/main" id="{DFE2EF42-FB90-4D20-9B70-F11751A84D8E}"/>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key assets</a:t>
              </a:r>
            </a:p>
          </p:txBody>
        </p:sp>
        <p:pic>
          <p:nvPicPr>
            <p:cNvPr id="111" name="Graphique 128" descr="Jauge">
              <a:extLst>
                <a:ext uri="{FF2B5EF4-FFF2-40B4-BE49-F238E27FC236}">
                  <a16:creationId xmlns:a16="http://schemas.microsoft.com/office/drawing/2014/main" id="{5913C75E-886C-4EB9-B103-5E0EB28DFB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113" name="Graphique 90" descr="Poignée de main">
              <a:extLst>
                <a:ext uri="{FF2B5EF4-FFF2-40B4-BE49-F238E27FC236}">
                  <a16:creationId xmlns:a16="http://schemas.microsoft.com/office/drawing/2014/main" id="{BB365673-CBDC-43FF-A1F6-A2D2FFE59B9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114" name="Graphique 74" descr="Mégaphone">
              <a:extLst>
                <a:ext uri="{FF2B5EF4-FFF2-40B4-BE49-F238E27FC236}">
                  <a16:creationId xmlns:a16="http://schemas.microsoft.com/office/drawing/2014/main" id="{268E44C4-CD94-4ECB-8FAD-1081182AE34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117" name="Picture 2" descr="Drapeau France">
              <a:extLst>
                <a:ext uri="{FF2B5EF4-FFF2-40B4-BE49-F238E27FC236}">
                  <a16:creationId xmlns:a16="http://schemas.microsoft.com/office/drawing/2014/main" id="{0600ABF0-69DD-4C3D-851F-54FE35D113E1}"/>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19" name="Picture 2" descr="5 ft x 3 ft 150 x 90 cm-DRAPEAU BELGE Belgique 100% Polyester ...">
              <a:extLst>
                <a:ext uri="{FF2B5EF4-FFF2-40B4-BE49-F238E27FC236}">
                  <a16:creationId xmlns:a16="http://schemas.microsoft.com/office/drawing/2014/main" id="{975D9457-A059-4CDF-9B76-F39DD5D14670}"/>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20" name="Picture 2 - 1" descr="Drapeau des Pays-Bas — Wikipédia">
              <a:extLst>
                <a:ext uri="{FF2B5EF4-FFF2-40B4-BE49-F238E27FC236}">
                  <a16:creationId xmlns:a16="http://schemas.microsoft.com/office/drawing/2014/main" id="{80C08F9D-FD3E-46EF-829D-C0FB7B489D7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26" name="Picture 2 - 2" descr="Drapeau du Luxembourg">
              <a:extLst>
                <a:ext uri="{FF2B5EF4-FFF2-40B4-BE49-F238E27FC236}">
                  <a16:creationId xmlns:a16="http://schemas.microsoft.com/office/drawing/2014/main" id="{BACA0AA1-F3F4-4BB4-AA5C-D898EBA6B63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27" name="ZoneTexte 18">
              <a:extLst>
                <a:ext uri="{FF2B5EF4-FFF2-40B4-BE49-F238E27FC236}">
                  <a16:creationId xmlns:a16="http://schemas.microsoft.com/office/drawing/2014/main" id="{40000148-3F71-485A-AEE8-E959B8F20C7E}"/>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Data &amp; Operations</a:t>
              </a:r>
            </a:p>
          </p:txBody>
        </p:sp>
      </p:grpSp>
      <p:sp>
        <p:nvSpPr>
          <p:cNvPr id="158" name="Rectangle 157">
            <a:extLst>
              <a:ext uri="{FF2B5EF4-FFF2-40B4-BE49-F238E27FC236}">
                <a16:creationId xmlns:a16="http://schemas.microsoft.com/office/drawing/2014/main" id="{F016CF25-8CC8-459E-B156-914C2BE45E7A}"/>
              </a:ext>
            </a:extLst>
          </p:cNvPr>
          <p:cNvSpPr/>
          <p:nvPr/>
        </p:nvSpPr>
        <p:spPr bwMode="auto">
          <a:xfrm>
            <a:off x="1049135" y="1196393"/>
            <a:ext cx="7538355" cy="4582174"/>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200" cap="small" err="1">
                <a:solidFill>
                  <a:schemeClr val="tx2"/>
                </a:solidFill>
                <a:latin typeface="Trebuchet MS" panose="020B0603020202020204" pitchFamily="34" charset="0"/>
              </a:rPr>
              <a:t>Altares</a:t>
            </a:r>
            <a:endParaRPr lang="en-GB" sz="1200" cap="small">
              <a:solidFill>
                <a:schemeClr val="tx2"/>
              </a:solidFill>
              <a:latin typeface="Trebuchet MS" panose="020B0603020202020204" pitchFamily="34" charset="0"/>
            </a:endParaRPr>
          </a:p>
        </p:txBody>
      </p:sp>
      <p:sp>
        <p:nvSpPr>
          <p:cNvPr id="159" name="Rectangle 158">
            <a:extLst>
              <a:ext uri="{FF2B5EF4-FFF2-40B4-BE49-F238E27FC236}">
                <a16:creationId xmlns:a16="http://schemas.microsoft.com/office/drawing/2014/main" id="{5D2C67CC-C3A2-46F3-BF08-3DBB3494BA53}"/>
              </a:ext>
            </a:extLst>
          </p:cNvPr>
          <p:cNvSpPr/>
          <p:nvPr/>
        </p:nvSpPr>
        <p:spPr bwMode="auto">
          <a:xfrm>
            <a:off x="7479493" y="1443631"/>
            <a:ext cx="1019166" cy="421350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0" tIns="45720" rIns="91440" bIns="45720" numCol="1" rtlCol="0" anchor="t" anchorCtr="0" compatLnSpc="1">
            <a:prstTxWarp prst="textNoShape">
              <a:avLst/>
            </a:prstTxWarp>
          </a:bodyPr>
          <a:lstStyle/>
          <a:p>
            <a:pPr marL="144000" algn="ctr"/>
            <a:r>
              <a:rPr lang="en-GB" sz="900" b="1" i="1" dirty="0">
                <a:solidFill>
                  <a:schemeClr val="tx2"/>
                </a:solidFill>
                <a:latin typeface="Trebuchet MS" panose="020B0603020202020204" pitchFamily="34" charset="0"/>
              </a:rPr>
              <a:t>Offerings</a:t>
            </a:r>
          </a:p>
        </p:txBody>
      </p:sp>
      <p:sp>
        <p:nvSpPr>
          <p:cNvPr id="160" name="Rectangle 159">
            <a:extLst>
              <a:ext uri="{FF2B5EF4-FFF2-40B4-BE49-F238E27FC236}">
                <a16:creationId xmlns:a16="http://schemas.microsoft.com/office/drawing/2014/main" id="{890CEDBF-2ECB-48B3-BCBB-614CBEEEBB7F}"/>
              </a:ext>
            </a:extLst>
          </p:cNvPr>
          <p:cNvSpPr/>
          <p:nvPr/>
        </p:nvSpPr>
        <p:spPr bwMode="auto">
          <a:xfrm>
            <a:off x="8684319" y="1196392"/>
            <a:ext cx="1063044" cy="5266278"/>
          </a:xfrm>
          <a:prstGeom prst="rect">
            <a:avLst/>
          </a:prstGeom>
          <a:solidFill>
            <a:schemeClr val="bg1">
              <a:lumMod val="95000"/>
            </a:schemeClr>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050" cap="small">
                <a:solidFill>
                  <a:schemeClr val="accent1"/>
                </a:solidFill>
                <a:latin typeface="Trebuchet MS" panose="020B0603020202020204" pitchFamily="34" charset="0"/>
              </a:rPr>
              <a:t>B2B clients</a:t>
            </a:r>
            <a:endParaRPr lang="en-GB" sz="1200" cap="small">
              <a:solidFill>
                <a:schemeClr val="tx2"/>
              </a:solidFill>
              <a:latin typeface="Trebuchet MS" panose="020B0603020202020204" pitchFamily="34" charset="0"/>
            </a:endParaRPr>
          </a:p>
        </p:txBody>
      </p:sp>
      <p:sp>
        <p:nvSpPr>
          <p:cNvPr id="162" name="Rectangle 161">
            <a:extLst>
              <a:ext uri="{FF2B5EF4-FFF2-40B4-BE49-F238E27FC236}">
                <a16:creationId xmlns:a16="http://schemas.microsoft.com/office/drawing/2014/main" id="{6F7F3001-4DD6-4B40-867B-914FB1AFDE49}"/>
              </a:ext>
            </a:extLst>
          </p:cNvPr>
          <p:cNvSpPr/>
          <p:nvPr/>
        </p:nvSpPr>
        <p:spPr bwMode="auto">
          <a:xfrm>
            <a:off x="105936" y="1198486"/>
            <a:ext cx="858086" cy="5264178"/>
          </a:xfrm>
          <a:prstGeom prst="rect">
            <a:avLst/>
          </a:prstGeom>
          <a:solidFill>
            <a:schemeClr val="bg1">
              <a:lumMod val="95000"/>
            </a:schemeClr>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050" cap="small">
              <a:latin typeface="Trebuchet MS" panose="020B0603020202020204" pitchFamily="34" charset="0"/>
            </a:endParaRPr>
          </a:p>
        </p:txBody>
      </p:sp>
      <p:sp>
        <p:nvSpPr>
          <p:cNvPr id="165" name="Rectangle 164">
            <a:extLst>
              <a:ext uri="{FF2B5EF4-FFF2-40B4-BE49-F238E27FC236}">
                <a16:creationId xmlns:a16="http://schemas.microsoft.com/office/drawing/2014/main" id="{3ED1EF23-FF28-4018-8935-0E0BCD70837C}"/>
              </a:ext>
            </a:extLst>
          </p:cNvPr>
          <p:cNvSpPr/>
          <p:nvPr/>
        </p:nvSpPr>
        <p:spPr bwMode="auto">
          <a:xfrm>
            <a:off x="2309651" y="1443631"/>
            <a:ext cx="5113039" cy="421350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1" i="1" u="none" strike="noStrike" normalizeH="0">
                <a:ln>
                  <a:noFill/>
                </a:ln>
                <a:solidFill>
                  <a:schemeClr val="tx2"/>
                </a:solidFill>
                <a:effectLst/>
                <a:latin typeface="Trebuchet MS" panose="020B0603020202020204" pitchFamily="34" charset="0"/>
              </a:rPr>
              <a:t>Operating model</a:t>
            </a:r>
          </a:p>
        </p:txBody>
      </p:sp>
      <p:sp>
        <p:nvSpPr>
          <p:cNvPr id="166" name="Rectangle 165">
            <a:extLst>
              <a:ext uri="{FF2B5EF4-FFF2-40B4-BE49-F238E27FC236}">
                <a16:creationId xmlns:a16="http://schemas.microsoft.com/office/drawing/2014/main" id="{14EB90AA-B852-4AFB-BB8D-033D1E85EBE5}"/>
              </a:ext>
            </a:extLst>
          </p:cNvPr>
          <p:cNvSpPr/>
          <p:nvPr/>
        </p:nvSpPr>
        <p:spPr bwMode="auto">
          <a:xfrm>
            <a:off x="2422282" y="2446997"/>
            <a:ext cx="4903904" cy="1468011"/>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GB" sz="1000" b="1" i="1" err="1">
                <a:solidFill>
                  <a:schemeClr val="tx2"/>
                </a:solidFill>
                <a:latin typeface="Trebuchet MS" panose="020B0603020202020204" pitchFamily="34" charset="0"/>
              </a:rPr>
              <a:t>Altares</a:t>
            </a:r>
            <a:r>
              <a:rPr lang="en-GB" sz="1000" b="1" i="1">
                <a:solidFill>
                  <a:schemeClr val="tx2"/>
                </a:solidFill>
                <a:latin typeface="Trebuchet MS" panose="020B0603020202020204" pitchFamily="34" charset="0"/>
              </a:rPr>
              <a:t> « Data Factory »</a:t>
            </a:r>
            <a:endParaRPr kumimoji="0" lang="en-GB" sz="1000" b="1" i="1" u="none" strike="noStrike" cap="none" normalizeH="0" baseline="0">
              <a:ln>
                <a:noFill/>
              </a:ln>
              <a:solidFill>
                <a:schemeClr val="tx2"/>
              </a:solidFill>
              <a:effectLst/>
              <a:latin typeface="Trebuchet MS" panose="020B0603020202020204" pitchFamily="34" charset="0"/>
            </a:endParaRPr>
          </a:p>
        </p:txBody>
      </p:sp>
      <p:sp>
        <p:nvSpPr>
          <p:cNvPr id="167" name="Rectangle 166">
            <a:extLst>
              <a:ext uri="{FF2B5EF4-FFF2-40B4-BE49-F238E27FC236}">
                <a16:creationId xmlns:a16="http://schemas.microsoft.com/office/drawing/2014/main" id="{613313A8-E708-4D42-9E15-825671A67BE3}"/>
              </a:ext>
            </a:extLst>
          </p:cNvPr>
          <p:cNvSpPr/>
          <p:nvPr/>
        </p:nvSpPr>
        <p:spPr bwMode="auto">
          <a:xfrm>
            <a:off x="2413219" y="4002816"/>
            <a:ext cx="4898477" cy="1469726"/>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err="1">
                <a:ln>
                  <a:noFill/>
                </a:ln>
                <a:solidFill>
                  <a:schemeClr val="tx2"/>
                </a:solidFill>
                <a:effectLst/>
                <a:latin typeface="Trebuchet MS" panose="020B0603020202020204" pitchFamily="34" charset="0"/>
              </a:rPr>
              <a:t>Altares</a:t>
            </a:r>
            <a:r>
              <a:rPr kumimoji="0" lang="en-GB" sz="1000" b="1" i="1" u="none" strike="noStrike" cap="none" normalizeH="0" baseline="0">
                <a:ln>
                  <a:noFill/>
                </a:ln>
                <a:solidFill>
                  <a:schemeClr val="tx2"/>
                </a:solidFill>
                <a:effectLst/>
                <a:latin typeface="Trebuchet MS" panose="020B0603020202020204" pitchFamily="34" charset="0"/>
              </a:rPr>
              <a:t> R&amp;D</a:t>
            </a:r>
          </a:p>
        </p:txBody>
      </p:sp>
      <p:sp>
        <p:nvSpPr>
          <p:cNvPr id="168" name="Chevron 69">
            <a:extLst>
              <a:ext uri="{FF2B5EF4-FFF2-40B4-BE49-F238E27FC236}">
                <a16:creationId xmlns:a16="http://schemas.microsoft.com/office/drawing/2014/main" id="{E78B2D07-637C-45D6-8C53-1C1581B05C75}"/>
              </a:ext>
            </a:extLst>
          </p:cNvPr>
          <p:cNvSpPr/>
          <p:nvPr/>
        </p:nvSpPr>
        <p:spPr bwMode="auto">
          <a:xfrm>
            <a:off x="2545716"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Data collection</a:t>
            </a:r>
            <a:endParaRPr kumimoji="0" lang="en-GB" sz="500" b="1" i="1" u="none" strike="noStrike" kern="1200" cap="none" spc="0" normalizeH="0" baseline="0">
              <a:ln>
                <a:noFill/>
              </a:ln>
              <a:solidFill>
                <a:schemeClr val="bg1"/>
              </a:solidFill>
              <a:effectLst/>
              <a:uLnTx/>
              <a:uFillTx/>
              <a:latin typeface="Trebuchet MS" panose="020B0603020202020204" pitchFamily="34" charset="0"/>
            </a:endParaRPr>
          </a:p>
        </p:txBody>
      </p:sp>
      <p:cxnSp>
        <p:nvCxnSpPr>
          <p:cNvPr id="169" name="Straight Arrow Connector 29">
            <a:extLst>
              <a:ext uri="{FF2B5EF4-FFF2-40B4-BE49-F238E27FC236}">
                <a16:creationId xmlns:a16="http://schemas.microsoft.com/office/drawing/2014/main" id="{8D0B4D47-C49F-4A11-99BC-BE82B46B8D63}"/>
              </a:ext>
            </a:extLst>
          </p:cNvPr>
          <p:cNvCxnSpPr>
            <a:cxnSpLocks/>
          </p:cNvCxnSpPr>
          <p:nvPr/>
        </p:nvCxnSpPr>
        <p:spPr bwMode="auto">
          <a:xfrm flipH="1" flipV="1">
            <a:off x="2592226" y="2933219"/>
            <a:ext cx="2318047" cy="138"/>
          </a:xfrm>
          <a:prstGeom prst="straightConnector1">
            <a:avLst/>
          </a:prstGeom>
          <a:solidFill>
            <a:schemeClr val="accent1"/>
          </a:solidFill>
          <a:ln w="9525" cap="flat" cmpd="sng" algn="ctr">
            <a:solidFill>
              <a:schemeClr val="tx2"/>
            </a:solidFill>
            <a:prstDash val="solid"/>
            <a:round/>
            <a:headEnd type="triangle" w="med" len="med"/>
            <a:tailEnd type="triangle" w="med" len="med"/>
          </a:ln>
          <a:effectLst/>
        </p:spPr>
      </p:cxnSp>
      <p:sp>
        <p:nvSpPr>
          <p:cNvPr id="170" name="TextBox 30">
            <a:extLst>
              <a:ext uri="{FF2B5EF4-FFF2-40B4-BE49-F238E27FC236}">
                <a16:creationId xmlns:a16="http://schemas.microsoft.com/office/drawing/2014/main" id="{F513C6F0-0468-4C94-A7A5-26390218C174}"/>
              </a:ext>
            </a:extLst>
          </p:cNvPr>
          <p:cNvSpPr txBox="1"/>
          <p:nvPr/>
        </p:nvSpPr>
        <p:spPr>
          <a:xfrm>
            <a:off x="2876480" y="2775613"/>
            <a:ext cx="1474350" cy="338554"/>
          </a:xfrm>
          <a:prstGeom prst="rect">
            <a:avLst/>
          </a:prstGeom>
          <a:solidFill>
            <a:srgbClr val="E9F5EC"/>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0" i="1"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Upstream : data collect</a:t>
            </a:r>
            <a:r>
              <a:rPr lang="en-GB" sz="800" i="1">
                <a:solidFill>
                  <a:schemeClr val="tx2"/>
                </a:solidFill>
                <a:latin typeface="Trebuchet MS" panose="020B0603020202020204" pitchFamily="34" charset="0"/>
              </a:rPr>
              <a:t>ion and integration</a:t>
            </a:r>
            <a:endParaRPr kumimoji="0" lang="en-GB" sz="800" b="0" i="1" u="none" strike="noStrike" kern="1200" cap="none" spc="0" normalizeH="0" baseline="0" noProof="0">
              <a:ln>
                <a:noFill/>
              </a:ln>
              <a:solidFill>
                <a:schemeClr val="tx2"/>
              </a:solidFill>
              <a:effectLst/>
              <a:uLnTx/>
              <a:uFillTx/>
              <a:latin typeface="Trebuchet MS" panose="020B0603020202020204" pitchFamily="34" charset="0"/>
            </a:endParaRPr>
          </a:p>
        </p:txBody>
      </p:sp>
      <p:sp>
        <p:nvSpPr>
          <p:cNvPr id="171" name="Chevron 69">
            <a:extLst>
              <a:ext uri="{FF2B5EF4-FFF2-40B4-BE49-F238E27FC236}">
                <a16:creationId xmlns:a16="http://schemas.microsoft.com/office/drawing/2014/main" id="{6C89E003-BD7D-4EC9-A2BB-40B78756FC71}"/>
              </a:ext>
            </a:extLst>
          </p:cNvPr>
          <p:cNvSpPr/>
          <p:nvPr/>
        </p:nvSpPr>
        <p:spPr bwMode="auto">
          <a:xfrm>
            <a:off x="3321627"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Data cleaning and processing </a:t>
            </a:r>
            <a:endParaRPr kumimoji="0" lang="en-GB" sz="3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72" name="Chevron 69">
            <a:extLst>
              <a:ext uri="{FF2B5EF4-FFF2-40B4-BE49-F238E27FC236}">
                <a16:creationId xmlns:a16="http://schemas.microsoft.com/office/drawing/2014/main" id="{93131F15-BE34-4169-8C79-FD23C8878B54}"/>
              </a:ext>
            </a:extLst>
          </p:cNvPr>
          <p:cNvSpPr/>
          <p:nvPr/>
        </p:nvSpPr>
        <p:spPr bwMode="auto">
          <a:xfrm>
            <a:off x="4097538"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Data storage</a:t>
            </a:r>
            <a:endParaRPr kumimoji="0" lang="en-GB" sz="3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73" name="Chevron 69">
            <a:extLst>
              <a:ext uri="{FF2B5EF4-FFF2-40B4-BE49-F238E27FC236}">
                <a16:creationId xmlns:a16="http://schemas.microsoft.com/office/drawing/2014/main" id="{3BBE6BD2-6F33-4885-B26F-0087F7DB4869}"/>
              </a:ext>
            </a:extLst>
          </p:cNvPr>
          <p:cNvSpPr/>
          <p:nvPr/>
        </p:nvSpPr>
        <p:spPr bwMode="auto">
          <a:xfrm>
            <a:off x="4873449"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Data a</a:t>
            </a:r>
            <a:r>
              <a:rPr kumimoji="0" lang="en-GB" sz="8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nalysis and delivery fulfilment</a:t>
            </a:r>
            <a:endParaRPr kumimoji="0" lang="en-GB" sz="3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74" name="Chevron 69">
            <a:extLst>
              <a:ext uri="{FF2B5EF4-FFF2-40B4-BE49-F238E27FC236}">
                <a16:creationId xmlns:a16="http://schemas.microsoft.com/office/drawing/2014/main" id="{DA4EA8DF-640F-426F-B82D-DD8111BA3FB0}"/>
              </a:ext>
            </a:extLst>
          </p:cNvPr>
          <p:cNvSpPr/>
          <p:nvPr/>
        </p:nvSpPr>
        <p:spPr bwMode="auto">
          <a:xfrm>
            <a:off x="5649360"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Customer Onboarding and success</a:t>
            </a:r>
            <a:endParaRPr kumimoji="0" lang="en-GB" sz="3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75" name="Chevron 69">
            <a:extLst>
              <a:ext uri="{FF2B5EF4-FFF2-40B4-BE49-F238E27FC236}">
                <a16:creationId xmlns:a16="http://schemas.microsoft.com/office/drawing/2014/main" id="{AB4AF1B1-C3C6-48A9-AEFA-B85186A5C1BE}"/>
              </a:ext>
            </a:extLst>
          </p:cNvPr>
          <p:cNvSpPr/>
          <p:nvPr/>
        </p:nvSpPr>
        <p:spPr bwMode="auto">
          <a:xfrm>
            <a:off x="6425270"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Support </a:t>
            </a:r>
            <a:endParaRPr kumimoji="0" lang="en-GB" sz="300" b="1" i="1" u="none" strike="noStrike" kern="1200" cap="none" spc="0" normalizeH="0" baseline="0">
              <a:ln>
                <a:noFill/>
              </a:ln>
              <a:solidFill>
                <a:schemeClr val="bg1"/>
              </a:solidFill>
              <a:effectLst/>
              <a:uLnTx/>
              <a:uFillTx/>
              <a:latin typeface="Trebuchet MS" panose="020B0603020202020204" pitchFamily="34" charset="0"/>
            </a:endParaRPr>
          </a:p>
        </p:txBody>
      </p:sp>
      <p:cxnSp>
        <p:nvCxnSpPr>
          <p:cNvPr id="176" name="Straight Arrow Connector 29">
            <a:extLst>
              <a:ext uri="{FF2B5EF4-FFF2-40B4-BE49-F238E27FC236}">
                <a16:creationId xmlns:a16="http://schemas.microsoft.com/office/drawing/2014/main" id="{DA4CB311-33F7-45AF-B8B6-CB692BCB67C1}"/>
              </a:ext>
            </a:extLst>
          </p:cNvPr>
          <p:cNvCxnSpPr>
            <a:cxnSpLocks/>
          </p:cNvCxnSpPr>
          <p:nvPr/>
        </p:nvCxnSpPr>
        <p:spPr bwMode="auto">
          <a:xfrm flipH="1">
            <a:off x="4967121" y="2926984"/>
            <a:ext cx="2274147" cy="6235"/>
          </a:xfrm>
          <a:prstGeom prst="straightConnector1">
            <a:avLst/>
          </a:prstGeom>
          <a:solidFill>
            <a:schemeClr val="accent1"/>
          </a:solidFill>
          <a:ln w="9525" cap="flat" cmpd="sng" algn="ctr">
            <a:solidFill>
              <a:schemeClr val="tx2"/>
            </a:solidFill>
            <a:prstDash val="solid"/>
            <a:round/>
            <a:headEnd type="triangle" w="med" len="med"/>
            <a:tailEnd type="triangle" w="med" len="med"/>
          </a:ln>
          <a:effectLst/>
        </p:spPr>
      </p:cxnSp>
      <p:sp>
        <p:nvSpPr>
          <p:cNvPr id="177" name="TextBox 17">
            <a:extLst>
              <a:ext uri="{FF2B5EF4-FFF2-40B4-BE49-F238E27FC236}">
                <a16:creationId xmlns:a16="http://schemas.microsoft.com/office/drawing/2014/main" id="{EB5611B2-2F34-483A-BE61-4A770A1CD7EC}"/>
              </a:ext>
            </a:extLst>
          </p:cNvPr>
          <p:cNvSpPr txBox="1"/>
          <p:nvPr/>
        </p:nvSpPr>
        <p:spPr>
          <a:xfrm>
            <a:off x="5370138" y="2762924"/>
            <a:ext cx="1728176" cy="338554"/>
          </a:xfrm>
          <a:prstGeom prst="rect">
            <a:avLst/>
          </a:prstGeom>
          <a:solidFill>
            <a:srgbClr val="E9F5EC"/>
          </a:solidFill>
        </p:spPr>
        <p:txBody>
          <a:bodyPr wrap="square" lIns="0" rIns="0" rtlCol="0">
            <a:spAutoFit/>
          </a:bodyPr>
          <a:lstStyle>
            <a:defPPr>
              <a:defRPr lang="en-US"/>
            </a:defPPr>
            <a:lvl1pPr marL="0" marR="0" lvl="0" indent="0" algn="ctr" defTabSz="914400" eaLnBrk="1" latinLnBrk="0" hangingPunct="1">
              <a:lnSpc>
                <a:spcPct val="100000"/>
              </a:lnSpc>
              <a:buClrTx/>
              <a:buSzTx/>
              <a:buFontTx/>
              <a:buNone/>
              <a:tabLst/>
              <a:defRPr kumimoji="0" sz="1000" b="0" i="1" u="none" strike="noStrike" cap="none" spc="0" normalizeH="0" baseline="0">
                <a:ln>
                  <a:noFill/>
                </a:ln>
                <a:solidFill>
                  <a:schemeClr val="tx2"/>
                </a:solidFill>
                <a:effectLst/>
                <a:uLnTx/>
                <a:uFillTx/>
              </a:defRPr>
            </a:lvl1pPr>
          </a:lstStyle>
          <a:p>
            <a:r>
              <a:rPr lang="en-GB" sz="800">
                <a:latin typeface="Trebuchet MS" panose="020B0603020202020204" pitchFamily="34" charset="0"/>
              </a:rPr>
              <a:t>Downstream : data analysis and offer deployment</a:t>
            </a:r>
          </a:p>
        </p:txBody>
      </p:sp>
      <p:sp>
        <p:nvSpPr>
          <p:cNvPr id="179" name="Chevron 69">
            <a:extLst>
              <a:ext uri="{FF2B5EF4-FFF2-40B4-BE49-F238E27FC236}">
                <a16:creationId xmlns:a16="http://schemas.microsoft.com/office/drawing/2014/main" id="{3FD2ABFD-0B90-435F-94EF-0385B7B82E07}"/>
              </a:ext>
            </a:extLst>
          </p:cNvPr>
          <p:cNvSpPr/>
          <p:nvPr/>
        </p:nvSpPr>
        <p:spPr bwMode="auto">
          <a:xfrm>
            <a:off x="2570410" y="4422101"/>
            <a:ext cx="1424784" cy="572596"/>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R&amp;D on data collection, cleaning, and enrichment (including NLP, data science…)</a:t>
            </a:r>
            <a:endParaRPr kumimoji="0" lang="en-GB" sz="3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80" name="Chevron 69">
            <a:extLst>
              <a:ext uri="{FF2B5EF4-FFF2-40B4-BE49-F238E27FC236}">
                <a16:creationId xmlns:a16="http://schemas.microsoft.com/office/drawing/2014/main" id="{F3C144A8-6716-4ACA-A484-0EAE7975A119}"/>
              </a:ext>
            </a:extLst>
          </p:cNvPr>
          <p:cNvSpPr/>
          <p:nvPr/>
        </p:nvSpPr>
        <p:spPr bwMode="auto">
          <a:xfrm>
            <a:off x="4817515" y="4422101"/>
            <a:ext cx="657840" cy="572596"/>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Scoring algorithm improvement </a:t>
            </a:r>
            <a:endParaRPr kumimoji="0" lang="en-GB" sz="3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81" name="Chevron 69">
            <a:extLst>
              <a:ext uri="{FF2B5EF4-FFF2-40B4-BE49-F238E27FC236}">
                <a16:creationId xmlns:a16="http://schemas.microsoft.com/office/drawing/2014/main" id="{AC4DB34B-E653-4712-9D86-FEA1C552574B}"/>
              </a:ext>
            </a:extLst>
          </p:cNvPr>
          <p:cNvSpPr/>
          <p:nvPr/>
        </p:nvSpPr>
        <p:spPr bwMode="auto">
          <a:xfrm>
            <a:off x="5614729" y="4422101"/>
            <a:ext cx="657840" cy="572596"/>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Product IT development </a:t>
            </a:r>
            <a:endParaRPr kumimoji="0" lang="en-GB" sz="5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83" name="Chevron 69">
            <a:extLst>
              <a:ext uri="{FF2B5EF4-FFF2-40B4-BE49-F238E27FC236}">
                <a16:creationId xmlns:a16="http://schemas.microsoft.com/office/drawing/2014/main" id="{DED03CFB-700D-4E36-BFC3-D2A2E1F7C800}"/>
              </a:ext>
            </a:extLst>
          </p:cNvPr>
          <p:cNvSpPr/>
          <p:nvPr/>
        </p:nvSpPr>
        <p:spPr bwMode="auto">
          <a:xfrm>
            <a:off x="2532732" y="5090498"/>
            <a:ext cx="4372639" cy="220045"/>
          </a:xfrm>
          <a:prstGeom prst="leftRightArrow">
            <a:avLst>
              <a:gd name="adj1" fmla="val 100000"/>
              <a:gd name="adj2" fmla="val 50000"/>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Product / offer conception</a:t>
            </a:r>
            <a:endParaRPr kumimoji="0" lang="en-GB" sz="3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84" name="Rectangle 183">
            <a:extLst>
              <a:ext uri="{FF2B5EF4-FFF2-40B4-BE49-F238E27FC236}">
                <a16:creationId xmlns:a16="http://schemas.microsoft.com/office/drawing/2014/main" id="{16927871-EF96-451A-9248-C43162CF8DB3}"/>
              </a:ext>
            </a:extLst>
          </p:cNvPr>
          <p:cNvSpPr/>
          <p:nvPr/>
        </p:nvSpPr>
        <p:spPr bwMode="auto">
          <a:xfrm>
            <a:off x="8785077" y="2790755"/>
            <a:ext cx="904463" cy="1148400"/>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lang="en-GB" sz="900" b="1">
                <a:solidFill>
                  <a:schemeClr val="accent1"/>
                </a:solidFill>
                <a:latin typeface="Trebuchet MS" panose="020B0603020202020204" pitchFamily="34" charset="0"/>
              </a:rPr>
              <a:t>Key accounts </a:t>
            </a:r>
            <a:endParaRPr kumimoji="0" lang="en-GB" sz="900" i="0" u="none" strike="noStrike" cap="none" normalizeH="0" baseline="0">
              <a:ln>
                <a:noFill/>
              </a:ln>
              <a:solidFill>
                <a:schemeClr val="accent1"/>
              </a:solidFill>
              <a:effectLst/>
              <a:latin typeface="Trebuchet MS" panose="020B0603020202020204" pitchFamily="34" charset="0"/>
            </a:endParaRPr>
          </a:p>
        </p:txBody>
      </p:sp>
      <p:sp>
        <p:nvSpPr>
          <p:cNvPr id="185" name="Rectangle 184">
            <a:extLst>
              <a:ext uri="{FF2B5EF4-FFF2-40B4-BE49-F238E27FC236}">
                <a16:creationId xmlns:a16="http://schemas.microsoft.com/office/drawing/2014/main" id="{3B72AEEA-7E25-456E-9E7D-5018D86BA01A}"/>
              </a:ext>
            </a:extLst>
          </p:cNvPr>
          <p:cNvSpPr/>
          <p:nvPr/>
        </p:nvSpPr>
        <p:spPr bwMode="auto">
          <a:xfrm>
            <a:off x="8777528" y="4021868"/>
            <a:ext cx="904463" cy="1148400"/>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lang="en-GB" sz="900" b="1">
                <a:solidFill>
                  <a:schemeClr val="accent1"/>
                </a:solidFill>
                <a:latin typeface="Trebuchet MS" panose="020B0603020202020204" pitchFamily="34" charset="0"/>
              </a:rPr>
              <a:t>Public </a:t>
            </a:r>
            <a:endParaRPr kumimoji="0" lang="en-GB" sz="900" b="1" i="0" u="none" strike="noStrike" cap="none" normalizeH="0" baseline="0">
              <a:ln>
                <a:noFill/>
              </a:ln>
              <a:solidFill>
                <a:schemeClr val="accent1"/>
              </a:solidFill>
              <a:effectLst/>
              <a:latin typeface="Trebuchet MS" panose="020B0603020202020204" pitchFamily="34" charset="0"/>
            </a:endParaRPr>
          </a:p>
        </p:txBody>
      </p:sp>
      <p:sp>
        <p:nvSpPr>
          <p:cNvPr id="186" name="Rectangle 185">
            <a:extLst>
              <a:ext uri="{FF2B5EF4-FFF2-40B4-BE49-F238E27FC236}">
                <a16:creationId xmlns:a16="http://schemas.microsoft.com/office/drawing/2014/main" id="{4D05203C-5ADA-4160-8AE5-A820A1C25BD6}"/>
              </a:ext>
            </a:extLst>
          </p:cNvPr>
          <p:cNvSpPr/>
          <p:nvPr/>
        </p:nvSpPr>
        <p:spPr bwMode="auto">
          <a:xfrm>
            <a:off x="9444261" y="3711059"/>
            <a:ext cx="258048" cy="196677"/>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0" i="0" u="none" strike="noStrike" normalizeH="0">
                <a:ln>
                  <a:noFill/>
                </a:ln>
                <a:effectLst/>
                <a:latin typeface="Trebuchet MS" panose="020B0603020202020204" pitchFamily="34" charset="0"/>
              </a:rPr>
              <a:t>…</a:t>
            </a:r>
          </a:p>
        </p:txBody>
      </p:sp>
      <p:pic>
        <p:nvPicPr>
          <p:cNvPr id="187" name="Picture 34" descr="Afficher l'image d'origine">
            <a:extLst>
              <a:ext uri="{FF2B5EF4-FFF2-40B4-BE49-F238E27FC236}">
                <a16:creationId xmlns:a16="http://schemas.microsoft.com/office/drawing/2014/main" id="{3B1F245C-EA85-4C43-9A55-49C9CAB5E966}"/>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120295" y="2986831"/>
            <a:ext cx="234134" cy="233745"/>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40" descr="Afficher l'image d'origine">
            <a:extLst>
              <a:ext uri="{FF2B5EF4-FFF2-40B4-BE49-F238E27FC236}">
                <a16:creationId xmlns:a16="http://schemas.microsoft.com/office/drawing/2014/main" id="{BBBE86B3-5B4F-43FC-9180-8C20F810C4BE}"/>
              </a:ext>
            </a:extLst>
          </p:cNvPr>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876471" y="3284676"/>
            <a:ext cx="664479" cy="268648"/>
          </a:xfrm>
          <a:prstGeom prst="rect">
            <a:avLst/>
          </a:prstGeom>
          <a:noFill/>
          <a:extLst>
            <a:ext uri="{909E8E84-426E-40DD-AFC4-6F175D3DCCD1}">
              <a14:hiddenFill xmlns:a14="http://schemas.microsoft.com/office/drawing/2010/main">
                <a:solidFill>
                  <a:srgbClr val="FFFFFF"/>
                </a:solidFill>
              </a14:hiddenFill>
            </a:ext>
          </a:extLst>
        </p:spPr>
      </p:pic>
      <p:sp>
        <p:nvSpPr>
          <p:cNvPr id="190" name="Rectangle 189">
            <a:extLst>
              <a:ext uri="{FF2B5EF4-FFF2-40B4-BE49-F238E27FC236}">
                <a16:creationId xmlns:a16="http://schemas.microsoft.com/office/drawing/2014/main" id="{EFB54921-E92A-46BA-BF59-94022EEB94C4}"/>
              </a:ext>
            </a:extLst>
          </p:cNvPr>
          <p:cNvSpPr/>
          <p:nvPr/>
        </p:nvSpPr>
        <p:spPr bwMode="auto">
          <a:xfrm>
            <a:off x="8779146" y="5252981"/>
            <a:ext cx="904463" cy="1148400"/>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lang="en-GB" sz="900" b="1">
                <a:solidFill>
                  <a:schemeClr val="accent1"/>
                </a:solidFill>
                <a:latin typeface="Trebuchet MS" panose="020B0603020202020204" pitchFamily="34" charset="0"/>
              </a:rPr>
              <a:t>Mid market</a:t>
            </a:r>
            <a:endParaRPr kumimoji="0" lang="en-GB" sz="900" b="1" i="0" u="none" strike="noStrike" cap="none" normalizeH="0" baseline="0">
              <a:ln>
                <a:noFill/>
              </a:ln>
              <a:solidFill>
                <a:schemeClr val="accent1"/>
              </a:solidFill>
              <a:effectLst/>
              <a:latin typeface="Trebuchet MS" panose="020B0603020202020204" pitchFamily="34" charset="0"/>
            </a:endParaRPr>
          </a:p>
        </p:txBody>
      </p:sp>
      <p:pic>
        <p:nvPicPr>
          <p:cNvPr id="192" name="Picture 2">
            <a:extLst>
              <a:ext uri="{FF2B5EF4-FFF2-40B4-BE49-F238E27FC236}">
                <a16:creationId xmlns:a16="http://schemas.microsoft.com/office/drawing/2014/main" id="{3503C244-102A-4793-8111-A305EF50B056}"/>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935625" y="3668453"/>
            <a:ext cx="590839" cy="185678"/>
          </a:xfrm>
          <a:prstGeom prst="rect">
            <a:avLst/>
          </a:prstGeom>
          <a:noFill/>
          <a:extLst>
            <a:ext uri="{909E8E84-426E-40DD-AFC4-6F175D3DCCD1}">
              <a14:hiddenFill xmlns:a14="http://schemas.microsoft.com/office/drawing/2010/main">
                <a:solidFill>
                  <a:srgbClr val="FFFFFF"/>
                </a:solidFill>
              </a14:hiddenFill>
            </a:ext>
          </a:extLst>
        </p:spPr>
      </p:pic>
      <p:sp>
        <p:nvSpPr>
          <p:cNvPr id="193" name="Rectangle 192">
            <a:extLst>
              <a:ext uri="{FF2B5EF4-FFF2-40B4-BE49-F238E27FC236}">
                <a16:creationId xmlns:a16="http://schemas.microsoft.com/office/drawing/2014/main" id="{3FEB43FF-FAF8-46CC-A3A3-25F606EC794A}"/>
              </a:ext>
            </a:extLst>
          </p:cNvPr>
          <p:cNvSpPr/>
          <p:nvPr/>
        </p:nvSpPr>
        <p:spPr bwMode="auto">
          <a:xfrm>
            <a:off x="9434831" y="4964992"/>
            <a:ext cx="258048" cy="196677"/>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0" i="0" u="none" strike="noStrike" normalizeH="0">
                <a:ln>
                  <a:noFill/>
                </a:ln>
                <a:effectLst/>
                <a:latin typeface="Trebuchet MS" panose="020B0603020202020204" pitchFamily="34" charset="0"/>
              </a:rPr>
              <a:t>…</a:t>
            </a:r>
          </a:p>
        </p:txBody>
      </p:sp>
      <p:sp>
        <p:nvSpPr>
          <p:cNvPr id="194" name="Rectangle 193">
            <a:extLst>
              <a:ext uri="{FF2B5EF4-FFF2-40B4-BE49-F238E27FC236}">
                <a16:creationId xmlns:a16="http://schemas.microsoft.com/office/drawing/2014/main" id="{D60BE7F1-F429-4B66-BF08-CB1CA77FCA3D}"/>
              </a:ext>
            </a:extLst>
          </p:cNvPr>
          <p:cNvSpPr/>
          <p:nvPr/>
        </p:nvSpPr>
        <p:spPr bwMode="auto">
          <a:xfrm>
            <a:off x="9431492" y="6194584"/>
            <a:ext cx="258048" cy="196677"/>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0" i="0" u="none" strike="noStrike" normalizeH="0">
                <a:ln>
                  <a:noFill/>
                </a:ln>
                <a:effectLst/>
                <a:latin typeface="Trebuchet MS" panose="020B0603020202020204" pitchFamily="34" charset="0"/>
              </a:rPr>
              <a:t>…</a:t>
            </a:r>
          </a:p>
        </p:txBody>
      </p:sp>
      <p:pic>
        <p:nvPicPr>
          <p:cNvPr id="195" name="Picture 2" descr="upload.wikimedia.org/wikipedia/commons/thumb/8/...">
            <a:extLst>
              <a:ext uri="{FF2B5EF4-FFF2-40B4-BE49-F238E27FC236}">
                <a16:creationId xmlns:a16="http://schemas.microsoft.com/office/drawing/2014/main" id="{E6FDE765-CF09-47EA-BCB1-A2A6EB13C31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066596" y="4231052"/>
            <a:ext cx="377665" cy="262649"/>
          </a:xfrm>
          <a:prstGeom prst="rect">
            <a:avLst/>
          </a:prstGeom>
          <a:noFill/>
          <a:extLst>
            <a:ext uri="{909E8E84-426E-40DD-AFC4-6F175D3DCCD1}">
              <a14:hiddenFill xmlns:a14="http://schemas.microsoft.com/office/drawing/2010/main">
                <a:solidFill>
                  <a:srgbClr val="FFFFFF"/>
                </a:solidFill>
              </a14:hiddenFill>
            </a:ext>
          </a:extLst>
        </p:spPr>
      </p:pic>
      <p:pic>
        <p:nvPicPr>
          <p:cNvPr id="196" name="Picture 2">
            <a:extLst>
              <a:ext uri="{FF2B5EF4-FFF2-40B4-BE49-F238E27FC236}">
                <a16:creationId xmlns:a16="http://schemas.microsoft.com/office/drawing/2014/main" id="{E9981184-541E-43EF-A265-C4FF29E785C9}"/>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917985" y="4556540"/>
            <a:ext cx="594961" cy="195069"/>
          </a:xfrm>
          <a:prstGeom prst="rect">
            <a:avLst/>
          </a:prstGeom>
          <a:noFill/>
          <a:extLst>
            <a:ext uri="{909E8E84-426E-40DD-AFC4-6F175D3DCCD1}">
              <a14:hiddenFill xmlns:a14="http://schemas.microsoft.com/office/drawing/2010/main">
                <a:solidFill>
                  <a:srgbClr val="FFFFFF"/>
                </a:solidFill>
              </a14:hiddenFill>
            </a:ext>
          </a:extLst>
        </p:spPr>
      </p:pic>
      <p:pic>
        <p:nvPicPr>
          <p:cNvPr id="198" name="Picture 2">
            <a:extLst>
              <a:ext uri="{FF2B5EF4-FFF2-40B4-BE49-F238E27FC236}">
                <a16:creationId xmlns:a16="http://schemas.microsoft.com/office/drawing/2014/main" id="{7B68BAA5-9CE2-4C7A-B9C4-61ADCACFF592}"/>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070583" y="4842921"/>
            <a:ext cx="271452" cy="269978"/>
          </a:xfrm>
          <a:prstGeom prst="rect">
            <a:avLst/>
          </a:prstGeom>
          <a:noFill/>
          <a:extLst>
            <a:ext uri="{909E8E84-426E-40DD-AFC4-6F175D3DCCD1}">
              <a14:hiddenFill xmlns:a14="http://schemas.microsoft.com/office/drawing/2010/main">
                <a:solidFill>
                  <a:srgbClr val="FFFFFF"/>
                </a:solidFill>
              </a14:hiddenFill>
            </a:ext>
          </a:extLst>
        </p:spPr>
      </p:pic>
      <p:pic>
        <p:nvPicPr>
          <p:cNvPr id="199" name="Picture 2">
            <a:extLst>
              <a:ext uri="{FF2B5EF4-FFF2-40B4-BE49-F238E27FC236}">
                <a16:creationId xmlns:a16="http://schemas.microsoft.com/office/drawing/2014/main" id="{3D24C4CF-A34E-47E4-8049-D81B50A56155}"/>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121902" y="5547242"/>
            <a:ext cx="267429" cy="349568"/>
          </a:xfrm>
          <a:prstGeom prst="rect">
            <a:avLst/>
          </a:prstGeom>
          <a:noFill/>
          <a:extLst>
            <a:ext uri="{909E8E84-426E-40DD-AFC4-6F175D3DCCD1}">
              <a14:hiddenFill xmlns:a14="http://schemas.microsoft.com/office/drawing/2010/main">
                <a:solidFill>
                  <a:srgbClr val="FFFFFF"/>
                </a:solidFill>
              </a14:hiddenFill>
            </a:ext>
          </a:extLst>
        </p:spPr>
      </p:pic>
      <p:pic>
        <p:nvPicPr>
          <p:cNvPr id="201" name="Picture 2">
            <a:extLst>
              <a:ext uri="{FF2B5EF4-FFF2-40B4-BE49-F238E27FC236}">
                <a16:creationId xmlns:a16="http://schemas.microsoft.com/office/drawing/2014/main" id="{4232B5B0-6195-4DD4-ACEE-5643EC90A5C8}"/>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048475" y="6057925"/>
            <a:ext cx="377665" cy="212436"/>
          </a:xfrm>
          <a:prstGeom prst="rect">
            <a:avLst/>
          </a:prstGeom>
          <a:noFill/>
          <a:extLst>
            <a:ext uri="{909E8E84-426E-40DD-AFC4-6F175D3DCCD1}">
              <a14:hiddenFill xmlns:a14="http://schemas.microsoft.com/office/drawing/2010/main">
                <a:solidFill>
                  <a:srgbClr val="FFFFFF"/>
                </a:solidFill>
              </a14:hiddenFill>
            </a:ext>
          </a:extLst>
        </p:spPr>
      </p:pic>
      <p:grpSp>
        <p:nvGrpSpPr>
          <p:cNvPr id="202" name="Group 4">
            <a:extLst>
              <a:ext uri="{FF2B5EF4-FFF2-40B4-BE49-F238E27FC236}">
                <a16:creationId xmlns:a16="http://schemas.microsoft.com/office/drawing/2014/main" id="{401B8A5E-A9D7-4A60-BE9A-E4AF8F467468}"/>
              </a:ext>
            </a:extLst>
          </p:cNvPr>
          <p:cNvGrpSpPr>
            <a:grpSpLocks noChangeAspect="1"/>
          </p:cNvGrpSpPr>
          <p:nvPr/>
        </p:nvGrpSpPr>
        <p:grpSpPr bwMode="auto">
          <a:xfrm>
            <a:off x="3671512" y="3888185"/>
            <a:ext cx="225368" cy="175615"/>
            <a:chOff x="823" y="904"/>
            <a:chExt cx="684" cy="533"/>
          </a:xfrm>
          <a:solidFill>
            <a:schemeClr val="tx2"/>
          </a:solidFill>
        </p:grpSpPr>
        <p:sp>
          <p:nvSpPr>
            <p:cNvPr id="203" name="Freeform 5">
              <a:extLst>
                <a:ext uri="{FF2B5EF4-FFF2-40B4-BE49-F238E27FC236}">
                  <a16:creationId xmlns:a16="http://schemas.microsoft.com/office/drawing/2014/main" id="{8F24D87D-B2A0-408E-B250-AFB86C36FC62}"/>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4" name="Freeform 6">
              <a:extLst>
                <a:ext uri="{FF2B5EF4-FFF2-40B4-BE49-F238E27FC236}">
                  <a16:creationId xmlns:a16="http://schemas.microsoft.com/office/drawing/2014/main" id="{8B14F1CD-4C9B-486D-8B80-86A1B32EA510}"/>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5" name="Group 4">
            <a:extLst>
              <a:ext uri="{FF2B5EF4-FFF2-40B4-BE49-F238E27FC236}">
                <a16:creationId xmlns:a16="http://schemas.microsoft.com/office/drawing/2014/main" id="{E8E44852-C242-4F0B-9998-4001644472DD}"/>
              </a:ext>
            </a:extLst>
          </p:cNvPr>
          <p:cNvGrpSpPr>
            <a:grpSpLocks noChangeAspect="1"/>
          </p:cNvGrpSpPr>
          <p:nvPr/>
        </p:nvGrpSpPr>
        <p:grpSpPr bwMode="auto">
          <a:xfrm>
            <a:off x="4662902" y="3881034"/>
            <a:ext cx="225368" cy="175615"/>
            <a:chOff x="823" y="904"/>
            <a:chExt cx="684" cy="533"/>
          </a:xfrm>
          <a:solidFill>
            <a:schemeClr val="tx2"/>
          </a:solidFill>
        </p:grpSpPr>
        <p:sp>
          <p:nvSpPr>
            <p:cNvPr id="206" name="Freeform 5">
              <a:extLst>
                <a:ext uri="{FF2B5EF4-FFF2-40B4-BE49-F238E27FC236}">
                  <a16:creationId xmlns:a16="http://schemas.microsoft.com/office/drawing/2014/main" id="{61D51BE7-8766-494B-AC63-3B76C84B59FD}"/>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7" name="Freeform 6">
              <a:extLst>
                <a:ext uri="{FF2B5EF4-FFF2-40B4-BE49-F238E27FC236}">
                  <a16:creationId xmlns:a16="http://schemas.microsoft.com/office/drawing/2014/main" id="{ADEC5829-6E38-4EDC-AA93-03D2AA75D534}"/>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8" name="Group 4">
            <a:extLst>
              <a:ext uri="{FF2B5EF4-FFF2-40B4-BE49-F238E27FC236}">
                <a16:creationId xmlns:a16="http://schemas.microsoft.com/office/drawing/2014/main" id="{B63312A5-FA30-4479-B75F-CAD1E13E78D1}"/>
              </a:ext>
            </a:extLst>
          </p:cNvPr>
          <p:cNvGrpSpPr>
            <a:grpSpLocks noChangeAspect="1"/>
          </p:cNvGrpSpPr>
          <p:nvPr/>
        </p:nvGrpSpPr>
        <p:grpSpPr bwMode="auto">
          <a:xfrm>
            <a:off x="5536676" y="3899124"/>
            <a:ext cx="225368" cy="175615"/>
            <a:chOff x="823" y="904"/>
            <a:chExt cx="684" cy="533"/>
          </a:xfrm>
          <a:solidFill>
            <a:schemeClr val="tx2"/>
          </a:solidFill>
        </p:grpSpPr>
        <p:sp>
          <p:nvSpPr>
            <p:cNvPr id="209" name="Freeform 5">
              <a:extLst>
                <a:ext uri="{FF2B5EF4-FFF2-40B4-BE49-F238E27FC236}">
                  <a16:creationId xmlns:a16="http://schemas.microsoft.com/office/drawing/2014/main" id="{E71DB6E4-0CBE-4B9A-A55C-A4CF28D7101E}"/>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0" name="Freeform 6">
              <a:extLst>
                <a:ext uri="{FF2B5EF4-FFF2-40B4-BE49-F238E27FC236}">
                  <a16:creationId xmlns:a16="http://schemas.microsoft.com/office/drawing/2014/main" id="{1BA34E47-76E4-4751-AE5E-4D5F6B75D5E7}"/>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11" name="Group 11268">
            <a:extLst>
              <a:ext uri="{FF2B5EF4-FFF2-40B4-BE49-F238E27FC236}">
                <a16:creationId xmlns:a16="http://schemas.microsoft.com/office/drawing/2014/main" id="{07D05B72-827C-4B6D-A015-8CC1659CBB73}"/>
              </a:ext>
            </a:extLst>
          </p:cNvPr>
          <p:cNvGrpSpPr/>
          <p:nvPr/>
        </p:nvGrpSpPr>
        <p:grpSpPr>
          <a:xfrm>
            <a:off x="7653613" y="3985392"/>
            <a:ext cx="695595" cy="544419"/>
            <a:chOff x="7537960" y="3916354"/>
            <a:chExt cx="632359" cy="544419"/>
          </a:xfrm>
        </p:grpSpPr>
        <p:sp>
          <p:nvSpPr>
            <p:cNvPr id="212" name="Rectangle 211">
              <a:extLst>
                <a:ext uri="{FF2B5EF4-FFF2-40B4-BE49-F238E27FC236}">
                  <a16:creationId xmlns:a16="http://schemas.microsoft.com/office/drawing/2014/main" id="{824D6491-4EAF-4928-93E2-11792B5EDF54}"/>
                </a:ext>
              </a:extLst>
            </p:cNvPr>
            <p:cNvSpPr/>
            <p:nvPr/>
          </p:nvSpPr>
          <p:spPr bwMode="auto">
            <a:xfrm>
              <a:off x="7537960" y="3916354"/>
              <a:ext cx="632359" cy="544419"/>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square" lIns="0" tIns="45720" rIns="0" bIns="18000" numCol="1" spcCol="0" rtlCol="0" fromWordArt="0" anchor="b" anchorCtr="0" forceAA="0" compatLnSpc="1">
              <a:prstTxWarp prst="textNoShape">
                <a:avLst/>
              </a:prstTxWarp>
              <a:noAutofit/>
            </a:bodyPr>
            <a:lstStyle/>
            <a:p>
              <a:pPr marR="0" indent="0" algn="ctr"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a:ln>
                  <a:noFill/>
                </a:ln>
                <a:solidFill>
                  <a:schemeClr val="bg1"/>
                </a:solidFill>
                <a:effectLst/>
                <a:latin typeface="Trebuchet MS" pitchFamily="34" charset="0"/>
              </a:endParaRPr>
            </a:p>
            <a:p>
              <a:pPr marR="0" indent="0" algn="ctr" defTabSz="914400" rtl="0" eaLnBrk="1" fontAlgn="base" latinLnBrk="0" hangingPunct="1">
                <a:lnSpc>
                  <a:spcPct val="100000"/>
                </a:lnSpc>
                <a:spcBef>
                  <a:spcPct val="0"/>
                </a:spcBef>
                <a:spcAft>
                  <a:spcPct val="0"/>
                </a:spcAft>
                <a:buClrTx/>
                <a:buSzTx/>
                <a:buFontTx/>
                <a:buNone/>
                <a:tabLst/>
              </a:pPr>
              <a:r>
                <a:rPr kumimoji="0" lang="en-GB" sz="900" b="1" i="0" u="none" strike="noStrike" cap="none" normalizeH="0" baseline="0">
                  <a:ln>
                    <a:noFill/>
                  </a:ln>
                  <a:solidFill>
                    <a:schemeClr val="bg1"/>
                  </a:solidFill>
                  <a:effectLst/>
                  <a:latin typeface="Trebuchet MS" pitchFamily="34" charset="0"/>
                </a:rPr>
                <a:t>Compliance</a:t>
              </a:r>
            </a:p>
          </p:txBody>
        </p:sp>
        <p:pic>
          <p:nvPicPr>
            <p:cNvPr id="213" name="Graphique 90" descr="Poignée de main">
              <a:extLst>
                <a:ext uri="{FF2B5EF4-FFF2-40B4-BE49-F238E27FC236}">
                  <a16:creationId xmlns:a16="http://schemas.microsoft.com/office/drawing/2014/main" id="{AADDE984-798D-46A0-9485-A14C8433C70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7696016" y="3933347"/>
              <a:ext cx="316246" cy="316246"/>
            </a:xfrm>
            <a:prstGeom prst="rect">
              <a:avLst/>
            </a:prstGeom>
          </p:spPr>
        </p:pic>
      </p:grpSp>
      <p:grpSp>
        <p:nvGrpSpPr>
          <p:cNvPr id="214" name="Group 11267">
            <a:extLst>
              <a:ext uri="{FF2B5EF4-FFF2-40B4-BE49-F238E27FC236}">
                <a16:creationId xmlns:a16="http://schemas.microsoft.com/office/drawing/2014/main" id="{88F3C6CA-3EF8-415A-8B17-0992E238FEB5}"/>
              </a:ext>
            </a:extLst>
          </p:cNvPr>
          <p:cNvGrpSpPr/>
          <p:nvPr/>
        </p:nvGrpSpPr>
        <p:grpSpPr>
          <a:xfrm>
            <a:off x="7653613" y="4788436"/>
            <a:ext cx="695595" cy="544419"/>
            <a:chOff x="7537960" y="3302936"/>
            <a:chExt cx="632359" cy="544419"/>
          </a:xfrm>
        </p:grpSpPr>
        <p:sp>
          <p:nvSpPr>
            <p:cNvPr id="215" name="Rectangle 214">
              <a:extLst>
                <a:ext uri="{FF2B5EF4-FFF2-40B4-BE49-F238E27FC236}">
                  <a16:creationId xmlns:a16="http://schemas.microsoft.com/office/drawing/2014/main" id="{C3CDEC37-22A8-49B9-9685-E3C57534E2EE}"/>
                </a:ext>
              </a:extLst>
            </p:cNvPr>
            <p:cNvSpPr/>
            <p:nvPr/>
          </p:nvSpPr>
          <p:spPr bwMode="auto">
            <a:xfrm>
              <a:off x="7537960" y="3302936"/>
              <a:ext cx="632359" cy="544419"/>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square" lIns="0" tIns="45720" rIns="0" bIns="18000" numCol="1" spcCol="0" rtlCol="0" fromWordArt="0" anchor="b" anchorCtr="0" forceAA="0" compatLnSpc="1">
              <a:prstTxWarp prst="textNoShape">
                <a:avLst/>
              </a:prstTxWarp>
              <a:noAutofit/>
            </a:bodyPr>
            <a:lstStyle/>
            <a:p>
              <a:pPr marR="0" indent="0" algn="ctr"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a:ln>
                  <a:noFill/>
                </a:ln>
                <a:solidFill>
                  <a:schemeClr val="bg1"/>
                </a:solidFill>
                <a:effectLst/>
                <a:latin typeface="Trebuchet MS" pitchFamily="34" charset="0"/>
              </a:endParaRPr>
            </a:p>
            <a:p>
              <a:pPr marR="0" indent="0" algn="ctr" defTabSz="914400" rtl="0" eaLnBrk="1" fontAlgn="base" latinLnBrk="0" hangingPunct="1">
                <a:lnSpc>
                  <a:spcPct val="100000"/>
                </a:lnSpc>
                <a:spcBef>
                  <a:spcPct val="0"/>
                </a:spcBef>
                <a:spcAft>
                  <a:spcPct val="0"/>
                </a:spcAft>
                <a:buClrTx/>
                <a:buSzTx/>
                <a:buFontTx/>
                <a:buNone/>
                <a:tabLst/>
              </a:pPr>
              <a:r>
                <a:rPr lang="en-GB" sz="900" b="1">
                  <a:solidFill>
                    <a:schemeClr val="bg1"/>
                  </a:solidFill>
                  <a:latin typeface="Trebuchet MS" pitchFamily="34" charset="0"/>
                </a:rPr>
                <a:t>B2B m</a:t>
              </a:r>
              <a:r>
                <a:rPr kumimoji="0" lang="en-GB" sz="900" b="1" i="0" u="none" strike="noStrike" cap="none" normalizeH="0" baseline="0">
                  <a:ln>
                    <a:noFill/>
                  </a:ln>
                  <a:solidFill>
                    <a:schemeClr val="bg1"/>
                  </a:solidFill>
                  <a:effectLst/>
                  <a:latin typeface="Trebuchet MS" pitchFamily="34" charset="0"/>
                </a:rPr>
                <a:t>arketing</a:t>
              </a:r>
            </a:p>
          </p:txBody>
        </p:sp>
        <p:pic>
          <p:nvPicPr>
            <p:cNvPr id="216" name="Graphique 74" descr="Mégaphone">
              <a:extLst>
                <a:ext uri="{FF2B5EF4-FFF2-40B4-BE49-F238E27FC236}">
                  <a16:creationId xmlns:a16="http://schemas.microsoft.com/office/drawing/2014/main" id="{EDACE5DE-DD7F-46FD-BBA6-C7B7169B6FDF}"/>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7734349" y="3319929"/>
              <a:ext cx="237600" cy="237600"/>
            </a:xfrm>
            <a:prstGeom prst="rect">
              <a:avLst/>
            </a:prstGeom>
          </p:spPr>
        </p:pic>
      </p:grpSp>
      <p:grpSp>
        <p:nvGrpSpPr>
          <p:cNvPr id="217" name="Group 11266">
            <a:extLst>
              <a:ext uri="{FF2B5EF4-FFF2-40B4-BE49-F238E27FC236}">
                <a16:creationId xmlns:a16="http://schemas.microsoft.com/office/drawing/2014/main" id="{6974C6AE-07C0-479E-ADC7-647DB7DD5608}"/>
              </a:ext>
            </a:extLst>
          </p:cNvPr>
          <p:cNvGrpSpPr/>
          <p:nvPr/>
        </p:nvGrpSpPr>
        <p:grpSpPr>
          <a:xfrm>
            <a:off x="7653613" y="3118978"/>
            <a:ext cx="695595" cy="544419"/>
            <a:chOff x="7527334" y="2206356"/>
            <a:chExt cx="632359" cy="544419"/>
          </a:xfrm>
        </p:grpSpPr>
        <p:sp>
          <p:nvSpPr>
            <p:cNvPr id="218" name="Rectangle 217">
              <a:extLst>
                <a:ext uri="{FF2B5EF4-FFF2-40B4-BE49-F238E27FC236}">
                  <a16:creationId xmlns:a16="http://schemas.microsoft.com/office/drawing/2014/main" id="{275C9947-B21E-4431-8FDF-58D67AA835B7}"/>
                </a:ext>
              </a:extLst>
            </p:cNvPr>
            <p:cNvSpPr/>
            <p:nvPr/>
          </p:nvSpPr>
          <p:spPr bwMode="auto">
            <a:xfrm>
              <a:off x="7527334" y="2206356"/>
              <a:ext cx="632359" cy="544419"/>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square" lIns="0" tIns="45720" rIns="0" bIns="18000" numCol="1" spcCol="0" rtlCol="0" fromWordArt="0" anchor="b" anchorCtr="0" forceAA="0" compatLnSpc="1">
              <a:prstTxWarp prst="textNoShape">
                <a:avLst/>
              </a:prstTxWarp>
              <a:noAutofit/>
            </a:bodyPr>
            <a:lstStyle/>
            <a:p>
              <a:pPr marR="0" indent="0" algn="ctr"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a:ln>
                  <a:noFill/>
                </a:ln>
                <a:solidFill>
                  <a:schemeClr val="bg1"/>
                </a:solidFill>
                <a:effectLst/>
                <a:latin typeface="Trebuchet MS" pitchFamily="34" charset="0"/>
              </a:endParaRPr>
            </a:p>
            <a:p>
              <a:pPr marR="0" indent="0" algn="ctr" defTabSz="914400" rtl="0" eaLnBrk="1" fontAlgn="base" latinLnBrk="0" hangingPunct="1">
                <a:lnSpc>
                  <a:spcPct val="100000"/>
                </a:lnSpc>
                <a:spcBef>
                  <a:spcPct val="0"/>
                </a:spcBef>
                <a:spcAft>
                  <a:spcPct val="0"/>
                </a:spcAft>
                <a:buClrTx/>
                <a:buSzTx/>
                <a:buFontTx/>
                <a:buNone/>
                <a:tabLst/>
              </a:pPr>
              <a:r>
                <a:rPr kumimoji="0" lang="en-GB" sz="900" b="1" i="0" u="none" strike="noStrike" cap="none" normalizeH="0" baseline="0">
                  <a:ln>
                    <a:noFill/>
                  </a:ln>
                  <a:solidFill>
                    <a:schemeClr val="bg1"/>
                  </a:solidFill>
                  <a:effectLst/>
                  <a:latin typeface="Trebuchet MS" pitchFamily="34" charset="0"/>
                </a:rPr>
                <a:t>Credit risk</a:t>
              </a:r>
            </a:p>
          </p:txBody>
        </p:sp>
        <p:pic>
          <p:nvPicPr>
            <p:cNvPr id="219" name="Graphique 128" descr="Jauge">
              <a:extLst>
                <a:ext uri="{FF2B5EF4-FFF2-40B4-BE49-F238E27FC236}">
                  <a16:creationId xmlns:a16="http://schemas.microsoft.com/office/drawing/2014/main" id="{0A590C88-AC0B-401C-82A6-CD5E0186693B}"/>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7723723" y="2227436"/>
              <a:ext cx="239580" cy="239580"/>
            </a:xfrm>
            <a:prstGeom prst="rect">
              <a:avLst/>
            </a:prstGeom>
          </p:spPr>
        </p:pic>
      </p:grpSp>
      <p:sp>
        <p:nvSpPr>
          <p:cNvPr id="220" name="Rectangle 219">
            <a:extLst>
              <a:ext uri="{FF2B5EF4-FFF2-40B4-BE49-F238E27FC236}">
                <a16:creationId xmlns:a16="http://schemas.microsoft.com/office/drawing/2014/main" id="{6CA62E96-D2CE-4E36-B548-E66F8EC39ACE}"/>
              </a:ext>
            </a:extLst>
          </p:cNvPr>
          <p:cNvSpPr/>
          <p:nvPr/>
        </p:nvSpPr>
        <p:spPr bwMode="auto">
          <a:xfrm>
            <a:off x="1128472" y="1443631"/>
            <a:ext cx="1123492" cy="4213501"/>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lang="en-GB" sz="900" b="1" i="1" dirty="0">
                <a:solidFill>
                  <a:schemeClr val="tx2"/>
                </a:solidFill>
                <a:latin typeface="Trebuchet MS" panose="020B0603020202020204" pitchFamily="34" charset="0"/>
              </a:rPr>
              <a:t> Data assets</a:t>
            </a:r>
            <a:endParaRPr kumimoji="0" lang="en-GB" sz="900" b="1" i="1" u="none" strike="noStrike" normalizeH="0" dirty="0">
              <a:ln>
                <a:noFill/>
              </a:ln>
              <a:solidFill>
                <a:schemeClr val="tx2"/>
              </a:solidFill>
              <a:effectLst/>
              <a:latin typeface="Trebuchet MS" panose="020B0603020202020204" pitchFamily="34" charset="0"/>
            </a:endParaRPr>
          </a:p>
        </p:txBody>
      </p:sp>
      <p:sp>
        <p:nvSpPr>
          <p:cNvPr id="221" name="ZoneTexte 220">
            <a:extLst>
              <a:ext uri="{FF2B5EF4-FFF2-40B4-BE49-F238E27FC236}">
                <a16:creationId xmlns:a16="http://schemas.microsoft.com/office/drawing/2014/main" id="{784B5EEC-96F9-4B35-B967-5D8534E691AB}"/>
              </a:ext>
            </a:extLst>
          </p:cNvPr>
          <p:cNvSpPr txBox="1"/>
          <p:nvPr/>
        </p:nvSpPr>
        <p:spPr>
          <a:xfrm>
            <a:off x="-26251" y="1215294"/>
            <a:ext cx="1154723" cy="646331"/>
          </a:xfrm>
          <a:prstGeom prst="rect">
            <a:avLst/>
          </a:prstGeom>
          <a:noFill/>
        </p:spPr>
        <p:txBody>
          <a:bodyPr wrap="square" rtlCol="0">
            <a:spAutoFit/>
          </a:bodyPr>
          <a:lstStyle/>
          <a:p>
            <a:pPr algn="ctr"/>
            <a:r>
              <a:rPr lang="en-GB" sz="1200" cap="small">
                <a:latin typeface="Trebuchet MS" panose="020B0603020202020204" pitchFamily="34" charset="0"/>
              </a:rPr>
              <a:t>Data </a:t>
            </a:r>
          </a:p>
          <a:p>
            <a:pPr algn="ctr"/>
            <a:r>
              <a:rPr lang="en-GB" sz="1200" cap="small">
                <a:latin typeface="Trebuchet MS" panose="020B0603020202020204" pitchFamily="34" charset="0"/>
              </a:rPr>
              <a:t>providers </a:t>
            </a:r>
          </a:p>
          <a:p>
            <a:pPr algn="ctr"/>
            <a:endParaRPr lang="en-GB" sz="1200">
              <a:latin typeface="Trebuchet MS" panose="020B0603020202020204" pitchFamily="34" charset="0"/>
            </a:endParaRPr>
          </a:p>
        </p:txBody>
      </p:sp>
      <p:sp>
        <p:nvSpPr>
          <p:cNvPr id="222" name="Rectangle 221">
            <a:extLst>
              <a:ext uri="{FF2B5EF4-FFF2-40B4-BE49-F238E27FC236}">
                <a16:creationId xmlns:a16="http://schemas.microsoft.com/office/drawing/2014/main" id="{FA8966E5-B684-448C-9F4E-ADDFD7FBBAD0}"/>
              </a:ext>
            </a:extLst>
          </p:cNvPr>
          <p:cNvSpPr/>
          <p:nvPr/>
        </p:nvSpPr>
        <p:spPr bwMode="auto">
          <a:xfrm>
            <a:off x="1242862" y="2607873"/>
            <a:ext cx="955467" cy="224056"/>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0" i="0" u="none" strike="noStrike" normalizeH="0">
                <a:ln>
                  <a:noFill/>
                </a:ln>
                <a:effectLst/>
                <a:latin typeface="Trebuchet MS" panose="020B0603020202020204" pitchFamily="34" charset="0"/>
              </a:rPr>
              <a:t>Public data</a:t>
            </a:r>
          </a:p>
        </p:txBody>
      </p:sp>
      <p:sp>
        <p:nvSpPr>
          <p:cNvPr id="223" name="Rectangle 222">
            <a:extLst>
              <a:ext uri="{FF2B5EF4-FFF2-40B4-BE49-F238E27FC236}">
                <a16:creationId xmlns:a16="http://schemas.microsoft.com/office/drawing/2014/main" id="{4E07C692-306B-4EF6-B26A-7DEBE84F53FC}"/>
              </a:ext>
            </a:extLst>
          </p:cNvPr>
          <p:cNvSpPr/>
          <p:nvPr/>
        </p:nvSpPr>
        <p:spPr bwMode="auto">
          <a:xfrm>
            <a:off x="1225117" y="5252981"/>
            <a:ext cx="945159" cy="34349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0" i="0" u="none" strike="noStrike" normalizeH="0">
                <a:ln>
                  <a:noFill/>
                </a:ln>
                <a:effectLst/>
                <a:latin typeface="Trebuchet MS" panose="020B0603020202020204" pitchFamily="34" charset="0"/>
              </a:rPr>
              <a:t>Digital data</a:t>
            </a:r>
          </a:p>
        </p:txBody>
      </p:sp>
      <p:sp>
        <p:nvSpPr>
          <p:cNvPr id="224" name="Rectangle 223">
            <a:extLst>
              <a:ext uri="{FF2B5EF4-FFF2-40B4-BE49-F238E27FC236}">
                <a16:creationId xmlns:a16="http://schemas.microsoft.com/office/drawing/2014/main" id="{70C80ECF-BCAD-4094-8BE3-2C42DC8D660F}"/>
              </a:ext>
            </a:extLst>
          </p:cNvPr>
          <p:cNvSpPr/>
          <p:nvPr/>
        </p:nvSpPr>
        <p:spPr bwMode="auto">
          <a:xfrm>
            <a:off x="1231963" y="2920987"/>
            <a:ext cx="954316" cy="227980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0" i="0" u="none" strike="noStrike" normalizeH="0">
                <a:ln>
                  <a:noFill/>
                </a:ln>
                <a:effectLst/>
                <a:latin typeface="Trebuchet MS" panose="020B0603020202020204" pitchFamily="34" charset="0"/>
              </a:rPr>
              <a:t>Private data</a:t>
            </a:r>
          </a:p>
        </p:txBody>
      </p:sp>
      <p:sp>
        <p:nvSpPr>
          <p:cNvPr id="225" name="Rectangle 224">
            <a:extLst>
              <a:ext uri="{FF2B5EF4-FFF2-40B4-BE49-F238E27FC236}">
                <a16:creationId xmlns:a16="http://schemas.microsoft.com/office/drawing/2014/main" id="{46A17EF3-BF25-42FD-AE94-68E9A76B3E6F}"/>
              </a:ext>
            </a:extLst>
          </p:cNvPr>
          <p:cNvSpPr/>
          <p:nvPr/>
        </p:nvSpPr>
        <p:spPr bwMode="auto">
          <a:xfrm>
            <a:off x="1312923" y="3140058"/>
            <a:ext cx="830106" cy="425958"/>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anose="020B0603020202020204" pitchFamily="34" charset="0"/>
              </a:rPr>
              <a:t>Domestic data</a:t>
            </a:r>
          </a:p>
        </p:txBody>
      </p:sp>
      <p:sp>
        <p:nvSpPr>
          <p:cNvPr id="226" name="Rectangle 225">
            <a:extLst>
              <a:ext uri="{FF2B5EF4-FFF2-40B4-BE49-F238E27FC236}">
                <a16:creationId xmlns:a16="http://schemas.microsoft.com/office/drawing/2014/main" id="{437394EA-E0E0-414A-A443-C8713F711338}"/>
              </a:ext>
            </a:extLst>
          </p:cNvPr>
          <p:cNvSpPr/>
          <p:nvPr/>
        </p:nvSpPr>
        <p:spPr bwMode="auto">
          <a:xfrm>
            <a:off x="1312923" y="3630911"/>
            <a:ext cx="830106" cy="1018484"/>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kumimoji="0" lang="en-GB" sz="800" b="0" i="1" u="none" strike="noStrike" cap="none" normalizeH="0" baseline="0">
                <a:ln>
                  <a:noFill/>
                </a:ln>
                <a:solidFill>
                  <a:schemeClr val="tx1"/>
                </a:solidFill>
                <a:effectLst/>
                <a:latin typeface="Trebuchet MS" panose="020B0603020202020204" pitchFamily="34" charset="0"/>
              </a:rPr>
              <a:t>International data</a:t>
            </a:r>
          </a:p>
          <a:p>
            <a:pPr marL="0" marR="0" indent="0" algn="ctr" defTabSz="914400" rtl="0" eaLnBrk="1" fontAlgn="base" latinLnBrk="0" hangingPunct="1">
              <a:lnSpc>
                <a:spcPct val="100000"/>
              </a:lnSpc>
              <a:spcBef>
                <a:spcPct val="0"/>
              </a:spcBef>
              <a:spcAft>
                <a:spcPct val="0"/>
              </a:spcAft>
              <a:buClrTx/>
              <a:buSzTx/>
              <a:buFontTx/>
              <a:buNone/>
              <a:tabLst/>
            </a:pPr>
            <a:r>
              <a:rPr lang="en-GB" sz="900" i="1" err="1">
                <a:solidFill>
                  <a:srgbClr val="007AA9"/>
                </a:solidFill>
                <a:latin typeface="Trebuchet MS" panose="020B0603020202020204" pitchFamily="34" charset="0"/>
              </a:rPr>
              <a:t>Paydex</a:t>
            </a:r>
            <a:r>
              <a:rPr lang="en-GB" sz="900" i="1">
                <a:solidFill>
                  <a:srgbClr val="007AA9"/>
                </a:solidFill>
                <a:latin typeface="Trebuchet MS" panose="020B0603020202020204" pitchFamily="34" charset="0"/>
              </a:rPr>
              <a:t> data</a:t>
            </a:r>
            <a:endParaRPr kumimoji="0" lang="en-GB" sz="900" b="0" i="1" strike="noStrike" cap="none" normalizeH="0" baseline="0">
              <a:ln>
                <a:noFill/>
              </a:ln>
              <a:solidFill>
                <a:srgbClr val="007AA9"/>
              </a:solidFill>
              <a:effectLst/>
              <a:latin typeface="Trebuchet MS" panose="020B0603020202020204" pitchFamily="34" charset="0"/>
            </a:endParaRPr>
          </a:p>
        </p:txBody>
      </p:sp>
      <p:sp>
        <p:nvSpPr>
          <p:cNvPr id="227" name="Rectangle 226">
            <a:extLst>
              <a:ext uri="{FF2B5EF4-FFF2-40B4-BE49-F238E27FC236}">
                <a16:creationId xmlns:a16="http://schemas.microsoft.com/office/drawing/2014/main" id="{59C3D538-3BB2-4AE8-84F7-B2F720C2968D}"/>
              </a:ext>
            </a:extLst>
          </p:cNvPr>
          <p:cNvSpPr/>
          <p:nvPr/>
        </p:nvSpPr>
        <p:spPr bwMode="auto">
          <a:xfrm>
            <a:off x="158637" y="2462393"/>
            <a:ext cx="751124" cy="121555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0" i="1" u="none" strike="noStrike" normalizeH="0">
                <a:ln>
                  <a:noFill/>
                </a:ln>
                <a:effectLst/>
                <a:latin typeface="Trebuchet MS" panose="020B0603020202020204" pitchFamily="34" charset="0"/>
              </a:rPr>
              <a:t>France</a:t>
            </a:r>
          </a:p>
        </p:txBody>
      </p:sp>
      <p:pic>
        <p:nvPicPr>
          <p:cNvPr id="228" name="Picture 2" descr="Bodacc.fr | Bulletin officiel des annonces civiles et commerciales">
            <a:extLst>
              <a:ext uri="{FF2B5EF4-FFF2-40B4-BE49-F238E27FC236}">
                <a16:creationId xmlns:a16="http://schemas.microsoft.com/office/drawing/2014/main" id="{0B13241C-854C-4B08-AD43-8988EBFC17F5}"/>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l="4179" t="16619" r="43705" b="52041"/>
          <a:stretch/>
        </p:blipFill>
        <p:spPr bwMode="auto">
          <a:xfrm>
            <a:off x="258782" y="2670702"/>
            <a:ext cx="596305" cy="118390"/>
          </a:xfrm>
          <a:prstGeom prst="rect">
            <a:avLst/>
          </a:prstGeom>
          <a:noFill/>
          <a:extLst>
            <a:ext uri="{909E8E84-426E-40DD-AFC4-6F175D3DCCD1}">
              <a14:hiddenFill xmlns:a14="http://schemas.microsoft.com/office/drawing/2010/main">
                <a:solidFill>
                  <a:srgbClr val="FFFFFF"/>
                </a:solidFill>
              </a14:hiddenFill>
            </a:ext>
          </a:extLst>
        </p:spPr>
      </p:pic>
      <p:pic>
        <p:nvPicPr>
          <p:cNvPr id="229" name="Picture 4" descr="Institut national de la statistique et des études économiques — Wikipédia">
            <a:extLst>
              <a:ext uri="{FF2B5EF4-FFF2-40B4-BE49-F238E27FC236}">
                <a16:creationId xmlns:a16="http://schemas.microsoft.com/office/drawing/2014/main" id="{31161503-8E0C-4E4A-A64B-E506D4D002ED}"/>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45250" y="2905661"/>
            <a:ext cx="332505" cy="384276"/>
          </a:xfrm>
          <a:prstGeom prst="rect">
            <a:avLst/>
          </a:prstGeom>
          <a:noFill/>
          <a:extLst>
            <a:ext uri="{909E8E84-426E-40DD-AFC4-6F175D3DCCD1}">
              <a14:hiddenFill xmlns:a14="http://schemas.microsoft.com/office/drawing/2010/main">
                <a:solidFill>
                  <a:srgbClr val="FFFFFF"/>
                </a:solidFill>
              </a14:hiddenFill>
            </a:ext>
          </a:extLst>
        </p:spPr>
      </p:pic>
      <p:sp>
        <p:nvSpPr>
          <p:cNvPr id="230" name="Rectangle 229">
            <a:extLst>
              <a:ext uri="{FF2B5EF4-FFF2-40B4-BE49-F238E27FC236}">
                <a16:creationId xmlns:a16="http://schemas.microsoft.com/office/drawing/2014/main" id="{ECB1F766-EE25-4434-9A0B-BAAEAA3AB6FC}"/>
              </a:ext>
            </a:extLst>
          </p:cNvPr>
          <p:cNvSpPr/>
          <p:nvPr/>
        </p:nvSpPr>
        <p:spPr bwMode="auto">
          <a:xfrm>
            <a:off x="157394" y="3854131"/>
            <a:ext cx="751124" cy="121555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0" i="1" u="none" strike="noStrike" normalizeH="0">
                <a:ln>
                  <a:noFill/>
                </a:ln>
                <a:effectLst/>
                <a:latin typeface="Trebuchet MS" panose="020B0603020202020204" pitchFamily="34" charset="0"/>
              </a:rPr>
              <a:t>Benelux</a:t>
            </a:r>
          </a:p>
        </p:txBody>
      </p:sp>
      <p:sp>
        <p:nvSpPr>
          <p:cNvPr id="231" name="Rectangle 230">
            <a:extLst>
              <a:ext uri="{FF2B5EF4-FFF2-40B4-BE49-F238E27FC236}">
                <a16:creationId xmlns:a16="http://schemas.microsoft.com/office/drawing/2014/main" id="{67A90DF4-CA11-47CE-880B-47A55CACEE52}"/>
              </a:ext>
            </a:extLst>
          </p:cNvPr>
          <p:cNvSpPr/>
          <p:nvPr/>
        </p:nvSpPr>
        <p:spPr bwMode="auto">
          <a:xfrm>
            <a:off x="158637" y="5184954"/>
            <a:ext cx="751124" cy="121555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lang="en-GB" sz="900" i="1">
                <a:latin typeface="Trebuchet MS" panose="020B0603020202020204" pitchFamily="34" charset="0"/>
              </a:rPr>
              <a:t>Rest of the world</a:t>
            </a:r>
            <a:endParaRPr kumimoji="0" lang="en-GB" sz="900" b="0" i="1" u="none" strike="noStrike" normalizeH="0">
              <a:ln>
                <a:noFill/>
              </a:ln>
              <a:effectLst/>
              <a:latin typeface="Trebuchet MS" panose="020B0603020202020204" pitchFamily="34" charset="0"/>
            </a:endParaRPr>
          </a:p>
        </p:txBody>
      </p:sp>
      <p:pic>
        <p:nvPicPr>
          <p:cNvPr id="232" name="Picture 6" descr="Page 3 | INPI.fr">
            <a:extLst>
              <a:ext uri="{FF2B5EF4-FFF2-40B4-BE49-F238E27FC236}">
                <a16:creationId xmlns:a16="http://schemas.microsoft.com/office/drawing/2014/main" id="{BE0BF433-FE52-48C0-A5E2-09AC5E2A6B47}"/>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rot="282337">
            <a:off x="293302" y="3315407"/>
            <a:ext cx="497051" cy="329623"/>
          </a:xfrm>
          <a:prstGeom prst="rect">
            <a:avLst/>
          </a:prstGeom>
          <a:noFill/>
          <a:extLst>
            <a:ext uri="{909E8E84-426E-40DD-AFC4-6F175D3DCCD1}">
              <a14:hiddenFill xmlns:a14="http://schemas.microsoft.com/office/drawing/2010/main">
                <a:solidFill>
                  <a:srgbClr val="FFFFFF"/>
                </a:solidFill>
              </a14:hiddenFill>
            </a:ext>
          </a:extLst>
        </p:spPr>
      </p:pic>
      <p:sp>
        <p:nvSpPr>
          <p:cNvPr id="233" name="ZoneTexte 232">
            <a:extLst>
              <a:ext uri="{FF2B5EF4-FFF2-40B4-BE49-F238E27FC236}">
                <a16:creationId xmlns:a16="http://schemas.microsoft.com/office/drawing/2014/main" id="{C2905768-456D-4588-A84A-97ECF5F1E111}"/>
              </a:ext>
            </a:extLst>
          </p:cNvPr>
          <p:cNvSpPr txBox="1"/>
          <p:nvPr/>
        </p:nvSpPr>
        <p:spPr>
          <a:xfrm>
            <a:off x="198727" y="4478719"/>
            <a:ext cx="739414" cy="400110"/>
          </a:xfrm>
          <a:prstGeom prst="rect">
            <a:avLst/>
          </a:prstGeom>
          <a:noFill/>
        </p:spPr>
        <p:txBody>
          <a:bodyPr wrap="square" rtlCol="0">
            <a:spAutoFit/>
          </a:bodyPr>
          <a:lstStyle/>
          <a:p>
            <a:pPr algn="ctr"/>
            <a:r>
              <a:rPr lang="en-GB" sz="1000" i="1">
                <a:latin typeface="Trebuchet MS" panose="020B0603020202020204" pitchFamily="34" charset="0"/>
              </a:rPr>
              <a:t>KBO entries</a:t>
            </a:r>
          </a:p>
        </p:txBody>
      </p:sp>
      <p:sp>
        <p:nvSpPr>
          <p:cNvPr id="234" name="Rectangle 233">
            <a:extLst>
              <a:ext uri="{FF2B5EF4-FFF2-40B4-BE49-F238E27FC236}">
                <a16:creationId xmlns:a16="http://schemas.microsoft.com/office/drawing/2014/main" id="{571C786D-2DAE-4A3B-8D5C-8D3CB56E55D3}"/>
              </a:ext>
            </a:extLst>
          </p:cNvPr>
          <p:cNvSpPr/>
          <p:nvPr/>
        </p:nvSpPr>
        <p:spPr bwMode="auto">
          <a:xfrm>
            <a:off x="1049135" y="5908746"/>
            <a:ext cx="7528681" cy="569065"/>
          </a:xfrm>
          <a:prstGeom prst="rect">
            <a:avLst/>
          </a:prstGeom>
          <a:gradFill flip="none" rotWithShape="1">
            <a:gsLst>
              <a:gs pos="0">
                <a:srgbClr val="F2F2F2">
                  <a:alpha val="34000"/>
                </a:srgbClr>
              </a:gs>
              <a:gs pos="100000">
                <a:srgbClr val="E9F5EC"/>
              </a:gs>
            </a:gsLst>
            <a:lin ang="0" scaled="1"/>
            <a:tileRect/>
          </a:gradFill>
          <a:ln w="9525" cap="flat" cmpd="sng" algn="ctr">
            <a:solidFill>
              <a:schemeClr val="bg1">
                <a:lumMod val="85000"/>
              </a:schemeClr>
            </a:solidFill>
            <a:prstDash val="lgDash"/>
            <a:round/>
            <a:headEnd type="none" w="med" len="med"/>
            <a:tailEnd type="none" w="med" len="med"/>
          </a:ln>
          <a:effectLst/>
        </p:spPr>
        <p:txBody>
          <a:bodyPr vert="horz" wrap="square" lIns="91440" tIns="36000" rIns="91440" bIns="45720" numCol="1" rtlCol="0" anchor="t" anchorCtr="0" compatLnSpc="1">
            <a:prstTxWarp prst="textNoShape">
              <a:avLst/>
            </a:prstTxWarp>
          </a:bodyPr>
          <a:lstStyle/>
          <a:p>
            <a:pPr algn="ctr"/>
            <a:endParaRPr lang="en-GB" sz="1200" cap="small">
              <a:solidFill>
                <a:schemeClr val="accent1">
                  <a:lumMod val="75000"/>
                </a:schemeClr>
              </a:solidFill>
              <a:latin typeface="Trebuchet MS" pitchFamily="34" charset="0"/>
            </a:endParaRPr>
          </a:p>
        </p:txBody>
      </p:sp>
      <p:pic>
        <p:nvPicPr>
          <p:cNvPr id="235" name="Picture 2" descr="Dun &amp; Bradstreet - Bâtir des relations">
            <a:extLst>
              <a:ext uri="{FF2B5EF4-FFF2-40B4-BE49-F238E27FC236}">
                <a16:creationId xmlns:a16="http://schemas.microsoft.com/office/drawing/2014/main" id="{8F196962-4FAE-45AC-AE64-A2FD6A88EC3B}"/>
              </a:ext>
            </a:extLst>
          </p:cNvPr>
          <p:cNvPicPr>
            <a:picLocks noChangeAspect="1" noChangeArrowheads="1"/>
          </p:cNvPicPr>
          <p:nvPr/>
        </p:nvPicPr>
        <p:blipFill>
          <a:blip r:embed="rId3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25134" y="6148308"/>
            <a:ext cx="1653727" cy="241872"/>
          </a:xfrm>
          <a:prstGeom prst="rect">
            <a:avLst/>
          </a:prstGeom>
          <a:noFill/>
          <a:extLst>
            <a:ext uri="{909E8E84-426E-40DD-AFC4-6F175D3DCCD1}">
              <a14:hiddenFill xmlns:a14="http://schemas.microsoft.com/office/drawing/2010/main">
                <a:solidFill>
                  <a:srgbClr val="FFFFFF"/>
                </a:solidFill>
              </a14:hiddenFill>
            </a:ext>
          </a:extLst>
        </p:spPr>
      </p:pic>
      <p:cxnSp>
        <p:nvCxnSpPr>
          <p:cNvPr id="236" name="Straight Arrow Connector 41">
            <a:extLst>
              <a:ext uri="{FF2B5EF4-FFF2-40B4-BE49-F238E27FC236}">
                <a16:creationId xmlns:a16="http://schemas.microsoft.com/office/drawing/2014/main" id="{DDE6FEDF-8182-4C3A-8D1D-825F15643136}"/>
              </a:ext>
            </a:extLst>
          </p:cNvPr>
          <p:cNvCxnSpPr>
            <a:cxnSpLocks/>
          </p:cNvCxnSpPr>
          <p:nvPr/>
        </p:nvCxnSpPr>
        <p:spPr bwMode="auto">
          <a:xfrm>
            <a:off x="4547856" y="57093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237" name="Straight Arrow Connector 128">
            <a:extLst>
              <a:ext uri="{FF2B5EF4-FFF2-40B4-BE49-F238E27FC236}">
                <a16:creationId xmlns:a16="http://schemas.microsoft.com/office/drawing/2014/main" id="{30ACA05F-A3E2-424F-AFA1-BCA2A8E2E561}"/>
              </a:ext>
            </a:extLst>
          </p:cNvPr>
          <p:cNvCxnSpPr>
            <a:cxnSpLocks/>
          </p:cNvCxnSpPr>
          <p:nvPr/>
        </p:nvCxnSpPr>
        <p:spPr bwMode="auto">
          <a:xfrm>
            <a:off x="4799935"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238" name="Straight Arrow Connector 129">
            <a:extLst>
              <a:ext uri="{FF2B5EF4-FFF2-40B4-BE49-F238E27FC236}">
                <a16:creationId xmlns:a16="http://schemas.microsoft.com/office/drawing/2014/main" id="{D1E752A3-0A2B-40D5-B52E-7D2AB19F06BF}"/>
              </a:ext>
            </a:extLst>
          </p:cNvPr>
          <p:cNvCxnSpPr>
            <a:cxnSpLocks/>
          </p:cNvCxnSpPr>
          <p:nvPr/>
        </p:nvCxnSpPr>
        <p:spPr bwMode="auto">
          <a:xfrm>
            <a:off x="4295776"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sp>
        <p:nvSpPr>
          <p:cNvPr id="239" name="TextBox 50">
            <a:extLst>
              <a:ext uri="{FF2B5EF4-FFF2-40B4-BE49-F238E27FC236}">
                <a16:creationId xmlns:a16="http://schemas.microsoft.com/office/drawing/2014/main" id="{8BB0FC62-D1FC-449E-8E04-7D24C920B5E4}"/>
              </a:ext>
            </a:extLst>
          </p:cNvPr>
          <p:cNvSpPr txBox="1"/>
          <p:nvPr/>
        </p:nvSpPr>
        <p:spPr>
          <a:xfrm>
            <a:off x="1363091" y="5987036"/>
            <a:ext cx="1198432" cy="153888"/>
          </a:xfrm>
          <a:prstGeom prst="rect">
            <a:avLst/>
          </a:prstGeom>
          <a:noFill/>
        </p:spPr>
        <p:txBody>
          <a:bodyPr wrap="square" lIns="0" tIns="0" rIns="0" bIns="0" rtlCol="0" anchor="ctr">
            <a:spAutoFit/>
          </a:bodyPr>
          <a:lstStyle/>
          <a:p>
            <a:r>
              <a:rPr lang="en-GB" sz="1000">
                <a:solidFill>
                  <a:schemeClr val="tx2"/>
                </a:solidFill>
                <a:latin typeface="Trebuchet MS" panose="020B0603020202020204" pitchFamily="34" charset="0"/>
              </a:rPr>
              <a:t>Partnership with </a:t>
            </a:r>
          </a:p>
        </p:txBody>
      </p:sp>
      <p:cxnSp>
        <p:nvCxnSpPr>
          <p:cNvPr id="240" name="Straight Arrow Connector 41">
            <a:extLst>
              <a:ext uri="{FF2B5EF4-FFF2-40B4-BE49-F238E27FC236}">
                <a16:creationId xmlns:a16="http://schemas.microsoft.com/office/drawing/2014/main" id="{EB608E36-BFB8-4732-8E3E-F60B9F57DCD9}"/>
              </a:ext>
            </a:extLst>
          </p:cNvPr>
          <p:cNvCxnSpPr>
            <a:cxnSpLocks/>
          </p:cNvCxnSpPr>
          <p:nvPr/>
        </p:nvCxnSpPr>
        <p:spPr bwMode="auto">
          <a:xfrm>
            <a:off x="1719815" y="57093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241" name="Straight Arrow Connector 128">
            <a:extLst>
              <a:ext uri="{FF2B5EF4-FFF2-40B4-BE49-F238E27FC236}">
                <a16:creationId xmlns:a16="http://schemas.microsoft.com/office/drawing/2014/main" id="{BFF15896-7611-4D9F-B3E0-6E4012D16ED0}"/>
              </a:ext>
            </a:extLst>
          </p:cNvPr>
          <p:cNvCxnSpPr>
            <a:cxnSpLocks/>
          </p:cNvCxnSpPr>
          <p:nvPr/>
        </p:nvCxnSpPr>
        <p:spPr bwMode="auto">
          <a:xfrm>
            <a:off x="1971894"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242" name="Straight Arrow Connector 129">
            <a:extLst>
              <a:ext uri="{FF2B5EF4-FFF2-40B4-BE49-F238E27FC236}">
                <a16:creationId xmlns:a16="http://schemas.microsoft.com/office/drawing/2014/main" id="{F196B510-5D97-4D57-BABF-58C433B3ADCD}"/>
              </a:ext>
            </a:extLst>
          </p:cNvPr>
          <p:cNvCxnSpPr>
            <a:cxnSpLocks/>
          </p:cNvCxnSpPr>
          <p:nvPr/>
        </p:nvCxnSpPr>
        <p:spPr bwMode="auto">
          <a:xfrm>
            <a:off x="1467735"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243" name="Straight Arrow Connector 41">
            <a:extLst>
              <a:ext uri="{FF2B5EF4-FFF2-40B4-BE49-F238E27FC236}">
                <a16:creationId xmlns:a16="http://schemas.microsoft.com/office/drawing/2014/main" id="{E0388EDD-FEFE-4454-9CB5-065256F764C9}"/>
              </a:ext>
            </a:extLst>
          </p:cNvPr>
          <p:cNvCxnSpPr>
            <a:cxnSpLocks/>
          </p:cNvCxnSpPr>
          <p:nvPr/>
        </p:nvCxnSpPr>
        <p:spPr bwMode="auto">
          <a:xfrm>
            <a:off x="7934116" y="57093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244" name="Straight Arrow Connector 128">
            <a:extLst>
              <a:ext uri="{FF2B5EF4-FFF2-40B4-BE49-F238E27FC236}">
                <a16:creationId xmlns:a16="http://schemas.microsoft.com/office/drawing/2014/main" id="{AF5C0C47-3774-4402-A7EE-3E985A4B0576}"/>
              </a:ext>
            </a:extLst>
          </p:cNvPr>
          <p:cNvCxnSpPr>
            <a:cxnSpLocks/>
          </p:cNvCxnSpPr>
          <p:nvPr/>
        </p:nvCxnSpPr>
        <p:spPr bwMode="auto">
          <a:xfrm>
            <a:off x="8186195"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245" name="Straight Arrow Connector 129">
            <a:extLst>
              <a:ext uri="{FF2B5EF4-FFF2-40B4-BE49-F238E27FC236}">
                <a16:creationId xmlns:a16="http://schemas.microsoft.com/office/drawing/2014/main" id="{A67D3A82-6928-4D9E-A92E-46CDC8482991}"/>
              </a:ext>
            </a:extLst>
          </p:cNvPr>
          <p:cNvCxnSpPr>
            <a:cxnSpLocks/>
          </p:cNvCxnSpPr>
          <p:nvPr/>
        </p:nvCxnSpPr>
        <p:spPr bwMode="auto">
          <a:xfrm>
            <a:off x="7682036"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pic>
        <p:nvPicPr>
          <p:cNvPr id="246" name="Picture 10" descr="The NBB and the FSMA clarify the regulatory framework of EEA banks which  operate in Belgium based on the freedom to provide services (especially  internet banks without a permanent establishment in Belgium) |">
            <a:extLst>
              <a:ext uri="{FF2B5EF4-FFF2-40B4-BE49-F238E27FC236}">
                <a16:creationId xmlns:a16="http://schemas.microsoft.com/office/drawing/2014/main" id="{811760C1-99A2-4330-896F-45FDB2630BBB}"/>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286034" y="4169589"/>
            <a:ext cx="588237" cy="204846"/>
          </a:xfrm>
          <a:prstGeom prst="rect">
            <a:avLst/>
          </a:prstGeom>
          <a:noFill/>
          <a:extLst>
            <a:ext uri="{909E8E84-426E-40DD-AFC4-6F175D3DCCD1}">
              <a14:hiddenFill xmlns:a14="http://schemas.microsoft.com/office/drawing/2010/main">
                <a:solidFill>
                  <a:srgbClr val="FFFFFF"/>
                </a:solidFill>
              </a14:hiddenFill>
            </a:ext>
          </a:extLst>
        </p:spPr>
      </p:pic>
      <p:sp>
        <p:nvSpPr>
          <p:cNvPr id="247" name="ZoneTexte 246">
            <a:extLst>
              <a:ext uri="{FF2B5EF4-FFF2-40B4-BE49-F238E27FC236}">
                <a16:creationId xmlns:a16="http://schemas.microsoft.com/office/drawing/2014/main" id="{7E402868-D58F-4E16-81D9-87D15AAB7A41}"/>
              </a:ext>
            </a:extLst>
          </p:cNvPr>
          <p:cNvSpPr txBox="1"/>
          <p:nvPr/>
        </p:nvSpPr>
        <p:spPr>
          <a:xfrm>
            <a:off x="3118233" y="1625691"/>
            <a:ext cx="3475442" cy="553998"/>
          </a:xfrm>
          <a:prstGeom prst="rect">
            <a:avLst/>
          </a:prstGeom>
          <a:noFill/>
        </p:spPr>
        <p:txBody>
          <a:bodyPr wrap="square" rtlCol="0">
            <a:spAutoFit/>
          </a:bodyPr>
          <a:lstStyle/>
          <a:p>
            <a:pPr algn="ctr"/>
            <a:r>
              <a:rPr lang="en-GB" sz="1000" b="1" i="1">
                <a:latin typeface="Trebuchet MS" panose="020B0603020202020204" pitchFamily="34" charset="0"/>
              </a:rPr>
              <a:t>An </a:t>
            </a:r>
            <a:r>
              <a:rPr lang="en-GB" sz="1000" b="1" i="1">
                <a:solidFill>
                  <a:schemeClr val="accent1">
                    <a:lumMod val="75000"/>
                  </a:schemeClr>
                </a:solidFill>
                <a:latin typeface="Trebuchet MS" panose="020B0603020202020204" pitchFamily="34" charset="0"/>
              </a:rPr>
              <a:t>efficient upstream and downstream operational model</a:t>
            </a:r>
            <a:r>
              <a:rPr lang="en-GB" sz="1000" b="1" i="1">
                <a:solidFill>
                  <a:schemeClr val="tx2"/>
                </a:solidFill>
                <a:latin typeface="Trebuchet MS" panose="020B0603020202020204" pitchFamily="34" charset="0"/>
              </a:rPr>
              <a:t> </a:t>
            </a:r>
            <a:r>
              <a:rPr lang="en-GB" sz="1000" b="1" i="1">
                <a:latin typeface="Trebuchet MS" panose="020B0603020202020204" pitchFamily="34" charset="0"/>
              </a:rPr>
              <a:t>supported by a </a:t>
            </a:r>
            <a:r>
              <a:rPr lang="en-GB" sz="1000" b="1" i="1">
                <a:solidFill>
                  <a:schemeClr val="accent1">
                    <a:lumMod val="75000"/>
                  </a:schemeClr>
                </a:solidFill>
                <a:latin typeface="Trebuchet MS" panose="020B0603020202020204" pitchFamily="34" charset="0"/>
              </a:rPr>
              <a:t>robust IT architecture </a:t>
            </a:r>
            <a:r>
              <a:rPr lang="en-GB" sz="1000" b="1" i="1">
                <a:latin typeface="Trebuchet MS" panose="020B0603020202020204" pitchFamily="34" charset="0"/>
              </a:rPr>
              <a:t>being </a:t>
            </a:r>
            <a:r>
              <a:rPr lang="en-GB" sz="1000" b="1" i="1">
                <a:solidFill>
                  <a:schemeClr val="accent1">
                    <a:lumMod val="75000"/>
                  </a:schemeClr>
                </a:solidFill>
                <a:latin typeface="Trebuchet MS" panose="020B0603020202020204" pitchFamily="34" charset="0"/>
              </a:rPr>
              <a:t>modernized</a:t>
            </a:r>
            <a:r>
              <a:rPr lang="en-GB" sz="1000" b="1" i="1">
                <a:latin typeface="Trebuchet MS" panose="020B0603020202020204" pitchFamily="34" charset="0"/>
              </a:rPr>
              <a:t> within the </a:t>
            </a:r>
            <a:r>
              <a:rPr lang="en-GB" sz="1000" b="1" i="1">
                <a:solidFill>
                  <a:schemeClr val="accent1">
                    <a:lumMod val="75000"/>
                  </a:schemeClr>
                </a:solidFill>
                <a:latin typeface="Trebuchet MS" panose="020B0603020202020204" pitchFamily="34" charset="0"/>
              </a:rPr>
              <a:t>“</a:t>
            </a:r>
            <a:r>
              <a:rPr lang="en-GB" sz="1000" b="1" i="1" err="1">
                <a:solidFill>
                  <a:schemeClr val="accent1">
                    <a:lumMod val="75000"/>
                  </a:schemeClr>
                </a:solidFill>
                <a:latin typeface="Trebuchet MS" panose="020B0603020202020204" pitchFamily="34" charset="0"/>
              </a:rPr>
              <a:t>DataHub</a:t>
            </a:r>
            <a:r>
              <a:rPr lang="en-GB" sz="1000" b="1" i="1">
                <a:solidFill>
                  <a:schemeClr val="accent1">
                    <a:lumMod val="75000"/>
                  </a:schemeClr>
                </a:solidFill>
                <a:latin typeface="Trebuchet MS" panose="020B0603020202020204" pitchFamily="34" charset="0"/>
              </a:rPr>
              <a:t>” project</a:t>
            </a:r>
          </a:p>
        </p:txBody>
      </p:sp>
      <p:sp>
        <p:nvSpPr>
          <p:cNvPr id="248" name="ZoneTexte 247">
            <a:extLst>
              <a:ext uri="{FF2B5EF4-FFF2-40B4-BE49-F238E27FC236}">
                <a16:creationId xmlns:a16="http://schemas.microsoft.com/office/drawing/2014/main" id="{A8E1AE40-657F-41DB-B827-601C9890CCB5}"/>
              </a:ext>
            </a:extLst>
          </p:cNvPr>
          <p:cNvSpPr txBox="1"/>
          <p:nvPr/>
        </p:nvSpPr>
        <p:spPr>
          <a:xfrm>
            <a:off x="7432689" y="1577008"/>
            <a:ext cx="1107383" cy="1477328"/>
          </a:xfrm>
          <a:prstGeom prst="rect">
            <a:avLst/>
          </a:prstGeom>
          <a:noFill/>
        </p:spPr>
        <p:txBody>
          <a:bodyPr wrap="square" rtlCol="0">
            <a:spAutoFit/>
          </a:bodyPr>
          <a:lstStyle/>
          <a:p>
            <a:pPr algn="ctr"/>
            <a:r>
              <a:rPr lang="en-GB" sz="1000" b="1" i="1">
                <a:latin typeface="Trebuchet MS" panose="020B0603020202020204" pitchFamily="34" charset="0"/>
              </a:rPr>
              <a:t>A </a:t>
            </a:r>
            <a:r>
              <a:rPr lang="en-GB" sz="1000" b="1" i="1">
                <a:solidFill>
                  <a:schemeClr val="accent1">
                    <a:lumMod val="75000"/>
                  </a:schemeClr>
                </a:solidFill>
                <a:latin typeface="Trebuchet MS" panose="020B0603020202020204" pitchFamily="34" charset="0"/>
              </a:rPr>
              <a:t>strong and recognized high quality brand image </a:t>
            </a:r>
            <a:r>
              <a:rPr lang="en-GB" sz="1000" b="1" i="1">
                <a:latin typeface="Trebuchet MS" panose="020B0603020202020204" pitchFamily="34" charset="0"/>
              </a:rPr>
              <a:t>in </a:t>
            </a:r>
            <a:r>
              <a:rPr lang="en-GB" sz="1000" b="1" i="1">
                <a:solidFill>
                  <a:schemeClr val="accent1">
                    <a:lumMod val="75000"/>
                  </a:schemeClr>
                </a:solidFill>
                <a:latin typeface="Trebuchet MS" panose="020B0603020202020204" pitchFamily="34" charset="0"/>
              </a:rPr>
              <a:t>France</a:t>
            </a:r>
            <a:r>
              <a:rPr lang="en-GB" sz="1000" b="1" i="1">
                <a:latin typeface="Trebuchet MS" panose="020B0603020202020204" pitchFamily="34" charset="0"/>
              </a:rPr>
              <a:t>, leaning on </a:t>
            </a:r>
            <a:r>
              <a:rPr lang="en-GB" sz="1000" b="1" i="1">
                <a:solidFill>
                  <a:schemeClr val="accent1">
                    <a:lumMod val="75000"/>
                  </a:schemeClr>
                </a:solidFill>
                <a:latin typeface="Trebuchet MS" panose="020B0603020202020204" pitchFamily="34" charset="0"/>
              </a:rPr>
              <a:t>D&amp;B </a:t>
            </a:r>
            <a:r>
              <a:rPr lang="en-GB" sz="1000" b="1" i="1">
                <a:latin typeface="Trebuchet MS" panose="020B0603020202020204" pitchFamily="34" charset="0"/>
              </a:rPr>
              <a:t>to reinforce </a:t>
            </a:r>
            <a:r>
              <a:rPr lang="en-GB" sz="1000" b="1" i="1" err="1">
                <a:solidFill>
                  <a:schemeClr val="accent1">
                    <a:lumMod val="75000"/>
                  </a:schemeClr>
                </a:solidFill>
                <a:latin typeface="Trebuchet MS" panose="020B0603020202020204" pitchFamily="34" charset="0"/>
              </a:rPr>
              <a:t>Altares</a:t>
            </a:r>
            <a:r>
              <a:rPr lang="en-GB" sz="1000" b="1" i="1">
                <a:solidFill>
                  <a:schemeClr val="accent1">
                    <a:lumMod val="75000"/>
                  </a:schemeClr>
                </a:solidFill>
                <a:latin typeface="Trebuchet MS" panose="020B0603020202020204" pitchFamily="34" charset="0"/>
              </a:rPr>
              <a:t> brand in Benelux</a:t>
            </a:r>
          </a:p>
        </p:txBody>
      </p:sp>
      <p:sp>
        <p:nvSpPr>
          <p:cNvPr id="249" name="ZoneTexte 248">
            <a:extLst>
              <a:ext uri="{FF2B5EF4-FFF2-40B4-BE49-F238E27FC236}">
                <a16:creationId xmlns:a16="http://schemas.microsoft.com/office/drawing/2014/main" id="{46FA2988-C248-4387-8D81-CFF0FA5696FB}"/>
              </a:ext>
            </a:extLst>
          </p:cNvPr>
          <p:cNvSpPr txBox="1"/>
          <p:nvPr/>
        </p:nvSpPr>
        <p:spPr>
          <a:xfrm>
            <a:off x="5108" y="1625691"/>
            <a:ext cx="1082419" cy="707886"/>
          </a:xfrm>
          <a:prstGeom prst="rect">
            <a:avLst/>
          </a:prstGeom>
          <a:noFill/>
        </p:spPr>
        <p:txBody>
          <a:bodyPr wrap="square" rtlCol="0">
            <a:spAutoFit/>
          </a:bodyPr>
          <a:lstStyle/>
          <a:p>
            <a:pPr algn="ctr"/>
            <a:r>
              <a:rPr lang="en-GB" sz="1000" b="1" i="1">
                <a:solidFill>
                  <a:schemeClr val="accent1">
                    <a:lumMod val="75000"/>
                  </a:schemeClr>
                </a:solidFill>
                <a:latin typeface="Trebuchet MS" panose="020B0603020202020204" pitchFamily="34" charset="0"/>
              </a:rPr>
              <a:t>Diversified, local </a:t>
            </a:r>
            <a:r>
              <a:rPr lang="en-GB" sz="1000" b="1" i="1">
                <a:latin typeface="Trebuchet MS" panose="020B0603020202020204" pitchFamily="34" charset="0"/>
              </a:rPr>
              <a:t>and </a:t>
            </a:r>
            <a:r>
              <a:rPr lang="en-GB" sz="1000" b="1" i="1">
                <a:solidFill>
                  <a:schemeClr val="accent1">
                    <a:lumMod val="75000"/>
                  </a:schemeClr>
                </a:solidFill>
                <a:latin typeface="Trebuchet MS" panose="020B0603020202020204" pitchFamily="34" charset="0"/>
              </a:rPr>
              <a:t>international</a:t>
            </a:r>
            <a:r>
              <a:rPr lang="en-GB" sz="1000" b="1" i="1">
                <a:latin typeface="Trebuchet MS" panose="020B0603020202020204" pitchFamily="34" charset="0"/>
              </a:rPr>
              <a:t> data providers</a:t>
            </a:r>
            <a:endParaRPr lang="en-GB" sz="1000" b="1" i="1">
              <a:solidFill>
                <a:schemeClr val="tx2"/>
              </a:solidFill>
              <a:latin typeface="Trebuchet MS" panose="020B0603020202020204" pitchFamily="34" charset="0"/>
            </a:endParaRPr>
          </a:p>
        </p:txBody>
      </p:sp>
      <p:sp>
        <p:nvSpPr>
          <p:cNvPr id="250" name="ZoneTexte 249">
            <a:extLst>
              <a:ext uri="{FF2B5EF4-FFF2-40B4-BE49-F238E27FC236}">
                <a16:creationId xmlns:a16="http://schemas.microsoft.com/office/drawing/2014/main" id="{01A2F0C1-3330-4E8A-AE52-E90EDC972A50}"/>
              </a:ext>
            </a:extLst>
          </p:cNvPr>
          <p:cNvSpPr txBox="1"/>
          <p:nvPr/>
        </p:nvSpPr>
        <p:spPr>
          <a:xfrm>
            <a:off x="1149825" y="1625691"/>
            <a:ext cx="1082419" cy="861774"/>
          </a:xfrm>
          <a:prstGeom prst="rect">
            <a:avLst/>
          </a:prstGeom>
          <a:noFill/>
        </p:spPr>
        <p:txBody>
          <a:bodyPr wrap="square" rtlCol="0">
            <a:spAutoFit/>
          </a:bodyPr>
          <a:lstStyle/>
          <a:p>
            <a:pPr algn="ctr"/>
            <a:r>
              <a:rPr lang="en-GB" sz="1000" b="1" i="1">
                <a:latin typeface="Trebuchet MS" panose="020B0603020202020204" pitchFamily="34" charset="0"/>
              </a:rPr>
              <a:t>Rich and </a:t>
            </a:r>
            <a:r>
              <a:rPr lang="en-GB" sz="1000" b="1" i="1">
                <a:solidFill>
                  <a:schemeClr val="accent1">
                    <a:lumMod val="75000"/>
                  </a:schemeClr>
                </a:solidFill>
                <a:latin typeface="Trebuchet MS" panose="020B0603020202020204" pitchFamily="34" charset="0"/>
              </a:rPr>
              <a:t>highly differentiating data </a:t>
            </a:r>
            <a:r>
              <a:rPr lang="en-GB" sz="1000" b="1" i="1">
                <a:latin typeface="Trebuchet MS" panose="020B0603020202020204" pitchFamily="34" charset="0"/>
              </a:rPr>
              <a:t>(e.g. </a:t>
            </a:r>
            <a:r>
              <a:rPr lang="en-GB" sz="1000" b="1" i="1" err="1">
                <a:latin typeface="Trebuchet MS" panose="020B0603020202020204" pitchFamily="34" charset="0"/>
              </a:rPr>
              <a:t>Paydex</a:t>
            </a:r>
            <a:r>
              <a:rPr lang="en-GB" sz="1000" b="1" i="1">
                <a:latin typeface="Trebuchet MS" panose="020B0603020202020204" pitchFamily="34" charset="0"/>
              </a:rPr>
              <a:t>)</a:t>
            </a:r>
            <a:endParaRPr lang="en-GB" sz="1000" b="1" i="1">
              <a:solidFill>
                <a:schemeClr val="tx2"/>
              </a:solidFill>
              <a:latin typeface="Trebuchet MS" panose="020B0603020202020204" pitchFamily="34" charset="0"/>
            </a:endParaRPr>
          </a:p>
        </p:txBody>
      </p:sp>
      <p:sp>
        <p:nvSpPr>
          <p:cNvPr id="251" name="ZoneTexte 250">
            <a:extLst>
              <a:ext uri="{FF2B5EF4-FFF2-40B4-BE49-F238E27FC236}">
                <a16:creationId xmlns:a16="http://schemas.microsoft.com/office/drawing/2014/main" id="{4455E638-E9EF-4F3C-B119-B048BF292A0F}"/>
              </a:ext>
            </a:extLst>
          </p:cNvPr>
          <p:cNvSpPr txBox="1"/>
          <p:nvPr/>
        </p:nvSpPr>
        <p:spPr>
          <a:xfrm>
            <a:off x="8645616" y="1541087"/>
            <a:ext cx="1107383" cy="1169551"/>
          </a:xfrm>
          <a:prstGeom prst="rect">
            <a:avLst/>
          </a:prstGeom>
          <a:noFill/>
        </p:spPr>
        <p:txBody>
          <a:bodyPr wrap="square" rtlCol="0">
            <a:spAutoFit/>
          </a:bodyPr>
          <a:lstStyle/>
          <a:p>
            <a:pPr algn="ctr"/>
            <a:r>
              <a:rPr lang="en-GB" sz="1000" b="1" i="1">
                <a:latin typeface="Trebuchet MS" panose="020B0603020202020204" pitchFamily="34" charset="0"/>
              </a:rPr>
              <a:t>Strongly </a:t>
            </a:r>
            <a:r>
              <a:rPr lang="en-GB" sz="1000" b="1" i="1">
                <a:solidFill>
                  <a:schemeClr val="accent1">
                    <a:lumMod val="75000"/>
                  </a:schemeClr>
                </a:solidFill>
                <a:latin typeface="Trebuchet MS" panose="020B0603020202020204" pitchFamily="34" charset="0"/>
              </a:rPr>
              <a:t>resilient and diversified </a:t>
            </a:r>
            <a:r>
              <a:rPr lang="en-GB" sz="1000" b="1" i="1">
                <a:latin typeface="Trebuchet MS" panose="020B0603020202020204" pitchFamily="34" charset="0"/>
              </a:rPr>
              <a:t>client base, both in terms of </a:t>
            </a:r>
            <a:r>
              <a:rPr lang="en-GB" sz="1000" b="1" i="1">
                <a:solidFill>
                  <a:schemeClr val="accent1">
                    <a:lumMod val="75000"/>
                  </a:schemeClr>
                </a:solidFill>
                <a:latin typeface="Trebuchet MS" panose="020B0603020202020204" pitchFamily="34" charset="0"/>
              </a:rPr>
              <a:t>size, sector and geography</a:t>
            </a:r>
            <a:endParaRPr lang="en-GB" sz="1000" b="1" i="1">
              <a:latin typeface="Trebuchet MS" panose="020B0603020202020204" pitchFamily="34" charset="0"/>
            </a:endParaRPr>
          </a:p>
        </p:txBody>
      </p:sp>
      <p:sp>
        <p:nvSpPr>
          <p:cNvPr id="252" name="ZoneTexte 251">
            <a:extLst>
              <a:ext uri="{FF2B5EF4-FFF2-40B4-BE49-F238E27FC236}">
                <a16:creationId xmlns:a16="http://schemas.microsoft.com/office/drawing/2014/main" id="{53C71C90-2C71-4091-A1EB-1E0D051FE238}"/>
              </a:ext>
            </a:extLst>
          </p:cNvPr>
          <p:cNvSpPr txBox="1"/>
          <p:nvPr/>
        </p:nvSpPr>
        <p:spPr>
          <a:xfrm>
            <a:off x="3727035" y="6070306"/>
            <a:ext cx="4580174" cy="400110"/>
          </a:xfrm>
          <a:prstGeom prst="rect">
            <a:avLst/>
          </a:prstGeom>
          <a:noFill/>
        </p:spPr>
        <p:txBody>
          <a:bodyPr wrap="square" rtlCol="0">
            <a:spAutoFit/>
          </a:bodyPr>
          <a:lstStyle/>
          <a:p>
            <a:pPr algn="ctr"/>
            <a:r>
              <a:rPr lang="en-GB" sz="1000" b="1" i="1">
                <a:solidFill>
                  <a:schemeClr val="accent1">
                    <a:lumMod val="75000"/>
                  </a:schemeClr>
                </a:solidFill>
                <a:latin typeface="Trebuchet MS" panose="020B0603020202020204" pitchFamily="34" charset="0"/>
              </a:rPr>
              <a:t>Historical partnership </a:t>
            </a:r>
            <a:r>
              <a:rPr lang="en-GB" sz="1000" b="1" i="1">
                <a:latin typeface="Trebuchet MS" panose="020B0603020202020204" pitchFamily="34" charset="0"/>
              </a:rPr>
              <a:t>- running</a:t>
            </a:r>
            <a:r>
              <a:rPr lang="en-GB" sz="1000" b="1" i="1">
                <a:solidFill>
                  <a:schemeClr val="accent1">
                    <a:lumMod val="75000"/>
                  </a:schemeClr>
                </a:solidFill>
                <a:latin typeface="Trebuchet MS" panose="020B0603020202020204" pitchFamily="34" charset="0"/>
              </a:rPr>
              <a:t> until 2031 </a:t>
            </a:r>
            <a:r>
              <a:rPr lang="en-GB" sz="1000" b="1" i="1">
                <a:solidFill>
                  <a:schemeClr val="tx2"/>
                </a:solidFill>
                <a:latin typeface="Trebuchet MS" panose="020B0603020202020204" pitchFamily="34" charset="0"/>
              </a:rPr>
              <a:t>- </a:t>
            </a:r>
            <a:r>
              <a:rPr lang="en-GB" sz="1000" b="1" i="1">
                <a:latin typeface="Trebuchet MS" panose="020B0603020202020204" pitchFamily="34" charset="0"/>
              </a:rPr>
              <a:t>enabling </a:t>
            </a:r>
            <a:r>
              <a:rPr lang="en-GB" sz="1000" b="1" i="1" err="1">
                <a:latin typeface="Trebuchet MS" panose="020B0603020202020204" pitchFamily="34" charset="0"/>
              </a:rPr>
              <a:t>Altares</a:t>
            </a:r>
            <a:r>
              <a:rPr lang="en-GB" sz="1000" b="1" i="1">
                <a:latin typeface="Trebuchet MS" panose="020B0603020202020204" pitchFamily="34" charset="0"/>
              </a:rPr>
              <a:t> to benefit from </a:t>
            </a:r>
            <a:r>
              <a:rPr lang="en-GB" sz="1000" b="1" i="1">
                <a:solidFill>
                  <a:schemeClr val="accent1">
                    <a:lumMod val="75000"/>
                  </a:schemeClr>
                </a:solidFill>
                <a:latin typeface="Trebuchet MS" panose="020B0603020202020204" pitchFamily="34" charset="0"/>
              </a:rPr>
              <a:t>D&amp;B international data </a:t>
            </a:r>
            <a:r>
              <a:rPr lang="en-GB" sz="1000" b="1" i="1">
                <a:latin typeface="Trebuchet MS" panose="020B0603020202020204" pitchFamily="34" charset="0"/>
              </a:rPr>
              <a:t>and very </a:t>
            </a:r>
            <a:r>
              <a:rPr lang="en-GB" sz="1000" b="1" i="1">
                <a:solidFill>
                  <a:schemeClr val="accent1">
                    <a:lumMod val="75000"/>
                  </a:schemeClr>
                </a:solidFill>
                <a:latin typeface="Trebuchet MS" panose="020B0603020202020204" pitchFamily="34" charset="0"/>
              </a:rPr>
              <a:t>strong worldwide brand image</a:t>
            </a:r>
          </a:p>
        </p:txBody>
      </p:sp>
      <p:sp>
        <p:nvSpPr>
          <p:cNvPr id="253" name="Rectangle 252">
            <a:extLst>
              <a:ext uri="{FF2B5EF4-FFF2-40B4-BE49-F238E27FC236}">
                <a16:creationId xmlns:a16="http://schemas.microsoft.com/office/drawing/2014/main" id="{C707FA94-E038-4709-BC8A-FA31C6B4C5D1}"/>
              </a:ext>
            </a:extLst>
          </p:cNvPr>
          <p:cNvSpPr/>
          <p:nvPr/>
        </p:nvSpPr>
        <p:spPr bwMode="auto">
          <a:xfrm>
            <a:off x="1304680" y="4751609"/>
            <a:ext cx="830106" cy="396984"/>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kumimoji="0" lang="en-GB" sz="800" b="0" i="1" u="none" strike="noStrike" cap="none" normalizeH="0" baseline="0">
                <a:ln>
                  <a:noFill/>
                </a:ln>
                <a:solidFill>
                  <a:schemeClr val="tx1"/>
                </a:solidFill>
                <a:effectLst/>
                <a:latin typeface="Trebuchet MS" panose="020B0603020202020204" pitchFamily="34" charset="0"/>
              </a:rPr>
              <a:t>Compliance data</a:t>
            </a:r>
          </a:p>
        </p:txBody>
      </p:sp>
      <p:pic>
        <p:nvPicPr>
          <p:cNvPr id="254" name="Picture 22" descr="A close up of a logo&#10;&#10;Description automatically generated">
            <a:extLst>
              <a:ext uri="{FF2B5EF4-FFF2-40B4-BE49-F238E27FC236}">
                <a16:creationId xmlns:a16="http://schemas.microsoft.com/office/drawing/2014/main" id="{7B2D042B-3480-4819-89B3-F7F919C0B096}"/>
              </a:ext>
            </a:extLst>
          </p:cNvPr>
          <p:cNvPicPr>
            <a:picLocks noChangeAspect="1"/>
          </p:cNvPicPr>
          <p:nvPr/>
        </p:nvPicPr>
        <p:blipFill rotWithShape="1">
          <a:blip r:embed="rId36">
            <a:extLst>
              <a:ext uri="{28A0092B-C50C-407E-A947-70E740481C1C}">
                <a14:useLocalDpi xmlns:a14="http://schemas.microsoft.com/office/drawing/2010/main" val="0"/>
              </a:ext>
            </a:extLst>
          </a:blip>
          <a:srcRect l="11098" t="23043" r="7677" b="16712"/>
          <a:stretch/>
        </p:blipFill>
        <p:spPr>
          <a:xfrm>
            <a:off x="213068" y="5566101"/>
            <a:ext cx="717352" cy="248889"/>
          </a:xfrm>
          <a:prstGeom prst="rect">
            <a:avLst/>
          </a:prstGeom>
        </p:spPr>
      </p:pic>
      <p:pic>
        <p:nvPicPr>
          <p:cNvPr id="255" name="Picture 15" descr="RÃ©sultat de recherche d'images pour &quot;acuris&quot;">
            <a:extLst>
              <a:ext uri="{FF2B5EF4-FFF2-40B4-BE49-F238E27FC236}">
                <a16:creationId xmlns:a16="http://schemas.microsoft.com/office/drawing/2014/main" id="{8E28230F-C095-43DC-AF31-D408F4777C79}"/>
              </a:ext>
            </a:extLst>
          </p:cNvPr>
          <p:cNvPicPr>
            <a:picLocks noChangeAspect="1" noChangeArrowheads="1"/>
          </p:cNvPicPr>
          <p:nvPr/>
        </p:nvPicPr>
        <p:blipFill>
          <a:blip r:embed="rId3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1305" y="5753659"/>
            <a:ext cx="590732" cy="196087"/>
          </a:xfrm>
          <a:prstGeom prst="rect">
            <a:avLst/>
          </a:prstGeom>
          <a:noFill/>
          <a:extLst>
            <a:ext uri="{909E8E84-426E-40DD-AFC4-6F175D3DCCD1}">
              <a14:hiddenFill xmlns:a14="http://schemas.microsoft.com/office/drawing/2010/main">
                <a:solidFill>
                  <a:srgbClr val="FFFFFF"/>
                </a:solidFill>
              </a14:hiddenFill>
            </a:ext>
          </a:extLst>
        </p:spPr>
      </p:pic>
      <p:pic>
        <p:nvPicPr>
          <p:cNvPr id="256" name="Picture 2" descr="Financial Technology, Data, and Expertise | Refinitiv">
            <a:extLst>
              <a:ext uri="{FF2B5EF4-FFF2-40B4-BE49-F238E27FC236}">
                <a16:creationId xmlns:a16="http://schemas.microsoft.com/office/drawing/2014/main" id="{CCEAA255-5888-49F5-AF29-C2DAEE3412E3}"/>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245431" y="6004384"/>
            <a:ext cx="652626" cy="131844"/>
          </a:xfrm>
          <a:prstGeom prst="rect">
            <a:avLst/>
          </a:prstGeom>
          <a:noFill/>
          <a:extLst>
            <a:ext uri="{909E8E84-426E-40DD-AFC4-6F175D3DCCD1}">
              <a14:hiddenFill xmlns:a14="http://schemas.microsoft.com/office/drawing/2010/main">
                <a:solidFill>
                  <a:srgbClr val="FFFFFF"/>
                </a:solidFill>
              </a14:hiddenFill>
            </a:ext>
          </a:extLst>
        </p:spPr>
      </p:pic>
      <p:sp>
        <p:nvSpPr>
          <p:cNvPr id="257" name="Rectangle 256">
            <a:extLst>
              <a:ext uri="{FF2B5EF4-FFF2-40B4-BE49-F238E27FC236}">
                <a16:creationId xmlns:a16="http://schemas.microsoft.com/office/drawing/2014/main" id="{91A1B468-D5F2-47EF-B72B-1A21B947381E}"/>
              </a:ext>
            </a:extLst>
          </p:cNvPr>
          <p:cNvSpPr/>
          <p:nvPr/>
        </p:nvSpPr>
        <p:spPr bwMode="auto">
          <a:xfrm>
            <a:off x="2042314" y="4863868"/>
            <a:ext cx="114477" cy="14307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itchFamily="34" charset="0"/>
              </a:rPr>
              <a:t>*</a:t>
            </a:r>
          </a:p>
        </p:txBody>
      </p:sp>
      <p:pic>
        <p:nvPicPr>
          <p:cNvPr id="258" name="Picture 2" descr="Dun &amp; Bradstreet - Bâtir des relations">
            <a:extLst>
              <a:ext uri="{FF2B5EF4-FFF2-40B4-BE49-F238E27FC236}">
                <a16:creationId xmlns:a16="http://schemas.microsoft.com/office/drawing/2014/main" id="{6F622106-853D-48B5-9583-10BC847E86A3}"/>
              </a:ext>
            </a:extLst>
          </p:cNvPr>
          <p:cNvPicPr>
            <a:picLocks noChangeAspect="1" noChangeArrowheads="1"/>
          </p:cNvPicPr>
          <p:nvPr/>
        </p:nvPicPr>
        <p:blipFill>
          <a:blip r:embed="rId3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7139" y="6234619"/>
            <a:ext cx="669919" cy="97983"/>
          </a:xfrm>
          <a:prstGeom prst="rect">
            <a:avLst/>
          </a:prstGeom>
          <a:noFill/>
          <a:extLst>
            <a:ext uri="{909E8E84-426E-40DD-AFC4-6F175D3DCCD1}">
              <a14:hiddenFill xmlns:a14="http://schemas.microsoft.com/office/drawing/2010/main">
                <a:solidFill>
                  <a:srgbClr val="FFFFFF"/>
                </a:solidFill>
              </a14:hiddenFill>
            </a:ext>
          </a:extLst>
        </p:spPr>
      </p:pic>
      <p:cxnSp>
        <p:nvCxnSpPr>
          <p:cNvPr id="259" name="Connecteur droit avec flèche 258">
            <a:extLst>
              <a:ext uri="{FF2B5EF4-FFF2-40B4-BE49-F238E27FC236}">
                <a16:creationId xmlns:a16="http://schemas.microsoft.com/office/drawing/2014/main" id="{70D0326D-794D-4368-B47C-65D9A7F591CC}"/>
              </a:ext>
            </a:extLst>
          </p:cNvPr>
          <p:cNvCxnSpPr/>
          <p:nvPr/>
        </p:nvCxnSpPr>
        <p:spPr bwMode="auto">
          <a:xfrm>
            <a:off x="883507" y="6298069"/>
            <a:ext cx="370030"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Tree>
    <p:extLst>
      <p:ext uri="{BB962C8B-B14F-4D97-AF65-F5344CB8AC3E}">
        <p14:creationId xmlns:p14="http://schemas.microsoft.com/office/powerpoint/2010/main" val="659755073"/>
      </p:ext>
    </p:extLst>
  </p:cSld>
  <p:clrMapOvr>
    <a:masterClrMapping/>
  </p:clrMapOv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E96EA93-E714-4D0F-A1A8-2AAA5188B475}"/>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4E9DE99D-BD68-42FE-9B3C-2293D0C1089E}"/>
              </a:ext>
            </a:extLst>
          </p:cNvPr>
          <p:cNvSpPr txBox="1"/>
          <p:nvPr/>
        </p:nvSpPr>
        <p:spPr>
          <a:xfrm rot="16200000">
            <a:off x="-1889351" y="314931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BC317995-D852-4549-AC70-AA5A11CAFAFC}"/>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indent="-228600">
              <a:spcBef>
                <a:spcPts val="600"/>
              </a:spcBef>
              <a:buAutoNum type="arabicPeriod"/>
            </a:pPr>
            <a:r>
              <a:rPr lang="en-GB" sz="1200">
                <a:latin typeface="Trebuchet MS" panose="020B0603020202020204" pitchFamily="34" charset="0"/>
              </a:rPr>
              <a:t>Overview of </a:t>
            </a:r>
            <a:r>
              <a:rPr lang="en-GB" sz="1200" err="1">
                <a:latin typeface="Trebuchet MS" panose="020B0603020202020204" pitchFamily="34" charset="0"/>
              </a:rPr>
              <a:t>Altares</a:t>
            </a:r>
            <a:r>
              <a:rPr lang="en-GB" sz="1200">
                <a:latin typeface="Trebuchet MS" panose="020B0603020202020204" pitchFamily="34" charset="0"/>
              </a:rPr>
              <a:t>’ core assets</a:t>
            </a:r>
          </a:p>
          <a:p>
            <a:pPr marL="228600" indent="-228600">
              <a:spcBef>
                <a:spcPts val="600"/>
              </a:spcBef>
              <a:buAutoNum type="arabicPeriod"/>
            </a:pPr>
            <a:r>
              <a:rPr lang="en-GB" sz="1200" err="1">
                <a:solidFill>
                  <a:schemeClr val="tx2"/>
                </a:solidFill>
                <a:latin typeface="Trebuchet MS" panose="020B0603020202020204" pitchFamily="34" charset="0"/>
              </a:rPr>
              <a:t>Altares</a:t>
            </a:r>
            <a:r>
              <a:rPr lang="en-GB" sz="1200">
                <a:solidFill>
                  <a:schemeClr val="tx2"/>
                </a:solidFill>
                <a:latin typeface="Trebuchet MS" panose="020B0603020202020204" pitchFamily="34" charset="0"/>
              </a:rPr>
              <a:t>' offer and value proposition</a:t>
            </a:r>
          </a:p>
          <a:p>
            <a:pPr marL="685800" lvl="1" indent="-228600">
              <a:spcBef>
                <a:spcPts val="600"/>
              </a:spcBef>
              <a:buAutoNum type="romanLcPeriod"/>
            </a:pPr>
            <a:r>
              <a:rPr lang="en-GB" sz="1200" err="1">
                <a:solidFill>
                  <a:schemeClr val="tx2"/>
                </a:solidFill>
                <a:latin typeface="Trebuchet MS" panose="020B0603020202020204" pitchFamily="34" charset="0"/>
              </a:rPr>
              <a:t>Altares</a:t>
            </a:r>
            <a:r>
              <a:rPr lang="en-GB" sz="1200">
                <a:solidFill>
                  <a:schemeClr val="tx2"/>
                </a:solidFill>
                <a:latin typeface="Trebuchet MS" panose="020B0603020202020204" pitchFamily="34" charset="0"/>
              </a:rPr>
              <a:t>’ comprehensive offer</a:t>
            </a:r>
          </a:p>
          <a:p>
            <a:pPr marL="685800" lvl="1" indent="-228600">
              <a:spcBef>
                <a:spcPts val="600"/>
              </a:spcBef>
              <a:buAutoNum type="romanLcPeriod"/>
            </a:pPr>
            <a:r>
              <a:rPr lang="en-GB" sz="1200" err="1">
                <a:latin typeface="Trebuchet MS" panose="020B0603020202020204" pitchFamily="34" charset="0"/>
              </a:rPr>
              <a:t>Altares</a:t>
            </a:r>
            <a:r>
              <a:rPr lang="en-GB" sz="1200">
                <a:latin typeface="Trebuchet MS" panose="020B0603020202020204" pitchFamily="34" charset="0"/>
              </a:rPr>
              <a:t>’ premium value proposition </a:t>
            </a: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loyal, resilient and diversified client base</a:t>
            </a:r>
          </a:p>
          <a:p>
            <a:pPr marL="285750" indent="-285750">
              <a:spcBef>
                <a:spcPts val="600"/>
              </a:spcBef>
              <a:buFont typeface="+mj-lt"/>
              <a:buAutoNum type="arabicPeriod"/>
            </a:pPr>
            <a:r>
              <a:rPr kumimoji="0" lang="en-GB" sz="1200" b="0" i="0" u="none" strike="noStrike" kern="1200" cap="none" spc="0" normalizeH="0" baseline="0" noProof="0" err="1">
                <a:ln>
                  <a:noFill/>
                </a:ln>
                <a:effectLst/>
                <a:uLnTx/>
                <a:uFillTx/>
                <a:latin typeface="Trebuchet MS" panose="020B0603020202020204" pitchFamily="34" charset="0"/>
                <a:ea typeface="+mn-ea"/>
                <a:cs typeface="Arial" pitchFamily="34" charset="0"/>
              </a:rPr>
              <a:t>Altares</a:t>
            </a:r>
            <a:r>
              <a:rPr kumimoji="0" lang="en-GB" sz="1200" b="0" i="0" u="none" strike="noStrike" kern="1200" cap="none" spc="0" normalizeH="0" baseline="0" noProof="0">
                <a:ln>
                  <a:noFill/>
                </a:ln>
                <a:effectLst/>
                <a:uLnTx/>
                <a:uFillTx/>
                <a:latin typeface="Trebuchet MS" panose="020B0603020202020204" pitchFamily="34" charset="0"/>
                <a:ea typeface="+mn-ea"/>
                <a:cs typeface="Arial" pitchFamily="34" charset="0"/>
              </a:rPr>
              <a:t>’ structuring partnership with Dun &amp; Bradstreet</a:t>
            </a: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high-quality comprehensive data collection</a:t>
            </a:r>
            <a:endParaRPr kumimoji="0" lang="en-GB" sz="1200" b="0" i="0" u="none" strike="noStrike" kern="1200" cap="none" spc="0" normalizeH="0" baseline="0" noProof="0">
              <a:ln>
                <a:noFill/>
              </a:ln>
              <a:effectLst/>
              <a:uLnTx/>
              <a:uFillTx/>
              <a:latin typeface="Trebuchet MS" panose="020B0603020202020204" pitchFamily="34" charset="0"/>
              <a:ea typeface="+mn-ea"/>
              <a:cs typeface="Arial" pitchFamily="34" charset="0"/>
            </a:endParaRP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fine-tuned operating model</a:t>
            </a:r>
          </a:p>
        </p:txBody>
      </p:sp>
      <p:sp>
        <p:nvSpPr>
          <p:cNvPr id="5" name="Chevron">
            <a:extLst>
              <a:ext uri="{FF2B5EF4-FFF2-40B4-BE49-F238E27FC236}">
                <a16:creationId xmlns:a16="http://schemas.microsoft.com/office/drawing/2014/main" id="{19C7AF68-ADEF-46DC-A209-2CDD74387B37}"/>
              </a:ext>
            </a:extLst>
          </p:cNvPr>
          <p:cNvSpPr/>
          <p:nvPr/>
        </p:nvSpPr>
        <p:spPr bwMode="auto">
          <a:xfrm>
            <a:off x="1418399" y="2685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 name="Section">
            <a:extLst>
              <a:ext uri="{FF2B5EF4-FFF2-40B4-BE49-F238E27FC236}">
                <a16:creationId xmlns:a16="http://schemas.microsoft.com/office/drawing/2014/main" id="{636E6D9A-2F3C-453B-9C0F-03B146337E4D}"/>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3</a:t>
            </a:r>
          </a:p>
        </p:txBody>
      </p:sp>
      <p:sp>
        <p:nvSpPr>
          <p:cNvPr id="7" name="Isosceles Triangle">
            <a:extLst>
              <a:ext uri="{FF2B5EF4-FFF2-40B4-BE49-F238E27FC236}">
                <a16:creationId xmlns:a16="http://schemas.microsoft.com/office/drawing/2014/main" id="{EF45FBC0-9EDC-4851-8268-7543BDADCD30}"/>
              </a:ext>
            </a:extLst>
          </p:cNvPr>
          <p:cNvSpPr/>
          <p:nvPr/>
        </p:nvSpPr>
        <p:spPr bwMode="auto">
          <a:xfrm rot="5400000">
            <a:off x="5731200" y="2791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 name="Arrow: Pentagon">
            <a:extLst>
              <a:ext uri="{FF2B5EF4-FFF2-40B4-BE49-F238E27FC236}">
                <a16:creationId xmlns:a16="http://schemas.microsoft.com/office/drawing/2014/main" id="{E786BE38-2246-42C6-A3E4-97CCE2B2B0DA}"/>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9" name="Oval">
            <a:extLst>
              <a:ext uri="{FF2B5EF4-FFF2-40B4-BE49-F238E27FC236}">
                <a16:creationId xmlns:a16="http://schemas.microsoft.com/office/drawing/2014/main" id="{FE830264-9D1B-4CFE-AEFA-7BBD83EA02E6}"/>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10" name="Arrow: Pentagon">
            <a:extLst>
              <a:ext uri="{FF2B5EF4-FFF2-40B4-BE49-F238E27FC236}">
                <a16:creationId xmlns:a16="http://schemas.microsoft.com/office/drawing/2014/main" id="{88865299-5613-4CA9-8685-C95571057491}"/>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11" name="Oval">
            <a:extLst>
              <a:ext uri="{FF2B5EF4-FFF2-40B4-BE49-F238E27FC236}">
                <a16:creationId xmlns:a16="http://schemas.microsoft.com/office/drawing/2014/main" id="{B29AA66B-2529-4FDE-8DEF-F63DE26C7A39}"/>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13" name="Arrow: Pentagon">
            <a:extLst>
              <a:ext uri="{FF2B5EF4-FFF2-40B4-BE49-F238E27FC236}">
                <a16:creationId xmlns:a16="http://schemas.microsoft.com/office/drawing/2014/main" id="{60064298-3F60-4CDD-9AFC-CA1ECA9AC371}"/>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14" name="Arrow: Pentagon">
            <a:extLst>
              <a:ext uri="{FF2B5EF4-FFF2-40B4-BE49-F238E27FC236}">
                <a16:creationId xmlns:a16="http://schemas.microsoft.com/office/drawing/2014/main" id="{CA0E2AC9-5105-4543-9A55-BE05B9FACFC8}"/>
              </a:ext>
            </a:extLst>
          </p:cNvPr>
          <p:cNvSpPr/>
          <p:nvPr/>
        </p:nvSpPr>
        <p:spPr bwMode="auto">
          <a:xfrm>
            <a:off x="1641598" y="2685599"/>
            <a:ext cx="4319993"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value proposition &amp; core assets</a:t>
            </a:r>
          </a:p>
        </p:txBody>
      </p:sp>
      <p:sp>
        <p:nvSpPr>
          <p:cNvPr id="15" name="Oval">
            <a:extLst>
              <a:ext uri="{FF2B5EF4-FFF2-40B4-BE49-F238E27FC236}">
                <a16:creationId xmlns:a16="http://schemas.microsoft.com/office/drawing/2014/main" id="{8F385577-AB09-4D84-BB46-74A93301E363}"/>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16" name="Arrow: Pentagon">
            <a:extLst>
              <a:ext uri="{FF2B5EF4-FFF2-40B4-BE49-F238E27FC236}">
                <a16:creationId xmlns:a16="http://schemas.microsoft.com/office/drawing/2014/main" id="{B1EC09C9-3BCE-436D-9D5C-1114B5AEC7D5}"/>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17" name="Oval">
            <a:extLst>
              <a:ext uri="{FF2B5EF4-FFF2-40B4-BE49-F238E27FC236}">
                <a16:creationId xmlns:a16="http://schemas.microsoft.com/office/drawing/2014/main" id="{7E43026E-3A88-47B0-A255-323318DF0BCF}"/>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39" name="Oval">
            <a:extLst>
              <a:ext uri="{FF2B5EF4-FFF2-40B4-BE49-F238E27FC236}">
                <a16:creationId xmlns:a16="http://schemas.microsoft.com/office/drawing/2014/main" id="{477E64E5-8380-4F8A-87C8-C6E3640A4A00}"/>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2836574278"/>
      </p:ext>
    </p:extLst>
  </p:cSld>
  <p:clrMapOvr>
    <a:masterClrMapping/>
  </p:clrMapOv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D6D8D382-B063-424E-86DB-F9AD197EF54A}"/>
              </a:ext>
            </a:extLst>
          </p:cNvPr>
          <p:cNvGraphicFramePr>
            <a:graphicFrameLocks noChangeAspect="1"/>
          </p:cNvGraphicFramePr>
          <p:nvPr>
            <p:custDataLst>
              <p:tags r:id="rId1"/>
            </p:custDataLst>
            <p:extLst>
              <p:ext uri="{D42A27DB-BD31-4B8C-83A1-F6EECF244321}">
                <p14:modId xmlns:p14="http://schemas.microsoft.com/office/powerpoint/2010/main" val="1382309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25" name="Object 24" hidden="1">
                        <a:extLst>
                          <a:ext uri="{FF2B5EF4-FFF2-40B4-BE49-F238E27FC236}">
                            <a16:creationId xmlns:a16="http://schemas.microsoft.com/office/drawing/2014/main" id="{D6D8D382-B063-424E-86DB-F9AD197EF54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ACF22D3B-6FB4-4CCA-9776-EA522339A097}"/>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5" name="Rectangle 34">
            <a:extLst>
              <a:ext uri="{FF2B5EF4-FFF2-40B4-BE49-F238E27FC236}">
                <a16:creationId xmlns:a16="http://schemas.microsoft.com/office/drawing/2014/main" id="{F88EC41A-274F-42A0-B690-8B9CAB09C61B}"/>
              </a:ext>
            </a:extLst>
          </p:cNvPr>
          <p:cNvSpPr/>
          <p:nvPr/>
        </p:nvSpPr>
        <p:spPr bwMode="auto">
          <a:xfrm>
            <a:off x="109667" y="1210307"/>
            <a:ext cx="9594029" cy="510356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re 1">
            <a:extLst>
              <a:ext uri="{FF2B5EF4-FFF2-40B4-BE49-F238E27FC236}">
                <a16:creationId xmlns:a16="http://schemas.microsoft.com/office/drawing/2014/main" id="{27A24D8A-BD67-454E-B336-4A9DD9C3559E}"/>
              </a:ext>
            </a:extLst>
          </p:cNvPr>
          <p:cNvSpPr>
            <a:spLocks noGrp="1"/>
          </p:cNvSpPr>
          <p:nvPr>
            <p:ph type="title"/>
          </p:nvPr>
        </p:nvSpPr>
        <p:spPr>
          <a:xfrm>
            <a:off x="165600" y="147600"/>
            <a:ext cx="8301170" cy="911944"/>
          </a:xfrm>
        </p:spPr>
        <p:txBody>
          <a:bodyPr/>
          <a:lstStyle/>
          <a:p>
            <a:r>
              <a:rPr lang="en-GB" dirty="0">
                <a:latin typeface="Trebuchet MS" panose="020B0603020202020204" pitchFamily="34" charset="0"/>
              </a:rPr>
              <a:t>The data provided by </a:t>
            </a:r>
            <a:r>
              <a:rPr lang="en-GB" dirty="0" err="1">
                <a:latin typeface="Trebuchet MS" panose="020B0603020202020204" pitchFamily="34" charset="0"/>
              </a:rPr>
              <a:t>Altares</a:t>
            </a:r>
            <a:r>
              <a:rPr lang="en-GB" dirty="0">
                <a:latin typeface="Trebuchet MS" panose="020B0603020202020204" pitchFamily="34" charset="0"/>
              </a:rPr>
              <a:t> is needed at </a:t>
            </a:r>
            <a:r>
              <a:rPr lang="en-GB" dirty="0">
                <a:solidFill>
                  <a:schemeClr val="tx2"/>
                </a:solidFill>
                <a:latin typeface="Trebuchet MS" panose="020B0603020202020204" pitchFamily="34" charset="0"/>
              </a:rPr>
              <a:t>each step of the client lifecycle</a:t>
            </a:r>
            <a:r>
              <a:rPr lang="en-GB" dirty="0">
                <a:latin typeface="Trebuchet MS" panose="020B0603020202020204" pitchFamily="34" charset="0"/>
              </a:rPr>
              <a:t>, from </a:t>
            </a:r>
            <a:r>
              <a:rPr lang="en-GB" dirty="0">
                <a:solidFill>
                  <a:schemeClr val="tx2"/>
                </a:solidFill>
                <a:latin typeface="Trebuchet MS" panose="020B0603020202020204" pitchFamily="34" charset="0"/>
              </a:rPr>
              <a:t>Prospection</a:t>
            </a:r>
            <a:r>
              <a:rPr lang="en-GB" dirty="0">
                <a:latin typeface="Trebuchet MS" panose="020B0603020202020204" pitchFamily="34" charset="0"/>
              </a:rPr>
              <a:t>, to </a:t>
            </a:r>
            <a:r>
              <a:rPr lang="en-GB" dirty="0">
                <a:solidFill>
                  <a:schemeClr val="tx2"/>
                </a:solidFill>
                <a:latin typeface="Trebuchet MS" panose="020B0603020202020204" pitchFamily="34" charset="0"/>
              </a:rPr>
              <a:t>Compliance </a:t>
            </a:r>
            <a:r>
              <a:rPr lang="en-GB" dirty="0">
                <a:latin typeface="Trebuchet MS" panose="020B0603020202020204" pitchFamily="34" charset="0"/>
              </a:rPr>
              <a:t>to </a:t>
            </a:r>
            <a:r>
              <a:rPr lang="en-GB" dirty="0">
                <a:solidFill>
                  <a:schemeClr val="tx2"/>
                </a:solidFill>
                <a:latin typeface="Trebuchet MS" panose="020B0603020202020204" pitchFamily="34" charset="0"/>
              </a:rPr>
              <a:t>Credit risk management</a:t>
            </a:r>
            <a:endParaRPr lang="en-GB" dirty="0">
              <a:solidFill>
                <a:schemeClr val="tx2"/>
              </a:solidFill>
              <a:highlight>
                <a:srgbClr val="FFFF00"/>
              </a:highlight>
              <a:latin typeface="Trebuchet MS" panose="020B0603020202020204" pitchFamily="34" charset="0"/>
            </a:endParaRPr>
          </a:p>
        </p:txBody>
      </p:sp>
      <p:sp>
        <p:nvSpPr>
          <p:cNvPr id="3" name="Espace réservé du texte 2">
            <a:extLst>
              <a:ext uri="{FF2B5EF4-FFF2-40B4-BE49-F238E27FC236}">
                <a16:creationId xmlns:a16="http://schemas.microsoft.com/office/drawing/2014/main" id="{B8B4D0F1-0504-478F-B211-CD89A1BB1DB2}"/>
              </a:ext>
            </a:extLst>
          </p:cNvPr>
          <p:cNvSpPr>
            <a:spLocks noGrp="1"/>
          </p:cNvSpPr>
          <p:nvPr>
            <p:ph type="body" sz="quarter" idx="10"/>
          </p:nvPr>
        </p:nvSpPr>
        <p:spPr>
          <a:xfrm>
            <a:off x="1315274" y="6580025"/>
            <a:ext cx="7131600" cy="244800"/>
          </a:xfrm>
        </p:spPr>
        <p:txBody>
          <a:bodyPr/>
          <a:lstStyle/>
          <a:p>
            <a:r>
              <a:rPr lang="en-GB"/>
              <a:t>Sources: eleven research &amp; analysis, company data, interviews with management</a:t>
            </a:r>
          </a:p>
          <a:p>
            <a:r>
              <a:rPr lang="en-GB"/>
              <a:t>1. UBO: Ultimate Business Owner 	2. PEP: Politically Exposed Persons	3. Excluding incomes from D&amp;B partnership</a:t>
            </a:r>
          </a:p>
        </p:txBody>
      </p:sp>
      <p:sp>
        <p:nvSpPr>
          <p:cNvPr id="8" name="Rectangle 7">
            <a:extLst>
              <a:ext uri="{FF2B5EF4-FFF2-40B4-BE49-F238E27FC236}">
                <a16:creationId xmlns:a16="http://schemas.microsoft.com/office/drawing/2014/main" id="{7DCE6FDF-E846-4FFE-892A-BA7BA30CD470}"/>
              </a:ext>
            </a:extLst>
          </p:cNvPr>
          <p:cNvSpPr/>
          <p:nvPr/>
        </p:nvSpPr>
        <p:spPr bwMode="auto">
          <a:xfrm>
            <a:off x="187006" y="1772337"/>
            <a:ext cx="573966" cy="510020"/>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a:solidFill>
                  <a:schemeClr val="accent1">
                    <a:lumMod val="75000"/>
                  </a:schemeClr>
                </a:solidFill>
                <a:latin typeface="Trebuchet MS" panose="020B0603020202020204" pitchFamily="34" charset="0"/>
              </a:rPr>
              <a:t>Customer</a:t>
            </a:r>
            <a:r>
              <a:rPr kumimoji="0" lang="en-GB" sz="1000" b="0" i="0" u="none" strike="noStrike" cap="none" normalizeH="0" baseline="0">
                <a:ln>
                  <a:noFill/>
                </a:ln>
                <a:solidFill>
                  <a:schemeClr val="accent1">
                    <a:lumMod val="75000"/>
                  </a:schemeClr>
                </a:solidFill>
                <a:effectLst/>
                <a:latin typeface="Trebuchet MS" panose="020B0603020202020204" pitchFamily="34" charset="0"/>
              </a:rPr>
              <a:t> needs</a:t>
            </a:r>
          </a:p>
        </p:txBody>
      </p:sp>
      <p:sp>
        <p:nvSpPr>
          <p:cNvPr id="12" name="Rectangle 11">
            <a:extLst>
              <a:ext uri="{FF2B5EF4-FFF2-40B4-BE49-F238E27FC236}">
                <a16:creationId xmlns:a16="http://schemas.microsoft.com/office/drawing/2014/main" id="{BCE7AF8C-B636-4043-9445-A58FE56CD2D5}"/>
              </a:ext>
            </a:extLst>
          </p:cNvPr>
          <p:cNvSpPr/>
          <p:nvPr/>
        </p:nvSpPr>
        <p:spPr bwMode="auto">
          <a:xfrm>
            <a:off x="102930" y="3409887"/>
            <a:ext cx="728938" cy="51001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err="1">
                <a:ln>
                  <a:noFill/>
                </a:ln>
                <a:solidFill>
                  <a:schemeClr val="tx1"/>
                </a:solidFill>
                <a:effectLst/>
                <a:latin typeface="Trebuchet MS" panose="020B0603020202020204" pitchFamily="34" charset="0"/>
              </a:rPr>
              <a:t>Altares</a:t>
            </a:r>
            <a:r>
              <a:rPr kumimoji="0" lang="en-GB" sz="1000" b="0" i="0" u="none" strike="noStrike" cap="none" normalizeH="0" baseline="0">
                <a:ln>
                  <a:noFill/>
                </a:ln>
                <a:solidFill>
                  <a:schemeClr val="tx1"/>
                </a:solidFill>
                <a:effectLst/>
                <a:latin typeface="Trebuchet MS" panose="020B0603020202020204" pitchFamily="34" charset="0"/>
              </a:rPr>
              <a:t>' offer and products</a:t>
            </a:r>
          </a:p>
        </p:txBody>
      </p:sp>
      <p:sp>
        <p:nvSpPr>
          <p:cNvPr id="15" name="Rectangle 14">
            <a:extLst>
              <a:ext uri="{FF2B5EF4-FFF2-40B4-BE49-F238E27FC236}">
                <a16:creationId xmlns:a16="http://schemas.microsoft.com/office/drawing/2014/main" id="{E6F03B4F-F54A-453B-AE62-9B4E72EA2071}"/>
              </a:ext>
            </a:extLst>
          </p:cNvPr>
          <p:cNvSpPr/>
          <p:nvPr/>
        </p:nvSpPr>
        <p:spPr bwMode="auto">
          <a:xfrm>
            <a:off x="6797874" y="3065503"/>
            <a:ext cx="2808000" cy="151998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0000" tIns="45720" rIns="91440" bIns="45720" numCol="1" rtlCol="0" anchor="t" anchorCtr="0" compatLnSpc="1">
            <a:prstTxWarp prst="textNoShape">
              <a:avLst/>
            </a:prstTxWarp>
          </a:bodyPr>
          <a:lstStyle/>
          <a:p>
            <a:pPr marL="171450" indent="-171450">
              <a:spcBef>
                <a:spcPts val="600"/>
              </a:spcBef>
              <a:buFont typeface="Arial" panose="020B0604020202020204" pitchFamily="34" charset="0"/>
              <a:buChar char="•"/>
            </a:pPr>
            <a:r>
              <a:rPr lang="en-GB" sz="1000">
                <a:latin typeface="Trebuchet MS" pitchFamily="34" charset="0"/>
              </a:rPr>
              <a:t>Business documents</a:t>
            </a:r>
          </a:p>
          <a:p>
            <a:pPr marL="171450" indent="-171450">
              <a:spcBef>
                <a:spcPts val="600"/>
              </a:spcBef>
              <a:buFont typeface="Arial" panose="020B0604020202020204" pitchFamily="34" charset="0"/>
              <a:buChar char="•"/>
            </a:pPr>
            <a:r>
              <a:rPr lang="en-GB" sz="1000">
                <a:latin typeface="Trebuchet MS" pitchFamily="34" charset="0"/>
              </a:rPr>
              <a:t>Credit risk Information</a:t>
            </a:r>
          </a:p>
          <a:p>
            <a:pPr marL="171450" indent="-171450">
              <a:spcBef>
                <a:spcPts val="600"/>
              </a:spcBef>
              <a:buFont typeface="Arial" panose="020B0604020202020204" pitchFamily="34" charset="0"/>
              <a:buChar char="•"/>
            </a:pPr>
            <a:r>
              <a:rPr lang="en-GB" sz="1000">
                <a:latin typeface="Trebuchet MS" pitchFamily="34" charset="0"/>
              </a:rPr>
              <a:t>Risk scoring </a:t>
            </a:r>
          </a:p>
          <a:p>
            <a:pPr marR="0" defTabSz="914400" rtl="0" eaLnBrk="1" fontAlgn="base" latinLnBrk="0" hangingPunct="1">
              <a:lnSpc>
                <a:spcPct val="100000"/>
              </a:lnSpc>
              <a:spcBef>
                <a:spcPts val="600"/>
              </a:spcBef>
              <a:spcAft>
                <a:spcPct val="0"/>
              </a:spcAft>
              <a:buClrTx/>
              <a:buSzTx/>
              <a:tabLst/>
            </a:pPr>
            <a:endParaRPr kumimoji="0" lang="en-GB" sz="1000" b="0" i="0" u="none" strike="noStrike" cap="none" normalizeH="0" baseline="0">
              <a:ln>
                <a:noFill/>
              </a:ln>
              <a:solidFill>
                <a:schemeClr val="tx1"/>
              </a:solidFill>
              <a:effectLst/>
              <a:latin typeface="Trebuchet MS" panose="020B0603020202020204" pitchFamily="34" charset="0"/>
            </a:endParaRPr>
          </a:p>
        </p:txBody>
      </p:sp>
      <p:sp>
        <p:nvSpPr>
          <p:cNvPr id="16" name="Rectangle 15">
            <a:extLst>
              <a:ext uri="{FF2B5EF4-FFF2-40B4-BE49-F238E27FC236}">
                <a16:creationId xmlns:a16="http://schemas.microsoft.com/office/drawing/2014/main" id="{BD0852ED-0332-447D-95BC-5E8E8A4B7F98}"/>
              </a:ext>
            </a:extLst>
          </p:cNvPr>
          <p:cNvSpPr/>
          <p:nvPr/>
        </p:nvSpPr>
        <p:spPr bwMode="auto">
          <a:xfrm>
            <a:off x="3804739" y="2668868"/>
            <a:ext cx="2808000" cy="31401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latin typeface="Trebuchet MS" panose="020B0603020202020204" pitchFamily="34" charset="0"/>
              </a:rPr>
              <a:t>COMPLIANCE / KYC</a:t>
            </a:r>
            <a:endParaRPr kumimoji="0" lang="en-GB" sz="1000" b="1" i="0" u="none" strike="noStrike" cap="none" normalizeH="0" baseline="0">
              <a:ln>
                <a:noFill/>
              </a:ln>
              <a:solidFill>
                <a:schemeClr val="tx1"/>
              </a:solidFill>
              <a:effectLst/>
              <a:latin typeface="Trebuchet MS" panose="020B0603020202020204" pitchFamily="34" charset="0"/>
            </a:endParaRPr>
          </a:p>
        </p:txBody>
      </p:sp>
      <p:sp>
        <p:nvSpPr>
          <p:cNvPr id="17" name="Rectangle 16">
            <a:extLst>
              <a:ext uri="{FF2B5EF4-FFF2-40B4-BE49-F238E27FC236}">
                <a16:creationId xmlns:a16="http://schemas.microsoft.com/office/drawing/2014/main" id="{6DB79AEC-161A-447E-9B93-D860F5C79199}"/>
              </a:ext>
            </a:extLst>
          </p:cNvPr>
          <p:cNvSpPr/>
          <p:nvPr/>
        </p:nvSpPr>
        <p:spPr bwMode="auto">
          <a:xfrm>
            <a:off x="3804739" y="3065503"/>
            <a:ext cx="2808000" cy="151998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72000" tIns="45720" rIns="91440" bIns="4572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kumimoji="0" lang="en-GB" sz="1000" b="0" i="0" u="none" strike="noStrike" cap="none" normalizeH="0" baseline="0">
                <a:ln>
                  <a:noFill/>
                </a:ln>
                <a:solidFill>
                  <a:schemeClr val="tx1"/>
                </a:solidFill>
                <a:effectLst/>
                <a:latin typeface="Trebuchet MS" panose="020B0603020202020204" pitchFamily="34" charset="0"/>
              </a:rPr>
              <a:t>UBOs</a:t>
            </a:r>
            <a:r>
              <a:rPr kumimoji="0" lang="en-GB" sz="1000" b="0" i="0" u="none" strike="noStrike" cap="none" normalizeH="0" baseline="30000">
                <a:ln>
                  <a:noFill/>
                </a:ln>
                <a:solidFill>
                  <a:schemeClr val="tx1"/>
                </a:solidFill>
                <a:effectLst/>
                <a:latin typeface="Trebuchet MS" panose="020B0603020202020204" pitchFamily="34" charset="0"/>
              </a:rPr>
              <a:t>1</a:t>
            </a:r>
            <a:r>
              <a:rPr kumimoji="0" lang="en-GB" sz="1000" b="0" i="0" u="none" strike="noStrike" cap="none" normalizeH="0" baseline="0">
                <a:ln>
                  <a:noFill/>
                </a:ln>
                <a:solidFill>
                  <a:schemeClr val="tx1"/>
                </a:solidFill>
                <a:effectLst/>
                <a:latin typeface="Trebuchet MS" panose="020B0603020202020204" pitchFamily="34" charset="0"/>
              </a:rPr>
              <a:t> &amp; PEPs</a:t>
            </a:r>
            <a:r>
              <a:rPr kumimoji="0" lang="en-GB" sz="1000" b="0" i="0" u="none" strike="noStrike" cap="none" normalizeH="0" baseline="30000">
                <a:ln>
                  <a:noFill/>
                </a:ln>
                <a:solidFill>
                  <a:schemeClr val="tx1"/>
                </a:solidFill>
                <a:effectLst/>
                <a:latin typeface="Trebuchet MS" panose="020B0603020202020204" pitchFamily="34" charset="0"/>
              </a:rPr>
              <a:t>2</a:t>
            </a:r>
            <a:r>
              <a:rPr kumimoji="0" lang="en-GB" sz="1000" b="0" i="0" u="none" strike="noStrike" cap="none" normalizeH="0" baseline="0">
                <a:ln>
                  <a:noFill/>
                </a:ln>
                <a:solidFill>
                  <a:schemeClr val="tx1"/>
                </a:solidFill>
                <a:effectLst/>
                <a:latin typeface="Trebuchet MS" panose="020B0603020202020204" pitchFamily="34" charset="0"/>
              </a:rPr>
              <a:t> data</a:t>
            </a:r>
            <a:endParaRPr lang="en-GB" sz="1000">
              <a:latin typeface="Trebuchet MS" panose="020B0603020202020204" pitchFamily="34" charset="0"/>
            </a:endParaRP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kumimoji="0" lang="en-GB" sz="1000" b="0" i="0" u="none" strike="noStrike" cap="none" normalizeH="0" baseline="0">
                <a:ln>
                  <a:noFill/>
                </a:ln>
                <a:solidFill>
                  <a:schemeClr val="tx1"/>
                </a:solidFill>
                <a:effectLst/>
                <a:latin typeface="Trebuchet MS" panose="020B0603020202020204" pitchFamily="34" charset="0"/>
              </a:rPr>
              <a:t>Compliance to KYC/AML laws</a:t>
            </a:r>
          </a:p>
        </p:txBody>
      </p:sp>
      <p:sp>
        <p:nvSpPr>
          <p:cNvPr id="19" name="Rectangle 18">
            <a:extLst>
              <a:ext uri="{FF2B5EF4-FFF2-40B4-BE49-F238E27FC236}">
                <a16:creationId xmlns:a16="http://schemas.microsoft.com/office/drawing/2014/main" id="{E0E01A3C-1D0F-47C0-AE0D-E5E6CB569D7A}"/>
              </a:ext>
            </a:extLst>
          </p:cNvPr>
          <p:cNvSpPr/>
          <p:nvPr/>
        </p:nvSpPr>
        <p:spPr bwMode="auto">
          <a:xfrm>
            <a:off x="6797874" y="1437610"/>
            <a:ext cx="2807999" cy="971175"/>
          </a:xfrm>
          <a:prstGeom prst="rect">
            <a:avLst/>
          </a:prstGeom>
          <a:solidFill>
            <a:srgbClr val="F3FCFF"/>
          </a:solidFill>
          <a:ln w="9525" cap="flat" cmpd="sng" algn="ctr">
            <a:solidFill>
              <a:schemeClr val="accent2"/>
            </a:solidFill>
            <a:prstDash val="dash"/>
            <a:round/>
            <a:headEnd type="none" w="med" len="med"/>
            <a:tailEnd type="none" w="med" len="med"/>
          </a:ln>
          <a:effectLst/>
        </p:spPr>
        <p:txBody>
          <a:bodyPr vert="horz" wrap="square" lIns="9000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1" i="0" u="none" strike="noStrike" cap="none" normalizeH="0" baseline="0">
              <a:ln>
                <a:noFill/>
              </a:ln>
              <a:solidFill>
                <a:schemeClr val="accent1">
                  <a:lumMod val="75000"/>
                </a:schemeClr>
              </a:solidFill>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GB" sz="1000" b="1">
              <a:solidFill>
                <a:schemeClr val="accent1">
                  <a:lumMod val="75000"/>
                </a:schemeClr>
              </a:solidFill>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accent1">
                    <a:lumMod val="75000"/>
                  </a:schemeClr>
                </a:solidFill>
                <a:latin typeface="Trebuchet MS" panose="020B0603020202020204" pitchFamily="34" charset="0"/>
              </a:rPr>
              <a:t>NEEDS FOR Credit risk MANAGEMENT</a:t>
            </a:r>
            <a:endParaRPr kumimoji="0" lang="en-GB" sz="1000" b="1" i="0" u="none" strike="noStrike" cap="none" normalizeH="0" baseline="0">
              <a:ln>
                <a:noFill/>
              </a:ln>
              <a:solidFill>
                <a:schemeClr val="accent1">
                  <a:lumMod val="75000"/>
                </a:schemeClr>
              </a:solidFill>
              <a:effectLst/>
              <a:latin typeface="Trebuchet MS" panose="020B0603020202020204" pitchFamily="34" charset="0"/>
            </a:endParaRPr>
          </a:p>
        </p:txBody>
      </p:sp>
      <p:pic>
        <p:nvPicPr>
          <p:cNvPr id="22" name="Graphique 30">
            <a:extLst>
              <a:ext uri="{FF2B5EF4-FFF2-40B4-BE49-F238E27FC236}">
                <a16:creationId xmlns:a16="http://schemas.microsoft.com/office/drawing/2014/main" id="{E6B02C28-5455-4550-9E3C-A8D7975835D1}"/>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503"/>
          <a:stretch/>
        </p:blipFill>
        <p:spPr>
          <a:xfrm>
            <a:off x="8128471" y="1520722"/>
            <a:ext cx="222592" cy="229540"/>
          </a:xfrm>
          <a:prstGeom prst="rect">
            <a:avLst/>
          </a:prstGeom>
        </p:spPr>
      </p:pic>
      <p:sp>
        <p:nvSpPr>
          <p:cNvPr id="24" name="Rectangle 23">
            <a:extLst>
              <a:ext uri="{FF2B5EF4-FFF2-40B4-BE49-F238E27FC236}">
                <a16:creationId xmlns:a16="http://schemas.microsoft.com/office/drawing/2014/main" id="{6972F7F1-27BC-46E1-8AEE-849E41C0089F}"/>
              </a:ext>
            </a:extLst>
          </p:cNvPr>
          <p:cNvSpPr/>
          <p:nvPr/>
        </p:nvSpPr>
        <p:spPr bwMode="auto">
          <a:xfrm>
            <a:off x="3804740" y="1437610"/>
            <a:ext cx="2807999" cy="971175"/>
          </a:xfrm>
          <a:prstGeom prst="rect">
            <a:avLst/>
          </a:prstGeom>
          <a:solidFill>
            <a:srgbClr val="F3FCFF"/>
          </a:solidFill>
          <a:ln w="9525" cap="flat" cmpd="sng" algn="ctr">
            <a:solidFill>
              <a:schemeClr val="accent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000" b="1">
              <a:solidFill>
                <a:schemeClr val="accent1">
                  <a:lumMod val="75000"/>
                </a:schemeClr>
              </a:solidFill>
              <a:latin typeface="Trebuchet MS" pitchFamily="34" charset="0"/>
            </a:endParaRPr>
          </a:p>
          <a:p>
            <a:pPr algn="ctr"/>
            <a:endParaRPr lang="en-GB" sz="1000" b="1">
              <a:solidFill>
                <a:schemeClr val="accent1">
                  <a:lumMod val="75000"/>
                </a:schemeClr>
              </a:solidFill>
              <a:latin typeface="Trebuchet MS" pitchFamily="34" charset="0"/>
            </a:endParaRPr>
          </a:p>
          <a:p>
            <a:pPr algn="ctr"/>
            <a:r>
              <a:rPr lang="en-GB" sz="1000" b="1">
                <a:solidFill>
                  <a:schemeClr val="accent1">
                    <a:lumMod val="75000"/>
                  </a:schemeClr>
                </a:solidFill>
                <a:latin typeface="Trebuchet MS" pitchFamily="34" charset="0"/>
              </a:rPr>
              <a:t>NEEDS FOR COMPLIANCE INTELLIGENCE GENERATED BY LEGISLATION</a:t>
            </a:r>
          </a:p>
        </p:txBody>
      </p:sp>
      <p:pic>
        <p:nvPicPr>
          <p:cNvPr id="28" name="Graphique 19">
            <a:extLst>
              <a:ext uri="{FF2B5EF4-FFF2-40B4-BE49-F238E27FC236}">
                <a16:creationId xmlns:a16="http://schemas.microsoft.com/office/drawing/2014/main" id="{F2D57C37-881A-47A7-8410-9A51EE086D0C}"/>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2" b="19508"/>
          <a:stretch/>
        </p:blipFill>
        <p:spPr>
          <a:xfrm>
            <a:off x="5120503" y="1520415"/>
            <a:ext cx="228249" cy="230154"/>
          </a:xfrm>
          <a:prstGeom prst="rect">
            <a:avLst/>
          </a:prstGeom>
        </p:spPr>
      </p:pic>
      <p:sp>
        <p:nvSpPr>
          <p:cNvPr id="42" name="Rectangle 41">
            <a:extLst>
              <a:ext uri="{FF2B5EF4-FFF2-40B4-BE49-F238E27FC236}">
                <a16:creationId xmlns:a16="http://schemas.microsoft.com/office/drawing/2014/main" id="{DEFE4EE6-4B7A-4A2B-BE6C-E722B1F06675}"/>
              </a:ext>
            </a:extLst>
          </p:cNvPr>
          <p:cNvSpPr/>
          <p:nvPr/>
        </p:nvSpPr>
        <p:spPr bwMode="auto">
          <a:xfrm>
            <a:off x="6797873" y="2668868"/>
            <a:ext cx="2808000" cy="31401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000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effectLst/>
                <a:latin typeface="Trebuchet MS" panose="020B0603020202020204" pitchFamily="34" charset="0"/>
              </a:rPr>
              <a:t>Credit &amp; financial risk</a:t>
            </a:r>
          </a:p>
        </p:txBody>
      </p:sp>
      <p:pic>
        <p:nvPicPr>
          <p:cNvPr id="43" name="Picture 42">
            <a:extLst>
              <a:ext uri="{FF2B5EF4-FFF2-40B4-BE49-F238E27FC236}">
                <a16:creationId xmlns:a16="http://schemas.microsoft.com/office/drawing/2014/main" id="{7F95C79D-1BF3-4BA6-9F6C-BED15740BA9B}"/>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5130614" y="4105284"/>
            <a:ext cx="957001" cy="207789"/>
          </a:xfrm>
          <a:prstGeom prst="rect">
            <a:avLst/>
          </a:prstGeom>
        </p:spPr>
      </p:pic>
      <p:pic>
        <p:nvPicPr>
          <p:cNvPr id="45" name="Picture 2" descr="IndueD - La conformité simplifiée - KYC | Altares DB France">
            <a:extLst>
              <a:ext uri="{FF2B5EF4-FFF2-40B4-BE49-F238E27FC236}">
                <a16:creationId xmlns:a16="http://schemas.microsoft.com/office/drawing/2014/main" id="{1A99A017-D32D-4036-80AE-A580F9F062A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257774" y="4124365"/>
            <a:ext cx="735664" cy="253069"/>
          </a:xfrm>
          <a:prstGeom prst="rect">
            <a:avLst/>
          </a:prstGeom>
          <a:noFill/>
          <a:extLst>
            <a:ext uri="{909E8E84-426E-40DD-AFC4-6F175D3DCCD1}">
              <a14:hiddenFill xmlns:a14="http://schemas.microsoft.com/office/drawing/2010/main">
                <a:solidFill>
                  <a:srgbClr val="FFFFFF"/>
                </a:solidFill>
              </a14:hiddenFill>
            </a:ext>
          </a:extLst>
        </p:spPr>
      </p:pic>
      <p:sp>
        <p:nvSpPr>
          <p:cNvPr id="46" name="Flèche : bas 49">
            <a:extLst>
              <a:ext uri="{FF2B5EF4-FFF2-40B4-BE49-F238E27FC236}">
                <a16:creationId xmlns:a16="http://schemas.microsoft.com/office/drawing/2014/main" id="{F63DD640-2F60-4CEC-A8A8-CF02D91374F6}"/>
              </a:ext>
            </a:extLst>
          </p:cNvPr>
          <p:cNvSpPr/>
          <p:nvPr/>
        </p:nvSpPr>
        <p:spPr bwMode="auto">
          <a:xfrm>
            <a:off x="5132623" y="2417258"/>
            <a:ext cx="152233" cy="241846"/>
          </a:xfrm>
          <a:prstGeom prst="down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47" name="Flèche : bas 49">
            <a:extLst>
              <a:ext uri="{FF2B5EF4-FFF2-40B4-BE49-F238E27FC236}">
                <a16:creationId xmlns:a16="http://schemas.microsoft.com/office/drawing/2014/main" id="{C28FFEFC-915F-4277-B4B2-A7B3F6CF0E29}"/>
              </a:ext>
            </a:extLst>
          </p:cNvPr>
          <p:cNvSpPr/>
          <p:nvPr/>
        </p:nvSpPr>
        <p:spPr bwMode="auto">
          <a:xfrm>
            <a:off x="8125757" y="2417258"/>
            <a:ext cx="152233" cy="241846"/>
          </a:xfrm>
          <a:prstGeom prst="down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pic>
        <p:nvPicPr>
          <p:cNvPr id="48" name="Picture 2" descr="D&amp;amp;B Credit | LinkedIn">
            <a:extLst>
              <a:ext uri="{FF2B5EF4-FFF2-40B4-BE49-F238E27FC236}">
                <a16:creationId xmlns:a16="http://schemas.microsoft.com/office/drawing/2014/main" id="{D30ED69D-A992-4A8A-BA1C-1DFE884BF4C3}"/>
              </a:ext>
            </a:extLst>
          </p:cNvPr>
          <p:cNvPicPr>
            <a:picLocks noChangeAspect="1" noChangeArrowheads="1"/>
          </p:cNvPicPr>
          <p:nvPr/>
        </p:nvPicPr>
        <p:blipFill rotWithShape="1">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t="38045" b="36791"/>
          <a:stretch/>
        </p:blipFill>
        <p:spPr bwMode="auto">
          <a:xfrm>
            <a:off x="8078285" y="4155097"/>
            <a:ext cx="868150" cy="218462"/>
          </a:xfrm>
          <a:prstGeom prst="rect">
            <a:avLst/>
          </a:prstGeom>
          <a:noFill/>
          <a:extLst>
            <a:ext uri="{909E8E84-426E-40DD-AFC4-6F175D3DCCD1}">
              <a14:hiddenFill xmlns:a14="http://schemas.microsoft.com/office/drawing/2010/main">
                <a:solidFill>
                  <a:srgbClr val="FFFFFF"/>
                </a:solidFill>
              </a14:hiddenFill>
            </a:ext>
          </a:extLst>
        </p:spPr>
      </p:pic>
      <p:sp>
        <p:nvSpPr>
          <p:cNvPr id="53" name="Rectangle 52">
            <a:extLst>
              <a:ext uri="{FF2B5EF4-FFF2-40B4-BE49-F238E27FC236}">
                <a16:creationId xmlns:a16="http://schemas.microsoft.com/office/drawing/2014/main" id="{F340307B-FD1C-4C66-8057-6EEDF0008108}"/>
              </a:ext>
            </a:extLst>
          </p:cNvPr>
          <p:cNvSpPr/>
          <p:nvPr/>
        </p:nvSpPr>
        <p:spPr bwMode="auto">
          <a:xfrm>
            <a:off x="824231" y="2668868"/>
            <a:ext cx="2808000" cy="314014"/>
          </a:xfrm>
          <a:prstGeom prst="rect">
            <a:avLst/>
          </a:prstGeom>
          <a:solidFill>
            <a:schemeClr val="bg1">
              <a:lumMod val="85000"/>
            </a:schemeClr>
          </a:solidFill>
          <a:ln w="9525" cap="flat" cmpd="sng" algn="ctr">
            <a:solidFill>
              <a:srgbClr val="D9D9D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chemeClr val="tx1"/>
                </a:solidFill>
                <a:effectLst/>
                <a:latin typeface="Trebuchet MS" panose="020B0603020202020204" pitchFamily="34" charset="0"/>
              </a:rPr>
              <a:t>B2B MARKETING</a:t>
            </a:r>
          </a:p>
        </p:txBody>
      </p:sp>
      <p:sp>
        <p:nvSpPr>
          <p:cNvPr id="54" name="Rectangle 53">
            <a:extLst>
              <a:ext uri="{FF2B5EF4-FFF2-40B4-BE49-F238E27FC236}">
                <a16:creationId xmlns:a16="http://schemas.microsoft.com/office/drawing/2014/main" id="{8F18514B-F6AB-4DA4-85A1-19C1F2CE8ED7}"/>
              </a:ext>
            </a:extLst>
          </p:cNvPr>
          <p:cNvSpPr/>
          <p:nvPr/>
        </p:nvSpPr>
        <p:spPr bwMode="auto">
          <a:xfrm>
            <a:off x="820676" y="3065503"/>
            <a:ext cx="2808000" cy="151998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72000" tIns="45720" rIns="36000" bIns="4572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kumimoji="0" lang="en-GB" sz="1000" b="0" i="0" u="none" strike="noStrike" cap="none" normalizeH="0" baseline="0">
                <a:ln>
                  <a:noFill/>
                </a:ln>
                <a:solidFill>
                  <a:schemeClr val="tx1"/>
                </a:solidFill>
                <a:effectLst/>
                <a:latin typeface="Trebuchet MS" panose="020B0603020202020204" pitchFamily="34" charset="0"/>
              </a:rPr>
              <a:t>Lead identification &amp; generation</a:t>
            </a: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lang="en-GB" sz="1000">
                <a:latin typeface="Trebuchet MS" pitchFamily="34" charset="0"/>
              </a:rPr>
              <a:t>Lead scoring</a:t>
            </a: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lang="en-GB" sz="1000">
                <a:latin typeface="Trebuchet MS" pitchFamily="34" charset="0"/>
              </a:rPr>
              <a:t>Sectorial analysis</a:t>
            </a:r>
            <a:endParaRPr kumimoji="0" lang="en-GB" sz="1000" b="0" i="0" u="none" strike="noStrike" cap="none" normalizeH="0" baseline="0">
              <a:ln>
                <a:noFill/>
              </a:ln>
              <a:solidFill>
                <a:schemeClr val="tx1"/>
              </a:solidFill>
              <a:effectLst/>
              <a:latin typeface="Trebuchet MS" pitchFamily="34" charset="0"/>
            </a:endParaRP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GB" sz="1000" b="0" i="0" u="none" strike="noStrike" cap="none" normalizeH="0" baseline="0">
              <a:ln>
                <a:noFill/>
              </a:ln>
              <a:solidFill>
                <a:schemeClr val="tx1"/>
              </a:solidFill>
              <a:effectLst/>
              <a:latin typeface="Trebuchet MS" pitchFamily="34" charset="0"/>
            </a:endParaRPr>
          </a:p>
        </p:txBody>
      </p:sp>
      <p:sp>
        <p:nvSpPr>
          <p:cNvPr id="55" name="Flèche : bas 49">
            <a:extLst>
              <a:ext uri="{FF2B5EF4-FFF2-40B4-BE49-F238E27FC236}">
                <a16:creationId xmlns:a16="http://schemas.microsoft.com/office/drawing/2014/main" id="{13E464CB-0433-4406-A004-E56DABC4C385}"/>
              </a:ext>
            </a:extLst>
          </p:cNvPr>
          <p:cNvSpPr/>
          <p:nvPr/>
        </p:nvSpPr>
        <p:spPr bwMode="auto">
          <a:xfrm>
            <a:off x="2148559" y="2417258"/>
            <a:ext cx="152233" cy="241846"/>
          </a:xfrm>
          <a:prstGeom prst="down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58" name="Rectangle 57">
            <a:extLst>
              <a:ext uri="{FF2B5EF4-FFF2-40B4-BE49-F238E27FC236}">
                <a16:creationId xmlns:a16="http://schemas.microsoft.com/office/drawing/2014/main" id="{7EED4CF3-DA51-4383-9304-A624EF3A602E}"/>
              </a:ext>
            </a:extLst>
          </p:cNvPr>
          <p:cNvSpPr/>
          <p:nvPr/>
        </p:nvSpPr>
        <p:spPr bwMode="auto">
          <a:xfrm>
            <a:off x="820676" y="1437610"/>
            <a:ext cx="2807999" cy="971175"/>
          </a:xfrm>
          <a:prstGeom prst="rect">
            <a:avLst/>
          </a:prstGeom>
          <a:solidFill>
            <a:srgbClr val="F3FCFF"/>
          </a:solidFill>
          <a:ln w="9525" cap="flat" cmpd="sng" algn="ctr">
            <a:solidFill>
              <a:schemeClr val="accent2"/>
            </a:solidFill>
            <a:prstDash val="dash"/>
            <a:round/>
            <a:headEnd type="none" w="med" len="med"/>
            <a:tailEnd type="none" w="med" len="med"/>
          </a:ln>
          <a:effectLst/>
        </p:spPr>
        <p:txBody>
          <a:bodyPr vert="horz" wrap="square" lIns="91440" tIns="45720" rIns="91440" bIns="21600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GB" sz="1000" b="1">
              <a:solidFill>
                <a:schemeClr val="accent1">
                  <a:lumMod val="75000"/>
                </a:schemeClr>
              </a:solidFill>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GB" sz="1000" b="1">
              <a:solidFill>
                <a:schemeClr val="accent1">
                  <a:lumMod val="75000"/>
                </a:schemeClr>
              </a:solidFill>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accent1">
                    <a:lumMod val="75000"/>
                  </a:schemeClr>
                </a:solidFill>
                <a:latin typeface="Trebuchet MS" pitchFamily="34" charset="0"/>
              </a:rPr>
              <a:t>NEEDS FOR B2B LEADS TO PROSPECT NEW CLIENTS</a:t>
            </a:r>
            <a:endParaRPr kumimoji="0" lang="en-GB" sz="1000" b="1" i="0" u="none" strike="noStrike" cap="none" normalizeH="0" baseline="0">
              <a:ln>
                <a:noFill/>
              </a:ln>
              <a:solidFill>
                <a:schemeClr val="accent1">
                  <a:lumMod val="75000"/>
                </a:schemeClr>
              </a:solidFill>
              <a:effectLst/>
              <a:latin typeface="Trebuchet MS" panose="020B0603020202020204" pitchFamily="34" charset="0"/>
            </a:endParaRPr>
          </a:p>
        </p:txBody>
      </p:sp>
      <p:pic>
        <p:nvPicPr>
          <p:cNvPr id="59" name="Graphique 25">
            <a:extLst>
              <a:ext uri="{FF2B5EF4-FFF2-40B4-BE49-F238E27FC236}">
                <a16:creationId xmlns:a16="http://schemas.microsoft.com/office/drawing/2014/main" id="{612FADDC-B8C9-4E34-ADC5-06DB3F211968}"/>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26117"/>
          <a:stretch/>
        </p:blipFill>
        <p:spPr>
          <a:xfrm>
            <a:off x="2148559" y="1530200"/>
            <a:ext cx="228021" cy="210585"/>
          </a:xfrm>
          <a:prstGeom prst="rect">
            <a:avLst/>
          </a:prstGeom>
        </p:spPr>
      </p:pic>
      <p:pic>
        <p:nvPicPr>
          <p:cNvPr id="97" name="Picture 2">
            <a:extLst>
              <a:ext uri="{FF2B5EF4-FFF2-40B4-BE49-F238E27FC236}">
                <a16:creationId xmlns:a16="http://schemas.microsoft.com/office/drawing/2014/main" id="{B122F86C-FD2D-4F1C-A609-122C7C5BF1BA}"/>
              </a:ext>
            </a:extLst>
          </p:cNvPr>
          <p:cNvPicPr>
            <a:picLocks noChangeAspect="1" noChangeArrowheads="1"/>
          </p:cNvPicPr>
          <p:nvPr/>
        </p:nvPicPr>
        <p:blipFill rotWithShape="1">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t="29837" b="30168"/>
          <a:stretch/>
        </p:blipFill>
        <p:spPr bwMode="auto">
          <a:xfrm>
            <a:off x="2097915" y="4126989"/>
            <a:ext cx="981934" cy="218180"/>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98">
            <a:extLst>
              <a:ext uri="{FF2B5EF4-FFF2-40B4-BE49-F238E27FC236}">
                <a16:creationId xmlns:a16="http://schemas.microsoft.com/office/drawing/2014/main" id="{92FBFC78-7D03-4EB2-8563-D8A943FB058D}"/>
              </a:ext>
            </a:extLst>
          </p:cNvPr>
          <p:cNvPicPr>
            <a:picLocks noChangeAspect="1"/>
          </p:cNvPicPr>
          <p:nvPr/>
        </p:nvPicPr>
        <p:blipFill>
          <a:blip r:embed="rId17">
            <a:clrChange>
              <a:clrFrom>
                <a:srgbClr val="FFFFFF"/>
              </a:clrFrom>
              <a:clrTo>
                <a:srgbClr val="FFFFFF">
                  <a:alpha val="0"/>
                </a:srgbClr>
              </a:clrTo>
            </a:clrChange>
            <a:extLst>
              <a:ext uri="{BEBA8EAE-BF5A-486C-A8C5-ECC9F3942E4B}">
                <a14:imgProps xmlns:a14="http://schemas.microsoft.com/office/drawing/2010/main">
                  <a14:imgLayer r:embed="rId18">
                    <a14:imgEffect>
                      <a14:brightnessContrast bright="7000"/>
                    </a14:imgEffect>
                  </a14:imgLayer>
                </a14:imgProps>
              </a:ext>
            </a:extLst>
          </a:blip>
          <a:stretch>
            <a:fillRect/>
          </a:stretch>
        </p:blipFill>
        <p:spPr>
          <a:xfrm>
            <a:off x="1274549" y="4127476"/>
            <a:ext cx="608322" cy="241770"/>
          </a:xfrm>
          <a:prstGeom prst="rect">
            <a:avLst/>
          </a:prstGeom>
        </p:spPr>
      </p:pic>
      <p:pic>
        <p:nvPicPr>
          <p:cNvPr id="103" name="Picture 2" descr="Un accès unique et centralisé au portail d'information BtoB - Intuiz">
            <a:extLst>
              <a:ext uri="{FF2B5EF4-FFF2-40B4-BE49-F238E27FC236}">
                <a16:creationId xmlns:a16="http://schemas.microsoft.com/office/drawing/2014/main" id="{6DFCC0B1-C3CF-4838-93B5-CCF4EFC094CB}"/>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340201" y="4147852"/>
            <a:ext cx="587276" cy="232953"/>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a:extLst>
              <a:ext uri="{FF2B5EF4-FFF2-40B4-BE49-F238E27FC236}">
                <a16:creationId xmlns:a16="http://schemas.microsoft.com/office/drawing/2014/main" id="{D2B9FD11-2B87-4D59-8373-5A12D1F6CF63}"/>
              </a:ext>
            </a:extLst>
          </p:cNvPr>
          <p:cNvSpPr/>
          <p:nvPr/>
        </p:nvSpPr>
        <p:spPr bwMode="auto">
          <a:xfrm>
            <a:off x="118645" y="4939301"/>
            <a:ext cx="695505" cy="870021"/>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dirty="0">
                <a:ln>
                  <a:noFill/>
                </a:ln>
                <a:solidFill>
                  <a:schemeClr val="tx2"/>
                </a:solidFill>
                <a:effectLst/>
                <a:latin typeface="Trebuchet MS" panose="020B0603020202020204" pitchFamily="34" charset="0"/>
              </a:rPr>
              <a:t>FR &amp; BNL revenue for 2019 </a:t>
            </a:r>
          </a:p>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dirty="0">
                <a:ln>
                  <a:noFill/>
                </a:ln>
                <a:solidFill>
                  <a:schemeClr val="tx2"/>
                </a:solidFill>
                <a:effectLst/>
                <a:latin typeface="Trebuchet MS" panose="020B0603020202020204" pitchFamily="34" charset="0"/>
              </a:rPr>
              <a:t>(% of direct </a:t>
            </a:r>
            <a:r>
              <a:rPr kumimoji="0" lang="en-GB" sz="1000" b="0" i="0" u="none" strike="noStrike" cap="none" normalizeH="0" dirty="0">
                <a:ln>
                  <a:noFill/>
                </a:ln>
                <a:solidFill>
                  <a:schemeClr val="tx2"/>
                </a:solidFill>
                <a:effectLst/>
                <a:latin typeface="Trebuchet MS" panose="020B0603020202020204" pitchFamily="34" charset="0"/>
              </a:rPr>
              <a:t>revenue</a:t>
            </a:r>
            <a:r>
              <a:rPr lang="en-GB" sz="1000" baseline="30000" dirty="0">
                <a:solidFill>
                  <a:schemeClr val="tx2"/>
                </a:solidFill>
                <a:latin typeface="Trebuchet MS" panose="020B0603020202020204" pitchFamily="34" charset="0"/>
              </a:rPr>
              <a:t>3</a:t>
            </a:r>
            <a:r>
              <a:rPr kumimoji="0" lang="en-GB" sz="1000" b="0" i="0" u="none" strike="noStrike" cap="none" normalizeH="0" baseline="0" dirty="0">
                <a:ln>
                  <a:noFill/>
                </a:ln>
                <a:solidFill>
                  <a:schemeClr val="tx2"/>
                </a:solidFill>
                <a:effectLst/>
                <a:latin typeface="Trebuchet MS" panose="020B0603020202020204" pitchFamily="34" charset="0"/>
              </a:rPr>
              <a:t>, </a:t>
            </a:r>
          </a:p>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dirty="0">
                <a:ln>
                  <a:noFill/>
                </a:ln>
                <a:solidFill>
                  <a:schemeClr val="tx2"/>
                </a:solidFill>
                <a:effectLst/>
                <a:latin typeface="Trebuchet MS" panose="020B0603020202020204" pitchFamily="34" charset="0"/>
              </a:rPr>
              <a:t>97.1M €)</a:t>
            </a:r>
          </a:p>
        </p:txBody>
      </p:sp>
      <p:sp>
        <p:nvSpPr>
          <p:cNvPr id="107" name="Rectangle 106">
            <a:extLst>
              <a:ext uri="{FF2B5EF4-FFF2-40B4-BE49-F238E27FC236}">
                <a16:creationId xmlns:a16="http://schemas.microsoft.com/office/drawing/2014/main" id="{2B60E5F0-2DC8-4891-8EC9-3AC450897E87}"/>
              </a:ext>
            </a:extLst>
          </p:cNvPr>
          <p:cNvSpPr/>
          <p:nvPr/>
        </p:nvSpPr>
        <p:spPr bwMode="auto">
          <a:xfrm>
            <a:off x="6797874" y="4774669"/>
            <a:ext cx="2807999" cy="1307749"/>
          </a:xfrm>
          <a:prstGeom prst="rect">
            <a:avLst/>
          </a:prstGeom>
          <a:solidFill>
            <a:schemeClr val="bg2">
              <a:lumMod val="20000"/>
              <a:lumOff val="80000"/>
            </a:schemeClr>
          </a:solidFill>
          <a:ln w="9525" cap="flat" cmpd="sng" algn="ctr">
            <a:solidFill>
              <a:schemeClr val="tx2"/>
            </a:solidFill>
            <a:prstDash val="dash"/>
            <a:round/>
            <a:headEnd type="none" w="med" len="med"/>
            <a:tailEnd type="none" w="med" len="med"/>
          </a:ln>
          <a:effectLst/>
        </p:spPr>
        <p:txBody>
          <a:bodyPr vert="horz" wrap="square" lIns="90000" tIns="45720" rIns="91440" bIns="45720" numCol="1" rtlCol="0" anchor="ctr" anchorCtr="0" compatLnSpc="1">
            <a:prstTxWarp prst="textNoShape">
              <a:avLst/>
            </a:prstTxWarp>
          </a:bodyPr>
          <a:lstStyle/>
          <a:p>
            <a:pPr algn="ctr"/>
            <a:r>
              <a:rPr lang="en-GB" sz="2000" b="1">
                <a:solidFill>
                  <a:schemeClr val="tx2"/>
                </a:solidFill>
                <a:latin typeface="Trebuchet MS" panose="020B0603020202020204" pitchFamily="34" charset="0"/>
              </a:rPr>
              <a:t>66.3M€</a:t>
            </a:r>
          </a:p>
          <a:p>
            <a:pPr algn="ctr"/>
            <a:r>
              <a:rPr lang="en-GB" sz="2000">
                <a:solidFill>
                  <a:schemeClr val="tx2"/>
                </a:solidFill>
                <a:latin typeface="Trebuchet MS" panose="020B0603020202020204" pitchFamily="34" charset="0"/>
              </a:rPr>
              <a:t>(68.3%)</a:t>
            </a:r>
            <a:endParaRPr kumimoji="0" lang="en-GB" sz="1000" i="0" u="none" strike="noStrike" cap="none" normalizeH="0" baseline="0">
              <a:ln>
                <a:noFill/>
              </a:ln>
              <a:solidFill>
                <a:schemeClr val="tx2"/>
              </a:solidFill>
              <a:effectLst/>
              <a:latin typeface="Trebuchet MS" panose="020B0603020202020204" pitchFamily="34" charset="0"/>
            </a:endParaRPr>
          </a:p>
        </p:txBody>
      </p:sp>
      <p:sp>
        <p:nvSpPr>
          <p:cNvPr id="109" name="Rectangle 108">
            <a:extLst>
              <a:ext uri="{FF2B5EF4-FFF2-40B4-BE49-F238E27FC236}">
                <a16:creationId xmlns:a16="http://schemas.microsoft.com/office/drawing/2014/main" id="{E8E4AA4A-DAC0-4E57-8325-693C08AEF10E}"/>
              </a:ext>
            </a:extLst>
          </p:cNvPr>
          <p:cNvSpPr/>
          <p:nvPr/>
        </p:nvSpPr>
        <p:spPr bwMode="auto">
          <a:xfrm>
            <a:off x="831868" y="4774669"/>
            <a:ext cx="2807999" cy="1307747"/>
          </a:xfrm>
          <a:prstGeom prst="rect">
            <a:avLst/>
          </a:prstGeom>
          <a:solidFill>
            <a:schemeClr val="bg2">
              <a:lumMod val="20000"/>
              <a:lumOff val="80000"/>
            </a:schemeClr>
          </a:solidFill>
          <a:ln w="9525" cap="flat" cmpd="sng" algn="ctr">
            <a:solidFill>
              <a:schemeClr val="tx2"/>
            </a:solidFill>
            <a:prstDash val="dash"/>
            <a:round/>
            <a:headEnd type="none" w="med" len="med"/>
            <a:tailEnd type="none" w="med" len="med"/>
          </a:ln>
          <a:effectLst/>
        </p:spPr>
        <p:txBody>
          <a:bodyPr vert="horz" wrap="square" lIns="90000" tIns="45720" rIns="91440" bIns="45720" numCol="1" rtlCol="0" anchor="ctr" anchorCtr="0" compatLnSpc="1">
            <a:prstTxWarp prst="textNoShape">
              <a:avLst/>
            </a:prstTxWarp>
          </a:bodyPr>
          <a:lstStyle/>
          <a:p>
            <a:pPr algn="ctr"/>
            <a:r>
              <a:rPr lang="en-GB" sz="2000" b="1">
                <a:solidFill>
                  <a:schemeClr val="tx2"/>
                </a:solidFill>
                <a:latin typeface="Trebuchet MS" panose="020B0603020202020204" pitchFamily="34" charset="0"/>
              </a:rPr>
              <a:t>20.8M€</a:t>
            </a:r>
          </a:p>
          <a:p>
            <a:pPr algn="ctr"/>
            <a:r>
              <a:rPr lang="en-GB" sz="2000">
                <a:solidFill>
                  <a:schemeClr val="tx2"/>
                </a:solidFill>
                <a:latin typeface="Trebuchet MS" panose="020B0603020202020204" pitchFamily="34" charset="0"/>
              </a:rPr>
              <a:t>(21.4%)</a:t>
            </a:r>
            <a:endParaRPr kumimoji="0" lang="en-GB" sz="1000" i="0" u="none" strike="noStrike" cap="none" normalizeH="0" baseline="0">
              <a:ln>
                <a:noFill/>
              </a:ln>
              <a:solidFill>
                <a:schemeClr val="tx2"/>
              </a:solidFill>
              <a:effectLst/>
              <a:latin typeface="Trebuchet MS" panose="020B0603020202020204" pitchFamily="34" charset="0"/>
            </a:endParaRPr>
          </a:p>
        </p:txBody>
      </p:sp>
      <p:sp>
        <p:nvSpPr>
          <p:cNvPr id="111" name="Rectangle 110">
            <a:extLst>
              <a:ext uri="{FF2B5EF4-FFF2-40B4-BE49-F238E27FC236}">
                <a16:creationId xmlns:a16="http://schemas.microsoft.com/office/drawing/2014/main" id="{21199C27-F9A8-482D-866A-93060DEC2DF2}"/>
              </a:ext>
            </a:extLst>
          </p:cNvPr>
          <p:cNvSpPr/>
          <p:nvPr/>
        </p:nvSpPr>
        <p:spPr bwMode="auto">
          <a:xfrm>
            <a:off x="3804739" y="4774670"/>
            <a:ext cx="2807999" cy="1307749"/>
          </a:xfrm>
          <a:prstGeom prst="rect">
            <a:avLst/>
          </a:prstGeom>
          <a:solidFill>
            <a:schemeClr val="bg2">
              <a:lumMod val="20000"/>
              <a:lumOff val="80000"/>
            </a:schemeClr>
          </a:solidFill>
          <a:ln w="9525" cap="flat" cmpd="sng" algn="ctr">
            <a:solidFill>
              <a:schemeClr val="tx2"/>
            </a:solidFill>
            <a:prstDash val="dash"/>
            <a:round/>
            <a:headEnd type="none" w="med" len="med"/>
            <a:tailEnd type="none" w="med" len="med"/>
          </a:ln>
          <a:effectLst/>
        </p:spPr>
        <p:txBody>
          <a:bodyPr vert="horz" wrap="square" lIns="90000" tIns="45720" rIns="91440" bIns="45720" numCol="1" rtlCol="0" anchor="ctr" anchorCtr="0" compatLnSpc="1">
            <a:prstTxWarp prst="textNoShape">
              <a:avLst/>
            </a:prstTxWarp>
          </a:bodyPr>
          <a:lstStyle/>
          <a:p>
            <a:pPr algn="ctr"/>
            <a:r>
              <a:rPr lang="en-GB" sz="2000" b="1">
                <a:solidFill>
                  <a:schemeClr val="tx2"/>
                </a:solidFill>
                <a:latin typeface="Trebuchet MS" panose="020B0603020202020204" pitchFamily="34" charset="0"/>
              </a:rPr>
              <a:t>10M€</a:t>
            </a:r>
          </a:p>
          <a:p>
            <a:pPr algn="ctr"/>
            <a:r>
              <a:rPr lang="en-GB" sz="2000">
                <a:solidFill>
                  <a:schemeClr val="tx2"/>
                </a:solidFill>
                <a:latin typeface="Trebuchet MS" panose="020B0603020202020204" pitchFamily="34" charset="0"/>
              </a:rPr>
              <a:t>(10.3%)</a:t>
            </a:r>
            <a:endParaRPr kumimoji="0" lang="en-GB" sz="1000" i="0" u="none" strike="noStrike" cap="none" normalizeH="0" baseline="0">
              <a:ln>
                <a:noFill/>
              </a:ln>
              <a:solidFill>
                <a:schemeClr val="tx2"/>
              </a:solidFill>
              <a:effectLst/>
              <a:latin typeface="Trebuchet MS" panose="020B0603020202020204" pitchFamily="34" charset="0"/>
            </a:endParaRPr>
          </a:p>
        </p:txBody>
      </p:sp>
      <p:sp>
        <p:nvSpPr>
          <p:cNvPr id="5" name="Isosceles Triangle 4">
            <a:extLst>
              <a:ext uri="{FF2B5EF4-FFF2-40B4-BE49-F238E27FC236}">
                <a16:creationId xmlns:a16="http://schemas.microsoft.com/office/drawing/2014/main" id="{3CB3819C-BF09-498C-87F9-F83688D50A53}"/>
              </a:ext>
            </a:extLst>
          </p:cNvPr>
          <p:cNvSpPr/>
          <p:nvPr/>
        </p:nvSpPr>
        <p:spPr bwMode="auto">
          <a:xfrm rot="5400000">
            <a:off x="3383785" y="1868450"/>
            <a:ext cx="704814" cy="155236"/>
          </a:xfrm>
          <a:prstGeom prst="triangle">
            <a:avLst/>
          </a:prstGeom>
          <a:solidFill>
            <a:srgbClr val="007AA9"/>
          </a:solidFill>
          <a:ln w="9525" cap="flat" cmpd="sng" algn="ctr">
            <a:solidFill>
              <a:srgbClr val="007AA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0" name="Isosceles Triangle 59">
            <a:extLst>
              <a:ext uri="{FF2B5EF4-FFF2-40B4-BE49-F238E27FC236}">
                <a16:creationId xmlns:a16="http://schemas.microsoft.com/office/drawing/2014/main" id="{C52D6E29-2E27-4BB0-BE5B-DBB86E2A521C}"/>
              </a:ext>
            </a:extLst>
          </p:cNvPr>
          <p:cNvSpPr/>
          <p:nvPr/>
        </p:nvSpPr>
        <p:spPr bwMode="auto">
          <a:xfrm rot="5400000">
            <a:off x="6362757" y="1868451"/>
            <a:ext cx="704813" cy="155236"/>
          </a:xfrm>
          <a:prstGeom prst="triangle">
            <a:avLst/>
          </a:prstGeom>
          <a:solidFill>
            <a:srgbClr val="007AA9"/>
          </a:solidFill>
          <a:ln w="9525" cap="flat" cmpd="sng" algn="ctr">
            <a:solidFill>
              <a:srgbClr val="007AA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50" name="Groupe 49">
            <a:extLst>
              <a:ext uri="{FF2B5EF4-FFF2-40B4-BE49-F238E27FC236}">
                <a16:creationId xmlns:a16="http://schemas.microsoft.com/office/drawing/2014/main" id="{B149EF78-D2D2-4ACF-BFA2-532260A8130C}"/>
              </a:ext>
            </a:extLst>
          </p:cNvPr>
          <p:cNvGrpSpPr/>
          <p:nvPr/>
        </p:nvGrpSpPr>
        <p:grpSpPr>
          <a:xfrm>
            <a:off x="8448150" y="-11528"/>
            <a:ext cx="1435548" cy="588143"/>
            <a:chOff x="8448150" y="-11528"/>
            <a:chExt cx="1435548" cy="588143"/>
          </a:xfrm>
        </p:grpSpPr>
        <p:sp>
          <p:nvSpPr>
            <p:cNvPr id="51" name="Rectangle : coins arrondis 199">
              <a:extLst>
                <a:ext uri="{FF2B5EF4-FFF2-40B4-BE49-F238E27FC236}">
                  <a16:creationId xmlns:a16="http://schemas.microsoft.com/office/drawing/2014/main" id="{96AD56DC-DCE0-4EE2-AA2B-BC2886D6021C}"/>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2" name="Rectangle : coins arrondis 200">
              <a:extLst>
                <a:ext uri="{FF2B5EF4-FFF2-40B4-BE49-F238E27FC236}">
                  <a16:creationId xmlns:a16="http://schemas.microsoft.com/office/drawing/2014/main" id="{2E192AA9-454E-49D9-84AB-F3E9046CE649}"/>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6" name="Rectangle : coins arrondis 201">
              <a:extLst>
                <a:ext uri="{FF2B5EF4-FFF2-40B4-BE49-F238E27FC236}">
                  <a16:creationId xmlns:a16="http://schemas.microsoft.com/office/drawing/2014/main" id="{36DD2CA0-A722-464A-B64E-770E91F0DBFC}"/>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7" name="ZoneTexte 18">
              <a:extLst>
                <a:ext uri="{FF2B5EF4-FFF2-40B4-BE49-F238E27FC236}">
                  <a16:creationId xmlns:a16="http://schemas.microsoft.com/office/drawing/2014/main" id="{419D619B-4B71-4E4A-848F-E459B828380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offer</a:t>
              </a:r>
            </a:p>
          </p:txBody>
        </p:sp>
        <p:pic>
          <p:nvPicPr>
            <p:cNvPr id="61" name="Graphique 128" descr="Jauge">
              <a:extLst>
                <a:ext uri="{FF2B5EF4-FFF2-40B4-BE49-F238E27FC236}">
                  <a16:creationId xmlns:a16="http://schemas.microsoft.com/office/drawing/2014/main" id="{70200BEE-1813-4617-A717-1A5BCEAAF6D4}"/>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553764" y="187516"/>
              <a:ext cx="234953" cy="218224"/>
            </a:xfrm>
            <a:prstGeom prst="rect">
              <a:avLst/>
            </a:prstGeom>
            <a:effectLst/>
          </p:spPr>
        </p:pic>
        <p:pic>
          <p:nvPicPr>
            <p:cNvPr id="62" name="Graphique 90" descr="Poignée de main">
              <a:extLst>
                <a:ext uri="{FF2B5EF4-FFF2-40B4-BE49-F238E27FC236}">
                  <a16:creationId xmlns:a16="http://schemas.microsoft.com/office/drawing/2014/main" id="{3E901954-DBFE-4AAF-B352-9D9DC5F1883A}"/>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960868" y="152880"/>
              <a:ext cx="256313" cy="287496"/>
            </a:xfrm>
            <a:prstGeom prst="rect">
              <a:avLst/>
            </a:prstGeom>
            <a:effectLst/>
          </p:spPr>
        </p:pic>
        <p:pic>
          <p:nvPicPr>
            <p:cNvPr id="63" name="Graphique 74" descr="Mégaphone">
              <a:extLst>
                <a:ext uri="{FF2B5EF4-FFF2-40B4-BE49-F238E27FC236}">
                  <a16:creationId xmlns:a16="http://schemas.microsoft.com/office/drawing/2014/main" id="{871888FE-E166-4EAF-8BC0-93D88835A169}"/>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389331" y="181519"/>
              <a:ext cx="233011" cy="216420"/>
            </a:xfrm>
            <a:prstGeom prst="rect">
              <a:avLst/>
            </a:prstGeom>
            <a:effectLst/>
          </p:spPr>
        </p:pic>
        <p:pic>
          <p:nvPicPr>
            <p:cNvPr id="64" name="Picture 2" descr="Drapeau France">
              <a:extLst>
                <a:ext uri="{FF2B5EF4-FFF2-40B4-BE49-F238E27FC236}">
                  <a16:creationId xmlns:a16="http://schemas.microsoft.com/office/drawing/2014/main" id="{53251BEC-7F9E-478A-B4A6-292121467625}"/>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5" name="Picture 2" descr="5 ft x 3 ft 150 x 90 cm-DRAPEAU BELGE Belgique 100% Polyester ...">
              <a:extLst>
                <a:ext uri="{FF2B5EF4-FFF2-40B4-BE49-F238E27FC236}">
                  <a16:creationId xmlns:a16="http://schemas.microsoft.com/office/drawing/2014/main" id="{369A52F9-7E8F-4C54-A874-FB965913F2B0}"/>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6" name="Picture 2 - 1" descr="Drapeau des Pays-Bas — Wikipédia">
              <a:extLst>
                <a:ext uri="{FF2B5EF4-FFF2-40B4-BE49-F238E27FC236}">
                  <a16:creationId xmlns:a16="http://schemas.microsoft.com/office/drawing/2014/main" id="{EB7DE98C-CC8D-4FF3-BC63-AD1D8128939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7" name="Picture 2 - 2" descr="Drapeau du Luxembourg">
              <a:extLst>
                <a:ext uri="{FF2B5EF4-FFF2-40B4-BE49-F238E27FC236}">
                  <a16:creationId xmlns:a16="http://schemas.microsoft.com/office/drawing/2014/main" id="{8892F1C6-D7C0-4D45-A2FD-39CAD1AAC424}"/>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8" name="ZoneTexte 18">
              <a:extLst>
                <a:ext uri="{FF2B5EF4-FFF2-40B4-BE49-F238E27FC236}">
                  <a16:creationId xmlns:a16="http://schemas.microsoft.com/office/drawing/2014/main" id="{59774376-3779-4DD3-AD19-55F78F7309B0}"/>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Along client’ lifecycle</a:t>
              </a:r>
            </a:p>
          </p:txBody>
        </p:sp>
      </p:grpSp>
      <p:cxnSp>
        <p:nvCxnSpPr>
          <p:cNvPr id="69" name="Connecteur droit 208">
            <a:extLst>
              <a:ext uri="{FF2B5EF4-FFF2-40B4-BE49-F238E27FC236}">
                <a16:creationId xmlns:a16="http://schemas.microsoft.com/office/drawing/2014/main" id="{CBD32AD3-BF1E-4F3F-80D1-D0E04A1F2A9F}"/>
              </a:ext>
            </a:extLst>
          </p:cNvPr>
          <p:cNvCxnSpPr>
            <a:cxnSpLocks/>
          </p:cNvCxnSpPr>
          <p:nvPr/>
        </p:nvCxnSpPr>
        <p:spPr bwMode="auto">
          <a:xfrm>
            <a:off x="384975" y="959968"/>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70" name="Rectangle 84">
            <a:extLst>
              <a:ext uri="{FF2B5EF4-FFF2-40B4-BE49-F238E27FC236}">
                <a16:creationId xmlns:a16="http://schemas.microsoft.com/office/drawing/2014/main" id="{78E1728E-D7F0-47B0-BD54-8A8E37FEA275}"/>
              </a:ext>
            </a:extLst>
          </p:cNvPr>
          <p:cNvSpPr/>
          <p:nvPr/>
        </p:nvSpPr>
        <p:spPr bwMode="auto">
          <a:xfrm>
            <a:off x="2728691" y="850588"/>
            <a:ext cx="4350022" cy="188514"/>
          </a:xfrm>
          <a:prstGeom prst="rect">
            <a:avLst/>
          </a:prstGeom>
          <a:solidFill>
            <a:schemeClr val="bg1"/>
          </a:solidFill>
        </p:spPr>
        <p:txBody>
          <a:bodyPr wrap="square" rtlCol="0">
            <a:noAutofit/>
          </a:bodyPr>
          <a:lstStyle/>
          <a:p>
            <a:pPr algn="ctr"/>
            <a:r>
              <a:rPr lang="en-GB" sz="1100">
                <a:latin typeface="Trebuchet MS" panose="020B0603020202020204" pitchFamily="34" charset="0"/>
              </a:rPr>
              <a:t>Mapping of </a:t>
            </a:r>
            <a:r>
              <a:rPr lang="en-GB" sz="1100" err="1">
                <a:latin typeface="Trebuchet MS" panose="020B0603020202020204" pitchFamily="34" charset="0"/>
              </a:rPr>
              <a:t>Altares</a:t>
            </a:r>
            <a:r>
              <a:rPr lang="en-GB" sz="1100">
                <a:latin typeface="Trebuchet MS" panose="020B0603020202020204" pitchFamily="34" charset="0"/>
              </a:rPr>
              <a:t>' offer throughout the </a:t>
            </a:r>
            <a:r>
              <a:rPr lang="en-GB" sz="1100">
                <a:solidFill>
                  <a:schemeClr val="tx2"/>
                </a:solidFill>
                <a:latin typeface="Trebuchet MS" panose="020B0603020202020204" pitchFamily="34" charset="0"/>
              </a:rPr>
              <a:t>client lifecycle </a:t>
            </a:r>
          </a:p>
        </p:txBody>
      </p:sp>
      <p:sp>
        <p:nvSpPr>
          <p:cNvPr id="4" name="ZoneTexte 3">
            <a:extLst>
              <a:ext uri="{FF2B5EF4-FFF2-40B4-BE49-F238E27FC236}">
                <a16:creationId xmlns:a16="http://schemas.microsoft.com/office/drawing/2014/main" id="{CE2D637A-75FC-487E-B619-B5A7FB874EA0}"/>
              </a:ext>
            </a:extLst>
          </p:cNvPr>
          <p:cNvSpPr txBox="1"/>
          <p:nvPr/>
        </p:nvSpPr>
        <p:spPr>
          <a:xfrm>
            <a:off x="3236108" y="4305210"/>
            <a:ext cx="785133" cy="276999"/>
          </a:xfrm>
          <a:prstGeom prst="rect">
            <a:avLst/>
          </a:prstGeom>
          <a:noFill/>
        </p:spPr>
        <p:txBody>
          <a:bodyPr wrap="square" rtlCol="0">
            <a:spAutoFit/>
          </a:bodyPr>
          <a:lstStyle/>
          <a:p>
            <a:r>
              <a:rPr lang="en-GB" sz="1200">
                <a:latin typeface="+mj-lt"/>
              </a:rPr>
              <a:t>...</a:t>
            </a:r>
          </a:p>
        </p:txBody>
      </p:sp>
      <p:sp>
        <p:nvSpPr>
          <p:cNvPr id="71" name="ZoneTexte 70">
            <a:extLst>
              <a:ext uri="{FF2B5EF4-FFF2-40B4-BE49-F238E27FC236}">
                <a16:creationId xmlns:a16="http://schemas.microsoft.com/office/drawing/2014/main" id="{13649359-9902-48DA-B55D-01749DCF3023}"/>
              </a:ext>
            </a:extLst>
          </p:cNvPr>
          <p:cNvSpPr txBox="1"/>
          <p:nvPr/>
        </p:nvSpPr>
        <p:spPr>
          <a:xfrm>
            <a:off x="6321342" y="4305210"/>
            <a:ext cx="785133" cy="276999"/>
          </a:xfrm>
          <a:prstGeom prst="rect">
            <a:avLst/>
          </a:prstGeom>
          <a:noFill/>
        </p:spPr>
        <p:txBody>
          <a:bodyPr wrap="square" rtlCol="0">
            <a:spAutoFit/>
          </a:bodyPr>
          <a:lstStyle/>
          <a:p>
            <a:r>
              <a:rPr lang="en-GB" sz="1200">
                <a:latin typeface="+mj-lt"/>
              </a:rPr>
              <a:t>...</a:t>
            </a:r>
          </a:p>
        </p:txBody>
      </p:sp>
      <p:sp>
        <p:nvSpPr>
          <p:cNvPr id="72" name="ZoneTexte 71">
            <a:extLst>
              <a:ext uri="{FF2B5EF4-FFF2-40B4-BE49-F238E27FC236}">
                <a16:creationId xmlns:a16="http://schemas.microsoft.com/office/drawing/2014/main" id="{EEA9AAF1-D12F-492C-A463-DC3A28C7826D}"/>
              </a:ext>
            </a:extLst>
          </p:cNvPr>
          <p:cNvSpPr txBox="1"/>
          <p:nvPr/>
        </p:nvSpPr>
        <p:spPr>
          <a:xfrm>
            <a:off x="9229775" y="4305210"/>
            <a:ext cx="785133" cy="276999"/>
          </a:xfrm>
          <a:prstGeom prst="rect">
            <a:avLst/>
          </a:prstGeom>
          <a:noFill/>
        </p:spPr>
        <p:txBody>
          <a:bodyPr wrap="square" rtlCol="0">
            <a:spAutoFit/>
          </a:bodyPr>
          <a:lstStyle/>
          <a:p>
            <a:r>
              <a:rPr lang="en-GB" sz="1200">
                <a:latin typeface="+mj-lt"/>
              </a:rPr>
              <a:t>...</a:t>
            </a:r>
          </a:p>
        </p:txBody>
      </p:sp>
    </p:spTree>
    <p:extLst>
      <p:ext uri="{BB962C8B-B14F-4D97-AF65-F5344CB8AC3E}">
        <p14:creationId xmlns:p14="http://schemas.microsoft.com/office/powerpoint/2010/main" val="2982811336"/>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E05803-6F33-4048-A38D-D472107A1B81}"/>
              </a:ext>
            </a:extLst>
          </p:cNvPr>
          <p:cNvGraphicFramePr>
            <a:graphicFrameLocks noChangeAspect="1"/>
          </p:cNvGraphicFramePr>
          <p:nvPr>
            <p:custDataLst>
              <p:tags r:id="rId1"/>
            </p:custDataLst>
            <p:extLst>
              <p:ext uri="{D42A27DB-BD31-4B8C-83A1-F6EECF244321}">
                <p14:modId xmlns:p14="http://schemas.microsoft.com/office/powerpoint/2010/main" val="1893296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18" imgH="520" progId="TCLayout.ActiveDocument.1">
                  <p:embed/>
                </p:oleObj>
              </mc:Choice>
              <mc:Fallback>
                <p:oleObj name="think-cell Slide" r:id="rId4" imgW="518" imgH="520" progId="TCLayout.ActiveDocument.1">
                  <p:embed/>
                  <p:pic>
                    <p:nvPicPr>
                      <p:cNvPr id="5" name="Object 4" hidden="1">
                        <a:extLst>
                          <a:ext uri="{FF2B5EF4-FFF2-40B4-BE49-F238E27FC236}">
                            <a16:creationId xmlns:a16="http://schemas.microsoft.com/office/drawing/2014/main" id="{95E05803-6F33-4048-A38D-D472107A1B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2B35E67-E779-422A-ADE1-988B1343A32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cxnSp>
        <p:nvCxnSpPr>
          <p:cNvPr id="135" name="Connecteur droit 13">
            <a:extLst>
              <a:ext uri="{FF2B5EF4-FFF2-40B4-BE49-F238E27FC236}">
                <a16:creationId xmlns:a16="http://schemas.microsoft.com/office/drawing/2014/main" id="{BF66CCF3-89F6-47E5-84D9-632713CB456F}"/>
              </a:ext>
            </a:extLst>
          </p:cNvPr>
          <p:cNvCxnSpPr>
            <a:cxnSpLocks/>
          </p:cNvCxnSpPr>
          <p:nvPr/>
        </p:nvCxnSpPr>
        <p:spPr bwMode="auto">
          <a:xfrm>
            <a:off x="251393" y="1048666"/>
            <a:ext cx="9403213"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137" name="ZoneTexte 6">
            <a:extLst>
              <a:ext uri="{FF2B5EF4-FFF2-40B4-BE49-F238E27FC236}">
                <a16:creationId xmlns:a16="http://schemas.microsoft.com/office/drawing/2014/main" id="{F03136AD-763F-4D0B-9C02-89D15EAE83F3}"/>
              </a:ext>
            </a:extLst>
          </p:cNvPr>
          <p:cNvSpPr txBox="1"/>
          <p:nvPr/>
        </p:nvSpPr>
        <p:spPr>
          <a:xfrm>
            <a:off x="2794867" y="917654"/>
            <a:ext cx="4316266" cy="251817"/>
          </a:xfrm>
          <a:prstGeom prst="rect">
            <a:avLst/>
          </a:prstGeom>
          <a:solidFill>
            <a:srgbClr val="FFFFFF"/>
          </a:solidFill>
          <a:ln>
            <a:noFill/>
          </a:ln>
        </p:spPr>
        <p:txBody>
          <a:bodyPr wrap="square" rtlCol="0">
            <a:noAutofit/>
          </a:bodyPr>
          <a:lstStyle/>
          <a:p>
            <a:pPr algn="ctr"/>
            <a:r>
              <a:rPr lang="en-GB" sz="1100">
                <a:solidFill>
                  <a:schemeClr val="accent1">
                    <a:lumMod val="75000"/>
                  </a:schemeClr>
                </a:solidFill>
                <a:latin typeface="Trebuchet MS" panose="020B0603020202020204" pitchFamily="34" charset="0"/>
              </a:rPr>
              <a:t>Overview and dynamics of the BD&amp;A market – Benelux &amp; France</a:t>
            </a:r>
          </a:p>
        </p:txBody>
      </p:sp>
      <p:sp>
        <p:nvSpPr>
          <p:cNvPr id="2" name="Titre 1">
            <a:extLst>
              <a:ext uri="{FF2B5EF4-FFF2-40B4-BE49-F238E27FC236}">
                <a16:creationId xmlns:a16="http://schemas.microsoft.com/office/drawing/2014/main" id="{FA4632FD-22F4-4A33-9DFA-6B5A5316FCA7}"/>
              </a:ext>
            </a:extLst>
          </p:cNvPr>
          <p:cNvSpPr>
            <a:spLocks noGrp="1"/>
          </p:cNvSpPr>
          <p:nvPr>
            <p:ph type="title"/>
          </p:nvPr>
        </p:nvSpPr>
        <p:spPr>
          <a:xfrm>
            <a:off x="165601" y="147600"/>
            <a:ext cx="8388164" cy="684000"/>
          </a:xfrm>
        </p:spPr>
        <p:txBody>
          <a:bodyPr/>
          <a:lstStyle/>
          <a:p>
            <a:r>
              <a:rPr lang="en-GB">
                <a:latin typeface="Trebuchet MS" panose="020B0603020202020204" pitchFamily="34" charset="0"/>
              </a:rPr>
              <a:t>The market landscape has been </a:t>
            </a:r>
            <a:r>
              <a:rPr lang="en-GB">
                <a:solidFill>
                  <a:schemeClr val="tx2"/>
                </a:solidFill>
                <a:latin typeface="Trebuchet MS" panose="020B0603020202020204" pitchFamily="34" charset="0"/>
              </a:rPr>
              <a:t>progressively reshaped in the past decade</a:t>
            </a:r>
            <a:r>
              <a:rPr lang="en-GB">
                <a:latin typeface="Trebuchet MS" panose="020B0603020202020204" pitchFamily="34" charset="0"/>
              </a:rPr>
              <a:t>, creating a polarization between the </a:t>
            </a:r>
            <a:r>
              <a:rPr lang="en-GB">
                <a:solidFill>
                  <a:schemeClr val="tx2"/>
                </a:solidFill>
                <a:latin typeface="Trebuchet MS" panose="020B0603020202020204" pitchFamily="34" charset="0"/>
              </a:rPr>
              <a:t>premium incumbent addressing large accounts </a:t>
            </a:r>
            <a:r>
              <a:rPr lang="en-GB">
                <a:latin typeface="Trebuchet MS" panose="020B0603020202020204" pitchFamily="34" charset="0"/>
              </a:rPr>
              <a:t>and the local small players addressing the mass market</a:t>
            </a:r>
          </a:p>
        </p:txBody>
      </p:sp>
      <p:sp>
        <p:nvSpPr>
          <p:cNvPr id="3" name="Espace réservé du texte 2">
            <a:extLst>
              <a:ext uri="{FF2B5EF4-FFF2-40B4-BE49-F238E27FC236}">
                <a16:creationId xmlns:a16="http://schemas.microsoft.com/office/drawing/2014/main" id="{0AA036DD-C883-4F76-839C-44FD6E23C870}"/>
              </a:ext>
            </a:extLst>
          </p:cNvPr>
          <p:cNvSpPr>
            <a:spLocks noGrp="1"/>
          </p:cNvSpPr>
          <p:nvPr>
            <p:ph type="body" sz="quarter" idx="10"/>
          </p:nvPr>
        </p:nvSpPr>
        <p:spPr>
          <a:xfrm>
            <a:off x="6460795" y="6598527"/>
            <a:ext cx="706050" cy="244800"/>
          </a:xfrm>
        </p:spPr>
        <p:txBody>
          <a:bodyPr/>
          <a:lstStyle/>
          <a:p>
            <a:r>
              <a:rPr lang="en-GB"/>
              <a:t>Mono-vertical players</a:t>
            </a:r>
          </a:p>
        </p:txBody>
      </p:sp>
      <p:sp>
        <p:nvSpPr>
          <p:cNvPr id="121" name="Rectangle: Rounded Corners 120">
            <a:extLst>
              <a:ext uri="{FF2B5EF4-FFF2-40B4-BE49-F238E27FC236}">
                <a16:creationId xmlns:a16="http://schemas.microsoft.com/office/drawing/2014/main" id="{C4436ADD-20DF-4625-A001-4D9DB1B540E8}"/>
              </a:ext>
            </a:extLst>
          </p:cNvPr>
          <p:cNvSpPr/>
          <p:nvPr/>
        </p:nvSpPr>
        <p:spPr bwMode="auto">
          <a:xfrm>
            <a:off x="6175476" y="6666927"/>
            <a:ext cx="216000" cy="108000"/>
          </a:xfrm>
          <a:prstGeom prst="roundRect">
            <a:avLst>
              <a:gd name="adj" fmla="val 3927"/>
            </a:avLst>
          </a:prstGeom>
          <a:solidFill>
            <a:schemeClr val="bg1">
              <a:lumMod val="95000"/>
            </a:schemeClr>
          </a:solidFill>
          <a:ln w="9525" cap="flat" cmpd="sng" algn="ctr">
            <a:solidFill>
              <a:schemeClr val="tx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8" name="Rectangle: Rounded Corners 127">
            <a:extLst>
              <a:ext uri="{FF2B5EF4-FFF2-40B4-BE49-F238E27FC236}">
                <a16:creationId xmlns:a16="http://schemas.microsoft.com/office/drawing/2014/main" id="{1B8C62D3-A2EB-4543-9D36-CA6830BD83F8}"/>
              </a:ext>
            </a:extLst>
          </p:cNvPr>
          <p:cNvSpPr/>
          <p:nvPr/>
        </p:nvSpPr>
        <p:spPr bwMode="auto">
          <a:xfrm>
            <a:off x="7273559" y="6666927"/>
            <a:ext cx="216000" cy="108000"/>
          </a:xfrm>
          <a:prstGeom prst="roundRect">
            <a:avLst>
              <a:gd name="adj" fmla="val 3927"/>
            </a:avLst>
          </a:prstGeom>
          <a:solidFill>
            <a:schemeClr val="bg2">
              <a:lumMod val="40000"/>
              <a:lumOff val="60000"/>
            </a:schemeClr>
          </a:solid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29" name="Espace réservé du texte 2">
            <a:extLst>
              <a:ext uri="{FF2B5EF4-FFF2-40B4-BE49-F238E27FC236}">
                <a16:creationId xmlns:a16="http://schemas.microsoft.com/office/drawing/2014/main" id="{CC254C3E-D7B2-4658-AD8A-BEA831411C4D}"/>
              </a:ext>
            </a:extLst>
          </p:cNvPr>
          <p:cNvSpPr txBox="1">
            <a:spLocks/>
          </p:cNvSpPr>
          <p:nvPr/>
        </p:nvSpPr>
        <p:spPr>
          <a:xfrm>
            <a:off x="7649003" y="6598527"/>
            <a:ext cx="706050" cy="244800"/>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GB"/>
              <a:t>Pluri-verticals players</a:t>
            </a:r>
          </a:p>
        </p:txBody>
      </p:sp>
      <p:sp>
        <p:nvSpPr>
          <p:cNvPr id="61" name="Espace réservé du texte 3">
            <a:extLst>
              <a:ext uri="{FF2B5EF4-FFF2-40B4-BE49-F238E27FC236}">
                <a16:creationId xmlns:a16="http://schemas.microsoft.com/office/drawing/2014/main" id="{6ED1D969-D34C-4557-9A0A-8B46B39C3FC1}"/>
              </a:ext>
            </a:extLst>
          </p:cNvPr>
          <p:cNvSpPr txBox="1">
            <a:spLocks/>
          </p:cNvSpPr>
          <p:nvPr/>
        </p:nvSpPr>
        <p:spPr>
          <a:xfrm>
            <a:off x="1315274" y="6580025"/>
            <a:ext cx="4760511" cy="244800"/>
          </a:xfrm>
          <a:prstGeom prst="rect">
            <a:avLst/>
          </a:prstGeom>
        </p:spPr>
        <p:txBody>
          <a:bodyPr lIns="0" tIns="0" rIns="0" bIns="0"/>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buNone/>
            </a:pPr>
            <a:r>
              <a:rPr lang="en-GB" sz="800" i="1" kern="0">
                <a:latin typeface="Trebuchet MS" panose="020B0603020202020204" pitchFamily="34" charset="0"/>
              </a:rPr>
              <a:t>Sources: eleven research &amp; analysis, expert calls, company websites</a:t>
            </a:r>
          </a:p>
          <a:p>
            <a:pPr marL="0" indent="0">
              <a:spcBef>
                <a:spcPts val="0"/>
              </a:spcBef>
              <a:buNone/>
            </a:pPr>
            <a:r>
              <a:rPr lang="en-GB" sz="800" i="1">
                <a:latin typeface="Trebuchet MS" panose="020B0603020202020204" pitchFamily="34" charset="0"/>
              </a:rPr>
              <a:t> *Public institutions have been distributed between key accounts &amp; mid market</a:t>
            </a:r>
            <a:r>
              <a:rPr lang="en-GB" sz="800">
                <a:latin typeface="Trebuchet MS" panose="020B0603020202020204" pitchFamily="34" charset="0"/>
              </a:rPr>
              <a:t> </a:t>
            </a:r>
            <a:endParaRPr lang="en-GB" sz="800" i="1" kern="0">
              <a:latin typeface="Trebuchet MS" panose="020B0603020202020204" pitchFamily="34" charset="0"/>
            </a:endParaRPr>
          </a:p>
        </p:txBody>
      </p:sp>
      <p:sp>
        <p:nvSpPr>
          <p:cNvPr id="17" name="Rectangle 16">
            <a:extLst>
              <a:ext uri="{FF2B5EF4-FFF2-40B4-BE49-F238E27FC236}">
                <a16:creationId xmlns:a16="http://schemas.microsoft.com/office/drawing/2014/main" id="{28F6B2CE-5062-4E93-973A-37A8106A4FDE}"/>
              </a:ext>
            </a:extLst>
          </p:cNvPr>
          <p:cNvSpPr/>
          <p:nvPr/>
        </p:nvSpPr>
        <p:spPr bwMode="auto">
          <a:xfrm>
            <a:off x="7166845" y="1230430"/>
            <a:ext cx="2487762" cy="521238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Bef>
                <a:spcPts val="600"/>
              </a:spcBef>
              <a:buClr>
                <a:schemeClr val="tx1"/>
              </a:buClr>
              <a:buFont typeface="Arial" panose="020B0604020202020204" pitchFamily="34" charset="0"/>
              <a:buChar char="•"/>
            </a:pPr>
            <a:r>
              <a:rPr lang="en-GB" sz="1000">
                <a:latin typeface="Trebuchet MS" panose="020B0603020202020204" pitchFamily="34" charset="0"/>
              </a:rPr>
              <a:t>The BD&amp;A market is structured around an </a:t>
            </a:r>
            <a:r>
              <a:rPr lang="en-GB" sz="1000">
                <a:solidFill>
                  <a:schemeClr val="tx2"/>
                </a:solidFill>
                <a:latin typeface="Trebuchet MS" panose="020B0603020202020204" pitchFamily="34" charset="0"/>
              </a:rPr>
              <a:t>oligopolistic ecosystem </a:t>
            </a:r>
            <a:r>
              <a:rPr lang="en-GB" sz="1000">
                <a:latin typeface="Trebuchet MS" panose="020B0603020202020204" pitchFamily="34" charset="0"/>
              </a:rPr>
              <a:t>with international players and local incumbents. Only </a:t>
            </a:r>
            <a:r>
              <a:rPr lang="en-GB" sz="1000" err="1">
                <a:latin typeface="Trebuchet MS" panose="020B0603020202020204" pitchFamily="34" charset="0"/>
              </a:rPr>
              <a:t>Altares</a:t>
            </a:r>
            <a:r>
              <a:rPr lang="en-GB" sz="1000">
                <a:latin typeface="Trebuchet MS" panose="020B0603020202020204" pitchFamily="34" charset="0"/>
              </a:rPr>
              <a:t> and </a:t>
            </a:r>
            <a:r>
              <a:rPr lang="en-GB" sz="1000" err="1">
                <a:latin typeface="Trebuchet MS" panose="020B0603020202020204" pitchFamily="34" charset="0"/>
              </a:rPr>
              <a:t>BvD</a:t>
            </a:r>
            <a:r>
              <a:rPr lang="en-GB" sz="1000">
                <a:latin typeface="Trebuchet MS" panose="020B0603020202020204" pitchFamily="34" charset="0"/>
              </a:rPr>
              <a:t> are perceived as premium players</a:t>
            </a:r>
          </a:p>
          <a:p>
            <a:pPr marL="171450" indent="-171450">
              <a:spcBef>
                <a:spcPts val="600"/>
              </a:spcBef>
              <a:buClr>
                <a:schemeClr val="tx1"/>
              </a:buClr>
              <a:buFont typeface="Arial" panose="020B0604020202020204" pitchFamily="34" charset="0"/>
              <a:buChar char="•"/>
            </a:pPr>
            <a:r>
              <a:rPr lang="en-GB" sz="1000">
                <a:latin typeface="Trebuchet MS" panose="020B0603020202020204" pitchFamily="34" charset="0"/>
              </a:rPr>
              <a:t>Facing a Benelux and French BD&amp;A market moderately growing, </a:t>
            </a:r>
            <a:r>
              <a:rPr lang="en-GB" sz="1000">
                <a:solidFill>
                  <a:schemeClr val="tx2"/>
                </a:solidFill>
                <a:latin typeface="Trebuchet MS" panose="020B0603020202020204" pitchFamily="34" charset="0"/>
              </a:rPr>
              <a:t>players addressing the mid market </a:t>
            </a:r>
            <a:r>
              <a:rPr lang="en-GB" sz="1000">
                <a:latin typeface="Trebuchet MS" panose="020B0603020202020204" pitchFamily="34" charset="0"/>
              </a:rPr>
              <a:t>(i.e. Graydon, </a:t>
            </a:r>
            <a:r>
              <a:rPr lang="en-GB" sz="1000" err="1">
                <a:latin typeface="Trebuchet MS" panose="020B0603020202020204" pitchFamily="34" charset="0"/>
              </a:rPr>
              <a:t>Creditsafe</a:t>
            </a:r>
            <a:r>
              <a:rPr lang="en-GB" sz="1000">
                <a:latin typeface="Trebuchet MS" panose="020B0603020202020204" pitchFamily="34" charset="0"/>
              </a:rPr>
              <a:t>) seem to be </a:t>
            </a:r>
            <a:r>
              <a:rPr lang="en-GB" sz="1000">
                <a:solidFill>
                  <a:schemeClr val="tx2"/>
                </a:solidFill>
                <a:latin typeface="Trebuchet MS" panose="020B0603020202020204" pitchFamily="34" charset="0"/>
              </a:rPr>
              <a:t>struggling</a:t>
            </a:r>
            <a:r>
              <a:rPr lang="en-GB" sz="1000">
                <a:latin typeface="Trebuchet MS" panose="020B0603020202020204" pitchFamily="34" charset="0"/>
              </a:rPr>
              <a:t> in keeping stable market shares due to increasing competition </a:t>
            </a:r>
          </a:p>
          <a:p>
            <a:pPr marL="171450" indent="-171450">
              <a:spcBef>
                <a:spcPts val="600"/>
              </a:spcBef>
              <a:buClr>
                <a:schemeClr val="tx1"/>
              </a:buClr>
              <a:buFont typeface="Arial" panose="020B0604020202020204" pitchFamily="34" charset="0"/>
              <a:buChar char="•"/>
            </a:pPr>
            <a:r>
              <a:rPr lang="en-GB" sz="1000">
                <a:solidFill>
                  <a:schemeClr val="tx2"/>
                </a:solidFill>
                <a:latin typeface="Trebuchet MS" panose="020B0603020202020204" pitchFamily="34" charset="0"/>
              </a:rPr>
              <a:t>Indeed, scale effects </a:t>
            </a:r>
            <a:r>
              <a:rPr lang="en-GB" sz="1000">
                <a:latin typeface="Trebuchet MS" panose="020B0603020202020204" pitchFamily="34" charset="0"/>
              </a:rPr>
              <a:t>on data collection contribute to a </a:t>
            </a:r>
            <a:r>
              <a:rPr lang="en-GB" sz="1000">
                <a:solidFill>
                  <a:schemeClr val="tx2"/>
                </a:solidFill>
                <a:latin typeface="Trebuchet MS" panose="020B0603020202020204" pitchFamily="34" charset="0"/>
              </a:rPr>
              <a:t>market polarization</a:t>
            </a:r>
            <a:r>
              <a:rPr lang="en-GB" sz="1000">
                <a:latin typeface="Trebuchet MS" panose="020B0603020202020204" pitchFamily="34" charset="0"/>
              </a:rPr>
              <a:t>, </a:t>
            </a:r>
            <a:r>
              <a:rPr lang="en-GB" sz="1000">
                <a:solidFill>
                  <a:schemeClr val="tx2"/>
                </a:solidFill>
                <a:latin typeface="Trebuchet MS" panose="020B0603020202020204" pitchFamily="34" charset="0"/>
              </a:rPr>
              <a:t>favouring premium international </a:t>
            </a:r>
            <a:r>
              <a:rPr lang="en-GB" sz="1000">
                <a:latin typeface="Trebuchet MS" panose="020B0603020202020204" pitchFamily="34" charset="0"/>
              </a:rPr>
              <a:t>players for their ability to offer a comprehensive range of products, develop client-specific analytics and integrated solutions</a:t>
            </a:r>
          </a:p>
          <a:p>
            <a:pPr marL="171450" indent="-171450">
              <a:spcBef>
                <a:spcPts val="600"/>
              </a:spcBef>
              <a:buClr>
                <a:schemeClr val="tx1"/>
              </a:buClr>
              <a:buFont typeface="Arial" panose="020B0604020202020204" pitchFamily="34" charset="0"/>
              <a:buChar char="•"/>
            </a:pPr>
            <a:r>
              <a:rPr lang="en-GB" sz="1000">
                <a:latin typeface="Trebuchet MS" panose="020B0603020202020204" pitchFamily="34" charset="0"/>
              </a:rPr>
              <a:t>Premium players have a privileged </a:t>
            </a:r>
            <a:r>
              <a:rPr lang="en-GB" sz="1000">
                <a:solidFill>
                  <a:schemeClr val="tx2"/>
                </a:solidFill>
                <a:latin typeface="Trebuchet MS" panose="020B0603020202020204" pitchFamily="34" charset="0"/>
              </a:rPr>
              <a:t>access to large international companies </a:t>
            </a:r>
            <a:r>
              <a:rPr lang="en-GB" sz="1000">
                <a:latin typeface="Trebuchet MS" panose="020B0603020202020204" pitchFamily="34" charset="0"/>
              </a:rPr>
              <a:t>thanks to their brand image and value proposition</a:t>
            </a:r>
          </a:p>
          <a:p>
            <a:pPr marL="171450" indent="-171450">
              <a:spcBef>
                <a:spcPts val="600"/>
              </a:spcBef>
              <a:buClr>
                <a:schemeClr val="tx1"/>
              </a:buClr>
              <a:buFont typeface="Arial" panose="020B0604020202020204" pitchFamily="34" charset="0"/>
              <a:buChar char="•"/>
            </a:pPr>
            <a:r>
              <a:rPr lang="en-GB" sz="1000">
                <a:solidFill>
                  <a:schemeClr val="tx2"/>
                </a:solidFill>
                <a:latin typeface="Trebuchet MS" panose="020B0603020202020204" pitchFamily="34" charset="0"/>
              </a:rPr>
              <a:t>Local players </a:t>
            </a:r>
            <a:r>
              <a:rPr lang="en-GB" sz="1000">
                <a:latin typeface="Trebuchet MS" panose="020B0603020202020204" pitchFamily="34" charset="0"/>
              </a:rPr>
              <a:t>tend to address the </a:t>
            </a:r>
            <a:r>
              <a:rPr lang="en-GB" sz="1000">
                <a:solidFill>
                  <a:schemeClr val="tx2"/>
                </a:solidFill>
                <a:latin typeface="Trebuchet MS" panose="020B0603020202020204" pitchFamily="34" charset="0"/>
              </a:rPr>
              <a:t>mass market </a:t>
            </a:r>
            <a:r>
              <a:rPr lang="en-GB" sz="1000">
                <a:latin typeface="Trebuchet MS" panose="020B0603020202020204" pitchFamily="34" charset="0"/>
              </a:rPr>
              <a:t>with scalable products</a:t>
            </a:r>
          </a:p>
          <a:p>
            <a:pPr marL="171450" indent="-171450">
              <a:spcBef>
                <a:spcPts val="600"/>
              </a:spcBef>
              <a:buClr>
                <a:schemeClr val="tx1"/>
              </a:buClr>
              <a:buFont typeface="Arial" panose="020B0604020202020204" pitchFamily="34" charset="0"/>
              <a:buChar char="•"/>
            </a:pPr>
            <a:r>
              <a:rPr lang="en-GB" sz="1000">
                <a:latin typeface="Trebuchet MS" panose="020B0603020202020204" pitchFamily="34" charset="0"/>
              </a:rPr>
              <a:t>There are a </a:t>
            </a:r>
            <a:r>
              <a:rPr lang="en-GB" sz="1000">
                <a:solidFill>
                  <a:schemeClr val="tx2"/>
                </a:solidFill>
                <a:latin typeface="Trebuchet MS" panose="020B0603020202020204" pitchFamily="34" charset="0"/>
              </a:rPr>
              <a:t>few</a:t>
            </a:r>
            <a:r>
              <a:rPr lang="en-GB" sz="1000">
                <a:latin typeface="Trebuchet MS" panose="020B0603020202020204" pitchFamily="34" charset="0"/>
              </a:rPr>
              <a:t> </a:t>
            </a:r>
            <a:r>
              <a:rPr lang="en-GB" sz="1000">
                <a:solidFill>
                  <a:schemeClr val="tx2"/>
                </a:solidFill>
                <a:latin typeface="Trebuchet MS" panose="020B0603020202020204" pitchFamily="34" charset="0"/>
              </a:rPr>
              <a:t>freemium</a:t>
            </a:r>
            <a:r>
              <a:rPr lang="en-GB" sz="1000">
                <a:latin typeface="Trebuchet MS" panose="020B0603020202020204" pitchFamily="34" charset="0"/>
              </a:rPr>
              <a:t> </a:t>
            </a:r>
            <a:r>
              <a:rPr lang="en-GB" sz="1000">
                <a:solidFill>
                  <a:schemeClr val="tx2"/>
                </a:solidFill>
                <a:latin typeface="Trebuchet MS" panose="020B0603020202020204" pitchFamily="34" charset="0"/>
              </a:rPr>
              <a:t>players</a:t>
            </a:r>
            <a:r>
              <a:rPr lang="en-GB" sz="1000">
                <a:latin typeface="Trebuchet MS" panose="020B0603020202020204" pitchFamily="34" charset="0"/>
              </a:rPr>
              <a:t> </a:t>
            </a:r>
            <a:r>
              <a:rPr lang="en-GB" sz="1000">
                <a:solidFill>
                  <a:schemeClr val="tx2"/>
                </a:solidFill>
                <a:latin typeface="Trebuchet MS" panose="020B0603020202020204" pitchFamily="34" charset="0"/>
              </a:rPr>
              <a:t>addressing</a:t>
            </a:r>
            <a:r>
              <a:rPr lang="en-GB" sz="1000">
                <a:latin typeface="Trebuchet MS" panose="020B0603020202020204" pitchFamily="34" charset="0"/>
              </a:rPr>
              <a:t> the </a:t>
            </a:r>
            <a:r>
              <a:rPr lang="en-GB" sz="1000">
                <a:solidFill>
                  <a:schemeClr val="tx2"/>
                </a:solidFill>
                <a:latin typeface="Trebuchet MS" panose="020B0603020202020204" pitchFamily="34" charset="0"/>
              </a:rPr>
              <a:t>mass</a:t>
            </a:r>
            <a:r>
              <a:rPr lang="en-GB" sz="1000">
                <a:latin typeface="Trebuchet MS" panose="020B0603020202020204" pitchFamily="34" charset="0"/>
              </a:rPr>
              <a:t> </a:t>
            </a:r>
            <a:r>
              <a:rPr lang="en-GB" sz="1000">
                <a:solidFill>
                  <a:schemeClr val="tx2"/>
                </a:solidFill>
                <a:latin typeface="Trebuchet MS" panose="020B0603020202020204" pitchFamily="34" charset="0"/>
              </a:rPr>
              <a:t>market</a:t>
            </a:r>
            <a:r>
              <a:rPr lang="en-GB" sz="1000">
                <a:latin typeface="Trebuchet MS" panose="020B0603020202020204" pitchFamily="34" charset="0"/>
              </a:rPr>
              <a:t> in France and Belgium, but </a:t>
            </a:r>
            <a:r>
              <a:rPr lang="en-GB" sz="1000">
                <a:solidFill>
                  <a:schemeClr val="tx2"/>
                </a:solidFill>
                <a:latin typeface="Trebuchet MS" panose="020B0603020202020204" pitchFamily="34" charset="0"/>
              </a:rPr>
              <a:t>not in the Netherlands</a:t>
            </a:r>
            <a:r>
              <a:rPr lang="en-GB" sz="1000">
                <a:latin typeface="Trebuchet MS" panose="020B0603020202020204" pitchFamily="34" charset="0"/>
              </a:rPr>
              <a:t> due to a higher cost to data access</a:t>
            </a:r>
          </a:p>
        </p:txBody>
      </p:sp>
      <p:grpSp>
        <p:nvGrpSpPr>
          <p:cNvPr id="29" name="Groupe 28">
            <a:extLst>
              <a:ext uri="{FF2B5EF4-FFF2-40B4-BE49-F238E27FC236}">
                <a16:creationId xmlns:a16="http://schemas.microsoft.com/office/drawing/2014/main" id="{EFF09360-47E3-40C6-80A5-1838898FA18F}"/>
              </a:ext>
            </a:extLst>
          </p:cNvPr>
          <p:cNvGrpSpPr/>
          <p:nvPr/>
        </p:nvGrpSpPr>
        <p:grpSpPr>
          <a:xfrm>
            <a:off x="8448150" y="-11528"/>
            <a:ext cx="1435548" cy="555653"/>
            <a:chOff x="8448150" y="-11528"/>
            <a:chExt cx="1435548" cy="555653"/>
          </a:xfrm>
        </p:grpSpPr>
        <p:sp>
          <p:nvSpPr>
            <p:cNvPr id="8" name="Rectangle : coins arrondis 199">
              <a:extLst>
                <a:ext uri="{FF2B5EF4-FFF2-40B4-BE49-F238E27FC236}">
                  <a16:creationId xmlns:a16="http://schemas.microsoft.com/office/drawing/2014/main" id="{F6B9CFB1-F526-41B6-9B4A-BB67962AA70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 name="Rectangle : coins arrondis 200">
              <a:extLst>
                <a:ext uri="{FF2B5EF4-FFF2-40B4-BE49-F238E27FC236}">
                  <a16:creationId xmlns:a16="http://schemas.microsoft.com/office/drawing/2014/main" id="{9E859635-F25E-4307-B762-EA130FF1E5B0}"/>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 name="Rectangle : coins arrondis 201">
              <a:extLst>
                <a:ext uri="{FF2B5EF4-FFF2-40B4-BE49-F238E27FC236}">
                  <a16:creationId xmlns:a16="http://schemas.microsoft.com/office/drawing/2014/main" id="{9565A9C2-2FD8-478C-B717-FB8EE6325CAE}"/>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8" name="ZoneTexte 18">
              <a:extLst>
                <a:ext uri="{FF2B5EF4-FFF2-40B4-BE49-F238E27FC236}">
                  <a16:creationId xmlns:a16="http://schemas.microsoft.com/office/drawing/2014/main" id="{E21B9AD8-0E0C-4846-8A4F-A50CF643E8BA}"/>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9" name="Graphique 128" descr="Jauge">
              <a:extLst>
                <a:ext uri="{FF2B5EF4-FFF2-40B4-BE49-F238E27FC236}">
                  <a16:creationId xmlns:a16="http://schemas.microsoft.com/office/drawing/2014/main" id="{32F72A62-E0A3-49BE-97EB-6C1BB0BE4E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20" name="Graphique 90" descr="Poignée de main">
              <a:extLst>
                <a:ext uri="{FF2B5EF4-FFF2-40B4-BE49-F238E27FC236}">
                  <a16:creationId xmlns:a16="http://schemas.microsoft.com/office/drawing/2014/main" id="{92DA17F4-FDD9-4AC9-A25C-5220459D3E7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22" name="Graphique 74" descr="Mégaphone">
              <a:extLst>
                <a:ext uri="{FF2B5EF4-FFF2-40B4-BE49-F238E27FC236}">
                  <a16:creationId xmlns:a16="http://schemas.microsoft.com/office/drawing/2014/main" id="{0BFC11F2-BE9D-46D0-BEFC-6FFC8A89472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23" name="Picture 2" descr="Drapeau France">
              <a:extLst>
                <a:ext uri="{FF2B5EF4-FFF2-40B4-BE49-F238E27FC236}">
                  <a16:creationId xmlns:a16="http://schemas.microsoft.com/office/drawing/2014/main" id="{3CB020A2-3038-4B69-99FB-EF2795A18EF4}"/>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25" name="Picture 2" descr="5 ft x 3 ft 150 x 90 cm-DRAPEAU BELGE Belgique 100% Polyester ...">
              <a:extLst>
                <a:ext uri="{FF2B5EF4-FFF2-40B4-BE49-F238E27FC236}">
                  <a16:creationId xmlns:a16="http://schemas.microsoft.com/office/drawing/2014/main" id="{2C3A68EA-D9C3-4942-85A7-F4B10C059751}"/>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27" name="Picture 2 - 1" descr="Drapeau des Pays-Bas — Wikipédia">
              <a:extLst>
                <a:ext uri="{FF2B5EF4-FFF2-40B4-BE49-F238E27FC236}">
                  <a16:creationId xmlns:a16="http://schemas.microsoft.com/office/drawing/2014/main" id="{7D0A511F-9831-4EE8-B341-241BA7D37FF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28" name="Picture 2 - 2" descr="Drapeau du Luxembourg">
              <a:extLst>
                <a:ext uri="{FF2B5EF4-FFF2-40B4-BE49-F238E27FC236}">
                  <a16:creationId xmlns:a16="http://schemas.microsoft.com/office/drawing/2014/main" id="{94C6BC62-CDD4-459B-B839-28B28630217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grpSp>
        <p:nvGrpSpPr>
          <p:cNvPr id="30" name="Groupe 29">
            <a:extLst>
              <a:ext uri="{FF2B5EF4-FFF2-40B4-BE49-F238E27FC236}">
                <a16:creationId xmlns:a16="http://schemas.microsoft.com/office/drawing/2014/main" id="{0882F78E-C46A-4FDF-B440-507B4AF52E8E}"/>
              </a:ext>
            </a:extLst>
          </p:cNvPr>
          <p:cNvGrpSpPr/>
          <p:nvPr/>
        </p:nvGrpSpPr>
        <p:grpSpPr>
          <a:xfrm>
            <a:off x="168738" y="1230430"/>
            <a:ext cx="6912816" cy="5212382"/>
            <a:chOff x="20334" y="1230430"/>
            <a:chExt cx="6912816" cy="5212382"/>
          </a:xfrm>
        </p:grpSpPr>
        <p:sp>
          <p:nvSpPr>
            <p:cNvPr id="125" name="Rectangle 124">
              <a:extLst>
                <a:ext uri="{FF2B5EF4-FFF2-40B4-BE49-F238E27FC236}">
                  <a16:creationId xmlns:a16="http://schemas.microsoft.com/office/drawing/2014/main" id="{E322760F-5E2A-4E10-8F1A-B75329FA02A7}"/>
                </a:ext>
              </a:extLst>
            </p:cNvPr>
            <p:cNvSpPr/>
            <p:nvPr/>
          </p:nvSpPr>
          <p:spPr bwMode="auto">
            <a:xfrm>
              <a:off x="93478" y="1230430"/>
              <a:ext cx="6769140" cy="521238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 name="Rectangle 5">
              <a:extLst>
                <a:ext uri="{FF2B5EF4-FFF2-40B4-BE49-F238E27FC236}">
                  <a16:creationId xmlns:a16="http://schemas.microsoft.com/office/drawing/2014/main" id="{B4F9AFAE-14FB-4CB5-8697-6113594D2EF7}"/>
                </a:ext>
              </a:extLst>
            </p:cNvPr>
            <p:cNvSpPr/>
            <p:nvPr/>
          </p:nvSpPr>
          <p:spPr bwMode="auto">
            <a:xfrm>
              <a:off x="187035" y="1725651"/>
              <a:ext cx="807919" cy="1296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endParaRPr lang="en-GB" sz="1000" b="1">
                <a:solidFill>
                  <a:schemeClr val="accent1">
                    <a:lumMod val="75000"/>
                  </a:schemeClr>
                </a:solidFill>
                <a:latin typeface="Trebuchet MS" pitchFamily="34" charset="0"/>
              </a:endParaRPr>
            </a:p>
            <a:p>
              <a:pPr marR="0" algn="ctr" defTabSz="914400" rtl="0" eaLnBrk="1" fontAlgn="base" latinLnBrk="0" hangingPunct="1">
                <a:lnSpc>
                  <a:spcPct val="100000"/>
                </a:lnSpc>
                <a:spcBef>
                  <a:spcPct val="0"/>
                </a:spcBef>
                <a:spcAft>
                  <a:spcPct val="0"/>
                </a:spcAft>
                <a:buClrTx/>
                <a:buSzTx/>
                <a:tabLst/>
              </a:pPr>
              <a:r>
                <a:rPr lang="en-GB" sz="1000" b="1">
                  <a:solidFill>
                    <a:schemeClr val="accent1">
                      <a:lumMod val="75000"/>
                    </a:schemeClr>
                  </a:solidFill>
                  <a:latin typeface="Trebuchet MS" pitchFamily="34" charset="0"/>
                </a:rPr>
                <a:t>Key accounts*</a:t>
              </a:r>
              <a:endParaRPr kumimoji="0" lang="en-GB" sz="1000" i="0" u="none" strike="noStrike" cap="none" normalizeH="0" baseline="0">
                <a:ln>
                  <a:noFill/>
                </a:ln>
                <a:solidFill>
                  <a:schemeClr val="accent1">
                    <a:lumMod val="75000"/>
                  </a:schemeClr>
                </a:solidFill>
                <a:effectLst/>
                <a:latin typeface="Trebuchet MS" pitchFamily="34" charset="0"/>
              </a:endParaRPr>
            </a:p>
          </p:txBody>
        </p:sp>
        <p:pic>
          <p:nvPicPr>
            <p:cNvPr id="10" name="Graphique 62">
              <a:extLst>
                <a:ext uri="{FF2B5EF4-FFF2-40B4-BE49-F238E27FC236}">
                  <a16:creationId xmlns:a16="http://schemas.microsoft.com/office/drawing/2014/main" id="{BFFF69F0-9455-4287-BD48-4A7735153B2E}"/>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19795"/>
            <a:stretch/>
          </p:blipFill>
          <p:spPr>
            <a:xfrm>
              <a:off x="457732" y="1771946"/>
              <a:ext cx="266524" cy="267203"/>
            </a:xfrm>
            <a:prstGeom prst="rect">
              <a:avLst/>
            </a:prstGeom>
            <a:effectLst/>
          </p:spPr>
        </p:pic>
        <p:sp>
          <p:nvSpPr>
            <p:cNvPr id="11" name="Rectangle 10">
              <a:extLst>
                <a:ext uri="{FF2B5EF4-FFF2-40B4-BE49-F238E27FC236}">
                  <a16:creationId xmlns:a16="http://schemas.microsoft.com/office/drawing/2014/main" id="{26388885-1D7D-4764-BE87-5CF5BF80DBA2}"/>
                </a:ext>
              </a:extLst>
            </p:cNvPr>
            <p:cNvSpPr/>
            <p:nvPr/>
          </p:nvSpPr>
          <p:spPr bwMode="auto">
            <a:xfrm>
              <a:off x="187035" y="3221942"/>
              <a:ext cx="807919" cy="1296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00" b="1">
                <a:solidFill>
                  <a:schemeClr val="accent1">
                    <a:lumMod val="75000"/>
                  </a:schemeClr>
                </a:solidFill>
                <a:latin typeface="Trebuchet MS" pitchFamily="34" charset="0"/>
              </a:endParaRPr>
            </a:p>
            <a:p>
              <a:pPr algn="ctr"/>
              <a:r>
                <a:rPr lang="en-GB" sz="1000" b="1">
                  <a:solidFill>
                    <a:schemeClr val="accent1">
                      <a:lumMod val="75000"/>
                    </a:schemeClr>
                  </a:solidFill>
                  <a:latin typeface="Trebuchet MS" pitchFamily="34" charset="0"/>
                </a:rPr>
                <a:t>Mid market*</a:t>
              </a:r>
            </a:p>
          </p:txBody>
        </p:sp>
        <p:pic>
          <p:nvPicPr>
            <p:cNvPr id="12" name="Graphique 63">
              <a:extLst>
                <a:ext uri="{FF2B5EF4-FFF2-40B4-BE49-F238E27FC236}">
                  <a16:creationId xmlns:a16="http://schemas.microsoft.com/office/drawing/2014/main" id="{FF340330-08EA-4249-9A67-6C485BF240F5}"/>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b="28139"/>
            <a:stretch/>
          </p:blipFill>
          <p:spPr>
            <a:xfrm>
              <a:off x="433172" y="3272157"/>
              <a:ext cx="315644" cy="283523"/>
            </a:xfrm>
            <a:prstGeom prst="rect">
              <a:avLst/>
            </a:prstGeom>
            <a:effectLst/>
          </p:spPr>
        </p:pic>
        <p:sp>
          <p:nvSpPr>
            <p:cNvPr id="14" name="Rectangle 13">
              <a:extLst>
                <a:ext uri="{FF2B5EF4-FFF2-40B4-BE49-F238E27FC236}">
                  <a16:creationId xmlns:a16="http://schemas.microsoft.com/office/drawing/2014/main" id="{F20B7311-A110-4087-B383-B2A6FC2291FC}"/>
                </a:ext>
              </a:extLst>
            </p:cNvPr>
            <p:cNvSpPr/>
            <p:nvPr/>
          </p:nvSpPr>
          <p:spPr bwMode="auto">
            <a:xfrm>
              <a:off x="187035" y="4718233"/>
              <a:ext cx="807919" cy="1296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000" b="1">
                  <a:solidFill>
                    <a:schemeClr val="accent1">
                      <a:lumMod val="75000"/>
                    </a:schemeClr>
                  </a:solidFill>
                  <a:latin typeface="Trebuchet MS" pitchFamily="34" charset="0"/>
                </a:rPr>
                <a:t>Mass market</a:t>
              </a:r>
            </a:p>
          </p:txBody>
        </p:sp>
        <p:pic>
          <p:nvPicPr>
            <p:cNvPr id="16" name="Graphique 64">
              <a:extLst>
                <a:ext uri="{FF2B5EF4-FFF2-40B4-BE49-F238E27FC236}">
                  <a16:creationId xmlns:a16="http://schemas.microsoft.com/office/drawing/2014/main" id="{CE058AA9-A581-43C9-A507-6D0604CA7599}"/>
                </a:ext>
              </a:extLst>
            </p:cNvPr>
            <p:cNvPicPr>
              <a:picLocks noChangeAspect="1"/>
            </p:cNvPicPr>
            <p:nvPr/>
          </p:nvPicPr>
          <p:blipFill rotWithShape="1">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r="-3601" b="22797"/>
            <a:stretch/>
          </p:blipFill>
          <p:spPr>
            <a:xfrm>
              <a:off x="443608" y="4765462"/>
              <a:ext cx="294773" cy="274579"/>
            </a:xfrm>
            <a:prstGeom prst="rect">
              <a:avLst/>
            </a:prstGeom>
            <a:effectLst/>
          </p:spPr>
        </p:pic>
        <p:sp>
          <p:nvSpPr>
            <p:cNvPr id="119" name="Freeform: Shape 118">
              <a:extLst>
                <a:ext uri="{FF2B5EF4-FFF2-40B4-BE49-F238E27FC236}">
                  <a16:creationId xmlns:a16="http://schemas.microsoft.com/office/drawing/2014/main" id="{53C583FD-2AF6-4047-97FD-3891A280B3EA}"/>
                </a:ext>
              </a:extLst>
            </p:cNvPr>
            <p:cNvSpPr/>
            <p:nvPr/>
          </p:nvSpPr>
          <p:spPr bwMode="auto">
            <a:xfrm>
              <a:off x="1288647" y="4718233"/>
              <a:ext cx="2420691" cy="1280610"/>
            </a:xfrm>
            <a:custGeom>
              <a:avLst/>
              <a:gdLst>
                <a:gd name="connsiteX0" fmla="*/ 57968 w 4082623"/>
                <a:gd name="connsiteY0" fmla="*/ 0 h 2005129"/>
                <a:gd name="connsiteX1" fmla="*/ 2463089 w 4082623"/>
                <a:gd name="connsiteY1" fmla="*/ 0 h 2005129"/>
                <a:gd name="connsiteX2" fmla="*/ 2521057 w 4082623"/>
                <a:gd name="connsiteY2" fmla="*/ 57968 h 2005129"/>
                <a:gd name="connsiteX3" fmla="*/ 2521057 w 4082623"/>
                <a:gd name="connsiteY3" fmla="*/ 775780 h 2005129"/>
                <a:gd name="connsiteX4" fmla="*/ 4047083 w 4082623"/>
                <a:gd name="connsiteY4" fmla="*/ 775780 h 2005129"/>
                <a:gd name="connsiteX5" fmla="*/ 4082623 w 4082623"/>
                <a:gd name="connsiteY5" fmla="*/ 811320 h 2005129"/>
                <a:gd name="connsiteX6" fmla="*/ 4082623 w 4082623"/>
                <a:gd name="connsiteY6" fmla="*/ 1969589 h 2005129"/>
                <a:gd name="connsiteX7" fmla="*/ 4047083 w 4082623"/>
                <a:gd name="connsiteY7" fmla="*/ 2005129 h 2005129"/>
                <a:gd name="connsiteX8" fmla="*/ 2509829 w 4082623"/>
                <a:gd name="connsiteY8" fmla="*/ 2005129 h 2005129"/>
                <a:gd name="connsiteX9" fmla="*/ 2490668 w 4082623"/>
                <a:gd name="connsiteY9" fmla="*/ 1997192 h 2005129"/>
                <a:gd name="connsiteX10" fmla="*/ 2485653 w 4082623"/>
                <a:gd name="connsiteY10" fmla="*/ 2000574 h 2005129"/>
                <a:gd name="connsiteX11" fmla="*/ 2463089 w 4082623"/>
                <a:gd name="connsiteY11" fmla="*/ 2005129 h 2005129"/>
                <a:gd name="connsiteX12" fmla="*/ 57968 w 4082623"/>
                <a:gd name="connsiteY12" fmla="*/ 2005129 h 2005129"/>
                <a:gd name="connsiteX13" fmla="*/ 0 w 4082623"/>
                <a:gd name="connsiteY13" fmla="*/ 1947161 h 2005129"/>
                <a:gd name="connsiteX14" fmla="*/ 0 w 4082623"/>
                <a:gd name="connsiteY14" fmla="*/ 57968 h 2005129"/>
                <a:gd name="connsiteX15" fmla="*/ 57968 w 4082623"/>
                <a:gd name="connsiteY15" fmla="*/ 0 h 2005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82623" h="2005129">
                  <a:moveTo>
                    <a:pt x="57968" y="0"/>
                  </a:moveTo>
                  <a:lnTo>
                    <a:pt x="2463089" y="0"/>
                  </a:lnTo>
                  <a:cubicBezTo>
                    <a:pt x="2495104" y="0"/>
                    <a:pt x="2521057" y="25953"/>
                    <a:pt x="2521057" y="57968"/>
                  </a:cubicBezTo>
                  <a:lnTo>
                    <a:pt x="2521057" y="775780"/>
                  </a:lnTo>
                  <a:lnTo>
                    <a:pt x="4047083" y="775780"/>
                  </a:lnTo>
                  <a:cubicBezTo>
                    <a:pt x="4066711" y="775780"/>
                    <a:pt x="4082623" y="791692"/>
                    <a:pt x="4082623" y="811320"/>
                  </a:cubicBezTo>
                  <a:lnTo>
                    <a:pt x="4082623" y="1969589"/>
                  </a:lnTo>
                  <a:cubicBezTo>
                    <a:pt x="4082623" y="1989217"/>
                    <a:pt x="4066711" y="2005129"/>
                    <a:pt x="4047083" y="2005129"/>
                  </a:cubicBezTo>
                  <a:lnTo>
                    <a:pt x="2509829" y="2005129"/>
                  </a:lnTo>
                  <a:lnTo>
                    <a:pt x="2490668" y="1997192"/>
                  </a:lnTo>
                  <a:lnTo>
                    <a:pt x="2485653" y="2000574"/>
                  </a:lnTo>
                  <a:cubicBezTo>
                    <a:pt x="2478718" y="2003507"/>
                    <a:pt x="2471093" y="2005129"/>
                    <a:pt x="2463089" y="2005129"/>
                  </a:cubicBezTo>
                  <a:lnTo>
                    <a:pt x="57968" y="2005129"/>
                  </a:lnTo>
                  <a:cubicBezTo>
                    <a:pt x="25953" y="2005129"/>
                    <a:pt x="0" y="1979176"/>
                    <a:pt x="0" y="1947161"/>
                  </a:cubicBezTo>
                  <a:lnTo>
                    <a:pt x="0" y="57968"/>
                  </a:lnTo>
                  <a:cubicBezTo>
                    <a:pt x="0" y="25953"/>
                    <a:pt x="25953" y="0"/>
                    <a:pt x="57968" y="0"/>
                  </a:cubicBezTo>
                  <a:close/>
                </a:path>
              </a:pathLst>
            </a:custGeom>
            <a:solidFill>
              <a:schemeClr val="bg2">
                <a:lumMod val="40000"/>
                <a:lumOff val="60000"/>
              </a:schemeClr>
            </a:solid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24" name="Connecteur droit avec flèche 6">
              <a:extLst>
                <a:ext uri="{FF2B5EF4-FFF2-40B4-BE49-F238E27FC236}">
                  <a16:creationId xmlns:a16="http://schemas.microsoft.com/office/drawing/2014/main" id="{3977FA13-8A98-4CA6-B2B9-DCF6C4BFC58C}"/>
                </a:ext>
              </a:extLst>
            </p:cNvPr>
            <p:cNvCxnSpPr>
              <a:cxnSpLocks/>
            </p:cNvCxnSpPr>
            <p:nvPr/>
          </p:nvCxnSpPr>
          <p:spPr bwMode="auto">
            <a:xfrm flipV="1">
              <a:off x="1161658" y="1513884"/>
              <a:ext cx="0" cy="4546644"/>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sp>
          <p:nvSpPr>
            <p:cNvPr id="32" name="ZoneTexte 88">
              <a:extLst>
                <a:ext uri="{FF2B5EF4-FFF2-40B4-BE49-F238E27FC236}">
                  <a16:creationId xmlns:a16="http://schemas.microsoft.com/office/drawing/2014/main" id="{CA3A4E67-16A2-4D94-BB9D-BA9E569154F7}"/>
                </a:ext>
              </a:extLst>
            </p:cNvPr>
            <p:cNvSpPr txBox="1"/>
            <p:nvPr/>
          </p:nvSpPr>
          <p:spPr>
            <a:xfrm>
              <a:off x="1180985" y="6060528"/>
              <a:ext cx="2451486" cy="246221"/>
            </a:xfrm>
            <a:prstGeom prst="rect">
              <a:avLst/>
            </a:prstGeom>
            <a:noFill/>
          </p:spPr>
          <p:txBody>
            <a:bodyPr wrap="square" rtlCol="0">
              <a:spAutoFit/>
            </a:bodyPr>
            <a:lstStyle/>
            <a:p>
              <a:pPr algn="ctr"/>
              <a:r>
                <a:rPr lang="en-GB" sz="1000" b="1">
                  <a:latin typeface="Trebuchet MS" panose="020B0603020202020204" pitchFamily="34" charset="0"/>
                </a:rPr>
                <a:t>Domestic players</a:t>
              </a:r>
            </a:p>
          </p:txBody>
        </p:sp>
        <p:cxnSp>
          <p:nvCxnSpPr>
            <p:cNvPr id="26" name="Connecteur droit avec flèche 6">
              <a:extLst>
                <a:ext uri="{FF2B5EF4-FFF2-40B4-BE49-F238E27FC236}">
                  <a16:creationId xmlns:a16="http://schemas.microsoft.com/office/drawing/2014/main" id="{75BD1D43-3BF4-4CAE-B58A-A1DD53EAEB97}"/>
                </a:ext>
              </a:extLst>
            </p:cNvPr>
            <p:cNvCxnSpPr>
              <a:cxnSpLocks/>
            </p:cNvCxnSpPr>
            <p:nvPr/>
          </p:nvCxnSpPr>
          <p:spPr bwMode="auto">
            <a:xfrm>
              <a:off x="1161658" y="6060526"/>
              <a:ext cx="5413144" cy="0"/>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pic>
          <p:nvPicPr>
            <p:cNvPr id="79" name="Picture 7" descr="A close up of a logo&#10;&#10;Description automatically generated">
              <a:extLst>
                <a:ext uri="{FF2B5EF4-FFF2-40B4-BE49-F238E27FC236}">
                  <a16:creationId xmlns:a16="http://schemas.microsoft.com/office/drawing/2014/main" id="{220E9D58-AEFE-4B1C-9747-FD7110FB396D}"/>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898527" y="5744052"/>
              <a:ext cx="446225" cy="116070"/>
            </a:xfrm>
            <a:prstGeom prst="rect">
              <a:avLst/>
            </a:prstGeom>
          </p:spPr>
        </p:pic>
        <p:pic>
          <p:nvPicPr>
            <p:cNvPr id="81" name="Picture 28" descr="A picture containing drawing, food&#10;&#10;Description automatically generated">
              <a:extLst>
                <a:ext uri="{FF2B5EF4-FFF2-40B4-BE49-F238E27FC236}">
                  <a16:creationId xmlns:a16="http://schemas.microsoft.com/office/drawing/2014/main" id="{5BEC6E98-E4A0-49BB-A16C-6170D5DEED1C}"/>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790160" y="5502634"/>
              <a:ext cx="686915" cy="163784"/>
            </a:xfrm>
            <a:prstGeom prst="rect">
              <a:avLst/>
            </a:prstGeom>
          </p:spPr>
        </p:pic>
        <p:pic>
          <p:nvPicPr>
            <p:cNvPr id="83" name="Picture 20">
              <a:extLst>
                <a:ext uri="{FF2B5EF4-FFF2-40B4-BE49-F238E27FC236}">
                  <a16:creationId xmlns:a16="http://schemas.microsoft.com/office/drawing/2014/main" id="{D0AAD88A-B3DC-409C-99AC-7858B80C5E31}"/>
                </a:ext>
              </a:extLst>
            </p:cNvPr>
            <p:cNvPicPr>
              <a:picLocks noChangeAspect="1"/>
            </p:cNvPicPr>
            <p:nvPr/>
          </p:nvPicPr>
          <p:blipFill>
            <a:blip r:embed="rId24">
              <a:clrChange>
                <a:clrFrom>
                  <a:srgbClr val="FFFFFF"/>
                </a:clrFrom>
                <a:clrTo>
                  <a:srgbClr val="FFFFFF">
                    <a:alpha val="0"/>
                  </a:srgbClr>
                </a:clrTo>
              </a:clrChange>
            </a:blip>
            <a:stretch>
              <a:fillRect/>
            </a:stretch>
          </p:blipFill>
          <p:spPr>
            <a:xfrm>
              <a:off x="2031154" y="5199307"/>
              <a:ext cx="641796" cy="113634"/>
            </a:xfrm>
            <a:prstGeom prst="rect">
              <a:avLst/>
            </a:prstGeom>
          </p:spPr>
        </p:pic>
        <p:pic>
          <p:nvPicPr>
            <p:cNvPr id="89" name="Picture 19">
              <a:extLst>
                <a:ext uri="{FF2B5EF4-FFF2-40B4-BE49-F238E27FC236}">
                  <a16:creationId xmlns:a16="http://schemas.microsoft.com/office/drawing/2014/main" id="{00E63208-D788-4D7D-9A0E-1DBE20243026}"/>
                </a:ext>
              </a:extLst>
            </p:cNvPr>
            <p:cNvPicPr>
              <a:picLocks noChangeAspect="1"/>
            </p:cNvPicPr>
            <p:nvPr/>
          </p:nvPicPr>
          <p:blipFill>
            <a:blip r:embed="rId25">
              <a:clrChange>
                <a:clrFrom>
                  <a:srgbClr val="FFFFFF"/>
                </a:clrFrom>
                <a:clrTo>
                  <a:srgbClr val="FFFFFF">
                    <a:alpha val="0"/>
                  </a:srgbClr>
                </a:clrTo>
              </a:clrChange>
            </a:blip>
            <a:stretch>
              <a:fillRect/>
            </a:stretch>
          </p:blipFill>
          <p:spPr>
            <a:xfrm>
              <a:off x="2009482" y="4995984"/>
              <a:ext cx="645653" cy="141640"/>
            </a:xfrm>
            <a:prstGeom prst="rect">
              <a:avLst/>
            </a:prstGeom>
          </p:spPr>
        </p:pic>
        <p:sp>
          <p:nvSpPr>
            <p:cNvPr id="93" name="Rectangle: Rounded Corners 92">
              <a:extLst>
                <a:ext uri="{FF2B5EF4-FFF2-40B4-BE49-F238E27FC236}">
                  <a16:creationId xmlns:a16="http://schemas.microsoft.com/office/drawing/2014/main" id="{EA6C355F-6456-4DF3-9E22-F6954A58D7FE}"/>
                </a:ext>
              </a:extLst>
            </p:cNvPr>
            <p:cNvSpPr/>
            <p:nvPr/>
          </p:nvSpPr>
          <p:spPr bwMode="auto">
            <a:xfrm>
              <a:off x="2700674" y="2579127"/>
              <a:ext cx="1035051" cy="1756372"/>
            </a:xfrm>
            <a:prstGeom prst="roundRect">
              <a:avLst>
                <a:gd name="adj" fmla="val 2891"/>
              </a:avLst>
            </a:prstGeom>
            <a:solidFill>
              <a:schemeClr val="bg2">
                <a:lumMod val="40000"/>
                <a:lumOff val="60000"/>
              </a:schemeClr>
            </a:solid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95" name="Picture 24" descr="A picture containing light&#10;&#10;Description automatically generated">
              <a:extLst>
                <a:ext uri="{FF2B5EF4-FFF2-40B4-BE49-F238E27FC236}">
                  <a16:creationId xmlns:a16="http://schemas.microsoft.com/office/drawing/2014/main" id="{49C29415-8A1A-4B61-A7AB-6B889744348A}"/>
                </a:ext>
              </a:extLst>
            </p:cNvPr>
            <p:cNvPicPr>
              <a:picLocks noChangeAspect="1"/>
            </p:cNvPicPr>
            <p:nvPr/>
          </p:nvPicPr>
          <p:blipFill rotWithShape="1">
            <a:blip r:embed="rId26">
              <a:extLst>
                <a:ext uri="{28A0092B-C50C-407E-A947-70E740481C1C}">
                  <a14:useLocalDpi xmlns:a14="http://schemas.microsoft.com/office/drawing/2010/main" val="0"/>
                </a:ext>
              </a:extLst>
            </a:blip>
            <a:srcRect t="38705" b="38705"/>
            <a:stretch/>
          </p:blipFill>
          <p:spPr>
            <a:xfrm>
              <a:off x="2828846" y="3291240"/>
              <a:ext cx="778707" cy="188582"/>
            </a:xfrm>
            <a:prstGeom prst="rect">
              <a:avLst/>
            </a:prstGeom>
          </p:spPr>
        </p:pic>
        <p:pic>
          <p:nvPicPr>
            <p:cNvPr id="97" name="Picture 26" descr="A picture containing computer, computer&#10;&#10;Description automatically generated">
              <a:extLst>
                <a:ext uri="{FF2B5EF4-FFF2-40B4-BE49-F238E27FC236}">
                  <a16:creationId xmlns:a16="http://schemas.microsoft.com/office/drawing/2014/main" id="{E1385D8D-5727-473E-A147-2C24F9581CFA}"/>
                </a:ext>
              </a:extLst>
            </p:cNvPr>
            <p:cNvPicPr>
              <a:picLocks noChangeAspect="1"/>
            </p:cNvPicPr>
            <p:nvPr/>
          </p:nvPicPr>
          <p:blipFill rotWithShape="1">
            <a:blip r:embed="rId27">
              <a:extLst>
                <a:ext uri="{28A0092B-C50C-407E-A947-70E740481C1C}">
                  <a14:useLocalDpi xmlns:a14="http://schemas.microsoft.com/office/drawing/2010/main" val="0"/>
                </a:ext>
              </a:extLst>
            </a:blip>
            <a:srcRect l="12024" t="40724" r="12024" b="40724"/>
            <a:stretch/>
          </p:blipFill>
          <p:spPr>
            <a:xfrm>
              <a:off x="2770092" y="3646468"/>
              <a:ext cx="896214" cy="164179"/>
            </a:xfrm>
            <a:prstGeom prst="rect">
              <a:avLst/>
            </a:prstGeom>
          </p:spPr>
        </p:pic>
        <p:pic>
          <p:nvPicPr>
            <p:cNvPr id="99" name="Picture 32">
              <a:extLst>
                <a:ext uri="{FF2B5EF4-FFF2-40B4-BE49-F238E27FC236}">
                  <a16:creationId xmlns:a16="http://schemas.microsoft.com/office/drawing/2014/main" id="{96E5E3CD-6816-4C60-ACA1-F1715BBB8941}"/>
                </a:ext>
              </a:extLst>
            </p:cNvPr>
            <p:cNvPicPr>
              <a:picLocks noChangeAspect="1"/>
            </p:cNvPicPr>
            <p:nvPr/>
          </p:nvPicPr>
          <p:blipFill>
            <a:blip r:embed="rId2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466398" y="4990468"/>
              <a:ext cx="410125" cy="274785"/>
            </a:xfrm>
            <a:prstGeom prst="rect">
              <a:avLst/>
            </a:prstGeom>
          </p:spPr>
        </p:pic>
        <p:sp>
          <p:nvSpPr>
            <p:cNvPr id="101" name="Rectangle: Rounded Corners 100">
              <a:extLst>
                <a:ext uri="{FF2B5EF4-FFF2-40B4-BE49-F238E27FC236}">
                  <a16:creationId xmlns:a16="http://schemas.microsoft.com/office/drawing/2014/main" id="{856C16A3-D462-44F7-8476-44F7D55BC75F}"/>
                </a:ext>
              </a:extLst>
            </p:cNvPr>
            <p:cNvSpPr/>
            <p:nvPr/>
          </p:nvSpPr>
          <p:spPr bwMode="auto">
            <a:xfrm>
              <a:off x="4211965" y="3740917"/>
              <a:ext cx="739372" cy="2143806"/>
            </a:xfrm>
            <a:prstGeom prst="roundRect">
              <a:avLst>
                <a:gd name="adj" fmla="val 2891"/>
              </a:avLst>
            </a:prstGeom>
            <a:solidFill>
              <a:schemeClr val="bg2">
                <a:lumMod val="40000"/>
                <a:lumOff val="60000"/>
              </a:schemeClr>
            </a:solid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103" name="Picture 2" descr="Image result for creditsafe logo">
              <a:extLst>
                <a:ext uri="{FF2B5EF4-FFF2-40B4-BE49-F238E27FC236}">
                  <a16:creationId xmlns:a16="http://schemas.microsoft.com/office/drawing/2014/main" id="{FF174016-7515-4E90-B26D-ED34D1299F1A}"/>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4263014" y="4945199"/>
              <a:ext cx="654545" cy="112973"/>
            </a:xfrm>
            <a:prstGeom prst="rect">
              <a:avLst/>
            </a:prstGeom>
            <a:noFill/>
            <a:extLst>
              <a:ext uri="{909E8E84-426E-40DD-AFC4-6F175D3DCCD1}">
                <a14:hiddenFill xmlns:a14="http://schemas.microsoft.com/office/drawing/2010/main">
                  <a:solidFill>
                    <a:srgbClr val="FFFFFF"/>
                  </a:solidFill>
                </a14:hiddenFill>
              </a:ext>
            </a:extLst>
          </p:spPr>
        </p:pic>
        <p:sp>
          <p:nvSpPr>
            <p:cNvPr id="107" name="Rectangle: Rounded Corners 106">
              <a:extLst>
                <a:ext uri="{FF2B5EF4-FFF2-40B4-BE49-F238E27FC236}">
                  <a16:creationId xmlns:a16="http://schemas.microsoft.com/office/drawing/2014/main" id="{6C184948-049B-49AF-B064-DE29FFAFA836}"/>
                </a:ext>
              </a:extLst>
            </p:cNvPr>
            <p:cNvSpPr/>
            <p:nvPr/>
          </p:nvSpPr>
          <p:spPr bwMode="auto">
            <a:xfrm>
              <a:off x="5067442" y="1725651"/>
              <a:ext cx="1002067" cy="2143806"/>
            </a:xfrm>
            <a:prstGeom prst="roundRect">
              <a:avLst>
                <a:gd name="adj" fmla="val 2891"/>
              </a:avLst>
            </a:prstGeom>
            <a:solidFill>
              <a:schemeClr val="bg2">
                <a:lumMod val="40000"/>
                <a:lumOff val="60000"/>
              </a:schemeClr>
            </a:solid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111" name="Picture 2" descr="Image result for bureau van dijk logo">
              <a:extLst>
                <a:ext uri="{FF2B5EF4-FFF2-40B4-BE49-F238E27FC236}">
                  <a16:creationId xmlns:a16="http://schemas.microsoft.com/office/drawing/2014/main" id="{CF913B35-5E3C-49F1-8F1A-D2F1DDDB7793}"/>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279520" y="2918033"/>
              <a:ext cx="575488" cy="271999"/>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E6341D1C-01C1-4623-97B3-30EEF1A9DEC0}"/>
                </a:ext>
              </a:extLst>
            </p:cNvPr>
            <p:cNvSpPr/>
            <p:nvPr/>
          </p:nvSpPr>
          <p:spPr bwMode="auto">
            <a:xfrm>
              <a:off x="20334" y="1368289"/>
              <a:ext cx="1141324" cy="29118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1" u="none" strike="noStrike" cap="none" normalizeH="0" baseline="0">
                  <a:ln>
                    <a:noFill/>
                  </a:ln>
                  <a:effectLst/>
                  <a:latin typeface="Trebuchet MS" pitchFamily="34" charset="0"/>
                </a:rPr>
                <a:t>Targeted company size</a:t>
              </a:r>
            </a:p>
          </p:txBody>
        </p:sp>
        <p:pic>
          <p:nvPicPr>
            <p:cNvPr id="131" name="Graphic 130" descr="Back">
              <a:extLst>
                <a:ext uri="{FF2B5EF4-FFF2-40B4-BE49-F238E27FC236}">
                  <a16:creationId xmlns:a16="http://schemas.microsoft.com/office/drawing/2014/main" id="{76259EEA-9AB0-48FE-830D-77AC3780E5F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rot="18164209">
              <a:off x="2430930" y="4250990"/>
              <a:ext cx="457199" cy="457199"/>
            </a:xfrm>
            <a:prstGeom prst="rect">
              <a:avLst/>
            </a:prstGeom>
          </p:spPr>
        </p:pic>
        <p:pic>
          <p:nvPicPr>
            <p:cNvPr id="132" name="Graphic 131" descr="Back">
              <a:extLst>
                <a:ext uri="{FF2B5EF4-FFF2-40B4-BE49-F238E27FC236}">
                  <a16:creationId xmlns:a16="http://schemas.microsoft.com/office/drawing/2014/main" id="{9B818DEE-CC0E-4CDF-A9FA-8ECA66C6A5E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rot="7471464" flipH="1">
              <a:off x="3768398" y="5394045"/>
              <a:ext cx="452844" cy="457199"/>
            </a:xfrm>
            <a:prstGeom prst="rect">
              <a:avLst/>
            </a:prstGeom>
          </p:spPr>
        </p:pic>
        <p:sp>
          <p:nvSpPr>
            <p:cNvPr id="55" name="Rectangle 54">
              <a:extLst>
                <a:ext uri="{FF2B5EF4-FFF2-40B4-BE49-F238E27FC236}">
                  <a16:creationId xmlns:a16="http://schemas.microsoft.com/office/drawing/2014/main" id="{94FD4810-78DD-4418-89F1-B391F203F328}"/>
                </a:ext>
              </a:extLst>
            </p:cNvPr>
            <p:cNvSpPr/>
            <p:nvPr/>
          </p:nvSpPr>
          <p:spPr bwMode="auto">
            <a:xfrm>
              <a:off x="1301860" y="4710286"/>
              <a:ext cx="1308500" cy="205145"/>
            </a:xfrm>
            <a:prstGeom prst="rect">
              <a:avLst/>
            </a:prstGeom>
            <a:noFill/>
            <a:ln w="9525" cap="flat" cmpd="sng" algn="ctr">
              <a:no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spcBef>
                  <a:spcPts val="600"/>
                </a:spcBef>
                <a:buClr>
                  <a:schemeClr val="tx1"/>
                </a:buClr>
              </a:pPr>
              <a:r>
                <a:rPr lang="en-GB" sz="900">
                  <a:solidFill>
                    <a:schemeClr val="tx2"/>
                  </a:solidFill>
                  <a:latin typeface="Trebuchet MS" panose="020B0603020202020204" pitchFamily="34" charset="0"/>
                </a:rPr>
                <a:t>Local &amp; small players</a:t>
              </a:r>
            </a:p>
          </p:txBody>
        </p:sp>
        <p:sp>
          <p:nvSpPr>
            <p:cNvPr id="56" name="Rectangle 55">
              <a:extLst>
                <a:ext uri="{FF2B5EF4-FFF2-40B4-BE49-F238E27FC236}">
                  <a16:creationId xmlns:a16="http://schemas.microsoft.com/office/drawing/2014/main" id="{9095BC5E-A314-459F-A2F4-8A465457C569}"/>
                </a:ext>
              </a:extLst>
            </p:cNvPr>
            <p:cNvSpPr/>
            <p:nvPr/>
          </p:nvSpPr>
          <p:spPr bwMode="auto">
            <a:xfrm>
              <a:off x="2665366" y="2608060"/>
              <a:ext cx="1105666" cy="205145"/>
            </a:xfrm>
            <a:prstGeom prst="rect">
              <a:avLst/>
            </a:prstGeom>
            <a:noFill/>
            <a:ln w="9525" cap="flat" cmpd="sng" algn="ctr">
              <a:no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600"/>
                </a:spcBef>
                <a:buClr>
                  <a:schemeClr val="tx1"/>
                </a:buClr>
              </a:pPr>
              <a:r>
                <a:rPr lang="en-GB" sz="900">
                  <a:solidFill>
                    <a:schemeClr val="tx2"/>
                  </a:solidFill>
                  <a:latin typeface="Trebuchet MS" panose="020B0603020202020204" pitchFamily="34" charset="0"/>
                </a:rPr>
                <a:t>Local incumbents</a:t>
              </a:r>
            </a:p>
          </p:txBody>
        </p:sp>
        <p:sp>
          <p:nvSpPr>
            <p:cNvPr id="57" name="Rectangle 56">
              <a:extLst>
                <a:ext uri="{FF2B5EF4-FFF2-40B4-BE49-F238E27FC236}">
                  <a16:creationId xmlns:a16="http://schemas.microsoft.com/office/drawing/2014/main" id="{52A88395-F427-4D51-91E6-C494DECFFCE7}"/>
                </a:ext>
              </a:extLst>
            </p:cNvPr>
            <p:cNvSpPr/>
            <p:nvPr/>
          </p:nvSpPr>
          <p:spPr bwMode="auto">
            <a:xfrm>
              <a:off x="4190171" y="4067457"/>
              <a:ext cx="766918" cy="205145"/>
            </a:xfrm>
            <a:prstGeom prst="rect">
              <a:avLst/>
            </a:prstGeom>
            <a:noFill/>
            <a:ln w="9525" cap="flat" cmpd="sng" algn="ctr">
              <a:no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600"/>
                </a:spcBef>
                <a:buClr>
                  <a:schemeClr val="tx1"/>
                </a:buClr>
              </a:pPr>
              <a:r>
                <a:rPr lang="en-GB" sz="900">
                  <a:solidFill>
                    <a:schemeClr val="tx2"/>
                  </a:solidFill>
                  <a:latin typeface="Trebuchet MS" panose="020B0603020202020204" pitchFamily="34" charset="0"/>
                </a:rPr>
                <a:t>Challenger</a:t>
              </a:r>
            </a:p>
          </p:txBody>
        </p:sp>
        <p:sp>
          <p:nvSpPr>
            <p:cNvPr id="58" name="Rectangle 57">
              <a:extLst>
                <a:ext uri="{FF2B5EF4-FFF2-40B4-BE49-F238E27FC236}">
                  <a16:creationId xmlns:a16="http://schemas.microsoft.com/office/drawing/2014/main" id="{8F449D3F-282A-4C8E-8B72-5568F3F1FD67}"/>
                </a:ext>
              </a:extLst>
            </p:cNvPr>
            <p:cNvSpPr/>
            <p:nvPr/>
          </p:nvSpPr>
          <p:spPr bwMode="auto">
            <a:xfrm>
              <a:off x="5067442" y="1747848"/>
              <a:ext cx="1002067" cy="205145"/>
            </a:xfrm>
            <a:prstGeom prst="rect">
              <a:avLst/>
            </a:prstGeom>
            <a:noFill/>
            <a:ln w="9525" cap="flat" cmpd="sng" algn="ctr">
              <a:no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600"/>
                </a:spcBef>
                <a:buClr>
                  <a:schemeClr val="tx1"/>
                </a:buClr>
              </a:pPr>
              <a:r>
                <a:rPr lang="en-GB" sz="900">
                  <a:solidFill>
                    <a:schemeClr val="tx2"/>
                  </a:solidFill>
                  <a:latin typeface="Trebuchet MS" panose="020B0603020202020204" pitchFamily="34" charset="0"/>
                </a:rPr>
                <a:t>International premium players</a:t>
              </a:r>
            </a:p>
          </p:txBody>
        </p:sp>
        <p:sp>
          <p:nvSpPr>
            <p:cNvPr id="65" name="Speech Bubble: Rectangle 64">
              <a:extLst>
                <a:ext uri="{FF2B5EF4-FFF2-40B4-BE49-F238E27FC236}">
                  <a16:creationId xmlns:a16="http://schemas.microsoft.com/office/drawing/2014/main" id="{C275C88D-1ABF-4963-A280-2C8561BBCF60}"/>
                </a:ext>
              </a:extLst>
            </p:cNvPr>
            <p:cNvSpPr/>
            <p:nvPr/>
          </p:nvSpPr>
          <p:spPr bwMode="auto">
            <a:xfrm>
              <a:off x="1288647" y="3164479"/>
              <a:ext cx="1334927" cy="737471"/>
            </a:xfrm>
            <a:prstGeom prst="wedgeRectCallout">
              <a:avLst>
                <a:gd name="adj1" fmla="val 73484"/>
                <a:gd name="adj2" fmla="val 58178"/>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err="1">
                  <a:ln>
                    <a:noFill/>
                  </a:ln>
                  <a:effectLst/>
                  <a:latin typeface="Trebuchet MS" panose="020B0603020202020204" pitchFamily="34" charset="0"/>
                </a:rPr>
                <a:t>Ellisphere</a:t>
              </a:r>
              <a:r>
                <a:rPr kumimoji="0" lang="en-GB" sz="900" b="0" i="0" u="none" strike="noStrike" cap="none" normalizeH="0" baseline="0">
                  <a:ln>
                    <a:noFill/>
                  </a:ln>
                  <a:effectLst/>
                  <a:latin typeface="Trebuchet MS" panose="020B0603020202020204" pitchFamily="34" charset="0"/>
                </a:rPr>
                <a:t>, Graydon and </a:t>
              </a:r>
              <a:r>
                <a:rPr kumimoji="0" lang="en-GB" sz="900" b="0" i="0" u="none" strike="noStrike" cap="none" normalizeH="0" baseline="0" err="1">
                  <a:ln>
                    <a:noFill/>
                  </a:ln>
                  <a:effectLst/>
                  <a:latin typeface="Trebuchet MS" panose="020B0603020202020204" pitchFamily="34" charset="0"/>
                </a:rPr>
                <a:t>Creditsafe</a:t>
              </a:r>
              <a:r>
                <a:rPr lang="en-GB" sz="900">
                  <a:latin typeface="Trebuchet MS" panose="020B0603020202020204" pitchFamily="34" charset="0"/>
                </a:rPr>
                <a:t> have a </a:t>
              </a:r>
              <a:r>
                <a:rPr lang="en-GB" sz="900">
                  <a:solidFill>
                    <a:schemeClr val="tx2"/>
                  </a:solidFill>
                  <a:latin typeface="Trebuchet MS" panose="020B0603020202020204" pitchFamily="34" charset="0"/>
                </a:rPr>
                <a:t>strong</a:t>
              </a:r>
              <a:r>
                <a:rPr lang="en-GB" sz="900">
                  <a:latin typeface="Trebuchet MS" panose="020B0603020202020204" pitchFamily="34" charset="0"/>
                </a:rPr>
                <a:t> </a:t>
              </a:r>
              <a:r>
                <a:rPr lang="en-GB" sz="900">
                  <a:solidFill>
                    <a:schemeClr val="tx2"/>
                  </a:solidFill>
                  <a:latin typeface="Trebuchet MS" panose="020B0603020202020204" pitchFamily="34" charset="0"/>
                </a:rPr>
                <a:t>presence</a:t>
              </a:r>
              <a:r>
                <a:rPr lang="en-GB" sz="900">
                  <a:latin typeface="Trebuchet MS" panose="020B0603020202020204" pitchFamily="34" charset="0"/>
                </a:rPr>
                <a:t> on </a:t>
              </a:r>
              <a:r>
                <a:rPr lang="en-GB" sz="900">
                  <a:solidFill>
                    <a:schemeClr val="tx2"/>
                  </a:solidFill>
                  <a:latin typeface="Trebuchet MS" panose="020B0603020202020204" pitchFamily="34" charset="0"/>
                </a:rPr>
                <a:t>risk</a:t>
              </a:r>
              <a:r>
                <a:rPr lang="en-GB" sz="900">
                  <a:latin typeface="Trebuchet MS" panose="020B0603020202020204" pitchFamily="34" charset="0"/>
                </a:rPr>
                <a:t> but are </a:t>
              </a:r>
              <a:r>
                <a:rPr lang="en-GB" sz="900">
                  <a:solidFill>
                    <a:schemeClr val="tx2"/>
                  </a:solidFill>
                  <a:latin typeface="Trebuchet MS" panose="020B0603020202020204" pitchFamily="34" charset="0"/>
                </a:rPr>
                <a:t>less</a:t>
              </a:r>
              <a:r>
                <a:rPr lang="en-GB" sz="900">
                  <a:latin typeface="Trebuchet MS" panose="020B0603020202020204" pitchFamily="34" charset="0"/>
                </a:rPr>
                <a:t> active on </a:t>
              </a:r>
              <a:r>
                <a:rPr lang="en-GB" sz="900">
                  <a:solidFill>
                    <a:schemeClr val="tx2"/>
                  </a:solidFill>
                  <a:latin typeface="Trebuchet MS" panose="020B0603020202020204" pitchFamily="34" charset="0"/>
                </a:rPr>
                <a:t>compliance</a:t>
              </a:r>
              <a:endParaRPr kumimoji="0" lang="en-GB" sz="900" b="0" i="0" u="none" strike="noStrike" cap="none" normalizeH="0" baseline="0">
                <a:ln>
                  <a:noFill/>
                </a:ln>
                <a:solidFill>
                  <a:schemeClr val="tx2"/>
                </a:solidFill>
                <a:effectLst/>
                <a:latin typeface="Trebuchet MS" panose="020B0603020202020204" pitchFamily="34" charset="0"/>
              </a:endParaRPr>
            </a:p>
          </p:txBody>
        </p:sp>
        <p:pic>
          <p:nvPicPr>
            <p:cNvPr id="7" name="Picture 2" descr="ALTARES-D&amp;B - L'ASSOCIATION FRANCAISE DES CREDIT MANAGERS ET CONSEILS">
              <a:extLst>
                <a:ext uri="{FF2B5EF4-FFF2-40B4-BE49-F238E27FC236}">
                  <a16:creationId xmlns:a16="http://schemas.microsoft.com/office/drawing/2014/main" id="{EA345218-DB6B-45F7-9783-FD0B1B410692}"/>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5345868" y="2465242"/>
              <a:ext cx="442792" cy="248020"/>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Rounded Corners 90">
              <a:extLst>
                <a:ext uri="{FF2B5EF4-FFF2-40B4-BE49-F238E27FC236}">
                  <a16:creationId xmlns:a16="http://schemas.microsoft.com/office/drawing/2014/main" id="{51CC9843-8661-47BA-A054-1FE9A931C2E5}"/>
                </a:ext>
              </a:extLst>
            </p:cNvPr>
            <p:cNvSpPr/>
            <p:nvPr/>
          </p:nvSpPr>
          <p:spPr bwMode="auto">
            <a:xfrm>
              <a:off x="1342549" y="5372677"/>
              <a:ext cx="1308500" cy="601914"/>
            </a:xfrm>
            <a:prstGeom prst="roundRect">
              <a:avLst>
                <a:gd name="adj" fmla="val 3927"/>
              </a:avLst>
            </a:prstGeom>
            <a:solidFill>
              <a:schemeClr val="bg1">
                <a:lumMod val="95000"/>
              </a:schemeClr>
            </a:solidFill>
            <a:ln w="9525" cap="flat" cmpd="sng" algn="ctr">
              <a:solidFill>
                <a:schemeClr val="tx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cxnSp>
          <p:nvCxnSpPr>
            <p:cNvPr id="33" name="Connecteur droit 32">
              <a:extLst>
                <a:ext uri="{FF2B5EF4-FFF2-40B4-BE49-F238E27FC236}">
                  <a16:creationId xmlns:a16="http://schemas.microsoft.com/office/drawing/2014/main" id="{C3FF1796-295A-441A-BC1E-0148E6019108}"/>
                </a:ext>
              </a:extLst>
            </p:cNvPr>
            <p:cNvCxnSpPr>
              <a:cxnSpLocks/>
            </p:cNvCxnSpPr>
            <p:nvPr/>
          </p:nvCxnSpPr>
          <p:spPr bwMode="auto">
            <a:xfrm flipH="1" flipV="1">
              <a:off x="3827177" y="1725651"/>
              <a:ext cx="9985" cy="4334876"/>
            </a:xfrm>
            <a:prstGeom prst="line">
              <a:avLst/>
            </a:prstGeom>
            <a:solidFill>
              <a:schemeClr val="accent1"/>
            </a:solidFill>
            <a:ln w="12700" cap="flat" cmpd="sng" algn="ctr">
              <a:solidFill>
                <a:schemeClr val="tx1"/>
              </a:solidFill>
              <a:prstDash val="dash"/>
              <a:round/>
              <a:headEnd type="none" w="med" len="med"/>
              <a:tailEnd type="none" w="med" len="med"/>
            </a:ln>
            <a:effectLst/>
          </p:spPr>
        </p:cxnSp>
        <p:grpSp>
          <p:nvGrpSpPr>
            <p:cNvPr id="15" name="Groupe 14">
              <a:extLst>
                <a:ext uri="{FF2B5EF4-FFF2-40B4-BE49-F238E27FC236}">
                  <a16:creationId xmlns:a16="http://schemas.microsoft.com/office/drawing/2014/main" id="{29E72DDB-C5F4-4963-80D7-464419EC08C5}"/>
                </a:ext>
              </a:extLst>
            </p:cNvPr>
            <p:cNvGrpSpPr/>
            <p:nvPr/>
          </p:nvGrpSpPr>
          <p:grpSpPr>
            <a:xfrm>
              <a:off x="2755700" y="4343224"/>
              <a:ext cx="1466696" cy="1034248"/>
              <a:chOff x="-2479802" y="3592947"/>
              <a:chExt cx="1845673" cy="804635"/>
            </a:xfrm>
          </p:grpSpPr>
          <p:sp>
            <p:nvSpPr>
              <p:cNvPr id="71" name="Forme libre : forme 70">
                <a:extLst>
                  <a:ext uri="{FF2B5EF4-FFF2-40B4-BE49-F238E27FC236}">
                    <a16:creationId xmlns:a16="http://schemas.microsoft.com/office/drawing/2014/main" id="{AF65E28F-923D-47F4-9CFA-35F436C51AC1}"/>
                  </a:ext>
                </a:extLst>
              </p:cNvPr>
              <p:cNvSpPr/>
              <p:nvPr/>
            </p:nvSpPr>
            <p:spPr bwMode="auto">
              <a:xfrm rot="5400000">
                <a:off x="-1959283" y="3072428"/>
                <a:ext cx="804635" cy="1845673"/>
              </a:xfrm>
              <a:custGeom>
                <a:avLst/>
                <a:gdLst>
                  <a:gd name="connsiteX0" fmla="*/ 0 w 804635"/>
                  <a:gd name="connsiteY0" fmla="*/ 1271438 h 1845673"/>
                  <a:gd name="connsiteX1" fmla="*/ 173073 w 804635"/>
                  <a:gd name="connsiteY1" fmla="*/ 1142760 h 1845673"/>
                  <a:gd name="connsiteX2" fmla="*/ 173073 w 804635"/>
                  <a:gd name="connsiteY2" fmla="*/ 158681 h 1845673"/>
                  <a:gd name="connsiteX3" fmla="*/ 278333 w 804635"/>
                  <a:gd name="connsiteY3" fmla="*/ 158681 h 1845673"/>
                  <a:gd name="connsiteX4" fmla="*/ 380510 w 804635"/>
                  <a:gd name="connsiteY4" fmla="*/ 158681 h 1845673"/>
                  <a:gd name="connsiteX5" fmla="*/ 491389 w 804635"/>
                  <a:gd name="connsiteY5" fmla="*/ 0 h 1845673"/>
                  <a:gd name="connsiteX6" fmla="*/ 602267 w 804635"/>
                  <a:gd name="connsiteY6" fmla="*/ 158681 h 1845673"/>
                  <a:gd name="connsiteX7" fmla="*/ 804635 w 804635"/>
                  <a:gd name="connsiteY7" fmla="*/ 158681 h 1845673"/>
                  <a:gd name="connsiteX8" fmla="*/ 804635 w 804635"/>
                  <a:gd name="connsiteY8" fmla="*/ 1142760 h 1845673"/>
                  <a:gd name="connsiteX9" fmla="*/ 804635 w 804635"/>
                  <a:gd name="connsiteY9" fmla="*/ 1564508 h 1845673"/>
                  <a:gd name="connsiteX10" fmla="*/ 804635 w 804635"/>
                  <a:gd name="connsiteY10" fmla="*/ 1845673 h 1845673"/>
                  <a:gd name="connsiteX11" fmla="*/ 436224 w 804635"/>
                  <a:gd name="connsiteY11" fmla="*/ 1845673 h 1845673"/>
                  <a:gd name="connsiteX12" fmla="*/ 278333 w 804635"/>
                  <a:gd name="connsiteY12" fmla="*/ 1845673 h 1845673"/>
                  <a:gd name="connsiteX13" fmla="*/ 173073 w 804635"/>
                  <a:gd name="connsiteY13" fmla="*/ 1845673 h 1845673"/>
                  <a:gd name="connsiteX14" fmla="*/ 173073 w 804635"/>
                  <a:gd name="connsiteY14" fmla="*/ 1564508 h 1845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4635" h="1845673">
                    <a:moveTo>
                      <a:pt x="0" y="1271438"/>
                    </a:moveTo>
                    <a:lnTo>
                      <a:pt x="173073" y="1142760"/>
                    </a:lnTo>
                    <a:lnTo>
                      <a:pt x="173073" y="158681"/>
                    </a:lnTo>
                    <a:lnTo>
                      <a:pt x="278333" y="158681"/>
                    </a:lnTo>
                    <a:lnTo>
                      <a:pt x="380510" y="158681"/>
                    </a:lnTo>
                    <a:lnTo>
                      <a:pt x="491389" y="0"/>
                    </a:lnTo>
                    <a:lnTo>
                      <a:pt x="602267" y="158681"/>
                    </a:lnTo>
                    <a:lnTo>
                      <a:pt x="804635" y="158681"/>
                    </a:lnTo>
                    <a:lnTo>
                      <a:pt x="804635" y="1142760"/>
                    </a:lnTo>
                    <a:lnTo>
                      <a:pt x="804635" y="1564508"/>
                    </a:lnTo>
                    <a:lnTo>
                      <a:pt x="804635" y="1845673"/>
                    </a:lnTo>
                    <a:lnTo>
                      <a:pt x="436224" y="1845673"/>
                    </a:lnTo>
                    <a:lnTo>
                      <a:pt x="278333" y="1845673"/>
                    </a:lnTo>
                    <a:lnTo>
                      <a:pt x="173073" y="1845673"/>
                    </a:lnTo>
                    <a:lnTo>
                      <a:pt x="173073" y="1564508"/>
                    </a:lnTo>
                    <a:close/>
                  </a:path>
                </a:pathLst>
              </a:cu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endParaRPr lang="en-GB" sz="900">
                  <a:solidFill>
                    <a:schemeClr val="tx2"/>
                  </a:solidFill>
                  <a:latin typeface="Trebuchet MS" panose="020B0603020202020204" pitchFamily="34" charset="0"/>
                </a:endParaRPr>
              </a:p>
            </p:txBody>
          </p:sp>
          <p:sp>
            <p:nvSpPr>
              <p:cNvPr id="64" name="ZoneTexte 63">
                <a:extLst>
                  <a:ext uri="{FF2B5EF4-FFF2-40B4-BE49-F238E27FC236}">
                    <a16:creationId xmlns:a16="http://schemas.microsoft.com/office/drawing/2014/main" id="{36C26947-885E-4CF2-9380-E2E5974FEEF4}"/>
                  </a:ext>
                </a:extLst>
              </p:cNvPr>
              <p:cNvSpPr txBox="1"/>
              <p:nvPr/>
            </p:nvSpPr>
            <p:spPr>
              <a:xfrm>
                <a:off x="-2397980" y="3771399"/>
                <a:ext cx="1579510" cy="610590"/>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dirty="0">
                    <a:ln>
                      <a:noFill/>
                    </a:ln>
                    <a:solidFill>
                      <a:srgbClr val="289B38"/>
                    </a:solidFill>
                    <a:effectLst/>
                    <a:uLnTx/>
                    <a:uFillTx/>
                    <a:latin typeface="Trebuchet MS" panose="020B0603020202020204" pitchFamily="34" charset="0"/>
                    <a:ea typeface="+mn-ea"/>
                    <a:cs typeface="Arial" pitchFamily="34" charset="0"/>
                  </a:rPr>
                  <a:t>Increasing</a:t>
                </a:r>
                <a:r>
                  <a:rPr kumimoji="0" lang="en-GB" sz="900" b="0" i="0" u="none" strike="noStrike" kern="1200" cap="none" spc="0" normalizeH="0" baseline="0" dirty="0">
                    <a:ln>
                      <a:noFill/>
                    </a:ln>
                    <a:solidFill>
                      <a:srgbClr val="6C6C6C"/>
                    </a:solidFill>
                    <a:effectLst/>
                    <a:uLnTx/>
                    <a:uFillTx/>
                    <a:latin typeface="Trebuchet MS" panose="020B0603020202020204" pitchFamily="34" charset="0"/>
                    <a:ea typeface="+mn-ea"/>
                    <a:cs typeface="Arial" pitchFamily="34" charset="0"/>
                  </a:rPr>
                  <a:t> </a:t>
                </a:r>
                <a:r>
                  <a:rPr kumimoji="0" lang="en-GB" sz="900" b="0" i="0" u="none" strike="noStrike" kern="1200" cap="none" spc="0" normalizeH="0" baseline="0" dirty="0">
                    <a:ln>
                      <a:noFill/>
                    </a:ln>
                    <a:solidFill>
                      <a:srgbClr val="289B38"/>
                    </a:solidFill>
                    <a:effectLst/>
                    <a:uLnTx/>
                    <a:uFillTx/>
                    <a:latin typeface="Trebuchet MS" panose="020B0603020202020204" pitchFamily="34" charset="0"/>
                    <a:ea typeface="+mn-ea"/>
                    <a:cs typeface="Arial" pitchFamily="34" charset="0"/>
                  </a:rPr>
                  <a:t>competition</a:t>
                </a:r>
                <a:r>
                  <a:rPr kumimoji="0" lang="en-GB" sz="900" b="0" i="0" u="none" strike="noStrike" kern="1200" cap="none" spc="0" normalizeH="0" baseline="0" dirty="0">
                    <a:ln>
                      <a:noFill/>
                    </a:ln>
                    <a:solidFill>
                      <a:srgbClr val="6C6C6C"/>
                    </a:solidFill>
                    <a:effectLst/>
                    <a:uLnTx/>
                    <a:uFillTx/>
                    <a:latin typeface="Trebuchet MS" panose="020B0603020202020204" pitchFamily="34" charset="0"/>
                    <a:ea typeface="+mn-ea"/>
                    <a:cs typeface="Arial" pitchFamily="34" charset="0"/>
                  </a:rPr>
                  <a:t> from smaller players with affordable offerings for the </a:t>
                </a:r>
                <a:r>
                  <a:rPr kumimoji="0" lang="en-GB" sz="900" b="0" i="0" u="none" strike="noStrike" kern="1200" cap="none" spc="0" normalizeH="0" baseline="0" dirty="0">
                    <a:ln>
                      <a:noFill/>
                    </a:ln>
                    <a:solidFill>
                      <a:srgbClr val="289B38"/>
                    </a:solidFill>
                    <a:effectLst/>
                    <a:uLnTx/>
                    <a:uFillTx/>
                    <a:latin typeface="Trebuchet MS" panose="020B0603020202020204" pitchFamily="34" charset="0"/>
                    <a:ea typeface="+mn-ea"/>
                    <a:cs typeface="Arial" pitchFamily="34" charset="0"/>
                  </a:rPr>
                  <a:t>mass</a:t>
                </a:r>
                <a:r>
                  <a:rPr kumimoji="0" lang="en-GB" sz="900" b="0" i="0" u="none" strike="noStrike" kern="1200" cap="none" spc="0" normalizeH="0" baseline="0" dirty="0">
                    <a:ln>
                      <a:noFill/>
                    </a:ln>
                    <a:solidFill>
                      <a:srgbClr val="6C6C6C"/>
                    </a:solidFill>
                    <a:effectLst/>
                    <a:uLnTx/>
                    <a:uFillTx/>
                    <a:latin typeface="Trebuchet MS" panose="020B0603020202020204" pitchFamily="34" charset="0"/>
                    <a:ea typeface="+mn-ea"/>
                    <a:cs typeface="Arial" pitchFamily="34" charset="0"/>
                  </a:rPr>
                  <a:t> </a:t>
                </a:r>
                <a:r>
                  <a:rPr kumimoji="0" lang="en-GB" sz="900" b="0" i="0" u="none" strike="noStrike" kern="1200" cap="none" spc="0" normalizeH="0" baseline="0" dirty="0">
                    <a:ln>
                      <a:noFill/>
                    </a:ln>
                    <a:solidFill>
                      <a:srgbClr val="289B38"/>
                    </a:solidFill>
                    <a:effectLst/>
                    <a:uLnTx/>
                    <a:uFillTx/>
                    <a:latin typeface="Trebuchet MS" panose="020B0603020202020204" pitchFamily="34" charset="0"/>
                    <a:ea typeface="+mn-ea"/>
                    <a:cs typeface="Arial" pitchFamily="34" charset="0"/>
                  </a:rPr>
                  <a:t>market</a:t>
                </a:r>
              </a:p>
            </p:txBody>
          </p:sp>
        </p:grpSp>
        <p:sp>
          <p:nvSpPr>
            <p:cNvPr id="84" name="ZoneTexte 88">
              <a:extLst>
                <a:ext uri="{FF2B5EF4-FFF2-40B4-BE49-F238E27FC236}">
                  <a16:creationId xmlns:a16="http://schemas.microsoft.com/office/drawing/2014/main" id="{67890DD4-AFCD-4274-867A-19E4B9E5F4C1}"/>
                </a:ext>
              </a:extLst>
            </p:cNvPr>
            <p:cNvSpPr txBox="1"/>
            <p:nvPr/>
          </p:nvSpPr>
          <p:spPr>
            <a:xfrm>
              <a:off x="4067802" y="6060528"/>
              <a:ext cx="2103638" cy="246221"/>
            </a:xfrm>
            <a:prstGeom prst="rect">
              <a:avLst/>
            </a:prstGeom>
            <a:noFill/>
          </p:spPr>
          <p:txBody>
            <a:bodyPr wrap="square" rtlCol="0">
              <a:spAutoFit/>
            </a:bodyPr>
            <a:lstStyle/>
            <a:p>
              <a:pPr algn="ctr"/>
              <a:r>
                <a:rPr lang="en-GB" sz="1000" b="1">
                  <a:latin typeface="Trebuchet MS" panose="020B0603020202020204" pitchFamily="34" charset="0"/>
                </a:rPr>
                <a:t>International players</a:t>
              </a:r>
            </a:p>
          </p:txBody>
        </p:sp>
        <p:pic>
          <p:nvPicPr>
            <p:cNvPr id="76" name="Picture 2" descr="Image result for verif.com">
              <a:extLst>
                <a:ext uri="{FF2B5EF4-FFF2-40B4-BE49-F238E27FC236}">
                  <a16:creationId xmlns:a16="http://schemas.microsoft.com/office/drawing/2014/main" id="{D59307F3-8B20-4D7E-865F-6D70C1783D46}"/>
                </a:ext>
              </a:extLst>
            </p:cNvPr>
            <p:cNvPicPr>
              <a:picLocks noChangeAspect="1" noChangeArrowheads="1"/>
            </p:cNvPicPr>
            <p:nvPr/>
          </p:nvPicPr>
          <p:blipFill rotWithShape="1">
            <a:blip r:embed="rId34">
              <a:clrChange>
                <a:clrFrom>
                  <a:srgbClr val="FFFFFF"/>
                </a:clrFrom>
                <a:clrTo>
                  <a:srgbClr val="FFFFFF">
                    <a:alpha val="0"/>
                  </a:srgbClr>
                </a:clrTo>
              </a:clrChange>
              <a:extLst>
                <a:ext uri="{28A0092B-C50C-407E-A947-70E740481C1C}">
                  <a14:useLocalDpi xmlns:a14="http://schemas.microsoft.com/office/drawing/2010/main" val="0"/>
                </a:ext>
              </a:extLst>
            </a:blip>
            <a:srcRect t="17796" b="43422"/>
            <a:stretch/>
          </p:blipFill>
          <p:spPr bwMode="auto">
            <a:xfrm>
              <a:off x="1432330" y="5452803"/>
              <a:ext cx="466406" cy="180884"/>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 descr="Fichiers d'Entreprises au Luxembourg – Solution de Prospection">
              <a:extLst>
                <a:ext uri="{FF2B5EF4-FFF2-40B4-BE49-F238E27FC236}">
                  <a16:creationId xmlns:a16="http://schemas.microsoft.com/office/drawing/2014/main" id="{DA4CD4F8-6C04-495B-ACBA-54DA4326E27E}"/>
                </a:ext>
              </a:extLst>
            </p:cNvPr>
            <p:cNvPicPr>
              <a:picLocks noChangeAspect="1" noChangeArrowheads="1"/>
            </p:cNvPicPr>
            <p:nvPr/>
          </p:nvPicPr>
          <p:blipFill>
            <a:blip r:embed="rId3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43697" y="5523207"/>
              <a:ext cx="543165" cy="153167"/>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122">
              <a:extLst>
                <a:ext uri="{FF2B5EF4-FFF2-40B4-BE49-F238E27FC236}">
                  <a16:creationId xmlns:a16="http://schemas.microsoft.com/office/drawing/2014/main" id="{A3783AC7-A037-4847-B835-DEA5D6758A85}"/>
                </a:ext>
              </a:extLst>
            </p:cNvPr>
            <p:cNvPicPr>
              <a:picLocks noChangeAspect="1"/>
            </p:cNvPicPr>
            <p:nvPr/>
          </p:nvPicPr>
          <p:blipFill>
            <a:blip r:embed="rId36">
              <a:clrChange>
                <a:clrFrom>
                  <a:srgbClr val="FDFDFD"/>
                </a:clrFrom>
                <a:clrTo>
                  <a:srgbClr val="FDFDFD">
                    <a:alpha val="0"/>
                  </a:srgbClr>
                </a:clrTo>
              </a:clrChange>
            </a:blip>
            <a:stretch>
              <a:fillRect/>
            </a:stretch>
          </p:blipFill>
          <p:spPr>
            <a:xfrm>
              <a:off x="2082838" y="5719663"/>
              <a:ext cx="464883" cy="130434"/>
            </a:xfrm>
            <a:prstGeom prst="rect">
              <a:avLst/>
            </a:prstGeom>
          </p:spPr>
        </p:pic>
        <p:pic>
          <p:nvPicPr>
            <p:cNvPr id="77" name="Picture 2" descr="Afficher l'image d'origine">
              <a:extLst>
                <a:ext uri="{FF2B5EF4-FFF2-40B4-BE49-F238E27FC236}">
                  <a16:creationId xmlns:a16="http://schemas.microsoft.com/office/drawing/2014/main" id="{62663149-BA8C-4211-BF99-B995F47ED3EC}"/>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1402925" y="5729802"/>
              <a:ext cx="452382" cy="154922"/>
            </a:xfrm>
            <a:prstGeom prst="rect">
              <a:avLst/>
            </a:prstGeom>
            <a:noFill/>
            <a:extLst>
              <a:ext uri="{909E8E84-426E-40DD-AFC4-6F175D3DCCD1}">
                <a14:hiddenFill xmlns:a14="http://schemas.microsoft.com/office/drawing/2010/main">
                  <a:solidFill>
                    <a:srgbClr val="FFFFFF"/>
                  </a:solidFill>
                </a14:hiddenFill>
              </a:ext>
            </a:extLst>
          </p:spPr>
        </p:pic>
        <p:sp>
          <p:nvSpPr>
            <p:cNvPr id="70" name="Rectangle 69">
              <a:extLst>
                <a:ext uri="{FF2B5EF4-FFF2-40B4-BE49-F238E27FC236}">
                  <a16:creationId xmlns:a16="http://schemas.microsoft.com/office/drawing/2014/main" id="{CA5CD320-21C2-49AF-A0EE-FA684D495C2F}"/>
                </a:ext>
              </a:extLst>
            </p:cNvPr>
            <p:cNvSpPr/>
            <p:nvPr/>
          </p:nvSpPr>
          <p:spPr bwMode="auto">
            <a:xfrm>
              <a:off x="5971427" y="6124686"/>
              <a:ext cx="961723" cy="29118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700" b="0" i="1" u="none" strike="noStrike" cap="none" normalizeH="0" baseline="0">
                  <a:ln>
                    <a:noFill/>
                  </a:ln>
                  <a:effectLst/>
                  <a:latin typeface="Trebuchet MS" pitchFamily="34" charset="0"/>
                </a:rPr>
                <a:t>Data comprehensiveness</a:t>
              </a:r>
            </a:p>
          </p:txBody>
        </p:sp>
      </p:grpSp>
      <p:sp>
        <p:nvSpPr>
          <p:cNvPr id="72" name="ZoneTexte 18">
            <a:extLst>
              <a:ext uri="{FF2B5EF4-FFF2-40B4-BE49-F238E27FC236}">
                <a16:creationId xmlns:a16="http://schemas.microsoft.com/office/drawing/2014/main" id="{4B75DDA7-E54C-49BD-802D-232FA1BF75C8}"/>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etitive landscape</a:t>
            </a:r>
          </a:p>
        </p:txBody>
      </p:sp>
      <p:sp>
        <p:nvSpPr>
          <p:cNvPr id="73" name="Speech Bubble: Rectangle 61">
            <a:extLst>
              <a:ext uri="{FF2B5EF4-FFF2-40B4-BE49-F238E27FC236}">
                <a16:creationId xmlns:a16="http://schemas.microsoft.com/office/drawing/2014/main" id="{807A18A5-00D4-4FBC-90FD-7BFB1FE56C6A}"/>
              </a:ext>
            </a:extLst>
          </p:cNvPr>
          <p:cNvSpPr/>
          <p:nvPr/>
        </p:nvSpPr>
        <p:spPr bwMode="auto">
          <a:xfrm>
            <a:off x="5326169" y="3487431"/>
            <a:ext cx="1334928" cy="467996"/>
          </a:xfrm>
          <a:prstGeom prst="wedgeRectCallout">
            <a:avLst>
              <a:gd name="adj1" fmla="val -17186"/>
              <a:gd name="adj2" fmla="val -83457"/>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dirty="0" err="1">
                <a:ln>
                  <a:noFill/>
                </a:ln>
                <a:effectLst/>
                <a:latin typeface="Trebuchet MS" panose="020B0603020202020204" pitchFamily="34" charset="0"/>
              </a:rPr>
              <a:t>BvD</a:t>
            </a:r>
            <a:r>
              <a:rPr kumimoji="0" lang="en-GB" sz="900" b="0" i="0" u="none" strike="noStrike" cap="none" normalizeH="0" baseline="0" dirty="0">
                <a:ln>
                  <a:noFill/>
                </a:ln>
                <a:effectLst/>
                <a:latin typeface="Trebuchet MS" panose="020B0603020202020204" pitchFamily="34" charset="0"/>
              </a:rPr>
              <a:t> mostly addresses the </a:t>
            </a:r>
            <a:r>
              <a:rPr lang="en-GB" sz="900" dirty="0">
                <a:solidFill>
                  <a:schemeClr val="tx2"/>
                </a:solidFill>
                <a:latin typeface="Trebuchet MS" panose="020B0603020202020204" pitchFamily="34" charset="0"/>
              </a:rPr>
              <a:t>high-end </a:t>
            </a:r>
            <a:r>
              <a:rPr kumimoji="0" lang="en-GB" sz="900" b="0" i="0" u="none" strike="noStrike" cap="none" normalizeH="0" baseline="0" dirty="0">
                <a:ln>
                  <a:noFill/>
                </a:ln>
                <a:effectLst/>
                <a:latin typeface="Trebuchet MS" panose="020B0603020202020204" pitchFamily="34" charset="0"/>
              </a:rPr>
              <a:t>of </a:t>
            </a:r>
            <a:r>
              <a:rPr kumimoji="0" lang="en-GB" sz="900" b="0" i="0" u="none" strike="noStrike" cap="none" normalizeH="0" baseline="0" dirty="0">
                <a:ln>
                  <a:noFill/>
                </a:ln>
                <a:solidFill>
                  <a:schemeClr val="tx2"/>
                </a:solidFill>
                <a:effectLst/>
                <a:latin typeface="Trebuchet MS" panose="020B0603020202020204" pitchFamily="34" charset="0"/>
              </a:rPr>
              <a:t>large</a:t>
            </a:r>
            <a:r>
              <a:rPr kumimoji="0" lang="en-GB" sz="900" b="0" i="0" u="none" strike="noStrike" cap="none" normalizeH="0" baseline="0" dirty="0">
                <a:ln>
                  <a:noFill/>
                </a:ln>
                <a:effectLst/>
                <a:latin typeface="Trebuchet MS" panose="020B0603020202020204" pitchFamily="34" charset="0"/>
              </a:rPr>
              <a:t> </a:t>
            </a:r>
            <a:r>
              <a:rPr kumimoji="0" lang="en-GB" sz="900" b="0" i="0" u="none" strike="noStrike" cap="none" normalizeH="0" baseline="0" dirty="0">
                <a:ln>
                  <a:noFill/>
                </a:ln>
                <a:solidFill>
                  <a:schemeClr val="tx2"/>
                </a:solidFill>
                <a:effectLst/>
                <a:latin typeface="Trebuchet MS" panose="020B0603020202020204" pitchFamily="34" charset="0"/>
              </a:rPr>
              <a:t>companies</a:t>
            </a:r>
          </a:p>
        </p:txBody>
      </p:sp>
      <p:sp>
        <p:nvSpPr>
          <p:cNvPr id="74" name="Speech Bubble: Rectangle 138">
            <a:extLst>
              <a:ext uri="{FF2B5EF4-FFF2-40B4-BE49-F238E27FC236}">
                <a16:creationId xmlns:a16="http://schemas.microsoft.com/office/drawing/2014/main" id="{79E62823-2791-4873-9826-8CF863C230C8}"/>
              </a:ext>
            </a:extLst>
          </p:cNvPr>
          <p:cNvSpPr/>
          <p:nvPr/>
        </p:nvSpPr>
        <p:spPr bwMode="auto">
          <a:xfrm>
            <a:off x="3780875" y="1851837"/>
            <a:ext cx="1375910" cy="941291"/>
          </a:xfrm>
          <a:prstGeom prst="wedgeRectCallout">
            <a:avLst>
              <a:gd name="adj1" fmla="val 75793"/>
              <a:gd name="adj2" fmla="val 38419"/>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dirty="0">
                <a:ln>
                  <a:noFill/>
                </a:ln>
                <a:solidFill>
                  <a:schemeClr val="tx2"/>
                </a:solidFill>
                <a:effectLst/>
                <a:latin typeface="Trebuchet MS" panose="020B0603020202020204" pitchFamily="34" charset="0"/>
              </a:rPr>
              <a:t>Increasing</a:t>
            </a:r>
            <a:r>
              <a:rPr kumimoji="0" lang="en-GB" sz="900" b="0" i="0" u="none" strike="noStrike" cap="none" normalizeH="0" baseline="0" dirty="0">
                <a:ln>
                  <a:noFill/>
                </a:ln>
                <a:solidFill>
                  <a:schemeClr val="tx1"/>
                </a:solidFill>
                <a:effectLst/>
                <a:latin typeface="Trebuchet MS" panose="020B0603020202020204" pitchFamily="34" charset="0"/>
              </a:rPr>
              <a:t> </a:t>
            </a:r>
            <a:r>
              <a:rPr kumimoji="0" lang="en-GB" sz="900" b="0" i="0" u="none" strike="noStrike" cap="none" normalizeH="0" baseline="0" dirty="0">
                <a:ln>
                  <a:noFill/>
                </a:ln>
                <a:solidFill>
                  <a:schemeClr val="tx2"/>
                </a:solidFill>
                <a:effectLst/>
                <a:latin typeface="Trebuchet MS" panose="020B0603020202020204" pitchFamily="34" charset="0"/>
              </a:rPr>
              <a:t>competition</a:t>
            </a:r>
            <a:r>
              <a:rPr kumimoji="0" lang="en-GB" sz="900" b="0" i="0" u="none" strike="noStrike" cap="none" normalizeH="0" baseline="0" dirty="0">
                <a:ln>
                  <a:noFill/>
                </a:ln>
                <a:solidFill>
                  <a:schemeClr val="tx1"/>
                </a:solidFill>
                <a:effectLst/>
                <a:latin typeface="Trebuchet MS" panose="020B0603020202020204" pitchFamily="34" charset="0"/>
              </a:rPr>
              <a:t> from premium with more added-value offerings that target the </a:t>
            </a:r>
            <a:r>
              <a:rPr kumimoji="0" lang="en-GB" sz="900" b="0" i="0" u="none" strike="noStrike" cap="none" normalizeH="0" baseline="0" dirty="0">
                <a:ln>
                  <a:noFill/>
                </a:ln>
                <a:solidFill>
                  <a:schemeClr val="tx2"/>
                </a:solidFill>
                <a:effectLst/>
                <a:latin typeface="Trebuchet MS" panose="020B0603020202020204" pitchFamily="34" charset="0"/>
              </a:rPr>
              <a:t>high-end</a:t>
            </a:r>
            <a:r>
              <a:rPr kumimoji="0" lang="en-GB" sz="900" b="0" i="0" u="none" strike="noStrike" cap="none" normalizeH="0" baseline="0" dirty="0">
                <a:ln>
                  <a:noFill/>
                </a:ln>
                <a:solidFill>
                  <a:schemeClr val="tx1"/>
                </a:solidFill>
                <a:effectLst/>
                <a:latin typeface="Trebuchet MS" panose="020B0603020202020204" pitchFamily="34" charset="0"/>
              </a:rPr>
              <a:t> of the </a:t>
            </a:r>
            <a:r>
              <a:rPr kumimoji="0" lang="en-GB" sz="900" b="0" i="0" u="none" strike="noStrike" cap="none" normalizeH="0" baseline="0" dirty="0">
                <a:ln>
                  <a:noFill/>
                </a:ln>
                <a:solidFill>
                  <a:schemeClr val="tx2"/>
                </a:solidFill>
                <a:effectLst/>
                <a:latin typeface="Trebuchet MS" panose="020B0603020202020204" pitchFamily="34" charset="0"/>
              </a:rPr>
              <a:t>mid</a:t>
            </a:r>
            <a:r>
              <a:rPr kumimoji="0" lang="en-GB" sz="900" b="0" i="0" u="none" strike="noStrike" cap="none" normalizeH="0" baseline="0" dirty="0">
                <a:ln>
                  <a:noFill/>
                </a:ln>
                <a:solidFill>
                  <a:schemeClr val="tx1"/>
                </a:solidFill>
                <a:effectLst/>
                <a:latin typeface="Trebuchet MS" panose="020B0603020202020204" pitchFamily="34" charset="0"/>
              </a:rPr>
              <a:t> </a:t>
            </a:r>
            <a:r>
              <a:rPr kumimoji="0" lang="en-GB" sz="900" b="0" i="0" u="none" strike="noStrike" cap="none" normalizeH="0" baseline="0" dirty="0">
                <a:ln>
                  <a:noFill/>
                </a:ln>
                <a:solidFill>
                  <a:schemeClr val="tx2"/>
                </a:solidFill>
                <a:effectLst/>
                <a:latin typeface="Trebuchet MS" panose="020B0603020202020204" pitchFamily="34" charset="0"/>
              </a:rPr>
              <a:t>market</a:t>
            </a:r>
          </a:p>
        </p:txBody>
      </p:sp>
    </p:spTree>
    <p:extLst>
      <p:ext uri="{BB962C8B-B14F-4D97-AF65-F5344CB8AC3E}">
        <p14:creationId xmlns:p14="http://schemas.microsoft.com/office/powerpoint/2010/main" val="1456459348"/>
      </p:ext>
    </p:extLst>
  </p:cSld>
  <p:clrMapOvr>
    <a:masterClrMapping/>
  </p:clrMapOv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a:extLst>
              <a:ext uri="{FF2B5EF4-FFF2-40B4-BE49-F238E27FC236}">
                <a16:creationId xmlns:a16="http://schemas.microsoft.com/office/drawing/2014/main" id="{D80F025F-35B0-4873-837F-3A4FFE608D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59" name="Object 58" hidden="1">
                        <a:extLst>
                          <a:ext uri="{FF2B5EF4-FFF2-40B4-BE49-F238E27FC236}">
                            <a16:creationId xmlns:a16="http://schemas.microsoft.com/office/drawing/2014/main" id="{D80F025F-35B0-4873-837F-3A4FFE608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7" name="Rectangle 56" hidden="1">
            <a:extLst>
              <a:ext uri="{FF2B5EF4-FFF2-40B4-BE49-F238E27FC236}">
                <a16:creationId xmlns:a16="http://schemas.microsoft.com/office/drawing/2014/main" id="{3ECB88E8-1B93-4BAB-BA24-86C3DF0ACFF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cxnSp>
        <p:nvCxnSpPr>
          <p:cNvPr id="14" name="Connecteur droit 29">
            <a:extLst>
              <a:ext uri="{FF2B5EF4-FFF2-40B4-BE49-F238E27FC236}">
                <a16:creationId xmlns:a16="http://schemas.microsoft.com/office/drawing/2014/main" id="{B22EFAF7-E414-4E96-BCEF-CC7B02B1A4EC}"/>
              </a:ext>
            </a:extLst>
          </p:cNvPr>
          <p:cNvCxnSpPr>
            <a:cxnSpLocks/>
          </p:cNvCxnSpPr>
          <p:nvPr/>
        </p:nvCxnSpPr>
        <p:spPr bwMode="auto">
          <a:xfrm>
            <a:off x="6822267" y="1679126"/>
            <a:ext cx="0" cy="4672690"/>
          </a:xfrm>
          <a:prstGeom prst="line">
            <a:avLst/>
          </a:prstGeom>
          <a:solidFill>
            <a:schemeClr val="accent1"/>
          </a:solidFill>
          <a:ln w="12700" cap="flat" cmpd="sng" algn="ctr">
            <a:solidFill>
              <a:schemeClr val="tx1">
                <a:lumMod val="20000"/>
                <a:lumOff val="80000"/>
              </a:schemeClr>
            </a:solidFill>
            <a:prstDash val="dash"/>
            <a:round/>
            <a:headEnd type="none" w="med" len="med"/>
            <a:tailEnd type="none" w="med" len="med"/>
          </a:ln>
          <a:effectLst/>
        </p:spPr>
      </p:cxnSp>
      <p:cxnSp>
        <p:nvCxnSpPr>
          <p:cNvPr id="13" name="Connecteur droit 29">
            <a:extLst>
              <a:ext uri="{FF2B5EF4-FFF2-40B4-BE49-F238E27FC236}">
                <a16:creationId xmlns:a16="http://schemas.microsoft.com/office/drawing/2014/main" id="{2D259C76-E79C-4AA6-9173-C1A852F2903E}"/>
              </a:ext>
            </a:extLst>
          </p:cNvPr>
          <p:cNvCxnSpPr>
            <a:cxnSpLocks/>
          </p:cNvCxnSpPr>
          <p:nvPr/>
        </p:nvCxnSpPr>
        <p:spPr bwMode="auto">
          <a:xfrm>
            <a:off x="3943904" y="1671816"/>
            <a:ext cx="0" cy="4680000"/>
          </a:xfrm>
          <a:prstGeom prst="line">
            <a:avLst/>
          </a:prstGeom>
          <a:solidFill>
            <a:schemeClr val="accent1"/>
          </a:solidFill>
          <a:ln w="12700" cap="flat" cmpd="sng" algn="ctr">
            <a:solidFill>
              <a:schemeClr val="tx1">
                <a:lumMod val="20000"/>
                <a:lumOff val="80000"/>
              </a:schemeClr>
            </a:solidFill>
            <a:prstDash val="dash"/>
            <a:round/>
            <a:headEnd type="none" w="med" len="med"/>
            <a:tailEnd type="none" w="med" len="med"/>
          </a:ln>
          <a:effectLst/>
        </p:spPr>
      </p:cxnSp>
      <p:cxnSp>
        <p:nvCxnSpPr>
          <p:cNvPr id="15" name="Straight Connector 14">
            <a:extLst>
              <a:ext uri="{FF2B5EF4-FFF2-40B4-BE49-F238E27FC236}">
                <a16:creationId xmlns:a16="http://schemas.microsoft.com/office/drawing/2014/main" id="{08BF2450-D0AF-4775-B931-E9DC31B3B75B}"/>
              </a:ext>
            </a:extLst>
          </p:cNvPr>
          <p:cNvCxnSpPr>
            <a:cxnSpLocks/>
          </p:cNvCxnSpPr>
          <p:nvPr/>
        </p:nvCxnSpPr>
        <p:spPr bwMode="auto">
          <a:xfrm>
            <a:off x="963100" y="4055104"/>
            <a:ext cx="8574745" cy="0"/>
          </a:xfrm>
          <a:prstGeom prst="line">
            <a:avLst/>
          </a:prstGeom>
          <a:solidFill>
            <a:schemeClr val="accent1"/>
          </a:solidFill>
          <a:ln w="12700" cap="flat" cmpd="sng" algn="ctr">
            <a:solidFill>
              <a:schemeClr val="tx1">
                <a:lumMod val="20000"/>
                <a:lumOff val="80000"/>
              </a:schemeClr>
            </a:solidFill>
            <a:prstDash val="dash"/>
            <a:round/>
            <a:headEnd type="none" w="med" len="med"/>
            <a:tailEnd type="none" w="med" len="med"/>
          </a:ln>
          <a:effectLst/>
        </p:spPr>
      </p:cxnSp>
      <p:sp>
        <p:nvSpPr>
          <p:cNvPr id="27" name="Rectangle à coins arrondis 28">
            <a:extLst>
              <a:ext uri="{FF2B5EF4-FFF2-40B4-BE49-F238E27FC236}">
                <a16:creationId xmlns:a16="http://schemas.microsoft.com/office/drawing/2014/main" id="{1D7F3D26-07F2-43F1-A878-6697359CB881}"/>
              </a:ext>
            </a:extLst>
          </p:cNvPr>
          <p:cNvSpPr/>
          <p:nvPr/>
        </p:nvSpPr>
        <p:spPr bwMode="auto">
          <a:xfrm>
            <a:off x="1920187" y="3845270"/>
            <a:ext cx="6760159" cy="360000"/>
          </a:xfrm>
          <a:prstGeom prst="roundRect">
            <a:avLst/>
          </a:prstGeom>
          <a:solidFill>
            <a:srgbClr val="C6EFFF"/>
          </a:solidFill>
          <a:ln w="3175" cap="flat" cmpd="sng" algn="ctr">
            <a:solidFill>
              <a:schemeClr val="accent1"/>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endParaRPr lang="en-GB" sz="800" b="1">
              <a:latin typeface="Trebuchet MS" panose="020B0603020202020204" pitchFamily="34" charset="0"/>
            </a:endParaRPr>
          </a:p>
        </p:txBody>
      </p:sp>
      <p:sp>
        <p:nvSpPr>
          <p:cNvPr id="38" name="Rectangle: Rounded Corners 37">
            <a:extLst>
              <a:ext uri="{FF2B5EF4-FFF2-40B4-BE49-F238E27FC236}">
                <a16:creationId xmlns:a16="http://schemas.microsoft.com/office/drawing/2014/main" id="{CD8FC77E-A683-4A2C-948F-EAB5094928EA}"/>
              </a:ext>
            </a:extLst>
          </p:cNvPr>
          <p:cNvSpPr/>
          <p:nvPr/>
        </p:nvSpPr>
        <p:spPr bwMode="auto">
          <a:xfrm>
            <a:off x="2021412" y="3883760"/>
            <a:ext cx="3046731" cy="283021"/>
          </a:xfrm>
          <a:prstGeom prst="roundRect">
            <a:avLst/>
          </a:prstGeom>
          <a:solidFill>
            <a:schemeClr val="bg1"/>
          </a:solidFill>
          <a:ln w="3175" cap="flat" cmpd="sng" algn="ctr">
            <a:solidFill>
              <a:schemeClr val="accent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2" name="Rectangle: Rounded Corners 91">
            <a:extLst>
              <a:ext uri="{FF2B5EF4-FFF2-40B4-BE49-F238E27FC236}">
                <a16:creationId xmlns:a16="http://schemas.microsoft.com/office/drawing/2014/main" id="{A6EFD337-5888-41CA-A81B-31A1039BB2F6}"/>
              </a:ext>
            </a:extLst>
          </p:cNvPr>
          <p:cNvSpPr/>
          <p:nvPr/>
        </p:nvSpPr>
        <p:spPr bwMode="auto">
          <a:xfrm>
            <a:off x="5540192" y="3883760"/>
            <a:ext cx="3046731" cy="283021"/>
          </a:xfrm>
          <a:prstGeom prst="roundRect">
            <a:avLst/>
          </a:prstGeom>
          <a:solidFill>
            <a:schemeClr val="bg1"/>
          </a:solidFill>
          <a:ln w="3175" cap="flat" cmpd="sng" algn="ctr">
            <a:solidFill>
              <a:schemeClr val="accent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2" name="Title 1">
            <a:extLst>
              <a:ext uri="{FF2B5EF4-FFF2-40B4-BE49-F238E27FC236}">
                <a16:creationId xmlns:a16="http://schemas.microsoft.com/office/drawing/2014/main" id="{0F55B889-A8F4-4D40-8640-24F89522F496}"/>
              </a:ext>
            </a:extLst>
          </p:cNvPr>
          <p:cNvSpPr>
            <a:spLocks noGrp="1"/>
          </p:cNvSpPr>
          <p:nvPr>
            <p:ph type="title"/>
          </p:nvPr>
        </p:nvSpPr>
        <p:spPr>
          <a:xfrm>
            <a:off x="165600" y="147600"/>
            <a:ext cx="8352110" cy="684000"/>
          </a:xfrm>
        </p:spPr>
        <p:txBody>
          <a:bodyPr/>
          <a:lstStyle/>
          <a:p>
            <a:r>
              <a:rPr lang="en-GB" err="1">
                <a:latin typeface="Trebuchet MS" panose="020B0603020202020204" pitchFamily="34" charset="0"/>
              </a:rPr>
              <a:t>Altares</a:t>
            </a:r>
            <a:r>
              <a:rPr lang="en-GB">
                <a:latin typeface="Trebuchet MS" panose="020B0603020202020204" pitchFamily="34" charset="0"/>
              </a:rPr>
              <a:t>’ products portfolio is split between </a:t>
            </a:r>
            <a:r>
              <a:rPr lang="en-GB" err="1">
                <a:solidFill>
                  <a:schemeClr val="tx2"/>
                </a:solidFill>
                <a:latin typeface="Trebuchet MS" panose="020B0603020202020204" pitchFamily="34" charset="0"/>
              </a:rPr>
              <a:t>Altares</a:t>
            </a:r>
            <a:r>
              <a:rPr lang="en-GB">
                <a:solidFill>
                  <a:schemeClr val="tx2"/>
                </a:solidFill>
                <a:latin typeface="Trebuchet MS" panose="020B0603020202020204" pitchFamily="34" charset="0"/>
              </a:rPr>
              <a:t>' proprietary products </a:t>
            </a:r>
            <a:r>
              <a:rPr lang="en-GB">
                <a:latin typeface="Trebuchet MS" panose="020B0603020202020204" pitchFamily="34" charset="0"/>
              </a:rPr>
              <a:t>and </a:t>
            </a:r>
            <a:r>
              <a:rPr lang="en-GB">
                <a:solidFill>
                  <a:schemeClr val="tx2"/>
                </a:solidFill>
                <a:latin typeface="Trebuchet MS" panose="020B0603020202020204" pitchFamily="34" charset="0"/>
              </a:rPr>
              <a:t>D&amp;B’s products</a:t>
            </a:r>
            <a:r>
              <a:rPr lang="en-GB">
                <a:latin typeface="Trebuchet MS" panose="020B0603020202020204" pitchFamily="34" charset="0"/>
              </a:rPr>
              <a:t>, with </a:t>
            </a:r>
            <a:r>
              <a:rPr lang="en-GB">
                <a:solidFill>
                  <a:schemeClr val="tx2"/>
                </a:solidFill>
                <a:latin typeface="Trebuchet MS" panose="020B0603020202020204" pitchFamily="34" charset="0"/>
              </a:rPr>
              <a:t>three types of delivery</a:t>
            </a:r>
            <a:r>
              <a:rPr lang="en-GB">
                <a:latin typeface="Trebuchet MS" panose="020B0603020202020204" pitchFamily="34" charset="0"/>
              </a:rPr>
              <a:t>, covering the </a:t>
            </a:r>
            <a:r>
              <a:rPr lang="en-GB">
                <a:solidFill>
                  <a:schemeClr val="tx2"/>
                </a:solidFill>
                <a:latin typeface="Trebuchet MS" panose="020B0603020202020204" pitchFamily="34" charset="0"/>
              </a:rPr>
              <a:t>three </a:t>
            </a:r>
            <a:r>
              <a:rPr lang="en-GB" err="1">
                <a:solidFill>
                  <a:schemeClr val="tx2"/>
                </a:solidFill>
                <a:latin typeface="Trebuchet MS" panose="020B0603020202020204" pitchFamily="34" charset="0"/>
              </a:rPr>
              <a:t>Altares</a:t>
            </a:r>
            <a:r>
              <a:rPr lang="en-GB">
                <a:solidFill>
                  <a:schemeClr val="tx2"/>
                </a:solidFill>
                <a:latin typeface="Trebuchet MS" panose="020B0603020202020204" pitchFamily="34" charset="0"/>
              </a:rPr>
              <a:t>' market verticals </a:t>
            </a:r>
          </a:p>
        </p:txBody>
      </p:sp>
      <p:grpSp>
        <p:nvGrpSpPr>
          <p:cNvPr id="7" name="Group 6">
            <a:extLst>
              <a:ext uri="{FF2B5EF4-FFF2-40B4-BE49-F238E27FC236}">
                <a16:creationId xmlns:a16="http://schemas.microsoft.com/office/drawing/2014/main" id="{B072663C-E954-4A0D-BD42-64DA3E0D6749}"/>
              </a:ext>
            </a:extLst>
          </p:cNvPr>
          <p:cNvGrpSpPr/>
          <p:nvPr/>
        </p:nvGrpSpPr>
        <p:grpSpPr>
          <a:xfrm>
            <a:off x="1278735" y="1129595"/>
            <a:ext cx="2448000" cy="432000"/>
            <a:chOff x="947389" y="923232"/>
            <a:chExt cx="2448000" cy="432000"/>
          </a:xfrm>
        </p:grpSpPr>
        <p:sp>
          <p:nvSpPr>
            <p:cNvPr id="8" name="Rectangle 7">
              <a:extLst>
                <a:ext uri="{FF2B5EF4-FFF2-40B4-BE49-F238E27FC236}">
                  <a16:creationId xmlns:a16="http://schemas.microsoft.com/office/drawing/2014/main" id="{08A59771-940F-4947-9BC4-234C966D900A}"/>
                </a:ext>
              </a:extLst>
            </p:cNvPr>
            <p:cNvSpPr/>
            <p:nvPr/>
          </p:nvSpPr>
          <p:spPr bwMode="auto">
            <a:xfrm>
              <a:off x="947389" y="923232"/>
              <a:ext cx="2448000" cy="432000"/>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288000" tIns="45720" rIns="3600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Credit &amp; financial risk</a:t>
              </a:r>
            </a:p>
          </p:txBody>
        </p:sp>
        <p:pic>
          <p:nvPicPr>
            <p:cNvPr id="9" name="Graphique 128" descr="Jauge">
              <a:extLst>
                <a:ext uri="{FF2B5EF4-FFF2-40B4-BE49-F238E27FC236}">
                  <a16:creationId xmlns:a16="http://schemas.microsoft.com/office/drawing/2014/main" id="{3EB68F4F-7606-4880-AC62-09ADD8F93E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94796" y="991516"/>
              <a:ext cx="239580" cy="239580"/>
            </a:xfrm>
            <a:prstGeom prst="rect">
              <a:avLst/>
            </a:prstGeom>
            <a:effectLst/>
          </p:spPr>
        </p:pic>
      </p:grpSp>
      <p:grpSp>
        <p:nvGrpSpPr>
          <p:cNvPr id="10" name="Group 9">
            <a:extLst>
              <a:ext uri="{FF2B5EF4-FFF2-40B4-BE49-F238E27FC236}">
                <a16:creationId xmlns:a16="http://schemas.microsoft.com/office/drawing/2014/main" id="{264DDAA1-65B0-42AF-A719-2C2A1FC29133}"/>
              </a:ext>
            </a:extLst>
          </p:cNvPr>
          <p:cNvGrpSpPr/>
          <p:nvPr/>
        </p:nvGrpSpPr>
        <p:grpSpPr>
          <a:xfrm>
            <a:off x="4146685" y="1130011"/>
            <a:ext cx="2448000" cy="432000"/>
            <a:chOff x="7111479" y="923232"/>
            <a:chExt cx="2448000" cy="432000"/>
          </a:xfrm>
        </p:grpSpPr>
        <p:sp>
          <p:nvSpPr>
            <p:cNvPr id="11" name="Rectangle 10">
              <a:extLst>
                <a:ext uri="{FF2B5EF4-FFF2-40B4-BE49-F238E27FC236}">
                  <a16:creationId xmlns:a16="http://schemas.microsoft.com/office/drawing/2014/main" id="{9A9AA558-8A68-48E6-89A9-7B5BBD912D78}"/>
                </a:ext>
              </a:extLst>
            </p:cNvPr>
            <p:cNvSpPr/>
            <p:nvPr/>
          </p:nvSpPr>
          <p:spPr bwMode="auto">
            <a:xfrm>
              <a:off x="7111479" y="923232"/>
              <a:ext cx="2448000" cy="432000"/>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288000" tIns="45720" rIns="3600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Compliance</a:t>
              </a:r>
            </a:p>
          </p:txBody>
        </p:sp>
        <p:pic>
          <p:nvPicPr>
            <p:cNvPr id="12" name="Graphique 90" descr="Poignée de main">
              <a:extLst>
                <a:ext uri="{FF2B5EF4-FFF2-40B4-BE49-F238E27FC236}">
                  <a16:creationId xmlns:a16="http://schemas.microsoft.com/office/drawing/2014/main" id="{20DA92C8-D492-4BF3-99E8-BFE70976E53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431761" y="981109"/>
              <a:ext cx="316246" cy="316246"/>
            </a:xfrm>
            <a:prstGeom prst="rect">
              <a:avLst/>
            </a:prstGeom>
          </p:spPr>
        </p:pic>
      </p:grpSp>
      <p:sp>
        <p:nvSpPr>
          <p:cNvPr id="18" name="ZoneTexte 56">
            <a:extLst>
              <a:ext uri="{FF2B5EF4-FFF2-40B4-BE49-F238E27FC236}">
                <a16:creationId xmlns:a16="http://schemas.microsoft.com/office/drawing/2014/main" id="{3992A575-5EC4-4369-8234-E7B51A40DD28}"/>
              </a:ext>
            </a:extLst>
          </p:cNvPr>
          <p:cNvSpPr txBox="1"/>
          <p:nvPr/>
        </p:nvSpPr>
        <p:spPr>
          <a:xfrm>
            <a:off x="3116912" y="3657932"/>
            <a:ext cx="4290199" cy="138499"/>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sz="900">
                <a:solidFill>
                  <a:schemeClr val="tx1"/>
                </a:solidFill>
                <a:latin typeface="Trebuchet MS" panose="020B0603020202020204" pitchFamily="34" charset="0"/>
              </a:rPr>
              <a:t>Batch solution to cleanse and enrich client’s data with </a:t>
            </a:r>
            <a:r>
              <a:rPr lang="en-GB" sz="900" err="1">
                <a:solidFill>
                  <a:schemeClr val="tx1"/>
                </a:solidFill>
                <a:latin typeface="Trebuchet MS" panose="020B0603020202020204" pitchFamily="34" charset="0"/>
              </a:rPr>
              <a:t>Altares</a:t>
            </a:r>
            <a:r>
              <a:rPr lang="en-GB" sz="900">
                <a:solidFill>
                  <a:schemeClr val="tx1"/>
                </a:solidFill>
                <a:latin typeface="Trebuchet MS" panose="020B0603020202020204" pitchFamily="34" charset="0"/>
              </a:rPr>
              <a:t>' data and expertise</a:t>
            </a:r>
          </a:p>
        </p:txBody>
      </p:sp>
      <p:sp>
        <p:nvSpPr>
          <p:cNvPr id="19" name="Rectangle à coins arrondis 51">
            <a:extLst>
              <a:ext uri="{FF2B5EF4-FFF2-40B4-BE49-F238E27FC236}">
                <a16:creationId xmlns:a16="http://schemas.microsoft.com/office/drawing/2014/main" id="{446B4D6A-743E-486C-8601-3CF1614D77DE}"/>
              </a:ext>
            </a:extLst>
          </p:cNvPr>
          <p:cNvSpPr/>
          <p:nvPr/>
        </p:nvSpPr>
        <p:spPr bwMode="auto">
          <a:xfrm>
            <a:off x="1920187" y="3293033"/>
            <a:ext cx="6760156" cy="360000"/>
          </a:xfrm>
          <a:prstGeom prst="roundRect">
            <a:avLst/>
          </a:prstGeom>
          <a:solidFill>
            <a:srgbClr val="F2F2F2"/>
          </a:solidFill>
          <a:ln w="3175" cap="flat" cmpd="sng" algn="ctr">
            <a:solidFill>
              <a:schemeClr val="tx1"/>
            </a:solidFill>
            <a:prstDash val="sysDot"/>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endParaRPr lang="en-GB" sz="1300" b="1">
              <a:highlight>
                <a:srgbClr val="FFFF00"/>
              </a:highlight>
              <a:latin typeface="Trebuchet MS" panose="020B0603020202020204" pitchFamily="34" charset="0"/>
            </a:endParaRPr>
          </a:p>
        </p:txBody>
      </p:sp>
      <p:sp>
        <p:nvSpPr>
          <p:cNvPr id="20" name="ZoneTexte 56">
            <a:extLst>
              <a:ext uri="{FF2B5EF4-FFF2-40B4-BE49-F238E27FC236}">
                <a16:creationId xmlns:a16="http://schemas.microsoft.com/office/drawing/2014/main" id="{861A9D13-056A-4A8E-8ABC-6E2B7F20B947}"/>
              </a:ext>
            </a:extLst>
          </p:cNvPr>
          <p:cNvSpPr txBox="1"/>
          <p:nvPr/>
        </p:nvSpPr>
        <p:spPr>
          <a:xfrm>
            <a:off x="7585526" y="5595524"/>
            <a:ext cx="1325643" cy="692497"/>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sz="900">
                <a:solidFill>
                  <a:schemeClr val="tx1"/>
                </a:solidFill>
                <a:latin typeface="Trebuchet MS" panose="020B0603020202020204" pitchFamily="34" charset="0"/>
              </a:rPr>
              <a:t>Platform to access reliable, real-time information about all businesses, directors and sectors in 220 countries</a:t>
            </a:r>
          </a:p>
        </p:txBody>
      </p:sp>
      <p:sp>
        <p:nvSpPr>
          <p:cNvPr id="21" name="Rounded Rectangle 88">
            <a:extLst>
              <a:ext uri="{FF2B5EF4-FFF2-40B4-BE49-F238E27FC236}">
                <a16:creationId xmlns:a16="http://schemas.microsoft.com/office/drawing/2014/main" id="{C251F508-F368-4319-83DC-10224F3D5723}"/>
              </a:ext>
            </a:extLst>
          </p:cNvPr>
          <p:cNvSpPr/>
          <p:nvPr/>
        </p:nvSpPr>
        <p:spPr bwMode="auto">
          <a:xfrm>
            <a:off x="7816347" y="5226425"/>
            <a:ext cx="864000" cy="360000"/>
          </a:xfrm>
          <a:prstGeom prst="roundRect">
            <a:avLst/>
          </a:prstGeom>
          <a:solidFill>
            <a:schemeClr val="tx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700" b="0" i="0" u="none" strike="noStrike" cap="none" normalizeH="0" baseline="0">
              <a:ln>
                <a:noFill/>
              </a:ln>
              <a:solidFill>
                <a:schemeClr val="tx1"/>
              </a:solidFill>
              <a:effectLst/>
              <a:latin typeface="Trebuchet MS" pitchFamily="34" charset="0"/>
            </a:endParaRPr>
          </a:p>
        </p:txBody>
      </p:sp>
      <p:pic>
        <p:nvPicPr>
          <p:cNvPr id="22" name="Picture 2">
            <a:extLst>
              <a:ext uri="{FF2B5EF4-FFF2-40B4-BE49-F238E27FC236}">
                <a16:creationId xmlns:a16="http://schemas.microsoft.com/office/drawing/2014/main" id="{CEE17E53-5E04-41D9-A579-C47B43F6EB7D}"/>
              </a:ext>
            </a:extLst>
          </p:cNvPr>
          <p:cNvPicPr>
            <a:picLocks noChangeAspect="1" noChangeArrowheads="1"/>
          </p:cNvPicPr>
          <p:nvPr/>
        </p:nvPicPr>
        <p:blipFill rotWithShape="1">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t="29837" b="30168"/>
          <a:stretch/>
        </p:blipFill>
        <p:spPr bwMode="auto">
          <a:xfrm>
            <a:off x="7853734" y="5318745"/>
            <a:ext cx="789227" cy="175361"/>
          </a:xfrm>
          <a:prstGeom prst="rect">
            <a:avLst/>
          </a:prstGeom>
          <a:noFill/>
          <a:extLst>
            <a:ext uri="{909E8E84-426E-40DD-AFC4-6F175D3DCCD1}">
              <a14:hiddenFill xmlns:a14="http://schemas.microsoft.com/office/drawing/2010/main">
                <a:solidFill>
                  <a:srgbClr val="FFFFFF"/>
                </a:solidFill>
              </a14:hiddenFill>
            </a:ext>
          </a:extLst>
        </p:spPr>
      </p:pic>
      <p:sp>
        <p:nvSpPr>
          <p:cNvPr id="23" name="ZoneTexte 58">
            <a:extLst>
              <a:ext uri="{FF2B5EF4-FFF2-40B4-BE49-F238E27FC236}">
                <a16:creationId xmlns:a16="http://schemas.microsoft.com/office/drawing/2014/main" id="{23916C8C-3F55-4A36-A502-BC634182F15D}"/>
              </a:ext>
            </a:extLst>
          </p:cNvPr>
          <p:cNvSpPr txBox="1"/>
          <p:nvPr/>
        </p:nvSpPr>
        <p:spPr>
          <a:xfrm>
            <a:off x="7635098" y="2037491"/>
            <a:ext cx="1463275" cy="276999"/>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sz="900">
                <a:solidFill>
                  <a:schemeClr val="tx1"/>
                </a:solidFill>
                <a:latin typeface="Trebuchet MS" panose="020B0603020202020204" pitchFamily="34" charset="0"/>
              </a:rPr>
              <a:t>Platform to perform market analysis and identify leads</a:t>
            </a:r>
          </a:p>
        </p:txBody>
      </p:sp>
      <p:sp>
        <p:nvSpPr>
          <p:cNvPr id="24" name="Rectangle à coins arrondis 28">
            <a:extLst>
              <a:ext uri="{FF2B5EF4-FFF2-40B4-BE49-F238E27FC236}">
                <a16:creationId xmlns:a16="http://schemas.microsoft.com/office/drawing/2014/main" id="{F2DE0C74-8C4B-4216-A598-4BA77C26A899}"/>
              </a:ext>
            </a:extLst>
          </p:cNvPr>
          <p:cNvSpPr/>
          <p:nvPr/>
        </p:nvSpPr>
        <p:spPr bwMode="auto">
          <a:xfrm>
            <a:off x="7934735" y="1652748"/>
            <a:ext cx="864000" cy="360000"/>
          </a:xfrm>
          <a:prstGeom prst="roundRect">
            <a:avLst/>
          </a:prstGeom>
          <a:gradFill>
            <a:gsLst>
              <a:gs pos="44000">
                <a:schemeClr val="tx2">
                  <a:lumMod val="20000"/>
                  <a:lumOff val="80000"/>
                </a:schemeClr>
              </a:gs>
              <a:gs pos="0">
                <a:schemeClr val="tx2">
                  <a:lumMod val="20000"/>
                  <a:lumOff val="80000"/>
                </a:schemeClr>
              </a:gs>
              <a:gs pos="52000">
                <a:schemeClr val="accent1">
                  <a:lumMod val="20000"/>
                  <a:lumOff val="80000"/>
                </a:schemeClr>
              </a:gs>
              <a:gs pos="100000">
                <a:schemeClr val="accent1">
                  <a:lumMod val="20000"/>
                  <a:lumOff val="80000"/>
                </a:schemeClr>
              </a:gs>
            </a:gsLst>
            <a:lin ang="0" scaled="0"/>
          </a:gradFill>
          <a:ln w="3175" cap="flat" cmpd="sng" algn="ctr">
            <a:solidFill>
              <a:schemeClr val="tx2"/>
            </a:solidFill>
            <a:prstDash val="sysDot"/>
            <a:round/>
            <a:headEnd type="none" w="med" len="med"/>
            <a:tailEnd type="none" w="med" len="med"/>
          </a:ln>
          <a:effectLst/>
        </p:spPr>
        <p:txBody>
          <a:bodyPr vert="horz" wrap="square" lIns="0" tIns="46800" rIns="0" bIns="45720" numCol="1" rtlCol="0" anchor="t" anchorCtr="0" compatLnSpc="1">
            <a:prstTxWarp prst="textNoShape">
              <a:avLst/>
            </a:prstTxWarp>
          </a:bodyPr>
          <a:lstStyle/>
          <a:p>
            <a:pPr algn="ctr"/>
            <a:endParaRPr lang="en-GB" sz="1200">
              <a:latin typeface="Trebuchet MS" pitchFamily="34" charset="0"/>
            </a:endParaRPr>
          </a:p>
        </p:txBody>
      </p:sp>
      <p:sp>
        <p:nvSpPr>
          <p:cNvPr id="25" name="ZoneTexte 57">
            <a:extLst>
              <a:ext uri="{FF2B5EF4-FFF2-40B4-BE49-F238E27FC236}">
                <a16:creationId xmlns:a16="http://schemas.microsoft.com/office/drawing/2014/main" id="{B3B3CAE5-A8BE-4552-9EB2-015E84A720AB}"/>
              </a:ext>
            </a:extLst>
          </p:cNvPr>
          <p:cNvSpPr txBox="1"/>
          <p:nvPr/>
        </p:nvSpPr>
        <p:spPr>
          <a:xfrm>
            <a:off x="7379348" y="2876260"/>
            <a:ext cx="1934777" cy="276999"/>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sz="900">
                <a:solidFill>
                  <a:schemeClr val="tx1"/>
                </a:solidFill>
                <a:latin typeface="Trebuchet MS" panose="020B0603020202020204" pitchFamily="34" charset="0"/>
              </a:rPr>
              <a:t>Tools for lead generation, evaluation and building of ad campaign</a:t>
            </a:r>
          </a:p>
        </p:txBody>
      </p:sp>
      <p:sp>
        <p:nvSpPr>
          <p:cNvPr id="26" name="Rectangle à coins arrondis 28">
            <a:extLst>
              <a:ext uri="{FF2B5EF4-FFF2-40B4-BE49-F238E27FC236}">
                <a16:creationId xmlns:a16="http://schemas.microsoft.com/office/drawing/2014/main" id="{912A5BFC-1E59-4AEA-8C15-3DC1715C252A}"/>
              </a:ext>
            </a:extLst>
          </p:cNvPr>
          <p:cNvSpPr/>
          <p:nvPr/>
        </p:nvSpPr>
        <p:spPr bwMode="auto">
          <a:xfrm>
            <a:off x="7934735" y="2454228"/>
            <a:ext cx="864000" cy="360000"/>
          </a:xfrm>
          <a:prstGeom prst="roundRect">
            <a:avLst/>
          </a:prstGeom>
          <a:gradFill flip="none" rotWithShape="1">
            <a:gsLst>
              <a:gs pos="38000">
                <a:schemeClr val="tx2">
                  <a:lumMod val="20000"/>
                  <a:lumOff val="80000"/>
                </a:schemeClr>
              </a:gs>
              <a:gs pos="27000">
                <a:srgbClr val="C6EFFF"/>
              </a:gs>
              <a:gs pos="68000">
                <a:schemeClr val="tx2">
                  <a:lumMod val="20000"/>
                  <a:lumOff val="80000"/>
                </a:schemeClr>
              </a:gs>
              <a:gs pos="75000">
                <a:schemeClr val="bg1">
                  <a:lumMod val="95000"/>
                </a:schemeClr>
              </a:gs>
            </a:gsLst>
            <a:lin ang="10800000" scaled="0"/>
            <a:tileRect/>
          </a:gradFill>
          <a:ln w="3175" cap="flat" cmpd="sng" algn="ctr">
            <a:solidFill>
              <a:schemeClr val="tx1"/>
            </a:solidFill>
            <a:prstDash val="sysDot"/>
            <a:round/>
            <a:headEnd type="none" w="med" len="med"/>
            <a:tailEnd type="none" w="med" len="med"/>
          </a:ln>
          <a:effectLst/>
        </p:spPr>
        <p:txBody>
          <a:bodyPr vert="horz" wrap="square" lIns="0" tIns="0" rIns="0" bIns="45720" numCol="1" rtlCol="0" anchor="ctr" anchorCtr="0" compatLnSpc="1">
            <a:prstTxWarp prst="textNoShape">
              <a:avLst/>
            </a:prstTxWarp>
          </a:bodyPr>
          <a:lstStyle/>
          <a:p>
            <a:pPr algn="ctr"/>
            <a:endParaRPr lang="en-GB">
              <a:latin typeface="Trebuchet MS" panose="020B0603020202020204" pitchFamily="34" charset="0"/>
            </a:endParaRPr>
          </a:p>
        </p:txBody>
      </p:sp>
      <p:pic>
        <p:nvPicPr>
          <p:cNvPr id="28" name="Picture 2" descr="Standardiser votre référentiel | Altares DB France">
            <a:extLst>
              <a:ext uri="{FF2B5EF4-FFF2-40B4-BE49-F238E27FC236}">
                <a16:creationId xmlns:a16="http://schemas.microsoft.com/office/drawing/2014/main" id="{E57B4E88-60A7-4954-9A6A-07C3D60747AB}"/>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8917" r="26612" b="19799"/>
          <a:stretch/>
        </p:blipFill>
        <p:spPr bwMode="auto">
          <a:xfrm>
            <a:off x="2100942" y="3901745"/>
            <a:ext cx="1100510" cy="247050"/>
          </a:xfrm>
          <a:prstGeom prst="rect">
            <a:avLst/>
          </a:prstGeom>
          <a:noFill/>
          <a:extLst>
            <a:ext uri="{909E8E84-426E-40DD-AFC4-6F175D3DCCD1}">
              <a14:hiddenFill xmlns:a14="http://schemas.microsoft.com/office/drawing/2010/main">
                <a:solidFill>
                  <a:srgbClr val="FFFFFF"/>
                </a:solidFill>
              </a14:hiddenFill>
            </a:ext>
          </a:extLst>
        </p:spPr>
      </p:pic>
      <p:sp>
        <p:nvSpPr>
          <p:cNvPr id="29" name="ZoneTexte 57">
            <a:extLst>
              <a:ext uri="{FF2B5EF4-FFF2-40B4-BE49-F238E27FC236}">
                <a16:creationId xmlns:a16="http://schemas.microsoft.com/office/drawing/2014/main" id="{68D3E6BB-722F-421E-ABAC-8D8002D4291A}"/>
              </a:ext>
            </a:extLst>
          </p:cNvPr>
          <p:cNvSpPr txBox="1"/>
          <p:nvPr/>
        </p:nvSpPr>
        <p:spPr>
          <a:xfrm>
            <a:off x="2857263" y="4233893"/>
            <a:ext cx="4886006" cy="171995"/>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sz="900" dirty="0">
                <a:solidFill>
                  <a:schemeClr val="tx1"/>
                </a:solidFill>
                <a:latin typeface="Trebuchet MS" panose="020B0603020202020204" pitchFamily="34" charset="0"/>
              </a:rPr>
              <a:t>Connectors to integrate D&amp;B’s data in the four leading CRM platforms of the market</a:t>
            </a:r>
          </a:p>
        </p:txBody>
      </p:sp>
      <p:grpSp>
        <p:nvGrpSpPr>
          <p:cNvPr id="64" name="Group 63">
            <a:extLst>
              <a:ext uri="{FF2B5EF4-FFF2-40B4-BE49-F238E27FC236}">
                <a16:creationId xmlns:a16="http://schemas.microsoft.com/office/drawing/2014/main" id="{BAE46B48-4C01-4755-8A68-19B060ED7E5D}"/>
              </a:ext>
            </a:extLst>
          </p:cNvPr>
          <p:cNvGrpSpPr/>
          <p:nvPr/>
        </p:nvGrpSpPr>
        <p:grpSpPr>
          <a:xfrm>
            <a:off x="1878147" y="2063582"/>
            <a:ext cx="1238765" cy="937661"/>
            <a:chOff x="1878147" y="2101061"/>
            <a:chExt cx="1238765" cy="937661"/>
          </a:xfrm>
        </p:grpSpPr>
        <p:sp>
          <p:nvSpPr>
            <p:cNvPr id="30" name="ZoneTexte 56">
              <a:extLst>
                <a:ext uri="{FF2B5EF4-FFF2-40B4-BE49-F238E27FC236}">
                  <a16:creationId xmlns:a16="http://schemas.microsoft.com/office/drawing/2014/main" id="{9EFD046E-124A-402E-9542-DD3EAC8266AD}"/>
                </a:ext>
              </a:extLst>
            </p:cNvPr>
            <p:cNvSpPr txBox="1"/>
            <p:nvPr/>
          </p:nvSpPr>
          <p:spPr>
            <a:xfrm>
              <a:off x="1878147" y="2484724"/>
              <a:ext cx="1238765" cy="553998"/>
            </a:xfrm>
            <a:prstGeom prst="rect">
              <a:avLst/>
            </a:prstGeom>
            <a:noFill/>
          </p:spPr>
          <p:txBody>
            <a:bodyPr wrap="square" lIns="0" tIns="0" rIns="0" bIns="0" rtlCol="0">
              <a:spAutoFit/>
            </a:bodyPr>
            <a:lstStyle/>
            <a:p>
              <a:pPr algn="ctr"/>
              <a:r>
                <a:rPr lang="en-GB" sz="900">
                  <a:latin typeface="Trebuchet MS" panose="020B0603020202020204" pitchFamily="34" charset="0"/>
                </a:rPr>
                <a:t>Platform to monitor Credit risk and payment behaviour of French firms </a:t>
              </a:r>
            </a:p>
          </p:txBody>
        </p:sp>
        <p:sp>
          <p:nvSpPr>
            <p:cNvPr id="31" name="Rectangle à coins arrondis 28">
              <a:extLst>
                <a:ext uri="{FF2B5EF4-FFF2-40B4-BE49-F238E27FC236}">
                  <a16:creationId xmlns:a16="http://schemas.microsoft.com/office/drawing/2014/main" id="{C7B6E0F4-A44B-44FC-8DA7-11CC3DF89AF9}"/>
                </a:ext>
              </a:extLst>
            </p:cNvPr>
            <p:cNvSpPr/>
            <p:nvPr/>
          </p:nvSpPr>
          <p:spPr bwMode="auto">
            <a:xfrm>
              <a:off x="2080827" y="2101061"/>
              <a:ext cx="864000" cy="360000"/>
            </a:xfrm>
            <a:prstGeom prst="roundRect">
              <a:avLst/>
            </a:prstGeom>
            <a:gradFill>
              <a:gsLst>
                <a:gs pos="44000">
                  <a:schemeClr val="tx2">
                    <a:lumMod val="20000"/>
                    <a:lumOff val="80000"/>
                  </a:schemeClr>
                </a:gs>
                <a:gs pos="0">
                  <a:schemeClr val="tx2">
                    <a:lumMod val="20000"/>
                    <a:lumOff val="80000"/>
                  </a:schemeClr>
                </a:gs>
                <a:gs pos="52000">
                  <a:schemeClr val="accent1">
                    <a:lumMod val="20000"/>
                    <a:lumOff val="80000"/>
                  </a:schemeClr>
                </a:gs>
                <a:gs pos="100000">
                  <a:schemeClr val="accent1">
                    <a:lumMod val="20000"/>
                    <a:lumOff val="80000"/>
                  </a:schemeClr>
                </a:gs>
              </a:gsLst>
              <a:lin ang="0" scaled="0"/>
            </a:gradFill>
            <a:ln w="3175" cap="flat" cmpd="sng" algn="ctr">
              <a:solidFill>
                <a:schemeClr val="tx2"/>
              </a:solidFill>
              <a:prstDash val="sysDot"/>
              <a:round/>
              <a:headEnd type="none" w="med" len="med"/>
              <a:tailEnd type="none" w="med" len="med"/>
            </a:ln>
            <a:effectLst/>
          </p:spPr>
          <p:txBody>
            <a:bodyPr vert="horz" wrap="square" lIns="0" tIns="46800" rIns="0" bIns="45720" numCol="1" rtlCol="0" anchor="t" anchorCtr="0" compatLnSpc="1">
              <a:prstTxWarp prst="textNoShape">
                <a:avLst/>
              </a:prstTxWarp>
            </a:bodyPr>
            <a:lstStyle/>
            <a:p>
              <a:pPr algn="ctr"/>
              <a:endParaRPr lang="en-GB" sz="900">
                <a:latin typeface="Trebuchet MS" pitchFamily="34" charset="0"/>
              </a:endParaRPr>
            </a:p>
          </p:txBody>
        </p:sp>
        <p:pic>
          <p:nvPicPr>
            <p:cNvPr id="32" name="Picture 2" descr="Un accès unique et centralisé au portail d'information BtoB - Intuiz">
              <a:extLst>
                <a:ext uri="{FF2B5EF4-FFF2-40B4-BE49-F238E27FC236}">
                  <a16:creationId xmlns:a16="http://schemas.microsoft.com/office/drawing/2014/main" id="{67C9F314-3F27-44DB-8CD6-50F8FDF9C4D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91874" y="2152927"/>
              <a:ext cx="646056" cy="256269"/>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Rectangle à coins arrondis 28">
            <a:extLst>
              <a:ext uri="{FF2B5EF4-FFF2-40B4-BE49-F238E27FC236}">
                <a16:creationId xmlns:a16="http://schemas.microsoft.com/office/drawing/2014/main" id="{84FBD09D-BFEA-440E-8591-AA50BC1D792E}"/>
              </a:ext>
            </a:extLst>
          </p:cNvPr>
          <p:cNvSpPr/>
          <p:nvPr/>
        </p:nvSpPr>
        <p:spPr bwMode="auto">
          <a:xfrm>
            <a:off x="1920188" y="5226425"/>
            <a:ext cx="864000" cy="360000"/>
          </a:xfrm>
          <a:prstGeom prst="roundRect">
            <a:avLst/>
          </a:prstGeom>
          <a:solidFill>
            <a:schemeClr val="tx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46800" rIns="0" bIns="45720" numCol="1" rtlCol="0" anchor="t" anchorCtr="0" compatLnSpc="1">
            <a:prstTxWarp prst="textNoShape">
              <a:avLst/>
            </a:prstTxWarp>
          </a:bodyPr>
          <a:lstStyle/>
          <a:p>
            <a:pPr algn="ctr"/>
            <a:endParaRPr lang="en-GB" sz="1200">
              <a:latin typeface="Trebuchet MS" pitchFamily="34" charset="0"/>
            </a:endParaRPr>
          </a:p>
        </p:txBody>
      </p:sp>
      <p:pic>
        <p:nvPicPr>
          <p:cNvPr id="34" name="Picture 2" descr="D&amp;amp;B Credit | LinkedIn">
            <a:extLst>
              <a:ext uri="{FF2B5EF4-FFF2-40B4-BE49-F238E27FC236}">
                <a16:creationId xmlns:a16="http://schemas.microsoft.com/office/drawing/2014/main" id="{3E76F21C-AD1F-47E0-BE1B-69C481E7B997}"/>
              </a:ext>
            </a:extLst>
          </p:cNvPr>
          <p:cNvPicPr>
            <a:picLocks noChangeAspect="1" noChangeArrowheads="1"/>
          </p:cNvPicPr>
          <p:nvPr/>
        </p:nvPicPr>
        <p:blipFill rotWithShape="1">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t="38045" b="36791"/>
          <a:stretch/>
        </p:blipFill>
        <p:spPr bwMode="auto">
          <a:xfrm>
            <a:off x="2008971" y="5320058"/>
            <a:ext cx="686435" cy="172735"/>
          </a:xfrm>
          <a:prstGeom prst="rect">
            <a:avLst/>
          </a:prstGeom>
          <a:noFill/>
          <a:extLst>
            <a:ext uri="{909E8E84-426E-40DD-AFC4-6F175D3DCCD1}">
              <a14:hiddenFill xmlns:a14="http://schemas.microsoft.com/office/drawing/2010/main">
                <a:solidFill>
                  <a:srgbClr val="FFFFFF"/>
                </a:solidFill>
              </a14:hiddenFill>
            </a:ext>
          </a:extLst>
        </p:spPr>
      </p:pic>
      <p:sp>
        <p:nvSpPr>
          <p:cNvPr id="35" name="ZoneTexte 56">
            <a:extLst>
              <a:ext uri="{FF2B5EF4-FFF2-40B4-BE49-F238E27FC236}">
                <a16:creationId xmlns:a16="http://schemas.microsoft.com/office/drawing/2014/main" id="{388CDE67-420A-49C4-8B0A-D6C2142A684C}"/>
              </a:ext>
            </a:extLst>
          </p:cNvPr>
          <p:cNvSpPr txBox="1"/>
          <p:nvPr/>
        </p:nvSpPr>
        <p:spPr>
          <a:xfrm>
            <a:off x="1665722" y="5622158"/>
            <a:ext cx="1372933" cy="553998"/>
          </a:xfrm>
          <a:prstGeom prst="rect">
            <a:avLst/>
          </a:prstGeom>
          <a:noFill/>
        </p:spPr>
        <p:txBody>
          <a:bodyPr wrap="square" lIns="0" tIns="0" rIns="0" bIns="0" rtlCol="0">
            <a:spAutoFit/>
          </a:bodyPr>
          <a:lstStyle/>
          <a:p>
            <a:pPr algn="ctr"/>
            <a:r>
              <a:rPr lang="en-GB" sz="900">
                <a:latin typeface="Trebuchet MS" panose="020B0603020202020204" pitchFamily="34" charset="0"/>
              </a:rPr>
              <a:t>Platform to monitor Credit risk management enriched with credit scores </a:t>
            </a:r>
          </a:p>
        </p:txBody>
      </p:sp>
      <p:sp>
        <p:nvSpPr>
          <p:cNvPr id="36" name="Ellipse 56">
            <a:extLst>
              <a:ext uri="{FF2B5EF4-FFF2-40B4-BE49-F238E27FC236}">
                <a16:creationId xmlns:a16="http://schemas.microsoft.com/office/drawing/2014/main" id="{236938A4-846D-483B-9BB2-45AB7BD63B50}"/>
              </a:ext>
            </a:extLst>
          </p:cNvPr>
          <p:cNvSpPr/>
          <p:nvPr/>
        </p:nvSpPr>
        <p:spPr bwMode="auto">
          <a:xfrm>
            <a:off x="3543203" y="5679282"/>
            <a:ext cx="864000" cy="360000"/>
          </a:xfrm>
          <a:prstGeom prst="roundRect">
            <a:avLst/>
          </a:prstGeom>
          <a:gradFill flip="none" rotWithShape="1">
            <a:gsLst>
              <a:gs pos="38000">
                <a:schemeClr val="tx2">
                  <a:lumMod val="20000"/>
                  <a:lumOff val="80000"/>
                </a:schemeClr>
              </a:gs>
              <a:gs pos="27000">
                <a:srgbClr val="C6EFFF"/>
              </a:gs>
              <a:gs pos="68000">
                <a:schemeClr val="tx2">
                  <a:lumMod val="20000"/>
                  <a:lumOff val="80000"/>
                </a:schemeClr>
              </a:gs>
              <a:gs pos="75000">
                <a:schemeClr val="bg1">
                  <a:lumMod val="95000"/>
                </a:schemeClr>
              </a:gs>
            </a:gsLst>
            <a:lin ang="10800000" scaled="0"/>
            <a:tileRect/>
          </a:gradFill>
          <a:ln w="3175" cap="flat" cmpd="sng" algn="ctr">
            <a:solidFill>
              <a:schemeClr val="tx1"/>
            </a:solidFill>
            <a:prstDash val="sysDot"/>
            <a:round/>
            <a:headEnd type="none" w="med" len="med"/>
            <a:tailEnd type="none" w="med" len="med"/>
          </a:ln>
          <a:effectLst/>
        </p:spPr>
        <p:txBody>
          <a:bodyPr vert="horz" wrap="square" lIns="0" tIns="0" rIns="0" bIns="45720" numCol="1" rtlCol="0" anchor="ctr" anchorCtr="0" compatLnSpc="1">
            <a:prstTxWarp prst="textNoShape">
              <a:avLst/>
            </a:prstTxWarp>
          </a:bodyPr>
          <a:lstStyle/>
          <a:p>
            <a:pPr algn="ctr"/>
            <a:r>
              <a:rPr lang="en-GB">
                <a:latin typeface="Trebuchet MS" panose="020B0603020202020204" pitchFamily="34" charset="0"/>
              </a:rPr>
              <a:t>GB</a:t>
            </a:r>
          </a:p>
          <a:p>
            <a:pPr algn="ctr"/>
            <a:r>
              <a:rPr lang="en-GB" sz="700">
                <a:latin typeface="Trebuchet MS" panose="020B0603020202020204" pitchFamily="34" charset="0"/>
              </a:rPr>
              <a:t>Global Financials</a:t>
            </a:r>
          </a:p>
        </p:txBody>
      </p:sp>
      <p:sp>
        <p:nvSpPr>
          <p:cNvPr id="37" name="ZoneTexte 56">
            <a:extLst>
              <a:ext uri="{FF2B5EF4-FFF2-40B4-BE49-F238E27FC236}">
                <a16:creationId xmlns:a16="http://schemas.microsoft.com/office/drawing/2014/main" id="{0C493F4D-B61E-4002-8723-8E051757A953}"/>
              </a:ext>
            </a:extLst>
          </p:cNvPr>
          <p:cNvSpPr txBox="1"/>
          <p:nvPr/>
        </p:nvSpPr>
        <p:spPr>
          <a:xfrm>
            <a:off x="2903877" y="6070366"/>
            <a:ext cx="2142650" cy="415498"/>
          </a:xfrm>
          <a:prstGeom prst="rect">
            <a:avLst/>
          </a:prstGeom>
          <a:noFill/>
        </p:spPr>
        <p:txBody>
          <a:bodyPr wrap="square" lIns="0" tIns="0" rIns="0" bIns="0" rtlCol="0">
            <a:spAutoFit/>
          </a:bodyPr>
          <a:lstStyle/>
          <a:p>
            <a:pPr algn="ctr"/>
            <a:r>
              <a:rPr lang="en-US" sz="900" dirty="0">
                <a:latin typeface="Trebuchet MS" panose="020B0603020202020204" pitchFamily="34" charset="0"/>
              </a:rPr>
              <a:t>Unique global data store for standardized financial reporting and analytics</a:t>
            </a:r>
            <a:endParaRPr lang="en-GB" sz="900" dirty="0">
              <a:latin typeface="Trebuchet MS" panose="020B0603020202020204" pitchFamily="34" charset="0"/>
            </a:endParaRPr>
          </a:p>
        </p:txBody>
      </p:sp>
      <p:sp>
        <p:nvSpPr>
          <p:cNvPr id="6" name="ZoneTexte 56">
            <a:extLst>
              <a:ext uri="{FF2B5EF4-FFF2-40B4-BE49-F238E27FC236}">
                <a16:creationId xmlns:a16="http://schemas.microsoft.com/office/drawing/2014/main" id="{7BB59633-86D0-4B3A-8BFB-35A6ECF6D9DF}"/>
              </a:ext>
            </a:extLst>
          </p:cNvPr>
          <p:cNvSpPr txBox="1"/>
          <p:nvPr/>
        </p:nvSpPr>
        <p:spPr>
          <a:xfrm>
            <a:off x="3127438" y="5328012"/>
            <a:ext cx="1699411" cy="276999"/>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sz="900" dirty="0">
                <a:solidFill>
                  <a:schemeClr val="tx1"/>
                </a:solidFill>
                <a:latin typeface="Trebuchet MS" panose="020B0603020202020204" pitchFamily="34" charset="0"/>
              </a:rPr>
              <a:t>Platform with macro-economic reports and analyses</a:t>
            </a:r>
          </a:p>
        </p:txBody>
      </p:sp>
      <p:sp>
        <p:nvSpPr>
          <p:cNvPr id="39" name="Rounded Rectangle 88">
            <a:extLst>
              <a:ext uri="{FF2B5EF4-FFF2-40B4-BE49-F238E27FC236}">
                <a16:creationId xmlns:a16="http://schemas.microsoft.com/office/drawing/2014/main" id="{22AC24FA-ACB8-4173-ADA7-6264FB581D69}"/>
              </a:ext>
            </a:extLst>
          </p:cNvPr>
          <p:cNvSpPr/>
          <p:nvPr/>
        </p:nvSpPr>
        <p:spPr bwMode="auto">
          <a:xfrm>
            <a:off x="3543203" y="4937739"/>
            <a:ext cx="864000" cy="360000"/>
          </a:xfrm>
          <a:prstGeom prst="roundRect">
            <a:avLst/>
          </a:prstGeom>
          <a:solidFill>
            <a:schemeClr val="tx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700" b="0" i="0" u="none" strike="noStrike" cap="none" normalizeH="0" baseline="0">
              <a:ln>
                <a:noFill/>
              </a:ln>
              <a:solidFill>
                <a:schemeClr val="tx1"/>
              </a:solidFill>
              <a:effectLst/>
              <a:latin typeface="Trebuchet MS" pitchFamily="34" charset="0"/>
            </a:endParaRPr>
          </a:p>
        </p:txBody>
      </p:sp>
      <p:pic>
        <p:nvPicPr>
          <p:cNvPr id="40" name="Picture 2" descr="D&amp;B Country Risk | Altares DB France">
            <a:extLst>
              <a:ext uri="{FF2B5EF4-FFF2-40B4-BE49-F238E27FC236}">
                <a16:creationId xmlns:a16="http://schemas.microsoft.com/office/drawing/2014/main" id="{B48EE066-FCDB-4CC9-9891-2BED6ED583E0}"/>
              </a:ext>
            </a:extLst>
          </p:cNvPr>
          <p:cNvPicPr>
            <a:picLocks noChangeAspect="1" noChangeArrowheads="1"/>
          </p:cNvPicPr>
          <p:nvPr/>
        </p:nvPicPr>
        <p:blipFill>
          <a:blip r:embed="rId15">
            <a:duotone>
              <a:prstClr val="black"/>
              <a:schemeClr val="tx1">
                <a:lumMod val="50000"/>
                <a:tint val="45000"/>
                <a:satMod val="400000"/>
              </a:schemeClr>
            </a:duotone>
            <a:extLst>
              <a:ext uri="{BEBA8EAE-BF5A-486C-A8C5-ECC9F3942E4B}">
                <a14:imgProps xmlns:a14="http://schemas.microsoft.com/office/drawing/2010/main">
                  <a14:imgLayer r:embed="rId16">
                    <a14:imgEffect>
                      <a14:artisticGlowEdges/>
                    </a14:imgEffect>
                    <a14:imgEffect>
                      <a14:colorTemperature colorTemp="11500"/>
                    </a14:imgEffect>
                    <a14:imgEffect>
                      <a14:saturation sat="400000"/>
                    </a14:imgEffect>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3554981" y="5028011"/>
            <a:ext cx="840444" cy="163388"/>
          </a:xfrm>
          <a:prstGeom prst="rect">
            <a:avLst/>
          </a:prstGeom>
          <a:noFill/>
          <a:extLst>
            <a:ext uri="{909E8E84-426E-40DD-AFC4-6F175D3DCCD1}">
              <a14:hiddenFill xmlns:a14="http://schemas.microsoft.com/office/drawing/2010/main">
                <a:solidFill>
                  <a:srgbClr val="FFFFFF"/>
                </a:solidFill>
              </a14:hiddenFill>
            </a:ext>
          </a:extLst>
        </p:spPr>
      </p:pic>
      <p:sp>
        <p:nvSpPr>
          <p:cNvPr id="43" name="ZoneTexte 57">
            <a:extLst>
              <a:ext uri="{FF2B5EF4-FFF2-40B4-BE49-F238E27FC236}">
                <a16:creationId xmlns:a16="http://schemas.microsoft.com/office/drawing/2014/main" id="{27DE2BD2-975A-4C81-8EF4-27C15FFB98D5}"/>
              </a:ext>
            </a:extLst>
          </p:cNvPr>
          <p:cNvSpPr txBox="1"/>
          <p:nvPr/>
        </p:nvSpPr>
        <p:spPr>
          <a:xfrm>
            <a:off x="1778662" y="4783237"/>
            <a:ext cx="7043209" cy="156359"/>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US" sz="900" dirty="0">
                <a:solidFill>
                  <a:schemeClr val="tx1"/>
                </a:solidFill>
                <a:latin typeface="Trebuchet MS" panose="020B0603020202020204" pitchFamily="34" charset="0"/>
              </a:rPr>
              <a:t>API into D&amp;B data repositories that can be used as is by </a:t>
            </a:r>
            <a:r>
              <a:rPr lang="en-US" sz="900" dirty="0" err="1">
                <a:solidFill>
                  <a:schemeClr val="tx1"/>
                </a:solidFill>
                <a:latin typeface="Trebuchet MS" panose="020B0603020202020204" pitchFamily="34" charset="0"/>
              </a:rPr>
              <a:t>Altares</a:t>
            </a:r>
            <a:r>
              <a:rPr lang="en-US" sz="900" dirty="0">
                <a:solidFill>
                  <a:schemeClr val="tx1"/>
                </a:solidFill>
                <a:latin typeface="Trebuchet MS" panose="020B0603020202020204" pitchFamily="34" charset="0"/>
              </a:rPr>
              <a:t>' clients and as data sources for all </a:t>
            </a:r>
            <a:r>
              <a:rPr lang="en-US" sz="900" dirty="0" err="1">
                <a:solidFill>
                  <a:schemeClr val="tx1"/>
                </a:solidFill>
                <a:latin typeface="Trebuchet MS" panose="020B0603020202020204" pitchFamily="34" charset="0"/>
              </a:rPr>
              <a:t>Altares</a:t>
            </a:r>
            <a:r>
              <a:rPr lang="en-US" sz="900" dirty="0">
                <a:solidFill>
                  <a:schemeClr val="tx1"/>
                </a:solidFill>
                <a:latin typeface="Trebuchet MS" panose="020B0603020202020204" pitchFamily="34" charset="0"/>
              </a:rPr>
              <a:t>' own products</a:t>
            </a:r>
          </a:p>
        </p:txBody>
      </p:sp>
      <p:pic>
        <p:nvPicPr>
          <p:cNvPr id="45" name="Picture 44">
            <a:extLst>
              <a:ext uri="{FF2B5EF4-FFF2-40B4-BE49-F238E27FC236}">
                <a16:creationId xmlns:a16="http://schemas.microsoft.com/office/drawing/2014/main" id="{B477C2FB-EA26-4EB1-96F2-0D5F96AA6254}"/>
              </a:ext>
            </a:extLst>
          </p:cNvPr>
          <p:cNvPicPr>
            <a:picLocks noChangeAspect="1"/>
          </p:cNvPicPr>
          <p:nvPr/>
        </p:nvPicPr>
        <p:blipFill>
          <a:blip r:embed="rId17">
            <a:clrChange>
              <a:clrFrom>
                <a:srgbClr val="FFFFFF"/>
              </a:clrFrom>
              <a:clrTo>
                <a:srgbClr val="FFFFFF">
                  <a:alpha val="0"/>
                </a:srgbClr>
              </a:clrTo>
            </a:clrChange>
            <a:extLst>
              <a:ext uri="{BEBA8EAE-BF5A-486C-A8C5-ECC9F3942E4B}">
                <a14:imgProps xmlns:a14="http://schemas.microsoft.com/office/drawing/2010/main">
                  <a14:imgLayer r:embed="rId18">
                    <a14:imgEffect>
                      <a14:brightnessContrast bright="7000"/>
                    </a14:imgEffect>
                  </a14:imgLayer>
                </a14:imgProps>
              </a:ext>
            </a:extLst>
          </a:blip>
          <a:stretch>
            <a:fillRect/>
          </a:stretch>
        </p:blipFill>
        <p:spPr>
          <a:xfrm>
            <a:off x="8012911" y="1692126"/>
            <a:ext cx="707648" cy="281245"/>
          </a:xfrm>
          <a:prstGeom prst="rect">
            <a:avLst/>
          </a:prstGeom>
        </p:spPr>
      </p:pic>
      <p:pic>
        <p:nvPicPr>
          <p:cNvPr id="46" name="Picture 2">
            <a:extLst>
              <a:ext uri="{FF2B5EF4-FFF2-40B4-BE49-F238E27FC236}">
                <a16:creationId xmlns:a16="http://schemas.microsoft.com/office/drawing/2014/main" id="{F70B2C18-4580-4B38-84EF-2E94F6351716}"/>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038115" y="2475311"/>
            <a:ext cx="657240" cy="222585"/>
          </a:xfrm>
          <a:prstGeom prst="rect">
            <a:avLst/>
          </a:prstGeom>
          <a:noFill/>
          <a:extLst>
            <a:ext uri="{909E8E84-426E-40DD-AFC4-6F175D3DCCD1}">
              <a14:hiddenFill xmlns:a14="http://schemas.microsoft.com/office/drawing/2010/main">
                <a:solidFill>
                  <a:srgbClr val="FFFFFF"/>
                </a:solidFill>
              </a14:hiddenFill>
            </a:ext>
          </a:extLst>
        </p:spPr>
      </p:pic>
      <p:grpSp>
        <p:nvGrpSpPr>
          <p:cNvPr id="47" name="Group 46">
            <a:extLst>
              <a:ext uri="{FF2B5EF4-FFF2-40B4-BE49-F238E27FC236}">
                <a16:creationId xmlns:a16="http://schemas.microsoft.com/office/drawing/2014/main" id="{226C7D77-D92F-4FC6-9F4E-AABBD6EFE5A1}"/>
              </a:ext>
            </a:extLst>
          </p:cNvPr>
          <p:cNvGrpSpPr/>
          <p:nvPr/>
        </p:nvGrpSpPr>
        <p:grpSpPr>
          <a:xfrm>
            <a:off x="102002" y="2541453"/>
            <a:ext cx="778211" cy="919613"/>
            <a:chOff x="134754" y="4357806"/>
            <a:chExt cx="778211" cy="919613"/>
          </a:xfrm>
        </p:grpSpPr>
        <p:sp>
          <p:nvSpPr>
            <p:cNvPr id="48" name="ZoneTexte 5">
              <a:extLst>
                <a:ext uri="{FF2B5EF4-FFF2-40B4-BE49-F238E27FC236}">
                  <a16:creationId xmlns:a16="http://schemas.microsoft.com/office/drawing/2014/main" id="{F7B9E4EE-3070-40C8-9730-E95024B1B999}"/>
                </a:ext>
              </a:extLst>
            </p:cNvPr>
            <p:cNvSpPr txBox="1"/>
            <p:nvPr/>
          </p:nvSpPr>
          <p:spPr>
            <a:xfrm>
              <a:off x="134754" y="4723421"/>
              <a:ext cx="778211" cy="553998"/>
            </a:xfrm>
            <a:prstGeom prst="rect">
              <a:avLst/>
            </a:prstGeom>
            <a:noFill/>
          </p:spPr>
          <p:txBody>
            <a:bodyPr wrap="square" lIns="0" rIns="0" rtlCol="0">
              <a:spAutoFit/>
            </a:bodyPr>
            <a:lstStyle/>
            <a:p>
              <a:pPr algn="ctr"/>
              <a:r>
                <a:rPr lang="en-GB" sz="1000">
                  <a:latin typeface="Trebuchet MS" panose="020B0603020202020204" pitchFamily="34" charset="0"/>
                </a:rPr>
                <a:t>Altares'</a:t>
              </a:r>
              <a:r>
                <a:rPr lang="en-GB" sz="1000">
                  <a:latin typeface="+mj-lt"/>
                </a:rPr>
                <a:t> proprietary products</a:t>
              </a:r>
            </a:p>
          </p:txBody>
        </p:sp>
        <p:pic>
          <p:nvPicPr>
            <p:cNvPr id="49" name="Picture 2" descr="Altares D&amp;B | La plus grande base de données commerciale du monde">
              <a:extLst>
                <a:ext uri="{FF2B5EF4-FFF2-40B4-BE49-F238E27FC236}">
                  <a16:creationId xmlns:a16="http://schemas.microsoft.com/office/drawing/2014/main" id="{98006AFD-11DC-4E72-8C2C-9020431B552C}"/>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08334" y="4357806"/>
              <a:ext cx="431050" cy="4310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0" name="Group 49">
            <a:extLst>
              <a:ext uri="{FF2B5EF4-FFF2-40B4-BE49-F238E27FC236}">
                <a16:creationId xmlns:a16="http://schemas.microsoft.com/office/drawing/2014/main" id="{885E9740-49FD-4B48-9FF7-ADDC2E4BC308}"/>
              </a:ext>
            </a:extLst>
          </p:cNvPr>
          <p:cNvGrpSpPr/>
          <p:nvPr/>
        </p:nvGrpSpPr>
        <p:grpSpPr>
          <a:xfrm>
            <a:off x="57215" y="4958128"/>
            <a:ext cx="867785" cy="1055786"/>
            <a:chOff x="72960" y="2118414"/>
            <a:chExt cx="867785" cy="1055786"/>
          </a:xfrm>
        </p:grpSpPr>
        <p:sp>
          <p:nvSpPr>
            <p:cNvPr id="51" name="ZoneTexte 4">
              <a:extLst>
                <a:ext uri="{FF2B5EF4-FFF2-40B4-BE49-F238E27FC236}">
                  <a16:creationId xmlns:a16="http://schemas.microsoft.com/office/drawing/2014/main" id="{D852B236-F2BA-4AE1-80CF-56F4C6B56B0A}"/>
                </a:ext>
              </a:extLst>
            </p:cNvPr>
            <p:cNvSpPr txBox="1"/>
            <p:nvPr/>
          </p:nvSpPr>
          <p:spPr>
            <a:xfrm>
              <a:off x="132191" y="2281648"/>
              <a:ext cx="749322" cy="892552"/>
            </a:xfrm>
            <a:prstGeom prst="rect">
              <a:avLst/>
            </a:prstGeom>
            <a:noFill/>
          </p:spPr>
          <p:txBody>
            <a:bodyPr wrap="square" lIns="0" rIns="0" rtlCol="0">
              <a:spAutoFit/>
            </a:bodyPr>
            <a:lstStyle>
              <a:defPPr>
                <a:defRPr lang="en-US"/>
              </a:defPPr>
              <a:lvl1pPr algn="ctr">
                <a:defRPr sz="1050">
                  <a:latin typeface="+mj-lt"/>
                </a:defRPr>
              </a:lvl1pPr>
            </a:lstStyle>
            <a:p>
              <a:r>
                <a:rPr lang="en-GB" sz="1000"/>
                <a:t>Dun &amp; Bradstreet products distributed by Altares</a:t>
              </a:r>
            </a:p>
          </p:txBody>
        </p:sp>
        <p:pic>
          <p:nvPicPr>
            <p:cNvPr id="52" name="Picture 2" descr="Dun &amp; Bradstreet - Bâtir des relations">
              <a:extLst>
                <a:ext uri="{FF2B5EF4-FFF2-40B4-BE49-F238E27FC236}">
                  <a16:creationId xmlns:a16="http://schemas.microsoft.com/office/drawing/2014/main" id="{01896690-EBBE-4C71-AB42-4F809435A021}"/>
                </a:ext>
              </a:extLst>
            </p:cNvPr>
            <p:cNvPicPr>
              <a:picLocks noChangeAspect="1" noChangeArrowheads="1"/>
            </p:cNvPicPr>
            <p:nvPr/>
          </p:nvPicPr>
          <p:blipFill>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960" y="2118414"/>
              <a:ext cx="867785" cy="126922"/>
            </a:xfrm>
            <a:prstGeom prst="rect">
              <a:avLst/>
            </a:prstGeom>
            <a:noFill/>
            <a:extLst>
              <a:ext uri="{909E8E84-426E-40DD-AFC4-6F175D3DCCD1}">
                <a14:hiddenFill xmlns:a14="http://schemas.microsoft.com/office/drawing/2010/main">
                  <a:solidFill>
                    <a:srgbClr val="FFFFFF"/>
                  </a:solidFill>
                </a14:hiddenFill>
              </a:ext>
            </a:extLst>
          </p:spPr>
        </p:pic>
      </p:grpSp>
      <p:sp>
        <p:nvSpPr>
          <p:cNvPr id="53" name="Rounded Rectangle 88">
            <a:extLst>
              <a:ext uri="{FF2B5EF4-FFF2-40B4-BE49-F238E27FC236}">
                <a16:creationId xmlns:a16="http://schemas.microsoft.com/office/drawing/2014/main" id="{5F711663-2E08-4363-B036-6AB5E688636B}"/>
              </a:ext>
            </a:extLst>
          </p:cNvPr>
          <p:cNvSpPr/>
          <p:nvPr/>
        </p:nvSpPr>
        <p:spPr bwMode="auto">
          <a:xfrm>
            <a:off x="4938274" y="5226425"/>
            <a:ext cx="864000" cy="360000"/>
          </a:xfrm>
          <a:prstGeom prst="roundRect">
            <a:avLst/>
          </a:prstGeom>
          <a:gradFill>
            <a:gsLst>
              <a:gs pos="44000">
                <a:schemeClr val="tx2">
                  <a:lumMod val="20000"/>
                  <a:lumOff val="80000"/>
                </a:schemeClr>
              </a:gs>
              <a:gs pos="0">
                <a:schemeClr val="tx2">
                  <a:lumMod val="20000"/>
                  <a:lumOff val="80000"/>
                </a:schemeClr>
              </a:gs>
              <a:gs pos="52000">
                <a:schemeClr val="accent1">
                  <a:lumMod val="20000"/>
                  <a:lumOff val="80000"/>
                </a:schemeClr>
              </a:gs>
              <a:gs pos="100000">
                <a:schemeClr val="accent1">
                  <a:lumMod val="20000"/>
                  <a:lumOff val="80000"/>
                </a:schemeClr>
              </a:gs>
            </a:gsLst>
            <a:lin ang="0" scaled="0"/>
          </a:gradFill>
          <a:ln w="3175" cap="flat" cmpd="sng" algn="ctr">
            <a:solidFill>
              <a:schemeClr val="tx2"/>
            </a:solidFill>
            <a:prstDash val="sysDot"/>
            <a:round/>
            <a:headEnd type="none" w="med" len="med"/>
            <a:tailEnd type="none" w="med" len="med"/>
          </a:ln>
          <a:effectLst/>
        </p:spPr>
        <p:txBody>
          <a:bodyPr vert="horz" wrap="square" lIns="0" tIns="46800" rIns="0" bIns="45720" numCol="1" rtlCol="0" anchor="t" anchorCtr="0" compatLnSpc="1">
            <a:prstTxWarp prst="textNoShape">
              <a:avLst/>
            </a:prstTxWarp>
          </a:bodyPr>
          <a:lstStyle/>
          <a:p>
            <a:pPr algn="ctr"/>
            <a:endParaRPr lang="en-GB" sz="1200">
              <a:latin typeface="Trebuchet MS" pitchFamily="34" charset="0"/>
            </a:endParaRPr>
          </a:p>
        </p:txBody>
      </p:sp>
      <p:pic>
        <p:nvPicPr>
          <p:cNvPr id="54" name="Picture 53">
            <a:extLst>
              <a:ext uri="{FF2B5EF4-FFF2-40B4-BE49-F238E27FC236}">
                <a16:creationId xmlns:a16="http://schemas.microsoft.com/office/drawing/2014/main" id="{D4EECA74-BBFF-4959-8B0D-29717735E446}"/>
              </a:ext>
            </a:extLst>
          </p:cNvPr>
          <p:cNvPicPr>
            <a:picLocks noChangeAspect="1"/>
          </p:cNvPicPr>
          <p:nvPr/>
        </p:nvPicPr>
        <p:blipFill>
          <a:blip r:embed="rId22">
            <a:clrChange>
              <a:clrFrom>
                <a:srgbClr val="FFFFFF"/>
              </a:clrFrom>
              <a:clrTo>
                <a:srgbClr val="FFFFFF">
                  <a:alpha val="0"/>
                </a:srgbClr>
              </a:clrTo>
            </a:clrChange>
          </a:blip>
          <a:stretch>
            <a:fillRect/>
          </a:stretch>
        </p:blipFill>
        <p:spPr>
          <a:xfrm>
            <a:off x="4975661" y="5320745"/>
            <a:ext cx="789227" cy="171361"/>
          </a:xfrm>
          <a:prstGeom prst="rect">
            <a:avLst/>
          </a:prstGeom>
        </p:spPr>
      </p:pic>
      <p:grpSp>
        <p:nvGrpSpPr>
          <p:cNvPr id="68" name="Group 67">
            <a:extLst>
              <a:ext uri="{FF2B5EF4-FFF2-40B4-BE49-F238E27FC236}">
                <a16:creationId xmlns:a16="http://schemas.microsoft.com/office/drawing/2014/main" id="{0495AC9B-DE41-46CA-958C-7B8C794C4DB1}"/>
              </a:ext>
            </a:extLst>
          </p:cNvPr>
          <p:cNvGrpSpPr/>
          <p:nvPr/>
        </p:nvGrpSpPr>
        <p:grpSpPr>
          <a:xfrm>
            <a:off x="4130723" y="2063582"/>
            <a:ext cx="1031877" cy="937660"/>
            <a:chOff x="4130723" y="1688260"/>
            <a:chExt cx="1031877" cy="937660"/>
          </a:xfrm>
        </p:grpSpPr>
        <p:sp>
          <p:nvSpPr>
            <p:cNvPr id="5" name="ZoneTexte 56">
              <a:extLst>
                <a:ext uri="{FF2B5EF4-FFF2-40B4-BE49-F238E27FC236}">
                  <a16:creationId xmlns:a16="http://schemas.microsoft.com/office/drawing/2014/main" id="{F5E08D33-C2B1-4B95-8C79-77FE396B5EBF}"/>
                </a:ext>
              </a:extLst>
            </p:cNvPr>
            <p:cNvSpPr txBox="1"/>
            <p:nvPr/>
          </p:nvSpPr>
          <p:spPr>
            <a:xfrm>
              <a:off x="4130723" y="2071922"/>
              <a:ext cx="1031877" cy="553998"/>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sz="900">
                  <a:solidFill>
                    <a:schemeClr val="tx1"/>
                  </a:solidFill>
                  <a:latin typeface="Trebuchet MS" panose="020B0603020202020204" pitchFamily="34" charset="0"/>
                </a:rPr>
                <a:t>Platform to facilitate KYC process for French companies</a:t>
              </a:r>
            </a:p>
          </p:txBody>
        </p:sp>
        <p:sp>
          <p:nvSpPr>
            <p:cNvPr id="55" name="Rounded Rectangle 88">
              <a:extLst>
                <a:ext uri="{FF2B5EF4-FFF2-40B4-BE49-F238E27FC236}">
                  <a16:creationId xmlns:a16="http://schemas.microsoft.com/office/drawing/2014/main" id="{A4795C3C-11F3-4084-823B-801EDAFFC3E2}"/>
                </a:ext>
              </a:extLst>
            </p:cNvPr>
            <p:cNvSpPr/>
            <p:nvPr/>
          </p:nvSpPr>
          <p:spPr bwMode="auto">
            <a:xfrm>
              <a:off x="4220752" y="1688260"/>
              <a:ext cx="864000" cy="360000"/>
            </a:xfrm>
            <a:prstGeom prst="roundRect">
              <a:avLst/>
            </a:prstGeom>
            <a:gradFill>
              <a:gsLst>
                <a:gs pos="44000">
                  <a:schemeClr val="tx2">
                    <a:lumMod val="20000"/>
                    <a:lumOff val="80000"/>
                  </a:schemeClr>
                </a:gs>
                <a:gs pos="0">
                  <a:schemeClr val="tx2">
                    <a:lumMod val="20000"/>
                    <a:lumOff val="80000"/>
                  </a:schemeClr>
                </a:gs>
                <a:gs pos="52000">
                  <a:schemeClr val="accent1">
                    <a:lumMod val="20000"/>
                    <a:lumOff val="80000"/>
                  </a:schemeClr>
                </a:gs>
                <a:gs pos="100000">
                  <a:schemeClr val="accent1">
                    <a:lumMod val="20000"/>
                    <a:lumOff val="80000"/>
                  </a:schemeClr>
                </a:gs>
              </a:gsLst>
              <a:lin ang="0" scaled="0"/>
            </a:gradFill>
            <a:ln w="3175" cap="flat" cmpd="sng" algn="ctr">
              <a:solidFill>
                <a:schemeClr val="tx2"/>
              </a:solidFill>
              <a:prstDash val="sysDot"/>
              <a:round/>
              <a:headEnd type="none" w="med" len="med"/>
              <a:tailEnd type="none" w="med" len="med"/>
            </a:ln>
            <a:effectLst/>
          </p:spPr>
          <p:txBody>
            <a:bodyPr vert="horz" wrap="square" lIns="0" tIns="46800" rIns="0" bIns="45720" numCol="1" rtlCol="0" anchor="t" anchorCtr="0" compatLnSpc="1">
              <a:prstTxWarp prst="textNoShape">
                <a:avLst/>
              </a:prstTxWarp>
            </a:bodyPr>
            <a:lstStyle/>
            <a:p>
              <a:pPr algn="ctr"/>
              <a:endParaRPr lang="en-GB" sz="900">
                <a:latin typeface="Trebuchet MS" pitchFamily="34" charset="0"/>
              </a:endParaRPr>
            </a:p>
          </p:txBody>
        </p:sp>
        <p:pic>
          <p:nvPicPr>
            <p:cNvPr id="56" name="Picture 2" descr="IndueD - La conformité simplifiée - KYC | Altares DB France">
              <a:extLst>
                <a:ext uri="{FF2B5EF4-FFF2-40B4-BE49-F238E27FC236}">
                  <a16:creationId xmlns:a16="http://schemas.microsoft.com/office/drawing/2014/main" id="{1002693F-8708-4038-A47A-00635CFD9838}"/>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326982" y="1756195"/>
              <a:ext cx="651541" cy="224130"/>
            </a:xfrm>
            <a:prstGeom prst="rect">
              <a:avLst/>
            </a:prstGeom>
            <a:noFill/>
            <a:extLst>
              <a:ext uri="{909E8E84-426E-40DD-AFC4-6F175D3DCCD1}">
                <a14:hiddenFill xmlns:a14="http://schemas.microsoft.com/office/drawing/2010/main">
                  <a:solidFill>
                    <a:srgbClr val="FFFFFF"/>
                  </a:solidFill>
                </a14:hiddenFill>
              </a:ext>
            </a:extLst>
          </p:spPr>
        </p:pic>
      </p:grpSp>
      <p:sp>
        <p:nvSpPr>
          <p:cNvPr id="58" name="ZoneTexte 56">
            <a:extLst>
              <a:ext uri="{FF2B5EF4-FFF2-40B4-BE49-F238E27FC236}">
                <a16:creationId xmlns:a16="http://schemas.microsoft.com/office/drawing/2014/main" id="{8B757A5D-D613-4DF5-A2D4-054A6A31B2D3}"/>
              </a:ext>
            </a:extLst>
          </p:cNvPr>
          <p:cNvSpPr txBox="1"/>
          <p:nvPr/>
        </p:nvSpPr>
        <p:spPr>
          <a:xfrm>
            <a:off x="4908732" y="5622158"/>
            <a:ext cx="926424" cy="415498"/>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sz="900" dirty="0">
                <a:solidFill>
                  <a:schemeClr val="tx1"/>
                </a:solidFill>
                <a:latin typeface="Trebuchet MS" panose="020B0603020202020204" pitchFamily="34" charset="0"/>
              </a:rPr>
              <a:t>Platform to facilitate KYC processes</a:t>
            </a:r>
          </a:p>
        </p:txBody>
      </p:sp>
      <p:grpSp>
        <p:nvGrpSpPr>
          <p:cNvPr id="60" name="Group 59">
            <a:extLst>
              <a:ext uri="{FF2B5EF4-FFF2-40B4-BE49-F238E27FC236}">
                <a16:creationId xmlns:a16="http://schemas.microsoft.com/office/drawing/2014/main" id="{392C66BA-A2D2-4EE5-B2BC-ECEC3E37C972}"/>
              </a:ext>
            </a:extLst>
          </p:cNvPr>
          <p:cNvGrpSpPr/>
          <p:nvPr/>
        </p:nvGrpSpPr>
        <p:grpSpPr>
          <a:xfrm>
            <a:off x="5848999" y="2063582"/>
            <a:ext cx="958746" cy="800241"/>
            <a:chOff x="5848999" y="1652748"/>
            <a:chExt cx="958746" cy="800241"/>
          </a:xfrm>
        </p:grpSpPr>
        <p:sp>
          <p:nvSpPr>
            <p:cNvPr id="66" name="Rounded Rectangle 88">
              <a:extLst>
                <a:ext uri="{FF2B5EF4-FFF2-40B4-BE49-F238E27FC236}">
                  <a16:creationId xmlns:a16="http://schemas.microsoft.com/office/drawing/2014/main" id="{8590DC32-2E11-4972-9382-E7510FAC9535}"/>
                </a:ext>
              </a:extLst>
            </p:cNvPr>
            <p:cNvSpPr/>
            <p:nvPr/>
          </p:nvSpPr>
          <p:spPr bwMode="auto">
            <a:xfrm>
              <a:off x="5896372" y="1652748"/>
              <a:ext cx="864000" cy="360000"/>
            </a:xfrm>
            <a:prstGeom prst="roundRect">
              <a:avLst/>
            </a:prstGeom>
            <a:solidFill>
              <a:schemeClr val="tx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45720" rIns="0" bIns="45720" numCol="1" rtlCol="0" anchor="t" anchorCtr="0" compatLnSpc="1">
              <a:prstTxWarp prst="textNoShape">
                <a:avLst/>
              </a:prstTxWarp>
            </a:bodyPr>
            <a:lstStyle/>
            <a:p>
              <a:pPr algn="ctr"/>
              <a:endParaRPr lang="en-GB" sz="700">
                <a:latin typeface="Trebuchet MS" pitchFamily="34" charset="0"/>
              </a:endParaRPr>
            </a:p>
          </p:txBody>
        </p:sp>
        <p:pic>
          <p:nvPicPr>
            <p:cNvPr id="67" name="Image 69" descr="Une image contenant objet&#10;&#10;Description générée automatiquement">
              <a:extLst>
                <a:ext uri="{FF2B5EF4-FFF2-40B4-BE49-F238E27FC236}">
                  <a16:creationId xmlns:a16="http://schemas.microsoft.com/office/drawing/2014/main" id="{C6196784-70E9-4FDA-97DA-5CCBEB03F044}"/>
                </a:ext>
              </a:extLst>
            </p:cNvPr>
            <p:cNvPicPr>
              <a:picLocks noChangeAspect="1"/>
            </p:cNvPicPr>
            <p:nvPr/>
          </p:nvPicPr>
          <p:blipFill>
            <a:blip r:embed="rId24"/>
            <a:stretch>
              <a:fillRect/>
            </a:stretch>
          </p:blipFill>
          <p:spPr>
            <a:xfrm>
              <a:off x="6032217" y="1686451"/>
              <a:ext cx="592310" cy="292595"/>
            </a:xfrm>
            <a:prstGeom prst="rect">
              <a:avLst/>
            </a:prstGeom>
          </p:spPr>
        </p:pic>
        <p:sp>
          <p:nvSpPr>
            <p:cNvPr id="69" name="ZoneTexte 56">
              <a:extLst>
                <a:ext uri="{FF2B5EF4-FFF2-40B4-BE49-F238E27FC236}">
                  <a16:creationId xmlns:a16="http://schemas.microsoft.com/office/drawing/2014/main" id="{E92E48CB-1B4A-4B7E-B667-C2315221E1D2}"/>
                </a:ext>
              </a:extLst>
            </p:cNvPr>
            <p:cNvSpPr txBox="1"/>
            <p:nvPr/>
          </p:nvSpPr>
          <p:spPr>
            <a:xfrm>
              <a:off x="5848999" y="2037491"/>
              <a:ext cx="958746" cy="415498"/>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sz="900">
                  <a:solidFill>
                    <a:schemeClr val="tx1"/>
                  </a:solidFill>
                  <a:latin typeface="Trebuchet MS" panose="020B0603020202020204" pitchFamily="34" charset="0"/>
                </a:rPr>
                <a:t>Platform to collect official documents</a:t>
              </a:r>
            </a:p>
          </p:txBody>
        </p:sp>
      </p:grpSp>
      <p:grpSp>
        <p:nvGrpSpPr>
          <p:cNvPr id="116" name="Group 115">
            <a:extLst>
              <a:ext uri="{FF2B5EF4-FFF2-40B4-BE49-F238E27FC236}">
                <a16:creationId xmlns:a16="http://schemas.microsoft.com/office/drawing/2014/main" id="{31E29838-59E9-4966-9FCF-2612B1DFB7E7}"/>
              </a:ext>
            </a:extLst>
          </p:cNvPr>
          <p:cNvGrpSpPr/>
          <p:nvPr/>
        </p:nvGrpSpPr>
        <p:grpSpPr>
          <a:xfrm>
            <a:off x="7014635" y="1130011"/>
            <a:ext cx="2448000" cy="432000"/>
            <a:chOff x="7024347" y="1154439"/>
            <a:chExt cx="2448000" cy="432000"/>
          </a:xfrm>
        </p:grpSpPr>
        <p:sp>
          <p:nvSpPr>
            <p:cNvPr id="4" name="Rectangle 3">
              <a:extLst>
                <a:ext uri="{FF2B5EF4-FFF2-40B4-BE49-F238E27FC236}">
                  <a16:creationId xmlns:a16="http://schemas.microsoft.com/office/drawing/2014/main" id="{1587BF20-F9F6-40A8-89A8-3274D4B11622}"/>
                </a:ext>
              </a:extLst>
            </p:cNvPr>
            <p:cNvSpPr/>
            <p:nvPr/>
          </p:nvSpPr>
          <p:spPr bwMode="auto">
            <a:xfrm>
              <a:off x="7024347" y="1154439"/>
              <a:ext cx="2448000" cy="432000"/>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288000" tIns="45720" rIns="3600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b="1">
                  <a:solidFill>
                    <a:schemeClr val="bg1"/>
                  </a:solidFill>
                  <a:latin typeface="Trebuchet MS" panose="020B0603020202020204" pitchFamily="34" charset="0"/>
                </a:rPr>
                <a:t>B2B </a:t>
              </a:r>
              <a:r>
                <a:rPr kumimoji="0" lang="en-GB" sz="1200" b="1" i="0" u="none" strike="noStrike" cap="none" normalizeH="0" baseline="0">
                  <a:ln>
                    <a:noFill/>
                  </a:ln>
                  <a:solidFill>
                    <a:schemeClr val="bg1"/>
                  </a:solidFill>
                  <a:effectLst/>
                  <a:latin typeface="Trebuchet MS" panose="020B0603020202020204" pitchFamily="34" charset="0"/>
                </a:rPr>
                <a:t>Marketing</a:t>
              </a:r>
            </a:p>
          </p:txBody>
        </p:sp>
        <p:pic>
          <p:nvPicPr>
            <p:cNvPr id="73" name="Graphique 74" descr="Mégaphone">
              <a:extLst>
                <a:ext uri="{FF2B5EF4-FFF2-40B4-BE49-F238E27FC236}">
                  <a16:creationId xmlns:a16="http://schemas.microsoft.com/office/drawing/2014/main" id="{BBE7FE99-6644-4D2D-A64A-233CFA685A1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7281122" y="1251639"/>
              <a:ext cx="261360" cy="237600"/>
            </a:xfrm>
            <a:prstGeom prst="rect">
              <a:avLst/>
            </a:prstGeom>
          </p:spPr>
        </p:pic>
      </p:grpSp>
      <p:cxnSp>
        <p:nvCxnSpPr>
          <p:cNvPr id="110" name="Connecteur droit 208">
            <a:extLst>
              <a:ext uri="{FF2B5EF4-FFF2-40B4-BE49-F238E27FC236}">
                <a16:creationId xmlns:a16="http://schemas.microsoft.com/office/drawing/2014/main" id="{0B2D2C6B-CA23-45F1-8CF2-2E22E0F9672B}"/>
              </a:ext>
            </a:extLst>
          </p:cNvPr>
          <p:cNvCxnSpPr>
            <a:cxnSpLocks/>
          </p:cNvCxnSpPr>
          <p:nvPr/>
        </p:nvCxnSpPr>
        <p:spPr bwMode="auto">
          <a:xfrm>
            <a:off x="384975" y="959968"/>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11" name="Rectangle 84">
            <a:extLst>
              <a:ext uri="{FF2B5EF4-FFF2-40B4-BE49-F238E27FC236}">
                <a16:creationId xmlns:a16="http://schemas.microsoft.com/office/drawing/2014/main" id="{C3292A45-E203-4D92-A0E9-634CFAB0B314}"/>
              </a:ext>
            </a:extLst>
          </p:cNvPr>
          <p:cNvSpPr/>
          <p:nvPr/>
        </p:nvSpPr>
        <p:spPr bwMode="auto">
          <a:xfrm>
            <a:off x="3269585" y="850588"/>
            <a:ext cx="3268235" cy="188514"/>
          </a:xfrm>
          <a:prstGeom prst="rect">
            <a:avLst/>
          </a:prstGeom>
          <a:solidFill>
            <a:schemeClr val="bg1"/>
          </a:solidFill>
        </p:spPr>
        <p:txBody>
          <a:bodyPr wrap="square" rtlCol="0">
            <a:noAutofit/>
          </a:bodyPr>
          <a:lstStyle/>
          <a:p>
            <a:pPr algn="ctr"/>
            <a:r>
              <a:rPr lang="en-GB" sz="1100" dirty="0">
                <a:latin typeface="Trebuchet MS" panose="020B0603020202020204" pitchFamily="34" charset="0"/>
              </a:rPr>
              <a:t>Selection of </a:t>
            </a:r>
            <a:r>
              <a:rPr lang="en-GB" sz="1100" dirty="0" err="1">
                <a:latin typeface="Trebuchet MS" panose="020B0603020202020204" pitchFamily="34" charset="0"/>
              </a:rPr>
              <a:t>Altares</a:t>
            </a:r>
            <a:r>
              <a:rPr lang="en-GB" sz="1100" dirty="0">
                <a:latin typeface="Trebuchet MS" panose="020B0603020202020204" pitchFamily="34" charset="0"/>
              </a:rPr>
              <a:t>' main offerings </a:t>
            </a:r>
          </a:p>
        </p:txBody>
      </p:sp>
      <p:sp>
        <p:nvSpPr>
          <p:cNvPr id="112" name="ZoneTexte 150">
            <a:extLst>
              <a:ext uri="{FF2B5EF4-FFF2-40B4-BE49-F238E27FC236}">
                <a16:creationId xmlns:a16="http://schemas.microsoft.com/office/drawing/2014/main" id="{F145C666-4226-4C9C-8175-9043933B97D8}"/>
              </a:ext>
            </a:extLst>
          </p:cNvPr>
          <p:cNvSpPr txBox="1"/>
          <p:nvPr/>
        </p:nvSpPr>
        <p:spPr>
          <a:xfrm>
            <a:off x="7939573" y="2697541"/>
            <a:ext cx="854324" cy="107722"/>
          </a:xfrm>
          <a:prstGeom prst="rect">
            <a:avLst/>
          </a:prstGeom>
          <a:noFill/>
        </p:spPr>
        <p:txBody>
          <a:bodyPr wrap="square" lIns="0" tIns="0" rIns="0" bIns="0">
            <a:spAutoFit/>
          </a:bodyPr>
          <a:lstStyle/>
          <a:p>
            <a:pPr algn="ctr"/>
            <a:r>
              <a:rPr lang="en-GB" sz="700" err="1">
                <a:solidFill>
                  <a:schemeClr val="bg2">
                    <a:lumMod val="75000"/>
                  </a:schemeClr>
                </a:solidFill>
                <a:latin typeface="Trebuchet MS" panose="020B0603020202020204" pitchFamily="34" charset="0"/>
              </a:rPr>
              <a:t>m</a:t>
            </a:r>
            <a:r>
              <a:rPr lang="en-GB" sz="700" err="1">
                <a:solidFill>
                  <a:srgbClr val="0070C0"/>
                </a:solidFill>
                <a:latin typeface="Trebuchet MS" panose="020B0603020202020204" pitchFamily="34" charset="0"/>
              </a:rPr>
              <a:t>List</a:t>
            </a:r>
            <a:r>
              <a:rPr lang="en-GB" sz="700">
                <a:latin typeface="Trebuchet MS" panose="020B0603020202020204" pitchFamily="34" charset="0"/>
              </a:rPr>
              <a:t>, </a:t>
            </a:r>
            <a:r>
              <a:rPr lang="en-GB" sz="700" b="1" err="1">
                <a:solidFill>
                  <a:schemeClr val="accent4"/>
                </a:solidFill>
                <a:latin typeface="Trebuchet MS" panose="020B0603020202020204" pitchFamily="34" charset="0"/>
              </a:rPr>
              <a:t>m</a:t>
            </a:r>
            <a:r>
              <a:rPr lang="en-GB" sz="700" b="1" err="1">
                <a:solidFill>
                  <a:srgbClr val="0070C0"/>
                </a:solidFill>
                <a:latin typeface="Trebuchet MS" panose="020B0603020202020204" pitchFamily="34" charset="0"/>
              </a:rPr>
              <a:t>Ads</a:t>
            </a:r>
            <a:r>
              <a:rPr lang="en-GB" sz="700">
                <a:latin typeface="Trebuchet MS" panose="020B0603020202020204" pitchFamily="34" charset="0"/>
              </a:rPr>
              <a:t>, </a:t>
            </a:r>
            <a:r>
              <a:rPr lang="en-GB" sz="700" err="1">
                <a:solidFill>
                  <a:schemeClr val="tx1">
                    <a:lumMod val="50000"/>
                  </a:schemeClr>
                </a:solidFill>
                <a:latin typeface="Trebuchet MS" panose="020B0603020202020204" pitchFamily="34" charset="0"/>
              </a:rPr>
              <a:t>m</a:t>
            </a:r>
            <a:r>
              <a:rPr lang="en-GB" sz="700" err="1">
                <a:solidFill>
                  <a:srgbClr val="0070C0"/>
                </a:solidFill>
                <a:latin typeface="Trebuchet MS" panose="020B0603020202020204" pitchFamily="34" charset="0"/>
              </a:rPr>
              <a:t>Lead</a:t>
            </a:r>
            <a:endParaRPr lang="en-GB" sz="700">
              <a:solidFill>
                <a:srgbClr val="0070C0"/>
              </a:solidFill>
              <a:latin typeface="Trebuchet MS" panose="020B0603020202020204" pitchFamily="34" charset="0"/>
            </a:endParaRPr>
          </a:p>
        </p:txBody>
      </p:sp>
      <p:sp>
        <p:nvSpPr>
          <p:cNvPr id="115" name="Espace réservé du texte 21">
            <a:extLst>
              <a:ext uri="{FF2B5EF4-FFF2-40B4-BE49-F238E27FC236}">
                <a16:creationId xmlns:a16="http://schemas.microsoft.com/office/drawing/2014/main" id="{5223CCC7-089F-4991-9F8E-B63B01E0BF43}"/>
              </a:ext>
            </a:extLst>
          </p:cNvPr>
          <p:cNvSpPr>
            <a:spLocks noGrp="1"/>
          </p:cNvSpPr>
          <p:nvPr>
            <p:ph type="body" sz="quarter" idx="10"/>
          </p:nvPr>
        </p:nvSpPr>
        <p:spPr>
          <a:xfrm>
            <a:off x="1315274" y="6580025"/>
            <a:ext cx="2411462" cy="226605"/>
          </a:xfrm>
        </p:spPr>
        <p:txBody>
          <a:bodyPr/>
          <a:lstStyle/>
          <a:p>
            <a:r>
              <a:rPr lang="en-GB"/>
              <a:t>Sources: eleven research &amp; analysis, company data, interviews with management</a:t>
            </a:r>
          </a:p>
          <a:p>
            <a:endParaRPr lang="en-GB"/>
          </a:p>
        </p:txBody>
      </p:sp>
      <p:pic>
        <p:nvPicPr>
          <p:cNvPr id="126" name="Picture 125">
            <a:extLst>
              <a:ext uri="{FF2B5EF4-FFF2-40B4-BE49-F238E27FC236}">
                <a16:creationId xmlns:a16="http://schemas.microsoft.com/office/drawing/2014/main" id="{FFA1B5E2-F629-44C1-9EF0-82A4F9A70BA3}"/>
              </a:ext>
            </a:extLst>
          </p:cNvPr>
          <p:cNvPicPr>
            <a:picLocks noChangeAspect="1"/>
          </p:cNvPicPr>
          <p:nvPr/>
        </p:nvPicPr>
        <p:blipFill>
          <a:blip r:embed="rId27">
            <a:clrChange>
              <a:clrFrom>
                <a:srgbClr val="EFF3F3"/>
              </a:clrFrom>
              <a:clrTo>
                <a:srgbClr val="EFF3F3">
                  <a:alpha val="0"/>
                </a:srgbClr>
              </a:clrTo>
            </a:clrChange>
          </a:blip>
          <a:stretch>
            <a:fillRect/>
          </a:stretch>
        </p:blipFill>
        <p:spPr>
          <a:xfrm>
            <a:off x="5818354" y="3909375"/>
            <a:ext cx="1049865" cy="247975"/>
          </a:xfrm>
          <a:prstGeom prst="rect">
            <a:avLst/>
          </a:prstGeom>
        </p:spPr>
      </p:pic>
      <p:sp>
        <p:nvSpPr>
          <p:cNvPr id="16" name="Rectangle 15">
            <a:extLst>
              <a:ext uri="{FF2B5EF4-FFF2-40B4-BE49-F238E27FC236}">
                <a16:creationId xmlns:a16="http://schemas.microsoft.com/office/drawing/2014/main" id="{9B336C78-5DBD-40C8-9AC8-494C7DD260D5}"/>
              </a:ext>
            </a:extLst>
          </p:cNvPr>
          <p:cNvSpPr/>
          <p:nvPr/>
        </p:nvSpPr>
        <p:spPr bwMode="auto">
          <a:xfrm>
            <a:off x="980139" y="1612615"/>
            <a:ext cx="8581492" cy="4739201"/>
          </a:xfrm>
          <a:prstGeom prst="rect">
            <a:avLst/>
          </a:prstGeom>
          <a:noFill/>
          <a:ln w="9525" cap="flat" cmpd="sng" algn="ctr">
            <a:solidFill>
              <a:schemeClr val="bg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3" name="Picture 2" descr="logo-salesforce - Dolmen">
            <a:extLst>
              <a:ext uri="{FF2B5EF4-FFF2-40B4-BE49-F238E27FC236}">
                <a16:creationId xmlns:a16="http://schemas.microsoft.com/office/drawing/2014/main" id="{98086CCD-079B-47B2-9AB9-577524659FF6}"/>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386201" y="3903778"/>
            <a:ext cx="459323" cy="242985"/>
          </a:xfrm>
          <a:prstGeom prst="rect">
            <a:avLst/>
          </a:prstGeom>
          <a:noFill/>
          <a:extLst>
            <a:ext uri="{909E8E84-426E-40DD-AFC4-6F175D3DCCD1}">
              <a14:hiddenFill xmlns:a14="http://schemas.microsoft.com/office/drawing/2010/main">
                <a:solidFill>
                  <a:srgbClr val="FFFFFF"/>
                </a:solidFill>
              </a14:hiddenFill>
            </a:ext>
          </a:extLst>
        </p:spPr>
      </p:pic>
      <p:pic>
        <p:nvPicPr>
          <p:cNvPr id="185346" name="Picture 2" descr="Avis Microsoft Dynamics - Comparatifs des outils du Web">
            <a:extLst>
              <a:ext uri="{FF2B5EF4-FFF2-40B4-BE49-F238E27FC236}">
                <a16:creationId xmlns:a16="http://schemas.microsoft.com/office/drawing/2014/main" id="{9F2447B6-A6E6-47B0-8D07-5221959714AC}"/>
              </a:ext>
            </a:extLst>
          </p:cNvPr>
          <p:cNvPicPr>
            <a:picLocks noChangeAspect="1" noChangeArrowheads="1"/>
          </p:cNvPicPr>
          <p:nvPr/>
        </p:nvPicPr>
        <p:blipFill rotWithShape="1">
          <a:blip r:embed="rId29">
            <a:clrChange>
              <a:clrFrom>
                <a:srgbClr val="FFFFFF"/>
              </a:clrFrom>
              <a:clrTo>
                <a:srgbClr val="FFFFFF">
                  <a:alpha val="0"/>
                </a:srgbClr>
              </a:clrTo>
            </a:clrChange>
            <a:extLst>
              <a:ext uri="{28A0092B-C50C-407E-A947-70E740481C1C}">
                <a14:useLocalDpi xmlns:a14="http://schemas.microsoft.com/office/drawing/2010/main" val="0"/>
              </a:ext>
            </a:extLst>
          </a:blip>
          <a:srcRect t="26101" b="27492"/>
          <a:stretch/>
        </p:blipFill>
        <p:spPr bwMode="auto">
          <a:xfrm>
            <a:off x="3804070" y="3939503"/>
            <a:ext cx="672495" cy="171535"/>
          </a:xfrm>
          <a:prstGeom prst="rect">
            <a:avLst/>
          </a:prstGeom>
          <a:noFill/>
          <a:extLst>
            <a:ext uri="{909E8E84-426E-40DD-AFC4-6F175D3DCCD1}">
              <a14:hiddenFill xmlns:a14="http://schemas.microsoft.com/office/drawing/2010/main">
                <a:solidFill>
                  <a:srgbClr val="FFFFFF"/>
                </a:solidFill>
              </a14:hiddenFill>
            </a:ext>
          </a:extLst>
        </p:spPr>
      </p:pic>
      <p:sp>
        <p:nvSpPr>
          <p:cNvPr id="63" name="Triangle isocèle 62">
            <a:extLst>
              <a:ext uri="{FF2B5EF4-FFF2-40B4-BE49-F238E27FC236}">
                <a16:creationId xmlns:a16="http://schemas.microsoft.com/office/drawing/2014/main" id="{5A90B661-335C-4669-A917-5FD2A90CC0CA}"/>
              </a:ext>
            </a:extLst>
          </p:cNvPr>
          <p:cNvSpPr/>
          <p:nvPr/>
        </p:nvSpPr>
        <p:spPr bwMode="auto">
          <a:xfrm rot="5400000">
            <a:off x="3219932" y="3986776"/>
            <a:ext cx="204655" cy="76989"/>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61" name="Connecteur droit avec flèche 60">
            <a:extLst>
              <a:ext uri="{FF2B5EF4-FFF2-40B4-BE49-F238E27FC236}">
                <a16:creationId xmlns:a16="http://schemas.microsoft.com/office/drawing/2014/main" id="{A791216D-7945-49BD-898D-50C8FB55BF82}"/>
              </a:ext>
            </a:extLst>
          </p:cNvPr>
          <p:cNvCxnSpPr>
            <a:cxnSpLocks/>
          </p:cNvCxnSpPr>
          <p:nvPr/>
        </p:nvCxnSpPr>
        <p:spPr bwMode="auto">
          <a:xfrm>
            <a:off x="975178" y="1612615"/>
            <a:ext cx="0" cy="4739201"/>
          </a:xfrm>
          <a:prstGeom prst="straightConnector1">
            <a:avLst/>
          </a:prstGeom>
          <a:solidFill>
            <a:schemeClr val="accent1"/>
          </a:solidFill>
          <a:ln w="9525" cap="flat" cmpd="sng" algn="ctr">
            <a:solidFill>
              <a:schemeClr val="tx2"/>
            </a:solidFill>
            <a:prstDash val="solid"/>
            <a:round/>
            <a:headEnd type="triangle"/>
            <a:tailEnd type="triangle"/>
          </a:ln>
          <a:effectLst/>
        </p:spPr>
      </p:cxnSp>
      <p:sp>
        <p:nvSpPr>
          <p:cNvPr id="117" name="Rectangle à coins arrondis 28">
            <a:extLst>
              <a:ext uri="{FF2B5EF4-FFF2-40B4-BE49-F238E27FC236}">
                <a16:creationId xmlns:a16="http://schemas.microsoft.com/office/drawing/2014/main" id="{33DD92DE-3999-4D61-A8D8-28DE4B28A103}"/>
              </a:ext>
            </a:extLst>
          </p:cNvPr>
          <p:cNvSpPr/>
          <p:nvPr/>
        </p:nvSpPr>
        <p:spPr bwMode="auto">
          <a:xfrm>
            <a:off x="5029659" y="6585718"/>
            <a:ext cx="988364" cy="186904"/>
          </a:xfrm>
          <a:prstGeom prst="roundRect">
            <a:avLst/>
          </a:prstGeom>
          <a:solidFill>
            <a:schemeClr val="tx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800" b="1">
                <a:solidFill>
                  <a:schemeClr val="tx2"/>
                </a:solidFill>
                <a:latin typeface="Trebuchet MS" panose="020B0603020202020204" pitchFamily="34" charset="0"/>
              </a:rPr>
              <a:t>Web platform</a:t>
            </a:r>
          </a:p>
        </p:txBody>
      </p:sp>
      <p:sp>
        <p:nvSpPr>
          <p:cNvPr id="118" name="Rectangle à coins arrondis 28">
            <a:extLst>
              <a:ext uri="{FF2B5EF4-FFF2-40B4-BE49-F238E27FC236}">
                <a16:creationId xmlns:a16="http://schemas.microsoft.com/office/drawing/2014/main" id="{967FDE0F-79E9-44E7-BDE6-8E893770A233}"/>
              </a:ext>
            </a:extLst>
          </p:cNvPr>
          <p:cNvSpPr/>
          <p:nvPr/>
        </p:nvSpPr>
        <p:spPr bwMode="auto">
          <a:xfrm>
            <a:off x="3880086" y="6585718"/>
            <a:ext cx="988364" cy="186904"/>
          </a:xfrm>
          <a:prstGeom prst="roundRect">
            <a:avLst/>
          </a:prstGeom>
          <a:solidFill>
            <a:schemeClr val="bg1">
              <a:lumMod val="95000"/>
            </a:schemeClr>
          </a:solidFill>
          <a:ln w="3175" cap="flat" cmpd="sng" algn="ctr">
            <a:solidFill>
              <a:schemeClr val="tx1"/>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800" b="1">
                <a:latin typeface="Trebuchet MS" panose="020B0603020202020204" pitchFamily="34" charset="0"/>
              </a:rPr>
              <a:t>Batch</a:t>
            </a:r>
          </a:p>
        </p:txBody>
      </p:sp>
      <p:sp>
        <p:nvSpPr>
          <p:cNvPr id="120" name="Rectangle à coins arrondis 28">
            <a:extLst>
              <a:ext uri="{FF2B5EF4-FFF2-40B4-BE49-F238E27FC236}">
                <a16:creationId xmlns:a16="http://schemas.microsoft.com/office/drawing/2014/main" id="{F73A6482-4C37-4753-BB21-FAF06B2FB91D}"/>
              </a:ext>
            </a:extLst>
          </p:cNvPr>
          <p:cNvSpPr/>
          <p:nvPr/>
        </p:nvSpPr>
        <p:spPr bwMode="auto">
          <a:xfrm>
            <a:off x="6179266" y="6588861"/>
            <a:ext cx="989048" cy="180618"/>
          </a:xfrm>
          <a:prstGeom prst="roundRect">
            <a:avLst/>
          </a:prstGeom>
          <a:solidFill>
            <a:srgbClr val="C6EFFF"/>
          </a:solidFill>
          <a:ln w="3175" cap="flat" cmpd="sng" algn="ctr">
            <a:solidFill>
              <a:srgbClr val="007AA9"/>
            </a:solidFill>
            <a:prstDash val="sysDot"/>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800" b="1">
                <a:latin typeface="Trebuchet MS" panose="020B0603020202020204" pitchFamily="34" charset="0"/>
              </a:rPr>
              <a:t>Connector/APIs</a:t>
            </a:r>
          </a:p>
        </p:txBody>
      </p:sp>
      <p:grpSp>
        <p:nvGrpSpPr>
          <p:cNvPr id="65" name="Group 4">
            <a:extLst>
              <a:ext uri="{FF2B5EF4-FFF2-40B4-BE49-F238E27FC236}">
                <a16:creationId xmlns:a16="http://schemas.microsoft.com/office/drawing/2014/main" id="{54129A42-368E-42FC-AC2E-2A848AFF770D}"/>
              </a:ext>
            </a:extLst>
          </p:cNvPr>
          <p:cNvGrpSpPr>
            <a:grpSpLocks noChangeAspect="1"/>
          </p:cNvGrpSpPr>
          <p:nvPr/>
        </p:nvGrpSpPr>
        <p:grpSpPr bwMode="auto">
          <a:xfrm>
            <a:off x="2098722" y="3371492"/>
            <a:ext cx="224614" cy="221331"/>
            <a:chOff x="858" y="846"/>
            <a:chExt cx="753" cy="742"/>
          </a:xfrm>
          <a:solidFill>
            <a:schemeClr val="tx1"/>
          </a:solidFill>
        </p:grpSpPr>
        <p:sp>
          <p:nvSpPr>
            <p:cNvPr id="70" name="Freeform 5">
              <a:extLst>
                <a:ext uri="{FF2B5EF4-FFF2-40B4-BE49-F238E27FC236}">
                  <a16:creationId xmlns:a16="http://schemas.microsoft.com/office/drawing/2014/main" id="{B6828285-4FF5-44AF-B1B9-7EFE71FA18BA}"/>
                </a:ext>
              </a:extLst>
            </p:cNvPr>
            <p:cNvSpPr>
              <a:spLocks noEditPoints="1"/>
            </p:cNvSpPr>
            <p:nvPr/>
          </p:nvSpPr>
          <p:spPr bwMode="auto">
            <a:xfrm>
              <a:off x="1194" y="1171"/>
              <a:ext cx="417" cy="417"/>
            </a:xfrm>
            <a:custGeom>
              <a:avLst/>
              <a:gdLst>
                <a:gd name="T0" fmla="*/ 18 w 36"/>
                <a:gd name="T1" fmla="*/ 0 h 36"/>
                <a:gd name="T2" fmla="*/ 0 w 36"/>
                <a:gd name="T3" fmla="*/ 18 h 36"/>
                <a:gd name="T4" fmla="*/ 18 w 36"/>
                <a:gd name="T5" fmla="*/ 36 h 36"/>
                <a:gd name="T6" fmla="*/ 36 w 36"/>
                <a:gd name="T7" fmla="*/ 18 h 36"/>
                <a:gd name="T8" fmla="*/ 18 w 36"/>
                <a:gd name="T9" fmla="*/ 0 h 36"/>
                <a:gd name="T10" fmla="*/ 19 w 36"/>
                <a:gd name="T11" fmla="*/ 25 h 36"/>
                <a:gd name="T12" fmla="*/ 15 w 36"/>
                <a:gd name="T13" fmla="*/ 29 h 36"/>
                <a:gd name="T14" fmla="*/ 11 w 36"/>
                <a:gd name="T15" fmla="*/ 25 h 36"/>
                <a:gd name="T16" fmla="*/ 4 w 36"/>
                <a:gd name="T17" fmla="*/ 18 h 36"/>
                <a:gd name="T18" fmla="*/ 8 w 36"/>
                <a:gd name="T19" fmla="*/ 14 h 36"/>
                <a:gd name="T20" fmla="*/ 15 w 36"/>
                <a:gd name="T21" fmla="*/ 21 h 36"/>
                <a:gd name="T22" fmla="*/ 28 w 36"/>
                <a:gd name="T23" fmla="*/ 8 h 36"/>
                <a:gd name="T24" fmla="*/ 32 w 36"/>
                <a:gd name="T25" fmla="*/ 12 h 36"/>
                <a:gd name="T26" fmla="*/ 19 w 36"/>
                <a:gd name="T27"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6">
                  <a:moveTo>
                    <a:pt x="18" y="0"/>
                  </a:moveTo>
                  <a:cubicBezTo>
                    <a:pt x="8" y="0"/>
                    <a:pt x="0" y="8"/>
                    <a:pt x="0" y="18"/>
                  </a:cubicBezTo>
                  <a:cubicBezTo>
                    <a:pt x="0" y="28"/>
                    <a:pt x="8" y="36"/>
                    <a:pt x="18" y="36"/>
                  </a:cubicBezTo>
                  <a:cubicBezTo>
                    <a:pt x="28" y="36"/>
                    <a:pt x="36" y="28"/>
                    <a:pt x="36" y="18"/>
                  </a:cubicBezTo>
                  <a:cubicBezTo>
                    <a:pt x="36" y="8"/>
                    <a:pt x="28" y="0"/>
                    <a:pt x="18" y="0"/>
                  </a:cubicBezTo>
                  <a:close/>
                  <a:moveTo>
                    <a:pt x="19" y="25"/>
                  </a:moveTo>
                  <a:cubicBezTo>
                    <a:pt x="15" y="29"/>
                    <a:pt x="15" y="29"/>
                    <a:pt x="15" y="29"/>
                  </a:cubicBezTo>
                  <a:cubicBezTo>
                    <a:pt x="11" y="25"/>
                    <a:pt x="11" y="25"/>
                    <a:pt x="11" y="25"/>
                  </a:cubicBezTo>
                  <a:cubicBezTo>
                    <a:pt x="4" y="18"/>
                    <a:pt x="4" y="18"/>
                    <a:pt x="4" y="18"/>
                  </a:cubicBezTo>
                  <a:cubicBezTo>
                    <a:pt x="8" y="14"/>
                    <a:pt x="8" y="14"/>
                    <a:pt x="8" y="14"/>
                  </a:cubicBezTo>
                  <a:cubicBezTo>
                    <a:pt x="15" y="21"/>
                    <a:pt x="15" y="21"/>
                    <a:pt x="15" y="21"/>
                  </a:cubicBezTo>
                  <a:cubicBezTo>
                    <a:pt x="28" y="8"/>
                    <a:pt x="28" y="8"/>
                    <a:pt x="28" y="8"/>
                  </a:cubicBezTo>
                  <a:cubicBezTo>
                    <a:pt x="32" y="12"/>
                    <a:pt x="32" y="12"/>
                    <a:pt x="32" y="12"/>
                  </a:cubicBezTo>
                  <a:lnTo>
                    <a:pt x="19" y="2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 name="Freeform 6">
              <a:extLst>
                <a:ext uri="{FF2B5EF4-FFF2-40B4-BE49-F238E27FC236}">
                  <a16:creationId xmlns:a16="http://schemas.microsoft.com/office/drawing/2014/main" id="{C6C89233-A223-4D3F-86E1-43C16884A6E7}"/>
                </a:ext>
              </a:extLst>
            </p:cNvPr>
            <p:cNvSpPr>
              <a:spLocks noEditPoints="1"/>
            </p:cNvSpPr>
            <p:nvPr/>
          </p:nvSpPr>
          <p:spPr bwMode="auto">
            <a:xfrm>
              <a:off x="858" y="846"/>
              <a:ext cx="602" cy="649"/>
            </a:xfrm>
            <a:custGeom>
              <a:avLst/>
              <a:gdLst>
                <a:gd name="T0" fmla="*/ 48 w 52"/>
                <a:gd name="T1" fmla="*/ 5 h 56"/>
                <a:gd name="T2" fmla="*/ 26 w 52"/>
                <a:gd name="T3" fmla="*/ 0 h 56"/>
                <a:gd name="T4" fmla="*/ 4 w 52"/>
                <a:gd name="T5" fmla="*/ 5 h 56"/>
                <a:gd name="T6" fmla="*/ 0 w 52"/>
                <a:gd name="T7" fmla="*/ 10 h 56"/>
                <a:gd name="T8" fmla="*/ 0 w 52"/>
                <a:gd name="T9" fmla="*/ 46 h 56"/>
                <a:gd name="T10" fmla="*/ 4 w 52"/>
                <a:gd name="T11" fmla="*/ 51 h 56"/>
                <a:gd name="T12" fmla="*/ 24 w 52"/>
                <a:gd name="T13" fmla="*/ 56 h 56"/>
                <a:gd name="T14" fmla="*/ 24 w 52"/>
                <a:gd name="T15" fmla="*/ 52 h 56"/>
                <a:gd name="T16" fmla="*/ 4 w 52"/>
                <a:gd name="T17" fmla="*/ 46 h 56"/>
                <a:gd name="T18" fmla="*/ 4 w 52"/>
                <a:gd name="T19" fmla="*/ 41 h 56"/>
                <a:gd name="T20" fmla="*/ 4 w 52"/>
                <a:gd name="T21" fmla="*/ 39 h 56"/>
                <a:gd name="T22" fmla="*/ 24 w 52"/>
                <a:gd name="T23" fmla="*/ 44 h 56"/>
                <a:gd name="T24" fmla="*/ 24 w 52"/>
                <a:gd name="T25" fmla="*/ 40 h 56"/>
                <a:gd name="T26" fmla="*/ 4 w 52"/>
                <a:gd name="T27" fmla="*/ 34 h 56"/>
                <a:gd name="T28" fmla="*/ 4 w 52"/>
                <a:gd name="T29" fmla="*/ 27 h 56"/>
                <a:gd name="T30" fmla="*/ 24 w 52"/>
                <a:gd name="T31" fmla="*/ 32 h 56"/>
                <a:gd name="T32" fmla="*/ 24 w 52"/>
                <a:gd name="T33" fmla="*/ 28 h 56"/>
                <a:gd name="T34" fmla="*/ 4 w 52"/>
                <a:gd name="T35" fmla="*/ 22 h 56"/>
                <a:gd name="T36" fmla="*/ 4 w 52"/>
                <a:gd name="T37" fmla="*/ 15 h 56"/>
                <a:gd name="T38" fmla="*/ 26 w 52"/>
                <a:gd name="T39" fmla="*/ 20 h 56"/>
                <a:gd name="T40" fmla="*/ 48 w 52"/>
                <a:gd name="T41" fmla="*/ 15 h 56"/>
                <a:gd name="T42" fmla="*/ 48 w 52"/>
                <a:gd name="T43" fmla="*/ 20 h 56"/>
                <a:gd name="T44" fmla="*/ 48 w 52"/>
                <a:gd name="T45" fmla="*/ 22 h 56"/>
                <a:gd name="T46" fmla="*/ 48 w 52"/>
                <a:gd name="T47" fmla="*/ 24 h 56"/>
                <a:gd name="T48" fmla="*/ 52 w 52"/>
                <a:gd name="T49" fmla="*/ 24 h 56"/>
                <a:gd name="T50" fmla="*/ 52 w 52"/>
                <a:gd name="T51" fmla="*/ 10 h 56"/>
                <a:gd name="T52" fmla="*/ 48 w 52"/>
                <a:gd name="T53" fmla="*/ 5 h 56"/>
                <a:gd name="T54" fmla="*/ 26 w 52"/>
                <a:gd name="T55" fmla="*/ 16 h 56"/>
                <a:gd name="T56" fmla="*/ 4 w 52"/>
                <a:gd name="T57" fmla="*/ 10 h 56"/>
                <a:gd name="T58" fmla="*/ 26 w 52"/>
                <a:gd name="T59" fmla="*/ 4 h 56"/>
                <a:gd name="T60" fmla="*/ 48 w 52"/>
                <a:gd name="T61" fmla="*/ 10 h 56"/>
                <a:gd name="T62" fmla="*/ 26 w 52"/>
                <a:gd name="T63" fmla="*/ 1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56">
                  <a:moveTo>
                    <a:pt x="48" y="5"/>
                  </a:moveTo>
                  <a:cubicBezTo>
                    <a:pt x="44" y="2"/>
                    <a:pt x="36" y="0"/>
                    <a:pt x="26" y="0"/>
                  </a:cubicBezTo>
                  <a:cubicBezTo>
                    <a:pt x="17" y="0"/>
                    <a:pt x="9" y="2"/>
                    <a:pt x="4" y="5"/>
                  </a:cubicBezTo>
                  <a:cubicBezTo>
                    <a:pt x="2" y="6"/>
                    <a:pt x="0" y="8"/>
                    <a:pt x="0" y="10"/>
                  </a:cubicBezTo>
                  <a:cubicBezTo>
                    <a:pt x="0" y="46"/>
                    <a:pt x="0" y="46"/>
                    <a:pt x="0" y="46"/>
                  </a:cubicBezTo>
                  <a:cubicBezTo>
                    <a:pt x="0" y="48"/>
                    <a:pt x="2" y="50"/>
                    <a:pt x="4" y="51"/>
                  </a:cubicBezTo>
                  <a:cubicBezTo>
                    <a:pt x="9" y="54"/>
                    <a:pt x="16" y="56"/>
                    <a:pt x="24" y="56"/>
                  </a:cubicBezTo>
                  <a:cubicBezTo>
                    <a:pt x="24" y="52"/>
                    <a:pt x="24" y="52"/>
                    <a:pt x="24" y="52"/>
                  </a:cubicBezTo>
                  <a:cubicBezTo>
                    <a:pt x="12" y="52"/>
                    <a:pt x="5" y="48"/>
                    <a:pt x="4" y="46"/>
                  </a:cubicBezTo>
                  <a:cubicBezTo>
                    <a:pt x="4" y="41"/>
                    <a:pt x="4" y="41"/>
                    <a:pt x="4" y="41"/>
                  </a:cubicBezTo>
                  <a:cubicBezTo>
                    <a:pt x="4" y="39"/>
                    <a:pt x="4" y="39"/>
                    <a:pt x="4" y="39"/>
                  </a:cubicBezTo>
                  <a:cubicBezTo>
                    <a:pt x="9" y="42"/>
                    <a:pt x="16" y="44"/>
                    <a:pt x="24" y="44"/>
                  </a:cubicBezTo>
                  <a:cubicBezTo>
                    <a:pt x="24" y="40"/>
                    <a:pt x="24" y="40"/>
                    <a:pt x="24" y="40"/>
                  </a:cubicBezTo>
                  <a:cubicBezTo>
                    <a:pt x="12" y="40"/>
                    <a:pt x="5" y="36"/>
                    <a:pt x="4" y="34"/>
                  </a:cubicBezTo>
                  <a:cubicBezTo>
                    <a:pt x="4" y="27"/>
                    <a:pt x="4" y="27"/>
                    <a:pt x="4" y="27"/>
                  </a:cubicBezTo>
                  <a:cubicBezTo>
                    <a:pt x="9" y="30"/>
                    <a:pt x="16" y="32"/>
                    <a:pt x="24" y="32"/>
                  </a:cubicBezTo>
                  <a:cubicBezTo>
                    <a:pt x="24" y="28"/>
                    <a:pt x="24" y="28"/>
                    <a:pt x="24" y="28"/>
                  </a:cubicBezTo>
                  <a:cubicBezTo>
                    <a:pt x="12" y="28"/>
                    <a:pt x="5" y="24"/>
                    <a:pt x="4" y="22"/>
                  </a:cubicBezTo>
                  <a:cubicBezTo>
                    <a:pt x="4" y="15"/>
                    <a:pt x="4" y="15"/>
                    <a:pt x="4" y="15"/>
                  </a:cubicBezTo>
                  <a:cubicBezTo>
                    <a:pt x="9" y="18"/>
                    <a:pt x="17" y="20"/>
                    <a:pt x="26" y="20"/>
                  </a:cubicBezTo>
                  <a:cubicBezTo>
                    <a:pt x="36" y="20"/>
                    <a:pt x="44" y="18"/>
                    <a:pt x="48" y="15"/>
                  </a:cubicBezTo>
                  <a:cubicBezTo>
                    <a:pt x="48" y="20"/>
                    <a:pt x="48" y="20"/>
                    <a:pt x="48" y="20"/>
                  </a:cubicBezTo>
                  <a:cubicBezTo>
                    <a:pt x="48" y="22"/>
                    <a:pt x="48" y="22"/>
                    <a:pt x="48" y="22"/>
                  </a:cubicBezTo>
                  <a:cubicBezTo>
                    <a:pt x="48" y="24"/>
                    <a:pt x="48" y="24"/>
                    <a:pt x="48" y="24"/>
                  </a:cubicBezTo>
                  <a:cubicBezTo>
                    <a:pt x="52" y="24"/>
                    <a:pt x="52" y="24"/>
                    <a:pt x="52" y="24"/>
                  </a:cubicBezTo>
                  <a:cubicBezTo>
                    <a:pt x="52" y="10"/>
                    <a:pt x="52" y="10"/>
                    <a:pt x="52" y="10"/>
                  </a:cubicBezTo>
                  <a:cubicBezTo>
                    <a:pt x="52" y="8"/>
                    <a:pt x="51" y="6"/>
                    <a:pt x="48" y="5"/>
                  </a:cubicBez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28" name="Freeform 9">
            <a:extLst>
              <a:ext uri="{FF2B5EF4-FFF2-40B4-BE49-F238E27FC236}">
                <a16:creationId xmlns:a16="http://schemas.microsoft.com/office/drawing/2014/main" id="{A94C2AB4-DC6D-4F70-9FE1-A4E215E82D6A}"/>
              </a:ext>
            </a:extLst>
          </p:cNvPr>
          <p:cNvSpPr>
            <a:spLocks noEditPoints="1"/>
          </p:cNvSpPr>
          <p:nvPr/>
        </p:nvSpPr>
        <p:spPr bwMode="auto">
          <a:xfrm>
            <a:off x="8874120" y="2525145"/>
            <a:ext cx="232139" cy="263062"/>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130" name="ZoneTexte 57">
            <a:extLst>
              <a:ext uri="{FF2B5EF4-FFF2-40B4-BE49-F238E27FC236}">
                <a16:creationId xmlns:a16="http://schemas.microsoft.com/office/drawing/2014/main" id="{A6A405E0-FBF6-4BF8-BA37-5A0B26C9B8D1}"/>
              </a:ext>
            </a:extLst>
          </p:cNvPr>
          <p:cNvSpPr txBox="1"/>
          <p:nvPr/>
        </p:nvSpPr>
        <p:spPr>
          <a:xfrm>
            <a:off x="8900277" y="2664539"/>
            <a:ext cx="792888" cy="123111"/>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i="1">
                <a:solidFill>
                  <a:schemeClr val="accent1"/>
                </a:solidFill>
                <a:latin typeface="Trebuchet MS" panose="020B0603020202020204" pitchFamily="34" charset="0"/>
              </a:rPr>
              <a:t>See infra</a:t>
            </a:r>
          </a:p>
        </p:txBody>
      </p:sp>
      <p:pic>
        <p:nvPicPr>
          <p:cNvPr id="88" name="Picture 2">
            <a:extLst>
              <a:ext uri="{FF2B5EF4-FFF2-40B4-BE49-F238E27FC236}">
                <a16:creationId xmlns:a16="http://schemas.microsoft.com/office/drawing/2014/main" id="{F89BF187-404C-4806-8716-3501A1346389}"/>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7211929" y="3921899"/>
            <a:ext cx="417566" cy="206742"/>
          </a:xfrm>
          <a:prstGeom prst="rect">
            <a:avLst/>
          </a:prstGeom>
          <a:noFill/>
          <a:extLst>
            <a:ext uri="{909E8E84-426E-40DD-AFC4-6F175D3DCCD1}">
              <a14:hiddenFill xmlns:a14="http://schemas.microsoft.com/office/drawing/2010/main">
                <a:solidFill>
                  <a:srgbClr val="FFFFFF"/>
                </a:solidFill>
              </a14:hiddenFill>
            </a:ext>
          </a:extLst>
        </p:spPr>
      </p:pic>
      <p:sp>
        <p:nvSpPr>
          <p:cNvPr id="89" name="Triangle isocèle 62">
            <a:extLst>
              <a:ext uri="{FF2B5EF4-FFF2-40B4-BE49-F238E27FC236}">
                <a16:creationId xmlns:a16="http://schemas.microsoft.com/office/drawing/2014/main" id="{A2B3D9DB-4C40-41B6-9295-C7402404EE1D}"/>
              </a:ext>
            </a:extLst>
          </p:cNvPr>
          <p:cNvSpPr/>
          <p:nvPr/>
        </p:nvSpPr>
        <p:spPr bwMode="auto">
          <a:xfrm rot="5400000">
            <a:off x="6900286" y="3986776"/>
            <a:ext cx="204655" cy="76989"/>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95" name="Picture 2" descr="Use Our CRM Tools in Oracle Engagement Cloud | ActivePrime">
            <a:extLst>
              <a:ext uri="{FF2B5EF4-FFF2-40B4-BE49-F238E27FC236}">
                <a16:creationId xmlns:a16="http://schemas.microsoft.com/office/drawing/2014/main" id="{57A650C5-A0EE-4DCE-91F0-FC5797C823A4}"/>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l="6116" t="20185" r="5857" b="16842"/>
          <a:stretch/>
        </p:blipFill>
        <p:spPr bwMode="auto">
          <a:xfrm>
            <a:off x="4498668" y="3960832"/>
            <a:ext cx="458304" cy="128877"/>
          </a:xfrm>
          <a:prstGeom prst="rect">
            <a:avLst/>
          </a:prstGeom>
          <a:noFill/>
          <a:extLst>
            <a:ext uri="{909E8E84-426E-40DD-AFC4-6F175D3DCCD1}">
              <a14:hiddenFill xmlns:a14="http://schemas.microsoft.com/office/drawing/2010/main">
                <a:solidFill>
                  <a:srgbClr val="FFFFFF"/>
                </a:solidFill>
              </a14:hiddenFill>
            </a:ext>
          </a:extLst>
        </p:spPr>
      </p:pic>
      <p:sp>
        <p:nvSpPr>
          <p:cNvPr id="94" name="Rectangle à coins arrondis 28">
            <a:extLst>
              <a:ext uri="{FF2B5EF4-FFF2-40B4-BE49-F238E27FC236}">
                <a16:creationId xmlns:a16="http://schemas.microsoft.com/office/drawing/2014/main" id="{3AC71FCD-2240-4ED1-8435-001FEEB6E57B}"/>
              </a:ext>
            </a:extLst>
          </p:cNvPr>
          <p:cNvSpPr/>
          <p:nvPr/>
        </p:nvSpPr>
        <p:spPr bwMode="auto">
          <a:xfrm>
            <a:off x="1920187" y="4411611"/>
            <a:ext cx="6760159" cy="360000"/>
          </a:xfrm>
          <a:prstGeom prst="roundRect">
            <a:avLst/>
          </a:prstGeom>
          <a:solidFill>
            <a:srgbClr val="C6EFFF"/>
          </a:solidFill>
          <a:ln w="3175" cap="flat" cmpd="sng" algn="ctr">
            <a:solidFill>
              <a:schemeClr val="accent1"/>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endParaRPr lang="en-GB" sz="800" b="1">
              <a:latin typeface="Trebuchet MS" panose="020B0603020202020204" pitchFamily="34" charset="0"/>
            </a:endParaRPr>
          </a:p>
        </p:txBody>
      </p:sp>
      <p:pic>
        <p:nvPicPr>
          <p:cNvPr id="42" name="Picture 2" descr="Notre partenaire D&amp;B | Altares DB France">
            <a:extLst>
              <a:ext uri="{FF2B5EF4-FFF2-40B4-BE49-F238E27FC236}">
                <a16:creationId xmlns:a16="http://schemas.microsoft.com/office/drawing/2014/main" id="{A4DF148E-086B-42C0-82AF-2DBA63675FE0}"/>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4983751" y="4449572"/>
            <a:ext cx="633031" cy="245978"/>
          </a:xfrm>
          <a:prstGeom prst="rect">
            <a:avLst/>
          </a:prstGeom>
          <a:noFill/>
          <a:extLst>
            <a:ext uri="{909E8E84-426E-40DD-AFC4-6F175D3DCCD1}">
              <a14:hiddenFill xmlns:a14="http://schemas.microsoft.com/office/drawing/2010/main">
                <a:solidFill>
                  <a:srgbClr val="FFFFFF"/>
                </a:solidFill>
              </a14:hiddenFill>
            </a:ext>
          </a:extLst>
        </p:spPr>
      </p:pic>
      <p:grpSp>
        <p:nvGrpSpPr>
          <p:cNvPr id="93" name="Groupe 92">
            <a:extLst>
              <a:ext uri="{FF2B5EF4-FFF2-40B4-BE49-F238E27FC236}">
                <a16:creationId xmlns:a16="http://schemas.microsoft.com/office/drawing/2014/main" id="{5E0BDD7C-029C-4F3A-A484-A9FA344C2E19}"/>
              </a:ext>
            </a:extLst>
          </p:cNvPr>
          <p:cNvGrpSpPr/>
          <p:nvPr/>
        </p:nvGrpSpPr>
        <p:grpSpPr>
          <a:xfrm>
            <a:off x="8448150" y="-11528"/>
            <a:ext cx="1435548" cy="588143"/>
            <a:chOff x="8448150" y="-11528"/>
            <a:chExt cx="1435548" cy="588143"/>
          </a:xfrm>
        </p:grpSpPr>
        <p:sp>
          <p:nvSpPr>
            <p:cNvPr id="96" name="Rectangle : coins arrondis 199">
              <a:extLst>
                <a:ext uri="{FF2B5EF4-FFF2-40B4-BE49-F238E27FC236}">
                  <a16:creationId xmlns:a16="http://schemas.microsoft.com/office/drawing/2014/main" id="{AB539CFB-DDB4-41AD-8007-87ADD956E406}"/>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7" name="Rectangle : coins arrondis 200">
              <a:extLst>
                <a:ext uri="{FF2B5EF4-FFF2-40B4-BE49-F238E27FC236}">
                  <a16:creationId xmlns:a16="http://schemas.microsoft.com/office/drawing/2014/main" id="{B909216A-348F-4E0F-929F-FC7856EFCE48}"/>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8" name="Rectangle : coins arrondis 201">
              <a:extLst>
                <a:ext uri="{FF2B5EF4-FFF2-40B4-BE49-F238E27FC236}">
                  <a16:creationId xmlns:a16="http://schemas.microsoft.com/office/drawing/2014/main" id="{6C57EDF8-AF22-4DFA-A637-FBBC487D91FB}"/>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9" name="ZoneTexte 18">
              <a:extLst>
                <a:ext uri="{FF2B5EF4-FFF2-40B4-BE49-F238E27FC236}">
                  <a16:creationId xmlns:a16="http://schemas.microsoft.com/office/drawing/2014/main" id="{2D791A71-C7B2-423C-8A7A-88E454778BF4}"/>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offer</a:t>
              </a:r>
            </a:p>
          </p:txBody>
        </p:sp>
        <p:pic>
          <p:nvPicPr>
            <p:cNvPr id="100" name="Graphique 128" descr="Jauge">
              <a:extLst>
                <a:ext uri="{FF2B5EF4-FFF2-40B4-BE49-F238E27FC236}">
                  <a16:creationId xmlns:a16="http://schemas.microsoft.com/office/drawing/2014/main" id="{23C9EC76-1DC0-4201-AA50-5F45FA61CA9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8553764" y="187516"/>
              <a:ext cx="234953" cy="218224"/>
            </a:xfrm>
            <a:prstGeom prst="rect">
              <a:avLst/>
            </a:prstGeom>
            <a:effectLst/>
          </p:spPr>
        </p:pic>
        <p:pic>
          <p:nvPicPr>
            <p:cNvPr id="101" name="Graphique 90" descr="Poignée de main">
              <a:extLst>
                <a:ext uri="{FF2B5EF4-FFF2-40B4-BE49-F238E27FC236}">
                  <a16:creationId xmlns:a16="http://schemas.microsoft.com/office/drawing/2014/main" id="{CCFDF9A0-F6F5-43E7-A666-3AEA2D4B5E7F}"/>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8960868" y="152880"/>
              <a:ext cx="256313" cy="287496"/>
            </a:xfrm>
            <a:prstGeom prst="rect">
              <a:avLst/>
            </a:prstGeom>
            <a:effectLst/>
          </p:spPr>
        </p:pic>
        <p:pic>
          <p:nvPicPr>
            <p:cNvPr id="102" name="Graphique 74" descr="Mégaphone">
              <a:extLst>
                <a:ext uri="{FF2B5EF4-FFF2-40B4-BE49-F238E27FC236}">
                  <a16:creationId xmlns:a16="http://schemas.microsoft.com/office/drawing/2014/main" id="{EDDA3920-EC11-4BFE-AC30-F2603E1DFBBB}"/>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9389331" y="181519"/>
              <a:ext cx="233011" cy="216420"/>
            </a:xfrm>
            <a:prstGeom prst="rect">
              <a:avLst/>
            </a:prstGeom>
            <a:effectLst/>
          </p:spPr>
        </p:pic>
        <p:pic>
          <p:nvPicPr>
            <p:cNvPr id="103" name="Picture 2" descr="Drapeau France">
              <a:extLst>
                <a:ext uri="{FF2B5EF4-FFF2-40B4-BE49-F238E27FC236}">
                  <a16:creationId xmlns:a16="http://schemas.microsoft.com/office/drawing/2014/main" id="{9A1BFD44-D580-49F6-B150-E66C36B0EB9F}"/>
                </a:ext>
              </a:extLst>
            </p:cNvPr>
            <p:cNvPicPr>
              <a:picLocks noChangeAspect="1" noChangeArrowheads="1"/>
            </p:cNvPicPr>
            <p:nvPr/>
          </p:nvPicPr>
          <p:blipFill rotWithShape="1">
            <a:blip r:embed="rId3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04" name="Picture 2" descr="5 ft x 3 ft 150 x 90 cm-DRAPEAU BELGE Belgique 100% Polyester ...">
              <a:extLst>
                <a:ext uri="{FF2B5EF4-FFF2-40B4-BE49-F238E27FC236}">
                  <a16:creationId xmlns:a16="http://schemas.microsoft.com/office/drawing/2014/main" id="{56E87BB2-863E-488D-878D-764A3FA3CD1D}"/>
                </a:ext>
              </a:extLst>
            </p:cNvPr>
            <p:cNvPicPr>
              <a:picLocks noChangeAspect="1" noChangeArrowheads="1"/>
            </p:cNvPicPr>
            <p:nvPr/>
          </p:nvPicPr>
          <p:blipFill rotWithShape="1">
            <a:blip r:embed="rId3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05" name="Picture 2 - 1" descr="Drapeau des Pays-Bas — Wikipédia">
              <a:extLst>
                <a:ext uri="{FF2B5EF4-FFF2-40B4-BE49-F238E27FC236}">
                  <a16:creationId xmlns:a16="http://schemas.microsoft.com/office/drawing/2014/main" id="{412771A4-8561-406E-A93F-1B54EA0869CF}"/>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06" name="Picture 2 - 2" descr="Drapeau du Luxembourg">
              <a:extLst>
                <a:ext uri="{FF2B5EF4-FFF2-40B4-BE49-F238E27FC236}">
                  <a16:creationId xmlns:a16="http://schemas.microsoft.com/office/drawing/2014/main" id="{B83BF83D-F8F1-4E2B-B6CB-123542094D25}"/>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07" name="ZoneTexte 18">
              <a:extLst>
                <a:ext uri="{FF2B5EF4-FFF2-40B4-BE49-F238E27FC236}">
                  <a16:creationId xmlns:a16="http://schemas.microsoft.com/office/drawing/2014/main" id="{33CFA47D-F073-4861-84A2-04387F7DE049}"/>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Products &amp; solutions</a:t>
              </a:r>
            </a:p>
          </p:txBody>
        </p:sp>
      </p:grpSp>
      <p:sp>
        <p:nvSpPr>
          <p:cNvPr id="17" name="Accolade fermante 16">
            <a:extLst>
              <a:ext uri="{FF2B5EF4-FFF2-40B4-BE49-F238E27FC236}">
                <a16:creationId xmlns:a16="http://schemas.microsoft.com/office/drawing/2014/main" id="{0183C7F9-3FF3-4AA2-AD9D-E03AB41A08FF}"/>
              </a:ext>
            </a:extLst>
          </p:cNvPr>
          <p:cNvSpPr/>
          <p:nvPr/>
        </p:nvSpPr>
        <p:spPr bwMode="auto">
          <a:xfrm>
            <a:off x="8642961" y="3215292"/>
            <a:ext cx="381091" cy="1722448"/>
          </a:xfrm>
          <a:prstGeom prst="rightBrace">
            <a:avLst/>
          </a:prstGeom>
          <a:noFill/>
          <a:ln w="9525"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41" name="Rectangle 40">
            <a:extLst>
              <a:ext uri="{FF2B5EF4-FFF2-40B4-BE49-F238E27FC236}">
                <a16:creationId xmlns:a16="http://schemas.microsoft.com/office/drawing/2014/main" id="{3F716E39-0FCC-493D-8DCF-3DE96DA325BC}"/>
              </a:ext>
            </a:extLst>
          </p:cNvPr>
          <p:cNvSpPr/>
          <p:nvPr/>
        </p:nvSpPr>
        <p:spPr bwMode="auto">
          <a:xfrm>
            <a:off x="8672759" y="3839267"/>
            <a:ext cx="1371285" cy="4575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1" i="1" u="none" strike="noStrike" cap="none" normalizeH="0" baseline="0">
                <a:ln>
                  <a:noFill/>
                </a:ln>
                <a:solidFill>
                  <a:schemeClr val="accent1">
                    <a:lumMod val="75000"/>
                  </a:schemeClr>
                </a:solidFill>
                <a:effectLst/>
                <a:latin typeface="Trebuchet MS" panose="020B0603020202020204" pitchFamily="34" charset="0"/>
              </a:rPr>
              <a:t>Transversal products</a:t>
            </a:r>
          </a:p>
        </p:txBody>
      </p:sp>
      <p:sp>
        <p:nvSpPr>
          <p:cNvPr id="62" name="Rectangle: Rounded Corners 61">
            <a:extLst>
              <a:ext uri="{FF2B5EF4-FFF2-40B4-BE49-F238E27FC236}">
                <a16:creationId xmlns:a16="http://schemas.microsoft.com/office/drawing/2014/main" id="{30516081-4318-430F-8C16-385169FF1F60}"/>
              </a:ext>
            </a:extLst>
          </p:cNvPr>
          <p:cNvSpPr/>
          <p:nvPr/>
        </p:nvSpPr>
        <p:spPr bwMode="auto">
          <a:xfrm>
            <a:off x="2695407" y="3331523"/>
            <a:ext cx="2583656" cy="283021"/>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a:ln>
                  <a:noFill/>
                </a:ln>
                <a:solidFill>
                  <a:schemeClr val="tx1"/>
                </a:solidFill>
                <a:effectLst/>
                <a:latin typeface="Trebuchet MS" pitchFamily="34" charset="0"/>
              </a:rPr>
              <a:t>Batch files </a:t>
            </a:r>
          </a:p>
        </p:txBody>
      </p:sp>
      <p:sp>
        <p:nvSpPr>
          <p:cNvPr id="109" name="Rectangle: Rounded Corners 108">
            <a:extLst>
              <a:ext uri="{FF2B5EF4-FFF2-40B4-BE49-F238E27FC236}">
                <a16:creationId xmlns:a16="http://schemas.microsoft.com/office/drawing/2014/main" id="{2CF84F12-3576-4C8C-BC81-76765AED3804}"/>
              </a:ext>
            </a:extLst>
          </p:cNvPr>
          <p:cNvSpPr/>
          <p:nvPr/>
        </p:nvSpPr>
        <p:spPr bwMode="auto">
          <a:xfrm>
            <a:off x="5830760" y="3331523"/>
            <a:ext cx="2583656" cy="283021"/>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a:ln>
                  <a:noFill/>
                </a:ln>
                <a:solidFill>
                  <a:schemeClr val="tx1"/>
                </a:solidFill>
                <a:effectLst/>
                <a:latin typeface="Trebuchet MS" pitchFamily="34" charset="0"/>
              </a:rPr>
              <a:t>Other services (e.g. data science)</a:t>
            </a:r>
            <a:endParaRPr kumimoji="0" lang="en-GB" sz="1200" b="0" i="0" u="none" strike="noStrike" cap="none" normalizeH="0" baseline="0">
              <a:ln>
                <a:noFill/>
              </a:ln>
              <a:solidFill>
                <a:schemeClr val="tx1"/>
              </a:solidFill>
              <a:effectLst/>
              <a:latin typeface="Trebuchet MS" pitchFamily="34" charset="0"/>
            </a:endParaRPr>
          </a:p>
        </p:txBody>
      </p:sp>
      <p:sp>
        <p:nvSpPr>
          <p:cNvPr id="108" name="Freeform 9">
            <a:extLst>
              <a:ext uri="{FF2B5EF4-FFF2-40B4-BE49-F238E27FC236}">
                <a16:creationId xmlns:a16="http://schemas.microsoft.com/office/drawing/2014/main" id="{4B6D73F7-F12F-427C-BFC4-676ED1BE4232}"/>
              </a:ext>
            </a:extLst>
          </p:cNvPr>
          <p:cNvSpPr>
            <a:spLocks noEditPoints="1"/>
          </p:cNvSpPr>
          <p:nvPr/>
        </p:nvSpPr>
        <p:spPr bwMode="auto">
          <a:xfrm>
            <a:off x="8960868" y="3596468"/>
            <a:ext cx="224594" cy="245165"/>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113" name="ZoneTexte 57">
            <a:extLst>
              <a:ext uri="{FF2B5EF4-FFF2-40B4-BE49-F238E27FC236}">
                <a16:creationId xmlns:a16="http://schemas.microsoft.com/office/drawing/2014/main" id="{F6E625FF-664F-4EAC-A4AA-2056644711D0}"/>
              </a:ext>
            </a:extLst>
          </p:cNvPr>
          <p:cNvSpPr txBox="1"/>
          <p:nvPr/>
        </p:nvSpPr>
        <p:spPr>
          <a:xfrm>
            <a:off x="8900277" y="3735518"/>
            <a:ext cx="792888" cy="123111"/>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i="1">
                <a:solidFill>
                  <a:schemeClr val="accent1"/>
                </a:solidFill>
                <a:latin typeface="Trebuchet MS" panose="020B0603020202020204" pitchFamily="34" charset="0"/>
              </a:rPr>
              <a:t>See page 75</a:t>
            </a:r>
          </a:p>
        </p:txBody>
      </p:sp>
    </p:spTree>
    <p:extLst>
      <p:ext uri="{BB962C8B-B14F-4D97-AF65-F5344CB8AC3E}">
        <p14:creationId xmlns:p14="http://schemas.microsoft.com/office/powerpoint/2010/main" val="1880852289"/>
      </p:ext>
    </p:extLst>
  </p:cSld>
  <p:clrMapOvr>
    <a:masterClrMapping/>
  </p:clrMapOv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t 24" hidden="1">
            <a:extLst>
              <a:ext uri="{FF2B5EF4-FFF2-40B4-BE49-F238E27FC236}">
                <a16:creationId xmlns:a16="http://schemas.microsoft.com/office/drawing/2014/main" id="{11489E68-3C6E-41BD-9EBC-3F8B08057EBB}"/>
              </a:ext>
            </a:extLst>
          </p:cNvPr>
          <p:cNvGraphicFramePr>
            <a:graphicFrameLocks noChangeAspect="1"/>
          </p:cNvGraphicFramePr>
          <p:nvPr>
            <p:custDataLst>
              <p:tags r:id="rId1"/>
            </p:custDataLst>
            <p:extLst>
              <p:ext uri="{D42A27DB-BD31-4B8C-83A1-F6EECF244321}">
                <p14:modId xmlns:p14="http://schemas.microsoft.com/office/powerpoint/2010/main" val="3506088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25" name="Objet 24" hidden="1">
                        <a:extLst>
                          <a:ext uri="{FF2B5EF4-FFF2-40B4-BE49-F238E27FC236}">
                            <a16:creationId xmlns:a16="http://schemas.microsoft.com/office/drawing/2014/main" id="{11489E68-3C6E-41BD-9EBC-3F8B08057E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Rectangle 23" hidden="1">
            <a:extLst>
              <a:ext uri="{FF2B5EF4-FFF2-40B4-BE49-F238E27FC236}">
                <a16:creationId xmlns:a16="http://schemas.microsoft.com/office/drawing/2014/main" id="{52DBE8B7-9448-4D59-B647-5F671EAC1D30}"/>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48" name="Rectangle 47">
            <a:extLst>
              <a:ext uri="{FF2B5EF4-FFF2-40B4-BE49-F238E27FC236}">
                <a16:creationId xmlns:a16="http://schemas.microsoft.com/office/drawing/2014/main" id="{AA8D6570-96E9-476A-97D9-B06C69039E61}"/>
              </a:ext>
            </a:extLst>
          </p:cNvPr>
          <p:cNvSpPr/>
          <p:nvPr/>
        </p:nvSpPr>
        <p:spPr bwMode="auto">
          <a:xfrm>
            <a:off x="6292126" y="5187940"/>
            <a:ext cx="3460789" cy="934722"/>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2000" b="1" i="0" u="none" strike="noStrike" cap="none" normalizeH="0" baseline="0" dirty="0">
                <a:ln>
                  <a:noFill/>
                </a:ln>
                <a:solidFill>
                  <a:schemeClr val="tx2"/>
                </a:solidFill>
                <a:effectLst/>
                <a:latin typeface="Trebuchet MS" panose="020B0603020202020204" pitchFamily="34" charset="0"/>
              </a:rPr>
              <a:t>9.45 m€</a:t>
            </a:r>
          </a:p>
          <a:p>
            <a:pPr marL="0" marR="0" indent="0" algn="ctr" defTabSz="914400" rtl="0" eaLnBrk="1" fontAlgn="base" latinLnBrk="0" hangingPunct="1">
              <a:lnSpc>
                <a:spcPct val="100000"/>
              </a:lnSpc>
              <a:spcBef>
                <a:spcPct val="0"/>
              </a:spcBef>
              <a:spcAft>
                <a:spcPct val="0"/>
              </a:spcAft>
              <a:buClrTx/>
              <a:buSzTx/>
              <a:buFontTx/>
              <a:buNone/>
              <a:tabLst/>
            </a:pPr>
            <a:r>
              <a:rPr lang="en-GB" sz="1000" dirty="0">
                <a:solidFill>
                  <a:schemeClr val="tx2"/>
                </a:solidFill>
                <a:latin typeface="Trebuchet MS" panose="020B0603020202020204" pitchFamily="34" charset="0"/>
              </a:rPr>
              <a:t>Total </a:t>
            </a:r>
            <a:r>
              <a:rPr lang="en-GB" sz="1000" dirty="0" err="1">
                <a:solidFill>
                  <a:schemeClr val="tx2"/>
                </a:solidFill>
                <a:latin typeface="Trebuchet MS" panose="020B0603020202020204" pitchFamily="34" charset="0"/>
              </a:rPr>
              <a:t>Manageo</a:t>
            </a:r>
            <a:r>
              <a:rPr lang="en-GB" sz="1000" dirty="0">
                <a:solidFill>
                  <a:schemeClr val="tx2"/>
                </a:solidFill>
                <a:latin typeface="Trebuchet MS" panose="020B0603020202020204" pitchFamily="34" charset="0"/>
              </a:rPr>
              <a:t> sales for 2019</a:t>
            </a:r>
            <a:endParaRPr kumimoji="0" lang="en-GB" sz="1000" i="0" u="none" strike="noStrike" cap="none" normalizeH="0" baseline="0" dirty="0">
              <a:ln>
                <a:noFill/>
              </a:ln>
              <a:solidFill>
                <a:schemeClr val="tx2"/>
              </a:solidFill>
              <a:effectLst/>
              <a:latin typeface="Trebuchet MS" panose="020B0603020202020204" pitchFamily="34" charset="0"/>
            </a:endParaRPr>
          </a:p>
        </p:txBody>
      </p:sp>
      <p:sp>
        <p:nvSpPr>
          <p:cNvPr id="5" name="Titre 2">
            <a:extLst>
              <a:ext uri="{FF2B5EF4-FFF2-40B4-BE49-F238E27FC236}">
                <a16:creationId xmlns:a16="http://schemas.microsoft.com/office/drawing/2014/main" id="{B92CBBDC-D3DA-49FC-B9DD-5AB5AD1B9DCD}"/>
              </a:ext>
            </a:extLst>
          </p:cNvPr>
          <p:cNvSpPr>
            <a:spLocks noGrp="1"/>
          </p:cNvSpPr>
          <p:nvPr>
            <p:ph type="title"/>
          </p:nvPr>
        </p:nvSpPr>
        <p:spPr>
          <a:xfrm>
            <a:off x="602303" y="147600"/>
            <a:ext cx="7951461" cy="684000"/>
          </a:xfrm>
        </p:spPr>
        <p:txBody>
          <a:bodyPr/>
          <a:lstStyle/>
          <a:p>
            <a:r>
              <a:rPr lang="en-GB" i="1" dirty="0">
                <a:solidFill>
                  <a:schemeClr val="accent1"/>
                </a:solidFill>
                <a:latin typeface="Trebuchet MS" panose="020B0603020202020204" pitchFamily="34" charset="0"/>
              </a:rPr>
              <a:t>Illustration – </a:t>
            </a:r>
            <a:r>
              <a:rPr lang="en-GB" i="1" dirty="0" err="1">
                <a:solidFill>
                  <a:schemeClr val="accent1"/>
                </a:solidFill>
                <a:latin typeface="Trebuchet MS" panose="020B0603020202020204" pitchFamily="34" charset="0"/>
              </a:rPr>
              <a:t>Manageo</a:t>
            </a:r>
            <a:r>
              <a:rPr lang="en-GB" i="1" dirty="0">
                <a:solidFill>
                  <a:schemeClr val="accent1"/>
                </a:solidFill>
                <a:latin typeface="Trebuchet MS" panose="020B0603020202020204" pitchFamily="34" charset="0"/>
              </a:rPr>
              <a:t>: </a:t>
            </a:r>
            <a:r>
              <a:rPr lang="en-GB" dirty="0" err="1">
                <a:latin typeface="Trebuchet MS" panose="020B0603020202020204" pitchFamily="34" charset="0"/>
              </a:rPr>
              <a:t>Manageo</a:t>
            </a:r>
            <a:r>
              <a:rPr lang="en-GB" dirty="0">
                <a:latin typeface="Trebuchet MS" panose="020B0603020202020204" pitchFamily="34" charset="0"/>
              </a:rPr>
              <a:t> offers a </a:t>
            </a:r>
            <a:r>
              <a:rPr lang="en-GB" dirty="0">
                <a:solidFill>
                  <a:schemeClr val="tx2"/>
                </a:solidFill>
                <a:latin typeface="Trebuchet MS" panose="020B0603020202020204" pitchFamily="34" charset="0"/>
              </a:rPr>
              <a:t>wide range of B2B marketing </a:t>
            </a:r>
            <a:r>
              <a:rPr lang="en-GB" dirty="0">
                <a:latin typeface="Trebuchet MS" panose="020B0603020202020204" pitchFamily="34" charset="0"/>
              </a:rPr>
              <a:t>solutions from </a:t>
            </a:r>
            <a:r>
              <a:rPr lang="en-GB" dirty="0">
                <a:solidFill>
                  <a:schemeClr val="tx2"/>
                </a:solidFill>
                <a:latin typeface="Trebuchet MS" panose="020B0603020202020204" pitchFamily="34" charset="0"/>
              </a:rPr>
              <a:t>lead generation</a:t>
            </a:r>
            <a:r>
              <a:rPr lang="en-GB" dirty="0">
                <a:latin typeface="Trebuchet MS" panose="020B0603020202020204" pitchFamily="34" charset="0"/>
              </a:rPr>
              <a:t> to </a:t>
            </a:r>
            <a:r>
              <a:rPr lang="en-GB" dirty="0">
                <a:solidFill>
                  <a:schemeClr val="tx2"/>
                </a:solidFill>
                <a:latin typeface="Trebuchet MS" panose="020B0603020202020204" pitchFamily="34" charset="0"/>
              </a:rPr>
              <a:t>automated lead activation </a:t>
            </a:r>
            <a:r>
              <a:rPr lang="en-GB" dirty="0">
                <a:latin typeface="Trebuchet MS" panose="020B0603020202020204" pitchFamily="34" charset="0"/>
              </a:rPr>
              <a:t>with </a:t>
            </a:r>
            <a:r>
              <a:rPr lang="en-GB" dirty="0" err="1">
                <a:latin typeface="Trebuchet MS" panose="020B0603020202020204" pitchFamily="34" charset="0"/>
              </a:rPr>
              <a:t>mLead</a:t>
            </a:r>
            <a:r>
              <a:rPr lang="en-GB" dirty="0">
                <a:latin typeface="Trebuchet MS" panose="020B0603020202020204" pitchFamily="34" charset="0"/>
              </a:rPr>
              <a:t> and </a:t>
            </a:r>
            <a:r>
              <a:rPr lang="en-GB" dirty="0" err="1">
                <a:latin typeface="Trebuchet MS" panose="020B0603020202020204" pitchFamily="34" charset="0"/>
              </a:rPr>
              <a:t>mAds</a:t>
            </a:r>
            <a:endParaRPr lang="en-GB" dirty="0">
              <a:latin typeface="Trebuchet MS" panose="020B0603020202020204" pitchFamily="34" charset="0"/>
            </a:endParaRPr>
          </a:p>
        </p:txBody>
      </p:sp>
      <p:sp>
        <p:nvSpPr>
          <p:cNvPr id="3" name="Text Placeholder 2">
            <a:extLst>
              <a:ext uri="{FF2B5EF4-FFF2-40B4-BE49-F238E27FC236}">
                <a16:creationId xmlns:a16="http://schemas.microsoft.com/office/drawing/2014/main" id="{65CA96F7-CA10-4481-9DF6-1498853B642D}"/>
              </a:ext>
            </a:extLst>
          </p:cNvPr>
          <p:cNvSpPr>
            <a:spLocks noGrp="1"/>
          </p:cNvSpPr>
          <p:nvPr>
            <p:ph type="body" sz="quarter" idx="10"/>
          </p:nvPr>
        </p:nvSpPr>
        <p:spPr/>
        <p:txBody>
          <a:bodyPr/>
          <a:lstStyle/>
          <a:p>
            <a:r>
              <a:rPr lang="en-GB"/>
              <a:t>Sources: eleven research &amp; analysis, company data</a:t>
            </a:r>
          </a:p>
          <a:p>
            <a:endParaRPr lang="en-GB"/>
          </a:p>
        </p:txBody>
      </p:sp>
      <p:sp>
        <p:nvSpPr>
          <p:cNvPr id="6" name="Freeform 9">
            <a:extLst>
              <a:ext uri="{FF2B5EF4-FFF2-40B4-BE49-F238E27FC236}">
                <a16:creationId xmlns:a16="http://schemas.microsoft.com/office/drawing/2014/main" id="{A08CB02C-1F13-426C-9A27-761A5B092AA1}"/>
              </a:ext>
            </a:extLst>
          </p:cNvPr>
          <p:cNvSpPr>
            <a:spLocks noEditPoints="1"/>
          </p:cNvSpPr>
          <p:nvPr/>
        </p:nvSpPr>
        <p:spPr bwMode="auto">
          <a:xfrm>
            <a:off x="152836" y="229262"/>
            <a:ext cx="382759" cy="416927"/>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8" name="Chevron 69">
            <a:extLst>
              <a:ext uri="{FF2B5EF4-FFF2-40B4-BE49-F238E27FC236}">
                <a16:creationId xmlns:a16="http://schemas.microsoft.com/office/drawing/2014/main" id="{C57A8BE1-8A0D-48F7-A236-12639CC929B2}"/>
              </a:ext>
            </a:extLst>
          </p:cNvPr>
          <p:cNvSpPr/>
          <p:nvPr/>
        </p:nvSpPr>
        <p:spPr bwMode="auto">
          <a:xfrm>
            <a:off x="334888" y="1299088"/>
            <a:ext cx="1333855" cy="453179"/>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Data enrichment</a:t>
            </a:r>
            <a:endParaRPr kumimoji="0" lang="en-GB" sz="7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0" name="Chevron 69">
            <a:extLst>
              <a:ext uri="{FF2B5EF4-FFF2-40B4-BE49-F238E27FC236}">
                <a16:creationId xmlns:a16="http://schemas.microsoft.com/office/drawing/2014/main" id="{82280E75-A453-4336-99C5-67B9E5B781C7}"/>
              </a:ext>
            </a:extLst>
          </p:cNvPr>
          <p:cNvSpPr/>
          <p:nvPr/>
        </p:nvSpPr>
        <p:spPr bwMode="auto">
          <a:xfrm>
            <a:off x="1730599" y="1299087"/>
            <a:ext cx="1333855" cy="453179"/>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Prospect identification</a:t>
            </a:r>
            <a:endParaRPr kumimoji="0" lang="en-GB" sz="7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2" name="Chevron 69">
            <a:extLst>
              <a:ext uri="{FF2B5EF4-FFF2-40B4-BE49-F238E27FC236}">
                <a16:creationId xmlns:a16="http://schemas.microsoft.com/office/drawing/2014/main" id="{1FD3B1A6-41FB-41D7-AAFE-03B600C05D7C}"/>
              </a:ext>
            </a:extLst>
          </p:cNvPr>
          <p:cNvSpPr/>
          <p:nvPr/>
        </p:nvSpPr>
        <p:spPr bwMode="auto">
          <a:xfrm>
            <a:off x="3126310" y="1299087"/>
            <a:ext cx="1333855" cy="453179"/>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Prospec</a:t>
            </a:r>
            <a:r>
              <a:rPr lang="en-GB" sz="1000" b="1" i="1">
                <a:solidFill>
                  <a:schemeClr val="bg1"/>
                </a:solidFill>
                <a:latin typeface="Trebuchet MS" panose="020B0603020202020204" pitchFamily="34" charset="0"/>
              </a:rPr>
              <a:t>t scoring</a:t>
            </a:r>
            <a:endParaRPr kumimoji="0" lang="en-GB" sz="5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4" name="Chevron 69">
            <a:extLst>
              <a:ext uri="{FF2B5EF4-FFF2-40B4-BE49-F238E27FC236}">
                <a16:creationId xmlns:a16="http://schemas.microsoft.com/office/drawing/2014/main" id="{73B895DB-AC46-4872-9A0D-4CB7F15DBD29}"/>
              </a:ext>
            </a:extLst>
          </p:cNvPr>
          <p:cNvSpPr/>
          <p:nvPr/>
        </p:nvSpPr>
        <p:spPr bwMode="auto">
          <a:xfrm>
            <a:off x="4522022" y="1299086"/>
            <a:ext cx="1333855" cy="453179"/>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Ad campaign automation</a:t>
            </a:r>
            <a:endParaRPr kumimoji="0" lang="en-GB" sz="5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5" name="Rectangle à coins arrondis 28">
            <a:extLst>
              <a:ext uri="{FF2B5EF4-FFF2-40B4-BE49-F238E27FC236}">
                <a16:creationId xmlns:a16="http://schemas.microsoft.com/office/drawing/2014/main" id="{7D8F9A26-EDD8-435F-872F-97BDEF91133A}"/>
              </a:ext>
            </a:extLst>
          </p:cNvPr>
          <p:cNvSpPr/>
          <p:nvPr/>
        </p:nvSpPr>
        <p:spPr bwMode="auto">
          <a:xfrm>
            <a:off x="344215" y="1930224"/>
            <a:ext cx="2616699" cy="934722"/>
          </a:xfrm>
          <a:prstGeom prst="roundRect">
            <a:avLst/>
          </a:prstGeom>
          <a:solidFill>
            <a:schemeClr val="bg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46800" rIns="0" bIns="45720" numCol="1" rtlCol="0" anchor="b" anchorCtr="0" compatLnSpc="1">
            <a:prstTxWarp prst="textNoShape">
              <a:avLst/>
            </a:prstTxWarp>
          </a:bodyPr>
          <a:lstStyle/>
          <a:p>
            <a:pPr algn="ctr"/>
            <a:r>
              <a:rPr lang="en-GB" sz="1000">
                <a:latin typeface="Trebuchet MS" panose="020B0603020202020204" pitchFamily="34" charset="0"/>
              </a:rPr>
              <a:t>Free website to find financial and legal information about French firms.</a:t>
            </a:r>
          </a:p>
        </p:txBody>
      </p:sp>
      <p:pic>
        <p:nvPicPr>
          <p:cNvPr id="1026" name="Picture 2" descr="manageo.fr : informations entreprises, siret, bilans">
            <a:extLst>
              <a:ext uri="{FF2B5EF4-FFF2-40B4-BE49-F238E27FC236}">
                <a16:creationId xmlns:a16="http://schemas.microsoft.com/office/drawing/2014/main" id="{19E2152A-F9A4-4D32-8B8E-9AB57EC30B0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9302" y="2007365"/>
            <a:ext cx="1342595" cy="413106"/>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à coins arrondis 28">
            <a:extLst>
              <a:ext uri="{FF2B5EF4-FFF2-40B4-BE49-F238E27FC236}">
                <a16:creationId xmlns:a16="http://schemas.microsoft.com/office/drawing/2014/main" id="{D7F9D24A-267A-4D3A-AD93-E4A81173FBE7}"/>
              </a:ext>
            </a:extLst>
          </p:cNvPr>
          <p:cNvSpPr/>
          <p:nvPr/>
        </p:nvSpPr>
        <p:spPr bwMode="auto">
          <a:xfrm>
            <a:off x="360395" y="4095156"/>
            <a:ext cx="1203626" cy="934722"/>
          </a:xfrm>
          <a:prstGeom prst="roundRect">
            <a:avLst/>
          </a:prstGeom>
          <a:solidFill>
            <a:srgbClr val="C6EFFF"/>
          </a:solidFill>
          <a:ln w="3175" cap="flat" cmpd="sng" algn="ctr">
            <a:solidFill>
              <a:schemeClr val="accent1"/>
            </a:solidFill>
            <a:prstDash val="sysDot"/>
            <a:round/>
            <a:headEnd type="none" w="med" len="med"/>
            <a:tailEnd type="none" w="med" len="med"/>
          </a:ln>
          <a:effectLst/>
        </p:spPr>
        <p:txBody>
          <a:bodyPr vert="horz" wrap="square" lIns="0" tIns="46800" rIns="0" bIns="45720" numCol="1" rtlCol="0" anchor="b" anchorCtr="0" compatLnSpc="1">
            <a:prstTxWarp prst="textNoShape">
              <a:avLst/>
            </a:prstTxWarp>
          </a:bodyPr>
          <a:lstStyle/>
          <a:p>
            <a:pPr algn="ctr"/>
            <a:r>
              <a:rPr lang="en-GB" sz="1000" dirty="0">
                <a:latin typeface="Trebuchet MS" panose="020B0603020202020204" pitchFamily="34" charset="0"/>
              </a:rPr>
              <a:t>API to automate data enrichment for clients</a:t>
            </a:r>
          </a:p>
        </p:txBody>
      </p:sp>
      <p:sp>
        <p:nvSpPr>
          <p:cNvPr id="17" name="Rectangle à coins arrondis 28">
            <a:extLst>
              <a:ext uri="{FF2B5EF4-FFF2-40B4-BE49-F238E27FC236}">
                <a16:creationId xmlns:a16="http://schemas.microsoft.com/office/drawing/2014/main" id="{E7AE1134-0B25-41A9-87E8-21696D9A2FF3}"/>
              </a:ext>
            </a:extLst>
          </p:cNvPr>
          <p:cNvSpPr/>
          <p:nvPr/>
        </p:nvSpPr>
        <p:spPr bwMode="auto">
          <a:xfrm>
            <a:off x="360395" y="5187940"/>
            <a:ext cx="1203626" cy="934722"/>
          </a:xfrm>
          <a:prstGeom prst="roundRect">
            <a:avLst/>
          </a:prstGeom>
          <a:solidFill>
            <a:srgbClr val="F2F2F2"/>
          </a:solidFill>
          <a:ln w="3175" cap="flat" cmpd="sng" algn="ctr">
            <a:solidFill>
              <a:schemeClr val="tx1"/>
            </a:solidFill>
            <a:prstDash val="sysDot"/>
            <a:round/>
            <a:headEnd type="none" w="med" len="med"/>
            <a:tailEnd type="none" w="med" len="med"/>
          </a:ln>
          <a:effectLst/>
        </p:spPr>
        <p:txBody>
          <a:bodyPr vert="horz" wrap="square" lIns="0" tIns="0" rIns="0" bIns="45720" numCol="1" rtlCol="0" anchor="t" anchorCtr="0" compatLnSpc="1">
            <a:prstTxWarp prst="textNoShape">
              <a:avLst/>
            </a:prstTxWarp>
          </a:bodyPr>
          <a:lstStyle/>
          <a:p>
            <a:pPr algn="ctr">
              <a:spcBef>
                <a:spcPts val="600"/>
              </a:spcBef>
            </a:pPr>
            <a:r>
              <a:rPr lang="en-GB" sz="1000" dirty="0" err="1">
                <a:solidFill>
                  <a:srgbClr val="FF0000"/>
                </a:solidFill>
                <a:latin typeface="Trebuchet MS" panose="020B0603020202020204" pitchFamily="34" charset="0"/>
              </a:rPr>
              <a:t>m</a:t>
            </a:r>
            <a:r>
              <a:rPr lang="en-GB" sz="1000" dirty="0" err="1">
                <a:solidFill>
                  <a:srgbClr val="0070C0"/>
                </a:solidFill>
                <a:latin typeface="Trebuchet MS" panose="020B0603020202020204" pitchFamily="34" charset="0"/>
              </a:rPr>
              <a:t>Data</a:t>
            </a:r>
            <a:endParaRPr lang="en-GB" sz="1000" dirty="0">
              <a:latin typeface="Trebuchet MS" pitchFamily="34" charset="0"/>
            </a:endParaRPr>
          </a:p>
          <a:p>
            <a:pPr algn="ctr">
              <a:spcBef>
                <a:spcPts val="600"/>
              </a:spcBef>
            </a:pPr>
            <a:r>
              <a:rPr lang="en-GB" sz="1000" dirty="0">
                <a:latin typeface="Trebuchet MS" pitchFamily="34" charset="0"/>
              </a:rPr>
              <a:t>Batch solution for data enrichment in clients’ CRM platforms</a:t>
            </a:r>
          </a:p>
        </p:txBody>
      </p:sp>
      <p:pic>
        <p:nvPicPr>
          <p:cNvPr id="4" name="Picture 3">
            <a:extLst>
              <a:ext uri="{FF2B5EF4-FFF2-40B4-BE49-F238E27FC236}">
                <a16:creationId xmlns:a16="http://schemas.microsoft.com/office/drawing/2014/main" id="{18F02C43-0B82-4AFB-B5B8-08D0CA39D26A}"/>
              </a:ext>
            </a:extLst>
          </p:cNvPr>
          <p:cNvPicPr>
            <a:picLocks noChangeAspect="1"/>
          </p:cNvPicPr>
          <p:nvPr/>
        </p:nvPicPr>
        <p:blipFill>
          <a:blip r:embed="rId7">
            <a:clrChange>
              <a:clrFrom>
                <a:srgbClr val="FFFFFF"/>
              </a:clrFrom>
              <a:clrTo>
                <a:srgbClr val="FFFFFF">
                  <a:alpha val="0"/>
                </a:srgbClr>
              </a:clrTo>
            </a:clrChange>
            <a:extLst>
              <a:ext uri="{BEBA8EAE-BF5A-486C-A8C5-ECC9F3942E4B}">
                <a14:imgProps xmlns:a14="http://schemas.microsoft.com/office/drawing/2010/main">
                  <a14:imgLayer r:embed="rId8">
                    <a14:imgEffect>
                      <a14:saturation sat="0"/>
                    </a14:imgEffect>
                  </a14:imgLayer>
                </a14:imgProps>
              </a:ext>
            </a:extLst>
          </a:blip>
          <a:stretch>
            <a:fillRect/>
          </a:stretch>
        </p:blipFill>
        <p:spPr>
          <a:xfrm>
            <a:off x="602304" y="4148011"/>
            <a:ext cx="719808" cy="293799"/>
          </a:xfrm>
          <a:prstGeom prst="rect">
            <a:avLst/>
          </a:prstGeom>
        </p:spPr>
      </p:pic>
      <p:sp>
        <p:nvSpPr>
          <p:cNvPr id="21" name="Rectangle à coins arrondis 28">
            <a:extLst>
              <a:ext uri="{FF2B5EF4-FFF2-40B4-BE49-F238E27FC236}">
                <a16:creationId xmlns:a16="http://schemas.microsoft.com/office/drawing/2014/main" id="{975CD06F-B42A-40DD-A47F-DCFA1C69C168}"/>
              </a:ext>
            </a:extLst>
          </p:cNvPr>
          <p:cNvSpPr/>
          <p:nvPr/>
        </p:nvSpPr>
        <p:spPr bwMode="auto">
          <a:xfrm>
            <a:off x="1756105" y="4095156"/>
            <a:ext cx="2616698" cy="934722"/>
          </a:xfrm>
          <a:prstGeom prst="roundRect">
            <a:avLst/>
          </a:prstGeom>
          <a:solidFill>
            <a:schemeClr val="bg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0" rIns="0" bIns="45720" numCol="1" rtlCol="0" anchor="t" anchorCtr="0" compatLnSpc="1">
            <a:prstTxWarp prst="textNoShape">
              <a:avLst/>
            </a:prstTxWarp>
          </a:bodyPr>
          <a:lstStyle/>
          <a:p>
            <a:pPr algn="ctr">
              <a:spcBef>
                <a:spcPts val="600"/>
              </a:spcBef>
            </a:pPr>
            <a:r>
              <a:rPr lang="en-GB" sz="1000" err="1">
                <a:solidFill>
                  <a:schemeClr val="accent1">
                    <a:lumMod val="60000"/>
                    <a:lumOff val="40000"/>
                  </a:schemeClr>
                </a:solidFill>
                <a:latin typeface="Trebuchet MS" panose="020B0603020202020204" pitchFamily="34" charset="0"/>
              </a:rPr>
              <a:t>m</a:t>
            </a:r>
            <a:r>
              <a:rPr lang="en-GB" sz="1000" err="1">
                <a:solidFill>
                  <a:srgbClr val="0070C0"/>
                </a:solidFill>
                <a:latin typeface="Trebuchet MS" panose="020B0603020202020204" pitchFamily="34" charset="0"/>
              </a:rPr>
              <a:t>Detect</a:t>
            </a:r>
            <a:endParaRPr lang="en-GB" sz="1000">
              <a:latin typeface="Trebuchet MS" pitchFamily="34" charset="0"/>
            </a:endParaRPr>
          </a:p>
          <a:p>
            <a:pPr algn="ctr">
              <a:spcBef>
                <a:spcPts val="600"/>
              </a:spcBef>
            </a:pPr>
            <a:r>
              <a:rPr lang="en-GB" sz="1000">
                <a:latin typeface="Trebuchet MS" pitchFamily="34" charset="0"/>
              </a:rPr>
              <a:t>“</a:t>
            </a:r>
            <a:r>
              <a:rPr lang="en-GB" sz="1000" err="1">
                <a:latin typeface="Trebuchet MS" panose="020B0603020202020204" pitchFamily="34" charset="0"/>
              </a:rPr>
              <a:t>Cookization</a:t>
            </a:r>
            <a:r>
              <a:rPr lang="en-GB" sz="1000">
                <a:latin typeface="Trebuchet MS" panose="020B0603020202020204" pitchFamily="34" charset="0"/>
              </a:rPr>
              <a:t>” of website to detect qualified lead 	 </a:t>
            </a:r>
          </a:p>
        </p:txBody>
      </p:sp>
      <p:cxnSp>
        <p:nvCxnSpPr>
          <p:cNvPr id="2" name="Connecteur droit 208">
            <a:extLst>
              <a:ext uri="{FF2B5EF4-FFF2-40B4-BE49-F238E27FC236}">
                <a16:creationId xmlns:a16="http://schemas.microsoft.com/office/drawing/2014/main" id="{74565002-DE8E-402C-B6C6-50804F776870}"/>
              </a:ext>
            </a:extLst>
          </p:cNvPr>
          <p:cNvCxnSpPr>
            <a:cxnSpLocks/>
          </p:cNvCxnSpPr>
          <p:nvPr/>
        </p:nvCxnSpPr>
        <p:spPr bwMode="auto">
          <a:xfrm>
            <a:off x="282242" y="1044226"/>
            <a:ext cx="5573635"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9" name="Rectangle 84">
            <a:extLst>
              <a:ext uri="{FF2B5EF4-FFF2-40B4-BE49-F238E27FC236}">
                <a16:creationId xmlns:a16="http://schemas.microsoft.com/office/drawing/2014/main" id="{7BE049E8-0A40-4EDC-8728-3737DE9613BE}"/>
              </a:ext>
            </a:extLst>
          </p:cNvPr>
          <p:cNvSpPr/>
          <p:nvPr/>
        </p:nvSpPr>
        <p:spPr bwMode="auto">
          <a:xfrm>
            <a:off x="2034897" y="912477"/>
            <a:ext cx="2068324" cy="229151"/>
          </a:xfrm>
          <a:prstGeom prst="rect">
            <a:avLst/>
          </a:prstGeom>
          <a:solidFill>
            <a:schemeClr val="bg1"/>
          </a:solidFill>
        </p:spPr>
        <p:txBody>
          <a:bodyPr wrap="square" rtlCol="0">
            <a:noAutofit/>
          </a:bodyPr>
          <a:lstStyle/>
          <a:p>
            <a:pPr algn="ctr"/>
            <a:r>
              <a:rPr lang="en-GB" sz="1100" err="1">
                <a:latin typeface="Trebuchet MS" panose="020B0603020202020204" pitchFamily="34" charset="0"/>
              </a:rPr>
              <a:t>Manageo’s</a:t>
            </a:r>
            <a:r>
              <a:rPr lang="en-GB" sz="1100">
                <a:latin typeface="Trebuchet MS" panose="020B0603020202020204" pitchFamily="34" charset="0"/>
              </a:rPr>
              <a:t> offer overview</a:t>
            </a:r>
          </a:p>
        </p:txBody>
      </p:sp>
      <p:cxnSp>
        <p:nvCxnSpPr>
          <p:cNvPr id="26" name="Connecteur droit 208">
            <a:extLst>
              <a:ext uri="{FF2B5EF4-FFF2-40B4-BE49-F238E27FC236}">
                <a16:creationId xmlns:a16="http://schemas.microsoft.com/office/drawing/2014/main" id="{B69DB124-E003-45AC-9BD9-816989BC32F4}"/>
              </a:ext>
            </a:extLst>
          </p:cNvPr>
          <p:cNvCxnSpPr>
            <a:cxnSpLocks/>
          </p:cNvCxnSpPr>
          <p:nvPr/>
        </p:nvCxnSpPr>
        <p:spPr bwMode="auto">
          <a:xfrm>
            <a:off x="6292126" y="1044226"/>
            <a:ext cx="346078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7" name="Rectangle 84">
            <a:extLst>
              <a:ext uri="{FF2B5EF4-FFF2-40B4-BE49-F238E27FC236}">
                <a16:creationId xmlns:a16="http://schemas.microsoft.com/office/drawing/2014/main" id="{111E6808-C8DC-4E32-AFD0-B27629D13FF8}"/>
              </a:ext>
            </a:extLst>
          </p:cNvPr>
          <p:cNvSpPr/>
          <p:nvPr/>
        </p:nvSpPr>
        <p:spPr bwMode="auto">
          <a:xfrm>
            <a:off x="6988358" y="817637"/>
            <a:ext cx="2068324" cy="453177"/>
          </a:xfrm>
          <a:prstGeom prst="rect">
            <a:avLst/>
          </a:prstGeom>
          <a:solidFill>
            <a:schemeClr val="bg1"/>
          </a:solidFill>
        </p:spPr>
        <p:txBody>
          <a:bodyPr wrap="square" rtlCol="0">
            <a:noAutofit/>
          </a:bodyPr>
          <a:lstStyle/>
          <a:p>
            <a:pPr algn="ctr"/>
            <a:r>
              <a:rPr lang="en-GB" sz="1100" dirty="0" err="1">
                <a:latin typeface="Trebuchet MS" panose="020B0603020202020204" pitchFamily="34" charset="0"/>
              </a:rPr>
              <a:t>Manageo’s</a:t>
            </a:r>
            <a:r>
              <a:rPr lang="en-GB" sz="1100" dirty="0">
                <a:latin typeface="Trebuchet MS" panose="020B0603020202020204" pitchFamily="34" charset="0"/>
              </a:rPr>
              <a:t> revenue split by products (2019)</a:t>
            </a:r>
          </a:p>
        </p:txBody>
      </p:sp>
      <p:sp>
        <p:nvSpPr>
          <p:cNvPr id="29" name="Rectangle à coins arrondis 28">
            <a:extLst>
              <a:ext uri="{FF2B5EF4-FFF2-40B4-BE49-F238E27FC236}">
                <a16:creationId xmlns:a16="http://schemas.microsoft.com/office/drawing/2014/main" id="{5578C47B-67E1-40F1-99D3-F9917BBB2948}"/>
              </a:ext>
            </a:extLst>
          </p:cNvPr>
          <p:cNvSpPr/>
          <p:nvPr/>
        </p:nvSpPr>
        <p:spPr bwMode="auto">
          <a:xfrm>
            <a:off x="1980517" y="3165187"/>
            <a:ext cx="3277914" cy="585755"/>
          </a:xfrm>
          <a:prstGeom prst="roundRect">
            <a:avLst/>
          </a:prstGeom>
          <a:solidFill>
            <a:schemeClr val="bg2">
              <a:lumMod val="20000"/>
              <a:lumOff val="80000"/>
              <a:alpha val="48000"/>
            </a:schemeClr>
          </a:solidFill>
          <a:ln w="3175" cap="flat" cmpd="sng" algn="ctr">
            <a:solidFill>
              <a:schemeClr val="tx2"/>
            </a:solidFill>
            <a:prstDash val="lgDash"/>
            <a:round/>
            <a:headEnd type="none" w="med" len="med"/>
            <a:tailEnd type="none" w="med" len="med"/>
          </a:ln>
          <a:effectLst/>
        </p:spPr>
        <p:txBody>
          <a:bodyPr vert="horz" wrap="square" lIns="0" tIns="0" rIns="0" bIns="45720" numCol="1" rtlCol="0" anchor="t" anchorCtr="0" compatLnSpc="1">
            <a:prstTxWarp prst="textNoShape">
              <a:avLst/>
            </a:prstTxWarp>
          </a:bodyPr>
          <a:lstStyle/>
          <a:p>
            <a:pPr algn="ctr">
              <a:spcBef>
                <a:spcPts val="600"/>
              </a:spcBef>
            </a:pPr>
            <a:r>
              <a:rPr lang="en-GB" sz="1000" err="1">
                <a:solidFill>
                  <a:srgbClr val="92D050"/>
                </a:solidFill>
                <a:latin typeface="Trebuchet MS" panose="020B0603020202020204" pitchFamily="34" charset="0"/>
              </a:rPr>
              <a:t>m</a:t>
            </a:r>
            <a:r>
              <a:rPr lang="en-GB" sz="1000" err="1">
                <a:solidFill>
                  <a:srgbClr val="0070C0"/>
                </a:solidFill>
                <a:latin typeface="Trebuchet MS" panose="020B0603020202020204" pitchFamily="34" charset="0"/>
              </a:rPr>
              <a:t>Lead</a:t>
            </a:r>
            <a:endParaRPr lang="en-GB" sz="1000">
              <a:latin typeface="Trebuchet MS" pitchFamily="34" charset="0"/>
            </a:endParaRPr>
          </a:p>
          <a:p>
            <a:pPr algn="ctr">
              <a:spcBef>
                <a:spcPts val="600"/>
              </a:spcBef>
            </a:pPr>
            <a:r>
              <a:rPr lang="en-GB" sz="1000">
                <a:latin typeface="Trebuchet MS" pitchFamily="34" charset="0"/>
              </a:rPr>
              <a:t>Multi-canal solution for qualified lead generation</a:t>
            </a:r>
          </a:p>
        </p:txBody>
      </p:sp>
      <p:sp>
        <p:nvSpPr>
          <p:cNvPr id="32" name="Rectangle à coins arrondis 28">
            <a:extLst>
              <a:ext uri="{FF2B5EF4-FFF2-40B4-BE49-F238E27FC236}">
                <a16:creationId xmlns:a16="http://schemas.microsoft.com/office/drawing/2014/main" id="{F2C9E351-C4B6-4595-A9FD-D4DFE526E1EC}"/>
              </a:ext>
            </a:extLst>
          </p:cNvPr>
          <p:cNvSpPr/>
          <p:nvPr/>
        </p:nvSpPr>
        <p:spPr bwMode="auto">
          <a:xfrm>
            <a:off x="4522022" y="1930224"/>
            <a:ext cx="1203626" cy="934722"/>
          </a:xfrm>
          <a:prstGeom prst="roundRect">
            <a:avLst/>
          </a:prstGeom>
          <a:solidFill>
            <a:schemeClr val="bg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0" rIns="0" bIns="45720" numCol="1" rtlCol="0" anchor="t" anchorCtr="0" compatLnSpc="1">
            <a:prstTxWarp prst="textNoShape">
              <a:avLst/>
            </a:prstTxWarp>
          </a:bodyPr>
          <a:lstStyle/>
          <a:p>
            <a:pPr algn="ctr">
              <a:spcBef>
                <a:spcPts val="600"/>
              </a:spcBef>
            </a:pPr>
            <a:r>
              <a:rPr lang="en-GB" sz="1000" err="1">
                <a:solidFill>
                  <a:srgbClr val="FFC000"/>
                </a:solidFill>
                <a:latin typeface="Trebuchet MS" panose="020B0603020202020204" pitchFamily="34" charset="0"/>
              </a:rPr>
              <a:t>m</a:t>
            </a:r>
            <a:r>
              <a:rPr lang="en-GB" sz="1000" err="1">
                <a:solidFill>
                  <a:srgbClr val="0070C0"/>
                </a:solidFill>
                <a:latin typeface="Trebuchet MS" panose="020B0603020202020204" pitchFamily="34" charset="0"/>
              </a:rPr>
              <a:t>Ads</a:t>
            </a:r>
            <a:endParaRPr lang="en-GB" sz="1000">
              <a:latin typeface="Trebuchet MS" pitchFamily="34" charset="0"/>
            </a:endParaRPr>
          </a:p>
          <a:p>
            <a:pPr algn="ctr">
              <a:spcBef>
                <a:spcPts val="600"/>
              </a:spcBef>
            </a:pPr>
            <a:r>
              <a:rPr lang="en-GB" sz="1000">
                <a:latin typeface="Trebuchet MS" pitchFamily="34" charset="0"/>
              </a:rPr>
              <a:t>Programmatic campaign to increase visibility</a:t>
            </a:r>
          </a:p>
        </p:txBody>
      </p:sp>
      <p:sp>
        <p:nvSpPr>
          <p:cNvPr id="36" name="Rectangle à coins arrondis 28">
            <a:extLst>
              <a:ext uri="{FF2B5EF4-FFF2-40B4-BE49-F238E27FC236}">
                <a16:creationId xmlns:a16="http://schemas.microsoft.com/office/drawing/2014/main" id="{3B4DFAB3-E74F-46F1-ADBD-9BBBC66CD2F6}"/>
              </a:ext>
            </a:extLst>
          </p:cNvPr>
          <p:cNvSpPr/>
          <p:nvPr/>
        </p:nvSpPr>
        <p:spPr bwMode="auto">
          <a:xfrm>
            <a:off x="360395" y="3002372"/>
            <a:ext cx="1203626" cy="934722"/>
          </a:xfrm>
          <a:prstGeom prst="roundRect">
            <a:avLst/>
          </a:prstGeom>
          <a:solidFill>
            <a:schemeClr val="bg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0" rIns="0" bIns="45720" numCol="1" rtlCol="0" anchor="t" anchorCtr="0" compatLnSpc="1">
            <a:prstTxWarp prst="textNoShape">
              <a:avLst/>
            </a:prstTxWarp>
          </a:bodyPr>
          <a:lstStyle/>
          <a:p>
            <a:pPr algn="ctr">
              <a:spcBef>
                <a:spcPts val="600"/>
              </a:spcBef>
            </a:pPr>
            <a:r>
              <a:rPr lang="en-GB" sz="1000" err="1">
                <a:solidFill>
                  <a:schemeClr val="tx1">
                    <a:lumMod val="50000"/>
                  </a:schemeClr>
                </a:solidFill>
                <a:latin typeface="Trebuchet MS" panose="020B0603020202020204" pitchFamily="34" charset="0"/>
              </a:rPr>
              <a:t>m</a:t>
            </a:r>
            <a:r>
              <a:rPr lang="en-GB" sz="1000" err="1">
                <a:solidFill>
                  <a:srgbClr val="0070C0"/>
                </a:solidFill>
                <a:latin typeface="Trebuchet MS" panose="020B0603020202020204" pitchFamily="34" charset="0"/>
              </a:rPr>
              <a:t>List</a:t>
            </a:r>
            <a:endParaRPr lang="en-GB" sz="1000">
              <a:latin typeface="Trebuchet MS" pitchFamily="34" charset="0"/>
            </a:endParaRPr>
          </a:p>
          <a:p>
            <a:pPr algn="ctr">
              <a:spcBef>
                <a:spcPts val="600"/>
              </a:spcBef>
            </a:pPr>
            <a:r>
              <a:rPr lang="en-GB" sz="1000">
                <a:latin typeface="Trebuchet MS" pitchFamily="34" charset="0"/>
              </a:rPr>
              <a:t>Platform for lead generation</a:t>
            </a:r>
          </a:p>
        </p:txBody>
      </p:sp>
      <p:graphicFrame>
        <p:nvGraphicFramePr>
          <p:cNvPr id="38" name="Chart 37">
            <a:extLst>
              <a:ext uri="{FF2B5EF4-FFF2-40B4-BE49-F238E27FC236}">
                <a16:creationId xmlns:a16="http://schemas.microsoft.com/office/drawing/2014/main" id="{923B439A-710D-43EE-A5A0-ADDA535E9B96}"/>
              </a:ext>
            </a:extLst>
          </p:cNvPr>
          <p:cNvGraphicFramePr/>
          <p:nvPr/>
        </p:nvGraphicFramePr>
        <p:xfrm>
          <a:off x="6744132" y="986013"/>
          <a:ext cx="2678292" cy="4111083"/>
        </p:xfrm>
        <a:graphic>
          <a:graphicData uri="http://schemas.openxmlformats.org/drawingml/2006/chart">
            <c:chart xmlns:c="http://schemas.openxmlformats.org/drawingml/2006/chart" xmlns:r="http://schemas.openxmlformats.org/officeDocument/2006/relationships" r:id="rId9"/>
          </a:graphicData>
        </a:graphic>
      </p:graphicFrame>
      <p:pic>
        <p:nvPicPr>
          <p:cNvPr id="11" name="Graphic 10" descr="Bar chart">
            <a:extLst>
              <a:ext uri="{FF2B5EF4-FFF2-40B4-BE49-F238E27FC236}">
                <a16:creationId xmlns:a16="http://schemas.microsoft.com/office/drawing/2014/main" id="{7401942E-249D-4A69-9F77-FF28725FDCA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524344" y="5446062"/>
            <a:ext cx="452354" cy="452354"/>
          </a:xfrm>
          <a:prstGeom prst="rect">
            <a:avLst/>
          </a:prstGeom>
        </p:spPr>
      </p:pic>
      <p:sp>
        <p:nvSpPr>
          <p:cNvPr id="34" name="Triangle isocèle 33">
            <a:extLst>
              <a:ext uri="{FF2B5EF4-FFF2-40B4-BE49-F238E27FC236}">
                <a16:creationId xmlns:a16="http://schemas.microsoft.com/office/drawing/2014/main" id="{B77290E0-A5D8-41DA-B0C0-216F93A4EDB1}"/>
              </a:ext>
            </a:extLst>
          </p:cNvPr>
          <p:cNvSpPr/>
          <p:nvPr/>
        </p:nvSpPr>
        <p:spPr bwMode="auto">
          <a:xfrm rot="5400000">
            <a:off x="5850158" y="3813468"/>
            <a:ext cx="545903" cy="12318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35" name="Connecteur droit 34">
            <a:extLst>
              <a:ext uri="{FF2B5EF4-FFF2-40B4-BE49-F238E27FC236}">
                <a16:creationId xmlns:a16="http://schemas.microsoft.com/office/drawing/2014/main" id="{CB73F4EF-D399-4795-88A3-7A38AEEBE3B2}"/>
              </a:ext>
            </a:extLst>
          </p:cNvPr>
          <p:cNvCxnSpPr>
            <a:cxnSpLocks/>
          </p:cNvCxnSpPr>
          <p:nvPr/>
        </p:nvCxnSpPr>
        <p:spPr bwMode="auto">
          <a:xfrm>
            <a:off x="6052872" y="1199257"/>
            <a:ext cx="0" cy="5009758"/>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7" name="Rectangle à coins arrondis 28">
            <a:extLst>
              <a:ext uri="{FF2B5EF4-FFF2-40B4-BE49-F238E27FC236}">
                <a16:creationId xmlns:a16="http://schemas.microsoft.com/office/drawing/2014/main" id="{4A9CF4C1-9679-4A12-B55C-F44924AB998E}"/>
              </a:ext>
            </a:extLst>
          </p:cNvPr>
          <p:cNvSpPr/>
          <p:nvPr/>
        </p:nvSpPr>
        <p:spPr bwMode="auto">
          <a:xfrm>
            <a:off x="6379054" y="6585466"/>
            <a:ext cx="988364" cy="186904"/>
          </a:xfrm>
          <a:prstGeom prst="roundRect">
            <a:avLst/>
          </a:prstGeom>
          <a:solidFill>
            <a:schemeClr val="tx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800" b="1">
                <a:solidFill>
                  <a:schemeClr val="tx2"/>
                </a:solidFill>
                <a:latin typeface="Trebuchet MS" panose="020B0603020202020204" pitchFamily="34" charset="0"/>
              </a:rPr>
              <a:t>Web platform</a:t>
            </a:r>
          </a:p>
        </p:txBody>
      </p:sp>
      <p:sp>
        <p:nvSpPr>
          <p:cNvPr id="22" name="Rectangle à coins arrondis 28">
            <a:extLst>
              <a:ext uri="{FF2B5EF4-FFF2-40B4-BE49-F238E27FC236}">
                <a16:creationId xmlns:a16="http://schemas.microsoft.com/office/drawing/2014/main" id="{12E669A0-38F2-47C6-9AD7-E8EB3B050376}"/>
              </a:ext>
            </a:extLst>
          </p:cNvPr>
          <p:cNvSpPr/>
          <p:nvPr/>
        </p:nvSpPr>
        <p:spPr bwMode="auto">
          <a:xfrm>
            <a:off x="5229481" y="6585466"/>
            <a:ext cx="988364" cy="186904"/>
          </a:xfrm>
          <a:prstGeom prst="roundRect">
            <a:avLst/>
          </a:prstGeom>
          <a:solidFill>
            <a:schemeClr val="bg1">
              <a:lumMod val="95000"/>
            </a:schemeClr>
          </a:solidFill>
          <a:ln w="3175" cap="flat" cmpd="sng" algn="ctr">
            <a:solidFill>
              <a:schemeClr val="tx1"/>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800" b="1">
                <a:latin typeface="Trebuchet MS" panose="020B0603020202020204" pitchFamily="34" charset="0"/>
              </a:rPr>
              <a:t>Batch</a:t>
            </a:r>
          </a:p>
        </p:txBody>
      </p:sp>
      <p:sp>
        <p:nvSpPr>
          <p:cNvPr id="23" name="Rectangle à coins arrondis 28">
            <a:extLst>
              <a:ext uri="{FF2B5EF4-FFF2-40B4-BE49-F238E27FC236}">
                <a16:creationId xmlns:a16="http://schemas.microsoft.com/office/drawing/2014/main" id="{46D4BEA9-88E0-4FAD-92C4-1E036AF02642}"/>
              </a:ext>
            </a:extLst>
          </p:cNvPr>
          <p:cNvSpPr/>
          <p:nvPr/>
        </p:nvSpPr>
        <p:spPr bwMode="auto">
          <a:xfrm>
            <a:off x="7528661" y="6588609"/>
            <a:ext cx="989048" cy="180618"/>
          </a:xfrm>
          <a:prstGeom prst="roundRect">
            <a:avLst/>
          </a:prstGeom>
          <a:solidFill>
            <a:srgbClr val="C6EFFF"/>
          </a:solidFill>
          <a:ln w="3175" cap="flat" cmpd="sng" algn="ctr">
            <a:solidFill>
              <a:srgbClr val="007AA9"/>
            </a:solidFill>
            <a:prstDash val="sysDot"/>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800" b="1">
                <a:latin typeface="Trebuchet MS" panose="020B0603020202020204" pitchFamily="34" charset="0"/>
              </a:rPr>
              <a:t>Connector/APIs</a:t>
            </a:r>
          </a:p>
        </p:txBody>
      </p:sp>
      <p:sp>
        <p:nvSpPr>
          <p:cNvPr id="19" name="Triangle isocèle 18">
            <a:extLst>
              <a:ext uri="{FF2B5EF4-FFF2-40B4-BE49-F238E27FC236}">
                <a16:creationId xmlns:a16="http://schemas.microsoft.com/office/drawing/2014/main" id="{17709D31-3114-471E-B3B5-BE332B47A997}"/>
              </a:ext>
            </a:extLst>
          </p:cNvPr>
          <p:cNvSpPr/>
          <p:nvPr/>
        </p:nvSpPr>
        <p:spPr bwMode="auto">
          <a:xfrm rot="16200000">
            <a:off x="1597086" y="3346529"/>
            <a:ext cx="455266" cy="166906"/>
          </a:xfrm>
          <a:prstGeom prst="triangle">
            <a:avLst/>
          </a:prstGeom>
          <a:solidFill>
            <a:schemeClr val="bg2">
              <a:lumMod val="20000"/>
              <a:lumOff val="80000"/>
              <a:alpha val="48000"/>
            </a:schemeClr>
          </a:solidFill>
          <a:ln w="3175" cap="flat" cmpd="sng" algn="ctr">
            <a:solidFill>
              <a:schemeClr val="tx2"/>
            </a:solidFill>
            <a:prstDash val="lgDash"/>
            <a:round/>
            <a:headEnd type="none" w="med" len="med"/>
            <a:tailEnd type="none" w="med" len="med"/>
          </a:ln>
          <a:effectLst/>
        </p:spPr>
        <p:txBody>
          <a:bodyPr vert="horz" wrap="square" lIns="0" tIns="0" rIns="0" bIns="45720" numCol="1" rtlCol="0" anchor="t" anchorCtr="0" compatLnSpc="1">
            <a:prstTxWarp prst="textNoShape">
              <a:avLst/>
            </a:prstTxWarp>
          </a:bodyPr>
          <a:lstStyle/>
          <a:p>
            <a:pPr algn="ctr">
              <a:spcBef>
                <a:spcPts val="600"/>
              </a:spcBef>
            </a:pPr>
            <a:endParaRPr lang="en-GB" sz="1000">
              <a:solidFill>
                <a:srgbClr val="92D050"/>
              </a:solidFill>
              <a:latin typeface="Trebuchet MS" panose="020B0603020202020204" pitchFamily="34" charset="0"/>
            </a:endParaRPr>
          </a:p>
        </p:txBody>
      </p:sp>
      <p:sp>
        <p:nvSpPr>
          <p:cNvPr id="20" name="ZoneTexte 19">
            <a:extLst>
              <a:ext uri="{FF2B5EF4-FFF2-40B4-BE49-F238E27FC236}">
                <a16:creationId xmlns:a16="http://schemas.microsoft.com/office/drawing/2014/main" id="{9B8FCBAF-A3DC-4AAD-BEFD-03E4652E4961}"/>
              </a:ext>
            </a:extLst>
          </p:cNvPr>
          <p:cNvSpPr txBox="1"/>
          <p:nvPr/>
        </p:nvSpPr>
        <p:spPr>
          <a:xfrm>
            <a:off x="1561913" y="3804305"/>
            <a:ext cx="1991831" cy="246221"/>
          </a:xfrm>
          <a:prstGeom prst="rect">
            <a:avLst/>
          </a:prstGeom>
          <a:noFill/>
        </p:spPr>
        <p:txBody>
          <a:bodyPr wrap="square" lIns="0" tIns="0" rIns="0" bIns="0" rtlCol="0">
            <a:spAutoFit/>
          </a:bodyPr>
          <a:lstStyle/>
          <a:p>
            <a:pPr algn="ctr"/>
            <a:r>
              <a:rPr lang="en-GB" sz="800" i="1" err="1">
                <a:latin typeface="Trebuchet MS" panose="020B0603020202020204" pitchFamily="34" charset="0"/>
              </a:rPr>
              <a:t>mLead</a:t>
            </a:r>
            <a:r>
              <a:rPr lang="en-GB" sz="800" i="1">
                <a:latin typeface="Trebuchet MS" panose="020B0603020202020204" pitchFamily="34" charset="0"/>
              </a:rPr>
              <a:t> is currently being merged with </a:t>
            </a:r>
            <a:r>
              <a:rPr lang="en-GB" sz="800" i="1" err="1">
                <a:latin typeface="Trebuchet MS" panose="020B0603020202020204" pitchFamily="34" charset="0"/>
              </a:rPr>
              <a:t>mList</a:t>
            </a:r>
            <a:r>
              <a:rPr lang="en-GB" sz="800" i="1">
                <a:latin typeface="Trebuchet MS" panose="020B0603020202020204" pitchFamily="34" charset="0"/>
              </a:rPr>
              <a:t> and </a:t>
            </a:r>
            <a:r>
              <a:rPr lang="en-GB" sz="800" i="1" err="1">
                <a:latin typeface="Trebuchet MS" panose="020B0603020202020204" pitchFamily="34" charset="0"/>
              </a:rPr>
              <a:t>mDetect</a:t>
            </a:r>
            <a:endParaRPr lang="en-GB" sz="800" i="1">
              <a:latin typeface="Trebuchet MS" panose="020B0603020202020204" pitchFamily="34" charset="0"/>
            </a:endParaRPr>
          </a:p>
        </p:txBody>
      </p:sp>
      <p:grpSp>
        <p:nvGrpSpPr>
          <p:cNvPr id="37" name="Groupe 36">
            <a:extLst>
              <a:ext uri="{FF2B5EF4-FFF2-40B4-BE49-F238E27FC236}">
                <a16:creationId xmlns:a16="http://schemas.microsoft.com/office/drawing/2014/main" id="{9608DBDF-0706-4F46-A42D-C39BAE59B90A}"/>
              </a:ext>
            </a:extLst>
          </p:cNvPr>
          <p:cNvGrpSpPr/>
          <p:nvPr/>
        </p:nvGrpSpPr>
        <p:grpSpPr>
          <a:xfrm>
            <a:off x="8448150" y="-11528"/>
            <a:ext cx="1435548" cy="588143"/>
            <a:chOff x="8448150" y="-11528"/>
            <a:chExt cx="1435548" cy="588143"/>
          </a:xfrm>
        </p:grpSpPr>
        <p:sp>
          <p:nvSpPr>
            <p:cNvPr id="39" name="Rectangle : coins arrondis 199">
              <a:extLst>
                <a:ext uri="{FF2B5EF4-FFF2-40B4-BE49-F238E27FC236}">
                  <a16:creationId xmlns:a16="http://schemas.microsoft.com/office/drawing/2014/main" id="{2F5A4D81-EF9A-454F-99E7-07CCA8FDDADB}"/>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0" name="Rectangle : coins arrondis 200">
              <a:extLst>
                <a:ext uri="{FF2B5EF4-FFF2-40B4-BE49-F238E27FC236}">
                  <a16:creationId xmlns:a16="http://schemas.microsoft.com/office/drawing/2014/main" id="{CBC61673-C6FB-48E0-ABB0-33884F3E2B32}"/>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1" name="Rectangle : coins arrondis 201">
              <a:extLst>
                <a:ext uri="{FF2B5EF4-FFF2-40B4-BE49-F238E27FC236}">
                  <a16:creationId xmlns:a16="http://schemas.microsoft.com/office/drawing/2014/main" id="{E018D76A-9467-472D-8C4F-7DA183C69595}"/>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2" name="ZoneTexte 18">
              <a:extLst>
                <a:ext uri="{FF2B5EF4-FFF2-40B4-BE49-F238E27FC236}">
                  <a16:creationId xmlns:a16="http://schemas.microsoft.com/office/drawing/2014/main" id="{CE621E75-F586-413B-B0AD-4FDA07BF251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offer</a:t>
              </a:r>
            </a:p>
          </p:txBody>
        </p:sp>
        <p:pic>
          <p:nvPicPr>
            <p:cNvPr id="43" name="Graphique 128" descr="Jauge">
              <a:extLst>
                <a:ext uri="{FF2B5EF4-FFF2-40B4-BE49-F238E27FC236}">
                  <a16:creationId xmlns:a16="http://schemas.microsoft.com/office/drawing/2014/main" id="{69508FA6-B9DF-4D7D-ACD5-FBA6EE47292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53764" y="187516"/>
              <a:ext cx="234953" cy="218224"/>
            </a:xfrm>
            <a:prstGeom prst="rect">
              <a:avLst/>
            </a:prstGeom>
            <a:effectLst/>
          </p:spPr>
        </p:pic>
        <p:pic>
          <p:nvPicPr>
            <p:cNvPr id="44" name="Graphique 90" descr="Poignée de main">
              <a:extLst>
                <a:ext uri="{FF2B5EF4-FFF2-40B4-BE49-F238E27FC236}">
                  <a16:creationId xmlns:a16="http://schemas.microsoft.com/office/drawing/2014/main" id="{505B1C8B-E4A8-4D47-9B9D-C2F9E915773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960868" y="152880"/>
              <a:ext cx="256313" cy="287496"/>
            </a:xfrm>
            <a:prstGeom prst="rect">
              <a:avLst/>
            </a:prstGeom>
            <a:effectLst/>
          </p:spPr>
        </p:pic>
        <p:pic>
          <p:nvPicPr>
            <p:cNvPr id="45" name="Graphique 74" descr="Mégaphone">
              <a:extLst>
                <a:ext uri="{FF2B5EF4-FFF2-40B4-BE49-F238E27FC236}">
                  <a16:creationId xmlns:a16="http://schemas.microsoft.com/office/drawing/2014/main" id="{6C4CAD57-BA9B-458C-BA0D-5DBC69CEC2B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89331" y="181519"/>
              <a:ext cx="233011" cy="216420"/>
            </a:xfrm>
            <a:prstGeom prst="rect">
              <a:avLst/>
            </a:prstGeom>
            <a:effectLst/>
          </p:spPr>
        </p:pic>
        <p:pic>
          <p:nvPicPr>
            <p:cNvPr id="46" name="Picture 2" descr="Drapeau France">
              <a:extLst>
                <a:ext uri="{FF2B5EF4-FFF2-40B4-BE49-F238E27FC236}">
                  <a16:creationId xmlns:a16="http://schemas.microsoft.com/office/drawing/2014/main" id="{50AE28DB-A89C-42A1-B25D-206F11B5EB5D}"/>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0" name="ZoneTexte 18">
              <a:extLst>
                <a:ext uri="{FF2B5EF4-FFF2-40B4-BE49-F238E27FC236}">
                  <a16:creationId xmlns:a16="http://schemas.microsoft.com/office/drawing/2014/main" id="{A6148DE3-E894-46B6-A185-7A3D0F2B4268}"/>
                </a:ext>
              </a:extLst>
            </p:cNvPr>
            <p:cNvSpPr txBox="1"/>
            <p:nvPr/>
          </p:nvSpPr>
          <p:spPr>
            <a:xfrm>
              <a:off x="8448150" y="361171"/>
              <a:ext cx="1281748" cy="215444"/>
            </a:xfrm>
            <a:prstGeom prst="rect">
              <a:avLst/>
            </a:prstGeom>
            <a:noFill/>
          </p:spPr>
          <p:txBody>
            <a:bodyPr wrap="square" rtlCol="0">
              <a:spAutoFit/>
            </a:bodyPr>
            <a:lstStyle/>
            <a:p>
              <a:pPr algn="ctr"/>
              <a:r>
                <a:rPr lang="en-GB" sz="800" i="1" err="1">
                  <a:latin typeface="Trebuchet MS" panose="020B0603020202020204" pitchFamily="34" charset="0"/>
                </a:rPr>
                <a:t>Manageo’s</a:t>
              </a:r>
              <a:r>
                <a:rPr lang="en-GB" sz="800" i="1">
                  <a:latin typeface="Trebuchet MS" panose="020B0603020202020204" pitchFamily="34" charset="0"/>
                </a:rPr>
                <a:t> products</a:t>
              </a:r>
            </a:p>
          </p:txBody>
        </p:sp>
      </p:grpSp>
      <p:sp>
        <p:nvSpPr>
          <p:cNvPr id="47" name="Triangle isocèle 18">
            <a:extLst>
              <a:ext uri="{FF2B5EF4-FFF2-40B4-BE49-F238E27FC236}">
                <a16:creationId xmlns:a16="http://schemas.microsoft.com/office/drawing/2014/main" id="{26249FAC-AFA5-4B1A-A3A8-E93F26EE08FB}"/>
              </a:ext>
            </a:extLst>
          </p:cNvPr>
          <p:cNvSpPr/>
          <p:nvPr/>
        </p:nvSpPr>
        <p:spPr bwMode="auto">
          <a:xfrm rot="10800000">
            <a:off x="3501889" y="3806870"/>
            <a:ext cx="455266" cy="166906"/>
          </a:xfrm>
          <a:prstGeom prst="triangle">
            <a:avLst/>
          </a:prstGeom>
          <a:solidFill>
            <a:schemeClr val="bg2">
              <a:lumMod val="20000"/>
              <a:lumOff val="80000"/>
              <a:alpha val="48000"/>
            </a:schemeClr>
          </a:solidFill>
          <a:ln w="3175" cap="flat" cmpd="sng" algn="ctr">
            <a:solidFill>
              <a:schemeClr val="tx2"/>
            </a:solidFill>
            <a:prstDash val="lgDash"/>
            <a:round/>
            <a:headEnd type="none" w="med" len="med"/>
            <a:tailEnd type="none" w="med" len="med"/>
          </a:ln>
          <a:effectLst/>
        </p:spPr>
        <p:txBody>
          <a:bodyPr vert="horz" wrap="square" lIns="0" tIns="0" rIns="0" bIns="45720" numCol="1" rtlCol="0" anchor="t" anchorCtr="0" compatLnSpc="1">
            <a:prstTxWarp prst="textNoShape">
              <a:avLst/>
            </a:prstTxWarp>
          </a:bodyPr>
          <a:lstStyle/>
          <a:p>
            <a:pPr algn="ctr">
              <a:spcBef>
                <a:spcPts val="600"/>
              </a:spcBef>
            </a:pPr>
            <a:endParaRPr lang="en-GB" sz="1000">
              <a:solidFill>
                <a:srgbClr val="92D050"/>
              </a:solidFill>
              <a:latin typeface="Trebuchet MS" panose="020B0603020202020204" pitchFamily="34" charset="0"/>
            </a:endParaRPr>
          </a:p>
        </p:txBody>
      </p:sp>
    </p:spTree>
    <p:extLst>
      <p:ext uri="{BB962C8B-B14F-4D97-AF65-F5344CB8AC3E}">
        <p14:creationId xmlns:p14="http://schemas.microsoft.com/office/powerpoint/2010/main" val="1258214133"/>
      </p:ext>
    </p:extLst>
  </p:cSld>
  <p:clrMapOvr>
    <a:masterClrMapping/>
  </p:clrMapOv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 name="Object 111" hidden="1">
            <a:extLst>
              <a:ext uri="{FF2B5EF4-FFF2-40B4-BE49-F238E27FC236}">
                <a16:creationId xmlns:a16="http://schemas.microsoft.com/office/drawing/2014/main" id="{6BCAE953-8747-473D-B195-E94B691394CF}"/>
              </a:ext>
            </a:extLst>
          </p:cNvPr>
          <p:cNvGraphicFramePr>
            <a:graphicFrameLocks noChangeAspect="1"/>
          </p:cNvGraphicFramePr>
          <p:nvPr>
            <p:custDataLst>
              <p:tags r:id="rId1"/>
            </p:custDataLst>
            <p:extLst>
              <p:ext uri="{D42A27DB-BD31-4B8C-83A1-F6EECF244321}">
                <p14:modId xmlns:p14="http://schemas.microsoft.com/office/powerpoint/2010/main" val="1614222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112" name="Object 111" hidden="1">
                        <a:extLst>
                          <a:ext uri="{FF2B5EF4-FFF2-40B4-BE49-F238E27FC236}">
                            <a16:creationId xmlns:a16="http://schemas.microsoft.com/office/drawing/2014/main" id="{6BCAE953-8747-473D-B195-E94B691394C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 name="Rectangle 110" hidden="1">
            <a:extLst>
              <a:ext uri="{FF2B5EF4-FFF2-40B4-BE49-F238E27FC236}">
                <a16:creationId xmlns:a16="http://schemas.microsoft.com/office/drawing/2014/main" id="{5C8FE040-532D-49A1-9866-788491945336}"/>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17" name="Rectangle 116">
            <a:extLst>
              <a:ext uri="{FF2B5EF4-FFF2-40B4-BE49-F238E27FC236}">
                <a16:creationId xmlns:a16="http://schemas.microsoft.com/office/drawing/2014/main" id="{2C0C9B01-668F-4E19-AC82-59F047775920}"/>
              </a:ext>
            </a:extLst>
          </p:cNvPr>
          <p:cNvSpPr/>
          <p:nvPr/>
        </p:nvSpPr>
        <p:spPr bwMode="auto">
          <a:xfrm>
            <a:off x="5416062" y="4807310"/>
            <a:ext cx="4152144" cy="1499364"/>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dirty="0">
                <a:ln>
                  <a:noFill/>
                </a:ln>
                <a:effectLst/>
                <a:latin typeface="Trebuchet MS" panose="020B0603020202020204" pitchFamily="34" charset="0"/>
              </a:rPr>
              <a:t>Comments</a:t>
            </a:r>
          </a:p>
          <a:p>
            <a:pPr marR="0" defTabSz="914400" rtl="0" eaLnBrk="1" fontAlgn="base" latinLnBrk="0" hangingPunct="1">
              <a:lnSpc>
                <a:spcPct val="100000"/>
              </a:lnSpc>
              <a:spcBef>
                <a:spcPct val="0"/>
              </a:spcBef>
              <a:spcAft>
                <a:spcPct val="0"/>
              </a:spcAft>
              <a:buClrTx/>
              <a:buSzTx/>
              <a:tabLst/>
            </a:pPr>
            <a:endParaRPr lang="en-GB" sz="1000" dirty="0">
              <a:solidFill>
                <a:schemeClr val="tx2"/>
              </a:solidFill>
              <a:latin typeface="Trebuchet MS" panose="020B0603020202020204" pitchFamily="34" charset="0"/>
            </a:endParaRP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lang="en-GB" sz="1000" dirty="0">
                <a:solidFill>
                  <a:schemeClr val="tx2"/>
                </a:solidFill>
                <a:latin typeface="Trebuchet MS" panose="020B0603020202020204" pitchFamily="34" charset="0"/>
              </a:rPr>
              <a:t>Web platforms </a:t>
            </a:r>
            <a:r>
              <a:rPr lang="en-GB" sz="1000" dirty="0">
                <a:latin typeface="Trebuchet MS" panose="020B0603020202020204" pitchFamily="34" charset="0"/>
              </a:rPr>
              <a:t>are the most important delivery type in terms of revenue generation for </a:t>
            </a:r>
            <a:r>
              <a:rPr lang="en-GB" sz="1000" dirty="0" err="1">
                <a:latin typeface="Trebuchet MS" panose="020B0603020202020204" pitchFamily="34" charset="0"/>
              </a:rPr>
              <a:t>Altares</a:t>
            </a:r>
            <a:r>
              <a:rPr lang="en-GB" sz="1000" dirty="0">
                <a:latin typeface="Trebuchet MS" panose="020B0603020202020204" pitchFamily="34" charset="0"/>
              </a:rPr>
              <a:t> France as 45% of </a:t>
            </a:r>
            <a:r>
              <a:rPr lang="en-GB" sz="1000" dirty="0" err="1">
                <a:latin typeface="Trebuchet MS" panose="020B0603020202020204" pitchFamily="34" charset="0"/>
              </a:rPr>
              <a:t>Altares</a:t>
            </a:r>
            <a:r>
              <a:rPr lang="en-GB" sz="1000" dirty="0">
                <a:latin typeface="Trebuchet MS" panose="020B0603020202020204" pitchFamily="34" charset="0"/>
              </a:rPr>
              <a:t> revenue are generated by </a:t>
            </a:r>
            <a:r>
              <a:rPr lang="en-GB" sz="1000" dirty="0">
                <a:solidFill>
                  <a:schemeClr val="tx2"/>
                </a:solidFill>
                <a:latin typeface="Trebuchet MS" panose="020B0603020202020204" pitchFamily="34" charset="0"/>
              </a:rPr>
              <a:t>on-the-shelf solutions</a:t>
            </a:r>
            <a:endParaRPr lang="en-GB" sz="1000" dirty="0">
              <a:latin typeface="Trebuchet MS" panose="020B0603020202020204" pitchFamily="34" charset="0"/>
            </a:endParaRP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endParaRPr lang="en-GB" sz="1000" dirty="0">
              <a:latin typeface="Trebuchet MS" panose="020B0603020202020204" pitchFamily="34" charset="0"/>
            </a:endParaRP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lang="en-GB" sz="1000" dirty="0">
                <a:solidFill>
                  <a:schemeClr val="tx2"/>
                </a:solidFill>
                <a:latin typeface="Trebuchet MS" panose="020B0603020202020204" pitchFamily="34" charset="0"/>
              </a:rPr>
              <a:t>API format </a:t>
            </a:r>
            <a:r>
              <a:rPr lang="en-GB" sz="1000" dirty="0">
                <a:latin typeface="Trebuchet MS" panose="020B0603020202020204" pitchFamily="34" charset="0"/>
              </a:rPr>
              <a:t>is still limited as for 2019 (only 1% of generated revenue) but tends to be </a:t>
            </a:r>
            <a:r>
              <a:rPr lang="en-GB" sz="1000" dirty="0">
                <a:solidFill>
                  <a:schemeClr val="tx2"/>
                </a:solidFill>
                <a:latin typeface="Trebuchet MS" panose="020B0603020202020204" pitchFamily="34" charset="0"/>
              </a:rPr>
              <a:t>more and more important </a:t>
            </a:r>
            <a:r>
              <a:rPr lang="en-GB" sz="1000" dirty="0">
                <a:latin typeface="Trebuchet MS" panose="020B0603020202020204" pitchFamily="34" charset="0"/>
              </a:rPr>
              <a:t>especially for </a:t>
            </a:r>
            <a:r>
              <a:rPr lang="en-GB" sz="1000" dirty="0">
                <a:solidFill>
                  <a:schemeClr val="tx2"/>
                </a:solidFill>
                <a:latin typeface="Trebuchet MS" panose="020B0603020202020204" pitchFamily="34" charset="0"/>
              </a:rPr>
              <a:t>large accounts</a:t>
            </a:r>
          </a:p>
        </p:txBody>
      </p:sp>
      <p:sp>
        <p:nvSpPr>
          <p:cNvPr id="75" name="Rectangle 74">
            <a:extLst>
              <a:ext uri="{FF2B5EF4-FFF2-40B4-BE49-F238E27FC236}">
                <a16:creationId xmlns:a16="http://schemas.microsoft.com/office/drawing/2014/main" id="{565DBE8F-8609-47F9-933B-FAE6CA4D70B9}"/>
              </a:ext>
            </a:extLst>
          </p:cNvPr>
          <p:cNvSpPr/>
          <p:nvPr/>
        </p:nvSpPr>
        <p:spPr bwMode="auto">
          <a:xfrm>
            <a:off x="1007004" y="2882667"/>
            <a:ext cx="3794377" cy="75380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le 1">
            <a:extLst>
              <a:ext uri="{FF2B5EF4-FFF2-40B4-BE49-F238E27FC236}">
                <a16:creationId xmlns:a16="http://schemas.microsoft.com/office/drawing/2014/main" id="{A03A7495-C7A5-4FAC-939B-55A645B93DB7}"/>
              </a:ext>
            </a:extLst>
          </p:cNvPr>
          <p:cNvSpPr>
            <a:spLocks noGrp="1"/>
          </p:cNvSpPr>
          <p:nvPr>
            <p:ph type="title"/>
          </p:nvPr>
        </p:nvSpPr>
        <p:spPr>
          <a:xfrm>
            <a:off x="165601" y="147600"/>
            <a:ext cx="8603824" cy="754218"/>
          </a:xfrm>
        </p:spPr>
        <p:txBody>
          <a:bodyPr/>
          <a:lstStyle/>
          <a:p>
            <a:r>
              <a:rPr lang="en-GB" err="1">
                <a:latin typeface="Trebuchet MS" panose="020B0603020202020204" pitchFamily="34" charset="0"/>
              </a:rPr>
              <a:t>Altares</a:t>
            </a:r>
            <a:r>
              <a:rPr lang="en-GB">
                <a:latin typeface="Trebuchet MS" panose="020B0603020202020204" pitchFamily="34" charset="0"/>
              </a:rPr>
              <a:t>’ solutions can be </a:t>
            </a:r>
            <a:r>
              <a:rPr lang="en-GB">
                <a:solidFill>
                  <a:schemeClr val="tx2"/>
                </a:solidFill>
                <a:latin typeface="Trebuchet MS" panose="020B0603020202020204" pitchFamily="34" charset="0"/>
              </a:rPr>
              <a:t>delivered </a:t>
            </a:r>
            <a:r>
              <a:rPr lang="en-GB">
                <a:latin typeface="Trebuchet MS" panose="020B0603020202020204" pitchFamily="34" charset="0"/>
              </a:rPr>
              <a:t>in several ways depending on the level of </a:t>
            </a:r>
            <a:r>
              <a:rPr lang="en-GB">
                <a:solidFill>
                  <a:schemeClr val="tx2"/>
                </a:solidFill>
                <a:latin typeface="Trebuchet MS" panose="020B0603020202020204" pitchFamily="34" charset="0"/>
              </a:rPr>
              <a:t>personalization </a:t>
            </a:r>
            <a:r>
              <a:rPr lang="en-GB">
                <a:latin typeface="Trebuchet MS" panose="020B0603020202020204" pitchFamily="34" charset="0"/>
              </a:rPr>
              <a:t>and</a:t>
            </a:r>
            <a:r>
              <a:rPr lang="en-GB">
                <a:solidFill>
                  <a:schemeClr val="tx2"/>
                </a:solidFill>
                <a:latin typeface="Trebuchet MS" panose="020B0603020202020204" pitchFamily="34" charset="0"/>
              </a:rPr>
              <a:t> integration</a:t>
            </a:r>
            <a:r>
              <a:rPr lang="en-GB">
                <a:latin typeface="Trebuchet MS" panose="020B0603020202020204" pitchFamily="34" charset="0"/>
              </a:rPr>
              <a:t> into the </a:t>
            </a:r>
            <a:r>
              <a:rPr lang="en-GB">
                <a:solidFill>
                  <a:schemeClr val="tx2"/>
                </a:solidFill>
                <a:latin typeface="Trebuchet MS" panose="020B0603020202020204" pitchFamily="34" charset="0"/>
              </a:rPr>
              <a:t>clients’ workflow</a:t>
            </a:r>
            <a:r>
              <a:rPr lang="en-GB">
                <a:latin typeface="Trebuchet MS" panose="020B0603020202020204" pitchFamily="34" charset="0"/>
              </a:rPr>
              <a:t>: from </a:t>
            </a:r>
            <a:r>
              <a:rPr lang="en-GB">
                <a:solidFill>
                  <a:schemeClr val="tx2"/>
                </a:solidFill>
                <a:latin typeface="Trebuchet MS" panose="020B0603020202020204" pitchFamily="34" charset="0"/>
              </a:rPr>
              <a:t>on-the-shelf web platform </a:t>
            </a:r>
            <a:r>
              <a:rPr lang="en-GB">
                <a:latin typeface="Trebuchet MS" panose="020B0603020202020204" pitchFamily="34" charset="0"/>
              </a:rPr>
              <a:t>to tailor-made integrated solutions</a:t>
            </a:r>
          </a:p>
        </p:txBody>
      </p:sp>
      <p:sp>
        <p:nvSpPr>
          <p:cNvPr id="3" name="Text Placeholder 2">
            <a:extLst>
              <a:ext uri="{FF2B5EF4-FFF2-40B4-BE49-F238E27FC236}">
                <a16:creationId xmlns:a16="http://schemas.microsoft.com/office/drawing/2014/main" id="{A737E770-6D8A-42E2-A63A-1E72D6E9A283}"/>
              </a:ext>
            </a:extLst>
          </p:cNvPr>
          <p:cNvSpPr>
            <a:spLocks noGrp="1"/>
          </p:cNvSpPr>
          <p:nvPr>
            <p:ph type="body" sz="quarter" idx="10"/>
          </p:nvPr>
        </p:nvSpPr>
        <p:spPr/>
        <p:txBody>
          <a:bodyPr/>
          <a:lstStyle/>
          <a:p>
            <a:r>
              <a:rPr lang="en-GB"/>
              <a:t>Sources: eleven research &amp; analysis, company data, interviews with management</a:t>
            </a:r>
          </a:p>
          <a:p>
            <a:r>
              <a:rPr lang="en-GB" b="1"/>
              <a:t>1: </a:t>
            </a:r>
            <a:r>
              <a:rPr lang="en-GB"/>
              <a:t>Excluding D&amp;B I booking, i.e. booking coming from D&amp;B partnership</a:t>
            </a:r>
          </a:p>
        </p:txBody>
      </p:sp>
      <p:cxnSp>
        <p:nvCxnSpPr>
          <p:cNvPr id="24" name="Connecteur droit avec flèche 5">
            <a:extLst>
              <a:ext uri="{FF2B5EF4-FFF2-40B4-BE49-F238E27FC236}">
                <a16:creationId xmlns:a16="http://schemas.microsoft.com/office/drawing/2014/main" id="{38056475-5FC2-4B8D-9940-2DA53582A116}"/>
              </a:ext>
            </a:extLst>
          </p:cNvPr>
          <p:cNvCxnSpPr>
            <a:cxnSpLocks/>
          </p:cNvCxnSpPr>
          <p:nvPr/>
        </p:nvCxnSpPr>
        <p:spPr bwMode="auto">
          <a:xfrm>
            <a:off x="857853" y="1508037"/>
            <a:ext cx="0" cy="4403542"/>
          </a:xfrm>
          <a:prstGeom prst="straightConnector1">
            <a:avLst/>
          </a:prstGeom>
          <a:solidFill>
            <a:schemeClr val="accent1"/>
          </a:solidFill>
          <a:ln w="22225" cap="flat" cmpd="sng" algn="ctr">
            <a:solidFill>
              <a:schemeClr val="tx2"/>
            </a:solidFill>
            <a:prstDash val="solid"/>
            <a:round/>
            <a:headEnd type="none" w="med" len="med"/>
            <a:tailEnd type="triangle"/>
          </a:ln>
          <a:effectLst/>
        </p:spPr>
      </p:cxnSp>
      <p:sp>
        <p:nvSpPr>
          <p:cNvPr id="33" name="TextBox 32">
            <a:extLst>
              <a:ext uri="{FF2B5EF4-FFF2-40B4-BE49-F238E27FC236}">
                <a16:creationId xmlns:a16="http://schemas.microsoft.com/office/drawing/2014/main" id="{68A8BECD-AEFD-4770-9E36-DE55B2E1BF60}"/>
              </a:ext>
            </a:extLst>
          </p:cNvPr>
          <p:cNvSpPr txBox="1"/>
          <p:nvPr/>
        </p:nvSpPr>
        <p:spPr>
          <a:xfrm>
            <a:off x="130359" y="1519519"/>
            <a:ext cx="578720" cy="553998"/>
          </a:xfrm>
          <a:prstGeom prst="rect">
            <a:avLst/>
          </a:prstGeom>
          <a:noFill/>
        </p:spPr>
        <p:txBody>
          <a:bodyPr wrap="square" lIns="0" rIns="0" rtlCol="0">
            <a:spAutoFit/>
          </a:bodyPr>
          <a:lstStyle>
            <a:defPPr>
              <a:defRPr lang="en-US"/>
            </a:defPPr>
            <a:lvl1pPr algn="ctr">
              <a:defRPr sz="1000" i="1">
                <a:latin typeface="+mj-lt"/>
              </a:defRPr>
            </a:lvl1pPr>
          </a:lstStyle>
          <a:p>
            <a:r>
              <a:rPr lang="en-GB">
                <a:solidFill>
                  <a:schemeClr val="tx2"/>
                </a:solidFill>
                <a:latin typeface="Trebuchet MS" panose="020B0603020202020204" pitchFamily="34" charset="0"/>
              </a:rPr>
              <a:t>On the shelf solutions</a:t>
            </a:r>
          </a:p>
        </p:txBody>
      </p:sp>
      <p:sp>
        <p:nvSpPr>
          <p:cNvPr id="34" name="TextBox 33">
            <a:extLst>
              <a:ext uri="{FF2B5EF4-FFF2-40B4-BE49-F238E27FC236}">
                <a16:creationId xmlns:a16="http://schemas.microsoft.com/office/drawing/2014/main" id="{C38BD074-C567-4F12-AFF9-A3461EE04010}"/>
              </a:ext>
            </a:extLst>
          </p:cNvPr>
          <p:cNvSpPr txBox="1"/>
          <p:nvPr/>
        </p:nvSpPr>
        <p:spPr>
          <a:xfrm>
            <a:off x="4007" y="5217229"/>
            <a:ext cx="831424" cy="400110"/>
          </a:xfrm>
          <a:prstGeom prst="rect">
            <a:avLst/>
          </a:prstGeom>
          <a:noFill/>
        </p:spPr>
        <p:txBody>
          <a:bodyPr wrap="square" lIns="0" rIns="0" rtlCol="0">
            <a:spAutoFit/>
          </a:bodyPr>
          <a:lstStyle/>
          <a:p>
            <a:pPr algn="ctr"/>
            <a:r>
              <a:rPr lang="en-GB" sz="1000" i="1">
                <a:solidFill>
                  <a:schemeClr val="tx2"/>
                </a:solidFill>
                <a:latin typeface="Trebuchet MS" panose="020B0603020202020204" pitchFamily="34" charset="0"/>
              </a:rPr>
              <a:t>Integrated solutions</a:t>
            </a:r>
          </a:p>
        </p:txBody>
      </p:sp>
      <p:sp>
        <p:nvSpPr>
          <p:cNvPr id="35" name="TextBox 34">
            <a:extLst>
              <a:ext uri="{FF2B5EF4-FFF2-40B4-BE49-F238E27FC236}">
                <a16:creationId xmlns:a16="http://schemas.microsoft.com/office/drawing/2014/main" id="{F81DFB34-AE52-4ED2-B0AE-7279176EA293}"/>
              </a:ext>
            </a:extLst>
          </p:cNvPr>
          <p:cNvSpPr txBox="1"/>
          <p:nvPr/>
        </p:nvSpPr>
        <p:spPr>
          <a:xfrm>
            <a:off x="293929" y="5947264"/>
            <a:ext cx="1127848" cy="553998"/>
          </a:xfrm>
          <a:prstGeom prst="rect">
            <a:avLst/>
          </a:prstGeom>
          <a:noFill/>
        </p:spPr>
        <p:txBody>
          <a:bodyPr wrap="square" rtlCol="0">
            <a:spAutoFit/>
          </a:bodyPr>
          <a:lstStyle/>
          <a:p>
            <a:pPr algn="ctr"/>
            <a:r>
              <a:rPr lang="en-GB" sz="1000" b="1">
                <a:solidFill>
                  <a:schemeClr val="tx2"/>
                </a:solidFill>
                <a:latin typeface="Trebuchet MS" panose="020B0603020202020204" pitchFamily="34" charset="0"/>
              </a:rPr>
              <a:t>Level of personalization in clients’ tools</a:t>
            </a:r>
          </a:p>
        </p:txBody>
      </p:sp>
      <p:cxnSp>
        <p:nvCxnSpPr>
          <p:cNvPr id="48" name="Connecteur droit 208">
            <a:extLst>
              <a:ext uri="{FF2B5EF4-FFF2-40B4-BE49-F238E27FC236}">
                <a16:creationId xmlns:a16="http://schemas.microsoft.com/office/drawing/2014/main" id="{C045DA50-9EB6-44AB-B71A-D6199C057F7B}"/>
              </a:ext>
            </a:extLst>
          </p:cNvPr>
          <p:cNvCxnSpPr>
            <a:cxnSpLocks/>
          </p:cNvCxnSpPr>
          <p:nvPr/>
        </p:nvCxnSpPr>
        <p:spPr bwMode="auto">
          <a:xfrm>
            <a:off x="384284" y="1291910"/>
            <a:ext cx="455244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49" name="Rectangle 84">
            <a:extLst>
              <a:ext uri="{FF2B5EF4-FFF2-40B4-BE49-F238E27FC236}">
                <a16:creationId xmlns:a16="http://schemas.microsoft.com/office/drawing/2014/main" id="{0D81EBFF-46FC-4DE8-ACEE-B2D5C879B862}"/>
              </a:ext>
            </a:extLst>
          </p:cNvPr>
          <p:cNvSpPr/>
          <p:nvPr/>
        </p:nvSpPr>
        <p:spPr bwMode="auto">
          <a:xfrm>
            <a:off x="1177785" y="1145538"/>
            <a:ext cx="3126281" cy="263498"/>
          </a:xfrm>
          <a:prstGeom prst="rect">
            <a:avLst/>
          </a:prstGeom>
          <a:solidFill>
            <a:schemeClr val="bg1"/>
          </a:solidFill>
        </p:spPr>
        <p:txBody>
          <a:bodyPr wrap="square" rtlCol="0">
            <a:noAutofit/>
          </a:bodyPr>
          <a:lstStyle/>
          <a:p>
            <a:pPr algn="ctr"/>
            <a:r>
              <a:rPr lang="en-GB" sz="1100" err="1">
                <a:latin typeface="Trebuchet MS" panose="020B0603020202020204" pitchFamily="34" charset="0"/>
              </a:rPr>
              <a:t>Altares</a:t>
            </a:r>
            <a:r>
              <a:rPr lang="en-GB" sz="1100">
                <a:latin typeface="Trebuchet MS" panose="020B0603020202020204" pitchFamily="34" charset="0"/>
              </a:rPr>
              <a:t> solutions’ four types of delivery</a:t>
            </a:r>
          </a:p>
        </p:txBody>
      </p:sp>
      <p:cxnSp>
        <p:nvCxnSpPr>
          <p:cNvPr id="63" name="Connecteur droit 208">
            <a:extLst>
              <a:ext uri="{FF2B5EF4-FFF2-40B4-BE49-F238E27FC236}">
                <a16:creationId xmlns:a16="http://schemas.microsoft.com/office/drawing/2014/main" id="{7A266364-39FE-458B-AF0A-7780F72ECD3A}"/>
              </a:ext>
            </a:extLst>
          </p:cNvPr>
          <p:cNvCxnSpPr>
            <a:cxnSpLocks/>
          </p:cNvCxnSpPr>
          <p:nvPr/>
        </p:nvCxnSpPr>
        <p:spPr bwMode="auto">
          <a:xfrm>
            <a:off x="5177693" y="1291910"/>
            <a:ext cx="455244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64" name="Rectangle 84">
            <a:extLst>
              <a:ext uri="{FF2B5EF4-FFF2-40B4-BE49-F238E27FC236}">
                <a16:creationId xmlns:a16="http://schemas.microsoft.com/office/drawing/2014/main" id="{598025C0-9120-4417-9294-A9EBA3965242}"/>
              </a:ext>
            </a:extLst>
          </p:cNvPr>
          <p:cNvSpPr/>
          <p:nvPr/>
        </p:nvSpPr>
        <p:spPr bwMode="auto">
          <a:xfrm>
            <a:off x="6279505" y="1090042"/>
            <a:ext cx="2348822" cy="380057"/>
          </a:xfrm>
          <a:prstGeom prst="rect">
            <a:avLst/>
          </a:prstGeom>
          <a:solidFill>
            <a:schemeClr val="bg1"/>
          </a:solidFill>
        </p:spPr>
        <p:txBody>
          <a:bodyPr wrap="square" rtlCol="0">
            <a:noAutofit/>
          </a:bodyPr>
          <a:lstStyle/>
          <a:p>
            <a:pPr algn="ctr"/>
            <a:r>
              <a:rPr lang="en-GB" sz="1100" err="1">
                <a:latin typeface="Trebuchet MS" panose="020B0603020202020204" pitchFamily="34" charset="0"/>
              </a:rPr>
              <a:t>Altares</a:t>
            </a:r>
            <a:r>
              <a:rPr lang="en-GB" sz="1100">
                <a:latin typeface="Trebuchet MS" panose="020B0603020202020204" pitchFamily="34" charset="0"/>
              </a:rPr>
              <a:t>’ booking distribution by delivery type in France (2019) </a:t>
            </a:r>
          </a:p>
        </p:txBody>
      </p:sp>
      <p:graphicFrame>
        <p:nvGraphicFramePr>
          <p:cNvPr id="67" name="Chart 66">
            <a:extLst>
              <a:ext uri="{FF2B5EF4-FFF2-40B4-BE49-F238E27FC236}">
                <a16:creationId xmlns:a16="http://schemas.microsoft.com/office/drawing/2014/main" id="{C6B9B4E2-A0B7-43C2-B0F0-C66CEC4EF6A6}"/>
              </a:ext>
            </a:extLst>
          </p:cNvPr>
          <p:cNvGraphicFramePr/>
          <p:nvPr>
            <p:extLst>
              <p:ext uri="{D42A27DB-BD31-4B8C-83A1-F6EECF244321}">
                <p14:modId xmlns:p14="http://schemas.microsoft.com/office/powerpoint/2010/main" val="4256046281"/>
              </p:ext>
            </p:extLst>
          </p:nvPr>
        </p:nvGraphicFramePr>
        <p:xfrm>
          <a:off x="5623672" y="1923149"/>
          <a:ext cx="3475165" cy="2756367"/>
        </p:xfrm>
        <a:graphic>
          <a:graphicData uri="http://schemas.openxmlformats.org/drawingml/2006/chart">
            <c:chart xmlns:c="http://schemas.openxmlformats.org/drawingml/2006/chart" xmlns:r="http://schemas.openxmlformats.org/officeDocument/2006/relationships" r:id="rId7"/>
          </a:graphicData>
        </a:graphic>
      </p:graphicFrame>
      <p:pic>
        <p:nvPicPr>
          <p:cNvPr id="69" name="Picture 2" descr="Drapeau France">
            <a:extLst>
              <a:ext uri="{FF2B5EF4-FFF2-40B4-BE49-F238E27FC236}">
                <a16:creationId xmlns:a16="http://schemas.microsoft.com/office/drawing/2014/main" id="{C10D6C98-09A3-4970-AF48-0E86B21DE789}"/>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06" b="16757"/>
          <a:stretch/>
        </p:blipFill>
        <p:spPr bwMode="auto">
          <a:xfrm>
            <a:off x="5862554" y="2119761"/>
            <a:ext cx="407919" cy="245885"/>
          </a:xfrm>
          <a:prstGeom prst="roundRect">
            <a:avLst/>
          </a:prstGeom>
          <a:noFill/>
          <a:extLst>
            <a:ext uri="{909E8E84-426E-40DD-AFC4-6F175D3DCCD1}">
              <a14:hiddenFill xmlns:a14="http://schemas.microsoft.com/office/drawing/2010/main">
                <a:solidFill>
                  <a:srgbClr val="FFFFFF"/>
                </a:solidFill>
              </a14:hiddenFill>
            </a:ext>
          </a:extLst>
        </p:spPr>
      </p:pic>
      <p:sp>
        <p:nvSpPr>
          <p:cNvPr id="71" name="Rectangle 84">
            <a:extLst>
              <a:ext uri="{FF2B5EF4-FFF2-40B4-BE49-F238E27FC236}">
                <a16:creationId xmlns:a16="http://schemas.microsoft.com/office/drawing/2014/main" id="{4053D79E-C32B-402A-9180-35A01D12C14D}"/>
              </a:ext>
            </a:extLst>
          </p:cNvPr>
          <p:cNvSpPr/>
          <p:nvPr/>
        </p:nvSpPr>
        <p:spPr bwMode="auto">
          <a:xfrm>
            <a:off x="5347715" y="1690479"/>
            <a:ext cx="1415765" cy="263061"/>
          </a:xfrm>
          <a:prstGeom prst="rect">
            <a:avLst/>
          </a:prstGeom>
          <a:noFill/>
        </p:spPr>
        <p:txBody>
          <a:bodyPr wrap="square" rtlCol="0" anchor="ctr">
            <a:noAutofit/>
          </a:bodyPr>
          <a:lstStyle/>
          <a:p>
            <a:pPr algn="ctr"/>
            <a:r>
              <a:rPr lang="en-GB" sz="1100" i="1">
                <a:solidFill>
                  <a:schemeClr val="tx2"/>
                </a:solidFill>
                <a:latin typeface="Trebuchet MS" panose="020B0603020202020204" pitchFamily="34" charset="0"/>
              </a:rPr>
              <a:t>France </a:t>
            </a:r>
          </a:p>
          <a:p>
            <a:pPr algn="ctr"/>
            <a:r>
              <a:rPr lang="en-GB" sz="1100" i="1">
                <a:solidFill>
                  <a:schemeClr val="tx2"/>
                </a:solidFill>
                <a:latin typeface="Trebuchet MS" panose="020B0603020202020204" pitchFamily="34" charset="0"/>
              </a:rPr>
              <a:t>Total ~ 38.2€1</a:t>
            </a:r>
            <a:endParaRPr lang="en-GB" sz="1100" i="1" baseline="30000">
              <a:solidFill>
                <a:schemeClr val="tx2"/>
              </a:solidFill>
              <a:latin typeface="Trebuchet MS" panose="020B0603020202020204" pitchFamily="34" charset="0"/>
            </a:endParaRPr>
          </a:p>
        </p:txBody>
      </p:sp>
      <p:sp>
        <p:nvSpPr>
          <p:cNvPr id="23" name="Rectangle 22">
            <a:extLst>
              <a:ext uri="{FF2B5EF4-FFF2-40B4-BE49-F238E27FC236}">
                <a16:creationId xmlns:a16="http://schemas.microsoft.com/office/drawing/2014/main" id="{0FC36761-7B1F-4EF1-9BC5-73A004D45AEE}"/>
              </a:ext>
            </a:extLst>
          </p:cNvPr>
          <p:cNvSpPr/>
          <p:nvPr/>
        </p:nvSpPr>
        <p:spPr bwMode="auto">
          <a:xfrm>
            <a:off x="1007004" y="3772603"/>
            <a:ext cx="3794377" cy="8797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13" name="Group 112">
            <a:extLst>
              <a:ext uri="{FF2B5EF4-FFF2-40B4-BE49-F238E27FC236}">
                <a16:creationId xmlns:a16="http://schemas.microsoft.com/office/drawing/2014/main" id="{F8FAB2AC-45EB-4584-89EC-C48D14364D96}"/>
              </a:ext>
            </a:extLst>
          </p:cNvPr>
          <p:cNvGrpSpPr/>
          <p:nvPr/>
        </p:nvGrpSpPr>
        <p:grpSpPr>
          <a:xfrm>
            <a:off x="1313831" y="3861727"/>
            <a:ext cx="729364" cy="701503"/>
            <a:chOff x="1313831" y="3861727"/>
            <a:chExt cx="729364" cy="701503"/>
          </a:xfrm>
        </p:grpSpPr>
        <p:grpSp>
          <p:nvGrpSpPr>
            <p:cNvPr id="19" name="Graphic 29">
              <a:extLst>
                <a:ext uri="{FF2B5EF4-FFF2-40B4-BE49-F238E27FC236}">
                  <a16:creationId xmlns:a16="http://schemas.microsoft.com/office/drawing/2014/main" id="{FF44F194-0F0D-4131-906C-E9CF31B0F71D}"/>
                </a:ext>
              </a:extLst>
            </p:cNvPr>
            <p:cNvGrpSpPr>
              <a:grpSpLocks noChangeAspect="1"/>
            </p:cNvGrpSpPr>
            <p:nvPr/>
          </p:nvGrpSpPr>
          <p:grpSpPr>
            <a:xfrm>
              <a:off x="1555750" y="3861727"/>
              <a:ext cx="245527" cy="317153"/>
              <a:chOff x="4568190" y="2857499"/>
              <a:chExt cx="770572" cy="904875"/>
            </a:xfrm>
            <a:solidFill>
              <a:schemeClr val="tx2"/>
            </a:solidFill>
          </p:grpSpPr>
          <p:sp>
            <p:nvSpPr>
              <p:cNvPr id="20" name="Freeform: Shape 19">
                <a:extLst>
                  <a:ext uri="{FF2B5EF4-FFF2-40B4-BE49-F238E27FC236}">
                    <a16:creationId xmlns:a16="http://schemas.microsoft.com/office/drawing/2014/main" id="{8AF111D6-A046-4753-9FFA-FB843CC1B04D}"/>
                  </a:ext>
                </a:extLst>
              </p:cNvPr>
              <p:cNvSpPr/>
              <p:nvPr/>
            </p:nvSpPr>
            <p:spPr>
              <a:xfrm>
                <a:off x="4568190" y="2857499"/>
                <a:ext cx="770572" cy="904875"/>
              </a:xfrm>
              <a:custGeom>
                <a:avLst/>
                <a:gdLst>
                  <a:gd name="connsiteX0" fmla="*/ 764858 w 770572"/>
                  <a:gd name="connsiteY0" fmla="*/ 163830 h 904875"/>
                  <a:gd name="connsiteX1" fmla="*/ 606743 w 770572"/>
                  <a:gd name="connsiteY1" fmla="*/ 5715 h 904875"/>
                  <a:gd name="connsiteX2" fmla="*/ 591502 w 770572"/>
                  <a:gd name="connsiteY2" fmla="*/ 0 h 904875"/>
                  <a:gd name="connsiteX3" fmla="*/ 243840 w 770572"/>
                  <a:gd name="connsiteY3" fmla="*/ 0 h 904875"/>
                  <a:gd name="connsiteX4" fmla="*/ 222885 w 770572"/>
                  <a:gd name="connsiteY4" fmla="*/ 20955 h 904875"/>
                  <a:gd name="connsiteX5" fmla="*/ 222885 w 770572"/>
                  <a:gd name="connsiteY5" fmla="*/ 111443 h 904875"/>
                  <a:gd name="connsiteX6" fmla="*/ 132398 w 770572"/>
                  <a:gd name="connsiteY6" fmla="*/ 111443 h 904875"/>
                  <a:gd name="connsiteX7" fmla="*/ 111442 w 770572"/>
                  <a:gd name="connsiteY7" fmla="*/ 132398 h 904875"/>
                  <a:gd name="connsiteX8" fmla="*/ 111442 w 770572"/>
                  <a:gd name="connsiteY8" fmla="*/ 223838 h 904875"/>
                  <a:gd name="connsiteX9" fmla="*/ 20955 w 770572"/>
                  <a:gd name="connsiteY9" fmla="*/ 223838 h 904875"/>
                  <a:gd name="connsiteX10" fmla="*/ 0 w 770572"/>
                  <a:gd name="connsiteY10" fmla="*/ 244793 h 904875"/>
                  <a:gd name="connsiteX11" fmla="*/ 0 w 770572"/>
                  <a:gd name="connsiteY11" fmla="*/ 883920 h 904875"/>
                  <a:gd name="connsiteX12" fmla="*/ 20955 w 770572"/>
                  <a:gd name="connsiteY12" fmla="*/ 904875 h 904875"/>
                  <a:gd name="connsiteX13" fmla="*/ 526733 w 770572"/>
                  <a:gd name="connsiteY13" fmla="*/ 904875 h 904875"/>
                  <a:gd name="connsiteX14" fmla="*/ 547688 w 770572"/>
                  <a:gd name="connsiteY14" fmla="*/ 883920 h 904875"/>
                  <a:gd name="connsiteX15" fmla="*/ 547688 w 770572"/>
                  <a:gd name="connsiteY15" fmla="*/ 793433 h 904875"/>
                  <a:gd name="connsiteX16" fmla="*/ 638175 w 770572"/>
                  <a:gd name="connsiteY16" fmla="*/ 793433 h 904875"/>
                  <a:gd name="connsiteX17" fmla="*/ 659130 w 770572"/>
                  <a:gd name="connsiteY17" fmla="*/ 772478 h 904875"/>
                  <a:gd name="connsiteX18" fmla="*/ 659130 w 770572"/>
                  <a:gd name="connsiteY18" fmla="*/ 681038 h 904875"/>
                  <a:gd name="connsiteX19" fmla="*/ 749618 w 770572"/>
                  <a:gd name="connsiteY19" fmla="*/ 681038 h 904875"/>
                  <a:gd name="connsiteX20" fmla="*/ 770573 w 770572"/>
                  <a:gd name="connsiteY20" fmla="*/ 660083 h 904875"/>
                  <a:gd name="connsiteX21" fmla="*/ 770573 w 770572"/>
                  <a:gd name="connsiteY21" fmla="*/ 179070 h 904875"/>
                  <a:gd name="connsiteX22" fmla="*/ 764858 w 770572"/>
                  <a:gd name="connsiteY22" fmla="*/ 163830 h 904875"/>
                  <a:gd name="connsiteX23" fmla="*/ 593408 w 770572"/>
                  <a:gd name="connsiteY23" fmla="*/ 51435 h 904875"/>
                  <a:gd name="connsiteX24" fmla="*/ 719138 w 770572"/>
                  <a:gd name="connsiteY24" fmla="*/ 177165 h 904875"/>
                  <a:gd name="connsiteX25" fmla="*/ 593408 w 770572"/>
                  <a:gd name="connsiteY25" fmla="*/ 177165 h 904875"/>
                  <a:gd name="connsiteX26" fmla="*/ 593408 w 770572"/>
                  <a:gd name="connsiteY26" fmla="*/ 51435 h 904875"/>
                  <a:gd name="connsiteX27" fmla="*/ 504825 w 770572"/>
                  <a:gd name="connsiteY27" fmla="*/ 862965 h 904875"/>
                  <a:gd name="connsiteX28" fmla="*/ 40957 w 770572"/>
                  <a:gd name="connsiteY28" fmla="*/ 862965 h 904875"/>
                  <a:gd name="connsiteX29" fmla="*/ 40957 w 770572"/>
                  <a:gd name="connsiteY29" fmla="*/ 265748 h 904875"/>
                  <a:gd name="connsiteX30" fmla="*/ 110490 w 770572"/>
                  <a:gd name="connsiteY30" fmla="*/ 265748 h 904875"/>
                  <a:gd name="connsiteX31" fmla="*/ 110490 w 770572"/>
                  <a:gd name="connsiteY31" fmla="*/ 772478 h 904875"/>
                  <a:gd name="connsiteX32" fmla="*/ 131445 w 770572"/>
                  <a:gd name="connsiteY32" fmla="*/ 793433 h 904875"/>
                  <a:gd name="connsiteX33" fmla="*/ 504825 w 770572"/>
                  <a:gd name="connsiteY33" fmla="*/ 793433 h 904875"/>
                  <a:gd name="connsiteX34" fmla="*/ 504825 w 770572"/>
                  <a:gd name="connsiteY34" fmla="*/ 862965 h 904875"/>
                  <a:gd name="connsiteX35" fmla="*/ 617220 w 770572"/>
                  <a:gd name="connsiteY35" fmla="*/ 751523 h 904875"/>
                  <a:gd name="connsiteX36" fmla="*/ 152400 w 770572"/>
                  <a:gd name="connsiteY36" fmla="*/ 751523 h 904875"/>
                  <a:gd name="connsiteX37" fmla="*/ 152400 w 770572"/>
                  <a:gd name="connsiteY37" fmla="*/ 153353 h 904875"/>
                  <a:gd name="connsiteX38" fmla="*/ 222885 w 770572"/>
                  <a:gd name="connsiteY38" fmla="*/ 153353 h 904875"/>
                  <a:gd name="connsiteX39" fmla="*/ 222885 w 770572"/>
                  <a:gd name="connsiteY39" fmla="*/ 660083 h 904875"/>
                  <a:gd name="connsiteX40" fmla="*/ 243840 w 770572"/>
                  <a:gd name="connsiteY40" fmla="*/ 681038 h 904875"/>
                  <a:gd name="connsiteX41" fmla="*/ 617220 w 770572"/>
                  <a:gd name="connsiteY41" fmla="*/ 681038 h 904875"/>
                  <a:gd name="connsiteX42" fmla="*/ 617220 w 770572"/>
                  <a:gd name="connsiteY42" fmla="*/ 751523 h 904875"/>
                  <a:gd name="connsiteX43" fmla="*/ 264795 w 770572"/>
                  <a:gd name="connsiteY43" fmla="*/ 639128 h 904875"/>
                  <a:gd name="connsiteX44" fmla="*/ 264795 w 770572"/>
                  <a:gd name="connsiteY44" fmla="*/ 41910 h 904875"/>
                  <a:gd name="connsiteX45" fmla="*/ 551498 w 770572"/>
                  <a:gd name="connsiteY45" fmla="*/ 41910 h 904875"/>
                  <a:gd name="connsiteX46" fmla="*/ 551498 w 770572"/>
                  <a:gd name="connsiteY46" fmla="*/ 198120 h 904875"/>
                  <a:gd name="connsiteX47" fmla="*/ 572452 w 770572"/>
                  <a:gd name="connsiteY47" fmla="*/ 219075 h 904875"/>
                  <a:gd name="connsiteX48" fmla="*/ 728663 w 770572"/>
                  <a:gd name="connsiteY48" fmla="*/ 219075 h 904875"/>
                  <a:gd name="connsiteX49" fmla="*/ 728663 w 770572"/>
                  <a:gd name="connsiteY49" fmla="*/ 639128 h 904875"/>
                  <a:gd name="connsiteX50" fmla="*/ 264795 w 770572"/>
                  <a:gd name="connsiteY50" fmla="*/ 639128 h 90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770572" h="904875">
                    <a:moveTo>
                      <a:pt x="764858" y="163830"/>
                    </a:moveTo>
                    <a:lnTo>
                      <a:pt x="606743" y="5715"/>
                    </a:lnTo>
                    <a:cubicBezTo>
                      <a:pt x="602933" y="1905"/>
                      <a:pt x="597218" y="0"/>
                      <a:pt x="591502" y="0"/>
                    </a:cubicBezTo>
                    <a:lnTo>
                      <a:pt x="243840" y="0"/>
                    </a:lnTo>
                    <a:cubicBezTo>
                      <a:pt x="232410" y="0"/>
                      <a:pt x="222885" y="9525"/>
                      <a:pt x="222885" y="20955"/>
                    </a:cubicBezTo>
                    <a:lnTo>
                      <a:pt x="222885" y="111443"/>
                    </a:lnTo>
                    <a:lnTo>
                      <a:pt x="132398" y="111443"/>
                    </a:lnTo>
                    <a:cubicBezTo>
                      <a:pt x="120967" y="111443"/>
                      <a:pt x="111442" y="120968"/>
                      <a:pt x="111442" y="132398"/>
                    </a:cubicBezTo>
                    <a:lnTo>
                      <a:pt x="111442" y="223838"/>
                    </a:lnTo>
                    <a:lnTo>
                      <a:pt x="20955" y="223838"/>
                    </a:lnTo>
                    <a:cubicBezTo>
                      <a:pt x="9525" y="223838"/>
                      <a:pt x="0" y="233363"/>
                      <a:pt x="0" y="244793"/>
                    </a:cubicBezTo>
                    <a:lnTo>
                      <a:pt x="0" y="883920"/>
                    </a:lnTo>
                    <a:cubicBezTo>
                      <a:pt x="0" y="895350"/>
                      <a:pt x="9525" y="904875"/>
                      <a:pt x="20955" y="904875"/>
                    </a:cubicBezTo>
                    <a:lnTo>
                      <a:pt x="526733" y="904875"/>
                    </a:lnTo>
                    <a:cubicBezTo>
                      <a:pt x="538163" y="904875"/>
                      <a:pt x="547688" y="895350"/>
                      <a:pt x="547688" y="883920"/>
                    </a:cubicBezTo>
                    <a:lnTo>
                      <a:pt x="547688" y="793433"/>
                    </a:lnTo>
                    <a:lnTo>
                      <a:pt x="638175" y="793433"/>
                    </a:lnTo>
                    <a:cubicBezTo>
                      <a:pt x="649605" y="793433"/>
                      <a:pt x="659130" y="783908"/>
                      <a:pt x="659130" y="772478"/>
                    </a:cubicBezTo>
                    <a:lnTo>
                      <a:pt x="659130" y="681038"/>
                    </a:lnTo>
                    <a:lnTo>
                      <a:pt x="749618" y="681038"/>
                    </a:lnTo>
                    <a:cubicBezTo>
                      <a:pt x="761048" y="681038"/>
                      <a:pt x="770573" y="671513"/>
                      <a:pt x="770573" y="660083"/>
                    </a:cubicBezTo>
                    <a:lnTo>
                      <a:pt x="770573" y="179070"/>
                    </a:lnTo>
                    <a:cubicBezTo>
                      <a:pt x="770573" y="173355"/>
                      <a:pt x="768668" y="167640"/>
                      <a:pt x="764858" y="163830"/>
                    </a:cubicBezTo>
                    <a:close/>
                    <a:moveTo>
                      <a:pt x="593408" y="51435"/>
                    </a:moveTo>
                    <a:lnTo>
                      <a:pt x="719138" y="177165"/>
                    </a:lnTo>
                    <a:lnTo>
                      <a:pt x="593408" y="177165"/>
                    </a:lnTo>
                    <a:lnTo>
                      <a:pt x="593408" y="51435"/>
                    </a:lnTo>
                    <a:close/>
                    <a:moveTo>
                      <a:pt x="504825" y="862965"/>
                    </a:moveTo>
                    <a:lnTo>
                      <a:pt x="40957" y="862965"/>
                    </a:lnTo>
                    <a:lnTo>
                      <a:pt x="40957" y="265748"/>
                    </a:lnTo>
                    <a:lnTo>
                      <a:pt x="110490" y="265748"/>
                    </a:lnTo>
                    <a:lnTo>
                      <a:pt x="110490" y="772478"/>
                    </a:lnTo>
                    <a:cubicBezTo>
                      <a:pt x="110490" y="783908"/>
                      <a:pt x="120015" y="793433"/>
                      <a:pt x="131445" y="793433"/>
                    </a:cubicBezTo>
                    <a:lnTo>
                      <a:pt x="504825" y="793433"/>
                    </a:lnTo>
                    <a:lnTo>
                      <a:pt x="504825" y="862965"/>
                    </a:lnTo>
                    <a:close/>
                    <a:moveTo>
                      <a:pt x="617220" y="751523"/>
                    </a:moveTo>
                    <a:lnTo>
                      <a:pt x="152400" y="751523"/>
                    </a:lnTo>
                    <a:lnTo>
                      <a:pt x="152400" y="153353"/>
                    </a:lnTo>
                    <a:lnTo>
                      <a:pt x="222885" y="153353"/>
                    </a:lnTo>
                    <a:lnTo>
                      <a:pt x="222885" y="660083"/>
                    </a:lnTo>
                    <a:cubicBezTo>
                      <a:pt x="222885" y="671513"/>
                      <a:pt x="232410" y="681038"/>
                      <a:pt x="243840" y="681038"/>
                    </a:cubicBezTo>
                    <a:lnTo>
                      <a:pt x="617220" y="681038"/>
                    </a:lnTo>
                    <a:lnTo>
                      <a:pt x="617220" y="751523"/>
                    </a:lnTo>
                    <a:close/>
                    <a:moveTo>
                      <a:pt x="264795" y="639128"/>
                    </a:moveTo>
                    <a:lnTo>
                      <a:pt x="264795" y="41910"/>
                    </a:lnTo>
                    <a:lnTo>
                      <a:pt x="551498" y="41910"/>
                    </a:lnTo>
                    <a:lnTo>
                      <a:pt x="551498" y="198120"/>
                    </a:lnTo>
                    <a:cubicBezTo>
                      <a:pt x="551498" y="209550"/>
                      <a:pt x="561023" y="219075"/>
                      <a:pt x="572452" y="219075"/>
                    </a:cubicBezTo>
                    <a:lnTo>
                      <a:pt x="728663" y="219075"/>
                    </a:lnTo>
                    <a:lnTo>
                      <a:pt x="728663" y="639128"/>
                    </a:lnTo>
                    <a:lnTo>
                      <a:pt x="264795" y="639128"/>
                    </a:lnTo>
                    <a:close/>
                  </a:path>
                </a:pathLst>
              </a:custGeom>
              <a:grpFill/>
              <a:ln w="9525" cap="flat">
                <a:noFill/>
                <a:prstDash val="solid"/>
                <a:miter/>
              </a:ln>
            </p:spPr>
            <p:txBody>
              <a:bodyPr rtlCol="0" anchor="ctr"/>
              <a:lstStyle/>
              <a:p>
                <a:endParaRPr lang="en-GB" sz="1050"/>
              </a:p>
            </p:txBody>
          </p:sp>
          <p:sp>
            <p:nvSpPr>
              <p:cNvPr id="21" name="Freeform: Shape 20">
                <a:extLst>
                  <a:ext uri="{FF2B5EF4-FFF2-40B4-BE49-F238E27FC236}">
                    <a16:creationId xmlns:a16="http://schemas.microsoft.com/office/drawing/2014/main" id="{20FE20CB-C5C5-464F-9AE9-35DFAE1C1E0A}"/>
                  </a:ext>
                </a:extLst>
              </p:cNvPr>
              <p:cNvSpPr/>
              <p:nvPr/>
            </p:nvSpPr>
            <p:spPr>
              <a:xfrm>
                <a:off x="4902517" y="3118484"/>
                <a:ext cx="323859" cy="323850"/>
              </a:xfrm>
              <a:custGeom>
                <a:avLst/>
                <a:gdLst>
                  <a:gd name="connsiteX0" fmla="*/ 161925 w 323859"/>
                  <a:gd name="connsiteY0" fmla="*/ 0 h 323850"/>
                  <a:gd name="connsiteX1" fmla="*/ 0 w 323859"/>
                  <a:gd name="connsiteY1" fmla="*/ 161925 h 323850"/>
                  <a:gd name="connsiteX2" fmla="*/ 161925 w 323859"/>
                  <a:gd name="connsiteY2" fmla="*/ 323850 h 323850"/>
                  <a:gd name="connsiteX3" fmla="*/ 323850 w 323859"/>
                  <a:gd name="connsiteY3" fmla="*/ 161925 h 323850"/>
                  <a:gd name="connsiteX4" fmla="*/ 161925 w 323859"/>
                  <a:gd name="connsiteY4" fmla="*/ 0 h 323850"/>
                  <a:gd name="connsiteX5" fmla="*/ 161925 w 323859"/>
                  <a:gd name="connsiteY5" fmla="*/ 281940 h 323850"/>
                  <a:gd name="connsiteX6" fmla="*/ 41910 w 323859"/>
                  <a:gd name="connsiteY6" fmla="*/ 161925 h 323850"/>
                  <a:gd name="connsiteX7" fmla="*/ 161925 w 323859"/>
                  <a:gd name="connsiteY7" fmla="*/ 41910 h 323850"/>
                  <a:gd name="connsiteX8" fmla="*/ 281940 w 323859"/>
                  <a:gd name="connsiteY8" fmla="*/ 161925 h 323850"/>
                  <a:gd name="connsiteX9" fmla="*/ 161925 w 323859"/>
                  <a:gd name="connsiteY9" fmla="*/ 28194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3859" h="323850">
                    <a:moveTo>
                      <a:pt x="161925" y="0"/>
                    </a:moveTo>
                    <a:cubicBezTo>
                      <a:pt x="72390" y="0"/>
                      <a:pt x="0" y="72390"/>
                      <a:pt x="0" y="161925"/>
                    </a:cubicBezTo>
                    <a:cubicBezTo>
                      <a:pt x="0" y="251460"/>
                      <a:pt x="72390" y="323850"/>
                      <a:pt x="161925" y="323850"/>
                    </a:cubicBezTo>
                    <a:cubicBezTo>
                      <a:pt x="251460" y="323850"/>
                      <a:pt x="323850" y="251460"/>
                      <a:pt x="323850" y="161925"/>
                    </a:cubicBezTo>
                    <a:cubicBezTo>
                      <a:pt x="324803" y="72390"/>
                      <a:pt x="251460" y="0"/>
                      <a:pt x="161925" y="0"/>
                    </a:cubicBezTo>
                    <a:close/>
                    <a:moveTo>
                      <a:pt x="161925" y="281940"/>
                    </a:moveTo>
                    <a:cubicBezTo>
                      <a:pt x="95250" y="281940"/>
                      <a:pt x="41910" y="227648"/>
                      <a:pt x="41910" y="161925"/>
                    </a:cubicBezTo>
                    <a:cubicBezTo>
                      <a:pt x="41910" y="95250"/>
                      <a:pt x="96202" y="41910"/>
                      <a:pt x="161925" y="41910"/>
                    </a:cubicBezTo>
                    <a:cubicBezTo>
                      <a:pt x="228600" y="41910"/>
                      <a:pt x="281940" y="96203"/>
                      <a:pt x="281940" y="161925"/>
                    </a:cubicBezTo>
                    <a:cubicBezTo>
                      <a:pt x="282893" y="228600"/>
                      <a:pt x="228600" y="281940"/>
                      <a:pt x="161925" y="281940"/>
                    </a:cubicBezTo>
                    <a:close/>
                  </a:path>
                </a:pathLst>
              </a:custGeom>
              <a:grpFill/>
              <a:ln w="9525" cap="flat">
                <a:noFill/>
                <a:prstDash val="solid"/>
                <a:miter/>
              </a:ln>
            </p:spPr>
            <p:txBody>
              <a:bodyPr rtlCol="0" anchor="ctr"/>
              <a:lstStyle/>
              <a:p>
                <a:endParaRPr lang="en-GB" sz="1050"/>
              </a:p>
            </p:txBody>
          </p:sp>
          <p:sp>
            <p:nvSpPr>
              <p:cNvPr id="22" name="Freeform: Shape 21">
                <a:extLst>
                  <a:ext uri="{FF2B5EF4-FFF2-40B4-BE49-F238E27FC236}">
                    <a16:creationId xmlns:a16="http://schemas.microsoft.com/office/drawing/2014/main" id="{5C8713DD-9C0E-4A44-9F5C-68C7A595F983}"/>
                  </a:ext>
                </a:extLst>
              </p:cNvPr>
              <p:cNvSpPr/>
              <p:nvPr/>
            </p:nvSpPr>
            <p:spPr>
              <a:xfrm>
                <a:off x="4992290" y="3235041"/>
                <a:ext cx="139541" cy="105375"/>
              </a:xfrm>
              <a:custGeom>
                <a:avLst/>
                <a:gdLst>
                  <a:gd name="connsiteX0" fmla="*/ 102632 w 139541"/>
                  <a:gd name="connsiteY0" fmla="*/ 6315 h 105375"/>
                  <a:gd name="connsiteX1" fmla="*/ 54054 w 139541"/>
                  <a:gd name="connsiteY1" fmla="*/ 54893 h 105375"/>
                  <a:gd name="connsiteX2" fmla="*/ 35957 w 139541"/>
                  <a:gd name="connsiteY2" fmla="*/ 36795 h 105375"/>
                  <a:gd name="connsiteX3" fmla="*/ 6429 w 139541"/>
                  <a:gd name="connsiteY3" fmla="*/ 36795 h 105375"/>
                  <a:gd name="connsiteX4" fmla="*/ 6429 w 139541"/>
                  <a:gd name="connsiteY4" fmla="*/ 66322 h 105375"/>
                  <a:gd name="connsiteX5" fmla="*/ 39767 w 139541"/>
                  <a:gd name="connsiteY5" fmla="*/ 99660 h 105375"/>
                  <a:gd name="connsiteX6" fmla="*/ 55007 w 139541"/>
                  <a:gd name="connsiteY6" fmla="*/ 105375 h 105375"/>
                  <a:gd name="connsiteX7" fmla="*/ 70247 w 139541"/>
                  <a:gd name="connsiteY7" fmla="*/ 99660 h 105375"/>
                  <a:gd name="connsiteX8" fmla="*/ 133112 w 139541"/>
                  <a:gd name="connsiteY8" fmla="*/ 36795 h 105375"/>
                  <a:gd name="connsiteX9" fmla="*/ 133112 w 139541"/>
                  <a:gd name="connsiteY9" fmla="*/ 7268 h 105375"/>
                  <a:gd name="connsiteX10" fmla="*/ 102632 w 139541"/>
                  <a:gd name="connsiteY10" fmla="*/ 6315 h 10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541" h="105375">
                    <a:moveTo>
                      <a:pt x="102632" y="6315"/>
                    </a:moveTo>
                    <a:lnTo>
                      <a:pt x="54054" y="54893"/>
                    </a:lnTo>
                    <a:lnTo>
                      <a:pt x="35957" y="36795"/>
                    </a:lnTo>
                    <a:cubicBezTo>
                      <a:pt x="27384" y="28222"/>
                      <a:pt x="15002" y="28222"/>
                      <a:pt x="6429" y="36795"/>
                    </a:cubicBezTo>
                    <a:cubicBezTo>
                      <a:pt x="-2143" y="45368"/>
                      <a:pt x="-2143" y="58702"/>
                      <a:pt x="6429" y="66322"/>
                    </a:cubicBezTo>
                    <a:lnTo>
                      <a:pt x="39767" y="99660"/>
                    </a:lnTo>
                    <a:cubicBezTo>
                      <a:pt x="43577" y="103470"/>
                      <a:pt x="49292" y="105375"/>
                      <a:pt x="55007" y="105375"/>
                    </a:cubicBezTo>
                    <a:cubicBezTo>
                      <a:pt x="60722" y="105375"/>
                      <a:pt x="65484" y="103470"/>
                      <a:pt x="70247" y="99660"/>
                    </a:cubicBezTo>
                    <a:lnTo>
                      <a:pt x="133112" y="36795"/>
                    </a:lnTo>
                    <a:cubicBezTo>
                      <a:pt x="141684" y="28222"/>
                      <a:pt x="141684" y="14888"/>
                      <a:pt x="133112" y="7268"/>
                    </a:cubicBezTo>
                    <a:cubicBezTo>
                      <a:pt x="124539" y="-2257"/>
                      <a:pt x="111204" y="-2257"/>
                      <a:pt x="102632" y="6315"/>
                    </a:cubicBezTo>
                    <a:close/>
                  </a:path>
                </a:pathLst>
              </a:custGeom>
              <a:grpFill/>
              <a:ln w="9525" cap="flat">
                <a:noFill/>
                <a:prstDash val="solid"/>
                <a:miter/>
              </a:ln>
            </p:spPr>
            <p:txBody>
              <a:bodyPr rtlCol="0" anchor="ctr"/>
              <a:lstStyle/>
              <a:p>
                <a:endParaRPr lang="en-GB" sz="1050"/>
              </a:p>
            </p:txBody>
          </p:sp>
        </p:grpSp>
        <p:sp>
          <p:nvSpPr>
            <p:cNvPr id="29" name="TextBox 28">
              <a:extLst>
                <a:ext uri="{FF2B5EF4-FFF2-40B4-BE49-F238E27FC236}">
                  <a16:creationId xmlns:a16="http://schemas.microsoft.com/office/drawing/2014/main" id="{844BE04E-DBF3-4087-81C2-8A1A7A35F11E}"/>
                </a:ext>
              </a:extLst>
            </p:cNvPr>
            <p:cNvSpPr txBox="1"/>
            <p:nvPr/>
          </p:nvSpPr>
          <p:spPr>
            <a:xfrm>
              <a:off x="1313831" y="4193897"/>
              <a:ext cx="729364" cy="369333"/>
            </a:xfrm>
            <a:prstGeom prst="rect">
              <a:avLst/>
            </a:prstGeom>
            <a:noFill/>
          </p:spPr>
          <p:txBody>
            <a:bodyPr wrap="square" rtlCol="0">
              <a:spAutoFit/>
            </a:bodyPr>
            <a:lstStyle/>
            <a:p>
              <a:pPr algn="ctr"/>
              <a:r>
                <a:rPr lang="en-GB" sz="900" b="1">
                  <a:solidFill>
                    <a:schemeClr val="tx2"/>
                  </a:solidFill>
                  <a:latin typeface="Trebuchet MS" panose="020B0603020202020204" pitchFamily="34" charset="0"/>
                </a:rPr>
                <a:t>Batch solutions</a:t>
              </a:r>
            </a:p>
          </p:txBody>
        </p:sp>
      </p:grpSp>
      <p:sp>
        <p:nvSpPr>
          <p:cNvPr id="36" name="TextBox 35">
            <a:extLst>
              <a:ext uri="{FF2B5EF4-FFF2-40B4-BE49-F238E27FC236}">
                <a16:creationId xmlns:a16="http://schemas.microsoft.com/office/drawing/2014/main" id="{587B958D-FA5A-4603-BD6E-B765C9562124}"/>
              </a:ext>
            </a:extLst>
          </p:cNvPr>
          <p:cNvSpPr txBox="1"/>
          <p:nvPr/>
        </p:nvSpPr>
        <p:spPr>
          <a:xfrm>
            <a:off x="2142841" y="3768216"/>
            <a:ext cx="2606608" cy="900246"/>
          </a:xfrm>
          <a:prstGeom prst="rect">
            <a:avLst/>
          </a:prstGeom>
          <a:noFill/>
        </p:spPr>
        <p:txBody>
          <a:bodyPr wrap="square" rtlCol="0">
            <a:spAutoFit/>
          </a:bodyPr>
          <a:lstStyle/>
          <a:p>
            <a:pPr marL="171450" indent="-171450" algn="just">
              <a:spcAft>
                <a:spcPts val="30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Manual treatment </a:t>
            </a:r>
            <a:r>
              <a:rPr lang="en-GB" sz="1000">
                <a:latin typeface="Trebuchet MS" panose="020B0603020202020204" pitchFamily="34" charset="0"/>
              </a:rPr>
              <a:t>on clients’ data such as enrichment, cleaning or definition of </a:t>
            </a:r>
            <a:r>
              <a:rPr lang="en-GB" sz="1000">
                <a:solidFill>
                  <a:schemeClr val="tx2"/>
                </a:solidFill>
                <a:latin typeface="Trebuchet MS" panose="020B0603020202020204" pitchFamily="34" charset="0"/>
              </a:rPr>
              <a:t>customized indicators</a:t>
            </a:r>
          </a:p>
          <a:p>
            <a:pPr marL="171450" indent="-171450" algn="just">
              <a:spcAft>
                <a:spcPts val="300"/>
              </a:spcAft>
              <a:buClr>
                <a:schemeClr val="tx1"/>
              </a:buClr>
              <a:buFont typeface="Arial" panose="020B0604020202020204" pitchFamily="34" charset="0"/>
              <a:buChar char="•"/>
            </a:pPr>
            <a:r>
              <a:rPr lang="en-GB" sz="1000">
                <a:latin typeface="Trebuchet MS" panose="020B0603020202020204" pitchFamily="34" charset="0"/>
              </a:rPr>
              <a:t>The </a:t>
            </a:r>
            <a:r>
              <a:rPr lang="en-GB" sz="1000">
                <a:solidFill>
                  <a:schemeClr val="tx2"/>
                </a:solidFill>
                <a:latin typeface="Trebuchet MS" panose="020B0603020202020204" pitchFamily="34" charset="0"/>
              </a:rPr>
              <a:t>output</a:t>
            </a:r>
            <a:r>
              <a:rPr lang="en-GB" sz="1000">
                <a:latin typeface="Trebuchet MS" panose="020B0603020202020204" pitchFamily="34" charset="0"/>
              </a:rPr>
              <a:t> of a batch solution is a </a:t>
            </a:r>
            <a:r>
              <a:rPr lang="en-GB" sz="1000">
                <a:solidFill>
                  <a:schemeClr val="tx2"/>
                </a:solidFill>
                <a:latin typeface="Trebuchet MS" panose="020B0603020202020204" pitchFamily="34" charset="0"/>
              </a:rPr>
              <a:t>file</a:t>
            </a:r>
            <a:r>
              <a:rPr lang="en-GB" sz="1000">
                <a:latin typeface="Trebuchet MS" panose="020B0603020202020204" pitchFamily="34" charset="0"/>
              </a:rPr>
              <a:t> containing the data</a:t>
            </a:r>
          </a:p>
        </p:txBody>
      </p:sp>
      <p:sp>
        <p:nvSpPr>
          <p:cNvPr id="81" name="Ellipse 80">
            <a:extLst>
              <a:ext uri="{FF2B5EF4-FFF2-40B4-BE49-F238E27FC236}">
                <a16:creationId xmlns:a16="http://schemas.microsoft.com/office/drawing/2014/main" id="{22A94203-B73F-4DB7-8476-F59F64792949}"/>
              </a:ext>
            </a:extLst>
          </p:cNvPr>
          <p:cNvSpPr/>
          <p:nvPr/>
        </p:nvSpPr>
        <p:spPr bwMode="auto">
          <a:xfrm>
            <a:off x="1146609" y="3826769"/>
            <a:ext cx="223550" cy="213007"/>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700">
                <a:solidFill>
                  <a:schemeClr val="bg1"/>
                </a:solidFill>
                <a:latin typeface="Trebuchet MS" panose="020B0603020202020204" pitchFamily="34" charset="0"/>
              </a:rPr>
              <a:t>3</a:t>
            </a:r>
            <a:endParaRPr kumimoji="0" lang="en-GB" sz="700" b="0" i="0" u="none" strike="noStrike" cap="none" normalizeH="0" baseline="0">
              <a:ln>
                <a:noFill/>
              </a:ln>
              <a:solidFill>
                <a:schemeClr val="bg1"/>
              </a:solidFill>
              <a:effectLst/>
              <a:latin typeface="Trebuchet MS" panose="020B0603020202020204" pitchFamily="34" charset="0"/>
            </a:endParaRPr>
          </a:p>
        </p:txBody>
      </p:sp>
      <p:sp>
        <p:nvSpPr>
          <p:cNvPr id="61" name="Rectangle 60">
            <a:extLst>
              <a:ext uri="{FF2B5EF4-FFF2-40B4-BE49-F238E27FC236}">
                <a16:creationId xmlns:a16="http://schemas.microsoft.com/office/drawing/2014/main" id="{7EEC8E8F-387F-4944-BDAE-E82F6BEE926B}"/>
              </a:ext>
            </a:extLst>
          </p:cNvPr>
          <p:cNvSpPr/>
          <p:nvPr/>
        </p:nvSpPr>
        <p:spPr bwMode="auto">
          <a:xfrm>
            <a:off x="1012520" y="1504431"/>
            <a:ext cx="3794377" cy="120242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38" name="Group 37">
            <a:extLst>
              <a:ext uri="{FF2B5EF4-FFF2-40B4-BE49-F238E27FC236}">
                <a16:creationId xmlns:a16="http://schemas.microsoft.com/office/drawing/2014/main" id="{B170E5DA-26E6-4F76-AFD6-4EB1BF735AFA}"/>
              </a:ext>
            </a:extLst>
          </p:cNvPr>
          <p:cNvGrpSpPr/>
          <p:nvPr/>
        </p:nvGrpSpPr>
        <p:grpSpPr>
          <a:xfrm>
            <a:off x="1297843" y="1747248"/>
            <a:ext cx="761340" cy="716790"/>
            <a:chOff x="1103599" y="1846264"/>
            <a:chExt cx="761340" cy="716790"/>
          </a:xfrm>
        </p:grpSpPr>
        <p:grpSp>
          <p:nvGrpSpPr>
            <p:cNvPr id="4" name="Graphic 33">
              <a:extLst>
                <a:ext uri="{FF2B5EF4-FFF2-40B4-BE49-F238E27FC236}">
                  <a16:creationId xmlns:a16="http://schemas.microsoft.com/office/drawing/2014/main" id="{4808E2DE-B1FC-48CA-AD15-98BA44A0BD48}"/>
                </a:ext>
              </a:extLst>
            </p:cNvPr>
            <p:cNvGrpSpPr/>
            <p:nvPr/>
          </p:nvGrpSpPr>
          <p:grpSpPr>
            <a:xfrm>
              <a:off x="1251699" y="1846264"/>
              <a:ext cx="465137" cy="347668"/>
              <a:chOff x="2056424" y="2817788"/>
              <a:chExt cx="824016" cy="615923"/>
            </a:xfrm>
            <a:solidFill>
              <a:schemeClr val="tx2"/>
            </a:solidFill>
          </p:grpSpPr>
          <p:sp>
            <p:nvSpPr>
              <p:cNvPr id="5" name="Freeform: Shape 4">
                <a:extLst>
                  <a:ext uri="{FF2B5EF4-FFF2-40B4-BE49-F238E27FC236}">
                    <a16:creationId xmlns:a16="http://schemas.microsoft.com/office/drawing/2014/main" id="{B420E8E3-07C1-4F6D-8C92-AB3559D02A34}"/>
                  </a:ext>
                </a:extLst>
              </p:cNvPr>
              <p:cNvSpPr/>
              <p:nvPr/>
            </p:nvSpPr>
            <p:spPr>
              <a:xfrm>
                <a:off x="2502194" y="3322269"/>
                <a:ext cx="180975" cy="85725"/>
              </a:xfrm>
              <a:custGeom>
                <a:avLst/>
                <a:gdLst>
                  <a:gd name="connsiteX0" fmla="*/ 25718 w 180975"/>
                  <a:gd name="connsiteY0" fmla="*/ 48577 h 85725"/>
                  <a:gd name="connsiteX1" fmla="*/ 0 w 180975"/>
                  <a:gd name="connsiteY1" fmla="*/ 52388 h 85725"/>
                  <a:gd name="connsiteX2" fmla="*/ 13335 w 180975"/>
                  <a:gd name="connsiteY2" fmla="*/ 63817 h 85725"/>
                  <a:gd name="connsiteX3" fmla="*/ 17145 w 180975"/>
                  <a:gd name="connsiteY3" fmla="*/ 73342 h 85725"/>
                  <a:gd name="connsiteX4" fmla="*/ 11430 w 180975"/>
                  <a:gd name="connsiteY4" fmla="*/ 81915 h 85725"/>
                  <a:gd name="connsiteX5" fmla="*/ 4763 w 180975"/>
                  <a:gd name="connsiteY5" fmla="*/ 85725 h 85725"/>
                  <a:gd name="connsiteX6" fmla="*/ 32385 w 180975"/>
                  <a:gd name="connsiteY6" fmla="*/ 81915 h 85725"/>
                  <a:gd name="connsiteX7" fmla="*/ 180975 w 180975"/>
                  <a:gd name="connsiteY7" fmla="*/ 0 h 85725"/>
                  <a:gd name="connsiteX8" fmla="*/ 131445 w 180975"/>
                  <a:gd name="connsiteY8" fmla="*/ 0 h 85725"/>
                  <a:gd name="connsiteX9" fmla="*/ 25718 w 180975"/>
                  <a:gd name="connsiteY9" fmla="*/ 48577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975" h="85725">
                    <a:moveTo>
                      <a:pt x="25718" y="48577"/>
                    </a:moveTo>
                    <a:cubicBezTo>
                      <a:pt x="17145" y="50482"/>
                      <a:pt x="8573" y="51435"/>
                      <a:pt x="0" y="52388"/>
                    </a:cubicBezTo>
                    <a:lnTo>
                      <a:pt x="13335" y="63817"/>
                    </a:lnTo>
                    <a:cubicBezTo>
                      <a:pt x="16193" y="65722"/>
                      <a:pt x="17145" y="69532"/>
                      <a:pt x="17145" y="73342"/>
                    </a:cubicBezTo>
                    <a:cubicBezTo>
                      <a:pt x="17145" y="77152"/>
                      <a:pt x="15240" y="80010"/>
                      <a:pt x="11430" y="81915"/>
                    </a:cubicBezTo>
                    <a:lnTo>
                      <a:pt x="4763" y="85725"/>
                    </a:lnTo>
                    <a:cubicBezTo>
                      <a:pt x="14288" y="84772"/>
                      <a:pt x="22860" y="83820"/>
                      <a:pt x="32385" y="81915"/>
                    </a:cubicBezTo>
                    <a:cubicBezTo>
                      <a:pt x="89535" y="70485"/>
                      <a:pt x="140970" y="41910"/>
                      <a:pt x="180975" y="0"/>
                    </a:cubicBezTo>
                    <a:lnTo>
                      <a:pt x="131445" y="0"/>
                    </a:lnTo>
                    <a:cubicBezTo>
                      <a:pt x="100965" y="23813"/>
                      <a:pt x="64770" y="40005"/>
                      <a:pt x="25718" y="48577"/>
                    </a:cubicBezTo>
                    <a:close/>
                  </a:path>
                </a:pathLst>
              </a:custGeom>
              <a:grpFill/>
              <a:ln w="9525" cap="flat">
                <a:noFill/>
                <a:prstDash val="solid"/>
                <a:miter/>
              </a:ln>
            </p:spPr>
            <p:txBody>
              <a:bodyPr rtlCol="0" anchor="ctr"/>
              <a:lstStyle/>
              <a:p>
                <a:endParaRPr lang="en-GB" sz="1050"/>
              </a:p>
            </p:txBody>
          </p:sp>
          <p:sp>
            <p:nvSpPr>
              <p:cNvPr id="6" name="Freeform: Shape 5">
                <a:extLst>
                  <a:ext uri="{FF2B5EF4-FFF2-40B4-BE49-F238E27FC236}">
                    <a16:creationId xmlns:a16="http://schemas.microsoft.com/office/drawing/2014/main" id="{2C9BD8AC-BE5A-433B-B1A7-739AAB73DDB2}"/>
                  </a:ext>
                </a:extLst>
              </p:cNvPr>
              <p:cNvSpPr/>
              <p:nvPr/>
            </p:nvSpPr>
            <p:spPr>
              <a:xfrm>
                <a:off x="2315504" y="2846971"/>
                <a:ext cx="134302" cy="60007"/>
              </a:xfrm>
              <a:custGeom>
                <a:avLst/>
                <a:gdLst>
                  <a:gd name="connsiteX0" fmla="*/ 113347 w 134302"/>
                  <a:gd name="connsiteY0" fmla="*/ 34290 h 60007"/>
                  <a:gd name="connsiteX1" fmla="*/ 134302 w 134302"/>
                  <a:gd name="connsiteY1" fmla="*/ 31433 h 60007"/>
                  <a:gd name="connsiteX2" fmla="*/ 117157 w 134302"/>
                  <a:gd name="connsiteY2" fmla="*/ 16193 h 60007"/>
                  <a:gd name="connsiteX3" fmla="*/ 113347 w 134302"/>
                  <a:gd name="connsiteY3" fmla="*/ 6668 h 60007"/>
                  <a:gd name="connsiteX4" fmla="*/ 116205 w 134302"/>
                  <a:gd name="connsiteY4" fmla="*/ 0 h 60007"/>
                  <a:gd name="connsiteX5" fmla="*/ 107632 w 134302"/>
                  <a:gd name="connsiteY5" fmla="*/ 1905 h 60007"/>
                  <a:gd name="connsiteX6" fmla="*/ 0 w 134302"/>
                  <a:gd name="connsiteY6" fmla="*/ 47625 h 60007"/>
                  <a:gd name="connsiteX7" fmla="*/ 44767 w 134302"/>
                  <a:gd name="connsiteY7" fmla="*/ 60008 h 60007"/>
                  <a:gd name="connsiteX8" fmla="*/ 113347 w 134302"/>
                  <a:gd name="connsiteY8" fmla="*/ 34290 h 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02" h="60007">
                    <a:moveTo>
                      <a:pt x="113347" y="34290"/>
                    </a:moveTo>
                    <a:cubicBezTo>
                      <a:pt x="120015" y="33338"/>
                      <a:pt x="126682" y="31433"/>
                      <a:pt x="134302" y="31433"/>
                    </a:cubicBezTo>
                    <a:lnTo>
                      <a:pt x="117157" y="16193"/>
                    </a:lnTo>
                    <a:cubicBezTo>
                      <a:pt x="114300" y="14288"/>
                      <a:pt x="113347" y="10478"/>
                      <a:pt x="113347" y="6668"/>
                    </a:cubicBezTo>
                    <a:cubicBezTo>
                      <a:pt x="113347" y="3810"/>
                      <a:pt x="114300" y="1905"/>
                      <a:pt x="116205" y="0"/>
                    </a:cubicBezTo>
                    <a:cubicBezTo>
                      <a:pt x="113347" y="953"/>
                      <a:pt x="110490" y="953"/>
                      <a:pt x="107632" y="1905"/>
                    </a:cubicBezTo>
                    <a:cubicBezTo>
                      <a:pt x="68580" y="9525"/>
                      <a:pt x="32385" y="25718"/>
                      <a:pt x="0" y="47625"/>
                    </a:cubicBezTo>
                    <a:cubicBezTo>
                      <a:pt x="15240" y="50483"/>
                      <a:pt x="30480" y="54293"/>
                      <a:pt x="44767" y="60008"/>
                    </a:cubicBezTo>
                    <a:cubicBezTo>
                      <a:pt x="65722" y="47625"/>
                      <a:pt x="88582" y="39053"/>
                      <a:pt x="113347" y="34290"/>
                    </a:cubicBezTo>
                    <a:close/>
                  </a:path>
                </a:pathLst>
              </a:custGeom>
              <a:grpFill/>
              <a:ln w="9525" cap="flat">
                <a:noFill/>
                <a:prstDash val="solid"/>
                <a:miter/>
              </a:ln>
            </p:spPr>
            <p:txBody>
              <a:bodyPr rtlCol="0" anchor="ctr"/>
              <a:lstStyle/>
              <a:p>
                <a:endParaRPr lang="en-GB" sz="1050"/>
              </a:p>
            </p:txBody>
          </p:sp>
          <p:sp>
            <p:nvSpPr>
              <p:cNvPr id="7" name="Freeform: Shape 6">
                <a:extLst>
                  <a:ext uri="{FF2B5EF4-FFF2-40B4-BE49-F238E27FC236}">
                    <a16:creationId xmlns:a16="http://schemas.microsoft.com/office/drawing/2014/main" id="{3D55E644-8777-492C-8F71-FC1A09606531}"/>
                  </a:ext>
                </a:extLst>
              </p:cNvPr>
              <p:cNvSpPr/>
              <p:nvPr/>
            </p:nvSpPr>
            <p:spPr>
              <a:xfrm>
                <a:off x="2445996" y="2817788"/>
                <a:ext cx="242887" cy="121575"/>
              </a:xfrm>
              <a:custGeom>
                <a:avLst/>
                <a:gdLst>
                  <a:gd name="connsiteX0" fmla="*/ 4763 w 242887"/>
                  <a:gd name="connsiteY0" fmla="*/ 47280 h 121575"/>
                  <a:gd name="connsiteX1" fmla="*/ 19050 w 242887"/>
                  <a:gd name="connsiteY1" fmla="*/ 58710 h 121575"/>
                  <a:gd name="connsiteX2" fmla="*/ 39053 w 242887"/>
                  <a:gd name="connsiteY2" fmla="*/ 74903 h 121575"/>
                  <a:gd name="connsiteX3" fmla="*/ 46673 w 242887"/>
                  <a:gd name="connsiteY3" fmla="*/ 81570 h 121575"/>
                  <a:gd name="connsiteX4" fmla="*/ 53340 w 242887"/>
                  <a:gd name="connsiteY4" fmla="*/ 84428 h 121575"/>
                  <a:gd name="connsiteX5" fmla="*/ 61913 w 242887"/>
                  <a:gd name="connsiteY5" fmla="*/ 80618 h 121575"/>
                  <a:gd name="connsiteX6" fmla="*/ 60008 w 242887"/>
                  <a:gd name="connsiteY6" fmla="*/ 64425 h 121575"/>
                  <a:gd name="connsiteX7" fmla="*/ 55245 w 242887"/>
                  <a:gd name="connsiteY7" fmla="*/ 60615 h 121575"/>
                  <a:gd name="connsiteX8" fmla="*/ 169545 w 242887"/>
                  <a:gd name="connsiteY8" fmla="*/ 101573 h 121575"/>
                  <a:gd name="connsiteX9" fmla="*/ 195263 w 242887"/>
                  <a:gd name="connsiteY9" fmla="*/ 121575 h 121575"/>
                  <a:gd name="connsiteX10" fmla="*/ 242888 w 242887"/>
                  <a:gd name="connsiteY10" fmla="*/ 121575 h 121575"/>
                  <a:gd name="connsiteX11" fmla="*/ 187643 w 242887"/>
                  <a:gd name="connsiteY11" fmla="*/ 73950 h 121575"/>
                  <a:gd name="connsiteX12" fmla="*/ 54293 w 242887"/>
                  <a:gd name="connsiteY12" fmla="*/ 27278 h 121575"/>
                  <a:gd name="connsiteX13" fmla="*/ 65723 w 242887"/>
                  <a:gd name="connsiteY13" fmla="*/ 20610 h 121575"/>
                  <a:gd name="connsiteX14" fmla="*/ 69533 w 242887"/>
                  <a:gd name="connsiteY14" fmla="*/ 5370 h 121575"/>
                  <a:gd name="connsiteX15" fmla="*/ 54293 w 242887"/>
                  <a:gd name="connsiteY15" fmla="*/ 1560 h 121575"/>
                  <a:gd name="connsiteX16" fmla="*/ 41910 w 242887"/>
                  <a:gd name="connsiteY16" fmla="*/ 7275 h 121575"/>
                  <a:gd name="connsiteX17" fmla="*/ 11430 w 242887"/>
                  <a:gd name="connsiteY17" fmla="*/ 25373 h 121575"/>
                  <a:gd name="connsiteX18" fmla="*/ 5715 w 242887"/>
                  <a:gd name="connsiteY18" fmla="*/ 28230 h 121575"/>
                  <a:gd name="connsiteX19" fmla="*/ 0 w 242887"/>
                  <a:gd name="connsiteY19" fmla="*/ 36803 h 121575"/>
                  <a:gd name="connsiteX20" fmla="*/ 4763 w 242887"/>
                  <a:gd name="connsiteY20" fmla="*/ 47280 h 12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2887" h="121575">
                    <a:moveTo>
                      <a:pt x="4763" y="47280"/>
                    </a:moveTo>
                    <a:lnTo>
                      <a:pt x="19050" y="58710"/>
                    </a:lnTo>
                    <a:lnTo>
                      <a:pt x="39053" y="74903"/>
                    </a:lnTo>
                    <a:lnTo>
                      <a:pt x="46673" y="81570"/>
                    </a:lnTo>
                    <a:cubicBezTo>
                      <a:pt x="48578" y="83475"/>
                      <a:pt x="51435" y="84428"/>
                      <a:pt x="53340" y="84428"/>
                    </a:cubicBezTo>
                    <a:cubicBezTo>
                      <a:pt x="56198" y="84428"/>
                      <a:pt x="60008" y="82523"/>
                      <a:pt x="61913" y="80618"/>
                    </a:cubicBezTo>
                    <a:cubicBezTo>
                      <a:pt x="65723" y="75855"/>
                      <a:pt x="64770" y="68235"/>
                      <a:pt x="60008" y="64425"/>
                    </a:cubicBezTo>
                    <a:lnTo>
                      <a:pt x="55245" y="60615"/>
                    </a:lnTo>
                    <a:cubicBezTo>
                      <a:pt x="96203" y="64425"/>
                      <a:pt x="135255" y="77760"/>
                      <a:pt x="169545" y="101573"/>
                    </a:cubicBezTo>
                    <a:cubicBezTo>
                      <a:pt x="179070" y="107288"/>
                      <a:pt x="187643" y="113955"/>
                      <a:pt x="195263" y="121575"/>
                    </a:cubicBezTo>
                    <a:lnTo>
                      <a:pt x="242888" y="121575"/>
                    </a:lnTo>
                    <a:cubicBezTo>
                      <a:pt x="226695" y="103478"/>
                      <a:pt x="208598" y="87285"/>
                      <a:pt x="187643" y="73950"/>
                    </a:cubicBezTo>
                    <a:cubicBezTo>
                      <a:pt x="146685" y="47280"/>
                      <a:pt x="100965" y="31088"/>
                      <a:pt x="54293" y="27278"/>
                    </a:cubicBezTo>
                    <a:lnTo>
                      <a:pt x="65723" y="20610"/>
                    </a:lnTo>
                    <a:cubicBezTo>
                      <a:pt x="71438" y="17753"/>
                      <a:pt x="72390" y="10133"/>
                      <a:pt x="69533" y="5370"/>
                    </a:cubicBezTo>
                    <a:cubicBezTo>
                      <a:pt x="66675" y="-345"/>
                      <a:pt x="59055" y="-1297"/>
                      <a:pt x="54293" y="1560"/>
                    </a:cubicBezTo>
                    <a:lnTo>
                      <a:pt x="41910" y="7275"/>
                    </a:lnTo>
                    <a:lnTo>
                      <a:pt x="11430" y="25373"/>
                    </a:lnTo>
                    <a:lnTo>
                      <a:pt x="5715" y="28230"/>
                    </a:lnTo>
                    <a:cubicBezTo>
                      <a:pt x="2858" y="30135"/>
                      <a:pt x="953" y="32993"/>
                      <a:pt x="0" y="36803"/>
                    </a:cubicBezTo>
                    <a:cubicBezTo>
                      <a:pt x="0" y="41565"/>
                      <a:pt x="1905" y="45375"/>
                      <a:pt x="4763" y="47280"/>
                    </a:cubicBezTo>
                    <a:close/>
                  </a:path>
                </a:pathLst>
              </a:custGeom>
              <a:grpFill/>
              <a:ln w="9525" cap="flat">
                <a:noFill/>
                <a:prstDash val="solid"/>
                <a:miter/>
              </a:ln>
            </p:spPr>
            <p:txBody>
              <a:bodyPr rtlCol="0" anchor="ctr"/>
              <a:lstStyle/>
              <a:p>
                <a:endParaRPr lang="en-GB" sz="1050"/>
              </a:p>
            </p:txBody>
          </p:sp>
          <p:sp>
            <p:nvSpPr>
              <p:cNvPr id="8" name="Freeform: Shape 7">
                <a:extLst>
                  <a:ext uri="{FF2B5EF4-FFF2-40B4-BE49-F238E27FC236}">
                    <a16:creationId xmlns:a16="http://schemas.microsoft.com/office/drawing/2014/main" id="{9F9CD855-0D1F-4500-9917-CA235E4A687F}"/>
                  </a:ext>
                </a:extLst>
              </p:cNvPr>
              <p:cNvSpPr/>
              <p:nvPr/>
            </p:nvSpPr>
            <p:spPr>
              <a:xfrm>
                <a:off x="2311694" y="3344176"/>
                <a:ext cx="190500" cy="89535"/>
              </a:xfrm>
              <a:custGeom>
                <a:avLst/>
                <a:gdLst>
                  <a:gd name="connsiteX0" fmla="*/ 184785 w 190500"/>
                  <a:gd name="connsiteY0" fmla="*/ 39052 h 89535"/>
                  <a:gd name="connsiteX1" fmla="*/ 175260 w 190500"/>
                  <a:gd name="connsiteY1" fmla="*/ 31433 h 89535"/>
                  <a:gd name="connsiteX2" fmla="*/ 151448 w 190500"/>
                  <a:gd name="connsiteY2" fmla="*/ 12383 h 89535"/>
                  <a:gd name="connsiteX3" fmla="*/ 143827 w 190500"/>
                  <a:gd name="connsiteY3" fmla="*/ 5715 h 89535"/>
                  <a:gd name="connsiteX4" fmla="*/ 127635 w 190500"/>
                  <a:gd name="connsiteY4" fmla="*/ 7620 h 89535"/>
                  <a:gd name="connsiteX5" fmla="*/ 129540 w 190500"/>
                  <a:gd name="connsiteY5" fmla="*/ 23813 h 89535"/>
                  <a:gd name="connsiteX6" fmla="*/ 138113 w 190500"/>
                  <a:gd name="connsiteY6" fmla="*/ 30480 h 89535"/>
                  <a:gd name="connsiteX7" fmla="*/ 44768 w 190500"/>
                  <a:gd name="connsiteY7" fmla="*/ 0 h 89535"/>
                  <a:gd name="connsiteX8" fmla="*/ 0 w 190500"/>
                  <a:gd name="connsiteY8" fmla="*/ 11430 h 89535"/>
                  <a:gd name="connsiteX9" fmla="*/ 10477 w 190500"/>
                  <a:gd name="connsiteY9" fmla="*/ 19050 h 89535"/>
                  <a:gd name="connsiteX10" fmla="*/ 131445 w 190500"/>
                  <a:gd name="connsiteY10" fmla="*/ 63818 h 89535"/>
                  <a:gd name="connsiteX11" fmla="*/ 123825 w 190500"/>
                  <a:gd name="connsiteY11" fmla="*/ 68580 h 89535"/>
                  <a:gd name="connsiteX12" fmla="*/ 120015 w 190500"/>
                  <a:gd name="connsiteY12" fmla="*/ 83820 h 89535"/>
                  <a:gd name="connsiteX13" fmla="*/ 129540 w 190500"/>
                  <a:gd name="connsiteY13" fmla="*/ 89535 h 89535"/>
                  <a:gd name="connsiteX14" fmla="*/ 135255 w 190500"/>
                  <a:gd name="connsiteY14" fmla="*/ 87630 h 89535"/>
                  <a:gd name="connsiteX15" fmla="*/ 148590 w 190500"/>
                  <a:gd name="connsiteY15" fmla="*/ 80010 h 89535"/>
                  <a:gd name="connsiteX16" fmla="*/ 172402 w 190500"/>
                  <a:gd name="connsiteY16" fmla="*/ 65723 h 89535"/>
                  <a:gd name="connsiteX17" fmla="*/ 184785 w 190500"/>
                  <a:gd name="connsiteY17" fmla="*/ 58102 h 89535"/>
                  <a:gd name="connsiteX18" fmla="*/ 190500 w 190500"/>
                  <a:gd name="connsiteY18" fmla="*/ 49530 h 89535"/>
                  <a:gd name="connsiteX19" fmla="*/ 184785 w 190500"/>
                  <a:gd name="connsiteY19" fmla="*/ 39052 h 89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0500" h="89535">
                    <a:moveTo>
                      <a:pt x="184785" y="39052"/>
                    </a:moveTo>
                    <a:lnTo>
                      <a:pt x="175260" y="31433"/>
                    </a:lnTo>
                    <a:lnTo>
                      <a:pt x="151448" y="12383"/>
                    </a:lnTo>
                    <a:lnTo>
                      <a:pt x="143827" y="5715"/>
                    </a:lnTo>
                    <a:cubicBezTo>
                      <a:pt x="139065" y="1905"/>
                      <a:pt x="131445" y="2858"/>
                      <a:pt x="127635" y="7620"/>
                    </a:cubicBezTo>
                    <a:cubicBezTo>
                      <a:pt x="123825" y="12383"/>
                      <a:pt x="124777" y="20002"/>
                      <a:pt x="129540" y="23813"/>
                    </a:cubicBezTo>
                    <a:lnTo>
                      <a:pt x="138113" y="30480"/>
                    </a:lnTo>
                    <a:cubicBezTo>
                      <a:pt x="105727" y="26670"/>
                      <a:pt x="74295" y="16193"/>
                      <a:pt x="44768" y="0"/>
                    </a:cubicBezTo>
                    <a:cubicBezTo>
                      <a:pt x="30480" y="4763"/>
                      <a:pt x="15240" y="8573"/>
                      <a:pt x="0" y="11430"/>
                    </a:cubicBezTo>
                    <a:cubicBezTo>
                      <a:pt x="3810" y="14288"/>
                      <a:pt x="6668" y="16193"/>
                      <a:pt x="10477" y="19050"/>
                    </a:cubicBezTo>
                    <a:cubicBezTo>
                      <a:pt x="47625" y="43815"/>
                      <a:pt x="88582" y="59055"/>
                      <a:pt x="131445" y="63818"/>
                    </a:cubicBezTo>
                    <a:lnTo>
                      <a:pt x="123825" y="68580"/>
                    </a:lnTo>
                    <a:cubicBezTo>
                      <a:pt x="118110" y="71438"/>
                      <a:pt x="117157" y="79058"/>
                      <a:pt x="120015" y="83820"/>
                    </a:cubicBezTo>
                    <a:cubicBezTo>
                      <a:pt x="121920" y="87630"/>
                      <a:pt x="125730" y="89535"/>
                      <a:pt x="129540" y="89535"/>
                    </a:cubicBezTo>
                    <a:cubicBezTo>
                      <a:pt x="131445" y="89535"/>
                      <a:pt x="133350" y="88583"/>
                      <a:pt x="135255" y="87630"/>
                    </a:cubicBezTo>
                    <a:lnTo>
                      <a:pt x="148590" y="80010"/>
                    </a:lnTo>
                    <a:lnTo>
                      <a:pt x="172402" y="65723"/>
                    </a:lnTo>
                    <a:lnTo>
                      <a:pt x="184785" y="58102"/>
                    </a:lnTo>
                    <a:cubicBezTo>
                      <a:pt x="187643" y="56198"/>
                      <a:pt x="189548" y="53340"/>
                      <a:pt x="190500" y="49530"/>
                    </a:cubicBezTo>
                    <a:cubicBezTo>
                      <a:pt x="189548" y="44768"/>
                      <a:pt x="187643" y="40958"/>
                      <a:pt x="184785" y="39052"/>
                    </a:cubicBezTo>
                    <a:close/>
                  </a:path>
                </a:pathLst>
              </a:custGeom>
              <a:grpFill/>
              <a:ln w="9525" cap="flat">
                <a:noFill/>
                <a:prstDash val="solid"/>
                <a:miter/>
              </a:ln>
            </p:spPr>
            <p:txBody>
              <a:bodyPr rtlCol="0" anchor="ctr"/>
              <a:lstStyle/>
              <a:p>
                <a:endParaRPr lang="en-GB" sz="1050"/>
              </a:p>
            </p:txBody>
          </p:sp>
          <p:sp>
            <p:nvSpPr>
              <p:cNvPr id="9" name="Freeform: Shape 8">
                <a:extLst>
                  <a:ext uri="{FF2B5EF4-FFF2-40B4-BE49-F238E27FC236}">
                    <a16:creationId xmlns:a16="http://schemas.microsoft.com/office/drawing/2014/main" id="{01C3C477-F09A-4489-BB98-FD4F0D490721}"/>
                  </a:ext>
                </a:extLst>
              </p:cNvPr>
              <p:cNvSpPr/>
              <p:nvPr/>
            </p:nvSpPr>
            <p:spPr>
              <a:xfrm>
                <a:off x="2460284" y="2953651"/>
                <a:ext cx="420156" cy="280987"/>
              </a:xfrm>
              <a:custGeom>
                <a:avLst/>
                <a:gdLst>
                  <a:gd name="connsiteX0" fmla="*/ 407670 w 420156"/>
                  <a:gd name="connsiteY0" fmla="*/ 953 h 280987"/>
                  <a:gd name="connsiteX1" fmla="*/ 401003 w 420156"/>
                  <a:gd name="connsiteY1" fmla="*/ 0 h 280987"/>
                  <a:gd name="connsiteX2" fmla="*/ 242888 w 420156"/>
                  <a:gd name="connsiteY2" fmla="*/ 0 h 280987"/>
                  <a:gd name="connsiteX3" fmla="*/ 199073 w 420156"/>
                  <a:gd name="connsiteY3" fmla="*/ 0 h 280987"/>
                  <a:gd name="connsiteX4" fmla="*/ 20003 w 420156"/>
                  <a:gd name="connsiteY4" fmla="*/ 0 h 280987"/>
                  <a:gd name="connsiteX5" fmla="*/ 13335 w 420156"/>
                  <a:gd name="connsiteY5" fmla="*/ 953 h 280987"/>
                  <a:gd name="connsiteX6" fmla="*/ 0 w 420156"/>
                  <a:gd name="connsiteY6" fmla="*/ 20003 h 280987"/>
                  <a:gd name="connsiteX7" fmla="*/ 0 w 420156"/>
                  <a:gd name="connsiteY7" fmla="*/ 27623 h 280987"/>
                  <a:gd name="connsiteX8" fmla="*/ 9525 w 420156"/>
                  <a:gd name="connsiteY8" fmla="*/ 40958 h 280987"/>
                  <a:gd name="connsiteX9" fmla="*/ 17145 w 420156"/>
                  <a:gd name="connsiteY9" fmla="*/ 53340 h 280987"/>
                  <a:gd name="connsiteX10" fmla="*/ 34290 w 420156"/>
                  <a:gd name="connsiteY10" fmla="*/ 88583 h 280987"/>
                  <a:gd name="connsiteX11" fmla="*/ 34290 w 420156"/>
                  <a:gd name="connsiteY11" fmla="*/ 33338 h 280987"/>
                  <a:gd name="connsiteX12" fmla="*/ 225743 w 420156"/>
                  <a:gd name="connsiteY12" fmla="*/ 33338 h 280987"/>
                  <a:gd name="connsiteX13" fmla="*/ 265748 w 420156"/>
                  <a:gd name="connsiteY13" fmla="*/ 33338 h 280987"/>
                  <a:gd name="connsiteX14" fmla="*/ 387668 w 420156"/>
                  <a:gd name="connsiteY14" fmla="*/ 33338 h 280987"/>
                  <a:gd name="connsiteX15" fmla="*/ 387668 w 420156"/>
                  <a:gd name="connsiteY15" fmla="*/ 248603 h 280987"/>
                  <a:gd name="connsiteX16" fmla="*/ 291465 w 420156"/>
                  <a:gd name="connsiteY16" fmla="*/ 248603 h 280987"/>
                  <a:gd name="connsiteX17" fmla="*/ 256223 w 420156"/>
                  <a:gd name="connsiteY17" fmla="*/ 248603 h 280987"/>
                  <a:gd name="connsiteX18" fmla="*/ 35243 w 420156"/>
                  <a:gd name="connsiteY18" fmla="*/ 248603 h 280987"/>
                  <a:gd name="connsiteX19" fmla="*/ 28575 w 420156"/>
                  <a:gd name="connsiteY19" fmla="*/ 263843 h 280987"/>
                  <a:gd name="connsiteX20" fmla="*/ 27623 w 420156"/>
                  <a:gd name="connsiteY20" fmla="*/ 264795 h 280987"/>
                  <a:gd name="connsiteX21" fmla="*/ 20003 w 420156"/>
                  <a:gd name="connsiteY21" fmla="*/ 280035 h 280987"/>
                  <a:gd name="connsiteX22" fmla="*/ 19050 w 420156"/>
                  <a:gd name="connsiteY22" fmla="*/ 280988 h 280987"/>
                  <a:gd name="connsiteX23" fmla="*/ 240983 w 420156"/>
                  <a:gd name="connsiteY23" fmla="*/ 280988 h 280987"/>
                  <a:gd name="connsiteX24" fmla="*/ 278130 w 420156"/>
                  <a:gd name="connsiteY24" fmla="*/ 280988 h 280987"/>
                  <a:gd name="connsiteX25" fmla="*/ 400050 w 420156"/>
                  <a:gd name="connsiteY25" fmla="*/ 280988 h 280987"/>
                  <a:gd name="connsiteX26" fmla="*/ 406718 w 420156"/>
                  <a:gd name="connsiteY26" fmla="*/ 280035 h 280987"/>
                  <a:gd name="connsiteX27" fmla="*/ 420053 w 420156"/>
                  <a:gd name="connsiteY27" fmla="*/ 260985 h 280987"/>
                  <a:gd name="connsiteX28" fmla="*/ 420053 w 420156"/>
                  <a:gd name="connsiteY28" fmla="*/ 20003 h 280987"/>
                  <a:gd name="connsiteX29" fmla="*/ 407670 w 420156"/>
                  <a:gd name="connsiteY29" fmla="*/ 953 h 28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20156" h="280987">
                    <a:moveTo>
                      <a:pt x="407670" y="953"/>
                    </a:moveTo>
                    <a:cubicBezTo>
                      <a:pt x="405765" y="0"/>
                      <a:pt x="402908" y="0"/>
                      <a:pt x="401003" y="0"/>
                    </a:cubicBezTo>
                    <a:lnTo>
                      <a:pt x="242888" y="0"/>
                    </a:lnTo>
                    <a:lnTo>
                      <a:pt x="199073" y="0"/>
                    </a:lnTo>
                    <a:lnTo>
                      <a:pt x="20003" y="0"/>
                    </a:lnTo>
                    <a:cubicBezTo>
                      <a:pt x="18098" y="0"/>
                      <a:pt x="15240" y="0"/>
                      <a:pt x="13335" y="953"/>
                    </a:cubicBezTo>
                    <a:cubicBezTo>
                      <a:pt x="5715" y="3810"/>
                      <a:pt x="0" y="11430"/>
                      <a:pt x="0" y="20003"/>
                    </a:cubicBezTo>
                    <a:lnTo>
                      <a:pt x="0" y="27623"/>
                    </a:lnTo>
                    <a:cubicBezTo>
                      <a:pt x="2858" y="31433"/>
                      <a:pt x="6668" y="36195"/>
                      <a:pt x="9525" y="40958"/>
                    </a:cubicBezTo>
                    <a:cubicBezTo>
                      <a:pt x="12383" y="44768"/>
                      <a:pt x="14288" y="48578"/>
                      <a:pt x="17145" y="53340"/>
                    </a:cubicBezTo>
                    <a:cubicBezTo>
                      <a:pt x="23813" y="64770"/>
                      <a:pt x="29528" y="76200"/>
                      <a:pt x="34290" y="88583"/>
                    </a:cubicBezTo>
                    <a:lnTo>
                      <a:pt x="34290" y="33338"/>
                    </a:lnTo>
                    <a:lnTo>
                      <a:pt x="225743" y="33338"/>
                    </a:lnTo>
                    <a:lnTo>
                      <a:pt x="265748" y="33338"/>
                    </a:lnTo>
                    <a:lnTo>
                      <a:pt x="387668" y="33338"/>
                    </a:lnTo>
                    <a:lnTo>
                      <a:pt x="387668" y="248603"/>
                    </a:lnTo>
                    <a:lnTo>
                      <a:pt x="291465" y="248603"/>
                    </a:lnTo>
                    <a:lnTo>
                      <a:pt x="256223" y="248603"/>
                    </a:lnTo>
                    <a:lnTo>
                      <a:pt x="35243" y="248603"/>
                    </a:lnTo>
                    <a:cubicBezTo>
                      <a:pt x="33338" y="254318"/>
                      <a:pt x="31433" y="259080"/>
                      <a:pt x="28575" y="263843"/>
                    </a:cubicBezTo>
                    <a:cubicBezTo>
                      <a:pt x="28575" y="263843"/>
                      <a:pt x="28575" y="264795"/>
                      <a:pt x="27623" y="264795"/>
                    </a:cubicBezTo>
                    <a:cubicBezTo>
                      <a:pt x="25718" y="270510"/>
                      <a:pt x="22860" y="275273"/>
                      <a:pt x="20003" y="280035"/>
                    </a:cubicBezTo>
                    <a:cubicBezTo>
                      <a:pt x="20003" y="280035"/>
                      <a:pt x="20003" y="280988"/>
                      <a:pt x="19050" y="280988"/>
                    </a:cubicBezTo>
                    <a:lnTo>
                      <a:pt x="240983" y="280988"/>
                    </a:lnTo>
                    <a:lnTo>
                      <a:pt x="278130" y="280988"/>
                    </a:lnTo>
                    <a:lnTo>
                      <a:pt x="400050" y="280988"/>
                    </a:lnTo>
                    <a:cubicBezTo>
                      <a:pt x="401955" y="280988"/>
                      <a:pt x="404813" y="280988"/>
                      <a:pt x="406718" y="280035"/>
                    </a:cubicBezTo>
                    <a:cubicBezTo>
                      <a:pt x="414338" y="277178"/>
                      <a:pt x="420053" y="269558"/>
                      <a:pt x="420053" y="260985"/>
                    </a:cubicBezTo>
                    <a:lnTo>
                      <a:pt x="420053" y="20003"/>
                    </a:lnTo>
                    <a:cubicBezTo>
                      <a:pt x="421005" y="11430"/>
                      <a:pt x="415290" y="3810"/>
                      <a:pt x="407670" y="953"/>
                    </a:cubicBezTo>
                    <a:close/>
                  </a:path>
                </a:pathLst>
              </a:custGeom>
              <a:grpFill/>
              <a:ln w="9525" cap="flat">
                <a:noFill/>
                <a:prstDash val="solid"/>
                <a:miter/>
              </a:ln>
            </p:spPr>
            <p:txBody>
              <a:bodyPr rtlCol="0" anchor="ctr"/>
              <a:lstStyle/>
              <a:p>
                <a:endParaRPr lang="en-GB" sz="1050"/>
              </a:p>
            </p:txBody>
          </p:sp>
          <p:sp>
            <p:nvSpPr>
              <p:cNvPr id="10" name="Freeform: Shape 9">
                <a:extLst>
                  <a:ext uri="{FF2B5EF4-FFF2-40B4-BE49-F238E27FC236}">
                    <a16:creationId xmlns:a16="http://schemas.microsoft.com/office/drawing/2014/main" id="{E2AD4BBE-89D3-4591-A62E-EBBAB5D15B8F}"/>
                  </a:ext>
                </a:extLst>
              </p:cNvPr>
              <p:cNvSpPr/>
              <p:nvPr/>
            </p:nvSpPr>
            <p:spPr>
              <a:xfrm>
                <a:off x="2573632" y="3250831"/>
                <a:ext cx="196214" cy="60007"/>
              </a:xfrm>
              <a:custGeom>
                <a:avLst/>
                <a:gdLst>
                  <a:gd name="connsiteX0" fmla="*/ 178117 w 196214"/>
                  <a:gd name="connsiteY0" fmla="*/ 25718 h 60007"/>
                  <a:gd name="connsiteX1" fmla="*/ 159067 w 196214"/>
                  <a:gd name="connsiteY1" fmla="*/ 25718 h 60007"/>
                  <a:gd name="connsiteX2" fmla="*/ 159067 w 196214"/>
                  <a:gd name="connsiteY2" fmla="*/ 14288 h 60007"/>
                  <a:gd name="connsiteX3" fmla="*/ 159067 w 196214"/>
                  <a:gd name="connsiteY3" fmla="*/ 0 h 60007"/>
                  <a:gd name="connsiteX4" fmla="*/ 159067 w 196214"/>
                  <a:gd name="connsiteY4" fmla="*/ 0 h 60007"/>
                  <a:gd name="connsiteX5" fmla="*/ 159067 w 196214"/>
                  <a:gd name="connsiteY5" fmla="*/ 0 h 60007"/>
                  <a:gd name="connsiteX6" fmla="*/ 120967 w 196214"/>
                  <a:gd name="connsiteY6" fmla="*/ 0 h 60007"/>
                  <a:gd name="connsiteX7" fmla="*/ 36195 w 196214"/>
                  <a:gd name="connsiteY7" fmla="*/ 0 h 60007"/>
                  <a:gd name="connsiteX8" fmla="*/ 36195 w 196214"/>
                  <a:gd name="connsiteY8" fmla="*/ 0 h 60007"/>
                  <a:gd name="connsiteX9" fmla="*/ 36195 w 196214"/>
                  <a:gd name="connsiteY9" fmla="*/ 14288 h 60007"/>
                  <a:gd name="connsiteX10" fmla="*/ 36195 w 196214"/>
                  <a:gd name="connsiteY10" fmla="*/ 25718 h 60007"/>
                  <a:gd name="connsiteX11" fmla="*/ 17145 w 196214"/>
                  <a:gd name="connsiteY11" fmla="*/ 25718 h 60007"/>
                  <a:gd name="connsiteX12" fmla="*/ 0 w 196214"/>
                  <a:gd name="connsiteY12" fmla="*/ 42863 h 60007"/>
                  <a:gd name="connsiteX13" fmla="*/ 17145 w 196214"/>
                  <a:gd name="connsiteY13" fmla="*/ 60007 h 60007"/>
                  <a:gd name="connsiteX14" fmla="*/ 73342 w 196214"/>
                  <a:gd name="connsiteY14" fmla="*/ 60007 h 60007"/>
                  <a:gd name="connsiteX15" fmla="*/ 120015 w 196214"/>
                  <a:gd name="connsiteY15" fmla="*/ 60007 h 60007"/>
                  <a:gd name="connsiteX16" fmla="*/ 179070 w 196214"/>
                  <a:gd name="connsiteY16" fmla="*/ 60007 h 60007"/>
                  <a:gd name="connsiteX17" fmla="*/ 196215 w 196214"/>
                  <a:gd name="connsiteY17" fmla="*/ 42863 h 60007"/>
                  <a:gd name="connsiteX18" fmla="*/ 178117 w 196214"/>
                  <a:gd name="connsiteY18" fmla="*/ 25718 h 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4" h="60007">
                    <a:moveTo>
                      <a:pt x="178117" y="25718"/>
                    </a:moveTo>
                    <a:lnTo>
                      <a:pt x="159067" y="25718"/>
                    </a:lnTo>
                    <a:lnTo>
                      <a:pt x="159067" y="14288"/>
                    </a:lnTo>
                    <a:lnTo>
                      <a:pt x="159067" y="0"/>
                    </a:lnTo>
                    <a:lnTo>
                      <a:pt x="159067" y="0"/>
                    </a:lnTo>
                    <a:lnTo>
                      <a:pt x="159067" y="0"/>
                    </a:lnTo>
                    <a:lnTo>
                      <a:pt x="120967" y="0"/>
                    </a:lnTo>
                    <a:lnTo>
                      <a:pt x="36195" y="0"/>
                    </a:lnTo>
                    <a:lnTo>
                      <a:pt x="36195" y="0"/>
                    </a:lnTo>
                    <a:lnTo>
                      <a:pt x="36195" y="14288"/>
                    </a:lnTo>
                    <a:lnTo>
                      <a:pt x="36195" y="25718"/>
                    </a:lnTo>
                    <a:lnTo>
                      <a:pt x="17145" y="25718"/>
                    </a:lnTo>
                    <a:cubicBezTo>
                      <a:pt x="7620" y="25718"/>
                      <a:pt x="0" y="33338"/>
                      <a:pt x="0" y="42863"/>
                    </a:cubicBezTo>
                    <a:cubicBezTo>
                      <a:pt x="0" y="52388"/>
                      <a:pt x="7620" y="60007"/>
                      <a:pt x="17145" y="60007"/>
                    </a:cubicBezTo>
                    <a:lnTo>
                      <a:pt x="73342" y="60007"/>
                    </a:lnTo>
                    <a:lnTo>
                      <a:pt x="120015" y="60007"/>
                    </a:lnTo>
                    <a:lnTo>
                      <a:pt x="179070" y="60007"/>
                    </a:lnTo>
                    <a:cubicBezTo>
                      <a:pt x="188595" y="60007"/>
                      <a:pt x="196215" y="52388"/>
                      <a:pt x="196215" y="42863"/>
                    </a:cubicBezTo>
                    <a:cubicBezTo>
                      <a:pt x="195263" y="33338"/>
                      <a:pt x="187642" y="25718"/>
                      <a:pt x="178117" y="25718"/>
                    </a:cubicBezTo>
                    <a:close/>
                  </a:path>
                </a:pathLst>
              </a:custGeom>
              <a:grpFill/>
              <a:ln w="9525" cap="flat">
                <a:noFill/>
                <a:prstDash val="solid"/>
                <a:miter/>
              </a:ln>
            </p:spPr>
            <p:txBody>
              <a:bodyPr rtlCol="0" anchor="ctr"/>
              <a:lstStyle/>
              <a:p>
                <a:endParaRPr lang="en-GB" sz="1050"/>
              </a:p>
            </p:txBody>
          </p:sp>
          <p:sp>
            <p:nvSpPr>
              <p:cNvPr id="11" name="Freeform: Shape 10">
                <a:extLst>
                  <a:ext uri="{FF2B5EF4-FFF2-40B4-BE49-F238E27FC236}">
                    <a16:creationId xmlns:a16="http://schemas.microsoft.com/office/drawing/2014/main" id="{5F1E2151-7952-48DD-BD14-577705DA8BD0}"/>
                  </a:ext>
                </a:extLst>
              </p:cNvPr>
              <p:cNvSpPr/>
              <p:nvPr/>
            </p:nvSpPr>
            <p:spPr>
              <a:xfrm>
                <a:off x="2056424" y="2905074"/>
                <a:ext cx="438150" cy="438150"/>
              </a:xfrm>
              <a:custGeom>
                <a:avLst/>
                <a:gdLst>
                  <a:gd name="connsiteX0" fmla="*/ 398145 w 438150"/>
                  <a:gd name="connsiteY0" fmla="*/ 346710 h 438150"/>
                  <a:gd name="connsiteX1" fmla="*/ 408623 w 438150"/>
                  <a:gd name="connsiteY1" fmla="*/ 329565 h 438150"/>
                  <a:gd name="connsiteX2" fmla="*/ 410528 w 438150"/>
                  <a:gd name="connsiteY2" fmla="*/ 325755 h 438150"/>
                  <a:gd name="connsiteX3" fmla="*/ 417195 w 438150"/>
                  <a:gd name="connsiteY3" fmla="*/ 312420 h 438150"/>
                  <a:gd name="connsiteX4" fmla="*/ 420053 w 438150"/>
                  <a:gd name="connsiteY4" fmla="*/ 305753 h 438150"/>
                  <a:gd name="connsiteX5" fmla="*/ 437198 w 438150"/>
                  <a:gd name="connsiteY5" fmla="*/ 241935 h 438150"/>
                  <a:gd name="connsiteX6" fmla="*/ 438150 w 438150"/>
                  <a:gd name="connsiteY6" fmla="*/ 219075 h 438150"/>
                  <a:gd name="connsiteX7" fmla="*/ 437198 w 438150"/>
                  <a:gd name="connsiteY7" fmla="*/ 196215 h 438150"/>
                  <a:gd name="connsiteX8" fmla="*/ 420053 w 438150"/>
                  <a:gd name="connsiteY8" fmla="*/ 132398 h 438150"/>
                  <a:gd name="connsiteX9" fmla="*/ 412433 w 438150"/>
                  <a:gd name="connsiteY9" fmla="*/ 117157 h 438150"/>
                  <a:gd name="connsiteX10" fmla="*/ 402908 w 438150"/>
                  <a:gd name="connsiteY10" fmla="*/ 100965 h 438150"/>
                  <a:gd name="connsiteX11" fmla="*/ 395288 w 438150"/>
                  <a:gd name="connsiteY11" fmla="*/ 90488 h 438150"/>
                  <a:gd name="connsiteX12" fmla="*/ 378143 w 438150"/>
                  <a:gd name="connsiteY12" fmla="*/ 70485 h 438150"/>
                  <a:gd name="connsiteX13" fmla="*/ 285750 w 438150"/>
                  <a:gd name="connsiteY13" fmla="*/ 11430 h 438150"/>
                  <a:gd name="connsiteX14" fmla="*/ 241935 w 438150"/>
                  <a:gd name="connsiteY14" fmla="*/ 1905 h 438150"/>
                  <a:gd name="connsiteX15" fmla="*/ 219075 w 438150"/>
                  <a:gd name="connsiteY15" fmla="*/ 0 h 438150"/>
                  <a:gd name="connsiteX16" fmla="*/ 0 w 438150"/>
                  <a:gd name="connsiteY16" fmla="*/ 219075 h 438150"/>
                  <a:gd name="connsiteX17" fmla="*/ 219075 w 438150"/>
                  <a:gd name="connsiteY17" fmla="*/ 438150 h 438150"/>
                  <a:gd name="connsiteX18" fmla="*/ 239078 w 438150"/>
                  <a:gd name="connsiteY18" fmla="*/ 437198 h 438150"/>
                  <a:gd name="connsiteX19" fmla="*/ 283845 w 438150"/>
                  <a:gd name="connsiteY19" fmla="*/ 428625 h 438150"/>
                  <a:gd name="connsiteX20" fmla="*/ 398145 w 438150"/>
                  <a:gd name="connsiteY20" fmla="*/ 346710 h 438150"/>
                  <a:gd name="connsiteX21" fmla="*/ 127635 w 438150"/>
                  <a:gd name="connsiteY21" fmla="*/ 236220 h 438150"/>
                  <a:gd name="connsiteX22" fmla="*/ 139065 w 438150"/>
                  <a:gd name="connsiteY22" fmla="*/ 236220 h 438150"/>
                  <a:gd name="connsiteX23" fmla="*/ 173355 w 438150"/>
                  <a:gd name="connsiteY23" fmla="*/ 236220 h 438150"/>
                  <a:gd name="connsiteX24" fmla="*/ 202883 w 438150"/>
                  <a:gd name="connsiteY24" fmla="*/ 236220 h 438150"/>
                  <a:gd name="connsiteX25" fmla="*/ 202883 w 438150"/>
                  <a:gd name="connsiteY25" fmla="*/ 300038 h 438150"/>
                  <a:gd name="connsiteX26" fmla="*/ 185738 w 438150"/>
                  <a:gd name="connsiteY26" fmla="*/ 300990 h 438150"/>
                  <a:gd name="connsiteX27" fmla="*/ 151448 w 438150"/>
                  <a:gd name="connsiteY27" fmla="*/ 304800 h 438150"/>
                  <a:gd name="connsiteX28" fmla="*/ 138113 w 438150"/>
                  <a:gd name="connsiteY28" fmla="*/ 306705 h 438150"/>
                  <a:gd name="connsiteX29" fmla="*/ 127635 w 438150"/>
                  <a:gd name="connsiteY29" fmla="*/ 236220 h 438150"/>
                  <a:gd name="connsiteX30" fmla="*/ 138113 w 438150"/>
                  <a:gd name="connsiteY30" fmla="*/ 131445 h 438150"/>
                  <a:gd name="connsiteX31" fmla="*/ 152400 w 438150"/>
                  <a:gd name="connsiteY31" fmla="*/ 133350 h 438150"/>
                  <a:gd name="connsiteX32" fmla="*/ 186690 w 438150"/>
                  <a:gd name="connsiteY32" fmla="*/ 137160 h 438150"/>
                  <a:gd name="connsiteX33" fmla="*/ 201930 w 438150"/>
                  <a:gd name="connsiteY33" fmla="*/ 138113 h 438150"/>
                  <a:gd name="connsiteX34" fmla="*/ 201930 w 438150"/>
                  <a:gd name="connsiteY34" fmla="*/ 201930 h 438150"/>
                  <a:gd name="connsiteX35" fmla="*/ 172403 w 438150"/>
                  <a:gd name="connsiteY35" fmla="*/ 201930 h 438150"/>
                  <a:gd name="connsiteX36" fmla="*/ 138113 w 438150"/>
                  <a:gd name="connsiteY36" fmla="*/ 201930 h 438150"/>
                  <a:gd name="connsiteX37" fmla="*/ 126683 w 438150"/>
                  <a:gd name="connsiteY37" fmla="*/ 201930 h 438150"/>
                  <a:gd name="connsiteX38" fmla="*/ 138113 w 438150"/>
                  <a:gd name="connsiteY38" fmla="*/ 131445 h 438150"/>
                  <a:gd name="connsiteX39" fmla="*/ 311468 w 438150"/>
                  <a:gd name="connsiteY39" fmla="*/ 201930 h 438150"/>
                  <a:gd name="connsiteX40" fmla="*/ 236220 w 438150"/>
                  <a:gd name="connsiteY40" fmla="*/ 201930 h 438150"/>
                  <a:gd name="connsiteX41" fmla="*/ 236220 w 438150"/>
                  <a:gd name="connsiteY41" fmla="*/ 138113 h 438150"/>
                  <a:gd name="connsiteX42" fmla="*/ 300038 w 438150"/>
                  <a:gd name="connsiteY42" fmla="*/ 131445 h 438150"/>
                  <a:gd name="connsiteX43" fmla="*/ 311468 w 438150"/>
                  <a:gd name="connsiteY43" fmla="*/ 201930 h 438150"/>
                  <a:gd name="connsiteX44" fmla="*/ 380048 w 438150"/>
                  <a:gd name="connsiteY44" fmla="*/ 236220 h 438150"/>
                  <a:gd name="connsiteX45" fmla="*/ 397193 w 438150"/>
                  <a:gd name="connsiteY45" fmla="*/ 236220 h 438150"/>
                  <a:gd name="connsiteX46" fmla="*/ 404813 w 438150"/>
                  <a:gd name="connsiteY46" fmla="*/ 236220 h 438150"/>
                  <a:gd name="connsiteX47" fmla="*/ 404813 w 438150"/>
                  <a:gd name="connsiteY47" fmla="*/ 236220 h 438150"/>
                  <a:gd name="connsiteX48" fmla="*/ 404813 w 438150"/>
                  <a:gd name="connsiteY48" fmla="*/ 240030 h 438150"/>
                  <a:gd name="connsiteX49" fmla="*/ 397193 w 438150"/>
                  <a:gd name="connsiteY49" fmla="*/ 275273 h 438150"/>
                  <a:gd name="connsiteX50" fmla="*/ 380048 w 438150"/>
                  <a:gd name="connsiteY50" fmla="*/ 313373 h 438150"/>
                  <a:gd name="connsiteX51" fmla="*/ 372428 w 438150"/>
                  <a:gd name="connsiteY51" fmla="*/ 324803 h 438150"/>
                  <a:gd name="connsiteX52" fmla="*/ 333375 w 438150"/>
                  <a:gd name="connsiteY52" fmla="*/ 313373 h 438150"/>
                  <a:gd name="connsiteX53" fmla="*/ 344805 w 438150"/>
                  <a:gd name="connsiteY53" fmla="*/ 236220 h 438150"/>
                  <a:gd name="connsiteX54" fmla="*/ 380048 w 438150"/>
                  <a:gd name="connsiteY54" fmla="*/ 236220 h 438150"/>
                  <a:gd name="connsiteX55" fmla="*/ 300990 w 438150"/>
                  <a:gd name="connsiteY55" fmla="*/ 306705 h 438150"/>
                  <a:gd name="connsiteX56" fmla="*/ 237173 w 438150"/>
                  <a:gd name="connsiteY56" fmla="*/ 300038 h 438150"/>
                  <a:gd name="connsiteX57" fmla="*/ 237173 w 438150"/>
                  <a:gd name="connsiteY57" fmla="*/ 236220 h 438150"/>
                  <a:gd name="connsiteX58" fmla="*/ 312420 w 438150"/>
                  <a:gd name="connsiteY58" fmla="*/ 236220 h 438150"/>
                  <a:gd name="connsiteX59" fmla="*/ 300990 w 438150"/>
                  <a:gd name="connsiteY59" fmla="*/ 306705 h 438150"/>
                  <a:gd name="connsiteX60" fmla="*/ 236220 w 438150"/>
                  <a:gd name="connsiteY60" fmla="*/ 387667 h 438150"/>
                  <a:gd name="connsiteX61" fmla="*/ 236220 w 438150"/>
                  <a:gd name="connsiteY61" fmla="*/ 334328 h 438150"/>
                  <a:gd name="connsiteX62" fmla="*/ 289560 w 438150"/>
                  <a:gd name="connsiteY62" fmla="*/ 339090 h 438150"/>
                  <a:gd name="connsiteX63" fmla="*/ 281940 w 438150"/>
                  <a:gd name="connsiteY63" fmla="*/ 354330 h 438150"/>
                  <a:gd name="connsiteX64" fmla="*/ 245745 w 438150"/>
                  <a:gd name="connsiteY64" fmla="*/ 397192 h 438150"/>
                  <a:gd name="connsiteX65" fmla="*/ 237173 w 438150"/>
                  <a:gd name="connsiteY65" fmla="*/ 401955 h 438150"/>
                  <a:gd name="connsiteX66" fmla="*/ 236220 w 438150"/>
                  <a:gd name="connsiteY66" fmla="*/ 387667 h 438150"/>
                  <a:gd name="connsiteX67" fmla="*/ 236220 w 438150"/>
                  <a:gd name="connsiteY67" fmla="*/ 104775 h 438150"/>
                  <a:gd name="connsiteX68" fmla="*/ 236220 w 438150"/>
                  <a:gd name="connsiteY68" fmla="*/ 54293 h 438150"/>
                  <a:gd name="connsiteX69" fmla="*/ 236220 w 438150"/>
                  <a:gd name="connsiteY69" fmla="*/ 37147 h 438150"/>
                  <a:gd name="connsiteX70" fmla="*/ 246697 w 438150"/>
                  <a:gd name="connsiteY70" fmla="*/ 42863 h 438150"/>
                  <a:gd name="connsiteX71" fmla="*/ 280988 w 438150"/>
                  <a:gd name="connsiteY71" fmla="*/ 83820 h 438150"/>
                  <a:gd name="connsiteX72" fmla="*/ 288608 w 438150"/>
                  <a:gd name="connsiteY72" fmla="*/ 99060 h 438150"/>
                  <a:gd name="connsiteX73" fmla="*/ 236220 w 438150"/>
                  <a:gd name="connsiteY73" fmla="*/ 104775 h 438150"/>
                  <a:gd name="connsiteX74" fmla="*/ 157163 w 438150"/>
                  <a:gd name="connsiteY74" fmla="*/ 83820 h 438150"/>
                  <a:gd name="connsiteX75" fmla="*/ 202883 w 438150"/>
                  <a:gd name="connsiteY75" fmla="*/ 37147 h 438150"/>
                  <a:gd name="connsiteX76" fmla="*/ 202883 w 438150"/>
                  <a:gd name="connsiteY76" fmla="*/ 41910 h 438150"/>
                  <a:gd name="connsiteX77" fmla="*/ 202883 w 438150"/>
                  <a:gd name="connsiteY77" fmla="*/ 101918 h 438150"/>
                  <a:gd name="connsiteX78" fmla="*/ 202883 w 438150"/>
                  <a:gd name="connsiteY78" fmla="*/ 103823 h 438150"/>
                  <a:gd name="connsiteX79" fmla="*/ 201930 w 438150"/>
                  <a:gd name="connsiteY79" fmla="*/ 103823 h 438150"/>
                  <a:gd name="connsiteX80" fmla="*/ 165735 w 438150"/>
                  <a:gd name="connsiteY80" fmla="*/ 100965 h 438150"/>
                  <a:gd name="connsiteX81" fmla="*/ 150495 w 438150"/>
                  <a:gd name="connsiteY81" fmla="*/ 99060 h 438150"/>
                  <a:gd name="connsiteX82" fmla="*/ 157163 w 438150"/>
                  <a:gd name="connsiteY82" fmla="*/ 83820 h 438150"/>
                  <a:gd name="connsiteX83" fmla="*/ 163830 w 438150"/>
                  <a:gd name="connsiteY83" fmla="*/ 337185 h 438150"/>
                  <a:gd name="connsiteX84" fmla="*/ 200025 w 438150"/>
                  <a:gd name="connsiteY84" fmla="*/ 334328 h 438150"/>
                  <a:gd name="connsiteX85" fmla="*/ 202883 w 438150"/>
                  <a:gd name="connsiteY85" fmla="*/ 334328 h 438150"/>
                  <a:gd name="connsiteX86" fmla="*/ 202883 w 438150"/>
                  <a:gd name="connsiteY86" fmla="*/ 340043 h 438150"/>
                  <a:gd name="connsiteX87" fmla="*/ 202883 w 438150"/>
                  <a:gd name="connsiteY87" fmla="*/ 362903 h 438150"/>
                  <a:gd name="connsiteX88" fmla="*/ 202883 w 438150"/>
                  <a:gd name="connsiteY88" fmla="*/ 400050 h 438150"/>
                  <a:gd name="connsiteX89" fmla="*/ 202883 w 438150"/>
                  <a:gd name="connsiteY89" fmla="*/ 401955 h 438150"/>
                  <a:gd name="connsiteX90" fmla="*/ 157163 w 438150"/>
                  <a:gd name="connsiteY90" fmla="*/ 355283 h 438150"/>
                  <a:gd name="connsiteX91" fmla="*/ 149543 w 438150"/>
                  <a:gd name="connsiteY91" fmla="*/ 340043 h 438150"/>
                  <a:gd name="connsiteX92" fmla="*/ 163830 w 438150"/>
                  <a:gd name="connsiteY92" fmla="*/ 337185 h 438150"/>
                  <a:gd name="connsiteX93" fmla="*/ 302895 w 438150"/>
                  <a:gd name="connsiteY93" fmla="*/ 384810 h 438150"/>
                  <a:gd name="connsiteX94" fmla="*/ 322898 w 438150"/>
                  <a:gd name="connsiteY94" fmla="*/ 344805 h 438150"/>
                  <a:gd name="connsiteX95" fmla="*/ 348615 w 438150"/>
                  <a:gd name="connsiteY95" fmla="*/ 351473 h 438150"/>
                  <a:gd name="connsiteX96" fmla="*/ 302895 w 438150"/>
                  <a:gd name="connsiteY96" fmla="*/ 384810 h 438150"/>
                  <a:gd name="connsiteX97" fmla="*/ 403860 w 438150"/>
                  <a:gd name="connsiteY97" fmla="*/ 198120 h 438150"/>
                  <a:gd name="connsiteX98" fmla="*/ 403860 w 438150"/>
                  <a:gd name="connsiteY98" fmla="*/ 201930 h 438150"/>
                  <a:gd name="connsiteX99" fmla="*/ 403860 w 438150"/>
                  <a:gd name="connsiteY99" fmla="*/ 201930 h 438150"/>
                  <a:gd name="connsiteX100" fmla="*/ 396240 w 438150"/>
                  <a:gd name="connsiteY100" fmla="*/ 201930 h 438150"/>
                  <a:gd name="connsiteX101" fmla="*/ 379095 w 438150"/>
                  <a:gd name="connsiteY101" fmla="*/ 201930 h 438150"/>
                  <a:gd name="connsiteX102" fmla="*/ 344805 w 438150"/>
                  <a:gd name="connsiteY102" fmla="*/ 201930 h 438150"/>
                  <a:gd name="connsiteX103" fmla="*/ 333375 w 438150"/>
                  <a:gd name="connsiteY103" fmla="*/ 124777 h 438150"/>
                  <a:gd name="connsiteX104" fmla="*/ 372428 w 438150"/>
                  <a:gd name="connsiteY104" fmla="*/ 113348 h 438150"/>
                  <a:gd name="connsiteX105" fmla="*/ 380048 w 438150"/>
                  <a:gd name="connsiteY105" fmla="*/ 124777 h 438150"/>
                  <a:gd name="connsiteX106" fmla="*/ 397193 w 438150"/>
                  <a:gd name="connsiteY106" fmla="*/ 162877 h 438150"/>
                  <a:gd name="connsiteX107" fmla="*/ 403860 w 438150"/>
                  <a:gd name="connsiteY107" fmla="*/ 198120 h 438150"/>
                  <a:gd name="connsiteX108" fmla="*/ 348615 w 438150"/>
                  <a:gd name="connsiteY108" fmla="*/ 85725 h 438150"/>
                  <a:gd name="connsiteX109" fmla="*/ 322898 w 438150"/>
                  <a:gd name="connsiteY109" fmla="*/ 92393 h 438150"/>
                  <a:gd name="connsiteX110" fmla="*/ 302895 w 438150"/>
                  <a:gd name="connsiteY110" fmla="*/ 52388 h 438150"/>
                  <a:gd name="connsiteX111" fmla="*/ 348615 w 438150"/>
                  <a:gd name="connsiteY111" fmla="*/ 85725 h 438150"/>
                  <a:gd name="connsiteX112" fmla="*/ 136208 w 438150"/>
                  <a:gd name="connsiteY112" fmla="*/ 53340 h 438150"/>
                  <a:gd name="connsiteX113" fmla="*/ 116205 w 438150"/>
                  <a:gd name="connsiteY113" fmla="*/ 93345 h 438150"/>
                  <a:gd name="connsiteX114" fmla="*/ 90488 w 438150"/>
                  <a:gd name="connsiteY114" fmla="*/ 86677 h 438150"/>
                  <a:gd name="connsiteX115" fmla="*/ 136208 w 438150"/>
                  <a:gd name="connsiteY115" fmla="*/ 53340 h 438150"/>
                  <a:gd name="connsiteX116" fmla="*/ 66675 w 438150"/>
                  <a:gd name="connsiteY116" fmla="*/ 113348 h 438150"/>
                  <a:gd name="connsiteX117" fmla="*/ 105727 w 438150"/>
                  <a:gd name="connsiteY117" fmla="*/ 124777 h 438150"/>
                  <a:gd name="connsiteX118" fmla="*/ 94298 w 438150"/>
                  <a:gd name="connsiteY118" fmla="*/ 201930 h 438150"/>
                  <a:gd name="connsiteX119" fmla="*/ 35243 w 438150"/>
                  <a:gd name="connsiteY119" fmla="*/ 201930 h 438150"/>
                  <a:gd name="connsiteX120" fmla="*/ 66675 w 438150"/>
                  <a:gd name="connsiteY120" fmla="*/ 113348 h 438150"/>
                  <a:gd name="connsiteX121" fmla="*/ 94298 w 438150"/>
                  <a:gd name="connsiteY121" fmla="*/ 236220 h 438150"/>
                  <a:gd name="connsiteX122" fmla="*/ 105727 w 438150"/>
                  <a:gd name="connsiteY122" fmla="*/ 313373 h 438150"/>
                  <a:gd name="connsiteX123" fmla="*/ 66675 w 438150"/>
                  <a:gd name="connsiteY123" fmla="*/ 324803 h 438150"/>
                  <a:gd name="connsiteX124" fmla="*/ 34290 w 438150"/>
                  <a:gd name="connsiteY124" fmla="*/ 236220 h 438150"/>
                  <a:gd name="connsiteX125" fmla="*/ 94298 w 438150"/>
                  <a:gd name="connsiteY125" fmla="*/ 236220 h 438150"/>
                  <a:gd name="connsiteX126" fmla="*/ 90488 w 438150"/>
                  <a:gd name="connsiteY126" fmla="*/ 352425 h 438150"/>
                  <a:gd name="connsiteX127" fmla="*/ 116205 w 438150"/>
                  <a:gd name="connsiteY127" fmla="*/ 345758 h 438150"/>
                  <a:gd name="connsiteX128" fmla="*/ 136208 w 438150"/>
                  <a:gd name="connsiteY128" fmla="*/ 385763 h 438150"/>
                  <a:gd name="connsiteX129" fmla="*/ 90488 w 438150"/>
                  <a:gd name="connsiteY129" fmla="*/ 352425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438150" h="438150">
                    <a:moveTo>
                      <a:pt x="398145" y="346710"/>
                    </a:moveTo>
                    <a:cubicBezTo>
                      <a:pt x="401955" y="340995"/>
                      <a:pt x="405765" y="335280"/>
                      <a:pt x="408623" y="329565"/>
                    </a:cubicBezTo>
                    <a:cubicBezTo>
                      <a:pt x="409575" y="328613"/>
                      <a:pt x="409575" y="326708"/>
                      <a:pt x="410528" y="325755"/>
                    </a:cubicBezTo>
                    <a:cubicBezTo>
                      <a:pt x="413385" y="320993"/>
                      <a:pt x="415290" y="317183"/>
                      <a:pt x="417195" y="312420"/>
                    </a:cubicBezTo>
                    <a:cubicBezTo>
                      <a:pt x="418148" y="310515"/>
                      <a:pt x="419100" y="307658"/>
                      <a:pt x="420053" y="305753"/>
                    </a:cubicBezTo>
                    <a:cubicBezTo>
                      <a:pt x="428625" y="285750"/>
                      <a:pt x="434340" y="263843"/>
                      <a:pt x="437198" y="241935"/>
                    </a:cubicBezTo>
                    <a:cubicBezTo>
                      <a:pt x="438150" y="234315"/>
                      <a:pt x="438150" y="226695"/>
                      <a:pt x="438150" y="219075"/>
                    </a:cubicBezTo>
                    <a:cubicBezTo>
                      <a:pt x="438150" y="211455"/>
                      <a:pt x="438150" y="203835"/>
                      <a:pt x="437198" y="196215"/>
                    </a:cubicBezTo>
                    <a:cubicBezTo>
                      <a:pt x="435293" y="173355"/>
                      <a:pt x="428625" y="152400"/>
                      <a:pt x="420053" y="132398"/>
                    </a:cubicBezTo>
                    <a:cubicBezTo>
                      <a:pt x="418148" y="126682"/>
                      <a:pt x="415290" y="121920"/>
                      <a:pt x="412433" y="117157"/>
                    </a:cubicBezTo>
                    <a:cubicBezTo>
                      <a:pt x="409575" y="111443"/>
                      <a:pt x="406718" y="106680"/>
                      <a:pt x="402908" y="100965"/>
                    </a:cubicBezTo>
                    <a:cubicBezTo>
                      <a:pt x="400050" y="97155"/>
                      <a:pt x="398145" y="93345"/>
                      <a:pt x="395288" y="90488"/>
                    </a:cubicBezTo>
                    <a:cubicBezTo>
                      <a:pt x="390525" y="83820"/>
                      <a:pt x="384810" y="76200"/>
                      <a:pt x="378143" y="70485"/>
                    </a:cubicBezTo>
                    <a:cubicBezTo>
                      <a:pt x="353378" y="43815"/>
                      <a:pt x="321945" y="22860"/>
                      <a:pt x="285750" y="11430"/>
                    </a:cubicBezTo>
                    <a:cubicBezTo>
                      <a:pt x="271463" y="6668"/>
                      <a:pt x="257175" y="3810"/>
                      <a:pt x="241935" y="1905"/>
                    </a:cubicBezTo>
                    <a:cubicBezTo>
                      <a:pt x="235268" y="0"/>
                      <a:pt x="227648" y="0"/>
                      <a:pt x="219075" y="0"/>
                    </a:cubicBezTo>
                    <a:cubicBezTo>
                      <a:pt x="98108" y="0"/>
                      <a:pt x="0" y="98107"/>
                      <a:pt x="0" y="219075"/>
                    </a:cubicBezTo>
                    <a:cubicBezTo>
                      <a:pt x="0" y="340043"/>
                      <a:pt x="98108" y="438150"/>
                      <a:pt x="219075" y="438150"/>
                    </a:cubicBezTo>
                    <a:cubicBezTo>
                      <a:pt x="225743" y="438150"/>
                      <a:pt x="232410" y="438150"/>
                      <a:pt x="239078" y="437198"/>
                    </a:cubicBezTo>
                    <a:cubicBezTo>
                      <a:pt x="254318" y="436245"/>
                      <a:pt x="269558" y="432435"/>
                      <a:pt x="283845" y="428625"/>
                    </a:cubicBezTo>
                    <a:cubicBezTo>
                      <a:pt x="330518" y="414338"/>
                      <a:pt x="370523" y="384810"/>
                      <a:pt x="398145" y="346710"/>
                    </a:cubicBezTo>
                    <a:close/>
                    <a:moveTo>
                      <a:pt x="127635" y="236220"/>
                    </a:moveTo>
                    <a:lnTo>
                      <a:pt x="139065" y="236220"/>
                    </a:lnTo>
                    <a:lnTo>
                      <a:pt x="173355" y="236220"/>
                    </a:lnTo>
                    <a:lnTo>
                      <a:pt x="202883" y="236220"/>
                    </a:lnTo>
                    <a:lnTo>
                      <a:pt x="202883" y="300038"/>
                    </a:lnTo>
                    <a:cubicBezTo>
                      <a:pt x="197168" y="300038"/>
                      <a:pt x="191453" y="300038"/>
                      <a:pt x="185738" y="300990"/>
                    </a:cubicBezTo>
                    <a:cubicBezTo>
                      <a:pt x="174308" y="301943"/>
                      <a:pt x="162878" y="302895"/>
                      <a:pt x="151448" y="304800"/>
                    </a:cubicBezTo>
                    <a:cubicBezTo>
                      <a:pt x="146685" y="305753"/>
                      <a:pt x="142875" y="305753"/>
                      <a:pt x="138113" y="306705"/>
                    </a:cubicBezTo>
                    <a:cubicBezTo>
                      <a:pt x="132398" y="284798"/>
                      <a:pt x="128588" y="260985"/>
                      <a:pt x="127635" y="236220"/>
                    </a:cubicBezTo>
                    <a:close/>
                    <a:moveTo>
                      <a:pt x="138113" y="131445"/>
                    </a:moveTo>
                    <a:cubicBezTo>
                      <a:pt x="142875" y="132398"/>
                      <a:pt x="147638" y="133350"/>
                      <a:pt x="152400" y="133350"/>
                    </a:cubicBezTo>
                    <a:cubicBezTo>
                      <a:pt x="163830" y="135255"/>
                      <a:pt x="175260" y="136208"/>
                      <a:pt x="186690" y="137160"/>
                    </a:cubicBezTo>
                    <a:cubicBezTo>
                      <a:pt x="191453" y="137160"/>
                      <a:pt x="197168" y="138113"/>
                      <a:pt x="201930" y="138113"/>
                    </a:cubicBezTo>
                    <a:lnTo>
                      <a:pt x="201930" y="201930"/>
                    </a:lnTo>
                    <a:lnTo>
                      <a:pt x="172403" y="201930"/>
                    </a:lnTo>
                    <a:lnTo>
                      <a:pt x="138113" y="201930"/>
                    </a:lnTo>
                    <a:lnTo>
                      <a:pt x="126683" y="201930"/>
                    </a:lnTo>
                    <a:cubicBezTo>
                      <a:pt x="128588" y="177165"/>
                      <a:pt x="132398" y="153352"/>
                      <a:pt x="138113" y="131445"/>
                    </a:cubicBezTo>
                    <a:close/>
                    <a:moveTo>
                      <a:pt x="311468" y="201930"/>
                    </a:moveTo>
                    <a:lnTo>
                      <a:pt x="236220" y="201930"/>
                    </a:lnTo>
                    <a:lnTo>
                      <a:pt x="236220" y="138113"/>
                    </a:lnTo>
                    <a:cubicBezTo>
                      <a:pt x="258128" y="137160"/>
                      <a:pt x="279083" y="135255"/>
                      <a:pt x="300038" y="131445"/>
                    </a:cubicBezTo>
                    <a:cubicBezTo>
                      <a:pt x="306705" y="153352"/>
                      <a:pt x="310515" y="177165"/>
                      <a:pt x="311468" y="201930"/>
                    </a:cubicBezTo>
                    <a:close/>
                    <a:moveTo>
                      <a:pt x="380048" y="236220"/>
                    </a:moveTo>
                    <a:lnTo>
                      <a:pt x="397193" y="236220"/>
                    </a:lnTo>
                    <a:lnTo>
                      <a:pt x="404813" y="236220"/>
                    </a:lnTo>
                    <a:lnTo>
                      <a:pt x="404813" y="236220"/>
                    </a:lnTo>
                    <a:cubicBezTo>
                      <a:pt x="404813" y="237173"/>
                      <a:pt x="404813" y="239077"/>
                      <a:pt x="404813" y="240030"/>
                    </a:cubicBezTo>
                    <a:cubicBezTo>
                      <a:pt x="403860" y="252413"/>
                      <a:pt x="401003" y="263843"/>
                      <a:pt x="397193" y="275273"/>
                    </a:cubicBezTo>
                    <a:cubicBezTo>
                      <a:pt x="393383" y="288608"/>
                      <a:pt x="387668" y="300990"/>
                      <a:pt x="380048" y="313373"/>
                    </a:cubicBezTo>
                    <a:cubicBezTo>
                      <a:pt x="378143" y="317183"/>
                      <a:pt x="375285" y="320993"/>
                      <a:pt x="372428" y="324803"/>
                    </a:cubicBezTo>
                    <a:cubicBezTo>
                      <a:pt x="360045" y="320040"/>
                      <a:pt x="346710" y="317183"/>
                      <a:pt x="333375" y="313373"/>
                    </a:cubicBezTo>
                    <a:cubicBezTo>
                      <a:pt x="340043" y="289560"/>
                      <a:pt x="343853" y="263843"/>
                      <a:pt x="344805" y="236220"/>
                    </a:cubicBezTo>
                    <a:lnTo>
                      <a:pt x="380048" y="236220"/>
                    </a:lnTo>
                    <a:close/>
                    <a:moveTo>
                      <a:pt x="300990" y="306705"/>
                    </a:moveTo>
                    <a:cubicBezTo>
                      <a:pt x="280035" y="302895"/>
                      <a:pt x="258128" y="300990"/>
                      <a:pt x="237173" y="300038"/>
                    </a:cubicBezTo>
                    <a:lnTo>
                      <a:pt x="237173" y="236220"/>
                    </a:lnTo>
                    <a:lnTo>
                      <a:pt x="312420" y="236220"/>
                    </a:lnTo>
                    <a:cubicBezTo>
                      <a:pt x="310515" y="260985"/>
                      <a:pt x="306705" y="284798"/>
                      <a:pt x="300990" y="306705"/>
                    </a:cubicBezTo>
                    <a:close/>
                    <a:moveTo>
                      <a:pt x="236220" y="387667"/>
                    </a:moveTo>
                    <a:lnTo>
                      <a:pt x="236220" y="334328"/>
                    </a:lnTo>
                    <a:cubicBezTo>
                      <a:pt x="254318" y="335280"/>
                      <a:pt x="271463" y="336233"/>
                      <a:pt x="289560" y="339090"/>
                    </a:cubicBezTo>
                    <a:cubicBezTo>
                      <a:pt x="287655" y="344805"/>
                      <a:pt x="284798" y="349568"/>
                      <a:pt x="281940" y="354330"/>
                    </a:cubicBezTo>
                    <a:cubicBezTo>
                      <a:pt x="271463" y="374333"/>
                      <a:pt x="259080" y="388620"/>
                      <a:pt x="245745" y="397192"/>
                    </a:cubicBezTo>
                    <a:cubicBezTo>
                      <a:pt x="242888" y="399098"/>
                      <a:pt x="240030" y="401003"/>
                      <a:pt x="237173" y="401955"/>
                    </a:cubicBezTo>
                    <a:lnTo>
                      <a:pt x="236220" y="387667"/>
                    </a:lnTo>
                    <a:close/>
                    <a:moveTo>
                      <a:pt x="236220" y="104775"/>
                    </a:moveTo>
                    <a:lnTo>
                      <a:pt x="236220" y="54293"/>
                    </a:lnTo>
                    <a:lnTo>
                      <a:pt x="236220" y="37147"/>
                    </a:lnTo>
                    <a:cubicBezTo>
                      <a:pt x="240030" y="39053"/>
                      <a:pt x="243840" y="40957"/>
                      <a:pt x="246697" y="42863"/>
                    </a:cubicBezTo>
                    <a:cubicBezTo>
                      <a:pt x="259080" y="51435"/>
                      <a:pt x="271463" y="65723"/>
                      <a:pt x="280988" y="83820"/>
                    </a:cubicBezTo>
                    <a:cubicBezTo>
                      <a:pt x="283845" y="88582"/>
                      <a:pt x="285750" y="94298"/>
                      <a:pt x="288608" y="99060"/>
                    </a:cubicBezTo>
                    <a:cubicBezTo>
                      <a:pt x="271463" y="101918"/>
                      <a:pt x="254318" y="103823"/>
                      <a:pt x="236220" y="104775"/>
                    </a:cubicBezTo>
                    <a:close/>
                    <a:moveTo>
                      <a:pt x="157163" y="83820"/>
                    </a:moveTo>
                    <a:cubicBezTo>
                      <a:pt x="170498" y="60007"/>
                      <a:pt x="185738" y="43815"/>
                      <a:pt x="202883" y="37147"/>
                    </a:cubicBezTo>
                    <a:lnTo>
                      <a:pt x="202883" y="41910"/>
                    </a:lnTo>
                    <a:lnTo>
                      <a:pt x="202883" y="101918"/>
                    </a:lnTo>
                    <a:lnTo>
                      <a:pt x="202883" y="103823"/>
                    </a:lnTo>
                    <a:cubicBezTo>
                      <a:pt x="202883" y="103823"/>
                      <a:pt x="201930" y="103823"/>
                      <a:pt x="201930" y="103823"/>
                    </a:cubicBezTo>
                    <a:cubicBezTo>
                      <a:pt x="189548" y="102870"/>
                      <a:pt x="178118" y="101918"/>
                      <a:pt x="165735" y="100965"/>
                    </a:cubicBezTo>
                    <a:cubicBezTo>
                      <a:pt x="160973" y="100013"/>
                      <a:pt x="155258" y="100013"/>
                      <a:pt x="150495" y="99060"/>
                    </a:cubicBezTo>
                    <a:cubicBezTo>
                      <a:pt x="152400" y="94298"/>
                      <a:pt x="154305" y="88582"/>
                      <a:pt x="157163" y="83820"/>
                    </a:cubicBezTo>
                    <a:close/>
                    <a:moveTo>
                      <a:pt x="163830" y="337185"/>
                    </a:moveTo>
                    <a:cubicBezTo>
                      <a:pt x="176213" y="335280"/>
                      <a:pt x="187643" y="334328"/>
                      <a:pt x="200025" y="334328"/>
                    </a:cubicBezTo>
                    <a:cubicBezTo>
                      <a:pt x="200978" y="334328"/>
                      <a:pt x="201930" y="334328"/>
                      <a:pt x="202883" y="334328"/>
                    </a:cubicBezTo>
                    <a:lnTo>
                      <a:pt x="202883" y="340043"/>
                    </a:lnTo>
                    <a:lnTo>
                      <a:pt x="202883" y="362903"/>
                    </a:lnTo>
                    <a:lnTo>
                      <a:pt x="202883" y="400050"/>
                    </a:lnTo>
                    <a:lnTo>
                      <a:pt x="202883" y="401955"/>
                    </a:lnTo>
                    <a:cubicBezTo>
                      <a:pt x="186690" y="395288"/>
                      <a:pt x="170498" y="379095"/>
                      <a:pt x="157163" y="355283"/>
                    </a:cubicBezTo>
                    <a:cubicBezTo>
                      <a:pt x="154305" y="350520"/>
                      <a:pt x="152400" y="344805"/>
                      <a:pt x="149543" y="340043"/>
                    </a:cubicBezTo>
                    <a:cubicBezTo>
                      <a:pt x="154305" y="338138"/>
                      <a:pt x="159068" y="337185"/>
                      <a:pt x="163830" y="337185"/>
                    </a:cubicBezTo>
                    <a:close/>
                    <a:moveTo>
                      <a:pt x="302895" y="384810"/>
                    </a:moveTo>
                    <a:cubicBezTo>
                      <a:pt x="310515" y="373380"/>
                      <a:pt x="317183" y="360045"/>
                      <a:pt x="322898" y="344805"/>
                    </a:cubicBezTo>
                    <a:cubicBezTo>
                      <a:pt x="331470" y="346710"/>
                      <a:pt x="340043" y="349568"/>
                      <a:pt x="348615" y="351473"/>
                    </a:cubicBezTo>
                    <a:cubicBezTo>
                      <a:pt x="335280" y="365760"/>
                      <a:pt x="320040" y="376238"/>
                      <a:pt x="302895" y="384810"/>
                    </a:cubicBezTo>
                    <a:close/>
                    <a:moveTo>
                      <a:pt x="403860" y="198120"/>
                    </a:moveTo>
                    <a:cubicBezTo>
                      <a:pt x="403860" y="199073"/>
                      <a:pt x="403860" y="200977"/>
                      <a:pt x="403860" y="201930"/>
                    </a:cubicBezTo>
                    <a:lnTo>
                      <a:pt x="403860" y="201930"/>
                    </a:lnTo>
                    <a:lnTo>
                      <a:pt x="396240" y="201930"/>
                    </a:lnTo>
                    <a:lnTo>
                      <a:pt x="379095" y="201930"/>
                    </a:lnTo>
                    <a:lnTo>
                      <a:pt x="344805" y="201930"/>
                    </a:lnTo>
                    <a:cubicBezTo>
                      <a:pt x="343853" y="174308"/>
                      <a:pt x="340043" y="148590"/>
                      <a:pt x="333375" y="124777"/>
                    </a:cubicBezTo>
                    <a:cubicBezTo>
                      <a:pt x="346710" y="121920"/>
                      <a:pt x="359093" y="118110"/>
                      <a:pt x="372428" y="113348"/>
                    </a:cubicBezTo>
                    <a:cubicBezTo>
                      <a:pt x="375285" y="117157"/>
                      <a:pt x="377190" y="120968"/>
                      <a:pt x="380048" y="124777"/>
                    </a:cubicBezTo>
                    <a:cubicBezTo>
                      <a:pt x="386715" y="136208"/>
                      <a:pt x="392430" y="149543"/>
                      <a:pt x="397193" y="162877"/>
                    </a:cubicBezTo>
                    <a:cubicBezTo>
                      <a:pt x="400050" y="174308"/>
                      <a:pt x="402908" y="185738"/>
                      <a:pt x="403860" y="198120"/>
                    </a:cubicBezTo>
                    <a:close/>
                    <a:moveTo>
                      <a:pt x="348615" y="85725"/>
                    </a:moveTo>
                    <a:cubicBezTo>
                      <a:pt x="340043" y="88582"/>
                      <a:pt x="331470" y="90488"/>
                      <a:pt x="322898" y="92393"/>
                    </a:cubicBezTo>
                    <a:cubicBezTo>
                      <a:pt x="317183" y="78105"/>
                      <a:pt x="310515" y="64770"/>
                      <a:pt x="302895" y="52388"/>
                    </a:cubicBezTo>
                    <a:cubicBezTo>
                      <a:pt x="320040" y="61913"/>
                      <a:pt x="335280" y="72390"/>
                      <a:pt x="348615" y="85725"/>
                    </a:cubicBezTo>
                    <a:close/>
                    <a:moveTo>
                      <a:pt x="136208" y="53340"/>
                    </a:moveTo>
                    <a:cubicBezTo>
                      <a:pt x="128588" y="64770"/>
                      <a:pt x="121920" y="78105"/>
                      <a:pt x="116205" y="93345"/>
                    </a:cubicBezTo>
                    <a:cubicBezTo>
                      <a:pt x="107633" y="91440"/>
                      <a:pt x="99060" y="88582"/>
                      <a:pt x="90488" y="86677"/>
                    </a:cubicBezTo>
                    <a:cubicBezTo>
                      <a:pt x="103823" y="72390"/>
                      <a:pt x="119063" y="61913"/>
                      <a:pt x="136208" y="53340"/>
                    </a:cubicBezTo>
                    <a:close/>
                    <a:moveTo>
                      <a:pt x="66675" y="113348"/>
                    </a:moveTo>
                    <a:cubicBezTo>
                      <a:pt x="79058" y="118110"/>
                      <a:pt x="92393" y="120968"/>
                      <a:pt x="105727" y="124777"/>
                    </a:cubicBezTo>
                    <a:cubicBezTo>
                      <a:pt x="99060" y="148590"/>
                      <a:pt x="95250" y="174308"/>
                      <a:pt x="94298" y="201930"/>
                    </a:cubicBezTo>
                    <a:lnTo>
                      <a:pt x="35243" y="201930"/>
                    </a:lnTo>
                    <a:cubicBezTo>
                      <a:pt x="37148" y="169545"/>
                      <a:pt x="48578" y="139065"/>
                      <a:pt x="66675" y="113348"/>
                    </a:cubicBezTo>
                    <a:close/>
                    <a:moveTo>
                      <a:pt x="94298" y="236220"/>
                    </a:moveTo>
                    <a:cubicBezTo>
                      <a:pt x="95250" y="263843"/>
                      <a:pt x="99060" y="289560"/>
                      <a:pt x="105727" y="313373"/>
                    </a:cubicBezTo>
                    <a:cubicBezTo>
                      <a:pt x="92393" y="316230"/>
                      <a:pt x="80010" y="320040"/>
                      <a:pt x="66675" y="324803"/>
                    </a:cubicBezTo>
                    <a:cubicBezTo>
                      <a:pt x="48578" y="299085"/>
                      <a:pt x="37148" y="268605"/>
                      <a:pt x="34290" y="236220"/>
                    </a:cubicBezTo>
                    <a:lnTo>
                      <a:pt x="94298" y="236220"/>
                    </a:lnTo>
                    <a:close/>
                    <a:moveTo>
                      <a:pt x="90488" y="352425"/>
                    </a:moveTo>
                    <a:cubicBezTo>
                      <a:pt x="99060" y="349568"/>
                      <a:pt x="107633" y="347663"/>
                      <a:pt x="116205" y="345758"/>
                    </a:cubicBezTo>
                    <a:cubicBezTo>
                      <a:pt x="121920" y="360045"/>
                      <a:pt x="128588" y="373380"/>
                      <a:pt x="136208" y="385763"/>
                    </a:cubicBezTo>
                    <a:cubicBezTo>
                      <a:pt x="119063" y="376238"/>
                      <a:pt x="103823" y="365760"/>
                      <a:pt x="90488" y="352425"/>
                    </a:cubicBezTo>
                    <a:close/>
                  </a:path>
                </a:pathLst>
              </a:custGeom>
              <a:grpFill/>
              <a:ln w="9525" cap="flat">
                <a:noFill/>
                <a:prstDash val="solid"/>
                <a:miter/>
              </a:ln>
            </p:spPr>
            <p:txBody>
              <a:bodyPr rtlCol="0" anchor="ctr"/>
              <a:lstStyle/>
              <a:p>
                <a:endParaRPr lang="en-GB" sz="1050"/>
              </a:p>
            </p:txBody>
          </p:sp>
        </p:grpSp>
        <p:sp>
          <p:nvSpPr>
            <p:cNvPr id="31" name="TextBox 30">
              <a:extLst>
                <a:ext uri="{FF2B5EF4-FFF2-40B4-BE49-F238E27FC236}">
                  <a16:creationId xmlns:a16="http://schemas.microsoft.com/office/drawing/2014/main" id="{6E7966E7-D464-4BF4-B6E0-525DC082E2AD}"/>
                </a:ext>
              </a:extLst>
            </p:cNvPr>
            <p:cNvSpPr txBox="1"/>
            <p:nvPr/>
          </p:nvSpPr>
          <p:spPr>
            <a:xfrm>
              <a:off x="1103599" y="2193722"/>
              <a:ext cx="761340" cy="369332"/>
            </a:xfrm>
            <a:prstGeom prst="rect">
              <a:avLst/>
            </a:prstGeom>
            <a:noFill/>
          </p:spPr>
          <p:txBody>
            <a:bodyPr wrap="square" rtlCol="0">
              <a:spAutoFit/>
            </a:bodyPr>
            <a:lstStyle>
              <a:defPPr>
                <a:defRPr lang="en-US"/>
              </a:defPPr>
              <a:lvl1pPr algn="ctr">
                <a:defRPr sz="1100" b="1">
                  <a:solidFill>
                    <a:schemeClr val="tx2"/>
                  </a:solidFill>
                  <a:latin typeface="+mj-lt"/>
                </a:defRPr>
              </a:lvl1pPr>
            </a:lstStyle>
            <a:p>
              <a:r>
                <a:rPr lang="en-GB" sz="900">
                  <a:latin typeface="Trebuchet MS" panose="020B0603020202020204" pitchFamily="34" charset="0"/>
                </a:rPr>
                <a:t>Web platforms</a:t>
              </a:r>
            </a:p>
          </p:txBody>
        </p:sp>
      </p:grpSp>
      <p:sp>
        <p:nvSpPr>
          <p:cNvPr id="37" name="TextBox 36">
            <a:extLst>
              <a:ext uri="{FF2B5EF4-FFF2-40B4-BE49-F238E27FC236}">
                <a16:creationId xmlns:a16="http://schemas.microsoft.com/office/drawing/2014/main" id="{B037FA60-EF30-4160-990C-2DFEB94B789D}"/>
              </a:ext>
            </a:extLst>
          </p:cNvPr>
          <p:cNvSpPr txBox="1"/>
          <p:nvPr/>
        </p:nvSpPr>
        <p:spPr>
          <a:xfrm>
            <a:off x="2142841" y="1504430"/>
            <a:ext cx="2606608" cy="1246495"/>
          </a:xfrm>
          <a:prstGeom prst="rect">
            <a:avLst/>
          </a:prstGeom>
          <a:noFill/>
        </p:spPr>
        <p:txBody>
          <a:bodyPr wrap="square" rtlCol="0">
            <a:spAutoFit/>
          </a:bodyPr>
          <a:lstStyle>
            <a:defPPr>
              <a:defRPr lang="en-US"/>
            </a:defPPr>
            <a:lvl1pPr marL="171450" indent="-171450">
              <a:spcAft>
                <a:spcPts val="600"/>
              </a:spcAft>
              <a:buFont typeface="Arial" panose="020B0604020202020204" pitchFamily="34" charset="0"/>
              <a:buChar char="•"/>
              <a:defRPr sz="1000">
                <a:latin typeface="+mj-lt"/>
              </a:defRPr>
            </a:lvl1pPr>
          </a:lstStyle>
          <a:p>
            <a:pPr algn="just">
              <a:spcAft>
                <a:spcPts val="300"/>
              </a:spcAft>
            </a:pPr>
            <a:r>
              <a:rPr lang="en-GB">
                <a:latin typeface="Trebuchet MS" panose="020B0603020202020204" pitchFamily="34" charset="0"/>
              </a:rPr>
              <a:t>Access for the client to a </a:t>
            </a:r>
            <a:r>
              <a:rPr lang="en-GB">
                <a:solidFill>
                  <a:schemeClr val="tx2"/>
                </a:solidFill>
                <a:latin typeface="Trebuchet MS" panose="020B0603020202020204" pitchFamily="34" charset="0"/>
              </a:rPr>
              <a:t>web platform </a:t>
            </a:r>
            <a:r>
              <a:rPr lang="en-GB">
                <a:latin typeface="Trebuchet MS" panose="020B0603020202020204" pitchFamily="34" charset="0"/>
              </a:rPr>
              <a:t>connected to </a:t>
            </a:r>
            <a:r>
              <a:rPr lang="en-GB" err="1">
                <a:latin typeface="Trebuchet MS" panose="020B0603020202020204" pitchFamily="34" charset="0"/>
              </a:rPr>
              <a:t>Altares</a:t>
            </a:r>
            <a:r>
              <a:rPr lang="en-GB">
                <a:latin typeface="Trebuchet MS" panose="020B0603020202020204" pitchFamily="34" charset="0"/>
              </a:rPr>
              <a:t>' database</a:t>
            </a:r>
          </a:p>
          <a:p>
            <a:pPr algn="just">
              <a:spcAft>
                <a:spcPts val="300"/>
              </a:spcAft>
            </a:pPr>
            <a:r>
              <a:rPr lang="en-GB">
                <a:latin typeface="Trebuchet MS" panose="020B0603020202020204" pitchFamily="34" charset="0"/>
              </a:rPr>
              <a:t>Clients can make their </a:t>
            </a:r>
            <a:r>
              <a:rPr lang="en-GB">
                <a:solidFill>
                  <a:schemeClr val="tx2"/>
                </a:solidFill>
                <a:latin typeface="Trebuchet MS" panose="020B0603020202020204" pitchFamily="34" charset="0"/>
              </a:rPr>
              <a:t>research on the platform</a:t>
            </a:r>
          </a:p>
          <a:p>
            <a:pPr algn="just">
              <a:spcAft>
                <a:spcPts val="300"/>
              </a:spcAft>
            </a:pPr>
            <a:r>
              <a:rPr lang="en-GB">
                <a:latin typeface="Trebuchet MS" panose="020B0603020202020204" pitchFamily="34" charset="0"/>
              </a:rPr>
              <a:t>Clients can then </a:t>
            </a:r>
            <a:r>
              <a:rPr lang="en-GB">
                <a:solidFill>
                  <a:schemeClr val="tx2"/>
                </a:solidFill>
                <a:latin typeface="Trebuchet MS" panose="020B0603020202020204" pitchFamily="34" charset="0"/>
              </a:rPr>
              <a:t>extract data they need </a:t>
            </a:r>
            <a:r>
              <a:rPr lang="en-GB">
                <a:latin typeface="Trebuchet MS" panose="020B0603020202020204" pitchFamily="34" charset="0"/>
              </a:rPr>
              <a:t>and</a:t>
            </a:r>
            <a:r>
              <a:rPr lang="en-GB">
                <a:solidFill>
                  <a:schemeClr val="tx2"/>
                </a:solidFill>
                <a:latin typeface="Trebuchet MS" panose="020B0603020202020204" pitchFamily="34" charset="0"/>
              </a:rPr>
              <a:t> input it manually </a:t>
            </a:r>
            <a:r>
              <a:rPr lang="en-GB">
                <a:latin typeface="Trebuchet MS" panose="020B0603020202020204" pitchFamily="34" charset="0"/>
              </a:rPr>
              <a:t>in their tools</a:t>
            </a:r>
          </a:p>
        </p:txBody>
      </p:sp>
      <p:sp>
        <p:nvSpPr>
          <p:cNvPr id="82" name="Ellipse 81">
            <a:extLst>
              <a:ext uri="{FF2B5EF4-FFF2-40B4-BE49-F238E27FC236}">
                <a16:creationId xmlns:a16="http://schemas.microsoft.com/office/drawing/2014/main" id="{9FB858DC-A8BF-4FB1-A2F0-EE345B2033E3}"/>
              </a:ext>
            </a:extLst>
          </p:cNvPr>
          <p:cNvSpPr/>
          <p:nvPr/>
        </p:nvSpPr>
        <p:spPr bwMode="auto">
          <a:xfrm>
            <a:off x="1152125" y="1554452"/>
            <a:ext cx="223550" cy="213007"/>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700" b="0" i="0" u="none" strike="noStrike" cap="none" normalizeH="0" baseline="0">
                <a:ln>
                  <a:noFill/>
                </a:ln>
                <a:solidFill>
                  <a:schemeClr val="bg1"/>
                </a:solidFill>
                <a:effectLst/>
                <a:latin typeface="Trebuchet MS" panose="020B0603020202020204" pitchFamily="34" charset="0"/>
              </a:rPr>
              <a:t>1</a:t>
            </a:r>
          </a:p>
        </p:txBody>
      </p:sp>
      <p:sp>
        <p:nvSpPr>
          <p:cNvPr id="62" name="Rectangle 61">
            <a:extLst>
              <a:ext uri="{FF2B5EF4-FFF2-40B4-BE49-F238E27FC236}">
                <a16:creationId xmlns:a16="http://schemas.microsoft.com/office/drawing/2014/main" id="{F5E27736-17FA-4086-8766-75DC9B3704B3}"/>
              </a:ext>
            </a:extLst>
          </p:cNvPr>
          <p:cNvSpPr/>
          <p:nvPr/>
        </p:nvSpPr>
        <p:spPr bwMode="auto">
          <a:xfrm>
            <a:off x="1012520" y="4808308"/>
            <a:ext cx="3794377" cy="87921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1" name="TextBox 40">
            <a:extLst>
              <a:ext uri="{FF2B5EF4-FFF2-40B4-BE49-F238E27FC236}">
                <a16:creationId xmlns:a16="http://schemas.microsoft.com/office/drawing/2014/main" id="{ADED8ADB-AD37-45B8-9F34-7D3231768462}"/>
              </a:ext>
            </a:extLst>
          </p:cNvPr>
          <p:cNvSpPr txBox="1"/>
          <p:nvPr/>
        </p:nvSpPr>
        <p:spPr>
          <a:xfrm>
            <a:off x="2142841" y="4800203"/>
            <a:ext cx="2606608" cy="861774"/>
          </a:xfrm>
          <a:prstGeom prst="rect">
            <a:avLst/>
          </a:prstGeom>
          <a:noFill/>
        </p:spPr>
        <p:txBody>
          <a:bodyPr wrap="square" rtlCol="0">
            <a:spAutoFit/>
          </a:bodyPr>
          <a:lstStyle>
            <a:defPPr>
              <a:defRPr lang="en-US"/>
            </a:defPPr>
            <a:lvl1pPr marL="171450" indent="-171450">
              <a:spcAft>
                <a:spcPts val="600"/>
              </a:spcAft>
              <a:buFont typeface="Arial" panose="020B0604020202020204" pitchFamily="34" charset="0"/>
              <a:buChar char="•"/>
              <a:defRPr sz="1000">
                <a:latin typeface="+mj-lt"/>
              </a:defRPr>
            </a:lvl1pPr>
          </a:lstStyle>
          <a:p>
            <a:pPr algn="just">
              <a:spcAft>
                <a:spcPts val="0"/>
              </a:spcAft>
            </a:pPr>
            <a:r>
              <a:rPr lang="en-GB">
                <a:latin typeface="Trebuchet MS" panose="020B0603020202020204" pitchFamily="34" charset="0"/>
              </a:rPr>
              <a:t>APIs allow the client to </a:t>
            </a:r>
            <a:r>
              <a:rPr lang="en-GB">
                <a:solidFill>
                  <a:schemeClr val="tx2"/>
                </a:solidFill>
                <a:latin typeface="Trebuchet MS" panose="020B0603020202020204" pitchFamily="34" charset="0"/>
              </a:rPr>
              <a:t>integrate directly </a:t>
            </a:r>
            <a:r>
              <a:rPr lang="en-GB" err="1">
                <a:solidFill>
                  <a:schemeClr val="tx2"/>
                </a:solidFill>
                <a:latin typeface="Trebuchet MS" panose="020B0603020202020204" pitchFamily="34" charset="0"/>
              </a:rPr>
              <a:t>Altares</a:t>
            </a:r>
            <a:r>
              <a:rPr lang="en-GB">
                <a:solidFill>
                  <a:schemeClr val="tx2"/>
                </a:solidFill>
                <a:latin typeface="Trebuchet MS" panose="020B0603020202020204" pitchFamily="34" charset="0"/>
              </a:rPr>
              <a:t>' data in their tools</a:t>
            </a:r>
          </a:p>
          <a:p>
            <a:pPr algn="just">
              <a:spcAft>
                <a:spcPts val="0"/>
              </a:spcAft>
            </a:pPr>
            <a:r>
              <a:rPr lang="en-GB">
                <a:latin typeface="Trebuchet MS" panose="020B0603020202020204" pitchFamily="34" charset="0"/>
              </a:rPr>
              <a:t>APIs can be on-the-shelf or tailor made</a:t>
            </a:r>
          </a:p>
          <a:p>
            <a:pPr algn="just">
              <a:spcAft>
                <a:spcPts val="0"/>
              </a:spcAft>
            </a:pPr>
            <a:r>
              <a:rPr lang="en-GB">
                <a:latin typeface="Trebuchet MS" panose="020B0603020202020204" pitchFamily="34" charset="0"/>
              </a:rPr>
              <a:t>It requires the development of </a:t>
            </a:r>
            <a:r>
              <a:rPr lang="en-GB">
                <a:solidFill>
                  <a:schemeClr val="tx2"/>
                </a:solidFill>
                <a:latin typeface="Trebuchet MS" panose="020B0603020202020204" pitchFamily="34" charset="0"/>
              </a:rPr>
              <a:t>customized interfaces </a:t>
            </a:r>
            <a:r>
              <a:rPr lang="en-GB">
                <a:latin typeface="Trebuchet MS" panose="020B0603020202020204" pitchFamily="34" charset="0"/>
              </a:rPr>
              <a:t>with the client</a:t>
            </a:r>
          </a:p>
        </p:txBody>
      </p:sp>
      <p:sp>
        <p:nvSpPr>
          <p:cNvPr id="83" name="Ellipse 82">
            <a:extLst>
              <a:ext uri="{FF2B5EF4-FFF2-40B4-BE49-F238E27FC236}">
                <a16:creationId xmlns:a16="http://schemas.microsoft.com/office/drawing/2014/main" id="{34B675DF-7584-4C80-BA54-6AE5B2468653}"/>
              </a:ext>
            </a:extLst>
          </p:cNvPr>
          <p:cNvSpPr/>
          <p:nvPr/>
        </p:nvSpPr>
        <p:spPr bwMode="auto">
          <a:xfrm>
            <a:off x="1152125" y="4855023"/>
            <a:ext cx="223550" cy="213007"/>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700">
                <a:solidFill>
                  <a:schemeClr val="bg1"/>
                </a:solidFill>
                <a:latin typeface="Trebuchet MS" panose="020B0603020202020204" pitchFamily="34" charset="0"/>
              </a:rPr>
              <a:t>4</a:t>
            </a:r>
            <a:endParaRPr kumimoji="0" lang="en-GB" sz="700" b="0" i="0" u="none" strike="noStrike" cap="none" normalizeH="0" baseline="0">
              <a:ln>
                <a:noFill/>
              </a:ln>
              <a:solidFill>
                <a:schemeClr val="bg1"/>
              </a:solidFill>
              <a:effectLst/>
              <a:latin typeface="Trebuchet MS" panose="020B0603020202020204" pitchFamily="34" charset="0"/>
            </a:endParaRPr>
          </a:p>
        </p:txBody>
      </p:sp>
      <p:sp>
        <p:nvSpPr>
          <p:cNvPr id="68" name="Triangle isocèle 67">
            <a:extLst>
              <a:ext uri="{FF2B5EF4-FFF2-40B4-BE49-F238E27FC236}">
                <a16:creationId xmlns:a16="http://schemas.microsoft.com/office/drawing/2014/main" id="{8D4314D4-E0A3-4440-80A9-95CAF3772F16}"/>
              </a:ext>
            </a:extLst>
          </p:cNvPr>
          <p:cNvSpPr/>
          <p:nvPr/>
        </p:nvSpPr>
        <p:spPr bwMode="auto">
          <a:xfrm rot="5400000">
            <a:off x="4859169" y="3836288"/>
            <a:ext cx="545903" cy="12318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70" name="Connecteur droit 69">
            <a:extLst>
              <a:ext uri="{FF2B5EF4-FFF2-40B4-BE49-F238E27FC236}">
                <a16:creationId xmlns:a16="http://schemas.microsoft.com/office/drawing/2014/main" id="{567F0926-61EF-4A88-842C-748C5FC6B493}"/>
              </a:ext>
            </a:extLst>
          </p:cNvPr>
          <p:cNvCxnSpPr>
            <a:cxnSpLocks/>
          </p:cNvCxnSpPr>
          <p:nvPr/>
        </p:nvCxnSpPr>
        <p:spPr bwMode="auto">
          <a:xfrm>
            <a:off x="5061883" y="1222077"/>
            <a:ext cx="0" cy="5009758"/>
          </a:xfrm>
          <a:prstGeom prst="line">
            <a:avLst/>
          </a:prstGeom>
          <a:solidFill>
            <a:schemeClr val="accent1"/>
          </a:solidFill>
          <a:ln w="9525" cap="flat" cmpd="sng" algn="ctr">
            <a:solidFill>
              <a:schemeClr val="tx2"/>
            </a:solidFill>
            <a:prstDash val="solid"/>
            <a:round/>
            <a:headEnd type="none" w="med" len="med"/>
            <a:tailEnd type="none" w="med" len="med"/>
          </a:ln>
          <a:effectLst/>
        </p:spPr>
      </p:cxnSp>
      <p:grpSp>
        <p:nvGrpSpPr>
          <p:cNvPr id="65" name="Group 4">
            <a:extLst>
              <a:ext uri="{FF2B5EF4-FFF2-40B4-BE49-F238E27FC236}">
                <a16:creationId xmlns:a16="http://schemas.microsoft.com/office/drawing/2014/main" id="{F9E195D6-AC64-401B-813F-30114A7D8B9D}"/>
              </a:ext>
            </a:extLst>
          </p:cNvPr>
          <p:cNvGrpSpPr>
            <a:grpSpLocks noChangeAspect="1"/>
          </p:cNvGrpSpPr>
          <p:nvPr/>
        </p:nvGrpSpPr>
        <p:grpSpPr bwMode="auto">
          <a:xfrm>
            <a:off x="6938791" y="4868014"/>
            <a:ext cx="154955" cy="126267"/>
            <a:chOff x="788" y="869"/>
            <a:chExt cx="740" cy="603"/>
          </a:xfrm>
          <a:solidFill>
            <a:schemeClr val="tx1"/>
          </a:solidFill>
        </p:grpSpPr>
        <p:sp>
          <p:nvSpPr>
            <p:cNvPr id="66" name="Freeform 5">
              <a:extLst>
                <a:ext uri="{FF2B5EF4-FFF2-40B4-BE49-F238E27FC236}">
                  <a16:creationId xmlns:a16="http://schemas.microsoft.com/office/drawing/2014/main" id="{EED150C7-A8AE-4344-9FDB-71F11004BD82}"/>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Rectangle 6">
              <a:extLst>
                <a:ext uri="{FF2B5EF4-FFF2-40B4-BE49-F238E27FC236}">
                  <a16:creationId xmlns:a16="http://schemas.microsoft.com/office/drawing/2014/main" id="{4001565E-4A48-4708-A047-1D26036BFFEC}"/>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Rectangle 7">
              <a:extLst>
                <a:ext uri="{FF2B5EF4-FFF2-40B4-BE49-F238E27FC236}">
                  <a16:creationId xmlns:a16="http://schemas.microsoft.com/office/drawing/2014/main" id="{15BB09EC-BDEA-4B32-A27B-D39249351E05}"/>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Rectangle 8">
              <a:extLst>
                <a:ext uri="{FF2B5EF4-FFF2-40B4-BE49-F238E27FC236}">
                  <a16:creationId xmlns:a16="http://schemas.microsoft.com/office/drawing/2014/main" id="{398B85FD-2899-4345-96D3-9E96307172A1}"/>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4" name="Group 113">
            <a:extLst>
              <a:ext uri="{FF2B5EF4-FFF2-40B4-BE49-F238E27FC236}">
                <a16:creationId xmlns:a16="http://schemas.microsoft.com/office/drawing/2014/main" id="{B8DC0B9D-C0F4-449E-901A-E02EC5986EFF}"/>
              </a:ext>
            </a:extLst>
          </p:cNvPr>
          <p:cNvGrpSpPr/>
          <p:nvPr/>
        </p:nvGrpSpPr>
        <p:grpSpPr>
          <a:xfrm>
            <a:off x="1297844" y="4983238"/>
            <a:ext cx="761339" cy="529356"/>
            <a:chOff x="1297844" y="4905632"/>
            <a:chExt cx="761339" cy="529356"/>
          </a:xfrm>
        </p:grpSpPr>
        <p:sp>
          <p:nvSpPr>
            <p:cNvPr id="32" name="TextBox 31">
              <a:extLst>
                <a:ext uri="{FF2B5EF4-FFF2-40B4-BE49-F238E27FC236}">
                  <a16:creationId xmlns:a16="http://schemas.microsoft.com/office/drawing/2014/main" id="{F074AEEF-9E2B-438F-8548-FE75D8882910}"/>
                </a:ext>
              </a:extLst>
            </p:cNvPr>
            <p:cNvSpPr txBox="1"/>
            <p:nvPr/>
          </p:nvSpPr>
          <p:spPr>
            <a:xfrm>
              <a:off x="1297844" y="5204156"/>
              <a:ext cx="761339" cy="230832"/>
            </a:xfrm>
            <a:prstGeom prst="rect">
              <a:avLst/>
            </a:prstGeom>
            <a:noFill/>
          </p:spPr>
          <p:txBody>
            <a:bodyPr wrap="square" rtlCol="0">
              <a:spAutoFit/>
            </a:bodyPr>
            <a:lstStyle>
              <a:defPPr>
                <a:defRPr lang="en-US"/>
              </a:defPPr>
              <a:lvl1pPr algn="ctr">
                <a:defRPr sz="1100" b="1">
                  <a:solidFill>
                    <a:schemeClr val="tx2"/>
                  </a:solidFill>
                  <a:latin typeface="+mj-lt"/>
                </a:defRPr>
              </a:lvl1pPr>
            </a:lstStyle>
            <a:p>
              <a:r>
                <a:rPr lang="en-GB" sz="900">
                  <a:latin typeface="Trebuchet MS" panose="020B0603020202020204" pitchFamily="34" charset="0"/>
                </a:rPr>
                <a:t>API</a:t>
              </a:r>
            </a:p>
          </p:txBody>
        </p:sp>
        <p:grpSp>
          <p:nvGrpSpPr>
            <p:cNvPr id="43" name="Graphic 41">
              <a:extLst>
                <a:ext uri="{FF2B5EF4-FFF2-40B4-BE49-F238E27FC236}">
                  <a16:creationId xmlns:a16="http://schemas.microsoft.com/office/drawing/2014/main" id="{9F461B64-0D98-482B-B6BE-049444184EDC}"/>
                </a:ext>
              </a:extLst>
            </p:cNvPr>
            <p:cNvGrpSpPr>
              <a:grpSpLocks noChangeAspect="1"/>
            </p:cNvGrpSpPr>
            <p:nvPr/>
          </p:nvGrpSpPr>
          <p:grpSpPr>
            <a:xfrm>
              <a:off x="1529969" y="4905632"/>
              <a:ext cx="297088" cy="297088"/>
              <a:chOff x="4713920" y="1246857"/>
              <a:chExt cx="1971647" cy="1971648"/>
            </a:xfrm>
            <a:solidFill>
              <a:schemeClr val="tx2"/>
            </a:solidFill>
          </p:grpSpPr>
          <p:sp>
            <p:nvSpPr>
              <p:cNvPr id="44" name="Freeform: Shape 43">
                <a:extLst>
                  <a:ext uri="{FF2B5EF4-FFF2-40B4-BE49-F238E27FC236}">
                    <a16:creationId xmlns:a16="http://schemas.microsoft.com/office/drawing/2014/main" id="{CC72F239-7224-42D2-8D1B-D4E557BB41FC}"/>
                  </a:ext>
                </a:extLst>
              </p:cNvPr>
              <p:cNvSpPr/>
              <p:nvPr/>
            </p:nvSpPr>
            <p:spPr>
              <a:xfrm>
                <a:off x="4713920" y="1246857"/>
                <a:ext cx="1971647" cy="1840204"/>
              </a:xfrm>
              <a:custGeom>
                <a:avLst/>
                <a:gdLst>
                  <a:gd name="connsiteX0" fmla="*/ 1577318 w 1971647"/>
                  <a:gd name="connsiteY0" fmla="*/ 558634 h 1840204"/>
                  <a:gd name="connsiteX1" fmla="*/ 1441472 w 1971647"/>
                  <a:gd name="connsiteY1" fmla="*/ 582885 h 1840204"/>
                  <a:gd name="connsiteX2" fmla="*/ 1248710 w 1971647"/>
                  <a:gd name="connsiteY2" fmla="*/ 427190 h 1840204"/>
                  <a:gd name="connsiteX3" fmla="*/ 1248415 w 1971647"/>
                  <a:gd name="connsiteY3" fmla="*/ 427190 h 1840204"/>
                  <a:gd name="connsiteX4" fmla="*/ 805090 w 1971647"/>
                  <a:gd name="connsiteY4" fmla="*/ 0 h 1840204"/>
                  <a:gd name="connsiteX5" fmla="*/ 361469 w 1971647"/>
                  <a:gd name="connsiteY5" fmla="*/ 443621 h 1840204"/>
                  <a:gd name="connsiteX6" fmla="*/ 364821 w 1971647"/>
                  <a:gd name="connsiteY6" fmla="*/ 497940 h 1840204"/>
                  <a:gd name="connsiteX7" fmla="*/ 0 w 1971647"/>
                  <a:gd name="connsiteY7" fmla="*/ 920102 h 1840204"/>
                  <a:gd name="connsiteX8" fmla="*/ 328608 w 1971647"/>
                  <a:gd name="connsiteY8" fmla="*/ 1335364 h 1840204"/>
                  <a:gd name="connsiteX9" fmla="*/ 328608 w 1971647"/>
                  <a:gd name="connsiteY9" fmla="*/ 1465132 h 1840204"/>
                  <a:gd name="connsiteX10" fmla="*/ 108211 w 1971647"/>
                  <a:gd name="connsiteY10" fmla="*/ 1685529 h 1840204"/>
                  <a:gd name="connsiteX11" fmla="*/ 98582 w 1971647"/>
                  <a:gd name="connsiteY11" fmla="*/ 1708762 h 1840204"/>
                  <a:gd name="connsiteX12" fmla="*/ 98582 w 1971647"/>
                  <a:gd name="connsiteY12" fmla="*/ 1840205 h 1840204"/>
                  <a:gd name="connsiteX13" fmla="*/ 164304 w 1971647"/>
                  <a:gd name="connsiteY13" fmla="*/ 1840205 h 1840204"/>
                  <a:gd name="connsiteX14" fmla="*/ 164304 w 1971647"/>
                  <a:gd name="connsiteY14" fmla="*/ 1722366 h 1840204"/>
                  <a:gd name="connsiteX15" fmla="*/ 384701 w 1971647"/>
                  <a:gd name="connsiteY15" fmla="*/ 1501969 h 1840204"/>
                  <a:gd name="connsiteX16" fmla="*/ 394330 w 1971647"/>
                  <a:gd name="connsiteY16" fmla="*/ 1478736 h 1840204"/>
                  <a:gd name="connsiteX17" fmla="*/ 394330 w 1971647"/>
                  <a:gd name="connsiteY17" fmla="*/ 1345617 h 1840204"/>
                  <a:gd name="connsiteX18" fmla="*/ 427190 w 1971647"/>
                  <a:gd name="connsiteY18" fmla="*/ 1347293 h 1840204"/>
                  <a:gd name="connsiteX19" fmla="*/ 525773 w 1971647"/>
                  <a:gd name="connsiteY19" fmla="*/ 1347293 h 1840204"/>
                  <a:gd name="connsiteX20" fmla="*/ 525773 w 1971647"/>
                  <a:gd name="connsiteY20" fmla="*/ 1530853 h 1840204"/>
                  <a:gd name="connsiteX21" fmla="*/ 371097 w 1971647"/>
                  <a:gd name="connsiteY21" fmla="*/ 1685529 h 1840204"/>
                  <a:gd name="connsiteX22" fmla="*/ 361469 w 1971647"/>
                  <a:gd name="connsiteY22" fmla="*/ 1708762 h 1840204"/>
                  <a:gd name="connsiteX23" fmla="*/ 361469 w 1971647"/>
                  <a:gd name="connsiteY23" fmla="*/ 1840205 h 1840204"/>
                  <a:gd name="connsiteX24" fmla="*/ 427190 w 1971647"/>
                  <a:gd name="connsiteY24" fmla="*/ 1840205 h 1840204"/>
                  <a:gd name="connsiteX25" fmla="*/ 427190 w 1971647"/>
                  <a:gd name="connsiteY25" fmla="*/ 1722366 h 1840204"/>
                  <a:gd name="connsiteX26" fmla="*/ 581866 w 1971647"/>
                  <a:gd name="connsiteY26" fmla="*/ 1567690 h 1840204"/>
                  <a:gd name="connsiteX27" fmla="*/ 591494 w 1971647"/>
                  <a:gd name="connsiteY27" fmla="*/ 1544458 h 1840204"/>
                  <a:gd name="connsiteX28" fmla="*/ 591494 w 1971647"/>
                  <a:gd name="connsiteY28" fmla="*/ 1347293 h 1840204"/>
                  <a:gd name="connsiteX29" fmla="*/ 755798 w 1971647"/>
                  <a:gd name="connsiteY29" fmla="*/ 1347293 h 1840204"/>
                  <a:gd name="connsiteX30" fmla="*/ 755798 w 1971647"/>
                  <a:gd name="connsiteY30" fmla="*/ 1596575 h 1840204"/>
                  <a:gd name="connsiteX31" fmla="*/ 666844 w 1971647"/>
                  <a:gd name="connsiteY31" fmla="*/ 1685529 h 1840204"/>
                  <a:gd name="connsiteX32" fmla="*/ 657216 w 1971647"/>
                  <a:gd name="connsiteY32" fmla="*/ 1708762 h 1840204"/>
                  <a:gd name="connsiteX33" fmla="*/ 657216 w 1971647"/>
                  <a:gd name="connsiteY33" fmla="*/ 1840205 h 1840204"/>
                  <a:gd name="connsiteX34" fmla="*/ 722938 w 1971647"/>
                  <a:gd name="connsiteY34" fmla="*/ 1840205 h 1840204"/>
                  <a:gd name="connsiteX35" fmla="*/ 722938 w 1971647"/>
                  <a:gd name="connsiteY35" fmla="*/ 1722366 h 1840204"/>
                  <a:gd name="connsiteX36" fmla="*/ 811892 w 1971647"/>
                  <a:gd name="connsiteY36" fmla="*/ 1633412 h 1840204"/>
                  <a:gd name="connsiteX37" fmla="*/ 821520 w 1971647"/>
                  <a:gd name="connsiteY37" fmla="*/ 1610179 h 1840204"/>
                  <a:gd name="connsiteX38" fmla="*/ 821520 w 1971647"/>
                  <a:gd name="connsiteY38" fmla="*/ 1347293 h 1840204"/>
                  <a:gd name="connsiteX39" fmla="*/ 952963 w 1971647"/>
                  <a:gd name="connsiteY39" fmla="*/ 1347293 h 1840204"/>
                  <a:gd name="connsiteX40" fmla="*/ 952963 w 1971647"/>
                  <a:gd name="connsiteY40" fmla="*/ 1840205 h 1840204"/>
                  <a:gd name="connsiteX41" fmla="*/ 1018685 w 1971647"/>
                  <a:gd name="connsiteY41" fmla="*/ 1840205 h 1840204"/>
                  <a:gd name="connsiteX42" fmla="*/ 1018685 w 1971647"/>
                  <a:gd name="connsiteY42" fmla="*/ 1347293 h 1840204"/>
                  <a:gd name="connsiteX43" fmla="*/ 1150128 w 1971647"/>
                  <a:gd name="connsiteY43" fmla="*/ 1347293 h 1840204"/>
                  <a:gd name="connsiteX44" fmla="*/ 1150128 w 1971647"/>
                  <a:gd name="connsiteY44" fmla="*/ 1610179 h 1840204"/>
                  <a:gd name="connsiteX45" fmla="*/ 1159756 w 1971647"/>
                  <a:gd name="connsiteY45" fmla="*/ 1633412 h 1840204"/>
                  <a:gd name="connsiteX46" fmla="*/ 1248710 w 1971647"/>
                  <a:gd name="connsiteY46" fmla="*/ 1722366 h 1840204"/>
                  <a:gd name="connsiteX47" fmla="*/ 1248710 w 1971647"/>
                  <a:gd name="connsiteY47" fmla="*/ 1840205 h 1840204"/>
                  <a:gd name="connsiteX48" fmla="*/ 1314432 w 1971647"/>
                  <a:gd name="connsiteY48" fmla="*/ 1840205 h 1840204"/>
                  <a:gd name="connsiteX49" fmla="*/ 1314432 w 1971647"/>
                  <a:gd name="connsiteY49" fmla="*/ 1708762 h 1840204"/>
                  <a:gd name="connsiteX50" fmla="*/ 1304804 w 1971647"/>
                  <a:gd name="connsiteY50" fmla="*/ 1685529 h 1840204"/>
                  <a:gd name="connsiteX51" fmla="*/ 1215850 w 1971647"/>
                  <a:gd name="connsiteY51" fmla="*/ 1596575 h 1840204"/>
                  <a:gd name="connsiteX52" fmla="*/ 1215850 w 1971647"/>
                  <a:gd name="connsiteY52" fmla="*/ 1347293 h 1840204"/>
                  <a:gd name="connsiteX53" fmla="*/ 1380154 w 1971647"/>
                  <a:gd name="connsiteY53" fmla="*/ 1347293 h 1840204"/>
                  <a:gd name="connsiteX54" fmla="*/ 1380154 w 1971647"/>
                  <a:gd name="connsiteY54" fmla="*/ 1544458 h 1840204"/>
                  <a:gd name="connsiteX55" fmla="*/ 1389782 w 1971647"/>
                  <a:gd name="connsiteY55" fmla="*/ 1567690 h 1840204"/>
                  <a:gd name="connsiteX56" fmla="*/ 1544458 w 1971647"/>
                  <a:gd name="connsiteY56" fmla="*/ 1722366 h 1840204"/>
                  <a:gd name="connsiteX57" fmla="*/ 1544458 w 1971647"/>
                  <a:gd name="connsiteY57" fmla="*/ 1840205 h 1840204"/>
                  <a:gd name="connsiteX58" fmla="*/ 1610179 w 1971647"/>
                  <a:gd name="connsiteY58" fmla="*/ 1840205 h 1840204"/>
                  <a:gd name="connsiteX59" fmla="*/ 1610179 w 1971647"/>
                  <a:gd name="connsiteY59" fmla="*/ 1708762 h 1840204"/>
                  <a:gd name="connsiteX60" fmla="*/ 1600551 w 1971647"/>
                  <a:gd name="connsiteY60" fmla="*/ 1685529 h 1840204"/>
                  <a:gd name="connsiteX61" fmla="*/ 1445875 w 1971647"/>
                  <a:gd name="connsiteY61" fmla="*/ 1530853 h 1840204"/>
                  <a:gd name="connsiteX62" fmla="*/ 1445875 w 1971647"/>
                  <a:gd name="connsiteY62" fmla="*/ 1347293 h 1840204"/>
                  <a:gd name="connsiteX63" fmla="*/ 1577318 w 1971647"/>
                  <a:gd name="connsiteY63" fmla="*/ 1347293 h 1840204"/>
                  <a:gd name="connsiteX64" fmla="*/ 1577318 w 1971647"/>
                  <a:gd name="connsiteY64" fmla="*/ 1478736 h 1840204"/>
                  <a:gd name="connsiteX65" fmla="*/ 1586947 w 1971647"/>
                  <a:gd name="connsiteY65" fmla="*/ 1501969 h 1840204"/>
                  <a:gd name="connsiteX66" fmla="*/ 1807344 w 1971647"/>
                  <a:gd name="connsiteY66" fmla="*/ 1722366 h 1840204"/>
                  <a:gd name="connsiteX67" fmla="*/ 1807344 w 1971647"/>
                  <a:gd name="connsiteY67" fmla="*/ 1840205 h 1840204"/>
                  <a:gd name="connsiteX68" fmla="*/ 1873065 w 1971647"/>
                  <a:gd name="connsiteY68" fmla="*/ 1840205 h 1840204"/>
                  <a:gd name="connsiteX69" fmla="*/ 1873065 w 1971647"/>
                  <a:gd name="connsiteY69" fmla="*/ 1708762 h 1840204"/>
                  <a:gd name="connsiteX70" fmla="*/ 1863437 w 1971647"/>
                  <a:gd name="connsiteY70" fmla="*/ 1685529 h 1840204"/>
                  <a:gd name="connsiteX71" fmla="*/ 1643040 w 1971647"/>
                  <a:gd name="connsiteY71" fmla="*/ 1465132 h 1840204"/>
                  <a:gd name="connsiteX72" fmla="*/ 1643040 w 1971647"/>
                  <a:gd name="connsiteY72" fmla="*/ 1341345 h 1840204"/>
                  <a:gd name="connsiteX73" fmla="*/ 1971648 w 1971647"/>
                  <a:gd name="connsiteY73" fmla="*/ 952963 h 1840204"/>
                  <a:gd name="connsiteX74" fmla="*/ 1577318 w 1971647"/>
                  <a:gd name="connsiteY74" fmla="*/ 558634 h 1840204"/>
                  <a:gd name="connsiteX75" fmla="*/ 1577318 w 1971647"/>
                  <a:gd name="connsiteY75" fmla="*/ 1281571 h 1840204"/>
                  <a:gd name="connsiteX76" fmla="*/ 427190 w 1971647"/>
                  <a:gd name="connsiteY76" fmla="*/ 1281571 h 1840204"/>
                  <a:gd name="connsiteX77" fmla="*/ 65722 w 1971647"/>
                  <a:gd name="connsiteY77" fmla="*/ 920102 h 1840204"/>
                  <a:gd name="connsiteX78" fmla="*/ 404845 w 1971647"/>
                  <a:gd name="connsiteY78" fmla="*/ 559817 h 1840204"/>
                  <a:gd name="connsiteX79" fmla="*/ 428899 w 1971647"/>
                  <a:gd name="connsiteY79" fmla="*/ 547001 h 1840204"/>
                  <a:gd name="connsiteX80" fmla="*/ 435011 w 1971647"/>
                  <a:gd name="connsiteY80" fmla="*/ 520384 h 1840204"/>
                  <a:gd name="connsiteX81" fmla="*/ 427190 w 1971647"/>
                  <a:gd name="connsiteY81" fmla="*/ 443621 h 1840204"/>
                  <a:gd name="connsiteX82" fmla="*/ 805090 w 1971647"/>
                  <a:gd name="connsiteY82" fmla="*/ 65722 h 1840204"/>
                  <a:gd name="connsiteX83" fmla="*/ 1182989 w 1971647"/>
                  <a:gd name="connsiteY83" fmla="*/ 443621 h 1840204"/>
                  <a:gd name="connsiteX84" fmla="*/ 1182463 w 1971647"/>
                  <a:gd name="connsiteY84" fmla="*/ 454563 h 1840204"/>
                  <a:gd name="connsiteX85" fmla="*/ 1182003 w 1971647"/>
                  <a:gd name="connsiteY85" fmla="*/ 462056 h 1840204"/>
                  <a:gd name="connsiteX86" fmla="*/ 1193537 w 1971647"/>
                  <a:gd name="connsiteY86" fmla="*/ 488640 h 1840204"/>
                  <a:gd name="connsiteX87" fmla="*/ 1221600 w 1971647"/>
                  <a:gd name="connsiteY87" fmla="*/ 495771 h 1840204"/>
                  <a:gd name="connsiteX88" fmla="*/ 1380055 w 1971647"/>
                  <a:gd name="connsiteY88" fmla="*/ 623797 h 1840204"/>
                  <a:gd name="connsiteX89" fmla="*/ 1379398 w 1971647"/>
                  <a:gd name="connsiteY89" fmla="*/ 629909 h 1840204"/>
                  <a:gd name="connsiteX90" fmla="*/ 1394382 w 1971647"/>
                  <a:gd name="connsiteY90" fmla="*/ 659221 h 1840204"/>
                  <a:gd name="connsiteX91" fmla="*/ 1427276 w 1971647"/>
                  <a:gd name="connsiteY91" fmla="*/ 660831 h 1840204"/>
                  <a:gd name="connsiteX92" fmla="*/ 1577318 w 1971647"/>
                  <a:gd name="connsiteY92" fmla="*/ 624355 h 1840204"/>
                  <a:gd name="connsiteX93" fmla="*/ 1905926 w 1971647"/>
                  <a:gd name="connsiteY93" fmla="*/ 952963 h 1840204"/>
                  <a:gd name="connsiteX94" fmla="*/ 1577318 w 1971647"/>
                  <a:gd name="connsiteY94" fmla="*/ 1281571 h 184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71647" h="1840204">
                    <a:moveTo>
                      <a:pt x="1577318" y="558634"/>
                    </a:moveTo>
                    <a:cubicBezTo>
                      <a:pt x="1530459" y="558634"/>
                      <a:pt x="1484914" y="566783"/>
                      <a:pt x="1441472" y="582885"/>
                    </a:cubicBezTo>
                    <a:cubicBezTo>
                      <a:pt x="1422380" y="493996"/>
                      <a:pt x="1343218" y="427190"/>
                      <a:pt x="1248710" y="427190"/>
                    </a:cubicBezTo>
                    <a:cubicBezTo>
                      <a:pt x="1248612" y="427190"/>
                      <a:pt x="1248513" y="427190"/>
                      <a:pt x="1248415" y="427190"/>
                    </a:cubicBezTo>
                    <a:cubicBezTo>
                      <a:pt x="1239772" y="190165"/>
                      <a:pt x="1044185" y="0"/>
                      <a:pt x="805090" y="0"/>
                    </a:cubicBezTo>
                    <a:cubicBezTo>
                      <a:pt x="560474" y="0"/>
                      <a:pt x="361469" y="199005"/>
                      <a:pt x="361469" y="443621"/>
                    </a:cubicBezTo>
                    <a:cubicBezTo>
                      <a:pt x="361469" y="461760"/>
                      <a:pt x="362586" y="479899"/>
                      <a:pt x="364821" y="497940"/>
                    </a:cubicBezTo>
                    <a:cubicBezTo>
                      <a:pt x="157535" y="528336"/>
                      <a:pt x="0" y="707230"/>
                      <a:pt x="0" y="920102"/>
                    </a:cubicBezTo>
                    <a:cubicBezTo>
                      <a:pt x="0" y="1121671"/>
                      <a:pt x="140513" y="1290674"/>
                      <a:pt x="328608" y="1335364"/>
                    </a:cubicBezTo>
                    <a:lnTo>
                      <a:pt x="328608" y="1465132"/>
                    </a:lnTo>
                    <a:lnTo>
                      <a:pt x="108211" y="1685529"/>
                    </a:lnTo>
                    <a:cubicBezTo>
                      <a:pt x="102033" y="1691674"/>
                      <a:pt x="98582" y="1700054"/>
                      <a:pt x="98582" y="1708762"/>
                    </a:cubicBezTo>
                    <a:lnTo>
                      <a:pt x="98582" y="1840205"/>
                    </a:lnTo>
                    <a:lnTo>
                      <a:pt x="164304" y="1840205"/>
                    </a:lnTo>
                    <a:lnTo>
                      <a:pt x="164304" y="1722366"/>
                    </a:lnTo>
                    <a:lnTo>
                      <a:pt x="384701" y="1501969"/>
                    </a:lnTo>
                    <a:cubicBezTo>
                      <a:pt x="390879" y="1495824"/>
                      <a:pt x="394330" y="1487444"/>
                      <a:pt x="394330" y="1478736"/>
                    </a:cubicBezTo>
                    <a:lnTo>
                      <a:pt x="394330" y="1345617"/>
                    </a:lnTo>
                    <a:cubicBezTo>
                      <a:pt x="405207" y="1346471"/>
                      <a:pt x="416083" y="1347293"/>
                      <a:pt x="427190" y="1347293"/>
                    </a:cubicBezTo>
                    <a:lnTo>
                      <a:pt x="525773" y="1347293"/>
                    </a:lnTo>
                    <a:lnTo>
                      <a:pt x="525773" y="1530853"/>
                    </a:lnTo>
                    <a:lnTo>
                      <a:pt x="371097" y="1685529"/>
                    </a:lnTo>
                    <a:cubicBezTo>
                      <a:pt x="364919" y="1691674"/>
                      <a:pt x="361469" y="1700054"/>
                      <a:pt x="361469" y="1708762"/>
                    </a:cubicBezTo>
                    <a:lnTo>
                      <a:pt x="361469" y="1840205"/>
                    </a:lnTo>
                    <a:lnTo>
                      <a:pt x="427190" y="1840205"/>
                    </a:lnTo>
                    <a:lnTo>
                      <a:pt x="427190" y="1722366"/>
                    </a:lnTo>
                    <a:lnTo>
                      <a:pt x="581866" y="1567690"/>
                    </a:lnTo>
                    <a:cubicBezTo>
                      <a:pt x="588044" y="1561545"/>
                      <a:pt x="591494" y="1553166"/>
                      <a:pt x="591494" y="1544458"/>
                    </a:cubicBezTo>
                    <a:lnTo>
                      <a:pt x="591494" y="1347293"/>
                    </a:lnTo>
                    <a:lnTo>
                      <a:pt x="755798" y="1347293"/>
                    </a:lnTo>
                    <a:lnTo>
                      <a:pt x="755798" y="1596575"/>
                    </a:lnTo>
                    <a:lnTo>
                      <a:pt x="666844" y="1685529"/>
                    </a:lnTo>
                    <a:cubicBezTo>
                      <a:pt x="660666" y="1691674"/>
                      <a:pt x="657216" y="1700054"/>
                      <a:pt x="657216" y="1708762"/>
                    </a:cubicBezTo>
                    <a:lnTo>
                      <a:pt x="657216" y="1840205"/>
                    </a:lnTo>
                    <a:lnTo>
                      <a:pt x="722938" y="1840205"/>
                    </a:lnTo>
                    <a:lnTo>
                      <a:pt x="722938" y="1722366"/>
                    </a:lnTo>
                    <a:lnTo>
                      <a:pt x="811892" y="1633412"/>
                    </a:lnTo>
                    <a:cubicBezTo>
                      <a:pt x="818070" y="1627267"/>
                      <a:pt x="821520" y="1618887"/>
                      <a:pt x="821520" y="1610179"/>
                    </a:cubicBezTo>
                    <a:lnTo>
                      <a:pt x="821520" y="1347293"/>
                    </a:lnTo>
                    <a:lnTo>
                      <a:pt x="952963" y="1347293"/>
                    </a:lnTo>
                    <a:lnTo>
                      <a:pt x="952963" y="1840205"/>
                    </a:lnTo>
                    <a:lnTo>
                      <a:pt x="1018685" y="1840205"/>
                    </a:lnTo>
                    <a:lnTo>
                      <a:pt x="1018685" y="1347293"/>
                    </a:lnTo>
                    <a:lnTo>
                      <a:pt x="1150128" y="1347293"/>
                    </a:lnTo>
                    <a:lnTo>
                      <a:pt x="1150128" y="1610179"/>
                    </a:lnTo>
                    <a:cubicBezTo>
                      <a:pt x="1150128" y="1618887"/>
                      <a:pt x="1153578" y="1627267"/>
                      <a:pt x="1159756" y="1633412"/>
                    </a:cubicBezTo>
                    <a:lnTo>
                      <a:pt x="1248710" y="1722366"/>
                    </a:lnTo>
                    <a:lnTo>
                      <a:pt x="1248710" y="1840205"/>
                    </a:lnTo>
                    <a:lnTo>
                      <a:pt x="1314432" y="1840205"/>
                    </a:lnTo>
                    <a:lnTo>
                      <a:pt x="1314432" y="1708762"/>
                    </a:lnTo>
                    <a:cubicBezTo>
                      <a:pt x="1314432" y="1700054"/>
                      <a:pt x="1310982" y="1691674"/>
                      <a:pt x="1304804" y="1685529"/>
                    </a:cubicBezTo>
                    <a:lnTo>
                      <a:pt x="1215850" y="1596575"/>
                    </a:lnTo>
                    <a:lnTo>
                      <a:pt x="1215850" y="1347293"/>
                    </a:lnTo>
                    <a:lnTo>
                      <a:pt x="1380154" y="1347293"/>
                    </a:lnTo>
                    <a:lnTo>
                      <a:pt x="1380154" y="1544458"/>
                    </a:lnTo>
                    <a:cubicBezTo>
                      <a:pt x="1380154" y="1553166"/>
                      <a:pt x="1383604" y="1561545"/>
                      <a:pt x="1389782" y="1567690"/>
                    </a:cubicBezTo>
                    <a:lnTo>
                      <a:pt x="1544458" y="1722366"/>
                    </a:lnTo>
                    <a:lnTo>
                      <a:pt x="1544458" y="1840205"/>
                    </a:lnTo>
                    <a:lnTo>
                      <a:pt x="1610179" y="1840205"/>
                    </a:lnTo>
                    <a:lnTo>
                      <a:pt x="1610179" y="1708762"/>
                    </a:lnTo>
                    <a:cubicBezTo>
                      <a:pt x="1610179" y="1700054"/>
                      <a:pt x="1606729" y="1691674"/>
                      <a:pt x="1600551" y="1685529"/>
                    </a:cubicBezTo>
                    <a:lnTo>
                      <a:pt x="1445875" y="1530853"/>
                    </a:lnTo>
                    <a:lnTo>
                      <a:pt x="1445875" y="1347293"/>
                    </a:lnTo>
                    <a:lnTo>
                      <a:pt x="1577318" y="1347293"/>
                    </a:lnTo>
                    <a:lnTo>
                      <a:pt x="1577318" y="1478736"/>
                    </a:lnTo>
                    <a:cubicBezTo>
                      <a:pt x="1577318" y="1487444"/>
                      <a:pt x="1580769" y="1495824"/>
                      <a:pt x="1586947" y="1501969"/>
                    </a:cubicBezTo>
                    <a:lnTo>
                      <a:pt x="1807344" y="1722366"/>
                    </a:lnTo>
                    <a:lnTo>
                      <a:pt x="1807344" y="1840205"/>
                    </a:lnTo>
                    <a:lnTo>
                      <a:pt x="1873065" y="1840205"/>
                    </a:lnTo>
                    <a:lnTo>
                      <a:pt x="1873065" y="1708762"/>
                    </a:lnTo>
                    <a:cubicBezTo>
                      <a:pt x="1873065" y="1700054"/>
                      <a:pt x="1869615" y="1691674"/>
                      <a:pt x="1863437" y="1685529"/>
                    </a:cubicBezTo>
                    <a:lnTo>
                      <a:pt x="1643040" y="1465132"/>
                    </a:lnTo>
                    <a:lnTo>
                      <a:pt x="1643040" y="1341345"/>
                    </a:lnTo>
                    <a:cubicBezTo>
                      <a:pt x="1829229" y="1309930"/>
                      <a:pt x="1971648" y="1147959"/>
                      <a:pt x="1971648" y="952963"/>
                    </a:cubicBezTo>
                    <a:cubicBezTo>
                      <a:pt x="1971648" y="735523"/>
                      <a:pt x="1794758" y="558634"/>
                      <a:pt x="1577318" y="558634"/>
                    </a:cubicBezTo>
                    <a:close/>
                    <a:moveTo>
                      <a:pt x="1577318" y="1281571"/>
                    </a:moveTo>
                    <a:lnTo>
                      <a:pt x="427190" y="1281571"/>
                    </a:lnTo>
                    <a:cubicBezTo>
                      <a:pt x="227890" y="1281571"/>
                      <a:pt x="65722" y="1119403"/>
                      <a:pt x="65722" y="920102"/>
                    </a:cubicBezTo>
                    <a:cubicBezTo>
                      <a:pt x="65722" y="729740"/>
                      <a:pt x="214680" y="571449"/>
                      <a:pt x="404845" y="559817"/>
                    </a:cubicBezTo>
                    <a:cubicBezTo>
                      <a:pt x="414342" y="559225"/>
                      <a:pt x="423148" y="554559"/>
                      <a:pt x="428899" y="547001"/>
                    </a:cubicBezTo>
                    <a:cubicBezTo>
                      <a:pt x="434716" y="539443"/>
                      <a:pt x="436917" y="529716"/>
                      <a:pt x="435011" y="520384"/>
                    </a:cubicBezTo>
                    <a:cubicBezTo>
                      <a:pt x="429819" y="495179"/>
                      <a:pt x="427190" y="469351"/>
                      <a:pt x="427190" y="443621"/>
                    </a:cubicBezTo>
                    <a:cubicBezTo>
                      <a:pt x="427190" y="235250"/>
                      <a:pt x="596719" y="65722"/>
                      <a:pt x="805090" y="65722"/>
                    </a:cubicBezTo>
                    <a:cubicBezTo>
                      <a:pt x="1013460" y="65722"/>
                      <a:pt x="1182989" y="235250"/>
                      <a:pt x="1182989" y="443621"/>
                    </a:cubicBezTo>
                    <a:cubicBezTo>
                      <a:pt x="1182989" y="447301"/>
                      <a:pt x="1182726" y="450949"/>
                      <a:pt x="1182463" y="454563"/>
                    </a:cubicBezTo>
                    <a:lnTo>
                      <a:pt x="1182003" y="462056"/>
                    </a:lnTo>
                    <a:cubicBezTo>
                      <a:pt x="1181510" y="472210"/>
                      <a:pt x="1185749" y="482035"/>
                      <a:pt x="1193537" y="488640"/>
                    </a:cubicBezTo>
                    <a:cubicBezTo>
                      <a:pt x="1201259" y="495212"/>
                      <a:pt x="1211610" y="497874"/>
                      <a:pt x="1221600" y="495771"/>
                    </a:cubicBezTo>
                    <a:cubicBezTo>
                      <a:pt x="1304245" y="478388"/>
                      <a:pt x="1380121" y="543025"/>
                      <a:pt x="1380055" y="623797"/>
                    </a:cubicBezTo>
                    <a:cubicBezTo>
                      <a:pt x="1379924" y="624782"/>
                      <a:pt x="1379463" y="628923"/>
                      <a:pt x="1379398" y="629909"/>
                    </a:cubicBezTo>
                    <a:cubicBezTo>
                      <a:pt x="1378773" y="641640"/>
                      <a:pt x="1384491" y="652846"/>
                      <a:pt x="1394382" y="659221"/>
                    </a:cubicBezTo>
                    <a:cubicBezTo>
                      <a:pt x="1404273" y="665596"/>
                      <a:pt x="1416760" y="666220"/>
                      <a:pt x="1427276" y="660831"/>
                    </a:cubicBezTo>
                    <a:cubicBezTo>
                      <a:pt x="1474365" y="636645"/>
                      <a:pt x="1524807" y="624355"/>
                      <a:pt x="1577318" y="624355"/>
                    </a:cubicBezTo>
                    <a:cubicBezTo>
                      <a:pt x="1758513" y="624355"/>
                      <a:pt x="1905926" y="771769"/>
                      <a:pt x="1905926" y="952963"/>
                    </a:cubicBezTo>
                    <a:cubicBezTo>
                      <a:pt x="1905926" y="1134158"/>
                      <a:pt x="1758513" y="1281571"/>
                      <a:pt x="1577318" y="1281571"/>
                    </a:cubicBezTo>
                    <a:close/>
                  </a:path>
                </a:pathLst>
              </a:custGeom>
              <a:grpFill/>
              <a:ln w="32742"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D64487CC-7E55-4D3B-B121-302634DDFCA7}"/>
                  </a:ext>
                </a:extLst>
              </p:cNvPr>
              <p:cNvSpPr/>
              <p:nvPr/>
            </p:nvSpPr>
            <p:spPr>
              <a:xfrm>
                <a:off x="5519010" y="1411161"/>
                <a:ext cx="93127" cy="77912"/>
              </a:xfrm>
              <a:custGeom>
                <a:avLst/>
                <a:gdLst>
                  <a:gd name="connsiteX0" fmla="*/ 93127 w 93127"/>
                  <a:gd name="connsiteY0" fmla="*/ 15970 h 77912"/>
                  <a:gd name="connsiteX1" fmla="*/ 0 w 93127"/>
                  <a:gd name="connsiteY1" fmla="*/ 0 h 77912"/>
                  <a:gd name="connsiteX2" fmla="*/ 0 w 93127"/>
                  <a:gd name="connsiteY2" fmla="*/ 65722 h 77912"/>
                  <a:gd name="connsiteX3" fmla="*/ 71177 w 93127"/>
                  <a:gd name="connsiteY3" fmla="*/ 77913 h 77912"/>
                  <a:gd name="connsiteX4" fmla="*/ 93127 w 93127"/>
                  <a:gd name="connsiteY4" fmla="*/ 15970 h 77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27" h="77912">
                    <a:moveTo>
                      <a:pt x="93127" y="15970"/>
                    </a:moveTo>
                    <a:cubicBezTo>
                      <a:pt x="63257" y="5389"/>
                      <a:pt x="31941" y="0"/>
                      <a:pt x="0" y="0"/>
                    </a:cubicBezTo>
                    <a:lnTo>
                      <a:pt x="0" y="65722"/>
                    </a:lnTo>
                    <a:cubicBezTo>
                      <a:pt x="24416" y="65722"/>
                      <a:pt x="48371" y="69829"/>
                      <a:pt x="71177" y="77913"/>
                    </a:cubicBezTo>
                    <a:lnTo>
                      <a:pt x="93127" y="15970"/>
                    </a:lnTo>
                    <a:close/>
                  </a:path>
                </a:pathLst>
              </a:custGeom>
              <a:grpFill/>
              <a:ln w="32742"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28C59F4B-D3D7-4A8C-9590-D99A35B8DD51}"/>
                  </a:ext>
                </a:extLst>
              </p:cNvPr>
              <p:cNvSpPr/>
              <p:nvPr/>
            </p:nvSpPr>
            <p:spPr>
              <a:xfrm>
                <a:off x="5239693" y="1427131"/>
                <a:ext cx="208140" cy="263346"/>
              </a:xfrm>
              <a:custGeom>
                <a:avLst/>
                <a:gdLst>
                  <a:gd name="connsiteX0" fmla="*/ 186189 w 208140"/>
                  <a:gd name="connsiteY0" fmla="*/ 0 h 263346"/>
                  <a:gd name="connsiteX1" fmla="*/ 0 w 208140"/>
                  <a:gd name="connsiteY1" fmla="*/ 263346 h 263346"/>
                  <a:gd name="connsiteX2" fmla="*/ 65722 w 208140"/>
                  <a:gd name="connsiteY2" fmla="*/ 263346 h 263346"/>
                  <a:gd name="connsiteX3" fmla="*/ 208140 w 208140"/>
                  <a:gd name="connsiteY3" fmla="*/ 61943 h 263346"/>
                  <a:gd name="connsiteX4" fmla="*/ 186189 w 208140"/>
                  <a:gd name="connsiteY4" fmla="*/ 0 h 263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140" h="263346">
                    <a:moveTo>
                      <a:pt x="186189" y="0"/>
                    </a:moveTo>
                    <a:cubicBezTo>
                      <a:pt x="74824" y="39499"/>
                      <a:pt x="0" y="145310"/>
                      <a:pt x="0" y="263346"/>
                    </a:cubicBezTo>
                    <a:lnTo>
                      <a:pt x="65722" y="263346"/>
                    </a:lnTo>
                    <a:cubicBezTo>
                      <a:pt x="65722" y="173078"/>
                      <a:pt x="122965" y="92142"/>
                      <a:pt x="208140" y="61943"/>
                    </a:cubicBezTo>
                    <a:lnTo>
                      <a:pt x="186189" y="0"/>
                    </a:lnTo>
                    <a:close/>
                  </a:path>
                </a:pathLst>
              </a:custGeom>
              <a:grpFill/>
              <a:ln w="32742"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E1322D61-DC85-4A24-A113-4B11402F21EB}"/>
                  </a:ext>
                </a:extLst>
              </p:cNvPr>
              <p:cNvSpPr/>
              <p:nvPr/>
            </p:nvSpPr>
            <p:spPr>
              <a:xfrm>
                <a:off x="6521264"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50" name="Freeform: Shape 49">
                <a:extLst>
                  <a:ext uri="{FF2B5EF4-FFF2-40B4-BE49-F238E27FC236}">
                    <a16:creationId xmlns:a16="http://schemas.microsoft.com/office/drawing/2014/main" id="{45F7CE10-1C3A-492F-BDCF-D5C042A5CF73}"/>
                  </a:ext>
                </a:extLst>
              </p:cNvPr>
              <p:cNvSpPr/>
              <p:nvPr/>
            </p:nvSpPr>
            <p:spPr>
              <a:xfrm>
                <a:off x="6258378"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51" name="Freeform: Shape 50">
                <a:extLst>
                  <a:ext uri="{FF2B5EF4-FFF2-40B4-BE49-F238E27FC236}">
                    <a16:creationId xmlns:a16="http://schemas.microsoft.com/office/drawing/2014/main" id="{BD981CBC-E7D4-4839-A7F7-5922BDFD29D7}"/>
                  </a:ext>
                </a:extLst>
              </p:cNvPr>
              <p:cNvSpPr/>
              <p:nvPr/>
            </p:nvSpPr>
            <p:spPr>
              <a:xfrm>
                <a:off x="5962630"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52" name="Freeform: Shape 51">
                <a:extLst>
                  <a:ext uri="{FF2B5EF4-FFF2-40B4-BE49-F238E27FC236}">
                    <a16:creationId xmlns:a16="http://schemas.microsoft.com/office/drawing/2014/main" id="{C9381564-5397-4DE2-BFA4-EAF34FC87E22}"/>
                  </a:ext>
                </a:extLst>
              </p:cNvPr>
              <p:cNvSpPr/>
              <p:nvPr/>
            </p:nvSpPr>
            <p:spPr>
              <a:xfrm>
                <a:off x="4812502"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53" name="Freeform: Shape 52">
                <a:extLst>
                  <a:ext uri="{FF2B5EF4-FFF2-40B4-BE49-F238E27FC236}">
                    <a16:creationId xmlns:a16="http://schemas.microsoft.com/office/drawing/2014/main" id="{BE4C6CD3-92E6-465C-8E84-E4AE7644CE61}"/>
                  </a:ext>
                </a:extLst>
              </p:cNvPr>
              <p:cNvSpPr/>
              <p:nvPr/>
            </p:nvSpPr>
            <p:spPr>
              <a:xfrm>
                <a:off x="5075389"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54" name="Freeform: Shape 53">
                <a:extLst>
                  <a:ext uri="{FF2B5EF4-FFF2-40B4-BE49-F238E27FC236}">
                    <a16:creationId xmlns:a16="http://schemas.microsoft.com/office/drawing/2014/main" id="{44EB0AFE-A949-4B3E-8FA9-3B81565380C4}"/>
                  </a:ext>
                </a:extLst>
              </p:cNvPr>
              <p:cNvSpPr/>
              <p:nvPr/>
            </p:nvSpPr>
            <p:spPr>
              <a:xfrm>
                <a:off x="5371136"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55" name="Freeform: Shape 54">
                <a:extLst>
                  <a:ext uri="{FF2B5EF4-FFF2-40B4-BE49-F238E27FC236}">
                    <a16:creationId xmlns:a16="http://schemas.microsoft.com/office/drawing/2014/main" id="{A1CBABF6-F8CB-4975-A71D-EC0A7BD7AA5F}"/>
                  </a:ext>
                </a:extLst>
              </p:cNvPr>
              <p:cNvSpPr/>
              <p:nvPr/>
            </p:nvSpPr>
            <p:spPr>
              <a:xfrm>
                <a:off x="5666883"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56" name="Freeform: Shape 55">
                <a:extLst>
                  <a:ext uri="{FF2B5EF4-FFF2-40B4-BE49-F238E27FC236}">
                    <a16:creationId xmlns:a16="http://schemas.microsoft.com/office/drawing/2014/main" id="{4E55F83E-4ABE-482A-89EF-4CDBFE903188}"/>
                  </a:ext>
                </a:extLst>
              </p:cNvPr>
              <p:cNvSpPr/>
              <p:nvPr/>
            </p:nvSpPr>
            <p:spPr>
              <a:xfrm>
                <a:off x="5535440" y="1969795"/>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57" name="Freeform: Shape 56">
                <a:extLst>
                  <a:ext uri="{FF2B5EF4-FFF2-40B4-BE49-F238E27FC236}">
                    <a16:creationId xmlns:a16="http://schemas.microsoft.com/office/drawing/2014/main" id="{F06F4A0B-ADA3-4C0E-8E9E-911C2283FB8A}"/>
                  </a:ext>
                </a:extLst>
              </p:cNvPr>
              <p:cNvSpPr/>
              <p:nvPr/>
            </p:nvSpPr>
            <p:spPr>
              <a:xfrm>
                <a:off x="5535440" y="2101238"/>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58" name="Freeform: Shape 57">
                <a:extLst>
                  <a:ext uri="{FF2B5EF4-FFF2-40B4-BE49-F238E27FC236}">
                    <a16:creationId xmlns:a16="http://schemas.microsoft.com/office/drawing/2014/main" id="{A7BF7D15-486A-4311-82E4-D3CFAED46C41}"/>
                  </a:ext>
                </a:extLst>
              </p:cNvPr>
              <p:cNvSpPr/>
              <p:nvPr/>
            </p:nvSpPr>
            <p:spPr>
              <a:xfrm>
                <a:off x="5535440" y="2232681"/>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78" name="Freeform: Shape 77">
                <a:extLst>
                  <a:ext uri="{FF2B5EF4-FFF2-40B4-BE49-F238E27FC236}">
                    <a16:creationId xmlns:a16="http://schemas.microsoft.com/office/drawing/2014/main" id="{8AA5EC11-1F1A-495D-A3AC-FA87C3AF1EF5}"/>
                  </a:ext>
                </a:extLst>
              </p:cNvPr>
              <p:cNvSpPr/>
              <p:nvPr/>
            </p:nvSpPr>
            <p:spPr>
              <a:xfrm>
                <a:off x="5666883" y="1969795"/>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79" name="Freeform: Shape 78">
                <a:extLst>
                  <a:ext uri="{FF2B5EF4-FFF2-40B4-BE49-F238E27FC236}">
                    <a16:creationId xmlns:a16="http://schemas.microsoft.com/office/drawing/2014/main" id="{61CCEC9E-3E53-4DC6-AB6C-E699013AC14B}"/>
                  </a:ext>
                </a:extLst>
              </p:cNvPr>
              <p:cNvSpPr/>
              <p:nvPr/>
            </p:nvSpPr>
            <p:spPr>
              <a:xfrm>
                <a:off x="5666883" y="2101238"/>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80" name="Freeform: Shape 79">
                <a:extLst>
                  <a:ext uri="{FF2B5EF4-FFF2-40B4-BE49-F238E27FC236}">
                    <a16:creationId xmlns:a16="http://schemas.microsoft.com/office/drawing/2014/main" id="{06D0FA32-2DD6-41BC-A042-5FA9E567F7A5}"/>
                  </a:ext>
                </a:extLst>
              </p:cNvPr>
              <p:cNvSpPr/>
              <p:nvPr/>
            </p:nvSpPr>
            <p:spPr>
              <a:xfrm>
                <a:off x="5666883" y="2232681"/>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84" name="Freeform: Shape 83">
                <a:extLst>
                  <a:ext uri="{FF2B5EF4-FFF2-40B4-BE49-F238E27FC236}">
                    <a16:creationId xmlns:a16="http://schemas.microsoft.com/office/drawing/2014/main" id="{CA035355-4DC9-47E9-A5F9-9D8A2903DBF2}"/>
                  </a:ext>
                </a:extLst>
              </p:cNvPr>
              <p:cNvSpPr/>
              <p:nvPr/>
            </p:nvSpPr>
            <p:spPr>
              <a:xfrm>
                <a:off x="5798326" y="1969795"/>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85" name="Freeform: Shape 84">
                <a:extLst>
                  <a:ext uri="{FF2B5EF4-FFF2-40B4-BE49-F238E27FC236}">
                    <a16:creationId xmlns:a16="http://schemas.microsoft.com/office/drawing/2014/main" id="{F8FE4030-4A91-4AA1-85EE-F84A2060B470}"/>
                  </a:ext>
                </a:extLst>
              </p:cNvPr>
              <p:cNvSpPr/>
              <p:nvPr/>
            </p:nvSpPr>
            <p:spPr>
              <a:xfrm>
                <a:off x="5798326" y="2101238"/>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86" name="Freeform: Shape 85">
                <a:extLst>
                  <a:ext uri="{FF2B5EF4-FFF2-40B4-BE49-F238E27FC236}">
                    <a16:creationId xmlns:a16="http://schemas.microsoft.com/office/drawing/2014/main" id="{733E8826-24B0-4C34-A286-33BC543CD56C}"/>
                  </a:ext>
                </a:extLst>
              </p:cNvPr>
              <p:cNvSpPr/>
              <p:nvPr/>
            </p:nvSpPr>
            <p:spPr>
              <a:xfrm>
                <a:off x="5798326" y="2232681"/>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87" name="Freeform: Shape 86">
                <a:extLst>
                  <a:ext uri="{FF2B5EF4-FFF2-40B4-BE49-F238E27FC236}">
                    <a16:creationId xmlns:a16="http://schemas.microsoft.com/office/drawing/2014/main" id="{B20D59C7-F8B6-4D89-B5C1-2AA1ABF85D29}"/>
                  </a:ext>
                </a:extLst>
              </p:cNvPr>
              <p:cNvSpPr/>
              <p:nvPr/>
            </p:nvSpPr>
            <p:spPr>
              <a:xfrm>
                <a:off x="5798326" y="2199820"/>
                <a:ext cx="197164" cy="230025"/>
              </a:xfrm>
              <a:custGeom>
                <a:avLst/>
                <a:gdLst>
                  <a:gd name="connsiteX0" fmla="*/ 131443 w 197164"/>
                  <a:gd name="connsiteY0" fmla="*/ 164304 h 230025"/>
                  <a:gd name="connsiteX1" fmla="*/ 0 w 197164"/>
                  <a:gd name="connsiteY1" fmla="*/ 164304 h 230025"/>
                  <a:gd name="connsiteX2" fmla="*/ 0 w 197164"/>
                  <a:gd name="connsiteY2" fmla="*/ 230026 h 230025"/>
                  <a:gd name="connsiteX3" fmla="*/ 164304 w 197164"/>
                  <a:gd name="connsiteY3" fmla="*/ 230026 h 230025"/>
                  <a:gd name="connsiteX4" fmla="*/ 197165 w 197164"/>
                  <a:gd name="connsiteY4" fmla="*/ 197165 h 230025"/>
                  <a:gd name="connsiteX5" fmla="*/ 197165 w 197164"/>
                  <a:gd name="connsiteY5" fmla="*/ 0 h 230025"/>
                  <a:gd name="connsiteX6" fmla="*/ 131443 w 197164"/>
                  <a:gd name="connsiteY6" fmla="*/ 0 h 230025"/>
                  <a:gd name="connsiteX7" fmla="*/ 131443 w 197164"/>
                  <a:gd name="connsiteY7" fmla="*/ 164304 h 23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7164" h="230025">
                    <a:moveTo>
                      <a:pt x="131443" y="164304"/>
                    </a:moveTo>
                    <a:lnTo>
                      <a:pt x="0" y="164304"/>
                    </a:lnTo>
                    <a:lnTo>
                      <a:pt x="0" y="230026"/>
                    </a:lnTo>
                    <a:lnTo>
                      <a:pt x="164304" y="230026"/>
                    </a:lnTo>
                    <a:cubicBezTo>
                      <a:pt x="182476" y="230026"/>
                      <a:pt x="197165" y="215304"/>
                      <a:pt x="197165" y="197165"/>
                    </a:cubicBezTo>
                    <a:lnTo>
                      <a:pt x="197165" y="0"/>
                    </a:lnTo>
                    <a:lnTo>
                      <a:pt x="131443" y="0"/>
                    </a:lnTo>
                    <a:lnTo>
                      <a:pt x="131443" y="164304"/>
                    </a:lnTo>
                    <a:close/>
                  </a:path>
                </a:pathLst>
              </a:custGeom>
              <a:grpFill/>
              <a:ln w="32742" cap="flat">
                <a:noFill/>
                <a:prstDash val="solid"/>
                <a:miter/>
              </a:ln>
            </p:spPr>
            <p:txBody>
              <a:bodyPr rtlCol="0" anchor="ctr"/>
              <a:lstStyle/>
              <a:p>
                <a:endParaRPr lang="en-GB"/>
              </a:p>
            </p:txBody>
          </p:sp>
          <p:sp>
            <p:nvSpPr>
              <p:cNvPr id="88" name="Freeform: Shape 87">
                <a:extLst>
                  <a:ext uri="{FF2B5EF4-FFF2-40B4-BE49-F238E27FC236}">
                    <a16:creationId xmlns:a16="http://schemas.microsoft.com/office/drawing/2014/main" id="{F77BA98C-CDD7-4C2E-B7ED-22C9FD46294B}"/>
                  </a:ext>
                </a:extLst>
              </p:cNvPr>
              <p:cNvSpPr/>
              <p:nvPr/>
            </p:nvSpPr>
            <p:spPr>
              <a:xfrm>
                <a:off x="5403997" y="1838352"/>
                <a:ext cx="230025" cy="230025"/>
              </a:xfrm>
              <a:custGeom>
                <a:avLst/>
                <a:gdLst>
                  <a:gd name="connsiteX0" fmla="*/ 230026 w 230025"/>
                  <a:gd name="connsiteY0" fmla="*/ 0 h 230025"/>
                  <a:gd name="connsiteX1" fmla="*/ 32861 w 230025"/>
                  <a:gd name="connsiteY1" fmla="*/ 0 h 230025"/>
                  <a:gd name="connsiteX2" fmla="*/ 0 w 230025"/>
                  <a:gd name="connsiteY2" fmla="*/ 32861 h 230025"/>
                  <a:gd name="connsiteX3" fmla="*/ 0 w 230025"/>
                  <a:gd name="connsiteY3" fmla="*/ 230026 h 230025"/>
                  <a:gd name="connsiteX4" fmla="*/ 65722 w 230025"/>
                  <a:gd name="connsiteY4" fmla="*/ 230026 h 230025"/>
                  <a:gd name="connsiteX5" fmla="*/ 65722 w 230025"/>
                  <a:gd name="connsiteY5" fmla="*/ 65722 h 230025"/>
                  <a:gd name="connsiteX6" fmla="*/ 230026 w 230025"/>
                  <a:gd name="connsiteY6" fmla="*/ 65722 h 230025"/>
                  <a:gd name="connsiteX7" fmla="*/ 230026 w 230025"/>
                  <a:gd name="connsiteY7" fmla="*/ 0 h 23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025" h="230025">
                    <a:moveTo>
                      <a:pt x="230026" y="0"/>
                    </a:moveTo>
                    <a:lnTo>
                      <a:pt x="32861" y="0"/>
                    </a:lnTo>
                    <a:cubicBezTo>
                      <a:pt x="14689" y="0"/>
                      <a:pt x="0" y="14722"/>
                      <a:pt x="0" y="32861"/>
                    </a:cubicBezTo>
                    <a:lnTo>
                      <a:pt x="0" y="230026"/>
                    </a:lnTo>
                    <a:lnTo>
                      <a:pt x="65722" y="230026"/>
                    </a:lnTo>
                    <a:lnTo>
                      <a:pt x="65722" y="65722"/>
                    </a:lnTo>
                    <a:lnTo>
                      <a:pt x="230026" y="65722"/>
                    </a:lnTo>
                    <a:lnTo>
                      <a:pt x="230026" y="0"/>
                    </a:lnTo>
                    <a:close/>
                  </a:path>
                </a:pathLst>
              </a:custGeom>
              <a:grpFill/>
              <a:ln w="32742" cap="flat">
                <a:noFill/>
                <a:prstDash val="solid"/>
                <a:miter/>
              </a:ln>
            </p:spPr>
            <p:txBody>
              <a:bodyPr rtlCol="0" anchor="ctr"/>
              <a:lstStyle/>
              <a:p>
                <a:endParaRPr lang="en-GB"/>
              </a:p>
            </p:txBody>
          </p:sp>
          <p:sp>
            <p:nvSpPr>
              <p:cNvPr id="89" name="Freeform: Shape 88">
                <a:extLst>
                  <a:ext uri="{FF2B5EF4-FFF2-40B4-BE49-F238E27FC236}">
                    <a16:creationId xmlns:a16="http://schemas.microsoft.com/office/drawing/2014/main" id="{13241FF7-C8C9-41EF-AFB7-4771B5B4E3AE}"/>
                  </a:ext>
                </a:extLst>
              </p:cNvPr>
              <p:cNvSpPr/>
              <p:nvPr/>
            </p:nvSpPr>
            <p:spPr>
              <a:xfrm>
                <a:off x="5601162" y="2364124"/>
                <a:ext cx="131443" cy="65721"/>
              </a:xfrm>
              <a:custGeom>
                <a:avLst/>
                <a:gdLst>
                  <a:gd name="connsiteX0" fmla="*/ 0 w 131443"/>
                  <a:gd name="connsiteY0" fmla="*/ 0 h 65721"/>
                  <a:gd name="connsiteX1" fmla="*/ 131443 w 131443"/>
                  <a:gd name="connsiteY1" fmla="*/ 0 h 65721"/>
                  <a:gd name="connsiteX2" fmla="*/ 131443 w 131443"/>
                  <a:gd name="connsiteY2" fmla="*/ 65722 h 65721"/>
                  <a:gd name="connsiteX3" fmla="*/ 0 w 131443"/>
                  <a:gd name="connsiteY3" fmla="*/ 65722 h 65721"/>
                </a:gdLst>
                <a:ahLst/>
                <a:cxnLst>
                  <a:cxn ang="0">
                    <a:pos x="connsiteX0" y="connsiteY0"/>
                  </a:cxn>
                  <a:cxn ang="0">
                    <a:pos x="connsiteX1" y="connsiteY1"/>
                  </a:cxn>
                  <a:cxn ang="0">
                    <a:pos x="connsiteX2" y="connsiteY2"/>
                  </a:cxn>
                  <a:cxn ang="0">
                    <a:pos x="connsiteX3" y="connsiteY3"/>
                  </a:cxn>
                </a:cxnLst>
                <a:rect l="l" t="t" r="r" b="b"/>
                <a:pathLst>
                  <a:path w="131443" h="65721">
                    <a:moveTo>
                      <a:pt x="0" y="0"/>
                    </a:moveTo>
                    <a:lnTo>
                      <a:pt x="131443" y="0"/>
                    </a:lnTo>
                    <a:lnTo>
                      <a:pt x="131443" y="65722"/>
                    </a:lnTo>
                    <a:lnTo>
                      <a:pt x="0" y="65722"/>
                    </a:lnTo>
                    <a:close/>
                  </a:path>
                </a:pathLst>
              </a:custGeom>
              <a:grpFill/>
              <a:ln w="32742" cap="flat">
                <a:noFill/>
                <a:prstDash val="solid"/>
                <a:miter/>
              </a:ln>
            </p:spPr>
            <p:txBody>
              <a:bodyPr rtlCol="0" anchor="ctr"/>
              <a:lstStyle/>
              <a:p>
                <a:endParaRPr lang="en-GB"/>
              </a:p>
            </p:txBody>
          </p:sp>
          <p:sp>
            <p:nvSpPr>
              <p:cNvPr id="90" name="Freeform: Shape 89">
                <a:extLst>
                  <a:ext uri="{FF2B5EF4-FFF2-40B4-BE49-F238E27FC236}">
                    <a16:creationId xmlns:a16="http://schemas.microsoft.com/office/drawing/2014/main" id="{0F11D149-8470-4B19-80B3-8CF5C99116A3}"/>
                  </a:ext>
                </a:extLst>
              </p:cNvPr>
              <p:cNvSpPr/>
              <p:nvPr/>
            </p:nvSpPr>
            <p:spPr>
              <a:xfrm>
                <a:off x="5699744" y="1838352"/>
                <a:ext cx="98582" cy="65721"/>
              </a:xfrm>
              <a:custGeom>
                <a:avLst/>
                <a:gdLst>
                  <a:gd name="connsiteX0" fmla="*/ 0 w 98582"/>
                  <a:gd name="connsiteY0" fmla="*/ 0 h 65721"/>
                  <a:gd name="connsiteX1" fmla="*/ 98582 w 98582"/>
                  <a:gd name="connsiteY1" fmla="*/ 0 h 65721"/>
                  <a:gd name="connsiteX2" fmla="*/ 98582 w 98582"/>
                  <a:gd name="connsiteY2" fmla="*/ 65722 h 65721"/>
                  <a:gd name="connsiteX3" fmla="*/ 0 w 98582"/>
                  <a:gd name="connsiteY3" fmla="*/ 65722 h 65721"/>
                </a:gdLst>
                <a:ahLst/>
                <a:cxnLst>
                  <a:cxn ang="0">
                    <a:pos x="connsiteX0" y="connsiteY0"/>
                  </a:cxn>
                  <a:cxn ang="0">
                    <a:pos x="connsiteX1" y="connsiteY1"/>
                  </a:cxn>
                  <a:cxn ang="0">
                    <a:pos x="connsiteX2" y="connsiteY2"/>
                  </a:cxn>
                  <a:cxn ang="0">
                    <a:pos x="connsiteX3" y="connsiteY3"/>
                  </a:cxn>
                </a:cxnLst>
                <a:rect l="l" t="t" r="r" b="b"/>
                <a:pathLst>
                  <a:path w="98582" h="65721">
                    <a:moveTo>
                      <a:pt x="0" y="0"/>
                    </a:moveTo>
                    <a:lnTo>
                      <a:pt x="98582" y="0"/>
                    </a:lnTo>
                    <a:lnTo>
                      <a:pt x="98582" y="65722"/>
                    </a:lnTo>
                    <a:lnTo>
                      <a:pt x="0" y="65722"/>
                    </a:lnTo>
                    <a:close/>
                  </a:path>
                </a:pathLst>
              </a:custGeom>
              <a:grpFill/>
              <a:ln w="32742" cap="flat">
                <a:noFill/>
                <a:prstDash val="solid"/>
                <a:miter/>
              </a:ln>
            </p:spPr>
            <p:txBody>
              <a:bodyPr rtlCol="0" anchor="ctr"/>
              <a:lstStyle/>
              <a:p>
                <a:endParaRPr lang="en-GB"/>
              </a:p>
            </p:txBody>
          </p:sp>
          <p:sp>
            <p:nvSpPr>
              <p:cNvPr id="91" name="Freeform: Shape 90">
                <a:extLst>
                  <a:ext uri="{FF2B5EF4-FFF2-40B4-BE49-F238E27FC236}">
                    <a16:creationId xmlns:a16="http://schemas.microsoft.com/office/drawing/2014/main" id="{2AC3A19A-EE1A-48CE-BEAC-F0FB8AD190A0}"/>
                  </a:ext>
                </a:extLst>
              </p:cNvPr>
              <p:cNvSpPr/>
              <p:nvPr/>
            </p:nvSpPr>
            <p:spPr>
              <a:xfrm>
                <a:off x="5864048" y="1838352"/>
                <a:ext cx="131443" cy="295747"/>
              </a:xfrm>
              <a:custGeom>
                <a:avLst/>
                <a:gdLst>
                  <a:gd name="connsiteX0" fmla="*/ 98582 w 131443"/>
                  <a:gd name="connsiteY0" fmla="*/ 0 h 295747"/>
                  <a:gd name="connsiteX1" fmla="*/ 0 w 131443"/>
                  <a:gd name="connsiteY1" fmla="*/ 0 h 295747"/>
                  <a:gd name="connsiteX2" fmla="*/ 0 w 131443"/>
                  <a:gd name="connsiteY2" fmla="*/ 65722 h 295747"/>
                  <a:gd name="connsiteX3" fmla="*/ 65722 w 131443"/>
                  <a:gd name="connsiteY3" fmla="*/ 65722 h 295747"/>
                  <a:gd name="connsiteX4" fmla="*/ 65722 w 131443"/>
                  <a:gd name="connsiteY4" fmla="*/ 295747 h 295747"/>
                  <a:gd name="connsiteX5" fmla="*/ 131443 w 131443"/>
                  <a:gd name="connsiteY5" fmla="*/ 295747 h 295747"/>
                  <a:gd name="connsiteX6" fmla="*/ 131443 w 131443"/>
                  <a:gd name="connsiteY6" fmla="*/ 32861 h 295747"/>
                  <a:gd name="connsiteX7" fmla="*/ 98582 w 131443"/>
                  <a:gd name="connsiteY7" fmla="*/ 0 h 29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443" h="295747">
                    <a:moveTo>
                      <a:pt x="98582" y="0"/>
                    </a:moveTo>
                    <a:lnTo>
                      <a:pt x="0" y="0"/>
                    </a:lnTo>
                    <a:lnTo>
                      <a:pt x="0" y="65722"/>
                    </a:lnTo>
                    <a:lnTo>
                      <a:pt x="65722" y="65722"/>
                    </a:lnTo>
                    <a:lnTo>
                      <a:pt x="65722" y="295747"/>
                    </a:lnTo>
                    <a:lnTo>
                      <a:pt x="131443" y="295747"/>
                    </a:lnTo>
                    <a:lnTo>
                      <a:pt x="131443" y="32861"/>
                    </a:lnTo>
                    <a:cubicBezTo>
                      <a:pt x="131443" y="14722"/>
                      <a:pt x="116754" y="0"/>
                      <a:pt x="98582" y="0"/>
                    </a:cubicBezTo>
                    <a:close/>
                  </a:path>
                </a:pathLst>
              </a:custGeom>
              <a:grpFill/>
              <a:ln w="32742" cap="flat">
                <a:noFill/>
                <a:prstDash val="solid"/>
                <a:miter/>
              </a:ln>
            </p:spPr>
            <p:txBody>
              <a:bodyPr rtlCol="0" anchor="ctr"/>
              <a:lstStyle/>
              <a:p>
                <a:endParaRPr lang="en-GB"/>
              </a:p>
            </p:txBody>
          </p:sp>
          <p:sp>
            <p:nvSpPr>
              <p:cNvPr id="92" name="Freeform: Shape 91">
                <a:extLst>
                  <a:ext uri="{FF2B5EF4-FFF2-40B4-BE49-F238E27FC236}">
                    <a16:creationId xmlns:a16="http://schemas.microsoft.com/office/drawing/2014/main" id="{B3808E69-51BE-47A0-92C9-08FB3AC077E1}"/>
                  </a:ext>
                </a:extLst>
              </p:cNvPr>
              <p:cNvSpPr/>
              <p:nvPr/>
            </p:nvSpPr>
            <p:spPr>
              <a:xfrm>
                <a:off x="5403997" y="2134099"/>
                <a:ext cx="131443" cy="295747"/>
              </a:xfrm>
              <a:custGeom>
                <a:avLst/>
                <a:gdLst>
                  <a:gd name="connsiteX0" fmla="*/ 65722 w 131443"/>
                  <a:gd name="connsiteY0" fmla="*/ 0 h 295747"/>
                  <a:gd name="connsiteX1" fmla="*/ 0 w 131443"/>
                  <a:gd name="connsiteY1" fmla="*/ 0 h 295747"/>
                  <a:gd name="connsiteX2" fmla="*/ 0 w 131443"/>
                  <a:gd name="connsiteY2" fmla="*/ 262886 h 295747"/>
                  <a:gd name="connsiteX3" fmla="*/ 32861 w 131443"/>
                  <a:gd name="connsiteY3" fmla="*/ 295747 h 295747"/>
                  <a:gd name="connsiteX4" fmla="*/ 131443 w 131443"/>
                  <a:gd name="connsiteY4" fmla="*/ 295747 h 295747"/>
                  <a:gd name="connsiteX5" fmla="*/ 131443 w 131443"/>
                  <a:gd name="connsiteY5" fmla="*/ 230026 h 295747"/>
                  <a:gd name="connsiteX6" fmla="*/ 65722 w 131443"/>
                  <a:gd name="connsiteY6" fmla="*/ 230026 h 295747"/>
                  <a:gd name="connsiteX7" fmla="*/ 65722 w 131443"/>
                  <a:gd name="connsiteY7" fmla="*/ 0 h 29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443" h="295747">
                    <a:moveTo>
                      <a:pt x="65722" y="0"/>
                    </a:moveTo>
                    <a:lnTo>
                      <a:pt x="0" y="0"/>
                    </a:lnTo>
                    <a:lnTo>
                      <a:pt x="0" y="262886"/>
                    </a:lnTo>
                    <a:cubicBezTo>
                      <a:pt x="0" y="281026"/>
                      <a:pt x="14689" y="295747"/>
                      <a:pt x="32861" y="295747"/>
                    </a:cubicBezTo>
                    <a:lnTo>
                      <a:pt x="131443" y="295747"/>
                    </a:lnTo>
                    <a:lnTo>
                      <a:pt x="131443" y="230026"/>
                    </a:lnTo>
                    <a:lnTo>
                      <a:pt x="65722" y="230026"/>
                    </a:lnTo>
                    <a:lnTo>
                      <a:pt x="65722" y="0"/>
                    </a:lnTo>
                    <a:close/>
                  </a:path>
                </a:pathLst>
              </a:custGeom>
              <a:grpFill/>
              <a:ln w="32742" cap="flat">
                <a:noFill/>
                <a:prstDash val="solid"/>
                <a:miter/>
              </a:ln>
            </p:spPr>
            <p:txBody>
              <a:bodyPr rtlCol="0" anchor="ctr"/>
              <a:lstStyle/>
              <a:p>
                <a:endParaRPr lang="en-GB"/>
              </a:p>
            </p:txBody>
          </p:sp>
        </p:grpSp>
      </p:grpSp>
      <p:grpSp>
        <p:nvGrpSpPr>
          <p:cNvPr id="115" name="Group 114">
            <a:extLst>
              <a:ext uri="{FF2B5EF4-FFF2-40B4-BE49-F238E27FC236}">
                <a16:creationId xmlns:a16="http://schemas.microsoft.com/office/drawing/2014/main" id="{D58B2CF8-91A0-4733-A89A-9A851DBFA69B}"/>
              </a:ext>
            </a:extLst>
          </p:cNvPr>
          <p:cNvGrpSpPr/>
          <p:nvPr/>
        </p:nvGrpSpPr>
        <p:grpSpPr>
          <a:xfrm>
            <a:off x="1277363" y="2968369"/>
            <a:ext cx="802300" cy="443903"/>
            <a:chOff x="1277363" y="2986325"/>
            <a:chExt cx="802300" cy="443903"/>
          </a:xfrm>
        </p:grpSpPr>
        <p:grpSp>
          <p:nvGrpSpPr>
            <p:cNvPr id="12" name="Graphic 31">
              <a:extLst>
                <a:ext uri="{FF2B5EF4-FFF2-40B4-BE49-F238E27FC236}">
                  <a16:creationId xmlns:a16="http://schemas.microsoft.com/office/drawing/2014/main" id="{306E4873-A36F-46CE-9833-DB6E05AF6341}"/>
                </a:ext>
              </a:extLst>
            </p:cNvPr>
            <p:cNvGrpSpPr>
              <a:grpSpLocks noChangeAspect="1"/>
            </p:cNvGrpSpPr>
            <p:nvPr/>
          </p:nvGrpSpPr>
          <p:grpSpPr>
            <a:xfrm>
              <a:off x="1511791" y="2986325"/>
              <a:ext cx="333444" cy="217000"/>
              <a:chOff x="3568064" y="1670943"/>
              <a:chExt cx="864870" cy="681037"/>
            </a:xfrm>
            <a:solidFill>
              <a:schemeClr val="tx2"/>
            </a:solidFill>
          </p:grpSpPr>
          <p:sp>
            <p:nvSpPr>
              <p:cNvPr id="13" name="Freeform: Shape 12">
                <a:extLst>
                  <a:ext uri="{FF2B5EF4-FFF2-40B4-BE49-F238E27FC236}">
                    <a16:creationId xmlns:a16="http://schemas.microsoft.com/office/drawing/2014/main" id="{054E797D-477F-4C48-9409-0B7A9750B1F0}"/>
                  </a:ext>
                </a:extLst>
              </p:cNvPr>
              <p:cNvSpPr/>
              <p:nvPr/>
            </p:nvSpPr>
            <p:spPr>
              <a:xfrm>
                <a:off x="3568064" y="1670943"/>
                <a:ext cx="864870" cy="681037"/>
              </a:xfrm>
              <a:custGeom>
                <a:avLst/>
                <a:gdLst>
                  <a:gd name="connsiteX0" fmla="*/ 0 w 864870"/>
                  <a:gd name="connsiteY0" fmla="*/ 214313 h 681037"/>
                  <a:gd name="connsiteX1" fmla="*/ 0 w 864870"/>
                  <a:gd name="connsiteY1" fmla="*/ 681038 h 681037"/>
                  <a:gd name="connsiteX2" fmla="*/ 864870 w 864870"/>
                  <a:gd name="connsiteY2" fmla="*/ 681038 h 681037"/>
                  <a:gd name="connsiteX3" fmla="*/ 864870 w 864870"/>
                  <a:gd name="connsiteY3" fmla="*/ 214313 h 681037"/>
                  <a:gd name="connsiteX4" fmla="*/ 864870 w 864870"/>
                  <a:gd name="connsiteY4" fmla="*/ 0 h 681037"/>
                  <a:gd name="connsiteX5" fmla="*/ 0 w 864870"/>
                  <a:gd name="connsiteY5" fmla="*/ 0 h 681037"/>
                  <a:gd name="connsiteX6" fmla="*/ 0 w 864870"/>
                  <a:gd name="connsiteY6" fmla="*/ 214313 h 681037"/>
                  <a:gd name="connsiteX7" fmla="*/ 38100 w 864870"/>
                  <a:gd name="connsiteY7" fmla="*/ 38100 h 681037"/>
                  <a:gd name="connsiteX8" fmla="*/ 826770 w 864870"/>
                  <a:gd name="connsiteY8" fmla="*/ 38100 h 681037"/>
                  <a:gd name="connsiteX9" fmla="*/ 826770 w 864870"/>
                  <a:gd name="connsiteY9" fmla="*/ 176213 h 681037"/>
                  <a:gd name="connsiteX10" fmla="*/ 38100 w 864870"/>
                  <a:gd name="connsiteY10" fmla="*/ 176213 h 681037"/>
                  <a:gd name="connsiteX11" fmla="*/ 38100 w 864870"/>
                  <a:gd name="connsiteY11" fmla="*/ 38100 h 681037"/>
                  <a:gd name="connsiteX12" fmla="*/ 38100 w 864870"/>
                  <a:gd name="connsiteY12" fmla="*/ 214313 h 681037"/>
                  <a:gd name="connsiteX13" fmla="*/ 826770 w 864870"/>
                  <a:gd name="connsiteY13" fmla="*/ 214313 h 681037"/>
                  <a:gd name="connsiteX14" fmla="*/ 826770 w 864870"/>
                  <a:gd name="connsiteY14" fmla="*/ 642938 h 681037"/>
                  <a:gd name="connsiteX15" fmla="*/ 38100 w 864870"/>
                  <a:gd name="connsiteY15" fmla="*/ 642938 h 681037"/>
                  <a:gd name="connsiteX16" fmla="*/ 38100 w 864870"/>
                  <a:gd name="connsiteY16" fmla="*/ 214313 h 68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4870" h="681037">
                    <a:moveTo>
                      <a:pt x="0" y="214313"/>
                    </a:moveTo>
                    <a:lnTo>
                      <a:pt x="0" y="681038"/>
                    </a:lnTo>
                    <a:lnTo>
                      <a:pt x="864870" y="681038"/>
                    </a:lnTo>
                    <a:lnTo>
                      <a:pt x="864870" y="214313"/>
                    </a:lnTo>
                    <a:lnTo>
                      <a:pt x="864870" y="0"/>
                    </a:lnTo>
                    <a:lnTo>
                      <a:pt x="0" y="0"/>
                    </a:lnTo>
                    <a:lnTo>
                      <a:pt x="0" y="214313"/>
                    </a:lnTo>
                    <a:close/>
                    <a:moveTo>
                      <a:pt x="38100" y="38100"/>
                    </a:moveTo>
                    <a:lnTo>
                      <a:pt x="826770" y="38100"/>
                    </a:lnTo>
                    <a:lnTo>
                      <a:pt x="826770" y="176213"/>
                    </a:lnTo>
                    <a:lnTo>
                      <a:pt x="38100" y="176213"/>
                    </a:lnTo>
                    <a:lnTo>
                      <a:pt x="38100" y="38100"/>
                    </a:lnTo>
                    <a:close/>
                    <a:moveTo>
                      <a:pt x="38100" y="214313"/>
                    </a:moveTo>
                    <a:lnTo>
                      <a:pt x="826770" y="214313"/>
                    </a:lnTo>
                    <a:lnTo>
                      <a:pt x="826770" y="642938"/>
                    </a:lnTo>
                    <a:lnTo>
                      <a:pt x="38100" y="642938"/>
                    </a:lnTo>
                    <a:lnTo>
                      <a:pt x="38100" y="214313"/>
                    </a:lnTo>
                    <a:close/>
                  </a:path>
                </a:pathLst>
              </a:custGeom>
              <a:grpFill/>
              <a:ln w="9525" cap="flat">
                <a:noFill/>
                <a:prstDash val="solid"/>
                <a:miter/>
              </a:ln>
            </p:spPr>
            <p:txBody>
              <a:bodyPr rtlCol="0" anchor="ctr"/>
              <a:lstStyle/>
              <a:p>
                <a:endParaRPr lang="en-GB" sz="1050"/>
              </a:p>
            </p:txBody>
          </p:sp>
          <p:sp>
            <p:nvSpPr>
              <p:cNvPr id="14" name="Freeform: Shape 13">
                <a:extLst>
                  <a:ext uri="{FF2B5EF4-FFF2-40B4-BE49-F238E27FC236}">
                    <a16:creationId xmlns:a16="http://schemas.microsoft.com/office/drawing/2014/main" id="{54008F14-083E-4B8B-8EC6-3904CE61C66F}"/>
                  </a:ext>
                </a:extLst>
              </p:cNvPr>
              <p:cNvSpPr/>
              <p:nvPr/>
            </p:nvSpPr>
            <p:spPr>
              <a:xfrm>
                <a:off x="3625215" y="1731904"/>
                <a:ext cx="97154" cy="97154"/>
              </a:xfrm>
              <a:custGeom>
                <a:avLst/>
                <a:gdLst>
                  <a:gd name="connsiteX0" fmla="*/ 97155 w 97154"/>
                  <a:gd name="connsiteY0" fmla="*/ 48578 h 97154"/>
                  <a:gd name="connsiteX1" fmla="*/ 48577 w 97154"/>
                  <a:gd name="connsiteY1" fmla="*/ 97155 h 97154"/>
                  <a:gd name="connsiteX2" fmla="*/ 0 w 97154"/>
                  <a:gd name="connsiteY2" fmla="*/ 48578 h 97154"/>
                  <a:gd name="connsiteX3" fmla="*/ 48577 w 97154"/>
                  <a:gd name="connsiteY3" fmla="*/ 0 h 97154"/>
                  <a:gd name="connsiteX4" fmla="*/ 97155 w 97154"/>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4" h="97154">
                    <a:moveTo>
                      <a:pt x="97155" y="48578"/>
                    </a:moveTo>
                    <a:cubicBezTo>
                      <a:pt x="97155" y="75406"/>
                      <a:pt x="75406" y="97155"/>
                      <a:pt x="48577" y="97155"/>
                    </a:cubicBezTo>
                    <a:cubicBezTo>
                      <a:pt x="21749" y="97155"/>
                      <a:pt x="0" y="75406"/>
                      <a:pt x="0" y="48578"/>
                    </a:cubicBezTo>
                    <a:cubicBezTo>
                      <a:pt x="0" y="21749"/>
                      <a:pt x="21749" y="0"/>
                      <a:pt x="48577" y="0"/>
                    </a:cubicBezTo>
                    <a:cubicBezTo>
                      <a:pt x="75406" y="0"/>
                      <a:pt x="97155" y="21749"/>
                      <a:pt x="97155" y="48578"/>
                    </a:cubicBezTo>
                    <a:close/>
                  </a:path>
                </a:pathLst>
              </a:custGeom>
              <a:grpFill/>
              <a:ln w="9525" cap="flat">
                <a:noFill/>
                <a:prstDash val="solid"/>
                <a:miter/>
              </a:ln>
            </p:spPr>
            <p:txBody>
              <a:bodyPr rtlCol="0" anchor="ctr"/>
              <a:lstStyle/>
              <a:p>
                <a:endParaRPr lang="en-GB" sz="1050"/>
              </a:p>
            </p:txBody>
          </p:sp>
          <p:sp>
            <p:nvSpPr>
              <p:cNvPr id="15" name="Freeform: Shape 14">
                <a:extLst>
                  <a:ext uri="{FF2B5EF4-FFF2-40B4-BE49-F238E27FC236}">
                    <a16:creationId xmlns:a16="http://schemas.microsoft.com/office/drawing/2014/main" id="{7575CE09-6AD7-4CB0-B7DF-715BCCC518FC}"/>
                  </a:ext>
                </a:extLst>
              </p:cNvPr>
              <p:cNvSpPr/>
              <p:nvPr/>
            </p:nvSpPr>
            <p:spPr>
              <a:xfrm>
                <a:off x="3757612" y="1731904"/>
                <a:ext cx="97155" cy="97154"/>
              </a:xfrm>
              <a:custGeom>
                <a:avLst/>
                <a:gdLst>
                  <a:gd name="connsiteX0" fmla="*/ 97155 w 97155"/>
                  <a:gd name="connsiteY0" fmla="*/ 48578 h 97154"/>
                  <a:gd name="connsiteX1" fmla="*/ 48578 w 97155"/>
                  <a:gd name="connsiteY1" fmla="*/ 97155 h 97154"/>
                  <a:gd name="connsiteX2" fmla="*/ 0 w 97155"/>
                  <a:gd name="connsiteY2" fmla="*/ 48578 h 97154"/>
                  <a:gd name="connsiteX3" fmla="*/ 48578 w 97155"/>
                  <a:gd name="connsiteY3" fmla="*/ 0 h 97154"/>
                  <a:gd name="connsiteX4" fmla="*/ 97155 w 97155"/>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 h="97154">
                    <a:moveTo>
                      <a:pt x="97155" y="48578"/>
                    </a:moveTo>
                    <a:cubicBezTo>
                      <a:pt x="97155" y="75406"/>
                      <a:pt x="75406" y="97155"/>
                      <a:pt x="48578" y="97155"/>
                    </a:cubicBezTo>
                    <a:cubicBezTo>
                      <a:pt x="21749" y="97155"/>
                      <a:pt x="0" y="75406"/>
                      <a:pt x="0" y="48578"/>
                    </a:cubicBezTo>
                    <a:cubicBezTo>
                      <a:pt x="0" y="21749"/>
                      <a:pt x="21749" y="0"/>
                      <a:pt x="48578" y="0"/>
                    </a:cubicBezTo>
                    <a:cubicBezTo>
                      <a:pt x="75406" y="0"/>
                      <a:pt x="97155" y="21749"/>
                      <a:pt x="97155" y="48578"/>
                    </a:cubicBezTo>
                    <a:close/>
                  </a:path>
                </a:pathLst>
              </a:custGeom>
              <a:grpFill/>
              <a:ln w="9525" cap="flat">
                <a:noFill/>
                <a:prstDash val="solid"/>
                <a:miter/>
              </a:ln>
            </p:spPr>
            <p:txBody>
              <a:bodyPr rtlCol="0" anchor="ctr"/>
              <a:lstStyle/>
              <a:p>
                <a:endParaRPr lang="en-GB" sz="1050"/>
              </a:p>
            </p:txBody>
          </p:sp>
          <p:sp>
            <p:nvSpPr>
              <p:cNvPr id="16" name="Freeform: Shape 15">
                <a:extLst>
                  <a:ext uri="{FF2B5EF4-FFF2-40B4-BE49-F238E27FC236}">
                    <a16:creationId xmlns:a16="http://schemas.microsoft.com/office/drawing/2014/main" id="{7FB0CC16-ABA1-4CE5-AFB8-984D285D8740}"/>
                  </a:ext>
                </a:extLst>
              </p:cNvPr>
              <p:cNvSpPr/>
              <p:nvPr/>
            </p:nvSpPr>
            <p:spPr>
              <a:xfrm>
                <a:off x="3890010" y="1731904"/>
                <a:ext cx="97155" cy="97154"/>
              </a:xfrm>
              <a:custGeom>
                <a:avLst/>
                <a:gdLst>
                  <a:gd name="connsiteX0" fmla="*/ 97155 w 97155"/>
                  <a:gd name="connsiteY0" fmla="*/ 48578 h 97154"/>
                  <a:gd name="connsiteX1" fmla="*/ 48578 w 97155"/>
                  <a:gd name="connsiteY1" fmla="*/ 97155 h 97154"/>
                  <a:gd name="connsiteX2" fmla="*/ 0 w 97155"/>
                  <a:gd name="connsiteY2" fmla="*/ 48578 h 97154"/>
                  <a:gd name="connsiteX3" fmla="*/ 48578 w 97155"/>
                  <a:gd name="connsiteY3" fmla="*/ 0 h 97154"/>
                  <a:gd name="connsiteX4" fmla="*/ 97155 w 97155"/>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 h="97154">
                    <a:moveTo>
                      <a:pt x="97155" y="48578"/>
                    </a:moveTo>
                    <a:cubicBezTo>
                      <a:pt x="97155" y="75406"/>
                      <a:pt x="75406" y="97155"/>
                      <a:pt x="48578" y="97155"/>
                    </a:cubicBezTo>
                    <a:cubicBezTo>
                      <a:pt x="21749" y="97155"/>
                      <a:pt x="0" y="75406"/>
                      <a:pt x="0" y="48578"/>
                    </a:cubicBezTo>
                    <a:cubicBezTo>
                      <a:pt x="0" y="21749"/>
                      <a:pt x="21749" y="0"/>
                      <a:pt x="48578" y="0"/>
                    </a:cubicBezTo>
                    <a:cubicBezTo>
                      <a:pt x="75406" y="0"/>
                      <a:pt x="97155" y="21749"/>
                      <a:pt x="97155" y="48578"/>
                    </a:cubicBezTo>
                    <a:close/>
                  </a:path>
                </a:pathLst>
              </a:custGeom>
              <a:grpFill/>
              <a:ln w="9525" cap="flat">
                <a:noFill/>
                <a:prstDash val="solid"/>
                <a:miter/>
              </a:ln>
            </p:spPr>
            <p:txBody>
              <a:bodyPr rtlCol="0" anchor="ctr"/>
              <a:lstStyle/>
              <a:p>
                <a:endParaRPr lang="en-GB" sz="1050"/>
              </a:p>
            </p:txBody>
          </p:sp>
          <p:sp>
            <p:nvSpPr>
              <p:cNvPr id="17" name="Freeform: Shape 16">
                <a:extLst>
                  <a:ext uri="{FF2B5EF4-FFF2-40B4-BE49-F238E27FC236}">
                    <a16:creationId xmlns:a16="http://schemas.microsoft.com/office/drawing/2014/main" id="{40C5E340-9151-4E3B-B55B-6CD490E3EDA6}"/>
                  </a:ext>
                </a:extLst>
              </p:cNvPr>
              <p:cNvSpPr/>
              <p:nvPr/>
            </p:nvSpPr>
            <p:spPr>
              <a:xfrm>
                <a:off x="3671887" y="1977649"/>
                <a:ext cx="279082" cy="241935"/>
              </a:xfrm>
              <a:custGeom>
                <a:avLst/>
                <a:gdLst>
                  <a:gd name="connsiteX0" fmla="*/ 260033 w 279082"/>
                  <a:gd name="connsiteY0" fmla="*/ 0 h 241935"/>
                  <a:gd name="connsiteX1" fmla="*/ 218123 w 279082"/>
                  <a:gd name="connsiteY1" fmla="*/ 0 h 241935"/>
                  <a:gd name="connsiteX2" fmla="*/ 99060 w 279082"/>
                  <a:gd name="connsiteY2" fmla="*/ 101917 h 241935"/>
                  <a:gd name="connsiteX3" fmla="*/ 19050 w 279082"/>
                  <a:gd name="connsiteY3" fmla="*/ 101917 h 241935"/>
                  <a:gd name="connsiteX4" fmla="*/ 0 w 279082"/>
                  <a:gd name="connsiteY4" fmla="*/ 120967 h 241935"/>
                  <a:gd name="connsiteX5" fmla="*/ 19050 w 279082"/>
                  <a:gd name="connsiteY5" fmla="*/ 140017 h 241935"/>
                  <a:gd name="connsiteX6" fmla="*/ 99060 w 279082"/>
                  <a:gd name="connsiteY6" fmla="*/ 140017 h 241935"/>
                  <a:gd name="connsiteX7" fmla="*/ 218123 w 279082"/>
                  <a:gd name="connsiteY7" fmla="*/ 241935 h 241935"/>
                  <a:gd name="connsiteX8" fmla="*/ 260033 w 279082"/>
                  <a:gd name="connsiteY8" fmla="*/ 241935 h 241935"/>
                  <a:gd name="connsiteX9" fmla="*/ 279083 w 279082"/>
                  <a:gd name="connsiteY9" fmla="*/ 222885 h 241935"/>
                  <a:gd name="connsiteX10" fmla="*/ 279083 w 279082"/>
                  <a:gd name="connsiteY10" fmla="*/ 19050 h 241935"/>
                  <a:gd name="connsiteX11" fmla="*/ 260033 w 279082"/>
                  <a:gd name="connsiteY11" fmla="*/ 0 h 241935"/>
                  <a:gd name="connsiteX12" fmla="*/ 240983 w 279082"/>
                  <a:gd name="connsiteY12" fmla="*/ 203835 h 241935"/>
                  <a:gd name="connsiteX13" fmla="*/ 218123 w 279082"/>
                  <a:gd name="connsiteY13" fmla="*/ 203835 h 241935"/>
                  <a:gd name="connsiteX14" fmla="*/ 135255 w 279082"/>
                  <a:gd name="connsiteY14" fmla="*/ 120967 h 241935"/>
                  <a:gd name="connsiteX15" fmla="*/ 218123 w 279082"/>
                  <a:gd name="connsiteY15" fmla="*/ 38100 h 241935"/>
                  <a:gd name="connsiteX16" fmla="*/ 240983 w 279082"/>
                  <a:gd name="connsiteY16" fmla="*/ 38100 h 241935"/>
                  <a:gd name="connsiteX17" fmla="*/ 240983 w 279082"/>
                  <a:gd name="connsiteY17" fmla="*/ 203835 h 24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9082" h="241935">
                    <a:moveTo>
                      <a:pt x="260033" y="0"/>
                    </a:moveTo>
                    <a:lnTo>
                      <a:pt x="218123" y="0"/>
                    </a:lnTo>
                    <a:cubicBezTo>
                      <a:pt x="158115" y="0"/>
                      <a:pt x="107632" y="43815"/>
                      <a:pt x="99060" y="101917"/>
                    </a:cubicBezTo>
                    <a:lnTo>
                      <a:pt x="19050" y="101917"/>
                    </a:lnTo>
                    <a:cubicBezTo>
                      <a:pt x="8572" y="101917"/>
                      <a:pt x="0" y="110490"/>
                      <a:pt x="0" y="120967"/>
                    </a:cubicBezTo>
                    <a:cubicBezTo>
                      <a:pt x="0" y="131445"/>
                      <a:pt x="8572" y="140017"/>
                      <a:pt x="19050" y="140017"/>
                    </a:cubicBezTo>
                    <a:lnTo>
                      <a:pt x="99060" y="140017"/>
                    </a:lnTo>
                    <a:cubicBezTo>
                      <a:pt x="108585" y="198120"/>
                      <a:pt x="158115" y="241935"/>
                      <a:pt x="218123" y="241935"/>
                    </a:cubicBezTo>
                    <a:lnTo>
                      <a:pt x="260033" y="241935"/>
                    </a:lnTo>
                    <a:cubicBezTo>
                      <a:pt x="270510" y="241935"/>
                      <a:pt x="279083" y="233363"/>
                      <a:pt x="279083" y="222885"/>
                    </a:cubicBezTo>
                    <a:lnTo>
                      <a:pt x="279083" y="19050"/>
                    </a:lnTo>
                    <a:cubicBezTo>
                      <a:pt x="279083" y="8572"/>
                      <a:pt x="270510" y="0"/>
                      <a:pt x="260033" y="0"/>
                    </a:cubicBezTo>
                    <a:close/>
                    <a:moveTo>
                      <a:pt x="240983" y="203835"/>
                    </a:moveTo>
                    <a:lnTo>
                      <a:pt x="218123" y="203835"/>
                    </a:lnTo>
                    <a:cubicBezTo>
                      <a:pt x="172402" y="203835"/>
                      <a:pt x="135255" y="166688"/>
                      <a:pt x="135255" y="120967"/>
                    </a:cubicBezTo>
                    <a:cubicBezTo>
                      <a:pt x="135255" y="75247"/>
                      <a:pt x="172402" y="38100"/>
                      <a:pt x="218123" y="38100"/>
                    </a:cubicBezTo>
                    <a:lnTo>
                      <a:pt x="240983" y="38100"/>
                    </a:lnTo>
                    <a:lnTo>
                      <a:pt x="240983" y="203835"/>
                    </a:lnTo>
                    <a:close/>
                  </a:path>
                </a:pathLst>
              </a:custGeom>
              <a:grpFill/>
              <a:ln w="9525" cap="flat">
                <a:noFill/>
                <a:prstDash val="solid"/>
                <a:miter/>
              </a:ln>
            </p:spPr>
            <p:txBody>
              <a:bodyPr rtlCol="0" anchor="ctr"/>
              <a:lstStyle/>
              <a:p>
                <a:endParaRPr lang="en-GB" sz="1050"/>
              </a:p>
            </p:txBody>
          </p:sp>
          <p:sp>
            <p:nvSpPr>
              <p:cNvPr id="18" name="Freeform: Shape 17">
                <a:extLst>
                  <a:ext uri="{FF2B5EF4-FFF2-40B4-BE49-F238E27FC236}">
                    <a16:creationId xmlns:a16="http://schemas.microsoft.com/office/drawing/2014/main" id="{4ACC9A8B-F478-4985-8D51-CB698083CC61}"/>
                  </a:ext>
                </a:extLst>
              </p:cNvPr>
              <p:cNvSpPr/>
              <p:nvPr/>
            </p:nvSpPr>
            <p:spPr>
              <a:xfrm>
                <a:off x="3987164" y="1977649"/>
                <a:ext cx="342900" cy="242887"/>
              </a:xfrm>
              <a:custGeom>
                <a:avLst/>
                <a:gdLst>
                  <a:gd name="connsiteX0" fmla="*/ 323850 w 342900"/>
                  <a:gd name="connsiteY0" fmla="*/ 101917 h 242887"/>
                  <a:gd name="connsiteX1" fmla="*/ 243840 w 342900"/>
                  <a:gd name="connsiteY1" fmla="*/ 101917 h 242887"/>
                  <a:gd name="connsiteX2" fmla="*/ 124778 w 342900"/>
                  <a:gd name="connsiteY2" fmla="*/ 0 h 242887"/>
                  <a:gd name="connsiteX3" fmla="*/ 82868 w 342900"/>
                  <a:gd name="connsiteY3" fmla="*/ 0 h 242887"/>
                  <a:gd name="connsiteX4" fmla="*/ 63818 w 342900"/>
                  <a:gd name="connsiteY4" fmla="*/ 19050 h 242887"/>
                  <a:gd name="connsiteX5" fmla="*/ 63818 w 342900"/>
                  <a:gd name="connsiteY5" fmla="*/ 50482 h 242887"/>
                  <a:gd name="connsiteX6" fmla="*/ 19050 w 342900"/>
                  <a:gd name="connsiteY6" fmla="*/ 50482 h 242887"/>
                  <a:gd name="connsiteX7" fmla="*/ 0 w 342900"/>
                  <a:gd name="connsiteY7" fmla="*/ 69532 h 242887"/>
                  <a:gd name="connsiteX8" fmla="*/ 19050 w 342900"/>
                  <a:gd name="connsiteY8" fmla="*/ 88582 h 242887"/>
                  <a:gd name="connsiteX9" fmla="*/ 63818 w 342900"/>
                  <a:gd name="connsiteY9" fmla="*/ 88582 h 242887"/>
                  <a:gd name="connsiteX10" fmla="*/ 63818 w 342900"/>
                  <a:gd name="connsiteY10" fmla="*/ 154305 h 242887"/>
                  <a:gd name="connsiteX11" fmla="*/ 19050 w 342900"/>
                  <a:gd name="connsiteY11" fmla="*/ 154305 h 242887"/>
                  <a:gd name="connsiteX12" fmla="*/ 0 w 342900"/>
                  <a:gd name="connsiteY12" fmla="*/ 173355 h 242887"/>
                  <a:gd name="connsiteX13" fmla="*/ 19050 w 342900"/>
                  <a:gd name="connsiteY13" fmla="*/ 192405 h 242887"/>
                  <a:gd name="connsiteX14" fmla="*/ 63818 w 342900"/>
                  <a:gd name="connsiteY14" fmla="*/ 192405 h 242887"/>
                  <a:gd name="connsiteX15" fmla="*/ 63818 w 342900"/>
                  <a:gd name="connsiteY15" fmla="*/ 223838 h 242887"/>
                  <a:gd name="connsiteX16" fmla="*/ 82868 w 342900"/>
                  <a:gd name="connsiteY16" fmla="*/ 242888 h 242887"/>
                  <a:gd name="connsiteX17" fmla="*/ 124778 w 342900"/>
                  <a:gd name="connsiteY17" fmla="*/ 242888 h 242887"/>
                  <a:gd name="connsiteX18" fmla="*/ 243840 w 342900"/>
                  <a:gd name="connsiteY18" fmla="*/ 140970 h 242887"/>
                  <a:gd name="connsiteX19" fmla="*/ 323850 w 342900"/>
                  <a:gd name="connsiteY19" fmla="*/ 140970 h 242887"/>
                  <a:gd name="connsiteX20" fmla="*/ 342900 w 342900"/>
                  <a:gd name="connsiteY20" fmla="*/ 121920 h 242887"/>
                  <a:gd name="connsiteX21" fmla="*/ 323850 w 342900"/>
                  <a:gd name="connsiteY21" fmla="*/ 101917 h 242887"/>
                  <a:gd name="connsiteX22" fmla="*/ 123825 w 342900"/>
                  <a:gd name="connsiteY22" fmla="*/ 203835 h 242887"/>
                  <a:gd name="connsiteX23" fmla="*/ 100965 w 342900"/>
                  <a:gd name="connsiteY23" fmla="*/ 203835 h 242887"/>
                  <a:gd name="connsiteX24" fmla="*/ 100965 w 342900"/>
                  <a:gd name="connsiteY24" fmla="*/ 38100 h 242887"/>
                  <a:gd name="connsiteX25" fmla="*/ 123825 w 342900"/>
                  <a:gd name="connsiteY25" fmla="*/ 38100 h 242887"/>
                  <a:gd name="connsiteX26" fmla="*/ 206693 w 342900"/>
                  <a:gd name="connsiteY26" fmla="*/ 120967 h 242887"/>
                  <a:gd name="connsiteX27" fmla="*/ 123825 w 342900"/>
                  <a:gd name="connsiteY27" fmla="*/ 203835 h 2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42900" h="242887">
                    <a:moveTo>
                      <a:pt x="323850" y="101917"/>
                    </a:moveTo>
                    <a:lnTo>
                      <a:pt x="243840" y="101917"/>
                    </a:lnTo>
                    <a:cubicBezTo>
                      <a:pt x="234315" y="43815"/>
                      <a:pt x="184785" y="0"/>
                      <a:pt x="124778" y="0"/>
                    </a:cubicBezTo>
                    <a:lnTo>
                      <a:pt x="82868" y="0"/>
                    </a:lnTo>
                    <a:cubicBezTo>
                      <a:pt x="72390" y="0"/>
                      <a:pt x="63818" y="8572"/>
                      <a:pt x="63818" y="19050"/>
                    </a:cubicBezTo>
                    <a:lnTo>
                      <a:pt x="63818" y="50482"/>
                    </a:lnTo>
                    <a:lnTo>
                      <a:pt x="19050" y="50482"/>
                    </a:lnTo>
                    <a:cubicBezTo>
                      <a:pt x="8573" y="50482"/>
                      <a:pt x="0" y="59055"/>
                      <a:pt x="0" y="69532"/>
                    </a:cubicBezTo>
                    <a:cubicBezTo>
                      <a:pt x="0" y="80010"/>
                      <a:pt x="8573" y="88582"/>
                      <a:pt x="19050" y="88582"/>
                    </a:cubicBezTo>
                    <a:lnTo>
                      <a:pt x="63818" y="88582"/>
                    </a:lnTo>
                    <a:lnTo>
                      <a:pt x="63818" y="154305"/>
                    </a:lnTo>
                    <a:lnTo>
                      <a:pt x="19050" y="154305"/>
                    </a:lnTo>
                    <a:cubicBezTo>
                      <a:pt x="8573" y="154305"/>
                      <a:pt x="0" y="162877"/>
                      <a:pt x="0" y="173355"/>
                    </a:cubicBezTo>
                    <a:cubicBezTo>
                      <a:pt x="0" y="183832"/>
                      <a:pt x="8573" y="192405"/>
                      <a:pt x="19050" y="192405"/>
                    </a:cubicBezTo>
                    <a:lnTo>
                      <a:pt x="63818" y="192405"/>
                    </a:lnTo>
                    <a:lnTo>
                      <a:pt x="63818" y="223838"/>
                    </a:lnTo>
                    <a:cubicBezTo>
                      <a:pt x="63818" y="234315"/>
                      <a:pt x="72390" y="242888"/>
                      <a:pt x="82868" y="242888"/>
                    </a:cubicBezTo>
                    <a:lnTo>
                      <a:pt x="124778" y="242888"/>
                    </a:lnTo>
                    <a:cubicBezTo>
                      <a:pt x="184785" y="242888"/>
                      <a:pt x="235268" y="199073"/>
                      <a:pt x="243840" y="140970"/>
                    </a:cubicBezTo>
                    <a:lnTo>
                      <a:pt x="323850" y="140970"/>
                    </a:lnTo>
                    <a:cubicBezTo>
                      <a:pt x="334328" y="140970"/>
                      <a:pt x="342900" y="132397"/>
                      <a:pt x="342900" y="121920"/>
                    </a:cubicBezTo>
                    <a:cubicBezTo>
                      <a:pt x="342900" y="111442"/>
                      <a:pt x="334328" y="101917"/>
                      <a:pt x="323850" y="101917"/>
                    </a:cubicBezTo>
                    <a:close/>
                    <a:moveTo>
                      <a:pt x="123825" y="203835"/>
                    </a:moveTo>
                    <a:lnTo>
                      <a:pt x="100965" y="203835"/>
                    </a:lnTo>
                    <a:lnTo>
                      <a:pt x="100965" y="38100"/>
                    </a:lnTo>
                    <a:lnTo>
                      <a:pt x="123825" y="38100"/>
                    </a:lnTo>
                    <a:cubicBezTo>
                      <a:pt x="169545" y="38100"/>
                      <a:pt x="206693" y="75247"/>
                      <a:pt x="206693" y="120967"/>
                    </a:cubicBezTo>
                    <a:cubicBezTo>
                      <a:pt x="207645" y="166688"/>
                      <a:pt x="169545" y="203835"/>
                      <a:pt x="123825" y="203835"/>
                    </a:cubicBezTo>
                    <a:close/>
                  </a:path>
                </a:pathLst>
              </a:custGeom>
              <a:grpFill/>
              <a:ln w="9525" cap="flat">
                <a:noFill/>
                <a:prstDash val="solid"/>
                <a:miter/>
              </a:ln>
            </p:spPr>
            <p:txBody>
              <a:bodyPr rtlCol="0" anchor="ctr"/>
              <a:lstStyle/>
              <a:p>
                <a:endParaRPr lang="en-GB" sz="1050"/>
              </a:p>
            </p:txBody>
          </p:sp>
        </p:grpSp>
        <p:sp>
          <p:nvSpPr>
            <p:cNvPr id="97" name="TextBox 96">
              <a:extLst>
                <a:ext uri="{FF2B5EF4-FFF2-40B4-BE49-F238E27FC236}">
                  <a16:creationId xmlns:a16="http://schemas.microsoft.com/office/drawing/2014/main" id="{7895D138-14E0-47EE-81A9-376E91DE0426}"/>
                </a:ext>
              </a:extLst>
            </p:cNvPr>
            <p:cNvSpPr txBox="1"/>
            <p:nvPr/>
          </p:nvSpPr>
          <p:spPr>
            <a:xfrm>
              <a:off x="1277363" y="3199396"/>
              <a:ext cx="802300" cy="230832"/>
            </a:xfrm>
            <a:prstGeom prst="rect">
              <a:avLst/>
            </a:prstGeom>
            <a:noFill/>
          </p:spPr>
          <p:txBody>
            <a:bodyPr wrap="square" rtlCol="0">
              <a:spAutoFit/>
            </a:bodyPr>
            <a:lstStyle/>
            <a:p>
              <a:pPr algn="ctr"/>
              <a:r>
                <a:rPr lang="en-GB" sz="900" b="1">
                  <a:solidFill>
                    <a:schemeClr val="tx2"/>
                  </a:solidFill>
                  <a:latin typeface="Trebuchet MS" panose="020B0603020202020204" pitchFamily="34" charset="0"/>
                </a:rPr>
                <a:t>Connector</a:t>
              </a:r>
            </a:p>
          </p:txBody>
        </p:sp>
      </p:grpSp>
      <p:sp>
        <p:nvSpPr>
          <p:cNvPr id="101" name="TextBox 100">
            <a:extLst>
              <a:ext uri="{FF2B5EF4-FFF2-40B4-BE49-F238E27FC236}">
                <a16:creationId xmlns:a16="http://schemas.microsoft.com/office/drawing/2014/main" id="{BA60B035-6F7A-4AD4-8056-A5356CA87AFC}"/>
              </a:ext>
            </a:extLst>
          </p:cNvPr>
          <p:cNvSpPr txBox="1"/>
          <p:nvPr/>
        </p:nvSpPr>
        <p:spPr>
          <a:xfrm>
            <a:off x="2142841" y="2860099"/>
            <a:ext cx="2606608" cy="553998"/>
          </a:xfrm>
          <a:prstGeom prst="rect">
            <a:avLst/>
          </a:prstGeom>
          <a:noFill/>
        </p:spPr>
        <p:txBody>
          <a:bodyPr wrap="square" rtlCol="0">
            <a:spAutoFit/>
          </a:bodyPr>
          <a:lstStyle>
            <a:defPPr>
              <a:defRPr lang="en-US"/>
            </a:defPPr>
            <a:lvl1pPr marL="171450" indent="-171450">
              <a:spcAft>
                <a:spcPts val="600"/>
              </a:spcAft>
              <a:buFont typeface="Arial" panose="020B0604020202020204" pitchFamily="34" charset="0"/>
              <a:buChar char="•"/>
              <a:defRPr sz="1000">
                <a:latin typeface="+mj-lt"/>
              </a:defRPr>
            </a:lvl1pPr>
          </a:lstStyle>
          <a:p>
            <a:pPr algn="just"/>
            <a:r>
              <a:rPr lang="en-GB">
                <a:latin typeface="Trebuchet MS" panose="020B0603020202020204" pitchFamily="34" charset="0"/>
              </a:rPr>
              <a:t>Connectors add an interface to use </a:t>
            </a:r>
            <a:r>
              <a:rPr lang="en-GB" err="1">
                <a:latin typeface="Trebuchet MS" panose="020B0603020202020204" pitchFamily="34" charset="0"/>
              </a:rPr>
              <a:t>Altares</a:t>
            </a:r>
            <a:r>
              <a:rPr lang="en-GB">
                <a:latin typeface="Trebuchet MS" panose="020B0603020202020204" pitchFamily="34" charset="0"/>
              </a:rPr>
              <a:t>' data in </a:t>
            </a:r>
            <a:r>
              <a:rPr lang="en-GB">
                <a:solidFill>
                  <a:schemeClr val="tx2"/>
                </a:solidFill>
                <a:latin typeface="Trebuchet MS" panose="020B0603020202020204" pitchFamily="34" charset="0"/>
              </a:rPr>
              <a:t>clients’ tools</a:t>
            </a:r>
            <a:r>
              <a:rPr lang="en-GB">
                <a:latin typeface="Trebuchet MS" panose="020B0603020202020204" pitchFamily="34" charset="0"/>
              </a:rPr>
              <a:t> (e.g. CRM, ERP…)</a:t>
            </a:r>
          </a:p>
        </p:txBody>
      </p:sp>
      <p:sp>
        <p:nvSpPr>
          <p:cNvPr id="104" name="Ellipse 80">
            <a:extLst>
              <a:ext uri="{FF2B5EF4-FFF2-40B4-BE49-F238E27FC236}">
                <a16:creationId xmlns:a16="http://schemas.microsoft.com/office/drawing/2014/main" id="{9BD8FCA8-3521-4E93-9ADF-EE2A0D3F3F7C}"/>
              </a:ext>
            </a:extLst>
          </p:cNvPr>
          <p:cNvSpPr/>
          <p:nvPr/>
        </p:nvSpPr>
        <p:spPr bwMode="auto">
          <a:xfrm>
            <a:off x="1146609" y="2927739"/>
            <a:ext cx="223550" cy="213007"/>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700" b="0" i="0" u="none" strike="noStrike" cap="none" normalizeH="0" baseline="0">
                <a:ln>
                  <a:noFill/>
                </a:ln>
                <a:solidFill>
                  <a:schemeClr val="bg1"/>
                </a:solidFill>
                <a:effectLst/>
                <a:latin typeface="Trebuchet MS" panose="020B0603020202020204" pitchFamily="34" charset="0"/>
              </a:rPr>
              <a:t>2</a:t>
            </a:r>
          </a:p>
        </p:txBody>
      </p:sp>
      <p:pic>
        <p:nvPicPr>
          <p:cNvPr id="25" name="Picture 2" descr="logo-salesforce - Dolmen">
            <a:extLst>
              <a:ext uri="{FF2B5EF4-FFF2-40B4-BE49-F238E27FC236}">
                <a16:creationId xmlns:a16="http://schemas.microsoft.com/office/drawing/2014/main" id="{A3C1F20D-4C69-43D5-9408-699C15542CE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960021" y="3405134"/>
            <a:ext cx="391763" cy="20724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a:extLst>
              <a:ext uri="{FF2B5EF4-FFF2-40B4-BE49-F238E27FC236}">
                <a16:creationId xmlns:a16="http://schemas.microsoft.com/office/drawing/2014/main" id="{A32D0FB4-2810-40B4-BB66-9A940E9AF54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409013" y="3414783"/>
            <a:ext cx="379604" cy="187947"/>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Avis Microsoft Dynamics - Comparatifs des outils du Web">
            <a:extLst>
              <a:ext uri="{FF2B5EF4-FFF2-40B4-BE49-F238E27FC236}">
                <a16:creationId xmlns:a16="http://schemas.microsoft.com/office/drawing/2014/main" id="{32F528B3-AD09-42AA-BE45-64AB8B5CD094}"/>
              </a:ext>
            </a:extLst>
          </p:cNvPr>
          <p:cNvPicPr>
            <a:picLocks noChangeAspect="1" noChangeArrowheads="1"/>
          </p:cNvPicPr>
          <p:nvPr/>
        </p:nvPicPr>
        <p:blipFill rotWithShape="1">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l="11569" t="22276" r="10685" b="22047"/>
          <a:stretch/>
        </p:blipFill>
        <p:spPr bwMode="auto">
          <a:xfrm>
            <a:off x="4205460" y="3402345"/>
            <a:ext cx="540692" cy="21282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Use Our CRM Tools in Oracle Engagement Cloud | ActivePrime">
            <a:extLst>
              <a:ext uri="{FF2B5EF4-FFF2-40B4-BE49-F238E27FC236}">
                <a16:creationId xmlns:a16="http://schemas.microsoft.com/office/drawing/2014/main" id="{CF75F725-A317-48F2-A046-990D62AEB21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523188" y="3408349"/>
            <a:ext cx="510869" cy="200814"/>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B49594A6-EA0C-40EE-A741-D01FB63A8A33}"/>
              </a:ext>
            </a:extLst>
          </p:cNvPr>
          <p:cNvSpPr/>
          <p:nvPr/>
        </p:nvSpPr>
        <p:spPr bwMode="auto">
          <a:xfrm>
            <a:off x="968270" y="3709808"/>
            <a:ext cx="3883870" cy="2016079"/>
          </a:xfrm>
          <a:prstGeom prst="rect">
            <a:avLst/>
          </a:prstGeom>
          <a:noFill/>
          <a:ln w="190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9" name="Speech Bubble: Rectangle 38">
            <a:extLst>
              <a:ext uri="{FF2B5EF4-FFF2-40B4-BE49-F238E27FC236}">
                <a16:creationId xmlns:a16="http://schemas.microsoft.com/office/drawing/2014/main" id="{FEE1E872-4F63-42C4-8BF2-B5DB05E6BE7F}"/>
              </a:ext>
            </a:extLst>
          </p:cNvPr>
          <p:cNvSpPr/>
          <p:nvPr/>
        </p:nvSpPr>
        <p:spPr bwMode="auto">
          <a:xfrm>
            <a:off x="1577944" y="5875957"/>
            <a:ext cx="2664523" cy="553998"/>
          </a:xfrm>
          <a:prstGeom prst="wedgeRectCallout">
            <a:avLst>
              <a:gd name="adj1" fmla="val 19040"/>
              <a:gd name="adj2" fmla="val -75670"/>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err="1">
                <a:latin typeface="Trebuchet MS" panose="020B0603020202020204" pitchFamily="34" charset="0"/>
              </a:rPr>
              <a:t>Altares</a:t>
            </a:r>
            <a:r>
              <a:rPr lang="en-GB" sz="1000">
                <a:latin typeface="Trebuchet MS" panose="020B0603020202020204" pitchFamily="34" charset="0"/>
              </a:rPr>
              <a:t> has </a:t>
            </a:r>
            <a:r>
              <a:rPr lang="en-GB" sz="1000">
                <a:solidFill>
                  <a:schemeClr val="tx2"/>
                </a:solidFill>
                <a:latin typeface="Trebuchet MS" panose="020B0603020202020204" pitchFamily="34" charset="0"/>
              </a:rPr>
              <a:t>teams dedicated to personalization </a:t>
            </a:r>
            <a:r>
              <a:rPr lang="en-GB" sz="1000">
                <a:latin typeface="Trebuchet MS" panose="020B0603020202020204" pitchFamily="34" charset="0"/>
              </a:rPr>
              <a:t>of</a:t>
            </a:r>
            <a:r>
              <a:rPr lang="en-GB" sz="1000">
                <a:solidFill>
                  <a:schemeClr val="tx2"/>
                </a:solidFill>
                <a:latin typeface="Trebuchet MS" panose="020B0603020202020204" pitchFamily="34" charset="0"/>
              </a:rPr>
              <a:t> API </a:t>
            </a:r>
            <a:r>
              <a:rPr lang="en-GB" sz="1000">
                <a:latin typeface="Trebuchet MS" panose="020B0603020202020204" pitchFamily="34" charset="0"/>
              </a:rPr>
              <a:t>and </a:t>
            </a:r>
            <a:r>
              <a:rPr lang="en-GB" sz="1000">
                <a:solidFill>
                  <a:schemeClr val="tx2"/>
                </a:solidFill>
                <a:latin typeface="Trebuchet MS" panose="020B0603020202020204" pitchFamily="34" charset="0"/>
              </a:rPr>
              <a:t>batch services </a:t>
            </a:r>
            <a:r>
              <a:rPr lang="en-GB" sz="1000">
                <a:latin typeface="Trebuchet MS" panose="020B0603020202020204" pitchFamily="34" charset="0"/>
              </a:rPr>
              <a:t>for large and key accounts</a:t>
            </a:r>
            <a:endParaRPr kumimoji="0" lang="en-GB" sz="1000" b="0" i="0" u="none" strike="noStrike" cap="none" normalizeH="0" baseline="0">
              <a:ln>
                <a:noFill/>
              </a:ln>
              <a:solidFill>
                <a:schemeClr val="tx1"/>
              </a:solidFill>
              <a:effectLst/>
              <a:latin typeface="Trebuchet MS" panose="020B0603020202020204" pitchFamily="34" charset="0"/>
            </a:endParaRPr>
          </a:p>
        </p:txBody>
      </p:sp>
      <p:grpSp>
        <p:nvGrpSpPr>
          <p:cNvPr id="96" name="Groupe 95">
            <a:extLst>
              <a:ext uri="{FF2B5EF4-FFF2-40B4-BE49-F238E27FC236}">
                <a16:creationId xmlns:a16="http://schemas.microsoft.com/office/drawing/2014/main" id="{E9B14552-4D6A-4105-94B0-78302B0A8013}"/>
              </a:ext>
            </a:extLst>
          </p:cNvPr>
          <p:cNvGrpSpPr/>
          <p:nvPr/>
        </p:nvGrpSpPr>
        <p:grpSpPr>
          <a:xfrm>
            <a:off x="8448150" y="-11528"/>
            <a:ext cx="1435548" cy="588143"/>
            <a:chOff x="8448150" y="-11528"/>
            <a:chExt cx="1435548" cy="588143"/>
          </a:xfrm>
        </p:grpSpPr>
        <p:sp>
          <p:nvSpPr>
            <p:cNvPr id="98" name="Rectangle : coins arrondis 199">
              <a:extLst>
                <a:ext uri="{FF2B5EF4-FFF2-40B4-BE49-F238E27FC236}">
                  <a16:creationId xmlns:a16="http://schemas.microsoft.com/office/drawing/2014/main" id="{74AD8687-0560-46DE-9B46-CFF6EC738164}"/>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9" name="Rectangle : coins arrondis 200">
              <a:extLst>
                <a:ext uri="{FF2B5EF4-FFF2-40B4-BE49-F238E27FC236}">
                  <a16:creationId xmlns:a16="http://schemas.microsoft.com/office/drawing/2014/main" id="{D579F8EC-51D7-456E-9F8E-95D879BF4486}"/>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0" name="Rectangle : coins arrondis 201">
              <a:extLst>
                <a:ext uri="{FF2B5EF4-FFF2-40B4-BE49-F238E27FC236}">
                  <a16:creationId xmlns:a16="http://schemas.microsoft.com/office/drawing/2014/main" id="{C09B20EF-6050-4534-B922-E5A1E2A64A90}"/>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2" name="ZoneTexte 18">
              <a:extLst>
                <a:ext uri="{FF2B5EF4-FFF2-40B4-BE49-F238E27FC236}">
                  <a16:creationId xmlns:a16="http://schemas.microsoft.com/office/drawing/2014/main" id="{062969CD-86CB-4849-8A23-7C91BB0CB81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offer</a:t>
              </a:r>
            </a:p>
          </p:txBody>
        </p:sp>
        <p:pic>
          <p:nvPicPr>
            <p:cNvPr id="103" name="Graphique 128" descr="Jauge">
              <a:extLst>
                <a:ext uri="{FF2B5EF4-FFF2-40B4-BE49-F238E27FC236}">
                  <a16:creationId xmlns:a16="http://schemas.microsoft.com/office/drawing/2014/main" id="{2585F2A3-4258-4C1F-B0D9-F6B7E73E4F0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553764" y="187516"/>
              <a:ext cx="234953" cy="218224"/>
            </a:xfrm>
            <a:prstGeom prst="rect">
              <a:avLst/>
            </a:prstGeom>
            <a:effectLst/>
          </p:spPr>
        </p:pic>
        <p:pic>
          <p:nvPicPr>
            <p:cNvPr id="105" name="Graphique 90" descr="Poignée de main">
              <a:extLst>
                <a:ext uri="{FF2B5EF4-FFF2-40B4-BE49-F238E27FC236}">
                  <a16:creationId xmlns:a16="http://schemas.microsoft.com/office/drawing/2014/main" id="{2FBCECC7-B378-4BF9-A586-5135D3074D4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960868" y="152880"/>
              <a:ext cx="256313" cy="287496"/>
            </a:xfrm>
            <a:prstGeom prst="rect">
              <a:avLst/>
            </a:prstGeom>
            <a:effectLst/>
          </p:spPr>
        </p:pic>
        <p:pic>
          <p:nvPicPr>
            <p:cNvPr id="106" name="Graphique 74" descr="Mégaphone">
              <a:extLst>
                <a:ext uri="{FF2B5EF4-FFF2-40B4-BE49-F238E27FC236}">
                  <a16:creationId xmlns:a16="http://schemas.microsoft.com/office/drawing/2014/main" id="{B9AF937F-B783-4C48-ABAD-39F43DD5F18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389331" y="181519"/>
              <a:ext cx="233011" cy="216420"/>
            </a:xfrm>
            <a:prstGeom prst="rect">
              <a:avLst/>
            </a:prstGeom>
            <a:effectLst/>
          </p:spPr>
        </p:pic>
        <p:pic>
          <p:nvPicPr>
            <p:cNvPr id="107" name="Picture 2" descr="Drapeau France">
              <a:extLst>
                <a:ext uri="{FF2B5EF4-FFF2-40B4-BE49-F238E27FC236}">
                  <a16:creationId xmlns:a16="http://schemas.microsoft.com/office/drawing/2014/main" id="{62FC75BB-50C9-43CA-9F56-D18967780D9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08" name="Picture 2" descr="5 ft x 3 ft 150 x 90 cm-DRAPEAU BELGE Belgique 100% Polyester ...">
              <a:extLst>
                <a:ext uri="{FF2B5EF4-FFF2-40B4-BE49-F238E27FC236}">
                  <a16:creationId xmlns:a16="http://schemas.microsoft.com/office/drawing/2014/main" id="{E51F9556-7503-4EE5-A7D8-1A46733FD712}"/>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09" name="Picture 2 - 1" descr="Drapeau des Pays-Bas — Wikipédia">
              <a:extLst>
                <a:ext uri="{FF2B5EF4-FFF2-40B4-BE49-F238E27FC236}">
                  <a16:creationId xmlns:a16="http://schemas.microsoft.com/office/drawing/2014/main" id="{6B2A30C5-7AC4-44B9-97CF-06AEB0B61D1F}"/>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10" name="Picture 2 - 2" descr="Drapeau du Luxembourg">
              <a:extLst>
                <a:ext uri="{FF2B5EF4-FFF2-40B4-BE49-F238E27FC236}">
                  <a16:creationId xmlns:a16="http://schemas.microsoft.com/office/drawing/2014/main" id="{C25171D1-48BE-48C7-B0F0-97074D358CA5}"/>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16" name="ZoneTexte 18">
              <a:extLst>
                <a:ext uri="{FF2B5EF4-FFF2-40B4-BE49-F238E27FC236}">
                  <a16:creationId xmlns:a16="http://schemas.microsoft.com/office/drawing/2014/main" id="{8377E0EB-4C3B-4410-B361-12C3DE1BC3DB}"/>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Delivery modes</a:t>
              </a:r>
            </a:p>
          </p:txBody>
        </p:sp>
      </p:grpSp>
      <p:sp>
        <p:nvSpPr>
          <p:cNvPr id="121" name="Freeform 9">
            <a:extLst>
              <a:ext uri="{FF2B5EF4-FFF2-40B4-BE49-F238E27FC236}">
                <a16:creationId xmlns:a16="http://schemas.microsoft.com/office/drawing/2014/main" id="{0FEC65B0-0F31-49D5-BA05-9F8EB944B470}"/>
              </a:ext>
            </a:extLst>
          </p:cNvPr>
          <p:cNvSpPr>
            <a:spLocks noEditPoints="1"/>
          </p:cNvSpPr>
          <p:nvPr/>
        </p:nvSpPr>
        <p:spPr bwMode="auto">
          <a:xfrm>
            <a:off x="4087682" y="6066489"/>
            <a:ext cx="232139" cy="263062"/>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122" name="ZoneTexte 57">
            <a:extLst>
              <a:ext uri="{FF2B5EF4-FFF2-40B4-BE49-F238E27FC236}">
                <a16:creationId xmlns:a16="http://schemas.microsoft.com/office/drawing/2014/main" id="{5E5859B1-B34F-46D1-8A23-C2C6F100ADF9}"/>
              </a:ext>
            </a:extLst>
          </p:cNvPr>
          <p:cNvSpPr txBox="1"/>
          <p:nvPr/>
        </p:nvSpPr>
        <p:spPr>
          <a:xfrm>
            <a:off x="4113839" y="6205883"/>
            <a:ext cx="792888" cy="123111"/>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i="1">
                <a:solidFill>
                  <a:schemeClr val="accent1"/>
                </a:solidFill>
                <a:latin typeface="Trebuchet MS" panose="020B0603020202020204" pitchFamily="34" charset="0"/>
              </a:rPr>
              <a:t>See infra</a:t>
            </a:r>
          </a:p>
        </p:txBody>
      </p:sp>
    </p:spTree>
    <p:extLst>
      <p:ext uri="{BB962C8B-B14F-4D97-AF65-F5344CB8AC3E}">
        <p14:creationId xmlns:p14="http://schemas.microsoft.com/office/powerpoint/2010/main" val="1453778405"/>
      </p:ext>
    </p:extLst>
  </p:cSld>
  <p:clrMapOvr>
    <a:masterClrMapping/>
  </p:clrMapOv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E09786E3-2AD8-4F30-8DE8-22CE7C2D00B8}"/>
              </a:ext>
            </a:extLst>
          </p:cNvPr>
          <p:cNvGraphicFramePr>
            <a:graphicFrameLocks noChangeAspect="1"/>
          </p:cNvGraphicFramePr>
          <p:nvPr>
            <p:custDataLst>
              <p:tags r:id="rId1"/>
            </p:custDataLst>
            <p:extLst>
              <p:ext uri="{D42A27DB-BD31-4B8C-83A1-F6EECF244321}">
                <p14:modId xmlns:p14="http://schemas.microsoft.com/office/powerpoint/2010/main" val="3276333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2" progId="TCLayout.ActiveDocument.1">
                  <p:embed/>
                </p:oleObj>
              </mc:Choice>
              <mc:Fallback>
                <p:oleObj name="think-cell Slide" r:id="rId5" imgW="501" imgH="502" progId="TCLayout.ActiveDocument.1">
                  <p:embed/>
                  <p:pic>
                    <p:nvPicPr>
                      <p:cNvPr id="4" name="Objet 3" hidden="1">
                        <a:extLst>
                          <a:ext uri="{FF2B5EF4-FFF2-40B4-BE49-F238E27FC236}">
                            <a16:creationId xmlns:a16="http://schemas.microsoft.com/office/drawing/2014/main" id="{E09786E3-2AD8-4F30-8DE8-22CE7C2D00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F96B990-0CA3-4E24-B618-02A198F72517}"/>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 name="Titre 2">
            <a:extLst>
              <a:ext uri="{FF2B5EF4-FFF2-40B4-BE49-F238E27FC236}">
                <a16:creationId xmlns:a16="http://schemas.microsoft.com/office/drawing/2014/main" id="{5C412735-88F6-4CF0-B0D8-A6240675AC77}"/>
              </a:ext>
            </a:extLst>
          </p:cNvPr>
          <p:cNvSpPr>
            <a:spLocks noGrp="1"/>
          </p:cNvSpPr>
          <p:nvPr>
            <p:ph type="title"/>
          </p:nvPr>
        </p:nvSpPr>
        <p:spPr>
          <a:xfrm>
            <a:off x="676289" y="147600"/>
            <a:ext cx="7284930" cy="684000"/>
          </a:xfrm>
        </p:spPr>
        <p:txBody>
          <a:bodyPr/>
          <a:lstStyle/>
          <a:p>
            <a:r>
              <a:rPr lang="en-GB" i="1" dirty="0">
                <a:solidFill>
                  <a:schemeClr val="accent1"/>
                </a:solidFill>
                <a:latin typeface="Trebuchet MS" panose="020B0603020202020204" pitchFamily="34" charset="0"/>
              </a:rPr>
              <a:t>Illustration: </a:t>
            </a:r>
            <a:r>
              <a:rPr lang="en-GB" dirty="0" err="1">
                <a:latin typeface="Trebuchet MS" panose="020B0603020202020204" pitchFamily="34" charset="0"/>
              </a:rPr>
              <a:t>Altares</a:t>
            </a:r>
            <a:r>
              <a:rPr lang="en-GB" dirty="0">
                <a:latin typeface="Trebuchet MS" panose="020B0603020202020204" pitchFamily="34" charset="0"/>
              </a:rPr>
              <a:t>' offers are delivered either through </a:t>
            </a:r>
            <a:r>
              <a:rPr lang="en-GB" dirty="0">
                <a:solidFill>
                  <a:schemeClr val="tx2"/>
                </a:solidFill>
                <a:latin typeface="Trebuchet MS" panose="020B0603020202020204" pitchFamily="34" charset="0"/>
              </a:rPr>
              <a:t>user-friendly web applications</a:t>
            </a:r>
            <a:r>
              <a:rPr lang="en-GB" dirty="0">
                <a:latin typeface="Trebuchet MS" panose="020B0603020202020204" pitchFamily="34" charset="0"/>
              </a:rPr>
              <a:t>, </a:t>
            </a:r>
            <a:r>
              <a:rPr lang="en-GB" dirty="0">
                <a:solidFill>
                  <a:schemeClr val="tx2"/>
                </a:solidFill>
                <a:latin typeface="Trebuchet MS" panose="020B0603020202020204" pitchFamily="34" charset="0"/>
              </a:rPr>
              <a:t>connector</a:t>
            </a:r>
            <a:r>
              <a:rPr lang="en-GB" dirty="0">
                <a:latin typeface="Trebuchet MS" panose="020B0603020202020204" pitchFamily="34" charset="0"/>
              </a:rPr>
              <a:t> inside clients’ tools or </a:t>
            </a:r>
            <a:r>
              <a:rPr lang="en-GB" dirty="0">
                <a:solidFill>
                  <a:schemeClr val="tx2"/>
                </a:solidFill>
                <a:latin typeface="Trebuchet MS" panose="020B0603020202020204" pitchFamily="34" charset="0"/>
              </a:rPr>
              <a:t>personalized batch or API</a:t>
            </a:r>
          </a:p>
        </p:txBody>
      </p:sp>
      <p:sp>
        <p:nvSpPr>
          <p:cNvPr id="62" name="Espace réservé du texte 3">
            <a:extLst>
              <a:ext uri="{FF2B5EF4-FFF2-40B4-BE49-F238E27FC236}">
                <a16:creationId xmlns:a16="http://schemas.microsoft.com/office/drawing/2014/main" id="{4F068F14-C657-460F-8E71-33B81F38B03E}"/>
              </a:ext>
            </a:extLst>
          </p:cNvPr>
          <p:cNvSpPr txBox="1">
            <a:spLocks/>
          </p:cNvSpPr>
          <p:nvPr/>
        </p:nvSpPr>
        <p:spPr>
          <a:xfrm>
            <a:off x="1315274" y="6580025"/>
            <a:ext cx="7131600" cy="244800"/>
          </a:xfrm>
          <a:prstGeom prst="rect">
            <a:avLst/>
          </a:prstGeom>
        </p:spPr>
        <p:txBody>
          <a:bodyPr lIns="0" tIns="0" rIns="0" bIns="0"/>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ts val="0"/>
              </a:spcBef>
              <a:buNone/>
            </a:pPr>
            <a:r>
              <a:rPr lang="en-GB" sz="800" i="1" kern="0" dirty="0">
                <a:latin typeface="Trebuchet MS" panose="020B0603020202020204" pitchFamily="34" charset="0"/>
              </a:rPr>
              <a:t>Sources: </a:t>
            </a:r>
            <a:r>
              <a:rPr lang="en-GB" sz="800" i="1" dirty="0">
                <a:latin typeface="Trebuchet MS" panose="020B0603020202020204" pitchFamily="34" charset="0"/>
              </a:rPr>
              <a:t>eleven research &amp; analysis, company data, interviews with management</a:t>
            </a:r>
          </a:p>
        </p:txBody>
      </p:sp>
      <p:pic>
        <p:nvPicPr>
          <p:cNvPr id="8" name="Picture 7">
            <a:extLst>
              <a:ext uri="{FF2B5EF4-FFF2-40B4-BE49-F238E27FC236}">
                <a16:creationId xmlns:a16="http://schemas.microsoft.com/office/drawing/2014/main" id="{994CF131-F6CD-4C83-896A-DC8C63B11486}"/>
              </a:ext>
            </a:extLst>
          </p:cNvPr>
          <p:cNvPicPr>
            <a:picLocks noChangeAspect="1"/>
          </p:cNvPicPr>
          <p:nvPr/>
        </p:nvPicPr>
        <p:blipFill>
          <a:blip r:embed="rId7"/>
          <a:stretch>
            <a:fillRect/>
          </a:stretch>
        </p:blipFill>
        <p:spPr>
          <a:xfrm>
            <a:off x="2065644" y="2036825"/>
            <a:ext cx="2447999" cy="1811212"/>
          </a:xfrm>
          <a:prstGeom prst="rect">
            <a:avLst/>
          </a:prstGeom>
          <a:effectLst>
            <a:outerShdw blurRad="50800" dist="38100" dir="2700000" algn="tl" rotWithShape="0">
              <a:schemeClr val="tx1">
                <a:alpha val="40000"/>
              </a:schemeClr>
            </a:outerShdw>
          </a:effectLst>
        </p:spPr>
      </p:pic>
      <p:cxnSp>
        <p:nvCxnSpPr>
          <p:cNvPr id="11" name="Connecteur droit 4">
            <a:extLst>
              <a:ext uri="{FF2B5EF4-FFF2-40B4-BE49-F238E27FC236}">
                <a16:creationId xmlns:a16="http://schemas.microsoft.com/office/drawing/2014/main" id="{4922DB5E-DC2B-4171-BB69-3F1EC57A4BB9}"/>
              </a:ext>
            </a:extLst>
          </p:cNvPr>
          <p:cNvCxnSpPr>
            <a:cxnSpLocks/>
          </p:cNvCxnSpPr>
          <p:nvPr/>
        </p:nvCxnSpPr>
        <p:spPr bwMode="auto">
          <a:xfrm>
            <a:off x="155034" y="878869"/>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2" name="ZoneTexte 6">
            <a:extLst>
              <a:ext uri="{FF2B5EF4-FFF2-40B4-BE49-F238E27FC236}">
                <a16:creationId xmlns:a16="http://schemas.microsoft.com/office/drawing/2014/main" id="{4C961ACA-3E54-4C59-A2C3-77D1091D3776}"/>
              </a:ext>
            </a:extLst>
          </p:cNvPr>
          <p:cNvSpPr txBox="1"/>
          <p:nvPr/>
        </p:nvSpPr>
        <p:spPr>
          <a:xfrm>
            <a:off x="3037729" y="752961"/>
            <a:ext cx="3830542" cy="264371"/>
          </a:xfrm>
          <a:prstGeom prst="rect">
            <a:avLst/>
          </a:prstGeom>
          <a:solidFill>
            <a:schemeClr val="bg1"/>
          </a:solidFill>
        </p:spPr>
        <p:txBody>
          <a:bodyPr wrap="square" rtlCol="0">
            <a:noAutofit/>
          </a:bodyPr>
          <a:lstStyle/>
          <a:p>
            <a:pPr algn="ctr"/>
            <a:r>
              <a:rPr lang="en-GB" sz="1100">
                <a:latin typeface="Trebuchet MS" panose="020B0603020202020204" pitchFamily="34" charset="0"/>
              </a:rPr>
              <a:t>Selected examples of </a:t>
            </a:r>
            <a:r>
              <a:rPr lang="en-GB" sz="1100" err="1">
                <a:latin typeface="Trebuchet MS" panose="020B0603020202020204" pitchFamily="34" charset="0"/>
              </a:rPr>
              <a:t>Altares</a:t>
            </a:r>
            <a:r>
              <a:rPr lang="en-GB" sz="1100">
                <a:latin typeface="Trebuchet MS" panose="020B0603020202020204" pitchFamily="34" charset="0"/>
              </a:rPr>
              <a:t>' client interface</a:t>
            </a:r>
          </a:p>
        </p:txBody>
      </p:sp>
      <p:sp>
        <p:nvSpPr>
          <p:cNvPr id="17" name="Freeform 9">
            <a:extLst>
              <a:ext uri="{FF2B5EF4-FFF2-40B4-BE49-F238E27FC236}">
                <a16:creationId xmlns:a16="http://schemas.microsoft.com/office/drawing/2014/main" id="{52098047-A403-445B-A3E8-441DB75D4E21}"/>
              </a:ext>
            </a:extLst>
          </p:cNvPr>
          <p:cNvSpPr>
            <a:spLocks noEditPoints="1"/>
          </p:cNvSpPr>
          <p:nvPr/>
        </p:nvSpPr>
        <p:spPr bwMode="auto">
          <a:xfrm>
            <a:off x="152836" y="229262"/>
            <a:ext cx="382759" cy="416927"/>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pic>
        <p:nvPicPr>
          <p:cNvPr id="124930" name="Picture 2">
            <a:extLst>
              <a:ext uri="{FF2B5EF4-FFF2-40B4-BE49-F238E27FC236}">
                <a16:creationId xmlns:a16="http://schemas.microsoft.com/office/drawing/2014/main" id="{07E185B6-E4DF-4A94-8383-1AE0C3AF340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1898" t="5662" r="11578" b="10497"/>
          <a:stretch/>
        </p:blipFill>
        <p:spPr bwMode="auto">
          <a:xfrm>
            <a:off x="4681924" y="2031579"/>
            <a:ext cx="2448000" cy="1808835"/>
          </a:xfrm>
          <a:prstGeom prst="rect">
            <a:avLst/>
          </a:prstGeom>
          <a:effectLst>
            <a:outerShdw blurRad="50800" dist="38100" dir="2700000" algn="tl" rotWithShape="0">
              <a:schemeClr val="tx1">
                <a:alpha val="40000"/>
              </a:schemeClr>
            </a:outerShdw>
          </a:effectLst>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0886FFDA-E576-4ECE-B5E1-E220F6BBDFD1}"/>
              </a:ext>
            </a:extLst>
          </p:cNvPr>
          <p:cNvPicPr>
            <a:picLocks noChangeAspect="1"/>
          </p:cNvPicPr>
          <p:nvPr/>
        </p:nvPicPr>
        <p:blipFill rotWithShape="1">
          <a:blip r:embed="rId9"/>
          <a:srcRect b="3655"/>
          <a:stretch/>
        </p:blipFill>
        <p:spPr>
          <a:xfrm>
            <a:off x="7311187" y="2009606"/>
            <a:ext cx="2448000" cy="1808834"/>
          </a:xfrm>
          <a:prstGeom prst="rect">
            <a:avLst/>
          </a:prstGeom>
          <a:effectLst>
            <a:outerShdw blurRad="50800" dist="38100" dir="2700000" algn="tl" rotWithShape="0">
              <a:schemeClr val="tx1">
                <a:alpha val="40000"/>
              </a:schemeClr>
            </a:outerShdw>
          </a:effectLst>
        </p:spPr>
      </p:pic>
      <p:pic>
        <p:nvPicPr>
          <p:cNvPr id="90114" name="Picture 2" descr="40 raccourcis clavier pour Excel - BDM">
            <a:extLst>
              <a:ext uri="{FF2B5EF4-FFF2-40B4-BE49-F238E27FC236}">
                <a16:creationId xmlns:a16="http://schemas.microsoft.com/office/drawing/2014/main" id="{53452C3E-CB4A-4EE9-96E3-EBD67AA92F9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911578" y="4952653"/>
            <a:ext cx="716962" cy="378645"/>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descr="40 raccourcis clavier pour Excel - BDM">
            <a:extLst>
              <a:ext uri="{FF2B5EF4-FFF2-40B4-BE49-F238E27FC236}">
                <a16:creationId xmlns:a16="http://schemas.microsoft.com/office/drawing/2014/main" id="{2FC64A17-9674-4C4B-A42F-2C485D9A53E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06263" y="4952653"/>
            <a:ext cx="716962" cy="378645"/>
          </a:xfrm>
          <a:prstGeom prst="rect">
            <a:avLst/>
          </a:prstGeom>
          <a:noFill/>
          <a:extLst>
            <a:ext uri="{909E8E84-426E-40DD-AFC4-6F175D3DCCD1}">
              <a14:hiddenFill xmlns:a14="http://schemas.microsoft.com/office/drawing/2010/main">
                <a:solidFill>
                  <a:srgbClr val="FFFFFF"/>
                </a:solidFill>
              </a14:hiddenFill>
            </a:ext>
          </a:extLst>
        </p:spPr>
      </p:pic>
      <p:grpSp>
        <p:nvGrpSpPr>
          <p:cNvPr id="59" name="Group 58">
            <a:extLst>
              <a:ext uri="{FF2B5EF4-FFF2-40B4-BE49-F238E27FC236}">
                <a16:creationId xmlns:a16="http://schemas.microsoft.com/office/drawing/2014/main" id="{5C97020B-6273-4565-A3EF-A2331B06BB5C}"/>
              </a:ext>
            </a:extLst>
          </p:cNvPr>
          <p:cNvGrpSpPr/>
          <p:nvPr/>
        </p:nvGrpSpPr>
        <p:grpSpPr>
          <a:xfrm>
            <a:off x="2080041" y="1127581"/>
            <a:ext cx="2448000" cy="432000"/>
            <a:chOff x="947389" y="923232"/>
            <a:chExt cx="2448000" cy="432000"/>
          </a:xfrm>
        </p:grpSpPr>
        <p:sp>
          <p:nvSpPr>
            <p:cNvPr id="61" name="Rectangle 60">
              <a:extLst>
                <a:ext uri="{FF2B5EF4-FFF2-40B4-BE49-F238E27FC236}">
                  <a16:creationId xmlns:a16="http://schemas.microsoft.com/office/drawing/2014/main" id="{5ED89B92-DCA3-447A-8D7C-E83BB83C0FC5}"/>
                </a:ext>
              </a:extLst>
            </p:cNvPr>
            <p:cNvSpPr/>
            <p:nvPr/>
          </p:nvSpPr>
          <p:spPr bwMode="auto">
            <a:xfrm>
              <a:off x="947389" y="923232"/>
              <a:ext cx="2448000" cy="432000"/>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288000" tIns="45720" rIns="3600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Credit &amp; financial risk</a:t>
              </a:r>
            </a:p>
          </p:txBody>
        </p:sp>
        <p:pic>
          <p:nvPicPr>
            <p:cNvPr id="63" name="Graphique 128" descr="Jauge">
              <a:extLst>
                <a:ext uri="{FF2B5EF4-FFF2-40B4-BE49-F238E27FC236}">
                  <a16:creationId xmlns:a16="http://schemas.microsoft.com/office/drawing/2014/main" id="{300F3A6D-F2F7-4146-BA73-C2F8789D23E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4796" y="991516"/>
              <a:ext cx="239580" cy="239580"/>
            </a:xfrm>
            <a:prstGeom prst="rect">
              <a:avLst/>
            </a:prstGeom>
            <a:effectLst/>
          </p:spPr>
        </p:pic>
      </p:grpSp>
      <p:grpSp>
        <p:nvGrpSpPr>
          <p:cNvPr id="65" name="Group 64">
            <a:extLst>
              <a:ext uri="{FF2B5EF4-FFF2-40B4-BE49-F238E27FC236}">
                <a16:creationId xmlns:a16="http://schemas.microsoft.com/office/drawing/2014/main" id="{9D38F295-E4E7-48B6-89F0-DB7811B1FFB7}"/>
              </a:ext>
            </a:extLst>
          </p:cNvPr>
          <p:cNvGrpSpPr/>
          <p:nvPr/>
        </p:nvGrpSpPr>
        <p:grpSpPr>
          <a:xfrm>
            <a:off x="4696321" y="1133224"/>
            <a:ext cx="2448000" cy="432000"/>
            <a:chOff x="7111479" y="923232"/>
            <a:chExt cx="2448000" cy="432000"/>
          </a:xfrm>
        </p:grpSpPr>
        <p:sp>
          <p:nvSpPr>
            <p:cNvPr id="68" name="Rectangle 67">
              <a:extLst>
                <a:ext uri="{FF2B5EF4-FFF2-40B4-BE49-F238E27FC236}">
                  <a16:creationId xmlns:a16="http://schemas.microsoft.com/office/drawing/2014/main" id="{29169BC0-6B60-4499-BBD3-0851F4B751C2}"/>
                </a:ext>
              </a:extLst>
            </p:cNvPr>
            <p:cNvSpPr/>
            <p:nvPr/>
          </p:nvSpPr>
          <p:spPr bwMode="auto">
            <a:xfrm>
              <a:off x="7111479" y="923232"/>
              <a:ext cx="2448000" cy="432000"/>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288000" tIns="45720" rIns="3600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Compliance</a:t>
              </a:r>
            </a:p>
          </p:txBody>
        </p:sp>
        <p:pic>
          <p:nvPicPr>
            <p:cNvPr id="70" name="Graphique 90" descr="Poignée de main">
              <a:extLst>
                <a:ext uri="{FF2B5EF4-FFF2-40B4-BE49-F238E27FC236}">
                  <a16:creationId xmlns:a16="http://schemas.microsoft.com/office/drawing/2014/main" id="{5E0339DF-D41E-411D-BD1D-9FA038FFC1D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31761" y="981109"/>
              <a:ext cx="316246" cy="316246"/>
            </a:xfrm>
            <a:prstGeom prst="rect">
              <a:avLst/>
            </a:prstGeom>
          </p:spPr>
        </p:pic>
      </p:grpSp>
      <p:grpSp>
        <p:nvGrpSpPr>
          <p:cNvPr id="75" name="Group 74">
            <a:extLst>
              <a:ext uri="{FF2B5EF4-FFF2-40B4-BE49-F238E27FC236}">
                <a16:creationId xmlns:a16="http://schemas.microsoft.com/office/drawing/2014/main" id="{6FB83CC9-BE25-469D-8824-120ED84E454F}"/>
              </a:ext>
            </a:extLst>
          </p:cNvPr>
          <p:cNvGrpSpPr/>
          <p:nvPr/>
        </p:nvGrpSpPr>
        <p:grpSpPr>
          <a:xfrm>
            <a:off x="7312601" y="1137599"/>
            <a:ext cx="2448000" cy="432000"/>
            <a:chOff x="7119838" y="1215451"/>
            <a:chExt cx="2448000" cy="432000"/>
          </a:xfrm>
        </p:grpSpPr>
        <p:sp>
          <p:nvSpPr>
            <p:cNvPr id="80" name="Rectangle 79">
              <a:extLst>
                <a:ext uri="{FF2B5EF4-FFF2-40B4-BE49-F238E27FC236}">
                  <a16:creationId xmlns:a16="http://schemas.microsoft.com/office/drawing/2014/main" id="{CFD0E1B9-4669-4FBA-A1D7-D1367EB59856}"/>
                </a:ext>
              </a:extLst>
            </p:cNvPr>
            <p:cNvSpPr/>
            <p:nvPr/>
          </p:nvSpPr>
          <p:spPr bwMode="auto">
            <a:xfrm>
              <a:off x="7119838" y="1215451"/>
              <a:ext cx="2448000" cy="432000"/>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288000" tIns="45720" rIns="3600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b="1">
                  <a:solidFill>
                    <a:schemeClr val="bg1"/>
                  </a:solidFill>
                  <a:latin typeface="Trebuchet MS" panose="020B0603020202020204" pitchFamily="34" charset="0"/>
                </a:rPr>
                <a:t>B2B </a:t>
              </a:r>
              <a:r>
                <a:rPr kumimoji="0" lang="en-GB" sz="1200" b="1" i="0" u="none" strike="noStrike" cap="none" normalizeH="0" baseline="0">
                  <a:ln>
                    <a:noFill/>
                  </a:ln>
                  <a:solidFill>
                    <a:schemeClr val="bg1"/>
                  </a:solidFill>
                  <a:effectLst/>
                  <a:latin typeface="Trebuchet MS" panose="020B0603020202020204" pitchFamily="34" charset="0"/>
                </a:rPr>
                <a:t>Marketing</a:t>
              </a:r>
            </a:p>
          </p:txBody>
        </p:sp>
        <p:pic>
          <p:nvPicPr>
            <p:cNvPr id="81" name="Graphique 74" descr="Mégaphone">
              <a:extLst>
                <a:ext uri="{FF2B5EF4-FFF2-40B4-BE49-F238E27FC236}">
                  <a16:creationId xmlns:a16="http://schemas.microsoft.com/office/drawing/2014/main" id="{083D29F1-CF64-470E-B255-0AD6F46F009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285786" y="1312651"/>
              <a:ext cx="261360" cy="237600"/>
            </a:xfrm>
            <a:prstGeom prst="rect">
              <a:avLst/>
            </a:prstGeom>
          </p:spPr>
        </p:pic>
      </p:grpSp>
      <p:pic>
        <p:nvPicPr>
          <p:cNvPr id="107" name="Picture 2" descr="logo-salesforce - Dolmen">
            <a:extLst>
              <a:ext uri="{FF2B5EF4-FFF2-40B4-BE49-F238E27FC236}">
                <a16:creationId xmlns:a16="http://schemas.microsoft.com/office/drawing/2014/main" id="{D54A9A80-3259-4989-B83E-9887E19BFDB5}"/>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264368" y="4012532"/>
            <a:ext cx="813720" cy="430462"/>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2">
            <a:extLst>
              <a:ext uri="{FF2B5EF4-FFF2-40B4-BE49-F238E27FC236}">
                <a16:creationId xmlns:a16="http://schemas.microsoft.com/office/drawing/2014/main" id="{D6183492-F968-42A7-90B0-8C19665C1241}"/>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657531" y="4114055"/>
            <a:ext cx="459323" cy="227416"/>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2" descr="Avis Microsoft Dynamics - Comparatifs des outils du Web">
            <a:extLst>
              <a:ext uri="{FF2B5EF4-FFF2-40B4-BE49-F238E27FC236}">
                <a16:creationId xmlns:a16="http://schemas.microsoft.com/office/drawing/2014/main" id="{D845B046-BA94-4E98-869C-0A76B9E5B235}"/>
              </a:ext>
            </a:extLst>
          </p:cNvPr>
          <p:cNvPicPr>
            <a:picLocks noChangeAspect="1" noChangeArrowheads="1"/>
          </p:cNvPicPr>
          <p:nvPr/>
        </p:nvPicPr>
        <p:blipFill>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42645" y="3981779"/>
            <a:ext cx="895092" cy="491968"/>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2" descr="Use Our CRM Tools in Oracle Engagement Cloud | ActivePrime">
            <a:extLst>
              <a:ext uri="{FF2B5EF4-FFF2-40B4-BE49-F238E27FC236}">
                <a16:creationId xmlns:a16="http://schemas.microsoft.com/office/drawing/2014/main" id="{8BFBB351-B161-484F-95E8-114F86B74D0D}"/>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268354" y="4077945"/>
            <a:ext cx="762277" cy="299637"/>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Rounded Corners 29">
            <a:extLst>
              <a:ext uri="{FF2B5EF4-FFF2-40B4-BE49-F238E27FC236}">
                <a16:creationId xmlns:a16="http://schemas.microsoft.com/office/drawing/2014/main" id="{45E97946-942A-4CCC-9A43-88A9A3F8DC27}"/>
              </a:ext>
            </a:extLst>
          </p:cNvPr>
          <p:cNvSpPr/>
          <p:nvPr/>
        </p:nvSpPr>
        <p:spPr bwMode="auto">
          <a:xfrm>
            <a:off x="2080041" y="3986500"/>
            <a:ext cx="7719720" cy="482527"/>
          </a:xfrm>
          <a:prstGeom prst="roundRect">
            <a:avLst/>
          </a:prstGeom>
          <a:noFill/>
          <a:ln w="63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nvGrpSpPr>
          <p:cNvPr id="64" name="Group 63">
            <a:extLst>
              <a:ext uri="{FF2B5EF4-FFF2-40B4-BE49-F238E27FC236}">
                <a16:creationId xmlns:a16="http://schemas.microsoft.com/office/drawing/2014/main" id="{2D1FA247-8B7C-49B2-BFC5-8AB8B2CE2CAF}"/>
              </a:ext>
            </a:extLst>
          </p:cNvPr>
          <p:cNvGrpSpPr/>
          <p:nvPr/>
        </p:nvGrpSpPr>
        <p:grpSpPr>
          <a:xfrm>
            <a:off x="1018556" y="4833276"/>
            <a:ext cx="729364" cy="701503"/>
            <a:chOff x="1313831" y="3861727"/>
            <a:chExt cx="729364" cy="701503"/>
          </a:xfrm>
        </p:grpSpPr>
        <p:grpSp>
          <p:nvGrpSpPr>
            <p:cNvPr id="66" name="Graphic 29">
              <a:extLst>
                <a:ext uri="{FF2B5EF4-FFF2-40B4-BE49-F238E27FC236}">
                  <a16:creationId xmlns:a16="http://schemas.microsoft.com/office/drawing/2014/main" id="{FB6AB158-467D-4013-87C8-E3D399325C56}"/>
                </a:ext>
              </a:extLst>
            </p:cNvPr>
            <p:cNvGrpSpPr>
              <a:grpSpLocks noChangeAspect="1"/>
            </p:cNvGrpSpPr>
            <p:nvPr/>
          </p:nvGrpSpPr>
          <p:grpSpPr>
            <a:xfrm>
              <a:off x="1555750" y="3861727"/>
              <a:ext cx="245527" cy="317153"/>
              <a:chOff x="4568190" y="2857499"/>
              <a:chExt cx="770572" cy="904875"/>
            </a:xfrm>
            <a:solidFill>
              <a:schemeClr val="tx2"/>
            </a:solidFill>
          </p:grpSpPr>
          <p:sp>
            <p:nvSpPr>
              <p:cNvPr id="69" name="Freeform: Shape 68">
                <a:extLst>
                  <a:ext uri="{FF2B5EF4-FFF2-40B4-BE49-F238E27FC236}">
                    <a16:creationId xmlns:a16="http://schemas.microsoft.com/office/drawing/2014/main" id="{6E37BA65-93C8-42DB-9640-E5F34B880D16}"/>
                  </a:ext>
                </a:extLst>
              </p:cNvPr>
              <p:cNvSpPr/>
              <p:nvPr/>
            </p:nvSpPr>
            <p:spPr>
              <a:xfrm>
                <a:off x="4568190" y="2857499"/>
                <a:ext cx="770572" cy="904875"/>
              </a:xfrm>
              <a:custGeom>
                <a:avLst/>
                <a:gdLst>
                  <a:gd name="connsiteX0" fmla="*/ 764858 w 770572"/>
                  <a:gd name="connsiteY0" fmla="*/ 163830 h 904875"/>
                  <a:gd name="connsiteX1" fmla="*/ 606743 w 770572"/>
                  <a:gd name="connsiteY1" fmla="*/ 5715 h 904875"/>
                  <a:gd name="connsiteX2" fmla="*/ 591502 w 770572"/>
                  <a:gd name="connsiteY2" fmla="*/ 0 h 904875"/>
                  <a:gd name="connsiteX3" fmla="*/ 243840 w 770572"/>
                  <a:gd name="connsiteY3" fmla="*/ 0 h 904875"/>
                  <a:gd name="connsiteX4" fmla="*/ 222885 w 770572"/>
                  <a:gd name="connsiteY4" fmla="*/ 20955 h 904875"/>
                  <a:gd name="connsiteX5" fmla="*/ 222885 w 770572"/>
                  <a:gd name="connsiteY5" fmla="*/ 111443 h 904875"/>
                  <a:gd name="connsiteX6" fmla="*/ 132398 w 770572"/>
                  <a:gd name="connsiteY6" fmla="*/ 111443 h 904875"/>
                  <a:gd name="connsiteX7" fmla="*/ 111442 w 770572"/>
                  <a:gd name="connsiteY7" fmla="*/ 132398 h 904875"/>
                  <a:gd name="connsiteX8" fmla="*/ 111442 w 770572"/>
                  <a:gd name="connsiteY8" fmla="*/ 223838 h 904875"/>
                  <a:gd name="connsiteX9" fmla="*/ 20955 w 770572"/>
                  <a:gd name="connsiteY9" fmla="*/ 223838 h 904875"/>
                  <a:gd name="connsiteX10" fmla="*/ 0 w 770572"/>
                  <a:gd name="connsiteY10" fmla="*/ 244793 h 904875"/>
                  <a:gd name="connsiteX11" fmla="*/ 0 w 770572"/>
                  <a:gd name="connsiteY11" fmla="*/ 883920 h 904875"/>
                  <a:gd name="connsiteX12" fmla="*/ 20955 w 770572"/>
                  <a:gd name="connsiteY12" fmla="*/ 904875 h 904875"/>
                  <a:gd name="connsiteX13" fmla="*/ 526733 w 770572"/>
                  <a:gd name="connsiteY13" fmla="*/ 904875 h 904875"/>
                  <a:gd name="connsiteX14" fmla="*/ 547688 w 770572"/>
                  <a:gd name="connsiteY14" fmla="*/ 883920 h 904875"/>
                  <a:gd name="connsiteX15" fmla="*/ 547688 w 770572"/>
                  <a:gd name="connsiteY15" fmla="*/ 793433 h 904875"/>
                  <a:gd name="connsiteX16" fmla="*/ 638175 w 770572"/>
                  <a:gd name="connsiteY16" fmla="*/ 793433 h 904875"/>
                  <a:gd name="connsiteX17" fmla="*/ 659130 w 770572"/>
                  <a:gd name="connsiteY17" fmla="*/ 772478 h 904875"/>
                  <a:gd name="connsiteX18" fmla="*/ 659130 w 770572"/>
                  <a:gd name="connsiteY18" fmla="*/ 681038 h 904875"/>
                  <a:gd name="connsiteX19" fmla="*/ 749618 w 770572"/>
                  <a:gd name="connsiteY19" fmla="*/ 681038 h 904875"/>
                  <a:gd name="connsiteX20" fmla="*/ 770573 w 770572"/>
                  <a:gd name="connsiteY20" fmla="*/ 660083 h 904875"/>
                  <a:gd name="connsiteX21" fmla="*/ 770573 w 770572"/>
                  <a:gd name="connsiteY21" fmla="*/ 179070 h 904875"/>
                  <a:gd name="connsiteX22" fmla="*/ 764858 w 770572"/>
                  <a:gd name="connsiteY22" fmla="*/ 163830 h 904875"/>
                  <a:gd name="connsiteX23" fmla="*/ 593408 w 770572"/>
                  <a:gd name="connsiteY23" fmla="*/ 51435 h 904875"/>
                  <a:gd name="connsiteX24" fmla="*/ 719138 w 770572"/>
                  <a:gd name="connsiteY24" fmla="*/ 177165 h 904875"/>
                  <a:gd name="connsiteX25" fmla="*/ 593408 w 770572"/>
                  <a:gd name="connsiteY25" fmla="*/ 177165 h 904875"/>
                  <a:gd name="connsiteX26" fmla="*/ 593408 w 770572"/>
                  <a:gd name="connsiteY26" fmla="*/ 51435 h 904875"/>
                  <a:gd name="connsiteX27" fmla="*/ 504825 w 770572"/>
                  <a:gd name="connsiteY27" fmla="*/ 862965 h 904875"/>
                  <a:gd name="connsiteX28" fmla="*/ 40957 w 770572"/>
                  <a:gd name="connsiteY28" fmla="*/ 862965 h 904875"/>
                  <a:gd name="connsiteX29" fmla="*/ 40957 w 770572"/>
                  <a:gd name="connsiteY29" fmla="*/ 265748 h 904875"/>
                  <a:gd name="connsiteX30" fmla="*/ 110490 w 770572"/>
                  <a:gd name="connsiteY30" fmla="*/ 265748 h 904875"/>
                  <a:gd name="connsiteX31" fmla="*/ 110490 w 770572"/>
                  <a:gd name="connsiteY31" fmla="*/ 772478 h 904875"/>
                  <a:gd name="connsiteX32" fmla="*/ 131445 w 770572"/>
                  <a:gd name="connsiteY32" fmla="*/ 793433 h 904875"/>
                  <a:gd name="connsiteX33" fmla="*/ 504825 w 770572"/>
                  <a:gd name="connsiteY33" fmla="*/ 793433 h 904875"/>
                  <a:gd name="connsiteX34" fmla="*/ 504825 w 770572"/>
                  <a:gd name="connsiteY34" fmla="*/ 862965 h 904875"/>
                  <a:gd name="connsiteX35" fmla="*/ 617220 w 770572"/>
                  <a:gd name="connsiteY35" fmla="*/ 751523 h 904875"/>
                  <a:gd name="connsiteX36" fmla="*/ 152400 w 770572"/>
                  <a:gd name="connsiteY36" fmla="*/ 751523 h 904875"/>
                  <a:gd name="connsiteX37" fmla="*/ 152400 w 770572"/>
                  <a:gd name="connsiteY37" fmla="*/ 153353 h 904875"/>
                  <a:gd name="connsiteX38" fmla="*/ 222885 w 770572"/>
                  <a:gd name="connsiteY38" fmla="*/ 153353 h 904875"/>
                  <a:gd name="connsiteX39" fmla="*/ 222885 w 770572"/>
                  <a:gd name="connsiteY39" fmla="*/ 660083 h 904875"/>
                  <a:gd name="connsiteX40" fmla="*/ 243840 w 770572"/>
                  <a:gd name="connsiteY40" fmla="*/ 681038 h 904875"/>
                  <a:gd name="connsiteX41" fmla="*/ 617220 w 770572"/>
                  <a:gd name="connsiteY41" fmla="*/ 681038 h 904875"/>
                  <a:gd name="connsiteX42" fmla="*/ 617220 w 770572"/>
                  <a:gd name="connsiteY42" fmla="*/ 751523 h 904875"/>
                  <a:gd name="connsiteX43" fmla="*/ 264795 w 770572"/>
                  <a:gd name="connsiteY43" fmla="*/ 639128 h 904875"/>
                  <a:gd name="connsiteX44" fmla="*/ 264795 w 770572"/>
                  <a:gd name="connsiteY44" fmla="*/ 41910 h 904875"/>
                  <a:gd name="connsiteX45" fmla="*/ 551498 w 770572"/>
                  <a:gd name="connsiteY45" fmla="*/ 41910 h 904875"/>
                  <a:gd name="connsiteX46" fmla="*/ 551498 w 770572"/>
                  <a:gd name="connsiteY46" fmla="*/ 198120 h 904875"/>
                  <a:gd name="connsiteX47" fmla="*/ 572452 w 770572"/>
                  <a:gd name="connsiteY47" fmla="*/ 219075 h 904875"/>
                  <a:gd name="connsiteX48" fmla="*/ 728663 w 770572"/>
                  <a:gd name="connsiteY48" fmla="*/ 219075 h 904875"/>
                  <a:gd name="connsiteX49" fmla="*/ 728663 w 770572"/>
                  <a:gd name="connsiteY49" fmla="*/ 639128 h 904875"/>
                  <a:gd name="connsiteX50" fmla="*/ 264795 w 770572"/>
                  <a:gd name="connsiteY50" fmla="*/ 639128 h 90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770572" h="904875">
                    <a:moveTo>
                      <a:pt x="764858" y="163830"/>
                    </a:moveTo>
                    <a:lnTo>
                      <a:pt x="606743" y="5715"/>
                    </a:lnTo>
                    <a:cubicBezTo>
                      <a:pt x="602933" y="1905"/>
                      <a:pt x="597218" y="0"/>
                      <a:pt x="591502" y="0"/>
                    </a:cubicBezTo>
                    <a:lnTo>
                      <a:pt x="243840" y="0"/>
                    </a:lnTo>
                    <a:cubicBezTo>
                      <a:pt x="232410" y="0"/>
                      <a:pt x="222885" y="9525"/>
                      <a:pt x="222885" y="20955"/>
                    </a:cubicBezTo>
                    <a:lnTo>
                      <a:pt x="222885" y="111443"/>
                    </a:lnTo>
                    <a:lnTo>
                      <a:pt x="132398" y="111443"/>
                    </a:lnTo>
                    <a:cubicBezTo>
                      <a:pt x="120967" y="111443"/>
                      <a:pt x="111442" y="120968"/>
                      <a:pt x="111442" y="132398"/>
                    </a:cubicBezTo>
                    <a:lnTo>
                      <a:pt x="111442" y="223838"/>
                    </a:lnTo>
                    <a:lnTo>
                      <a:pt x="20955" y="223838"/>
                    </a:lnTo>
                    <a:cubicBezTo>
                      <a:pt x="9525" y="223838"/>
                      <a:pt x="0" y="233363"/>
                      <a:pt x="0" y="244793"/>
                    </a:cubicBezTo>
                    <a:lnTo>
                      <a:pt x="0" y="883920"/>
                    </a:lnTo>
                    <a:cubicBezTo>
                      <a:pt x="0" y="895350"/>
                      <a:pt x="9525" y="904875"/>
                      <a:pt x="20955" y="904875"/>
                    </a:cubicBezTo>
                    <a:lnTo>
                      <a:pt x="526733" y="904875"/>
                    </a:lnTo>
                    <a:cubicBezTo>
                      <a:pt x="538163" y="904875"/>
                      <a:pt x="547688" y="895350"/>
                      <a:pt x="547688" y="883920"/>
                    </a:cubicBezTo>
                    <a:lnTo>
                      <a:pt x="547688" y="793433"/>
                    </a:lnTo>
                    <a:lnTo>
                      <a:pt x="638175" y="793433"/>
                    </a:lnTo>
                    <a:cubicBezTo>
                      <a:pt x="649605" y="793433"/>
                      <a:pt x="659130" y="783908"/>
                      <a:pt x="659130" y="772478"/>
                    </a:cubicBezTo>
                    <a:lnTo>
                      <a:pt x="659130" y="681038"/>
                    </a:lnTo>
                    <a:lnTo>
                      <a:pt x="749618" y="681038"/>
                    </a:lnTo>
                    <a:cubicBezTo>
                      <a:pt x="761048" y="681038"/>
                      <a:pt x="770573" y="671513"/>
                      <a:pt x="770573" y="660083"/>
                    </a:cubicBezTo>
                    <a:lnTo>
                      <a:pt x="770573" y="179070"/>
                    </a:lnTo>
                    <a:cubicBezTo>
                      <a:pt x="770573" y="173355"/>
                      <a:pt x="768668" y="167640"/>
                      <a:pt x="764858" y="163830"/>
                    </a:cubicBezTo>
                    <a:close/>
                    <a:moveTo>
                      <a:pt x="593408" y="51435"/>
                    </a:moveTo>
                    <a:lnTo>
                      <a:pt x="719138" y="177165"/>
                    </a:lnTo>
                    <a:lnTo>
                      <a:pt x="593408" y="177165"/>
                    </a:lnTo>
                    <a:lnTo>
                      <a:pt x="593408" y="51435"/>
                    </a:lnTo>
                    <a:close/>
                    <a:moveTo>
                      <a:pt x="504825" y="862965"/>
                    </a:moveTo>
                    <a:lnTo>
                      <a:pt x="40957" y="862965"/>
                    </a:lnTo>
                    <a:lnTo>
                      <a:pt x="40957" y="265748"/>
                    </a:lnTo>
                    <a:lnTo>
                      <a:pt x="110490" y="265748"/>
                    </a:lnTo>
                    <a:lnTo>
                      <a:pt x="110490" y="772478"/>
                    </a:lnTo>
                    <a:cubicBezTo>
                      <a:pt x="110490" y="783908"/>
                      <a:pt x="120015" y="793433"/>
                      <a:pt x="131445" y="793433"/>
                    </a:cubicBezTo>
                    <a:lnTo>
                      <a:pt x="504825" y="793433"/>
                    </a:lnTo>
                    <a:lnTo>
                      <a:pt x="504825" y="862965"/>
                    </a:lnTo>
                    <a:close/>
                    <a:moveTo>
                      <a:pt x="617220" y="751523"/>
                    </a:moveTo>
                    <a:lnTo>
                      <a:pt x="152400" y="751523"/>
                    </a:lnTo>
                    <a:lnTo>
                      <a:pt x="152400" y="153353"/>
                    </a:lnTo>
                    <a:lnTo>
                      <a:pt x="222885" y="153353"/>
                    </a:lnTo>
                    <a:lnTo>
                      <a:pt x="222885" y="660083"/>
                    </a:lnTo>
                    <a:cubicBezTo>
                      <a:pt x="222885" y="671513"/>
                      <a:pt x="232410" y="681038"/>
                      <a:pt x="243840" y="681038"/>
                    </a:cubicBezTo>
                    <a:lnTo>
                      <a:pt x="617220" y="681038"/>
                    </a:lnTo>
                    <a:lnTo>
                      <a:pt x="617220" y="751523"/>
                    </a:lnTo>
                    <a:close/>
                    <a:moveTo>
                      <a:pt x="264795" y="639128"/>
                    </a:moveTo>
                    <a:lnTo>
                      <a:pt x="264795" y="41910"/>
                    </a:lnTo>
                    <a:lnTo>
                      <a:pt x="551498" y="41910"/>
                    </a:lnTo>
                    <a:lnTo>
                      <a:pt x="551498" y="198120"/>
                    </a:lnTo>
                    <a:cubicBezTo>
                      <a:pt x="551498" y="209550"/>
                      <a:pt x="561023" y="219075"/>
                      <a:pt x="572452" y="219075"/>
                    </a:cubicBezTo>
                    <a:lnTo>
                      <a:pt x="728663" y="219075"/>
                    </a:lnTo>
                    <a:lnTo>
                      <a:pt x="728663" y="639128"/>
                    </a:lnTo>
                    <a:lnTo>
                      <a:pt x="264795" y="639128"/>
                    </a:lnTo>
                    <a:close/>
                  </a:path>
                </a:pathLst>
              </a:custGeom>
              <a:grpFill/>
              <a:ln w="9525" cap="flat">
                <a:noFill/>
                <a:prstDash val="solid"/>
                <a:miter/>
              </a:ln>
            </p:spPr>
            <p:txBody>
              <a:bodyPr rtlCol="0" anchor="ctr"/>
              <a:lstStyle/>
              <a:p>
                <a:endParaRPr lang="en-GB" sz="1050"/>
              </a:p>
            </p:txBody>
          </p:sp>
          <p:sp>
            <p:nvSpPr>
              <p:cNvPr id="76" name="Freeform: Shape 75">
                <a:extLst>
                  <a:ext uri="{FF2B5EF4-FFF2-40B4-BE49-F238E27FC236}">
                    <a16:creationId xmlns:a16="http://schemas.microsoft.com/office/drawing/2014/main" id="{93E3994B-407C-4E91-9359-23F937BA88DD}"/>
                  </a:ext>
                </a:extLst>
              </p:cNvPr>
              <p:cNvSpPr/>
              <p:nvPr/>
            </p:nvSpPr>
            <p:spPr>
              <a:xfrm>
                <a:off x="4902517" y="3118484"/>
                <a:ext cx="323859" cy="323850"/>
              </a:xfrm>
              <a:custGeom>
                <a:avLst/>
                <a:gdLst>
                  <a:gd name="connsiteX0" fmla="*/ 161925 w 323859"/>
                  <a:gd name="connsiteY0" fmla="*/ 0 h 323850"/>
                  <a:gd name="connsiteX1" fmla="*/ 0 w 323859"/>
                  <a:gd name="connsiteY1" fmla="*/ 161925 h 323850"/>
                  <a:gd name="connsiteX2" fmla="*/ 161925 w 323859"/>
                  <a:gd name="connsiteY2" fmla="*/ 323850 h 323850"/>
                  <a:gd name="connsiteX3" fmla="*/ 323850 w 323859"/>
                  <a:gd name="connsiteY3" fmla="*/ 161925 h 323850"/>
                  <a:gd name="connsiteX4" fmla="*/ 161925 w 323859"/>
                  <a:gd name="connsiteY4" fmla="*/ 0 h 323850"/>
                  <a:gd name="connsiteX5" fmla="*/ 161925 w 323859"/>
                  <a:gd name="connsiteY5" fmla="*/ 281940 h 323850"/>
                  <a:gd name="connsiteX6" fmla="*/ 41910 w 323859"/>
                  <a:gd name="connsiteY6" fmla="*/ 161925 h 323850"/>
                  <a:gd name="connsiteX7" fmla="*/ 161925 w 323859"/>
                  <a:gd name="connsiteY7" fmla="*/ 41910 h 323850"/>
                  <a:gd name="connsiteX8" fmla="*/ 281940 w 323859"/>
                  <a:gd name="connsiteY8" fmla="*/ 161925 h 323850"/>
                  <a:gd name="connsiteX9" fmla="*/ 161925 w 323859"/>
                  <a:gd name="connsiteY9" fmla="*/ 28194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3859" h="323850">
                    <a:moveTo>
                      <a:pt x="161925" y="0"/>
                    </a:moveTo>
                    <a:cubicBezTo>
                      <a:pt x="72390" y="0"/>
                      <a:pt x="0" y="72390"/>
                      <a:pt x="0" y="161925"/>
                    </a:cubicBezTo>
                    <a:cubicBezTo>
                      <a:pt x="0" y="251460"/>
                      <a:pt x="72390" y="323850"/>
                      <a:pt x="161925" y="323850"/>
                    </a:cubicBezTo>
                    <a:cubicBezTo>
                      <a:pt x="251460" y="323850"/>
                      <a:pt x="323850" y="251460"/>
                      <a:pt x="323850" y="161925"/>
                    </a:cubicBezTo>
                    <a:cubicBezTo>
                      <a:pt x="324803" y="72390"/>
                      <a:pt x="251460" y="0"/>
                      <a:pt x="161925" y="0"/>
                    </a:cubicBezTo>
                    <a:close/>
                    <a:moveTo>
                      <a:pt x="161925" y="281940"/>
                    </a:moveTo>
                    <a:cubicBezTo>
                      <a:pt x="95250" y="281940"/>
                      <a:pt x="41910" y="227648"/>
                      <a:pt x="41910" y="161925"/>
                    </a:cubicBezTo>
                    <a:cubicBezTo>
                      <a:pt x="41910" y="95250"/>
                      <a:pt x="96202" y="41910"/>
                      <a:pt x="161925" y="41910"/>
                    </a:cubicBezTo>
                    <a:cubicBezTo>
                      <a:pt x="228600" y="41910"/>
                      <a:pt x="281940" y="96203"/>
                      <a:pt x="281940" y="161925"/>
                    </a:cubicBezTo>
                    <a:cubicBezTo>
                      <a:pt x="282893" y="228600"/>
                      <a:pt x="228600" y="281940"/>
                      <a:pt x="161925" y="281940"/>
                    </a:cubicBezTo>
                    <a:close/>
                  </a:path>
                </a:pathLst>
              </a:custGeom>
              <a:grpFill/>
              <a:ln w="9525" cap="flat">
                <a:noFill/>
                <a:prstDash val="solid"/>
                <a:miter/>
              </a:ln>
            </p:spPr>
            <p:txBody>
              <a:bodyPr rtlCol="0" anchor="ctr"/>
              <a:lstStyle/>
              <a:p>
                <a:endParaRPr lang="en-GB" sz="1050"/>
              </a:p>
            </p:txBody>
          </p:sp>
          <p:sp>
            <p:nvSpPr>
              <p:cNvPr id="77" name="Freeform: Shape 76">
                <a:extLst>
                  <a:ext uri="{FF2B5EF4-FFF2-40B4-BE49-F238E27FC236}">
                    <a16:creationId xmlns:a16="http://schemas.microsoft.com/office/drawing/2014/main" id="{89494FF4-C79F-4E69-8DB0-04E604EE0F58}"/>
                  </a:ext>
                </a:extLst>
              </p:cNvPr>
              <p:cNvSpPr/>
              <p:nvPr/>
            </p:nvSpPr>
            <p:spPr>
              <a:xfrm>
                <a:off x="4992290" y="3235041"/>
                <a:ext cx="139541" cy="105375"/>
              </a:xfrm>
              <a:custGeom>
                <a:avLst/>
                <a:gdLst>
                  <a:gd name="connsiteX0" fmla="*/ 102632 w 139541"/>
                  <a:gd name="connsiteY0" fmla="*/ 6315 h 105375"/>
                  <a:gd name="connsiteX1" fmla="*/ 54054 w 139541"/>
                  <a:gd name="connsiteY1" fmla="*/ 54893 h 105375"/>
                  <a:gd name="connsiteX2" fmla="*/ 35957 w 139541"/>
                  <a:gd name="connsiteY2" fmla="*/ 36795 h 105375"/>
                  <a:gd name="connsiteX3" fmla="*/ 6429 w 139541"/>
                  <a:gd name="connsiteY3" fmla="*/ 36795 h 105375"/>
                  <a:gd name="connsiteX4" fmla="*/ 6429 w 139541"/>
                  <a:gd name="connsiteY4" fmla="*/ 66322 h 105375"/>
                  <a:gd name="connsiteX5" fmla="*/ 39767 w 139541"/>
                  <a:gd name="connsiteY5" fmla="*/ 99660 h 105375"/>
                  <a:gd name="connsiteX6" fmla="*/ 55007 w 139541"/>
                  <a:gd name="connsiteY6" fmla="*/ 105375 h 105375"/>
                  <a:gd name="connsiteX7" fmla="*/ 70247 w 139541"/>
                  <a:gd name="connsiteY7" fmla="*/ 99660 h 105375"/>
                  <a:gd name="connsiteX8" fmla="*/ 133112 w 139541"/>
                  <a:gd name="connsiteY8" fmla="*/ 36795 h 105375"/>
                  <a:gd name="connsiteX9" fmla="*/ 133112 w 139541"/>
                  <a:gd name="connsiteY9" fmla="*/ 7268 h 105375"/>
                  <a:gd name="connsiteX10" fmla="*/ 102632 w 139541"/>
                  <a:gd name="connsiteY10" fmla="*/ 6315 h 10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541" h="105375">
                    <a:moveTo>
                      <a:pt x="102632" y="6315"/>
                    </a:moveTo>
                    <a:lnTo>
                      <a:pt x="54054" y="54893"/>
                    </a:lnTo>
                    <a:lnTo>
                      <a:pt x="35957" y="36795"/>
                    </a:lnTo>
                    <a:cubicBezTo>
                      <a:pt x="27384" y="28222"/>
                      <a:pt x="15002" y="28222"/>
                      <a:pt x="6429" y="36795"/>
                    </a:cubicBezTo>
                    <a:cubicBezTo>
                      <a:pt x="-2143" y="45368"/>
                      <a:pt x="-2143" y="58702"/>
                      <a:pt x="6429" y="66322"/>
                    </a:cubicBezTo>
                    <a:lnTo>
                      <a:pt x="39767" y="99660"/>
                    </a:lnTo>
                    <a:cubicBezTo>
                      <a:pt x="43577" y="103470"/>
                      <a:pt x="49292" y="105375"/>
                      <a:pt x="55007" y="105375"/>
                    </a:cubicBezTo>
                    <a:cubicBezTo>
                      <a:pt x="60722" y="105375"/>
                      <a:pt x="65484" y="103470"/>
                      <a:pt x="70247" y="99660"/>
                    </a:cubicBezTo>
                    <a:lnTo>
                      <a:pt x="133112" y="36795"/>
                    </a:lnTo>
                    <a:cubicBezTo>
                      <a:pt x="141684" y="28222"/>
                      <a:pt x="141684" y="14888"/>
                      <a:pt x="133112" y="7268"/>
                    </a:cubicBezTo>
                    <a:cubicBezTo>
                      <a:pt x="124539" y="-2257"/>
                      <a:pt x="111204" y="-2257"/>
                      <a:pt x="102632" y="6315"/>
                    </a:cubicBezTo>
                    <a:close/>
                  </a:path>
                </a:pathLst>
              </a:custGeom>
              <a:grpFill/>
              <a:ln w="9525" cap="flat">
                <a:noFill/>
                <a:prstDash val="solid"/>
                <a:miter/>
              </a:ln>
            </p:spPr>
            <p:txBody>
              <a:bodyPr rtlCol="0" anchor="ctr"/>
              <a:lstStyle/>
              <a:p>
                <a:endParaRPr lang="en-GB" sz="1050"/>
              </a:p>
            </p:txBody>
          </p:sp>
        </p:grpSp>
        <p:sp>
          <p:nvSpPr>
            <p:cNvPr id="67" name="TextBox 66">
              <a:extLst>
                <a:ext uri="{FF2B5EF4-FFF2-40B4-BE49-F238E27FC236}">
                  <a16:creationId xmlns:a16="http://schemas.microsoft.com/office/drawing/2014/main" id="{453E9960-BB4B-4E27-9D94-763DF0FDECFF}"/>
                </a:ext>
              </a:extLst>
            </p:cNvPr>
            <p:cNvSpPr txBox="1"/>
            <p:nvPr/>
          </p:nvSpPr>
          <p:spPr>
            <a:xfrm>
              <a:off x="1313831" y="4193897"/>
              <a:ext cx="729364" cy="369333"/>
            </a:xfrm>
            <a:prstGeom prst="rect">
              <a:avLst/>
            </a:prstGeom>
            <a:noFill/>
          </p:spPr>
          <p:txBody>
            <a:bodyPr wrap="square" rtlCol="0">
              <a:spAutoFit/>
            </a:bodyPr>
            <a:lstStyle/>
            <a:p>
              <a:pPr algn="ctr"/>
              <a:r>
                <a:rPr lang="en-GB" sz="900" b="1">
                  <a:solidFill>
                    <a:schemeClr val="tx2"/>
                  </a:solidFill>
                  <a:latin typeface="Trebuchet MS" panose="020B0603020202020204" pitchFamily="34" charset="0"/>
                </a:rPr>
                <a:t>Batch solutions</a:t>
              </a:r>
            </a:p>
          </p:txBody>
        </p:sp>
      </p:grpSp>
      <p:sp>
        <p:nvSpPr>
          <p:cNvPr id="78" name="Ellipse 80">
            <a:extLst>
              <a:ext uri="{FF2B5EF4-FFF2-40B4-BE49-F238E27FC236}">
                <a16:creationId xmlns:a16="http://schemas.microsoft.com/office/drawing/2014/main" id="{629DFAEE-54FA-473A-B931-E3CF92306B12}"/>
              </a:ext>
            </a:extLst>
          </p:cNvPr>
          <p:cNvSpPr/>
          <p:nvPr/>
        </p:nvSpPr>
        <p:spPr bwMode="auto">
          <a:xfrm>
            <a:off x="851334" y="4798318"/>
            <a:ext cx="223550" cy="213007"/>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700">
                <a:solidFill>
                  <a:schemeClr val="bg1"/>
                </a:solidFill>
                <a:latin typeface="Trebuchet MS" panose="020B0603020202020204" pitchFamily="34" charset="0"/>
              </a:rPr>
              <a:t>3</a:t>
            </a:r>
            <a:endParaRPr kumimoji="0" lang="en-GB" sz="700" b="0" i="0" u="none" strike="noStrike" cap="none" normalizeH="0" baseline="0">
              <a:ln>
                <a:noFill/>
              </a:ln>
              <a:solidFill>
                <a:schemeClr val="bg1"/>
              </a:solidFill>
              <a:effectLst/>
              <a:latin typeface="Trebuchet MS" panose="020B0603020202020204" pitchFamily="34" charset="0"/>
            </a:endParaRPr>
          </a:p>
        </p:txBody>
      </p:sp>
      <p:grpSp>
        <p:nvGrpSpPr>
          <p:cNvPr id="79" name="Group 78">
            <a:extLst>
              <a:ext uri="{FF2B5EF4-FFF2-40B4-BE49-F238E27FC236}">
                <a16:creationId xmlns:a16="http://schemas.microsoft.com/office/drawing/2014/main" id="{B0B77834-961E-4184-9942-7AA56E75ACFF}"/>
              </a:ext>
            </a:extLst>
          </p:cNvPr>
          <p:cNvGrpSpPr/>
          <p:nvPr/>
        </p:nvGrpSpPr>
        <p:grpSpPr>
          <a:xfrm>
            <a:off x="1002568" y="1813923"/>
            <a:ext cx="761340" cy="716790"/>
            <a:chOff x="1103599" y="1846264"/>
            <a:chExt cx="761340" cy="716790"/>
          </a:xfrm>
        </p:grpSpPr>
        <p:grpSp>
          <p:nvGrpSpPr>
            <p:cNvPr id="112" name="Graphic 33">
              <a:extLst>
                <a:ext uri="{FF2B5EF4-FFF2-40B4-BE49-F238E27FC236}">
                  <a16:creationId xmlns:a16="http://schemas.microsoft.com/office/drawing/2014/main" id="{C92DDD54-49AC-4572-B062-CB9C56DBBAA4}"/>
                </a:ext>
              </a:extLst>
            </p:cNvPr>
            <p:cNvGrpSpPr/>
            <p:nvPr/>
          </p:nvGrpSpPr>
          <p:grpSpPr>
            <a:xfrm>
              <a:off x="1251700" y="1846264"/>
              <a:ext cx="465137" cy="347668"/>
              <a:chOff x="2056424" y="2817788"/>
              <a:chExt cx="824016" cy="615923"/>
            </a:xfrm>
            <a:solidFill>
              <a:schemeClr val="tx2"/>
            </a:solidFill>
          </p:grpSpPr>
          <p:sp>
            <p:nvSpPr>
              <p:cNvPr id="114" name="Freeform: Shape 113">
                <a:extLst>
                  <a:ext uri="{FF2B5EF4-FFF2-40B4-BE49-F238E27FC236}">
                    <a16:creationId xmlns:a16="http://schemas.microsoft.com/office/drawing/2014/main" id="{8E58BE3A-4423-454F-B340-E835D0AE23C3}"/>
                  </a:ext>
                </a:extLst>
              </p:cNvPr>
              <p:cNvSpPr/>
              <p:nvPr/>
            </p:nvSpPr>
            <p:spPr>
              <a:xfrm>
                <a:off x="2502194" y="3322269"/>
                <a:ext cx="180975" cy="85725"/>
              </a:xfrm>
              <a:custGeom>
                <a:avLst/>
                <a:gdLst>
                  <a:gd name="connsiteX0" fmla="*/ 25718 w 180975"/>
                  <a:gd name="connsiteY0" fmla="*/ 48577 h 85725"/>
                  <a:gd name="connsiteX1" fmla="*/ 0 w 180975"/>
                  <a:gd name="connsiteY1" fmla="*/ 52388 h 85725"/>
                  <a:gd name="connsiteX2" fmla="*/ 13335 w 180975"/>
                  <a:gd name="connsiteY2" fmla="*/ 63817 h 85725"/>
                  <a:gd name="connsiteX3" fmla="*/ 17145 w 180975"/>
                  <a:gd name="connsiteY3" fmla="*/ 73342 h 85725"/>
                  <a:gd name="connsiteX4" fmla="*/ 11430 w 180975"/>
                  <a:gd name="connsiteY4" fmla="*/ 81915 h 85725"/>
                  <a:gd name="connsiteX5" fmla="*/ 4763 w 180975"/>
                  <a:gd name="connsiteY5" fmla="*/ 85725 h 85725"/>
                  <a:gd name="connsiteX6" fmla="*/ 32385 w 180975"/>
                  <a:gd name="connsiteY6" fmla="*/ 81915 h 85725"/>
                  <a:gd name="connsiteX7" fmla="*/ 180975 w 180975"/>
                  <a:gd name="connsiteY7" fmla="*/ 0 h 85725"/>
                  <a:gd name="connsiteX8" fmla="*/ 131445 w 180975"/>
                  <a:gd name="connsiteY8" fmla="*/ 0 h 85725"/>
                  <a:gd name="connsiteX9" fmla="*/ 25718 w 180975"/>
                  <a:gd name="connsiteY9" fmla="*/ 48577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975" h="85725">
                    <a:moveTo>
                      <a:pt x="25718" y="48577"/>
                    </a:moveTo>
                    <a:cubicBezTo>
                      <a:pt x="17145" y="50482"/>
                      <a:pt x="8573" y="51435"/>
                      <a:pt x="0" y="52388"/>
                    </a:cubicBezTo>
                    <a:lnTo>
                      <a:pt x="13335" y="63817"/>
                    </a:lnTo>
                    <a:cubicBezTo>
                      <a:pt x="16193" y="65722"/>
                      <a:pt x="17145" y="69532"/>
                      <a:pt x="17145" y="73342"/>
                    </a:cubicBezTo>
                    <a:cubicBezTo>
                      <a:pt x="17145" y="77152"/>
                      <a:pt x="15240" y="80010"/>
                      <a:pt x="11430" y="81915"/>
                    </a:cubicBezTo>
                    <a:lnTo>
                      <a:pt x="4763" y="85725"/>
                    </a:lnTo>
                    <a:cubicBezTo>
                      <a:pt x="14288" y="84772"/>
                      <a:pt x="22860" y="83820"/>
                      <a:pt x="32385" y="81915"/>
                    </a:cubicBezTo>
                    <a:cubicBezTo>
                      <a:pt x="89535" y="70485"/>
                      <a:pt x="140970" y="41910"/>
                      <a:pt x="180975" y="0"/>
                    </a:cubicBezTo>
                    <a:lnTo>
                      <a:pt x="131445" y="0"/>
                    </a:lnTo>
                    <a:cubicBezTo>
                      <a:pt x="100965" y="23813"/>
                      <a:pt x="64770" y="40005"/>
                      <a:pt x="25718" y="48577"/>
                    </a:cubicBezTo>
                    <a:close/>
                  </a:path>
                </a:pathLst>
              </a:custGeom>
              <a:grpFill/>
              <a:ln w="9525" cap="flat">
                <a:noFill/>
                <a:prstDash val="solid"/>
                <a:miter/>
              </a:ln>
            </p:spPr>
            <p:txBody>
              <a:bodyPr rtlCol="0" anchor="ctr"/>
              <a:lstStyle/>
              <a:p>
                <a:endParaRPr lang="en-GB" sz="1050"/>
              </a:p>
            </p:txBody>
          </p:sp>
          <p:sp>
            <p:nvSpPr>
              <p:cNvPr id="117" name="Freeform: Shape 116">
                <a:extLst>
                  <a:ext uri="{FF2B5EF4-FFF2-40B4-BE49-F238E27FC236}">
                    <a16:creationId xmlns:a16="http://schemas.microsoft.com/office/drawing/2014/main" id="{9C1DCFB4-C414-48A0-9185-CF1D87019D68}"/>
                  </a:ext>
                </a:extLst>
              </p:cNvPr>
              <p:cNvSpPr/>
              <p:nvPr/>
            </p:nvSpPr>
            <p:spPr>
              <a:xfrm>
                <a:off x="2315504" y="2846971"/>
                <a:ext cx="134302" cy="60007"/>
              </a:xfrm>
              <a:custGeom>
                <a:avLst/>
                <a:gdLst>
                  <a:gd name="connsiteX0" fmla="*/ 113347 w 134302"/>
                  <a:gd name="connsiteY0" fmla="*/ 34290 h 60007"/>
                  <a:gd name="connsiteX1" fmla="*/ 134302 w 134302"/>
                  <a:gd name="connsiteY1" fmla="*/ 31433 h 60007"/>
                  <a:gd name="connsiteX2" fmla="*/ 117157 w 134302"/>
                  <a:gd name="connsiteY2" fmla="*/ 16193 h 60007"/>
                  <a:gd name="connsiteX3" fmla="*/ 113347 w 134302"/>
                  <a:gd name="connsiteY3" fmla="*/ 6668 h 60007"/>
                  <a:gd name="connsiteX4" fmla="*/ 116205 w 134302"/>
                  <a:gd name="connsiteY4" fmla="*/ 0 h 60007"/>
                  <a:gd name="connsiteX5" fmla="*/ 107632 w 134302"/>
                  <a:gd name="connsiteY5" fmla="*/ 1905 h 60007"/>
                  <a:gd name="connsiteX6" fmla="*/ 0 w 134302"/>
                  <a:gd name="connsiteY6" fmla="*/ 47625 h 60007"/>
                  <a:gd name="connsiteX7" fmla="*/ 44767 w 134302"/>
                  <a:gd name="connsiteY7" fmla="*/ 60008 h 60007"/>
                  <a:gd name="connsiteX8" fmla="*/ 113347 w 134302"/>
                  <a:gd name="connsiteY8" fmla="*/ 34290 h 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02" h="60007">
                    <a:moveTo>
                      <a:pt x="113347" y="34290"/>
                    </a:moveTo>
                    <a:cubicBezTo>
                      <a:pt x="120015" y="33338"/>
                      <a:pt x="126682" y="31433"/>
                      <a:pt x="134302" y="31433"/>
                    </a:cubicBezTo>
                    <a:lnTo>
                      <a:pt x="117157" y="16193"/>
                    </a:lnTo>
                    <a:cubicBezTo>
                      <a:pt x="114300" y="14288"/>
                      <a:pt x="113347" y="10478"/>
                      <a:pt x="113347" y="6668"/>
                    </a:cubicBezTo>
                    <a:cubicBezTo>
                      <a:pt x="113347" y="3810"/>
                      <a:pt x="114300" y="1905"/>
                      <a:pt x="116205" y="0"/>
                    </a:cubicBezTo>
                    <a:cubicBezTo>
                      <a:pt x="113347" y="953"/>
                      <a:pt x="110490" y="953"/>
                      <a:pt x="107632" y="1905"/>
                    </a:cubicBezTo>
                    <a:cubicBezTo>
                      <a:pt x="68580" y="9525"/>
                      <a:pt x="32385" y="25718"/>
                      <a:pt x="0" y="47625"/>
                    </a:cubicBezTo>
                    <a:cubicBezTo>
                      <a:pt x="15240" y="50483"/>
                      <a:pt x="30480" y="54293"/>
                      <a:pt x="44767" y="60008"/>
                    </a:cubicBezTo>
                    <a:cubicBezTo>
                      <a:pt x="65722" y="47625"/>
                      <a:pt x="88582" y="39053"/>
                      <a:pt x="113347" y="34290"/>
                    </a:cubicBezTo>
                    <a:close/>
                  </a:path>
                </a:pathLst>
              </a:custGeom>
              <a:grpFill/>
              <a:ln w="9525" cap="flat">
                <a:noFill/>
                <a:prstDash val="solid"/>
                <a:miter/>
              </a:ln>
            </p:spPr>
            <p:txBody>
              <a:bodyPr rtlCol="0" anchor="ctr"/>
              <a:lstStyle/>
              <a:p>
                <a:endParaRPr lang="en-GB" sz="1050"/>
              </a:p>
            </p:txBody>
          </p:sp>
          <p:sp>
            <p:nvSpPr>
              <p:cNvPr id="118" name="Freeform: Shape 117">
                <a:extLst>
                  <a:ext uri="{FF2B5EF4-FFF2-40B4-BE49-F238E27FC236}">
                    <a16:creationId xmlns:a16="http://schemas.microsoft.com/office/drawing/2014/main" id="{1585080F-A5B1-4DDA-ADF6-778B0FE78FE2}"/>
                  </a:ext>
                </a:extLst>
              </p:cNvPr>
              <p:cNvSpPr/>
              <p:nvPr/>
            </p:nvSpPr>
            <p:spPr>
              <a:xfrm>
                <a:off x="2445996" y="2817788"/>
                <a:ext cx="242887" cy="121575"/>
              </a:xfrm>
              <a:custGeom>
                <a:avLst/>
                <a:gdLst>
                  <a:gd name="connsiteX0" fmla="*/ 4763 w 242887"/>
                  <a:gd name="connsiteY0" fmla="*/ 47280 h 121575"/>
                  <a:gd name="connsiteX1" fmla="*/ 19050 w 242887"/>
                  <a:gd name="connsiteY1" fmla="*/ 58710 h 121575"/>
                  <a:gd name="connsiteX2" fmla="*/ 39053 w 242887"/>
                  <a:gd name="connsiteY2" fmla="*/ 74903 h 121575"/>
                  <a:gd name="connsiteX3" fmla="*/ 46673 w 242887"/>
                  <a:gd name="connsiteY3" fmla="*/ 81570 h 121575"/>
                  <a:gd name="connsiteX4" fmla="*/ 53340 w 242887"/>
                  <a:gd name="connsiteY4" fmla="*/ 84428 h 121575"/>
                  <a:gd name="connsiteX5" fmla="*/ 61913 w 242887"/>
                  <a:gd name="connsiteY5" fmla="*/ 80618 h 121575"/>
                  <a:gd name="connsiteX6" fmla="*/ 60008 w 242887"/>
                  <a:gd name="connsiteY6" fmla="*/ 64425 h 121575"/>
                  <a:gd name="connsiteX7" fmla="*/ 55245 w 242887"/>
                  <a:gd name="connsiteY7" fmla="*/ 60615 h 121575"/>
                  <a:gd name="connsiteX8" fmla="*/ 169545 w 242887"/>
                  <a:gd name="connsiteY8" fmla="*/ 101573 h 121575"/>
                  <a:gd name="connsiteX9" fmla="*/ 195263 w 242887"/>
                  <a:gd name="connsiteY9" fmla="*/ 121575 h 121575"/>
                  <a:gd name="connsiteX10" fmla="*/ 242888 w 242887"/>
                  <a:gd name="connsiteY10" fmla="*/ 121575 h 121575"/>
                  <a:gd name="connsiteX11" fmla="*/ 187643 w 242887"/>
                  <a:gd name="connsiteY11" fmla="*/ 73950 h 121575"/>
                  <a:gd name="connsiteX12" fmla="*/ 54293 w 242887"/>
                  <a:gd name="connsiteY12" fmla="*/ 27278 h 121575"/>
                  <a:gd name="connsiteX13" fmla="*/ 65723 w 242887"/>
                  <a:gd name="connsiteY13" fmla="*/ 20610 h 121575"/>
                  <a:gd name="connsiteX14" fmla="*/ 69533 w 242887"/>
                  <a:gd name="connsiteY14" fmla="*/ 5370 h 121575"/>
                  <a:gd name="connsiteX15" fmla="*/ 54293 w 242887"/>
                  <a:gd name="connsiteY15" fmla="*/ 1560 h 121575"/>
                  <a:gd name="connsiteX16" fmla="*/ 41910 w 242887"/>
                  <a:gd name="connsiteY16" fmla="*/ 7275 h 121575"/>
                  <a:gd name="connsiteX17" fmla="*/ 11430 w 242887"/>
                  <a:gd name="connsiteY17" fmla="*/ 25373 h 121575"/>
                  <a:gd name="connsiteX18" fmla="*/ 5715 w 242887"/>
                  <a:gd name="connsiteY18" fmla="*/ 28230 h 121575"/>
                  <a:gd name="connsiteX19" fmla="*/ 0 w 242887"/>
                  <a:gd name="connsiteY19" fmla="*/ 36803 h 121575"/>
                  <a:gd name="connsiteX20" fmla="*/ 4763 w 242887"/>
                  <a:gd name="connsiteY20" fmla="*/ 47280 h 12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2887" h="121575">
                    <a:moveTo>
                      <a:pt x="4763" y="47280"/>
                    </a:moveTo>
                    <a:lnTo>
                      <a:pt x="19050" y="58710"/>
                    </a:lnTo>
                    <a:lnTo>
                      <a:pt x="39053" y="74903"/>
                    </a:lnTo>
                    <a:lnTo>
                      <a:pt x="46673" y="81570"/>
                    </a:lnTo>
                    <a:cubicBezTo>
                      <a:pt x="48578" y="83475"/>
                      <a:pt x="51435" y="84428"/>
                      <a:pt x="53340" y="84428"/>
                    </a:cubicBezTo>
                    <a:cubicBezTo>
                      <a:pt x="56198" y="84428"/>
                      <a:pt x="60008" y="82523"/>
                      <a:pt x="61913" y="80618"/>
                    </a:cubicBezTo>
                    <a:cubicBezTo>
                      <a:pt x="65723" y="75855"/>
                      <a:pt x="64770" y="68235"/>
                      <a:pt x="60008" y="64425"/>
                    </a:cubicBezTo>
                    <a:lnTo>
                      <a:pt x="55245" y="60615"/>
                    </a:lnTo>
                    <a:cubicBezTo>
                      <a:pt x="96203" y="64425"/>
                      <a:pt x="135255" y="77760"/>
                      <a:pt x="169545" y="101573"/>
                    </a:cubicBezTo>
                    <a:cubicBezTo>
                      <a:pt x="179070" y="107288"/>
                      <a:pt x="187643" y="113955"/>
                      <a:pt x="195263" y="121575"/>
                    </a:cubicBezTo>
                    <a:lnTo>
                      <a:pt x="242888" y="121575"/>
                    </a:lnTo>
                    <a:cubicBezTo>
                      <a:pt x="226695" y="103478"/>
                      <a:pt x="208598" y="87285"/>
                      <a:pt x="187643" y="73950"/>
                    </a:cubicBezTo>
                    <a:cubicBezTo>
                      <a:pt x="146685" y="47280"/>
                      <a:pt x="100965" y="31088"/>
                      <a:pt x="54293" y="27278"/>
                    </a:cubicBezTo>
                    <a:lnTo>
                      <a:pt x="65723" y="20610"/>
                    </a:lnTo>
                    <a:cubicBezTo>
                      <a:pt x="71438" y="17753"/>
                      <a:pt x="72390" y="10133"/>
                      <a:pt x="69533" y="5370"/>
                    </a:cubicBezTo>
                    <a:cubicBezTo>
                      <a:pt x="66675" y="-345"/>
                      <a:pt x="59055" y="-1297"/>
                      <a:pt x="54293" y="1560"/>
                    </a:cubicBezTo>
                    <a:lnTo>
                      <a:pt x="41910" y="7275"/>
                    </a:lnTo>
                    <a:lnTo>
                      <a:pt x="11430" y="25373"/>
                    </a:lnTo>
                    <a:lnTo>
                      <a:pt x="5715" y="28230"/>
                    </a:lnTo>
                    <a:cubicBezTo>
                      <a:pt x="2858" y="30135"/>
                      <a:pt x="953" y="32993"/>
                      <a:pt x="0" y="36803"/>
                    </a:cubicBezTo>
                    <a:cubicBezTo>
                      <a:pt x="0" y="41565"/>
                      <a:pt x="1905" y="45375"/>
                      <a:pt x="4763" y="47280"/>
                    </a:cubicBezTo>
                    <a:close/>
                  </a:path>
                </a:pathLst>
              </a:custGeom>
              <a:grpFill/>
              <a:ln w="9525" cap="flat">
                <a:noFill/>
                <a:prstDash val="solid"/>
                <a:miter/>
              </a:ln>
            </p:spPr>
            <p:txBody>
              <a:bodyPr rtlCol="0" anchor="ctr"/>
              <a:lstStyle/>
              <a:p>
                <a:endParaRPr lang="en-GB" sz="1050"/>
              </a:p>
            </p:txBody>
          </p:sp>
          <p:sp>
            <p:nvSpPr>
              <p:cNvPr id="119" name="Freeform: Shape 118">
                <a:extLst>
                  <a:ext uri="{FF2B5EF4-FFF2-40B4-BE49-F238E27FC236}">
                    <a16:creationId xmlns:a16="http://schemas.microsoft.com/office/drawing/2014/main" id="{06DF5E9C-B82F-4DD9-905D-45E513173F8C}"/>
                  </a:ext>
                </a:extLst>
              </p:cNvPr>
              <p:cNvSpPr/>
              <p:nvPr/>
            </p:nvSpPr>
            <p:spPr>
              <a:xfrm>
                <a:off x="2311694" y="3344176"/>
                <a:ext cx="190500" cy="89535"/>
              </a:xfrm>
              <a:custGeom>
                <a:avLst/>
                <a:gdLst>
                  <a:gd name="connsiteX0" fmla="*/ 184785 w 190500"/>
                  <a:gd name="connsiteY0" fmla="*/ 39052 h 89535"/>
                  <a:gd name="connsiteX1" fmla="*/ 175260 w 190500"/>
                  <a:gd name="connsiteY1" fmla="*/ 31433 h 89535"/>
                  <a:gd name="connsiteX2" fmla="*/ 151448 w 190500"/>
                  <a:gd name="connsiteY2" fmla="*/ 12383 h 89535"/>
                  <a:gd name="connsiteX3" fmla="*/ 143827 w 190500"/>
                  <a:gd name="connsiteY3" fmla="*/ 5715 h 89535"/>
                  <a:gd name="connsiteX4" fmla="*/ 127635 w 190500"/>
                  <a:gd name="connsiteY4" fmla="*/ 7620 h 89535"/>
                  <a:gd name="connsiteX5" fmla="*/ 129540 w 190500"/>
                  <a:gd name="connsiteY5" fmla="*/ 23813 h 89535"/>
                  <a:gd name="connsiteX6" fmla="*/ 138113 w 190500"/>
                  <a:gd name="connsiteY6" fmla="*/ 30480 h 89535"/>
                  <a:gd name="connsiteX7" fmla="*/ 44768 w 190500"/>
                  <a:gd name="connsiteY7" fmla="*/ 0 h 89535"/>
                  <a:gd name="connsiteX8" fmla="*/ 0 w 190500"/>
                  <a:gd name="connsiteY8" fmla="*/ 11430 h 89535"/>
                  <a:gd name="connsiteX9" fmla="*/ 10477 w 190500"/>
                  <a:gd name="connsiteY9" fmla="*/ 19050 h 89535"/>
                  <a:gd name="connsiteX10" fmla="*/ 131445 w 190500"/>
                  <a:gd name="connsiteY10" fmla="*/ 63818 h 89535"/>
                  <a:gd name="connsiteX11" fmla="*/ 123825 w 190500"/>
                  <a:gd name="connsiteY11" fmla="*/ 68580 h 89535"/>
                  <a:gd name="connsiteX12" fmla="*/ 120015 w 190500"/>
                  <a:gd name="connsiteY12" fmla="*/ 83820 h 89535"/>
                  <a:gd name="connsiteX13" fmla="*/ 129540 w 190500"/>
                  <a:gd name="connsiteY13" fmla="*/ 89535 h 89535"/>
                  <a:gd name="connsiteX14" fmla="*/ 135255 w 190500"/>
                  <a:gd name="connsiteY14" fmla="*/ 87630 h 89535"/>
                  <a:gd name="connsiteX15" fmla="*/ 148590 w 190500"/>
                  <a:gd name="connsiteY15" fmla="*/ 80010 h 89535"/>
                  <a:gd name="connsiteX16" fmla="*/ 172402 w 190500"/>
                  <a:gd name="connsiteY16" fmla="*/ 65723 h 89535"/>
                  <a:gd name="connsiteX17" fmla="*/ 184785 w 190500"/>
                  <a:gd name="connsiteY17" fmla="*/ 58102 h 89535"/>
                  <a:gd name="connsiteX18" fmla="*/ 190500 w 190500"/>
                  <a:gd name="connsiteY18" fmla="*/ 49530 h 89535"/>
                  <a:gd name="connsiteX19" fmla="*/ 184785 w 190500"/>
                  <a:gd name="connsiteY19" fmla="*/ 39052 h 89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0500" h="89535">
                    <a:moveTo>
                      <a:pt x="184785" y="39052"/>
                    </a:moveTo>
                    <a:lnTo>
                      <a:pt x="175260" y="31433"/>
                    </a:lnTo>
                    <a:lnTo>
                      <a:pt x="151448" y="12383"/>
                    </a:lnTo>
                    <a:lnTo>
                      <a:pt x="143827" y="5715"/>
                    </a:lnTo>
                    <a:cubicBezTo>
                      <a:pt x="139065" y="1905"/>
                      <a:pt x="131445" y="2858"/>
                      <a:pt x="127635" y="7620"/>
                    </a:cubicBezTo>
                    <a:cubicBezTo>
                      <a:pt x="123825" y="12383"/>
                      <a:pt x="124777" y="20002"/>
                      <a:pt x="129540" y="23813"/>
                    </a:cubicBezTo>
                    <a:lnTo>
                      <a:pt x="138113" y="30480"/>
                    </a:lnTo>
                    <a:cubicBezTo>
                      <a:pt x="105727" y="26670"/>
                      <a:pt x="74295" y="16193"/>
                      <a:pt x="44768" y="0"/>
                    </a:cubicBezTo>
                    <a:cubicBezTo>
                      <a:pt x="30480" y="4763"/>
                      <a:pt x="15240" y="8573"/>
                      <a:pt x="0" y="11430"/>
                    </a:cubicBezTo>
                    <a:cubicBezTo>
                      <a:pt x="3810" y="14288"/>
                      <a:pt x="6668" y="16193"/>
                      <a:pt x="10477" y="19050"/>
                    </a:cubicBezTo>
                    <a:cubicBezTo>
                      <a:pt x="47625" y="43815"/>
                      <a:pt x="88582" y="59055"/>
                      <a:pt x="131445" y="63818"/>
                    </a:cubicBezTo>
                    <a:lnTo>
                      <a:pt x="123825" y="68580"/>
                    </a:lnTo>
                    <a:cubicBezTo>
                      <a:pt x="118110" y="71438"/>
                      <a:pt x="117157" y="79058"/>
                      <a:pt x="120015" y="83820"/>
                    </a:cubicBezTo>
                    <a:cubicBezTo>
                      <a:pt x="121920" y="87630"/>
                      <a:pt x="125730" y="89535"/>
                      <a:pt x="129540" y="89535"/>
                    </a:cubicBezTo>
                    <a:cubicBezTo>
                      <a:pt x="131445" y="89535"/>
                      <a:pt x="133350" y="88583"/>
                      <a:pt x="135255" y="87630"/>
                    </a:cubicBezTo>
                    <a:lnTo>
                      <a:pt x="148590" y="80010"/>
                    </a:lnTo>
                    <a:lnTo>
                      <a:pt x="172402" y="65723"/>
                    </a:lnTo>
                    <a:lnTo>
                      <a:pt x="184785" y="58102"/>
                    </a:lnTo>
                    <a:cubicBezTo>
                      <a:pt x="187643" y="56198"/>
                      <a:pt x="189548" y="53340"/>
                      <a:pt x="190500" y="49530"/>
                    </a:cubicBezTo>
                    <a:cubicBezTo>
                      <a:pt x="189548" y="44768"/>
                      <a:pt x="187643" y="40958"/>
                      <a:pt x="184785" y="39052"/>
                    </a:cubicBezTo>
                    <a:close/>
                  </a:path>
                </a:pathLst>
              </a:custGeom>
              <a:grpFill/>
              <a:ln w="9525" cap="flat">
                <a:noFill/>
                <a:prstDash val="solid"/>
                <a:miter/>
              </a:ln>
            </p:spPr>
            <p:txBody>
              <a:bodyPr rtlCol="0" anchor="ctr"/>
              <a:lstStyle/>
              <a:p>
                <a:endParaRPr lang="en-GB" sz="1050"/>
              </a:p>
            </p:txBody>
          </p:sp>
          <p:sp>
            <p:nvSpPr>
              <p:cNvPr id="120" name="Freeform: Shape 119">
                <a:extLst>
                  <a:ext uri="{FF2B5EF4-FFF2-40B4-BE49-F238E27FC236}">
                    <a16:creationId xmlns:a16="http://schemas.microsoft.com/office/drawing/2014/main" id="{02054F66-0ABA-4C6C-906C-5FD8A73B4C15}"/>
                  </a:ext>
                </a:extLst>
              </p:cNvPr>
              <p:cNvSpPr/>
              <p:nvPr/>
            </p:nvSpPr>
            <p:spPr>
              <a:xfrm>
                <a:off x="2460284" y="2953651"/>
                <a:ext cx="420156" cy="280987"/>
              </a:xfrm>
              <a:custGeom>
                <a:avLst/>
                <a:gdLst>
                  <a:gd name="connsiteX0" fmla="*/ 407670 w 420156"/>
                  <a:gd name="connsiteY0" fmla="*/ 953 h 280987"/>
                  <a:gd name="connsiteX1" fmla="*/ 401003 w 420156"/>
                  <a:gd name="connsiteY1" fmla="*/ 0 h 280987"/>
                  <a:gd name="connsiteX2" fmla="*/ 242888 w 420156"/>
                  <a:gd name="connsiteY2" fmla="*/ 0 h 280987"/>
                  <a:gd name="connsiteX3" fmla="*/ 199073 w 420156"/>
                  <a:gd name="connsiteY3" fmla="*/ 0 h 280987"/>
                  <a:gd name="connsiteX4" fmla="*/ 20003 w 420156"/>
                  <a:gd name="connsiteY4" fmla="*/ 0 h 280987"/>
                  <a:gd name="connsiteX5" fmla="*/ 13335 w 420156"/>
                  <a:gd name="connsiteY5" fmla="*/ 953 h 280987"/>
                  <a:gd name="connsiteX6" fmla="*/ 0 w 420156"/>
                  <a:gd name="connsiteY6" fmla="*/ 20003 h 280987"/>
                  <a:gd name="connsiteX7" fmla="*/ 0 w 420156"/>
                  <a:gd name="connsiteY7" fmla="*/ 27623 h 280987"/>
                  <a:gd name="connsiteX8" fmla="*/ 9525 w 420156"/>
                  <a:gd name="connsiteY8" fmla="*/ 40958 h 280987"/>
                  <a:gd name="connsiteX9" fmla="*/ 17145 w 420156"/>
                  <a:gd name="connsiteY9" fmla="*/ 53340 h 280987"/>
                  <a:gd name="connsiteX10" fmla="*/ 34290 w 420156"/>
                  <a:gd name="connsiteY10" fmla="*/ 88583 h 280987"/>
                  <a:gd name="connsiteX11" fmla="*/ 34290 w 420156"/>
                  <a:gd name="connsiteY11" fmla="*/ 33338 h 280987"/>
                  <a:gd name="connsiteX12" fmla="*/ 225743 w 420156"/>
                  <a:gd name="connsiteY12" fmla="*/ 33338 h 280987"/>
                  <a:gd name="connsiteX13" fmla="*/ 265748 w 420156"/>
                  <a:gd name="connsiteY13" fmla="*/ 33338 h 280987"/>
                  <a:gd name="connsiteX14" fmla="*/ 387668 w 420156"/>
                  <a:gd name="connsiteY14" fmla="*/ 33338 h 280987"/>
                  <a:gd name="connsiteX15" fmla="*/ 387668 w 420156"/>
                  <a:gd name="connsiteY15" fmla="*/ 248603 h 280987"/>
                  <a:gd name="connsiteX16" fmla="*/ 291465 w 420156"/>
                  <a:gd name="connsiteY16" fmla="*/ 248603 h 280987"/>
                  <a:gd name="connsiteX17" fmla="*/ 256223 w 420156"/>
                  <a:gd name="connsiteY17" fmla="*/ 248603 h 280987"/>
                  <a:gd name="connsiteX18" fmla="*/ 35243 w 420156"/>
                  <a:gd name="connsiteY18" fmla="*/ 248603 h 280987"/>
                  <a:gd name="connsiteX19" fmla="*/ 28575 w 420156"/>
                  <a:gd name="connsiteY19" fmla="*/ 263843 h 280987"/>
                  <a:gd name="connsiteX20" fmla="*/ 27623 w 420156"/>
                  <a:gd name="connsiteY20" fmla="*/ 264795 h 280987"/>
                  <a:gd name="connsiteX21" fmla="*/ 20003 w 420156"/>
                  <a:gd name="connsiteY21" fmla="*/ 280035 h 280987"/>
                  <a:gd name="connsiteX22" fmla="*/ 19050 w 420156"/>
                  <a:gd name="connsiteY22" fmla="*/ 280988 h 280987"/>
                  <a:gd name="connsiteX23" fmla="*/ 240983 w 420156"/>
                  <a:gd name="connsiteY23" fmla="*/ 280988 h 280987"/>
                  <a:gd name="connsiteX24" fmla="*/ 278130 w 420156"/>
                  <a:gd name="connsiteY24" fmla="*/ 280988 h 280987"/>
                  <a:gd name="connsiteX25" fmla="*/ 400050 w 420156"/>
                  <a:gd name="connsiteY25" fmla="*/ 280988 h 280987"/>
                  <a:gd name="connsiteX26" fmla="*/ 406718 w 420156"/>
                  <a:gd name="connsiteY26" fmla="*/ 280035 h 280987"/>
                  <a:gd name="connsiteX27" fmla="*/ 420053 w 420156"/>
                  <a:gd name="connsiteY27" fmla="*/ 260985 h 280987"/>
                  <a:gd name="connsiteX28" fmla="*/ 420053 w 420156"/>
                  <a:gd name="connsiteY28" fmla="*/ 20003 h 280987"/>
                  <a:gd name="connsiteX29" fmla="*/ 407670 w 420156"/>
                  <a:gd name="connsiteY29" fmla="*/ 953 h 28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20156" h="280987">
                    <a:moveTo>
                      <a:pt x="407670" y="953"/>
                    </a:moveTo>
                    <a:cubicBezTo>
                      <a:pt x="405765" y="0"/>
                      <a:pt x="402908" y="0"/>
                      <a:pt x="401003" y="0"/>
                    </a:cubicBezTo>
                    <a:lnTo>
                      <a:pt x="242888" y="0"/>
                    </a:lnTo>
                    <a:lnTo>
                      <a:pt x="199073" y="0"/>
                    </a:lnTo>
                    <a:lnTo>
                      <a:pt x="20003" y="0"/>
                    </a:lnTo>
                    <a:cubicBezTo>
                      <a:pt x="18098" y="0"/>
                      <a:pt x="15240" y="0"/>
                      <a:pt x="13335" y="953"/>
                    </a:cubicBezTo>
                    <a:cubicBezTo>
                      <a:pt x="5715" y="3810"/>
                      <a:pt x="0" y="11430"/>
                      <a:pt x="0" y="20003"/>
                    </a:cubicBezTo>
                    <a:lnTo>
                      <a:pt x="0" y="27623"/>
                    </a:lnTo>
                    <a:cubicBezTo>
                      <a:pt x="2858" y="31433"/>
                      <a:pt x="6668" y="36195"/>
                      <a:pt x="9525" y="40958"/>
                    </a:cubicBezTo>
                    <a:cubicBezTo>
                      <a:pt x="12383" y="44768"/>
                      <a:pt x="14288" y="48578"/>
                      <a:pt x="17145" y="53340"/>
                    </a:cubicBezTo>
                    <a:cubicBezTo>
                      <a:pt x="23813" y="64770"/>
                      <a:pt x="29528" y="76200"/>
                      <a:pt x="34290" y="88583"/>
                    </a:cubicBezTo>
                    <a:lnTo>
                      <a:pt x="34290" y="33338"/>
                    </a:lnTo>
                    <a:lnTo>
                      <a:pt x="225743" y="33338"/>
                    </a:lnTo>
                    <a:lnTo>
                      <a:pt x="265748" y="33338"/>
                    </a:lnTo>
                    <a:lnTo>
                      <a:pt x="387668" y="33338"/>
                    </a:lnTo>
                    <a:lnTo>
                      <a:pt x="387668" y="248603"/>
                    </a:lnTo>
                    <a:lnTo>
                      <a:pt x="291465" y="248603"/>
                    </a:lnTo>
                    <a:lnTo>
                      <a:pt x="256223" y="248603"/>
                    </a:lnTo>
                    <a:lnTo>
                      <a:pt x="35243" y="248603"/>
                    </a:lnTo>
                    <a:cubicBezTo>
                      <a:pt x="33338" y="254318"/>
                      <a:pt x="31433" y="259080"/>
                      <a:pt x="28575" y="263843"/>
                    </a:cubicBezTo>
                    <a:cubicBezTo>
                      <a:pt x="28575" y="263843"/>
                      <a:pt x="28575" y="264795"/>
                      <a:pt x="27623" y="264795"/>
                    </a:cubicBezTo>
                    <a:cubicBezTo>
                      <a:pt x="25718" y="270510"/>
                      <a:pt x="22860" y="275273"/>
                      <a:pt x="20003" y="280035"/>
                    </a:cubicBezTo>
                    <a:cubicBezTo>
                      <a:pt x="20003" y="280035"/>
                      <a:pt x="20003" y="280988"/>
                      <a:pt x="19050" y="280988"/>
                    </a:cubicBezTo>
                    <a:lnTo>
                      <a:pt x="240983" y="280988"/>
                    </a:lnTo>
                    <a:lnTo>
                      <a:pt x="278130" y="280988"/>
                    </a:lnTo>
                    <a:lnTo>
                      <a:pt x="400050" y="280988"/>
                    </a:lnTo>
                    <a:cubicBezTo>
                      <a:pt x="401955" y="280988"/>
                      <a:pt x="404813" y="280988"/>
                      <a:pt x="406718" y="280035"/>
                    </a:cubicBezTo>
                    <a:cubicBezTo>
                      <a:pt x="414338" y="277178"/>
                      <a:pt x="420053" y="269558"/>
                      <a:pt x="420053" y="260985"/>
                    </a:cubicBezTo>
                    <a:lnTo>
                      <a:pt x="420053" y="20003"/>
                    </a:lnTo>
                    <a:cubicBezTo>
                      <a:pt x="421005" y="11430"/>
                      <a:pt x="415290" y="3810"/>
                      <a:pt x="407670" y="953"/>
                    </a:cubicBezTo>
                    <a:close/>
                  </a:path>
                </a:pathLst>
              </a:custGeom>
              <a:grpFill/>
              <a:ln w="9525" cap="flat">
                <a:noFill/>
                <a:prstDash val="solid"/>
                <a:miter/>
              </a:ln>
            </p:spPr>
            <p:txBody>
              <a:bodyPr rtlCol="0" anchor="ctr"/>
              <a:lstStyle/>
              <a:p>
                <a:endParaRPr lang="en-GB" sz="1050"/>
              </a:p>
            </p:txBody>
          </p:sp>
          <p:sp>
            <p:nvSpPr>
              <p:cNvPr id="121" name="Freeform: Shape 120">
                <a:extLst>
                  <a:ext uri="{FF2B5EF4-FFF2-40B4-BE49-F238E27FC236}">
                    <a16:creationId xmlns:a16="http://schemas.microsoft.com/office/drawing/2014/main" id="{5DEC71E7-FD14-4EEC-B8A5-4A4FF92BBC58}"/>
                  </a:ext>
                </a:extLst>
              </p:cNvPr>
              <p:cNvSpPr/>
              <p:nvPr/>
            </p:nvSpPr>
            <p:spPr>
              <a:xfrm>
                <a:off x="2573632" y="3250831"/>
                <a:ext cx="196214" cy="60007"/>
              </a:xfrm>
              <a:custGeom>
                <a:avLst/>
                <a:gdLst>
                  <a:gd name="connsiteX0" fmla="*/ 178117 w 196214"/>
                  <a:gd name="connsiteY0" fmla="*/ 25718 h 60007"/>
                  <a:gd name="connsiteX1" fmla="*/ 159067 w 196214"/>
                  <a:gd name="connsiteY1" fmla="*/ 25718 h 60007"/>
                  <a:gd name="connsiteX2" fmla="*/ 159067 w 196214"/>
                  <a:gd name="connsiteY2" fmla="*/ 14288 h 60007"/>
                  <a:gd name="connsiteX3" fmla="*/ 159067 w 196214"/>
                  <a:gd name="connsiteY3" fmla="*/ 0 h 60007"/>
                  <a:gd name="connsiteX4" fmla="*/ 159067 w 196214"/>
                  <a:gd name="connsiteY4" fmla="*/ 0 h 60007"/>
                  <a:gd name="connsiteX5" fmla="*/ 159067 w 196214"/>
                  <a:gd name="connsiteY5" fmla="*/ 0 h 60007"/>
                  <a:gd name="connsiteX6" fmla="*/ 120967 w 196214"/>
                  <a:gd name="connsiteY6" fmla="*/ 0 h 60007"/>
                  <a:gd name="connsiteX7" fmla="*/ 36195 w 196214"/>
                  <a:gd name="connsiteY7" fmla="*/ 0 h 60007"/>
                  <a:gd name="connsiteX8" fmla="*/ 36195 w 196214"/>
                  <a:gd name="connsiteY8" fmla="*/ 0 h 60007"/>
                  <a:gd name="connsiteX9" fmla="*/ 36195 w 196214"/>
                  <a:gd name="connsiteY9" fmla="*/ 14288 h 60007"/>
                  <a:gd name="connsiteX10" fmla="*/ 36195 w 196214"/>
                  <a:gd name="connsiteY10" fmla="*/ 25718 h 60007"/>
                  <a:gd name="connsiteX11" fmla="*/ 17145 w 196214"/>
                  <a:gd name="connsiteY11" fmla="*/ 25718 h 60007"/>
                  <a:gd name="connsiteX12" fmla="*/ 0 w 196214"/>
                  <a:gd name="connsiteY12" fmla="*/ 42863 h 60007"/>
                  <a:gd name="connsiteX13" fmla="*/ 17145 w 196214"/>
                  <a:gd name="connsiteY13" fmla="*/ 60007 h 60007"/>
                  <a:gd name="connsiteX14" fmla="*/ 73342 w 196214"/>
                  <a:gd name="connsiteY14" fmla="*/ 60007 h 60007"/>
                  <a:gd name="connsiteX15" fmla="*/ 120015 w 196214"/>
                  <a:gd name="connsiteY15" fmla="*/ 60007 h 60007"/>
                  <a:gd name="connsiteX16" fmla="*/ 179070 w 196214"/>
                  <a:gd name="connsiteY16" fmla="*/ 60007 h 60007"/>
                  <a:gd name="connsiteX17" fmla="*/ 196215 w 196214"/>
                  <a:gd name="connsiteY17" fmla="*/ 42863 h 60007"/>
                  <a:gd name="connsiteX18" fmla="*/ 178117 w 196214"/>
                  <a:gd name="connsiteY18" fmla="*/ 25718 h 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4" h="60007">
                    <a:moveTo>
                      <a:pt x="178117" y="25718"/>
                    </a:moveTo>
                    <a:lnTo>
                      <a:pt x="159067" y="25718"/>
                    </a:lnTo>
                    <a:lnTo>
                      <a:pt x="159067" y="14288"/>
                    </a:lnTo>
                    <a:lnTo>
                      <a:pt x="159067" y="0"/>
                    </a:lnTo>
                    <a:lnTo>
                      <a:pt x="159067" y="0"/>
                    </a:lnTo>
                    <a:lnTo>
                      <a:pt x="159067" y="0"/>
                    </a:lnTo>
                    <a:lnTo>
                      <a:pt x="120967" y="0"/>
                    </a:lnTo>
                    <a:lnTo>
                      <a:pt x="36195" y="0"/>
                    </a:lnTo>
                    <a:lnTo>
                      <a:pt x="36195" y="0"/>
                    </a:lnTo>
                    <a:lnTo>
                      <a:pt x="36195" y="14288"/>
                    </a:lnTo>
                    <a:lnTo>
                      <a:pt x="36195" y="25718"/>
                    </a:lnTo>
                    <a:lnTo>
                      <a:pt x="17145" y="25718"/>
                    </a:lnTo>
                    <a:cubicBezTo>
                      <a:pt x="7620" y="25718"/>
                      <a:pt x="0" y="33338"/>
                      <a:pt x="0" y="42863"/>
                    </a:cubicBezTo>
                    <a:cubicBezTo>
                      <a:pt x="0" y="52388"/>
                      <a:pt x="7620" y="60007"/>
                      <a:pt x="17145" y="60007"/>
                    </a:cubicBezTo>
                    <a:lnTo>
                      <a:pt x="73342" y="60007"/>
                    </a:lnTo>
                    <a:lnTo>
                      <a:pt x="120015" y="60007"/>
                    </a:lnTo>
                    <a:lnTo>
                      <a:pt x="179070" y="60007"/>
                    </a:lnTo>
                    <a:cubicBezTo>
                      <a:pt x="188595" y="60007"/>
                      <a:pt x="196215" y="52388"/>
                      <a:pt x="196215" y="42863"/>
                    </a:cubicBezTo>
                    <a:cubicBezTo>
                      <a:pt x="195263" y="33338"/>
                      <a:pt x="187642" y="25718"/>
                      <a:pt x="178117" y="25718"/>
                    </a:cubicBezTo>
                    <a:close/>
                  </a:path>
                </a:pathLst>
              </a:custGeom>
              <a:grpFill/>
              <a:ln w="9525" cap="flat">
                <a:noFill/>
                <a:prstDash val="solid"/>
                <a:miter/>
              </a:ln>
            </p:spPr>
            <p:txBody>
              <a:bodyPr rtlCol="0" anchor="ctr"/>
              <a:lstStyle/>
              <a:p>
                <a:endParaRPr lang="en-GB" sz="1050"/>
              </a:p>
            </p:txBody>
          </p:sp>
          <p:sp>
            <p:nvSpPr>
              <p:cNvPr id="122" name="Freeform: Shape 121">
                <a:extLst>
                  <a:ext uri="{FF2B5EF4-FFF2-40B4-BE49-F238E27FC236}">
                    <a16:creationId xmlns:a16="http://schemas.microsoft.com/office/drawing/2014/main" id="{23A9F659-28F2-4A12-8B40-2D47B755E139}"/>
                  </a:ext>
                </a:extLst>
              </p:cNvPr>
              <p:cNvSpPr/>
              <p:nvPr/>
            </p:nvSpPr>
            <p:spPr>
              <a:xfrm>
                <a:off x="2056424" y="2905074"/>
                <a:ext cx="438150" cy="438150"/>
              </a:xfrm>
              <a:custGeom>
                <a:avLst/>
                <a:gdLst>
                  <a:gd name="connsiteX0" fmla="*/ 398145 w 438150"/>
                  <a:gd name="connsiteY0" fmla="*/ 346710 h 438150"/>
                  <a:gd name="connsiteX1" fmla="*/ 408623 w 438150"/>
                  <a:gd name="connsiteY1" fmla="*/ 329565 h 438150"/>
                  <a:gd name="connsiteX2" fmla="*/ 410528 w 438150"/>
                  <a:gd name="connsiteY2" fmla="*/ 325755 h 438150"/>
                  <a:gd name="connsiteX3" fmla="*/ 417195 w 438150"/>
                  <a:gd name="connsiteY3" fmla="*/ 312420 h 438150"/>
                  <a:gd name="connsiteX4" fmla="*/ 420053 w 438150"/>
                  <a:gd name="connsiteY4" fmla="*/ 305753 h 438150"/>
                  <a:gd name="connsiteX5" fmla="*/ 437198 w 438150"/>
                  <a:gd name="connsiteY5" fmla="*/ 241935 h 438150"/>
                  <a:gd name="connsiteX6" fmla="*/ 438150 w 438150"/>
                  <a:gd name="connsiteY6" fmla="*/ 219075 h 438150"/>
                  <a:gd name="connsiteX7" fmla="*/ 437198 w 438150"/>
                  <a:gd name="connsiteY7" fmla="*/ 196215 h 438150"/>
                  <a:gd name="connsiteX8" fmla="*/ 420053 w 438150"/>
                  <a:gd name="connsiteY8" fmla="*/ 132398 h 438150"/>
                  <a:gd name="connsiteX9" fmla="*/ 412433 w 438150"/>
                  <a:gd name="connsiteY9" fmla="*/ 117157 h 438150"/>
                  <a:gd name="connsiteX10" fmla="*/ 402908 w 438150"/>
                  <a:gd name="connsiteY10" fmla="*/ 100965 h 438150"/>
                  <a:gd name="connsiteX11" fmla="*/ 395288 w 438150"/>
                  <a:gd name="connsiteY11" fmla="*/ 90488 h 438150"/>
                  <a:gd name="connsiteX12" fmla="*/ 378143 w 438150"/>
                  <a:gd name="connsiteY12" fmla="*/ 70485 h 438150"/>
                  <a:gd name="connsiteX13" fmla="*/ 285750 w 438150"/>
                  <a:gd name="connsiteY13" fmla="*/ 11430 h 438150"/>
                  <a:gd name="connsiteX14" fmla="*/ 241935 w 438150"/>
                  <a:gd name="connsiteY14" fmla="*/ 1905 h 438150"/>
                  <a:gd name="connsiteX15" fmla="*/ 219075 w 438150"/>
                  <a:gd name="connsiteY15" fmla="*/ 0 h 438150"/>
                  <a:gd name="connsiteX16" fmla="*/ 0 w 438150"/>
                  <a:gd name="connsiteY16" fmla="*/ 219075 h 438150"/>
                  <a:gd name="connsiteX17" fmla="*/ 219075 w 438150"/>
                  <a:gd name="connsiteY17" fmla="*/ 438150 h 438150"/>
                  <a:gd name="connsiteX18" fmla="*/ 239078 w 438150"/>
                  <a:gd name="connsiteY18" fmla="*/ 437198 h 438150"/>
                  <a:gd name="connsiteX19" fmla="*/ 283845 w 438150"/>
                  <a:gd name="connsiteY19" fmla="*/ 428625 h 438150"/>
                  <a:gd name="connsiteX20" fmla="*/ 398145 w 438150"/>
                  <a:gd name="connsiteY20" fmla="*/ 346710 h 438150"/>
                  <a:gd name="connsiteX21" fmla="*/ 127635 w 438150"/>
                  <a:gd name="connsiteY21" fmla="*/ 236220 h 438150"/>
                  <a:gd name="connsiteX22" fmla="*/ 139065 w 438150"/>
                  <a:gd name="connsiteY22" fmla="*/ 236220 h 438150"/>
                  <a:gd name="connsiteX23" fmla="*/ 173355 w 438150"/>
                  <a:gd name="connsiteY23" fmla="*/ 236220 h 438150"/>
                  <a:gd name="connsiteX24" fmla="*/ 202883 w 438150"/>
                  <a:gd name="connsiteY24" fmla="*/ 236220 h 438150"/>
                  <a:gd name="connsiteX25" fmla="*/ 202883 w 438150"/>
                  <a:gd name="connsiteY25" fmla="*/ 300038 h 438150"/>
                  <a:gd name="connsiteX26" fmla="*/ 185738 w 438150"/>
                  <a:gd name="connsiteY26" fmla="*/ 300990 h 438150"/>
                  <a:gd name="connsiteX27" fmla="*/ 151448 w 438150"/>
                  <a:gd name="connsiteY27" fmla="*/ 304800 h 438150"/>
                  <a:gd name="connsiteX28" fmla="*/ 138113 w 438150"/>
                  <a:gd name="connsiteY28" fmla="*/ 306705 h 438150"/>
                  <a:gd name="connsiteX29" fmla="*/ 127635 w 438150"/>
                  <a:gd name="connsiteY29" fmla="*/ 236220 h 438150"/>
                  <a:gd name="connsiteX30" fmla="*/ 138113 w 438150"/>
                  <a:gd name="connsiteY30" fmla="*/ 131445 h 438150"/>
                  <a:gd name="connsiteX31" fmla="*/ 152400 w 438150"/>
                  <a:gd name="connsiteY31" fmla="*/ 133350 h 438150"/>
                  <a:gd name="connsiteX32" fmla="*/ 186690 w 438150"/>
                  <a:gd name="connsiteY32" fmla="*/ 137160 h 438150"/>
                  <a:gd name="connsiteX33" fmla="*/ 201930 w 438150"/>
                  <a:gd name="connsiteY33" fmla="*/ 138113 h 438150"/>
                  <a:gd name="connsiteX34" fmla="*/ 201930 w 438150"/>
                  <a:gd name="connsiteY34" fmla="*/ 201930 h 438150"/>
                  <a:gd name="connsiteX35" fmla="*/ 172403 w 438150"/>
                  <a:gd name="connsiteY35" fmla="*/ 201930 h 438150"/>
                  <a:gd name="connsiteX36" fmla="*/ 138113 w 438150"/>
                  <a:gd name="connsiteY36" fmla="*/ 201930 h 438150"/>
                  <a:gd name="connsiteX37" fmla="*/ 126683 w 438150"/>
                  <a:gd name="connsiteY37" fmla="*/ 201930 h 438150"/>
                  <a:gd name="connsiteX38" fmla="*/ 138113 w 438150"/>
                  <a:gd name="connsiteY38" fmla="*/ 131445 h 438150"/>
                  <a:gd name="connsiteX39" fmla="*/ 311468 w 438150"/>
                  <a:gd name="connsiteY39" fmla="*/ 201930 h 438150"/>
                  <a:gd name="connsiteX40" fmla="*/ 236220 w 438150"/>
                  <a:gd name="connsiteY40" fmla="*/ 201930 h 438150"/>
                  <a:gd name="connsiteX41" fmla="*/ 236220 w 438150"/>
                  <a:gd name="connsiteY41" fmla="*/ 138113 h 438150"/>
                  <a:gd name="connsiteX42" fmla="*/ 300038 w 438150"/>
                  <a:gd name="connsiteY42" fmla="*/ 131445 h 438150"/>
                  <a:gd name="connsiteX43" fmla="*/ 311468 w 438150"/>
                  <a:gd name="connsiteY43" fmla="*/ 201930 h 438150"/>
                  <a:gd name="connsiteX44" fmla="*/ 380048 w 438150"/>
                  <a:gd name="connsiteY44" fmla="*/ 236220 h 438150"/>
                  <a:gd name="connsiteX45" fmla="*/ 397193 w 438150"/>
                  <a:gd name="connsiteY45" fmla="*/ 236220 h 438150"/>
                  <a:gd name="connsiteX46" fmla="*/ 404813 w 438150"/>
                  <a:gd name="connsiteY46" fmla="*/ 236220 h 438150"/>
                  <a:gd name="connsiteX47" fmla="*/ 404813 w 438150"/>
                  <a:gd name="connsiteY47" fmla="*/ 236220 h 438150"/>
                  <a:gd name="connsiteX48" fmla="*/ 404813 w 438150"/>
                  <a:gd name="connsiteY48" fmla="*/ 240030 h 438150"/>
                  <a:gd name="connsiteX49" fmla="*/ 397193 w 438150"/>
                  <a:gd name="connsiteY49" fmla="*/ 275273 h 438150"/>
                  <a:gd name="connsiteX50" fmla="*/ 380048 w 438150"/>
                  <a:gd name="connsiteY50" fmla="*/ 313373 h 438150"/>
                  <a:gd name="connsiteX51" fmla="*/ 372428 w 438150"/>
                  <a:gd name="connsiteY51" fmla="*/ 324803 h 438150"/>
                  <a:gd name="connsiteX52" fmla="*/ 333375 w 438150"/>
                  <a:gd name="connsiteY52" fmla="*/ 313373 h 438150"/>
                  <a:gd name="connsiteX53" fmla="*/ 344805 w 438150"/>
                  <a:gd name="connsiteY53" fmla="*/ 236220 h 438150"/>
                  <a:gd name="connsiteX54" fmla="*/ 380048 w 438150"/>
                  <a:gd name="connsiteY54" fmla="*/ 236220 h 438150"/>
                  <a:gd name="connsiteX55" fmla="*/ 300990 w 438150"/>
                  <a:gd name="connsiteY55" fmla="*/ 306705 h 438150"/>
                  <a:gd name="connsiteX56" fmla="*/ 237173 w 438150"/>
                  <a:gd name="connsiteY56" fmla="*/ 300038 h 438150"/>
                  <a:gd name="connsiteX57" fmla="*/ 237173 w 438150"/>
                  <a:gd name="connsiteY57" fmla="*/ 236220 h 438150"/>
                  <a:gd name="connsiteX58" fmla="*/ 312420 w 438150"/>
                  <a:gd name="connsiteY58" fmla="*/ 236220 h 438150"/>
                  <a:gd name="connsiteX59" fmla="*/ 300990 w 438150"/>
                  <a:gd name="connsiteY59" fmla="*/ 306705 h 438150"/>
                  <a:gd name="connsiteX60" fmla="*/ 236220 w 438150"/>
                  <a:gd name="connsiteY60" fmla="*/ 387667 h 438150"/>
                  <a:gd name="connsiteX61" fmla="*/ 236220 w 438150"/>
                  <a:gd name="connsiteY61" fmla="*/ 334328 h 438150"/>
                  <a:gd name="connsiteX62" fmla="*/ 289560 w 438150"/>
                  <a:gd name="connsiteY62" fmla="*/ 339090 h 438150"/>
                  <a:gd name="connsiteX63" fmla="*/ 281940 w 438150"/>
                  <a:gd name="connsiteY63" fmla="*/ 354330 h 438150"/>
                  <a:gd name="connsiteX64" fmla="*/ 245745 w 438150"/>
                  <a:gd name="connsiteY64" fmla="*/ 397192 h 438150"/>
                  <a:gd name="connsiteX65" fmla="*/ 237173 w 438150"/>
                  <a:gd name="connsiteY65" fmla="*/ 401955 h 438150"/>
                  <a:gd name="connsiteX66" fmla="*/ 236220 w 438150"/>
                  <a:gd name="connsiteY66" fmla="*/ 387667 h 438150"/>
                  <a:gd name="connsiteX67" fmla="*/ 236220 w 438150"/>
                  <a:gd name="connsiteY67" fmla="*/ 104775 h 438150"/>
                  <a:gd name="connsiteX68" fmla="*/ 236220 w 438150"/>
                  <a:gd name="connsiteY68" fmla="*/ 54293 h 438150"/>
                  <a:gd name="connsiteX69" fmla="*/ 236220 w 438150"/>
                  <a:gd name="connsiteY69" fmla="*/ 37147 h 438150"/>
                  <a:gd name="connsiteX70" fmla="*/ 246697 w 438150"/>
                  <a:gd name="connsiteY70" fmla="*/ 42863 h 438150"/>
                  <a:gd name="connsiteX71" fmla="*/ 280988 w 438150"/>
                  <a:gd name="connsiteY71" fmla="*/ 83820 h 438150"/>
                  <a:gd name="connsiteX72" fmla="*/ 288608 w 438150"/>
                  <a:gd name="connsiteY72" fmla="*/ 99060 h 438150"/>
                  <a:gd name="connsiteX73" fmla="*/ 236220 w 438150"/>
                  <a:gd name="connsiteY73" fmla="*/ 104775 h 438150"/>
                  <a:gd name="connsiteX74" fmla="*/ 157163 w 438150"/>
                  <a:gd name="connsiteY74" fmla="*/ 83820 h 438150"/>
                  <a:gd name="connsiteX75" fmla="*/ 202883 w 438150"/>
                  <a:gd name="connsiteY75" fmla="*/ 37147 h 438150"/>
                  <a:gd name="connsiteX76" fmla="*/ 202883 w 438150"/>
                  <a:gd name="connsiteY76" fmla="*/ 41910 h 438150"/>
                  <a:gd name="connsiteX77" fmla="*/ 202883 w 438150"/>
                  <a:gd name="connsiteY77" fmla="*/ 101918 h 438150"/>
                  <a:gd name="connsiteX78" fmla="*/ 202883 w 438150"/>
                  <a:gd name="connsiteY78" fmla="*/ 103823 h 438150"/>
                  <a:gd name="connsiteX79" fmla="*/ 201930 w 438150"/>
                  <a:gd name="connsiteY79" fmla="*/ 103823 h 438150"/>
                  <a:gd name="connsiteX80" fmla="*/ 165735 w 438150"/>
                  <a:gd name="connsiteY80" fmla="*/ 100965 h 438150"/>
                  <a:gd name="connsiteX81" fmla="*/ 150495 w 438150"/>
                  <a:gd name="connsiteY81" fmla="*/ 99060 h 438150"/>
                  <a:gd name="connsiteX82" fmla="*/ 157163 w 438150"/>
                  <a:gd name="connsiteY82" fmla="*/ 83820 h 438150"/>
                  <a:gd name="connsiteX83" fmla="*/ 163830 w 438150"/>
                  <a:gd name="connsiteY83" fmla="*/ 337185 h 438150"/>
                  <a:gd name="connsiteX84" fmla="*/ 200025 w 438150"/>
                  <a:gd name="connsiteY84" fmla="*/ 334328 h 438150"/>
                  <a:gd name="connsiteX85" fmla="*/ 202883 w 438150"/>
                  <a:gd name="connsiteY85" fmla="*/ 334328 h 438150"/>
                  <a:gd name="connsiteX86" fmla="*/ 202883 w 438150"/>
                  <a:gd name="connsiteY86" fmla="*/ 340043 h 438150"/>
                  <a:gd name="connsiteX87" fmla="*/ 202883 w 438150"/>
                  <a:gd name="connsiteY87" fmla="*/ 362903 h 438150"/>
                  <a:gd name="connsiteX88" fmla="*/ 202883 w 438150"/>
                  <a:gd name="connsiteY88" fmla="*/ 400050 h 438150"/>
                  <a:gd name="connsiteX89" fmla="*/ 202883 w 438150"/>
                  <a:gd name="connsiteY89" fmla="*/ 401955 h 438150"/>
                  <a:gd name="connsiteX90" fmla="*/ 157163 w 438150"/>
                  <a:gd name="connsiteY90" fmla="*/ 355283 h 438150"/>
                  <a:gd name="connsiteX91" fmla="*/ 149543 w 438150"/>
                  <a:gd name="connsiteY91" fmla="*/ 340043 h 438150"/>
                  <a:gd name="connsiteX92" fmla="*/ 163830 w 438150"/>
                  <a:gd name="connsiteY92" fmla="*/ 337185 h 438150"/>
                  <a:gd name="connsiteX93" fmla="*/ 302895 w 438150"/>
                  <a:gd name="connsiteY93" fmla="*/ 384810 h 438150"/>
                  <a:gd name="connsiteX94" fmla="*/ 322898 w 438150"/>
                  <a:gd name="connsiteY94" fmla="*/ 344805 h 438150"/>
                  <a:gd name="connsiteX95" fmla="*/ 348615 w 438150"/>
                  <a:gd name="connsiteY95" fmla="*/ 351473 h 438150"/>
                  <a:gd name="connsiteX96" fmla="*/ 302895 w 438150"/>
                  <a:gd name="connsiteY96" fmla="*/ 384810 h 438150"/>
                  <a:gd name="connsiteX97" fmla="*/ 403860 w 438150"/>
                  <a:gd name="connsiteY97" fmla="*/ 198120 h 438150"/>
                  <a:gd name="connsiteX98" fmla="*/ 403860 w 438150"/>
                  <a:gd name="connsiteY98" fmla="*/ 201930 h 438150"/>
                  <a:gd name="connsiteX99" fmla="*/ 403860 w 438150"/>
                  <a:gd name="connsiteY99" fmla="*/ 201930 h 438150"/>
                  <a:gd name="connsiteX100" fmla="*/ 396240 w 438150"/>
                  <a:gd name="connsiteY100" fmla="*/ 201930 h 438150"/>
                  <a:gd name="connsiteX101" fmla="*/ 379095 w 438150"/>
                  <a:gd name="connsiteY101" fmla="*/ 201930 h 438150"/>
                  <a:gd name="connsiteX102" fmla="*/ 344805 w 438150"/>
                  <a:gd name="connsiteY102" fmla="*/ 201930 h 438150"/>
                  <a:gd name="connsiteX103" fmla="*/ 333375 w 438150"/>
                  <a:gd name="connsiteY103" fmla="*/ 124777 h 438150"/>
                  <a:gd name="connsiteX104" fmla="*/ 372428 w 438150"/>
                  <a:gd name="connsiteY104" fmla="*/ 113348 h 438150"/>
                  <a:gd name="connsiteX105" fmla="*/ 380048 w 438150"/>
                  <a:gd name="connsiteY105" fmla="*/ 124777 h 438150"/>
                  <a:gd name="connsiteX106" fmla="*/ 397193 w 438150"/>
                  <a:gd name="connsiteY106" fmla="*/ 162877 h 438150"/>
                  <a:gd name="connsiteX107" fmla="*/ 403860 w 438150"/>
                  <a:gd name="connsiteY107" fmla="*/ 198120 h 438150"/>
                  <a:gd name="connsiteX108" fmla="*/ 348615 w 438150"/>
                  <a:gd name="connsiteY108" fmla="*/ 85725 h 438150"/>
                  <a:gd name="connsiteX109" fmla="*/ 322898 w 438150"/>
                  <a:gd name="connsiteY109" fmla="*/ 92393 h 438150"/>
                  <a:gd name="connsiteX110" fmla="*/ 302895 w 438150"/>
                  <a:gd name="connsiteY110" fmla="*/ 52388 h 438150"/>
                  <a:gd name="connsiteX111" fmla="*/ 348615 w 438150"/>
                  <a:gd name="connsiteY111" fmla="*/ 85725 h 438150"/>
                  <a:gd name="connsiteX112" fmla="*/ 136208 w 438150"/>
                  <a:gd name="connsiteY112" fmla="*/ 53340 h 438150"/>
                  <a:gd name="connsiteX113" fmla="*/ 116205 w 438150"/>
                  <a:gd name="connsiteY113" fmla="*/ 93345 h 438150"/>
                  <a:gd name="connsiteX114" fmla="*/ 90488 w 438150"/>
                  <a:gd name="connsiteY114" fmla="*/ 86677 h 438150"/>
                  <a:gd name="connsiteX115" fmla="*/ 136208 w 438150"/>
                  <a:gd name="connsiteY115" fmla="*/ 53340 h 438150"/>
                  <a:gd name="connsiteX116" fmla="*/ 66675 w 438150"/>
                  <a:gd name="connsiteY116" fmla="*/ 113348 h 438150"/>
                  <a:gd name="connsiteX117" fmla="*/ 105727 w 438150"/>
                  <a:gd name="connsiteY117" fmla="*/ 124777 h 438150"/>
                  <a:gd name="connsiteX118" fmla="*/ 94298 w 438150"/>
                  <a:gd name="connsiteY118" fmla="*/ 201930 h 438150"/>
                  <a:gd name="connsiteX119" fmla="*/ 35243 w 438150"/>
                  <a:gd name="connsiteY119" fmla="*/ 201930 h 438150"/>
                  <a:gd name="connsiteX120" fmla="*/ 66675 w 438150"/>
                  <a:gd name="connsiteY120" fmla="*/ 113348 h 438150"/>
                  <a:gd name="connsiteX121" fmla="*/ 94298 w 438150"/>
                  <a:gd name="connsiteY121" fmla="*/ 236220 h 438150"/>
                  <a:gd name="connsiteX122" fmla="*/ 105727 w 438150"/>
                  <a:gd name="connsiteY122" fmla="*/ 313373 h 438150"/>
                  <a:gd name="connsiteX123" fmla="*/ 66675 w 438150"/>
                  <a:gd name="connsiteY123" fmla="*/ 324803 h 438150"/>
                  <a:gd name="connsiteX124" fmla="*/ 34290 w 438150"/>
                  <a:gd name="connsiteY124" fmla="*/ 236220 h 438150"/>
                  <a:gd name="connsiteX125" fmla="*/ 94298 w 438150"/>
                  <a:gd name="connsiteY125" fmla="*/ 236220 h 438150"/>
                  <a:gd name="connsiteX126" fmla="*/ 90488 w 438150"/>
                  <a:gd name="connsiteY126" fmla="*/ 352425 h 438150"/>
                  <a:gd name="connsiteX127" fmla="*/ 116205 w 438150"/>
                  <a:gd name="connsiteY127" fmla="*/ 345758 h 438150"/>
                  <a:gd name="connsiteX128" fmla="*/ 136208 w 438150"/>
                  <a:gd name="connsiteY128" fmla="*/ 385763 h 438150"/>
                  <a:gd name="connsiteX129" fmla="*/ 90488 w 438150"/>
                  <a:gd name="connsiteY129" fmla="*/ 352425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438150" h="438150">
                    <a:moveTo>
                      <a:pt x="398145" y="346710"/>
                    </a:moveTo>
                    <a:cubicBezTo>
                      <a:pt x="401955" y="340995"/>
                      <a:pt x="405765" y="335280"/>
                      <a:pt x="408623" y="329565"/>
                    </a:cubicBezTo>
                    <a:cubicBezTo>
                      <a:pt x="409575" y="328613"/>
                      <a:pt x="409575" y="326708"/>
                      <a:pt x="410528" y="325755"/>
                    </a:cubicBezTo>
                    <a:cubicBezTo>
                      <a:pt x="413385" y="320993"/>
                      <a:pt x="415290" y="317183"/>
                      <a:pt x="417195" y="312420"/>
                    </a:cubicBezTo>
                    <a:cubicBezTo>
                      <a:pt x="418148" y="310515"/>
                      <a:pt x="419100" y="307658"/>
                      <a:pt x="420053" y="305753"/>
                    </a:cubicBezTo>
                    <a:cubicBezTo>
                      <a:pt x="428625" y="285750"/>
                      <a:pt x="434340" y="263843"/>
                      <a:pt x="437198" y="241935"/>
                    </a:cubicBezTo>
                    <a:cubicBezTo>
                      <a:pt x="438150" y="234315"/>
                      <a:pt x="438150" y="226695"/>
                      <a:pt x="438150" y="219075"/>
                    </a:cubicBezTo>
                    <a:cubicBezTo>
                      <a:pt x="438150" y="211455"/>
                      <a:pt x="438150" y="203835"/>
                      <a:pt x="437198" y="196215"/>
                    </a:cubicBezTo>
                    <a:cubicBezTo>
                      <a:pt x="435293" y="173355"/>
                      <a:pt x="428625" y="152400"/>
                      <a:pt x="420053" y="132398"/>
                    </a:cubicBezTo>
                    <a:cubicBezTo>
                      <a:pt x="418148" y="126682"/>
                      <a:pt x="415290" y="121920"/>
                      <a:pt x="412433" y="117157"/>
                    </a:cubicBezTo>
                    <a:cubicBezTo>
                      <a:pt x="409575" y="111443"/>
                      <a:pt x="406718" y="106680"/>
                      <a:pt x="402908" y="100965"/>
                    </a:cubicBezTo>
                    <a:cubicBezTo>
                      <a:pt x="400050" y="97155"/>
                      <a:pt x="398145" y="93345"/>
                      <a:pt x="395288" y="90488"/>
                    </a:cubicBezTo>
                    <a:cubicBezTo>
                      <a:pt x="390525" y="83820"/>
                      <a:pt x="384810" y="76200"/>
                      <a:pt x="378143" y="70485"/>
                    </a:cubicBezTo>
                    <a:cubicBezTo>
                      <a:pt x="353378" y="43815"/>
                      <a:pt x="321945" y="22860"/>
                      <a:pt x="285750" y="11430"/>
                    </a:cubicBezTo>
                    <a:cubicBezTo>
                      <a:pt x="271463" y="6668"/>
                      <a:pt x="257175" y="3810"/>
                      <a:pt x="241935" y="1905"/>
                    </a:cubicBezTo>
                    <a:cubicBezTo>
                      <a:pt x="235268" y="0"/>
                      <a:pt x="227648" y="0"/>
                      <a:pt x="219075" y="0"/>
                    </a:cubicBezTo>
                    <a:cubicBezTo>
                      <a:pt x="98108" y="0"/>
                      <a:pt x="0" y="98107"/>
                      <a:pt x="0" y="219075"/>
                    </a:cubicBezTo>
                    <a:cubicBezTo>
                      <a:pt x="0" y="340043"/>
                      <a:pt x="98108" y="438150"/>
                      <a:pt x="219075" y="438150"/>
                    </a:cubicBezTo>
                    <a:cubicBezTo>
                      <a:pt x="225743" y="438150"/>
                      <a:pt x="232410" y="438150"/>
                      <a:pt x="239078" y="437198"/>
                    </a:cubicBezTo>
                    <a:cubicBezTo>
                      <a:pt x="254318" y="436245"/>
                      <a:pt x="269558" y="432435"/>
                      <a:pt x="283845" y="428625"/>
                    </a:cubicBezTo>
                    <a:cubicBezTo>
                      <a:pt x="330518" y="414338"/>
                      <a:pt x="370523" y="384810"/>
                      <a:pt x="398145" y="346710"/>
                    </a:cubicBezTo>
                    <a:close/>
                    <a:moveTo>
                      <a:pt x="127635" y="236220"/>
                    </a:moveTo>
                    <a:lnTo>
                      <a:pt x="139065" y="236220"/>
                    </a:lnTo>
                    <a:lnTo>
                      <a:pt x="173355" y="236220"/>
                    </a:lnTo>
                    <a:lnTo>
                      <a:pt x="202883" y="236220"/>
                    </a:lnTo>
                    <a:lnTo>
                      <a:pt x="202883" y="300038"/>
                    </a:lnTo>
                    <a:cubicBezTo>
                      <a:pt x="197168" y="300038"/>
                      <a:pt x="191453" y="300038"/>
                      <a:pt x="185738" y="300990"/>
                    </a:cubicBezTo>
                    <a:cubicBezTo>
                      <a:pt x="174308" y="301943"/>
                      <a:pt x="162878" y="302895"/>
                      <a:pt x="151448" y="304800"/>
                    </a:cubicBezTo>
                    <a:cubicBezTo>
                      <a:pt x="146685" y="305753"/>
                      <a:pt x="142875" y="305753"/>
                      <a:pt x="138113" y="306705"/>
                    </a:cubicBezTo>
                    <a:cubicBezTo>
                      <a:pt x="132398" y="284798"/>
                      <a:pt x="128588" y="260985"/>
                      <a:pt x="127635" y="236220"/>
                    </a:cubicBezTo>
                    <a:close/>
                    <a:moveTo>
                      <a:pt x="138113" y="131445"/>
                    </a:moveTo>
                    <a:cubicBezTo>
                      <a:pt x="142875" y="132398"/>
                      <a:pt x="147638" y="133350"/>
                      <a:pt x="152400" y="133350"/>
                    </a:cubicBezTo>
                    <a:cubicBezTo>
                      <a:pt x="163830" y="135255"/>
                      <a:pt x="175260" y="136208"/>
                      <a:pt x="186690" y="137160"/>
                    </a:cubicBezTo>
                    <a:cubicBezTo>
                      <a:pt x="191453" y="137160"/>
                      <a:pt x="197168" y="138113"/>
                      <a:pt x="201930" y="138113"/>
                    </a:cubicBezTo>
                    <a:lnTo>
                      <a:pt x="201930" y="201930"/>
                    </a:lnTo>
                    <a:lnTo>
                      <a:pt x="172403" y="201930"/>
                    </a:lnTo>
                    <a:lnTo>
                      <a:pt x="138113" y="201930"/>
                    </a:lnTo>
                    <a:lnTo>
                      <a:pt x="126683" y="201930"/>
                    </a:lnTo>
                    <a:cubicBezTo>
                      <a:pt x="128588" y="177165"/>
                      <a:pt x="132398" y="153352"/>
                      <a:pt x="138113" y="131445"/>
                    </a:cubicBezTo>
                    <a:close/>
                    <a:moveTo>
                      <a:pt x="311468" y="201930"/>
                    </a:moveTo>
                    <a:lnTo>
                      <a:pt x="236220" y="201930"/>
                    </a:lnTo>
                    <a:lnTo>
                      <a:pt x="236220" y="138113"/>
                    </a:lnTo>
                    <a:cubicBezTo>
                      <a:pt x="258128" y="137160"/>
                      <a:pt x="279083" y="135255"/>
                      <a:pt x="300038" y="131445"/>
                    </a:cubicBezTo>
                    <a:cubicBezTo>
                      <a:pt x="306705" y="153352"/>
                      <a:pt x="310515" y="177165"/>
                      <a:pt x="311468" y="201930"/>
                    </a:cubicBezTo>
                    <a:close/>
                    <a:moveTo>
                      <a:pt x="380048" y="236220"/>
                    </a:moveTo>
                    <a:lnTo>
                      <a:pt x="397193" y="236220"/>
                    </a:lnTo>
                    <a:lnTo>
                      <a:pt x="404813" y="236220"/>
                    </a:lnTo>
                    <a:lnTo>
                      <a:pt x="404813" y="236220"/>
                    </a:lnTo>
                    <a:cubicBezTo>
                      <a:pt x="404813" y="237173"/>
                      <a:pt x="404813" y="239077"/>
                      <a:pt x="404813" y="240030"/>
                    </a:cubicBezTo>
                    <a:cubicBezTo>
                      <a:pt x="403860" y="252413"/>
                      <a:pt x="401003" y="263843"/>
                      <a:pt x="397193" y="275273"/>
                    </a:cubicBezTo>
                    <a:cubicBezTo>
                      <a:pt x="393383" y="288608"/>
                      <a:pt x="387668" y="300990"/>
                      <a:pt x="380048" y="313373"/>
                    </a:cubicBezTo>
                    <a:cubicBezTo>
                      <a:pt x="378143" y="317183"/>
                      <a:pt x="375285" y="320993"/>
                      <a:pt x="372428" y="324803"/>
                    </a:cubicBezTo>
                    <a:cubicBezTo>
                      <a:pt x="360045" y="320040"/>
                      <a:pt x="346710" y="317183"/>
                      <a:pt x="333375" y="313373"/>
                    </a:cubicBezTo>
                    <a:cubicBezTo>
                      <a:pt x="340043" y="289560"/>
                      <a:pt x="343853" y="263843"/>
                      <a:pt x="344805" y="236220"/>
                    </a:cubicBezTo>
                    <a:lnTo>
                      <a:pt x="380048" y="236220"/>
                    </a:lnTo>
                    <a:close/>
                    <a:moveTo>
                      <a:pt x="300990" y="306705"/>
                    </a:moveTo>
                    <a:cubicBezTo>
                      <a:pt x="280035" y="302895"/>
                      <a:pt x="258128" y="300990"/>
                      <a:pt x="237173" y="300038"/>
                    </a:cubicBezTo>
                    <a:lnTo>
                      <a:pt x="237173" y="236220"/>
                    </a:lnTo>
                    <a:lnTo>
                      <a:pt x="312420" y="236220"/>
                    </a:lnTo>
                    <a:cubicBezTo>
                      <a:pt x="310515" y="260985"/>
                      <a:pt x="306705" y="284798"/>
                      <a:pt x="300990" y="306705"/>
                    </a:cubicBezTo>
                    <a:close/>
                    <a:moveTo>
                      <a:pt x="236220" y="387667"/>
                    </a:moveTo>
                    <a:lnTo>
                      <a:pt x="236220" y="334328"/>
                    </a:lnTo>
                    <a:cubicBezTo>
                      <a:pt x="254318" y="335280"/>
                      <a:pt x="271463" y="336233"/>
                      <a:pt x="289560" y="339090"/>
                    </a:cubicBezTo>
                    <a:cubicBezTo>
                      <a:pt x="287655" y="344805"/>
                      <a:pt x="284798" y="349568"/>
                      <a:pt x="281940" y="354330"/>
                    </a:cubicBezTo>
                    <a:cubicBezTo>
                      <a:pt x="271463" y="374333"/>
                      <a:pt x="259080" y="388620"/>
                      <a:pt x="245745" y="397192"/>
                    </a:cubicBezTo>
                    <a:cubicBezTo>
                      <a:pt x="242888" y="399098"/>
                      <a:pt x="240030" y="401003"/>
                      <a:pt x="237173" y="401955"/>
                    </a:cubicBezTo>
                    <a:lnTo>
                      <a:pt x="236220" y="387667"/>
                    </a:lnTo>
                    <a:close/>
                    <a:moveTo>
                      <a:pt x="236220" y="104775"/>
                    </a:moveTo>
                    <a:lnTo>
                      <a:pt x="236220" y="54293"/>
                    </a:lnTo>
                    <a:lnTo>
                      <a:pt x="236220" y="37147"/>
                    </a:lnTo>
                    <a:cubicBezTo>
                      <a:pt x="240030" y="39053"/>
                      <a:pt x="243840" y="40957"/>
                      <a:pt x="246697" y="42863"/>
                    </a:cubicBezTo>
                    <a:cubicBezTo>
                      <a:pt x="259080" y="51435"/>
                      <a:pt x="271463" y="65723"/>
                      <a:pt x="280988" y="83820"/>
                    </a:cubicBezTo>
                    <a:cubicBezTo>
                      <a:pt x="283845" y="88582"/>
                      <a:pt x="285750" y="94298"/>
                      <a:pt x="288608" y="99060"/>
                    </a:cubicBezTo>
                    <a:cubicBezTo>
                      <a:pt x="271463" y="101918"/>
                      <a:pt x="254318" y="103823"/>
                      <a:pt x="236220" y="104775"/>
                    </a:cubicBezTo>
                    <a:close/>
                    <a:moveTo>
                      <a:pt x="157163" y="83820"/>
                    </a:moveTo>
                    <a:cubicBezTo>
                      <a:pt x="170498" y="60007"/>
                      <a:pt x="185738" y="43815"/>
                      <a:pt x="202883" y="37147"/>
                    </a:cubicBezTo>
                    <a:lnTo>
                      <a:pt x="202883" y="41910"/>
                    </a:lnTo>
                    <a:lnTo>
                      <a:pt x="202883" y="101918"/>
                    </a:lnTo>
                    <a:lnTo>
                      <a:pt x="202883" y="103823"/>
                    </a:lnTo>
                    <a:cubicBezTo>
                      <a:pt x="202883" y="103823"/>
                      <a:pt x="201930" y="103823"/>
                      <a:pt x="201930" y="103823"/>
                    </a:cubicBezTo>
                    <a:cubicBezTo>
                      <a:pt x="189548" y="102870"/>
                      <a:pt x="178118" y="101918"/>
                      <a:pt x="165735" y="100965"/>
                    </a:cubicBezTo>
                    <a:cubicBezTo>
                      <a:pt x="160973" y="100013"/>
                      <a:pt x="155258" y="100013"/>
                      <a:pt x="150495" y="99060"/>
                    </a:cubicBezTo>
                    <a:cubicBezTo>
                      <a:pt x="152400" y="94298"/>
                      <a:pt x="154305" y="88582"/>
                      <a:pt x="157163" y="83820"/>
                    </a:cubicBezTo>
                    <a:close/>
                    <a:moveTo>
                      <a:pt x="163830" y="337185"/>
                    </a:moveTo>
                    <a:cubicBezTo>
                      <a:pt x="176213" y="335280"/>
                      <a:pt x="187643" y="334328"/>
                      <a:pt x="200025" y="334328"/>
                    </a:cubicBezTo>
                    <a:cubicBezTo>
                      <a:pt x="200978" y="334328"/>
                      <a:pt x="201930" y="334328"/>
                      <a:pt x="202883" y="334328"/>
                    </a:cubicBezTo>
                    <a:lnTo>
                      <a:pt x="202883" y="340043"/>
                    </a:lnTo>
                    <a:lnTo>
                      <a:pt x="202883" y="362903"/>
                    </a:lnTo>
                    <a:lnTo>
                      <a:pt x="202883" y="400050"/>
                    </a:lnTo>
                    <a:lnTo>
                      <a:pt x="202883" y="401955"/>
                    </a:lnTo>
                    <a:cubicBezTo>
                      <a:pt x="186690" y="395288"/>
                      <a:pt x="170498" y="379095"/>
                      <a:pt x="157163" y="355283"/>
                    </a:cubicBezTo>
                    <a:cubicBezTo>
                      <a:pt x="154305" y="350520"/>
                      <a:pt x="152400" y="344805"/>
                      <a:pt x="149543" y="340043"/>
                    </a:cubicBezTo>
                    <a:cubicBezTo>
                      <a:pt x="154305" y="338138"/>
                      <a:pt x="159068" y="337185"/>
                      <a:pt x="163830" y="337185"/>
                    </a:cubicBezTo>
                    <a:close/>
                    <a:moveTo>
                      <a:pt x="302895" y="384810"/>
                    </a:moveTo>
                    <a:cubicBezTo>
                      <a:pt x="310515" y="373380"/>
                      <a:pt x="317183" y="360045"/>
                      <a:pt x="322898" y="344805"/>
                    </a:cubicBezTo>
                    <a:cubicBezTo>
                      <a:pt x="331470" y="346710"/>
                      <a:pt x="340043" y="349568"/>
                      <a:pt x="348615" y="351473"/>
                    </a:cubicBezTo>
                    <a:cubicBezTo>
                      <a:pt x="335280" y="365760"/>
                      <a:pt x="320040" y="376238"/>
                      <a:pt x="302895" y="384810"/>
                    </a:cubicBezTo>
                    <a:close/>
                    <a:moveTo>
                      <a:pt x="403860" y="198120"/>
                    </a:moveTo>
                    <a:cubicBezTo>
                      <a:pt x="403860" y="199073"/>
                      <a:pt x="403860" y="200977"/>
                      <a:pt x="403860" y="201930"/>
                    </a:cubicBezTo>
                    <a:lnTo>
                      <a:pt x="403860" y="201930"/>
                    </a:lnTo>
                    <a:lnTo>
                      <a:pt x="396240" y="201930"/>
                    </a:lnTo>
                    <a:lnTo>
                      <a:pt x="379095" y="201930"/>
                    </a:lnTo>
                    <a:lnTo>
                      <a:pt x="344805" y="201930"/>
                    </a:lnTo>
                    <a:cubicBezTo>
                      <a:pt x="343853" y="174308"/>
                      <a:pt x="340043" y="148590"/>
                      <a:pt x="333375" y="124777"/>
                    </a:cubicBezTo>
                    <a:cubicBezTo>
                      <a:pt x="346710" y="121920"/>
                      <a:pt x="359093" y="118110"/>
                      <a:pt x="372428" y="113348"/>
                    </a:cubicBezTo>
                    <a:cubicBezTo>
                      <a:pt x="375285" y="117157"/>
                      <a:pt x="377190" y="120968"/>
                      <a:pt x="380048" y="124777"/>
                    </a:cubicBezTo>
                    <a:cubicBezTo>
                      <a:pt x="386715" y="136208"/>
                      <a:pt x="392430" y="149543"/>
                      <a:pt x="397193" y="162877"/>
                    </a:cubicBezTo>
                    <a:cubicBezTo>
                      <a:pt x="400050" y="174308"/>
                      <a:pt x="402908" y="185738"/>
                      <a:pt x="403860" y="198120"/>
                    </a:cubicBezTo>
                    <a:close/>
                    <a:moveTo>
                      <a:pt x="348615" y="85725"/>
                    </a:moveTo>
                    <a:cubicBezTo>
                      <a:pt x="340043" y="88582"/>
                      <a:pt x="331470" y="90488"/>
                      <a:pt x="322898" y="92393"/>
                    </a:cubicBezTo>
                    <a:cubicBezTo>
                      <a:pt x="317183" y="78105"/>
                      <a:pt x="310515" y="64770"/>
                      <a:pt x="302895" y="52388"/>
                    </a:cubicBezTo>
                    <a:cubicBezTo>
                      <a:pt x="320040" y="61913"/>
                      <a:pt x="335280" y="72390"/>
                      <a:pt x="348615" y="85725"/>
                    </a:cubicBezTo>
                    <a:close/>
                    <a:moveTo>
                      <a:pt x="136208" y="53340"/>
                    </a:moveTo>
                    <a:cubicBezTo>
                      <a:pt x="128588" y="64770"/>
                      <a:pt x="121920" y="78105"/>
                      <a:pt x="116205" y="93345"/>
                    </a:cubicBezTo>
                    <a:cubicBezTo>
                      <a:pt x="107633" y="91440"/>
                      <a:pt x="99060" y="88582"/>
                      <a:pt x="90488" y="86677"/>
                    </a:cubicBezTo>
                    <a:cubicBezTo>
                      <a:pt x="103823" y="72390"/>
                      <a:pt x="119063" y="61913"/>
                      <a:pt x="136208" y="53340"/>
                    </a:cubicBezTo>
                    <a:close/>
                    <a:moveTo>
                      <a:pt x="66675" y="113348"/>
                    </a:moveTo>
                    <a:cubicBezTo>
                      <a:pt x="79058" y="118110"/>
                      <a:pt x="92393" y="120968"/>
                      <a:pt x="105727" y="124777"/>
                    </a:cubicBezTo>
                    <a:cubicBezTo>
                      <a:pt x="99060" y="148590"/>
                      <a:pt x="95250" y="174308"/>
                      <a:pt x="94298" y="201930"/>
                    </a:cubicBezTo>
                    <a:lnTo>
                      <a:pt x="35243" y="201930"/>
                    </a:lnTo>
                    <a:cubicBezTo>
                      <a:pt x="37148" y="169545"/>
                      <a:pt x="48578" y="139065"/>
                      <a:pt x="66675" y="113348"/>
                    </a:cubicBezTo>
                    <a:close/>
                    <a:moveTo>
                      <a:pt x="94298" y="236220"/>
                    </a:moveTo>
                    <a:cubicBezTo>
                      <a:pt x="95250" y="263843"/>
                      <a:pt x="99060" y="289560"/>
                      <a:pt x="105727" y="313373"/>
                    </a:cubicBezTo>
                    <a:cubicBezTo>
                      <a:pt x="92393" y="316230"/>
                      <a:pt x="80010" y="320040"/>
                      <a:pt x="66675" y="324803"/>
                    </a:cubicBezTo>
                    <a:cubicBezTo>
                      <a:pt x="48578" y="299085"/>
                      <a:pt x="37148" y="268605"/>
                      <a:pt x="34290" y="236220"/>
                    </a:cubicBezTo>
                    <a:lnTo>
                      <a:pt x="94298" y="236220"/>
                    </a:lnTo>
                    <a:close/>
                    <a:moveTo>
                      <a:pt x="90488" y="352425"/>
                    </a:moveTo>
                    <a:cubicBezTo>
                      <a:pt x="99060" y="349568"/>
                      <a:pt x="107633" y="347663"/>
                      <a:pt x="116205" y="345758"/>
                    </a:cubicBezTo>
                    <a:cubicBezTo>
                      <a:pt x="121920" y="360045"/>
                      <a:pt x="128588" y="373380"/>
                      <a:pt x="136208" y="385763"/>
                    </a:cubicBezTo>
                    <a:cubicBezTo>
                      <a:pt x="119063" y="376238"/>
                      <a:pt x="103823" y="365760"/>
                      <a:pt x="90488" y="352425"/>
                    </a:cubicBezTo>
                    <a:close/>
                  </a:path>
                </a:pathLst>
              </a:custGeom>
              <a:grpFill/>
              <a:ln w="9525" cap="flat">
                <a:noFill/>
                <a:prstDash val="solid"/>
                <a:miter/>
              </a:ln>
            </p:spPr>
            <p:txBody>
              <a:bodyPr rtlCol="0" anchor="ctr"/>
              <a:lstStyle/>
              <a:p>
                <a:endParaRPr lang="en-GB" sz="1050"/>
              </a:p>
            </p:txBody>
          </p:sp>
        </p:grpSp>
        <p:sp>
          <p:nvSpPr>
            <p:cNvPr id="113" name="TextBox 112">
              <a:extLst>
                <a:ext uri="{FF2B5EF4-FFF2-40B4-BE49-F238E27FC236}">
                  <a16:creationId xmlns:a16="http://schemas.microsoft.com/office/drawing/2014/main" id="{BDCF6002-F126-4BAA-8E81-1ADA81DCCB00}"/>
                </a:ext>
              </a:extLst>
            </p:cNvPr>
            <p:cNvSpPr txBox="1"/>
            <p:nvPr/>
          </p:nvSpPr>
          <p:spPr>
            <a:xfrm>
              <a:off x="1103599" y="2193722"/>
              <a:ext cx="761340" cy="369332"/>
            </a:xfrm>
            <a:prstGeom prst="rect">
              <a:avLst/>
            </a:prstGeom>
            <a:noFill/>
          </p:spPr>
          <p:txBody>
            <a:bodyPr wrap="square" rtlCol="0">
              <a:spAutoFit/>
            </a:bodyPr>
            <a:lstStyle>
              <a:defPPr>
                <a:defRPr lang="en-US"/>
              </a:defPPr>
              <a:lvl1pPr algn="ctr">
                <a:defRPr sz="1100" b="1">
                  <a:solidFill>
                    <a:schemeClr val="tx2"/>
                  </a:solidFill>
                  <a:latin typeface="+mj-lt"/>
                </a:defRPr>
              </a:lvl1pPr>
            </a:lstStyle>
            <a:p>
              <a:r>
                <a:rPr lang="en-GB" sz="900">
                  <a:latin typeface="Trebuchet MS" panose="020B0603020202020204" pitchFamily="34" charset="0"/>
                </a:rPr>
                <a:t>Web platforms</a:t>
              </a:r>
            </a:p>
          </p:txBody>
        </p:sp>
      </p:grpSp>
      <p:sp>
        <p:nvSpPr>
          <p:cNvPr id="123" name="Ellipse 81">
            <a:extLst>
              <a:ext uri="{FF2B5EF4-FFF2-40B4-BE49-F238E27FC236}">
                <a16:creationId xmlns:a16="http://schemas.microsoft.com/office/drawing/2014/main" id="{C8A67AEA-C020-4524-915A-9DA0C107FD1F}"/>
              </a:ext>
            </a:extLst>
          </p:cNvPr>
          <p:cNvSpPr/>
          <p:nvPr/>
        </p:nvSpPr>
        <p:spPr bwMode="auto">
          <a:xfrm>
            <a:off x="856850" y="1621127"/>
            <a:ext cx="223550" cy="213007"/>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700" b="0" i="0" u="none" strike="noStrike" cap="none" normalizeH="0" baseline="0">
                <a:ln>
                  <a:noFill/>
                </a:ln>
                <a:solidFill>
                  <a:schemeClr val="bg1"/>
                </a:solidFill>
                <a:effectLst/>
                <a:latin typeface="Trebuchet MS" panose="020B0603020202020204" pitchFamily="34" charset="0"/>
              </a:rPr>
              <a:t>1</a:t>
            </a:r>
          </a:p>
        </p:txBody>
      </p:sp>
      <p:sp>
        <p:nvSpPr>
          <p:cNvPr id="124" name="Ellipse 82">
            <a:extLst>
              <a:ext uri="{FF2B5EF4-FFF2-40B4-BE49-F238E27FC236}">
                <a16:creationId xmlns:a16="http://schemas.microsoft.com/office/drawing/2014/main" id="{0045869F-604D-4CD1-BF4C-67A83FECC400}"/>
              </a:ext>
            </a:extLst>
          </p:cNvPr>
          <p:cNvSpPr/>
          <p:nvPr/>
        </p:nvSpPr>
        <p:spPr bwMode="auto">
          <a:xfrm>
            <a:off x="820789" y="5687906"/>
            <a:ext cx="223550" cy="213007"/>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700">
                <a:solidFill>
                  <a:schemeClr val="bg1"/>
                </a:solidFill>
                <a:latin typeface="Trebuchet MS" panose="020B0603020202020204" pitchFamily="34" charset="0"/>
              </a:rPr>
              <a:t>4</a:t>
            </a:r>
            <a:endParaRPr kumimoji="0" lang="en-GB" sz="700" b="0" i="0" u="none" strike="noStrike" cap="none" normalizeH="0" baseline="0">
              <a:ln>
                <a:noFill/>
              </a:ln>
              <a:solidFill>
                <a:schemeClr val="bg1"/>
              </a:solidFill>
              <a:effectLst/>
              <a:latin typeface="Trebuchet MS" panose="020B0603020202020204" pitchFamily="34" charset="0"/>
            </a:endParaRPr>
          </a:p>
        </p:txBody>
      </p:sp>
      <p:grpSp>
        <p:nvGrpSpPr>
          <p:cNvPr id="125" name="Group 124">
            <a:extLst>
              <a:ext uri="{FF2B5EF4-FFF2-40B4-BE49-F238E27FC236}">
                <a16:creationId xmlns:a16="http://schemas.microsoft.com/office/drawing/2014/main" id="{B5225871-15B9-47CA-8A2B-FF6B5A28DB71}"/>
              </a:ext>
            </a:extLst>
          </p:cNvPr>
          <p:cNvGrpSpPr/>
          <p:nvPr/>
        </p:nvGrpSpPr>
        <p:grpSpPr>
          <a:xfrm>
            <a:off x="987199" y="5876867"/>
            <a:ext cx="761339" cy="529356"/>
            <a:chOff x="1297844" y="4905632"/>
            <a:chExt cx="761339" cy="529356"/>
          </a:xfrm>
        </p:grpSpPr>
        <p:sp>
          <p:nvSpPr>
            <p:cNvPr id="126" name="TextBox 125">
              <a:extLst>
                <a:ext uri="{FF2B5EF4-FFF2-40B4-BE49-F238E27FC236}">
                  <a16:creationId xmlns:a16="http://schemas.microsoft.com/office/drawing/2014/main" id="{563DE920-B635-48E6-9101-BAAF1B3023CA}"/>
                </a:ext>
              </a:extLst>
            </p:cNvPr>
            <p:cNvSpPr txBox="1"/>
            <p:nvPr/>
          </p:nvSpPr>
          <p:spPr>
            <a:xfrm>
              <a:off x="1297844" y="5204156"/>
              <a:ext cx="761339" cy="230832"/>
            </a:xfrm>
            <a:prstGeom prst="rect">
              <a:avLst/>
            </a:prstGeom>
            <a:noFill/>
          </p:spPr>
          <p:txBody>
            <a:bodyPr wrap="square" rtlCol="0">
              <a:spAutoFit/>
            </a:bodyPr>
            <a:lstStyle>
              <a:defPPr>
                <a:defRPr lang="en-US"/>
              </a:defPPr>
              <a:lvl1pPr algn="ctr">
                <a:defRPr sz="1100" b="1">
                  <a:solidFill>
                    <a:schemeClr val="tx2"/>
                  </a:solidFill>
                  <a:latin typeface="+mj-lt"/>
                </a:defRPr>
              </a:lvl1pPr>
            </a:lstStyle>
            <a:p>
              <a:r>
                <a:rPr lang="en-GB" sz="900">
                  <a:latin typeface="Trebuchet MS" panose="020B0603020202020204" pitchFamily="34" charset="0"/>
                </a:rPr>
                <a:t>API</a:t>
              </a:r>
            </a:p>
          </p:txBody>
        </p:sp>
        <p:grpSp>
          <p:nvGrpSpPr>
            <p:cNvPr id="127" name="Graphic 41">
              <a:extLst>
                <a:ext uri="{FF2B5EF4-FFF2-40B4-BE49-F238E27FC236}">
                  <a16:creationId xmlns:a16="http://schemas.microsoft.com/office/drawing/2014/main" id="{F880DB36-35CC-4458-B07D-E81DDCFEC43A}"/>
                </a:ext>
              </a:extLst>
            </p:cNvPr>
            <p:cNvGrpSpPr>
              <a:grpSpLocks noChangeAspect="1"/>
            </p:cNvGrpSpPr>
            <p:nvPr/>
          </p:nvGrpSpPr>
          <p:grpSpPr>
            <a:xfrm>
              <a:off x="1529969" y="4905632"/>
              <a:ext cx="297088" cy="297088"/>
              <a:chOff x="4713920" y="1246857"/>
              <a:chExt cx="1971647" cy="1971648"/>
            </a:xfrm>
            <a:solidFill>
              <a:schemeClr val="tx2"/>
            </a:solidFill>
          </p:grpSpPr>
          <p:sp>
            <p:nvSpPr>
              <p:cNvPr id="128" name="Freeform: Shape 127">
                <a:extLst>
                  <a:ext uri="{FF2B5EF4-FFF2-40B4-BE49-F238E27FC236}">
                    <a16:creationId xmlns:a16="http://schemas.microsoft.com/office/drawing/2014/main" id="{7BC1362B-0459-4065-8D47-402673947C07}"/>
                  </a:ext>
                </a:extLst>
              </p:cNvPr>
              <p:cNvSpPr/>
              <p:nvPr/>
            </p:nvSpPr>
            <p:spPr>
              <a:xfrm>
                <a:off x="4713920" y="1246857"/>
                <a:ext cx="1971647" cy="1840204"/>
              </a:xfrm>
              <a:custGeom>
                <a:avLst/>
                <a:gdLst>
                  <a:gd name="connsiteX0" fmla="*/ 1577318 w 1971647"/>
                  <a:gd name="connsiteY0" fmla="*/ 558634 h 1840204"/>
                  <a:gd name="connsiteX1" fmla="*/ 1441472 w 1971647"/>
                  <a:gd name="connsiteY1" fmla="*/ 582885 h 1840204"/>
                  <a:gd name="connsiteX2" fmla="*/ 1248710 w 1971647"/>
                  <a:gd name="connsiteY2" fmla="*/ 427190 h 1840204"/>
                  <a:gd name="connsiteX3" fmla="*/ 1248415 w 1971647"/>
                  <a:gd name="connsiteY3" fmla="*/ 427190 h 1840204"/>
                  <a:gd name="connsiteX4" fmla="*/ 805090 w 1971647"/>
                  <a:gd name="connsiteY4" fmla="*/ 0 h 1840204"/>
                  <a:gd name="connsiteX5" fmla="*/ 361469 w 1971647"/>
                  <a:gd name="connsiteY5" fmla="*/ 443621 h 1840204"/>
                  <a:gd name="connsiteX6" fmla="*/ 364821 w 1971647"/>
                  <a:gd name="connsiteY6" fmla="*/ 497940 h 1840204"/>
                  <a:gd name="connsiteX7" fmla="*/ 0 w 1971647"/>
                  <a:gd name="connsiteY7" fmla="*/ 920102 h 1840204"/>
                  <a:gd name="connsiteX8" fmla="*/ 328608 w 1971647"/>
                  <a:gd name="connsiteY8" fmla="*/ 1335364 h 1840204"/>
                  <a:gd name="connsiteX9" fmla="*/ 328608 w 1971647"/>
                  <a:gd name="connsiteY9" fmla="*/ 1465132 h 1840204"/>
                  <a:gd name="connsiteX10" fmla="*/ 108211 w 1971647"/>
                  <a:gd name="connsiteY10" fmla="*/ 1685529 h 1840204"/>
                  <a:gd name="connsiteX11" fmla="*/ 98582 w 1971647"/>
                  <a:gd name="connsiteY11" fmla="*/ 1708762 h 1840204"/>
                  <a:gd name="connsiteX12" fmla="*/ 98582 w 1971647"/>
                  <a:gd name="connsiteY12" fmla="*/ 1840205 h 1840204"/>
                  <a:gd name="connsiteX13" fmla="*/ 164304 w 1971647"/>
                  <a:gd name="connsiteY13" fmla="*/ 1840205 h 1840204"/>
                  <a:gd name="connsiteX14" fmla="*/ 164304 w 1971647"/>
                  <a:gd name="connsiteY14" fmla="*/ 1722366 h 1840204"/>
                  <a:gd name="connsiteX15" fmla="*/ 384701 w 1971647"/>
                  <a:gd name="connsiteY15" fmla="*/ 1501969 h 1840204"/>
                  <a:gd name="connsiteX16" fmla="*/ 394330 w 1971647"/>
                  <a:gd name="connsiteY16" fmla="*/ 1478736 h 1840204"/>
                  <a:gd name="connsiteX17" fmla="*/ 394330 w 1971647"/>
                  <a:gd name="connsiteY17" fmla="*/ 1345617 h 1840204"/>
                  <a:gd name="connsiteX18" fmla="*/ 427190 w 1971647"/>
                  <a:gd name="connsiteY18" fmla="*/ 1347293 h 1840204"/>
                  <a:gd name="connsiteX19" fmla="*/ 525773 w 1971647"/>
                  <a:gd name="connsiteY19" fmla="*/ 1347293 h 1840204"/>
                  <a:gd name="connsiteX20" fmla="*/ 525773 w 1971647"/>
                  <a:gd name="connsiteY20" fmla="*/ 1530853 h 1840204"/>
                  <a:gd name="connsiteX21" fmla="*/ 371097 w 1971647"/>
                  <a:gd name="connsiteY21" fmla="*/ 1685529 h 1840204"/>
                  <a:gd name="connsiteX22" fmla="*/ 361469 w 1971647"/>
                  <a:gd name="connsiteY22" fmla="*/ 1708762 h 1840204"/>
                  <a:gd name="connsiteX23" fmla="*/ 361469 w 1971647"/>
                  <a:gd name="connsiteY23" fmla="*/ 1840205 h 1840204"/>
                  <a:gd name="connsiteX24" fmla="*/ 427190 w 1971647"/>
                  <a:gd name="connsiteY24" fmla="*/ 1840205 h 1840204"/>
                  <a:gd name="connsiteX25" fmla="*/ 427190 w 1971647"/>
                  <a:gd name="connsiteY25" fmla="*/ 1722366 h 1840204"/>
                  <a:gd name="connsiteX26" fmla="*/ 581866 w 1971647"/>
                  <a:gd name="connsiteY26" fmla="*/ 1567690 h 1840204"/>
                  <a:gd name="connsiteX27" fmla="*/ 591494 w 1971647"/>
                  <a:gd name="connsiteY27" fmla="*/ 1544458 h 1840204"/>
                  <a:gd name="connsiteX28" fmla="*/ 591494 w 1971647"/>
                  <a:gd name="connsiteY28" fmla="*/ 1347293 h 1840204"/>
                  <a:gd name="connsiteX29" fmla="*/ 755798 w 1971647"/>
                  <a:gd name="connsiteY29" fmla="*/ 1347293 h 1840204"/>
                  <a:gd name="connsiteX30" fmla="*/ 755798 w 1971647"/>
                  <a:gd name="connsiteY30" fmla="*/ 1596575 h 1840204"/>
                  <a:gd name="connsiteX31" fmla="*/ 666844 w 1971647"/>
                  <a:gd name="connsiteY31" fmla="*/ 1685529 h 1840204"/>
                  <a:gd name="connsiteX32" fmla="*/ 657216 w 1971647"/>
                  <a:gd name="connsiteY32" fmla="*/ 1708762 h 1840204"/>
                  <a:gd name="connsiteX33" fmla="*/ 657216 w 1971647"/>
                  <a:gd name="connsiteY33" fmla="*/ 1840205 h 1840204"/>
                  <a:gd name="connsiteX34" fmla="*/ 722938 w 1971647"/>
                  <a:gd name="connsiteY34" fmla="*/ 1840205 h 1840204"/>
                  <a:gd name="connsiteX35" fmla="*/ 722938 w 1971647"/>
                  <a:gd name="connsiteY35" fmla="*/ 1722366 h 1840204"/>
                  <a:gd name="connsiteX36" fmla="*/ 811892 w 1971647"/>
                  <a:gd name="connsiteY36" fmla="*/ 1633412 h 1840204"/>
                  <a:gd name="connsiteX37" fmla="*/ 821520 w 1971647"/>
                  <a:gd name="connsiteY37" fmla="*/ 1610179 h 1840204"/>
                  <a:gd name="connsiteX38" fmla="*/ 821520 w 1971647"/>
                  <a:gd name="connsiteY38" fmla="*/ 1347293 h 1840204"/>
                  <a:gd name="connsiteX39" fmla="*/ 952963 w 1971647"/>
                  <a:gd name="connsiteY39" fmla="*/ 1347293 h 1840204"/>
                  <a:gd name="connsiteX40" fmla="*/ 952963 w 1971647"/>
                  <a:gd name="connsiteY40" fmla="*/ 1840205 h 1840204"/>
                  <a:gd name="connsiteX41" fmla="*/ 1018685 w 1971647"/>
                  <a:gd name="connsiteY41" fmla="*/ 1840205 h 1840204"/>
                  <a:gd name="connsiteX42" fmla="*/ 1018685 w 1971647"/>
                  <a:gd name="connsiteY42" fmla="*/ 1347293 h 1840204"/>
                  <a:gd name="connsiteX43" fmla="*/ 1150128 w 1971647"/>
                  <a:gd name="connsiteY43" fmla="*/ 1347293 h 1840204"/>
                  <a:gd name="connsiteX44" fmla="*/ 1150128 w 1971647"/>
                  <a:gd name="connsiteY44" fmla="*/ 1610179 h 1840204"/>
                  <a:gd name="connsiteX45" fmla="*/ 1159756 w 1971647"/>
                  <a:gd name="connsiteY45" fmla="*/ 1633412 h 1840204"/>
                  <a:gd name="connsiteX46" fmla="*/ 1248710 w 1971647"/>
                  <a:gd name="connsiteY46" fmla="*/ 1722366 h 1840204"/>
                  <a:gd name="connsiteX47" fmla="*/ 1248710 w 1971647"/>
                  <a:gd name="connsiteY47" fmla="*/ 1840205 h 1840204"/>
                  <a:gd name="connsiteX48" fmla="*/ 1314432 w 1971647"/>
                  <a:gd name="connsiteY48" fmla="*/ 1840205 h 1840204"/>
                  <a:gd name="connsiteX49" fmla="*/ 1314432 w 1971647"/>
                  <a:gd name="connsiteY49" fmla="*/ 1708762 h 1840204"/>
                  <a:gd name="connsiteX50" fmla="*/ 1304804 w 1971647"/>
                  <a:gd name="connsiteY50" fmla="*/ 1685529 h 1840204"/>
                  <a:gd name="connsiteX51" fmla="*/ 1215850 w 1971647"/>
                  <a:gd name="connsiteY51" fmla="*/ 1596575 h 1840204"/>
                  <a:gd name="connsiteX52" fmla="*/ 1215850 w 1971647"/>
                  <a:gd name="connsiteY52" fmla="*/ 1347293 h 1840204"/>
                  <a:gd name="connsiteX53" fmla="*/ 1380154 w 1971647"/>
                  <a:gd name="connsiteY53" fmla="*/ 1347293 h 1840204"/>
                  <a:gd name="connsiteX54" fmla="*/ 1380154 w 1971647"/>
                  <a:gd name="connsiteY54" fmla="*/ 1544458 h 1840204"/>
                  <a:gd name="connsiteX55" fmla="*/ 1389782 w 1971647"/>
                  <a:gd name="connsiteY55" fmla="*/ 1567690 h 1840204"/>
                  <a:gd name="connsiteX56" fmla="*/ 1544458 w 1971647"/>
                  <a:gd name="connsiteY56" fmla="*/ 1722366 h 1840204"/>
                  <a:gd name="connsiteX57" fmla="*/ 1544458 w 1971647"/>
                  <a:gd name="connsiteY57" fmla="*/ 1840205 h 1840204"/>
                  <a:gd name="connsiteX58" fmla="*/ 1610179 w 1971647"/>
                  <a:gd name="connsiteY58" fmla="*/ 1840205 h 1840204"/>
                  <a:gd name="connsiteX59" fmla="*/ 1610179 w 1971647"/>
                  <a:gd name="connsiteY59" fmla="*/ 1708762 h 1840204"/>
                  <a:gd name="connsiteX60" fmla="*/ 1600551 w 1971647"/>
                  <a:gd name="connsiteY60" fmla="*/ 1685529 h 1840204"/>
                  <a:gd name="connsiteX61" fmla="*/ 1445875 w 1971647"/>
                  <a:gd name="connsiteY61" fmla="*/ 1530853 h 1840204"/>
                  <a:gd name="connsiteX62" fmla="*/ 1445875 w 1971647"/>
                  <a:gd name="connsiteY62" fmla="*/ 1347293 h 1840204"/>
                  <a:gd name="connsiteX63" fmla="*/ 1577318 w 1971647"/>
                  <a:gd name="connsiteY63" fmla="*/ 1347293 h 1840204"/>
                  <a:gd name="connsiteX64" fmla="*/ 1577318 w 1971647"/>
                  <a:gd name="connsiteY64" fmla="*/ 1478736 h 1840204"/>
                  <a:gd name="connsiteX65" fmla="*/ 1586947 w 1971647"/>
                  <a:gd name="connsiteY65" fmla="*/ 1501969 h 1840204"/>
                  <a:gd name="connsiteX66" fmla="*/ 1807344 w 1971647"/>
                  <a:gd name="connsiteY66" fmla="*/ 1722366 h 1840204"/>
                  <a:gd name="connsiteX67" fmla="*/ 1807344 w 1971647"/>
                  <a:gd name="connsiteY67" fmla="*/ 1840205 h 1840204"/>
                  <a:gd name="connsiteX68" fmla="*/ 1873065 w 1971647"/>
                  <a:gd name="connsiteY68" fmla="*/ 1840205 h 1840204"/>
                  <a:gd name="connsiteX69" fmla="*/ 1873065 w 1971647"/>
                  <a:gd name="connsiteY69" fmla="*/ 1708762 h 1840204"/>
                  <a:gd name="connsiteX70" fmla="*/ 1863437 w 1971647"/>
                  <a:gd name="connsiteY70" fmla="*/ 1685529 h 1840204"/>
                  <a:gd name="connsiteX71" fmla="*/ 1643040 w 1971647"/>
                  <a:gd name="connsiteY71" fmla="*/ 1465132 h 1840204"/>
                  <a:gd name="connsiteX72" fmla="*/ 1643040 w 1971647"/>
                  <a:gd name="connsiteY72" fmla="*/ 1341345 h 1840204"/>
                  <a:gd name="connsiteX73" fmla="*/ 1971648 w 1971647"/>
                  <a:gd name="connsiteY73" fmla="*/ 952963 h 1840204"/>
                  <a:gd name="connsiteX74" fmla="*/ 1577318 w 1971647"/>
                  <a:gd name="connsiteY74" fmla="*/ 558634 h 1840204"/>
                  <a:gd name="connsiteX75" fmla="*/ 1577318 w 1971647"/>
                  <a:gd name="connsiteY75" fmla="*/ 1281571 h 1840204"/>
                  <a:gd name="connsiteX76" fmla="*/ 427190 w 1971647"/>
                  <a:gd name="connsiteY76" fmla="*/ 1281571 h 1840204"/>
                  <a:gd name="connsiteX77" fmla="*/ 65722 w 1971647"/>
                  <a:gd name="connsiteY77" fmla="*/ 920102 h 1840204"/>
                  <a:gd name="connsiteX78" fmla="*/ 404845 w 1971647"/>
                  <a:gd name="connsiteY78" fmla="*/ 559817 h 1840204"/>
                  <a:gd name="connsiteX79" fmla="*/ 428899 w 1971647"/>
                  <a:gd name="connsiteY79" fmla="*/ 547001 h 1840204"/>
                  <a:gd name="connsiteX80" fmla="*/ 435011 w 1971647"/>
                  <a:gd name="connsiteY80" fmla="*/ 520384 h 1840204"/>
                  <a:gd name="connsiteX81" fmla="*/ 427190 w 1971647"/>
                  <a:gd name="connsiteY81" fmla="*/ 443621 h 1840204"/>
                  <a:gd name="connsiteX82" fmla="*/ 805090 w 1971647"/>
                  <a:gd name="connsiteY82" fmla="*/ 65722 h 1840204"/>
                  <a:gd name="connsiteX83" fmla="*/ 1182989 w 1971647"/>
                  <a:gd name="connsiteY83" fmla="*/ 443621 h 1840204"/>
                  <a:gd name="connsiteX84" fmla="*/ 1182463 w 1971647"/>
                  <a:gd name="connsiteY84" fmla="*/ 454563 h 1840204"/>
                  <a:gd name="connsiteX85" fmla="*/ 1182003 w 1971647"/>
                  <a:gd name="connsiteY85" fmla="*/ 462056 h 1840204"/>
                  <a:gd name="connsiteX86" fmla="*/ 1193537 w 1971647"/>
                  <a:gd name="connsiteY86" fmla="*/ 488640 h 1840204"/>
                  <a:gd name="connsiteX87" fmla="*/ 1221600 w 1971647"/>
                  <a:gd name="connsiteY87" fmla="*/ 495771 h 1840204"/>
                  <a:gd name="connsiteX88" fmla="*/ 1380055 w 1971647"/>
                  <a:gd name="connsiteY88" fmla="*/ 623797 h 1840204"/>
                  <a:gd name="connsiteX89" fmla="*/ 1379398 w 1971647"/>
                  <a:gd name="connsiteY89" fmla="*/ 629909 h 1840204"/>
                  <a:gd name="connsiteX90" fmla="*/ 1394382 w 1971647"/>
                  <a:gd name="connsiteY90" fmla="*/ 659221 h 1840204"/>
                  <a:gd name="connsiteX91" fmla="*/ 1427276 w 1971647"/>
                  <a:gd name="connsiteY91" fmla="*/ 660831 h 1840204"/>
                  <a:gd name="connsiteX92" fmla="*/ 1577318 w 1971647"/>
                  <a:gd name="connsiteY92" fmla="*/ 624355 h 1840204"/>
                  <a:gd name="connsiteX93" fmla="*/ 1905926 w 1971647"/>
                  <a:gd name="connsiteY93" fmla="*/ 952963 h 1840204"/>
                  <a:gd name="connsiteX94" fmla="*/ 1577318 w 1971647"/>
                  <a:gd name="connsiteY94" fmla="*/ 1281571 h 184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71647" h="1840204">
                    <a:moveTo>
                      <a:pt x="1577318" y="558634"/>
                    </a:moveTo>
                    <a:cubicBezTo>
                      <a:pt x="1530459" y="558634"/>
                      <a:pt x="1484914" y="566783"/>
                      <a:pt x="1441472" y="582885"/>
                    </a:cubicBezTo>
                    <a:cubicBezTo>
                      <a:pt x="1422380" y="493996"/>
                      <a:pt x="1343218" y="427190"/>
                      <a:pt x="1248710" y="427190"/>
                    </a:cubicBezTo>
                    <a:cubicBezTo>
                      <a:pt x="1248612" y="427190"/>
                      <a:pt x="1248513" y="427190"/>
                      <a:pt x="1248415" y="427190"/>
                    </a:cubicBezTo>
                    <a:cubicBezTo>
                      <a:pt x="1239772" y="190165"/>
                      <a:pt x="1044185" y="0"/>
                      <a:pt x="805090" y="0"/>
                    </a:cubicBezTo>
                    <a:cubicBezTo>
                      <a:pt x="560474" y="0"/>
                      <a:pt x="361469" y="199005"/>
                      <a:pt x="361469" y="443621"/>
                    </a:cubicBezTo>
                    <a:cubicBezTo>
                      <a:pt x="361469" y="461760"/>
                      <a:pt x="362586" y="479899"/>
                      <a:pt x="364821" y="497940"/>
                    </a:cubicBezTo>
                    <a:cubicBezTo>
                      <a:pt x="157535" y="528336"/>
                      <a:pt x="0" y="707230"/>
                      <a:pt x="0" y="920102"/>
                    </a:cubicBezTo>
                    <a:cubicBezTo>
                      <a:pt x="0" y="1121671"/>
                      <a:pt x="140513" y="1290674"/>
                      <a:pt x="328608" y="1335364"/>
                    </a:cubicBezTo>
                    <a:lnTo>
                      <a:pt x="328608" y="1465132"/>
                    </a:lnTo>
                    <a:lnTo>
                      <a:pt x="108211" y="1685529"/>
                    </a:lnTo>
                    <a:cubicBezTo>
                      <a:pt x="102033" y="1691674"/>
                      <a:pt x="98582" y="1700054"/>
                      <a:pt x="98582" y="1708762"/>
                    </a:cubicBezTo>
                    <a:lnTo>
                      <a:pt x="98582" y="1840205"/>
                    </a:lnTo>
                    <a:lnTo>
                      <a:pt x="164304" y="1840205"/>
                    </a:lnTo>
                    <a:lnTo>
                      <a:pt x="164304" y="1722366"/>
                    </a:lnTo>
                    <a:lnTo>
                      <a:pt x="384701" y="1501969"/>
                    </a:lnTo>
                    <a:cubicBezTo>
                      <a:pt x="390879" y="1495824"/>
                      <a:pt x="394330" y="1487444"/>
                      <a:pt x="394330" y="1478736"/>
                    </a:cubicBezTo>
                    <a:lnTo>
                      <a:pt x="394330" y="1345617"/>
                    </a:lnTo>
                    <a:cubicBezTo>
                      <a:pt x="405207" y="1346471"/>
                      <a:pt x="416083" y="1347293"/>
                      <a:pt x="427190" y="1347293"/>
                    </a:cubicBezTo>
                    <a:lnTo>
                      <a:pt x="525773" y="1347293"/>
                    </a:lnTo>
                    <a:lnTo>
                      <a:pt x="525773" y="1530853"/>
                    </a:lnTo>
                    <a:lnTo>
                      <a:pt x="371097" y="1685529"/>
                    </a:lnTo>
                    <a:cubicBezTo>
                      <a:pt x="364919" y="1691674"/>
                      <a:pt x="361469" y="1700054"/>
                      <a:pt x="361469" y="1708762"/>
                    </a:cubicBezTo>
                    <a:lnTo>
                      <a:pt x="361469" y="1840205"/>
                    </a:lnTo>
                    <a:lnTo>
                      <a:pt x="427190" y="1840205"/>
                    </a:lnTo>
                    <a:lnTo>
                      <a:pt x="427190" y="1722366"/>
                    </a:lnTo>
                    <a:lnTo>
                      <a:pt x="581866" y="1567690"/>
                    </a:lnTo>
                    <a:cubicBezTo>
                      <a:pt x="588044" y="1561545"/>
                      <a:pt x="591494" y="1553166"/>
                      <a:pt x="591494" y="1544458"/>
                    </a:cubicBezTo>
                    <a:lnTo>
                      <a:pt x="591494" y="1347293"/>
                    </a:lnTo>
                    <a:lnTo>
                      <a:pt x="755798" y="1347293"/>
                    </a:lnTo>
                    <a:lnTo>
                      <a:pt x="755798" y="1596575"/>
                    </a:lnTo>
                    <a:lnTo>
                      <a:pt x="666844" y="1685529"/>
                    </a:lnTo>
                    <a:cubicBezTo>
                      <a:pt x="660666" y="1691674"/>
                      <a:pt x="657216" y="1700054"/>
                      <a:pt x="657216" y="1708762"/>
                    </a:cubicBezTo>
                    <a:lnTo>
                      <a:pt x="657216" y="1840205"/>
                    </a:lnTo>
                    <a:lnTo>
                      <a:pt x="722938" y="1840205"/>
                    </a:lnTo>
                    <a:lnTo>
                      <a:pt x="722938" y="1722366"/>
                    </a:lnTo>
                    <a:lnTo>
                      <a:pt x="811892" y="1633412"/>
                    </a:lnTo>
                    <a:cubicBezTo>
                      <a:pt x="818070" y="1627267"/>
                      <a:pt x="821520" y="1618887"/>
                      <a:pt x="821520" y="1610179"/>
                    </a:cubicBezTo>
                    <a:lnTo>
                      <a:pt x="821520" y="1347293"/>
                    </a:lnTo>
                    <a:lnTo>
                      <a:pt x="952963" y="1347293"/>
                    </a:lnTo>
                    <a:lnTo>
                      <a:pt x="952963" y="1840205"/>
                    </a:lnTo>
                    <a:lnTo>
                      <a:pt x="1018685" y="1840205"/>
                    </a:lnTo>
                    <a:lnTo>
                      <a:pt x="1018685" y="1347293"/>
                    </a:lnTo>
                    <a:lnTo>
                      <a:pt x="1150128" y="1347293"/>
                    </a:lnTo>
                    <a:lnTo>
                      <a:pt x="1150128" y="1610179"/>
                    </a:lnTo>
                    <a:cubicBezTo>
                      <a:pt x="1150128" y="1618887"/>
                      <a:pt x="1153578" y="1627267"/>
                      <a:pt x="1159756" y="1633412"/>
                    </a:cubicBezTo>
                    <a:lnTo>
                      <a:pt x="1248710" y="1722366"/>
                    </a:lnTo>
                    <a:lnTo>
                      <a:pt x="1248710" y="1840205"/>
                    </a:lnTo>
                    <a:lnTo>
                      <a:pt x="1314432" y="1840205"/>
                    </a:lnTo>
                    <a:lnTo>
                      <a:pt x="1314432" y="1708762"/>
                    </a:lnTo>
                    <a:cubicBezTo>
                      <a:pt x="1314432" y="1700054"/>
                      <a:pt x="1310982" y="1691674"/>
                      <a:pt x="1304804" y="1685529"/>
                    </a:cubicBezTo>
                    <a:lnTo>
                      <a:pt x="1215850" y="1596575"/>
                    </a:lnTo>
                    <a:lnTo>
                      <a:pt x="1215850" y="1347293"/>
                    </a:lnTo>
                    <a:lnTo>
                      <a:pt x="1380154" y="1347293"/>
                    </a:lnTo>
                    <a:lnTo>
                      <a:pt x="1380154" y="1544458"/>
                    </a:lnTo>
                    <a:cubicBezTo>
                      <a:pt x="1380154" y="1553166"/>
                      <a:pt x="1383604" y="1561545"/>
                      <a:pt x="1389782" y="1567690"/>
                    </a:cubicBezTo>
                    <a:lnTo>
                      <a:pt x="1544458" y="1722366"/>
                    </a:lnTo>
                    <a:lnTo>
                      <a:pt x="1544458" y="1840205"/>
                    </a:lnTo>
                    <a:lnTo>
                      <a:pt x="1610179" y="1840205"/>
                    </a:lnTo>
                    <a:lnTo>
                      <a:pt x="1610179" y="1708762"/>
                    </a:lnTo>
                    <a:cubicBezTo>
                      <a:pt x="1610179" y="1700054"/>
                      <a:pt x="1606729" y="1691674"/>
                      <a:pt x="1600551" y="1685529"/>
                    </a:cubicBezTo>
                    <a:lnTo>
                      <a:pt x="1445875" y="1530853"/>
                    </a:lnTo>
                    <a:lnTo>
                      <a:pt x="1445875" y="1347293"/>
                    </a:lnTo>
                    <a:lnTo>
                      <a:pt x="1577318" y="1347293"/>
                    </a:lnTo>
                    <a:lnTo>
                      <a:pt x="1577318" y="1478736"/>
                    </a:lnTo>
                    <a:cubicBezTo>
                      <a:pt x="1577318" y="1487444"/>
                      <a:pt x="1580769" y="1495824"/>
                      <a:pt x="1586947" y="1501969"/>
                    </a:cubicBezTo>
                    <a:lnTo>
                      <a:pt x="1807344" y="1722366"/>
                    </a:lnTo>
                    <a:lnTo>
                      <a:pt x="1807344" y="1840205"/>
                    </a:lnTo>
                    <a:lnTo>
                      <a:pt x="1873065" y="1840205"/>
                    </a:lnTo>
                    <a:lnTo>
                      <a:pt x="1873065" y="1708762"/>
                    </a:lnTo>
                    <a:cubicBezTo>
                      <a:pt x="1873065" y="1700054"/>
                      <a:pt x="1869615" y="1691674"/>
                      <a:pt x="1863437" y="1685529"/>
                    </a:cubicBezTo>
                    <a:lnTo>
                      <a:pt x="1643040" y="1465132"/>
                    </a:lnTo>
                    <a:lnTo>
                      <a:pt x="1643040" y="1341345"/>
                    </a:lnTo>
                    <a:cubicBezTo>
                      <a:pt x="1829229" y="1309930"/>
                      <a:pt x="1971648" y="1147959"/>
                      <a:pt x="1971648" y="952963"/>
                    </a:cubicBezTo>
                    <a:cubicBezTo>
                      <a:pt x="1971648" y="735523"/>
                      <a:pt x="1794758" y="558634"/>
                      <a:pt x="1577318" y="558634"/>
                    </a:cubicBezTo>
                    <a:close/>
                    <a:moveTo>
                      <a:pt x="1577318" y="1281571"/>
                    </a:moveTo>
                    <a:lnTo>
                      <a:pt x="427190" y="1281571"/>
                    </a:lnTo>
                    <a:cubicBezTo>
                      <a:pt x="227890" y="1281571"/>
                      <a:pt x="65722" y="1119403"/>
                      <a:pt x="65722" y="920102"/>
                    </a:cubicBezTo>
                    <a:cubicBezTo>
                      <a:pt x="65722" y="729740"/>
                      <a:pt x="214680" y="571449"/>
                      <a:pt x="404845" y="559817"/>
                    </a:cubicBezTo>
                    <a:cubicBezTo>
                      <a:pt x="414342" y="559225"/>
                      <a:pt x="423148" y="554559"/>
                      <a:pt x="428899" y="547001"/>
                    </a:cubicBezTo>
                    <a:cubicBezTo>
                      <a:pt x="434716" y="539443"/>
                      <a:pt x="436917" y="529716"/>
                      <a:pt x="435011" y="520384"/>
                    </a:cubicBezTo>
                    <a:cubicBezTo>
                      <a:pt x="429819" y="495179"/>
                      <a:pt x="427190" y="469351"/>
                      <a:pt x="427190" y="443621"/>
                    </a:cubicBezTo>
                    <a:cubicBezTo>
                      <a:pt x="427190" y="235250"/>
                      <a:pt x="596719" y="65722"/>
                      <a:pt x="805090" y="65722"/>
                    </a:cubicBezTo>
                    <a:cubicBezTo>
                      <a:pt x="1013460" y="65722"/>
                      <a:pt x="1182989" y="235250"/>
                      <a:pt x="1182989" y="443621"/>
                    </a:cubicBezTo>
                    <a:cubicBezTo>
                      <a:pt x="1182989" y="447301"/>
                      <a:pt x="1182726" y="450949"/>
                      <a:pt x="1182463" y="454563"/>
                    </a:cubicBezTo>
                    <a:lnTo>
                      <a:pt x="1182003" y="462056"/>
                    </a:lnTo>
                    <a:cubicBezTo>
                      <a:pt x="1181510" y="472210"/>
                      <a:pt x="1185749" y="482035"/>
                      <a:pt x="1193537" y="488640"/>
                    </a:cubicBezTo>
                    <a:cubicBezTo>
                      <a:pt x="1201259" y="495212"/>
                      <a:pt x="1211610" y="497874"/>
                      <a:pt x="1221600" y="495771"/>
                    </a:cubicBezTo>
                    <a:cubicBezTo>
                      <a:pt x="1304245" y="478388"/>
                      <a:pt x="1380121" y="543025"/>
                      <a:pt x="1380055" y="623797"/>
                    </a:cubicBezTo>
                    <a:cubicBezTo>
                      <a:pt x="1379924" y="624782"/>
                      <a:pt x="1379463" y="628923"/>
                      <a:pt x="1379398" y="629909"/>
                    </a:cubicBezTo>
                    <a:cubicBezTo>
                      <a:pt x="1378773" y="641640"/>
                      <a:pt x="1384491" y="652846"/>
                      <a:pt x="1394382" y="659221"/>
                    </a:cubicBezTo>
                    <a:cubicBezTo>
                      <a:pt x="1404273" y="665596"/>
                      <a:pt x="1416760" y="666220"/>
                      <a:pt x="1427276" y="660831"/>
                    </a:cubicBezTo>
                    <a:cubicBezTo>
                      <a:pt x="1474365" y="636645"/>
                      <a:pt x="1524807" y="624355"/>
                      <a:pt x="1577318" y="624355"/>
                    </a:cubicBezTo>
                    <a:cubicBezTo>
                      <a:pt x="1758513" y="624355"/>
                      <a:pt x="1905926" y="771769"/>
                      <a:pt x="1905926" y="952963"/>
                    </a:cubicBezTo>
                    <a:cubicBezTo>
                      <a:pt x="1905926" y="1134158"/>
                      <a:pt x="1758513" y="1281571"/>
                      <a:pt x="1577318" y="1281571"/>
                    </a:cubicBezTo>
                    <a:close/>
                  </a:path>
                </a:pathLst>
              </a:custGeom>
              <a:grpFill/>
              <a:ln w="32742" cap="flat">
                <a:noFill/>
                <a:prstDash val="solid"/>
                <a:miter/>
              </a:ln>
            </p:spPr>
            <p:txBody>
              <a:bodyPr rtlCol="0" anchor="ctr"/>
              <a:lstStyle/>
              <a:p>
                <a:endParaRPr lang="en-GB"/>
              </a:p>
            </p:txBody>
          </p:sp>
          <p:sp>
            <p:nvSpPr>
              <p:cNvPr id="129" name="Freeform: Shape 128">
                <a:extLst>
                  <a:ext uri="{FF2B5EF4-FFF2-40B4-BE49-F238E27FC236}">
                    <a16:creationId xmlns:a16="http://schemas.microsoft.com/office/drawing/2014/main" id="{47A7ECC1-8E53-45AB-B402-2A2AEB6D8328}"/>
                  </a:ext>
                </a:extLst>
              </p:cNvPr>
              <p:cNvSpPr/>
              <p:nvPr/>
            </p:nvSpPr>
            <p:spPr>
              <a:xfrm>
                <a:off x="5519010" y="1411161"/>
                <a:ext cx="93127" cy="77912"/>
              </a:xfrm>
              <a:custGeom>
                <a:avLst/>
                <a:gdLst>
                  <a:gd name="connsiteX0" fmla="*/ 93127 w 93127"/>
                  <a:gd name="connsiteY0" fmla="*/ 15970 h 77912"/>
                  <a:gd name="connsiteX1" fmla="*/ 0 w 93127"/>
                  <a:gd name="connsiteY1" fmla="*/ 0 h 77912"/>
                  <a:gd name="connsiteX2" fmla="*/ 0 w 93127"/>
                  <a:gd name="connsiteY2" fmla="*/ 65722 h 77912"/>
                  <a:gd name="connsiteX3" fmla="*/ 71177 w 93127"/>
                  <a:gd name="connsiteY3" fmla="*/ 77913 h 77912"/>
                  <a:gd name="connsiteX4" fmla="*/ 93127 w 93127"/>
                  <a:gd name="connsiteY4" fmla="*/ 15970 h 77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27" h="77912">
                    <a:moveTo>
                      <a:pt x="93127" y="15970"/>
                    </a:moveTo>
                    <a:cubicBezTo>
                      <a:pt x="63257" y="5389"/>
                      <a:pt x="31941" y="0"/>
                      <a:pt x="0" y="0"/>
                    </a:cubicBezTo>
                    <a:lnTo>
                      <a:pt x="0" y="65722"/>
                    </a:lnTo>
                    <a:cubicBezTo>
                      <a:pt x="24416" y="65722"/>
                      <a:pt x="48371" y="69829"/>
                      <a:pt x="71177" y="77913"/>
                    </a:cubicBezTo>
                    <a:lnTo>
                      <a:pt x="93127" y="15970"/>
                    </a:lnTo>
                    <a:close/>
                  </a:path>
                </a:pathLst>
              </a:custGeom>
              <a:grpFill/>
              <a:ln w="32742" cap="flat">
                <a:noFill/>
                <a:prstDash val="solid"/>
                <a:miter/>
              </a:ln>
            </p:spPr>
            <p:txBody>
              <a:bodyPr rtlCol="0" anchor="ctr"/>
              <a:lstStyle/>
              <a:p>
                <a:endParaRPr lang="en-GB"/>
              </a:p>
            </p:txBody>
          </p:sp>
          <p:sp>
            <p:nvSpPr>
              <p:cNvPr id="130" name="Freeform: Shape 129">
                <a:extLst>
                  <a:ext uri="{FF2B5EF4-FFF2-40B4-BE49-F238E27FC236}">
                    <a16:creationId xmlns:a16="http://schemas.microsoft.com/office/drawing/2014/main" id="{8025374C-7616-44F0-97A4-1C9862201BE6}"/>
                  </a:ext>
                </a:extLst>
              </p:cNvPr>
              <p:cNvSpPr/>
              <p:nvPr/>
            </p:nvSpPr>
            <p:spPr>
              <a:xfrm>
                <a:off x="5239693" y="1427131"/>
                <a:ext cx="208140" cy="263346"/>
              </a:xfrm>
              <a:custGeom>
                <a:avLst/>
                <a:gdLst>
                  <a:gd name="connsiteX0" fmla="*/ 186189 w 208140"/>
                  <a:gd name="connsiteY0" fmla="*/ 0 h 263346"/>
                  <a:gd name="connsiteX1" fmla="*/ 0 w 208140"/>
                  <a:gd name="connsiteY1" fmla="*/ 263346 h 263346"/>
                  <a:gd name="connsiteX2" fmla="*/ 65722 w 208140"/>
                  <a:gd name="connsiteY2" fmla="*/ 263346 h 263346"/>
                  <a:gd name="connsiteX3" fmla="*/ 208140 w 208140"/>
                  <a:gd name="connsiteY3" fmla="*/ 61943 h 263346"/>
                  <a:gd name="connsiteX4" fmla="*/ 186189 w 208140"/>
                  <a:gd name="connsiteY4" fmla="*/ 0 h 263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140" h="263346">
                    <a:moveTo>
                      <a:pt x="186189" y="0"/>
                    </a:moveTo>
                    <a:cubicBezTo>
                      <a:pt x="74824" y="39499"/>
                      <a:pt x="0" y="145310"/>
                      <a:pt x="0" y="263346"/>
                    </a:cubicBezTo>
                    <a:lnTo>
                      <a:pt x="65722" y="263346"/>
                    </a:lnTo>
                    <a:cubicBezTo>
                      <a:pt x="65722" y="173078"/>
                      <a:pt x="122965" y="92142"/>
                      <a:pt x="208140" y="61943"/>
                    </a:cubicBezTo>
                    <a:lnTo>
                      <a:pt x="186189" y="0"/>
                    </a:lnTo>
                    <a:close/>
                  </a:path>
                </a:pathLst>
              </a:custGeom>
              <a:grpFill/>
              <a:ln w="32742" cap="flat">
                <a:noFill/>
                <a:prstDash val="solid"/>
                <a:miter/>
              </a:ln>
            </p:spPr>
            <p:txBody>
              <a:bodyPr rtlCol="0" anchor="ctr"/>
              <a:lstStyle/>
              <a:p>
                <a:endParaRPr lang="en-GB"/>
              </a:p>
            </p:txBody>
          </p:sp>
          <p:sp>
            <p:nvSpPr>
              <p:cNvPr id="131" name="Freeform: Shape 130">
                <a:extLst>
                  <a:ext uri="{FF2B5EF4-FFF2-40B4-BE49-F238E27FC236}">
                    <a16:creationId xmlns:a16="http://schemas.microsoft.com/office/drawing/2014/main" id="{35D3384B-834F-48A0-A61D-07FE5A020EB8}"/>
                  </a:ext>
                </a:extLst>
              </p:cNvPr>
              <p:cNvSpPr/>
              <p:nvPr/>
            </p:nvSpPr>
            <p:spPr>
              <a:xfrm>
                <a:off x="6521264"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32" name="Freeform: Shape 131">
                <a:extLst>
                  <a:ext uri="{FF2B5EF4-FFF2-40B4-BE49-F238E27FC236}">
                    <a16:creationId xmlns:a16="http://schemas.microsoft.com/office/drawing/2014/main" id="{FF06FC44-A592-44BA-8AF4-73CF8C28EA12}"/>
                  </a:ext>
                </a:extLst>
              </p:cNvPr>
              <p:cNvSpPr/>
              <p:nvPr/>
            </p:nvSpPr>
            <p:spPr>
              <a:xfrm>
                <a:off x="6258378"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33" name="Freeform: Shape 132">
                <a:extLst>
                  <a:ext uri="{FF2B5EF4-FFF2-40B4-BE49-F238E27FC236}">
                    <a16:creationId xmlns:a16="http://schemas.microsoft.com/office/drawing/2014/main" id="{F17A0E13-B36C-4C3B-8C08-97D66F161216}"/>
                  </a:ext>
                </a:extLst>
              </p:cNvPr>
              <p:cNvSpPr/>
              <p:nvPr/>
            </p:nvSpPr>
            <p:spPr>
              <a:xfrm>
                <a:off x="5962630"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34" name="Freeform: Shape 133">
                <a:extLst>
                  <a:ext uri="{FF2B5EF4-FFF2-40B4-BE49-F238E27FC236}">
                    <a16:creationId xmlns:a16="http://schemas.microsoft.com/office/drawing/2014/main" id="{0E9F05F5-1E14-4A19-9A44-6FC294A695F8}"/>
                  </a:ext>
                </a:extLst>
              </p:cNvPr>
              <p:cNvSpPr/>
              <p:nvPr/>
            </p:nvSpPr>
            <p:spPr>
              <a:xfrm>
                <a:off x="4812502"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35" name="Freeform: Shape 134">
                <a:extLst>
                  <a:ext uri="{FF2B5EF4-FFF2-40B4-BE49-F238E27FC236}">
                    <a16:creationId xmlns:a16="http://schemas.microsoft.com/office/drawing/2014/main" id="{F20FE480-8728-4244-9052-F1C080DE1E95}"/>
                  </a:ext>
                </a:extLst>
              </p:cNvPr>
              <p:cNvSpPr/>
              <p:nvPr/>
            </p:nvSpPr>
            <p:spPr>
              <a:xfrm>
                <a:off x="5075389"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F99F66DF-C80A-4C72-8A6F-C3468A01ED04}"/>
                  </a:ext>
                </a:extLst>
              </p:cNvPr>
              <p:cNvSpPr/>
              <p:nvPr/>
            </p:nvSpPr>
            <p:spPr>
              <a:xfrm>
                <a:off x="5371136"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37" name="Freeform: Shape 136">
                <a:extLst>
                  <a:ext uri="{FF2B5EF4-FFF2-40B4-BE49-F238E27FC236}">
                    <a16:creationId xmlns:a16="http://schemas.microsoft.com/office/drawing/2014/main" id="{DA787A2E-FAF8-4BC1-9C67-64DCBBA46D86}"/>
                  </a:ext>
                </a:extLst>
              </p:cNvPr>
              <p:cNvSpPr/>
              <p:nvPr/>
            </p:nvSpPr>
            <p:spPr>
              <a:xfrm>
                <a:off x="5666883"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38" name="Freeform: Shape 137">
                <a:extLst>
                  <a:ext uri="{FF2B5EF4-FFF2-40B4-BE49-F238E27FC236}">
                    <a16:creationId xmlns:a16="http://schemas.microsoft.com/office/drawing/2014/main" id="{56DA984E-3ACA-4FED-BDD8-E5F94B62ABFF}"/>
                  </a:ext>
                </a:extLst>
              </p:cNvPr>
              <p:cNvSpPr/>
              <p:nvPr/>
            </p:nvSpPr>
            <p:spPr>
              <a:xfrm>
                <a:off x="5535440" y="1969795"/>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39" name="Freeform: Shape 138">
                <a:extLst>
                  <a:ext uri="{FF2B5EF4-FFF2-40B4-BE49-F238E27FC236}">
                    <a16:creationId xmlns:a16="http://schemas.microsoft.com/office/drawing/2014/main" id="{0118EEF5-1AE5-41D5-A2FF-62A319CEADD3}"/>
                  </a:ext>
                </a:extLst>
              </p:cNvPr>
              <p:cNvSpPr/>
              <p:nvPr/>
            </p:nvSpPr>
            <p:spPr>
              <a:xfrm>
                <a:off x="5535440" y="2101238"/>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40" name="Freeform: Shape 139">
                <a:extLst>
                  <a:ext uri="{FF2B5EF4-FFF2-40B4-BE49-F238E27FC236}">
                    <a16:creationId xmlns:a16="http://schemas.microsoft.com/office/drawing/2014/main" id="{AA51BC7D-E708-4820-88E2-4933FE75A81D}"/>
                  </a:ext>
                </a:extLst>
              </p:cNvPr>
              <p:cNvSpPr/>
              <p:nvPr/>
            </p:nvSpPr>
            <p:spPr>
              <a:xfrm>
                <a:off x="5535440" y="2232681"/>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41" name="Freeform: Shape 140">
                <a:extLst>
                  <a:ext uri="{FF2B5EF4-FFF2-40B4-BE49-F238E27FC236}">
                    <a16:creationId xmlns:a16="http://schemas.microsoft.com/office/drawing/2014/main" id="{C76053D0-00CE-4B85-BABF-C4F1E2CB8DFB}"/>
                  </a:ext>
                </a:extLst>
              </p:cNvPr>
              <p:cNvSpPr/>
              <p:nvPr/>
            </p:nvSpPr>
            <p:spPr>
              <a:xfrm>
                <a:off x="5666883" y="1969795"/>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42" name="Freeform: Shape 141">
                <a:extLst>
                  <a:ext uri="{FF2B5EF4-FFF2-40B4-BE49-F238E27FC236}">
                    <a16:creationId xmlns:a16="http://schemas.microsoft.com/office/drawing/2014/main" id="{CF6A8BDC-77E8-4C7F-830A-65F789639286}"/>
                  </a:ext>
                </a:extLst>
              </p:cNvPr>
              <p:cNvSpPr/>
              <p:nvPr/>
            </p:nvSpPr>
            <p:spPr>
              <a:xfrm>
                <a:off x="5666883" y="2101238"/>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43" name="Freeform: Shape 142">
                <a:extLst>
                  <a:ext uri="{FF2B5EF4-FFF2-40B4-BE49-F238E27FC236}">
                    <a16:creationId xmlns:a16="http://schemas.microsoft.com/office/drawing/2014/main" id="{CBD1B17B-AE58-443E-9DBB-CCDFECDF5A13}"/>
                  </a:ext>
                </a:extLst>
              </p:cNvPr>
              <p:cNvSpPr/>
              <p:nvPr/>
            </p:nvSpPr>
            <p:spPr>
              <a:xfrm>
                <a:off x="5666883" y="2232681"/>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44" name="Freeform: Shape 143">
                <a:extLst>
                  <a:ext uri="{FF2B5EF4-FFF2-40B4-BE49-F238E27FC236}">
                    <a16:creationId xmlns:a16="http://schemas.microsoft.com/office/drawing/2014/main" id="{D996DA67-43E7-41C6-9775-345E0328AF49}"/>
                  </a:ext>
                </a:extLst>
              </p:cNvPr>
              <p:cNvSpPr/>
              <p:nvPr/>
            </p:nvSpPr>
            <p:spPr>
              <a:xfrm>
                <a:off x="5798326" y="1969795"/>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45" name="Freeform: Shape 144">
                <a:extLst>
                  <a:ext uri="{FF2B5EF4-FFF2-40B4-BE49-F238E27FC236}">
                    <a16:creationId xmlns:a16="http://schemas.microsoft.com/office/drawing/2014/main" id="{1CDFCF33-BEBF-437F-BDC4-479F47D93A1D}"/>
                  </a:ext>
                </a:extLst>
              </p:cNvPr>
              <p:cNvSpPr/>
              <p:nvPr/>
            </p:nvSpPr>
            <p:spPr>
              <a:xfrm>
                <a:off x="5798326" y="2101238"/>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46" name="Freeform: Shape 145">
                <a:extLst>
                  <a:ext uri="{FF2B5EF4-FFF2-40B4-BE49-F238E27FC236}">
                    <a16:creationId xmlns:a16="http://schemas.microsoft.com/office/drawing/2014/main" id="{DE13916F-8E0F-48C7-A553-DD154824B5EE}"/>
                  </a:ext>
                </a:extLst>
              </p:cNvPr>
              <p:cNvSpPr/>
              <p:nvPr/>
            </p:nvSpPr>
            <p:spPr>
              <a:xfrm>
                <a:off x="5798326" y="2232681"/>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47" name="Freeform: Shape 146">
                <a:extLst>
                  <a:ext uri="{FF2B5EF4-FFF2-40B4-BE49-F238E27FC236}">
                    <a16:creationId xmlns:a16="http://schemas.microsoft.com/office/drawing/2014/main" id="{1CCE3165-9F23-4EAB-8052-CA9B606882A5}"/>
                  </a:ext>
                </a:extLst>
              </p:cNvPr>
              <p:cNvSpPr/>
              <p:nvPr/>
            </p:nvSpPr>
            <p:spPr>
              <a:xfrm>
                <a:off x="5798326" y="2199820"/>
                <a:ext cx="197164" cy="230025"/>
              </a:xfrm>
              <a:custGeom>
                <a:avLst/>
                <a:gdLst>
                  <a:gd name="connsiteX0" fmla="*/ 131443 w 197164"/>
                  <a:gd name="connsiteY0" fmla="*/ 164304 h 230025"/>
                  <a:gd name="connsiteX1" fmla="*/ 0 w 197164"/>
                  <a:gd name="connsiteY1" fmla="*/ 164304 h 230025"/>
                  <a:gd name="connsiteX2" fmla="*/ 0 w 197164"/>
                  <a:gd name="connsiteY2" fmla="*/ 230026 h 230025"/>
                  <a:gd name="connsiteX3" fmla="*/ 164304 w 197164"/>
                  <a:gd name="connsiteY3" fmla="*/ 230026 h 230025"/>
                  <a:gd name="connsiteX4" fmla="*/ 197165 w 197164"/>
                  <a:gd name="connsiteY4" fmla="*/ 197165 h 230025"/>
                  <a:gd name="connsiteX5" fmla="*/ 197165 w 197164"/>
                  <a:gd name="connsiteY5" fmla="*/ 0 h 230025"/>
                  <a:gd name="connsiteX6" fmla="*/ 131443 w 197164"/>
                  <a:gd name="connsiteY6" fmla="*/ 0 h 230025"/>
                  <a:gd name="connsiteX7" fmla="*/ 131443 w 197164"/>
                  <a:gd name="connsiteY7" fmla="*/ 164304 h 23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7164" h="230025">
                    <a:moveTo>
                      <a:pt x="131443" y="164304"/>
                    </a:moveTo>
                    <a:lnTo>
                      <a:pt x="0" y="164304"/>
                    </a:lnTo>
                    <a:lnTo>
                      <a:pt x="0" y="230026"/>
                    </a:lnTo>
                    <a:lnTo>
                      <a:pt x="164304" y="230026"/>
                    </a:lnTo>
                    <a:cubicBezTo>
                      <a:pt x="182476" y="230026"/>
                      <a:pt x="197165" y="215304"/>
                      <a:pt x="197165" y="197165"/>
                    </a:cubicBezTo>
                    <a:lnTo>
                      <a:pt x="197165" y="0"/>
                    </a:lnTo>
                    <a:lnTo>
                      <a:pt x="131443" y="0"/>
                    </a:lnTo>
                    <a:lnTo>
                      <a:pt x="131443" y="164304"/>
                    </a:lnTo>
                    <a:close/>
                  </a:path>
                </a:pathLst>
              </a:custGeom>
              <a:grpFill/>
              <a:ln w="32742" cap="flat">
                <a:noFill/>
                <a:prstDash val="solid"/>
                <a:miter/>
              </a:ln>
            </p:spPr>
            <p:txBody>
              <a:bodyPr rtlCol="0" anchor="ctr"/>
              <a:lstStyle/>
              <a:p>
                <a:endParaRPr lang="en-GB"/>
              </a:p>
            </p:txBody>
          </p:sp>
          <p:sp>
            <p:nvSpPr>
              <p:cNvPr id="148" name="Freeform: Shape 147">
                <a:extLst>
                  <a:ext uri="{FF2B5EF4-FFF2-40B4-BE49-F238E27FC236}">
                    <a16:creationId xmlns:a16="http://schemas.microsoft.com/office/drawing/2014/main" id="{5BA28840-576E-4F7B-BC86-CCC7167A91C2}"/>
                  </a:ext>
                </a:extLst>
              </p:cNvPr>
              <p:cNvSpPr/>
              <p:nvPr/>
            </p:nvSpPr>
            <p:spPr>
              <a:xfrm>
                <a:off x="5403997" y="1838352"/>
                <a:ext cx="230025" cy="230025"/>
              </a:xfrm>
              <a:custGeom>
                <a:avLst/>
                <a:gdLst>
                  <a:gd name="connsiteX0" fmla="*/ 230026 w 230025"/>
                  <a:gd name="connsiteY0" fmla="*/ 0 h 230025"/>
                  <a:gd name="connsiteX1" fmla="*/ 32861 w 230025"/>
                  <a:gd name="connsiteY1" fmla="*/ 0 h 230025"/>
                  <a:gd name="connsiteX2" fmla="*/ 0 w 230025"/>
                  <a:gd name="connsiteY2" fmla="*/ 32861 h 230025"/>
                  <a:gd name="connsiteX3" fmla="*/ 0 w 230025"/>
                  <a:gd name="connsiteY3" fmla="*/ 230026 h 230025"/>
                  <a:gd name="connsiteX4" fmla="*/ 65722 w 230025"/>
                  <a:gd name="connsiteY4" fmla="*/ 230026 h 230025"/>
                  <a:gd name="connsiteX5" fmla="*/ 65722 w 230025"/>
                  <a:gd name="connsiteY5" fmla="*/ 65722 h 230025"/>
                  <a:gd name="connsiteX6" fmla="*/ 230026 w 230025"/>
                  <a:gd name="connsiteY6" fmla="*/ 65722 h 230025"/>
                  <a:gd name="connsiteX7" fmla="*/ 230026 w 230025"/>
                  <a:gd name="connsiteY7" fmla="*/ 0 h 23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025" h="230025">
                    <a:moveTo>
                      <a:pt x="230026" y="0"/>
                    </a:moveTo>
                    <a:lnTo>
                      <a:pt x="32861" y="0"/>
                    </a:lnTo>
                    <a:cubicBezTo>
                      <a:pt x="14689" y="0"/>
                      <a:pt x="0" y="14722"/>
                      <a:pt x="0" y="32861"/>
                    </a:cubicBezTo>
                    <a:lnTo>
                      <a:pt x="0" y="230026"/>
                    </a:lnTo>
                    <a:lnTo>
                      <a:pt x="65722" y="230026"/>
                    </a:lnTo>
                    <a:lnTo>
                      <a:pt x="65722" y="65722"/>
                    </a:lnTo>
                    <a:lnTo>
                      <a:pt x="230026" y="65722"/>
                    </a:lnTo>
                    <a:lnTo>
                      <a:pt x="230026" y="0"/>
                    </a:lnTo>
                    <a:close/>
                  </a:path>
                </a:pathLst>
              </a:custGeom>
              <a:grpFill/>
              <a:ln w="32742" cap="flat">
                <a:noFill/>
                <a:prstDash val="solid"/>
                <a:miter/>
              </a:ln>
            </p:spPr>
            <p:txBody>
              <a:bodyPr rtlCol="0" anchor="ctr"/>
              <a:lstStyle/>
              <a:p>
                <a:endParaRPr lang="en-GB"/>
              </a:p>
            </p:txBody>
          </p:sp>
          <p:sp>
            <p:nvSpPr>
              <p:cNvPr id="149" name="Freeform: Shape 148">
                <a:extLst>
                  <a:ext uri="{FF2B5EF4-FFF2-40B4-BE49-F238E27FC236}">
                    <a16:creationId xmlns:a16="http://schemas.microsoft.com/office/drawing/2014/main" id="{24323A92-2BEF-4CA1-983E-D2DB8C1232AF}"/>
                  </a:ext>
                </a:extLst>
              </p:cNvPr>
              <p:cNvSpPr/>
              <p:nvPr/>
            </p:nvSpPr>
            <p:spPr>
              <a:xfrm>
                <a:off x="5601162" y="2364124"/>
                <a:ext cx="131443" cy="65721"/>
              </a:xfrm>
              <a:custGeom>
                <a:avLst/>
                <a:gdLst>
                  <a:gd name="connsiteX0" fmla="*/ 0 w 131443"/>
                  <a:gd name="connsiteY0" fmla="*/ 0 h 65721"/>
                  <a:gd name="connsiteX1" fmla="*/ 131443 w 131443"/>
                  <a:gd name="connsiteY1" fmla="*/ 0 h 65721"/>
                  <a:gd name="connsiteX2" fmla="*/ 131443 w 131443"/>
                  <a:gd name="connsiteY2" fmla="*/ 65722 h 65721"/>
                  <a:gd name="connsiteX3" fmla="*/ 0 w 131443"/>
                  <a:gd name="connsiteY3" fmla="*/ 65722 h 65721"/>
                </a:gdLst>
                <a:ahLst/>
                <a:cxnLst>
                  <a:cxn ang="0">
                    <a:pos x="connsiteX0" y="connsiteY0"/>
                  </a:cxn>
                  <a:cxn ang="0">
                    <a:pos x="connsiteX1" y="connsiteY1"/>
                  </a:cxn>
                  <a:cxn ang="0">
                    <a:pos x="connsiteX2" y="connsiteY2"/>
                  </a:cxn>
                  <a:cxn ang="0">
                    <a:pos x="connsiteX3" y="connsiteY3"/>
                  </a:cxn>
                </a:cxnLst>
                <a:rect l="l" t="t" r="r" b="b"/>
                <a:pathLst>
                  <a:path w="131443" h="65721">
                    <a:moveTo>
                      <a:pt x="0" y="0"/>
                    </a:moveTo>
                    <a:lnTo>
                      <a:pt x="131443" y="0"/>
                    </a:lnTo>
                    <a:lnTo>
                      <a:pt x="131443" y="65722"/>
                    </a:lnTo>
                    <a:lnTo>
                      <a:pt x="0" y="65722"/>
                    </a:lnTo>
                    <a:close/>
                  </a:path>
                </a:pathLst>
              </a:custGeom>
              <a:grpFill/>
              <a:ln w="32742" cap="flat">
                <a:noFill/>
                <a:prstDash val="solid"/>
                <a:miter/>
              </a:ln>
            </p:spPr>
            <p:txBody>
              <a:bodyPr rtlCol="0" anchor="ctr"/>
              <a:lstStyle/>
              <a:p>
                <a:endParaRPr lang="en-GB"/>
              </a:p>
            </p:txBody>
          </p:sp>
          <p:sp>
            <p:nvSpPr>
              <p:cNvPr id="150" name="Freeform: Shape 149">
                <a:extLst>
                  <a:ext uri="{FF2B5EF4-FFF2-40B4-BE49-F238E27FC236}">
                    <a16:creationId xmlns:a16="http://schemas.microsoft.com/office/drawing/2014/main" id="{F384EDC8-E7BC-47D3-9FFA-9E6422083EEE}"/>
                  </a:ext>
                </a:extLst>
              </p:cNvPr>
              <p:cNvSpPr/>
              <p:nvPr/>
            </p:nvSpPr>
            <p:spPr>
              <a:xfrm>
                <a:off x="5699744" y="1838352"/>
                <a:ext cx="98582" cy="65721"/>
              </a:xfrm>
              <a:custGeom>
                <a:avLst/>
                <a:gdLst>
                  <a:gd name="connsiteX0" fmla="*/ 0 w 98582"/>
                  <a:gd name="connsiteY0" fmla="*/ 0 h 65721"/>
                  <a:gd name="connsiteX1" fmla="*/ 98582 w 98582"/>
                  <a:gd name="connsiteY1" fmla="*/ 0 h 65721"/>
                  <a:gd name="connsiteX2" fmla="*/ 98582 w 98582"/>
                  <a:gd name="connsiteY2" fmla="*/ 65722 h 65721"/>
                  <a:gd name="connsiteX3" fmla="*/ 0 w 98582"/>
                  <a:gd name="connsiteY3" fmla="*/ 65722 h 65721"/>
                </a:gdLst>
                <a:ahLst/>
                <a:cxnLst>
                  <a:cxn ang="0">
                    <a:pos x="connsiteX0" y="connsiteY0"/>
                  </a:cxn>
                  <a:cxn ang="0">
                    <a:pos x="connsiteX1" y="connsiteY1"/>
                  </a:cxn>
                  <a:cxn ang="0">
                    <a:pos x="connsiteX2" y="connsiteY2"/>
                  </a:cxn>
                  <a:cxn ang="0">
                    <a:pos x="connsiteX3" y="connsiteY3"/>
                  </a:cxn>
                </a:cxnLst>
                <a:rect l="l" t="t" r="r" b="b"/>
                <a:pathLst>
                  <a:path w="98582" h="65721">
                    <a:moveTo>
                      <a:pt x="0" y="0"/>
                    </a:moveTo>
                    <a:lnTo>
                      <a:pt x="98582" y="0"/>
                    </a:lnTo>
                    <a:lnTo>
                      <a:pt x="98582" y="65722"/>
                    </a:lnTo>
                    <a:lnTo>
                      <a:pt x="0" y="65722"/>
                    </a:lnTo>
                    <a:close/>
                  </a:path>
                </a:pathLst>
              </a:custGeom>
              <a:grpFill/>
              <a:ln w="32742"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A4391137-AD67-4011-B33F-9B26ACA4796D}"/>
                  </a:ext>
                </a:extLst>
              </p:cNvPr>
              <p:cNvSpPr/>
              <p:nvPr/>
            </p:nvSpPr>
            <p:spPr>
              <a:xfrm>
                <a:off x="5864048" y="1838352"/>
                <a:ext cx="131443" cy="295747"/>
              </a:xfrm>
              <a:custGeom>
                <a:avLst/>
                <a:gdLst>
                  <a:gd name="connsiteX0" fmla="*/ 98582 w 131443"/>
                  <a:gd name="connsiteY0" fmla="*/ 0 h 295747"/>
                  <a:gd name="connsiteX1" fmla="*/ 0 w 131443"/>
                  <a:gd name="connsiteY1" fmla="*/ 0 h 295747"/>
                  <a:gd name="connsiteX2" fmla="*/ 0 w 131443"/>
                  <a:gd name="connsiteY2" fmla="*/ 65722 h 295747"/>
                  <a:gd name="connsiteX3" fmla="*/ 65722 w 131443"/>
                  <a:gd name="connsiteY3" fmla="*/ 65722 h 295747"/>
                  <a:gd name="connsiteX4" fmla="*/ 65722 w 131443"/>
                  <a:gd name="connsiteY4" fmla="*/ 295747 h 295747"/>
                  <a:gd name="connsiteX5" fmla="*/ 131443 w 131443"/>
                  <a:gd name="connsiteY5" fmla="*/ 295747 h 295747"/>
                  <a:gd name="connsiteX6" fmla="*/ 131443 w 131443"/>
                  <a:gd name="connsiteY6" fmla="*/ 32861 h 295747"/>
                  <a:gd name="connsiteX7" fmla="*/ 98582 w 131443"/>
                  <a:gd name="connsiteY7" fmla="*/ 0 h 29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443" h="295747">
                    <a:moveTo>
                      <a:pt x="98582" y="0"/>
                    </a:moveTo>
                    <a:lnTo>
                      <a:pt x="0" y="0"/>
                    </a:lnTo>
                    <a:lnTo>
                      <a:pt x="0" y="65722"/>
                    </a:lnTo>
                    <a:lnTo>
                      <a:pt x="65722" y="65722"/>
                    </a:lnTo>
                    <a:lnTo>
                      <a:pt x="65722" y="295747"/>
                    </a:lnTo>
                    <a:lnTo>
                      <a:pt x="131443" y="295747"/>
                    </a:lnTo>
                    <a:lnTo>
                      <a:pt x="131443" y="32861"/>
                    </a:lnTo>
                    <a:cubicBezTo>
                      <a:pt x="131443" y="14722"/>
                      <a:pt x="116754" y="0"/>
                      <a:pt x="98582" y="0"/>
                    </a:cubicBezTo>
                    <a:close/>
                  </a:path>
                </a:pathLst>
              </a:custGeom>
              <a:grpFill/>
              <a:ln w="32742" cap="flat">
                <a:noFill/>
                <a:prstDash val="solid"/>
                <a:miter/>
              </a:ln>
            </p:spPr>
            <p:txBody>
              <a:bodyPr rtlCol="0" anchor="ctr"/>
              <a:lstStyle/>
              <a:p>
                <a:endParaRPr lang="en-GB"/>
              </a:p>
            </p:txBody>
          </p:sp>
          <p:sp>
            <p:nvSpPr>
              <p:cNvPr id="152" name="Freeform: Shape 151">
                <a:extLst>
                  <a:ext uri="{FF2B5EF4-FFF2-40B4-BE49-F238E27FC236}">
                    <a16:creationId xmlns:a16="http://schemas.microsoft.com/office/drawing/2014/main" id="{8F30D895-A80E-4165-A698-3BD41DB2B41A}"/>
                  </a:ext>
                </a:extLst>
              </p:cNvPr>
              <p:cNvSpPr/>
              <p:nvPr/>
            </p:nvSpPr>
            <p:spPr>
              <a:xfrm>
                <a:off x="5403997" y="2134099"/>
                <a:ext cx="131443" cy="295747"/>
              </a:xfrm>
              <a:custGeom>
                <a:avLst/>
                <a:gdLst>
                  <a:gd name="connsiteX0" fmla="*/ 65722 w 131443"/>
                  <a:gd name="connsiteY0" fmla="*/ 0 h 295747"/>
                  <a:gd name="connsiteX1" fmla="*/ 0 w 131443"/>
                  <a:gd name="connsiteY1" fmla="*/ 0 h 295747"/>
                  <a:gd name="connsiteX2" fmla="*/ 0 w 131443"/>
                  <a:gd name="connsiteY2" fmla="*/ 262886 h 295747"/>
                  <a:gd name="connsiteX3" fmla="*/ 32861 w 131443"/>
                  <a:gd name="connsiteY3" fmla="*/ 295747 h 295747"/>
                  <a:gd name="connsiteX4" fmla="*/ 131443 w 131443"/>
                  <a:gd name="connsiteY4" fmla="*/ 295747 h 295747"/>
                  <a:gd name="connsiteX5" fmla="*/ 131443 w 131443"/>
                  <a:gd name="connsiteY5" fmla="*/ 230026 h 295747"/>
                  <a:gd name="connsiteX6" fmla="*/ 65722 w 131443"/>
                  <a:gd name="connsiteY6" fmla="*/ 230026 h 295747"/>
                  <a:gd name="connsiteX7" fmla="*/ 65722 w 131443"/>
                  <a:gd name="connsiteY7" fmla="*/ 0 h 29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443" h="295747">
                    <a:moveTo>
                      <a:pt x="65722" y="0"/>
                    </a:moveTo>
                    <a:lnTo>
                      <a:pt x="0" y="0"/>
                    </a:lnTo>
                    <a:lnTo>
                      <a:pt x="0" y="262886"/>
                    </a:lnTo>
                    <a:cubicBezTo>
                      <a:pt x="0" y="281026"/>
                      <a:pt x="14689" y="295747"/>
                      <a:pt x="32861" y="295747"/>
                    </a:cubicBezTo>
                    <a:lnTo>
                      <a:pt x="131443" y="295747"/>
                    </a:lnTo>
                    <a:lnTo>
                      <a:pt x="131443" y="230026"/>
                    </a:lnTo>
                    <a:lnTo>
                      <a:pt x="65722" y="230026"/>
                    </a:lnTo>
                    <a:lnTo>
                      <a:pt x="65722" y="0"/>
                    </a:lnTo>
                    <a:close/>
                  </a:path>
                </a:pathLst>
              </a:custGeom>
              <a:grpFill/>
              <a:ln w="32742" cap="flat">
                <a:noFill/>
                <a:prstDash val="solid"/>
                <a:miter/>
              </a:ln>
            </p:spPr>
            <p:txBody>
              <a:bodyPr rtlCol="0" anchor="ctr"/>
              <a:lstStyle/>
              <a:p>
                <a:endParaRPr lang="en-GB"/>
              </a:p>
            </p:txBody>
          </p:sp>
        </p:grpSp>
      </p:grpSp>
      <p:grpSp>
        <p:nvGrpSpPr>
          <p:cNvPr id="153" name="Group 152">
            <a:extLst>
              <a:ext uri="{FF2B5EF4-FFF2-40B4-BE49-F238E27FC236}">
                <a16:creationId xmlns:a16="http://schemas.microsoft.com/office/drawing/2014/main" id="{2A6D0926-C8BA-40C7-8B98-5926C6213033}"/>
              </a:ext>
            </a:extLst>
          </p:cNvPr>
          <p:cNvGrpSpPr/>
          <p:nvPr/>
        </p:nvGrpSpPr>
        <p:grpSpPr>
          <a:xfrm>
            <a:off x="969423" y="3970999"/>
            <a:ext cx="802300" cy="443903"/>
            <a:chOff x="1277363" y="2986325"/>
            <a:chExt cx="802300" cy="443903"/>
          </a:xfrm>
        </p:grpSpPr>
        <p:grpSp>
          <p:nvGrpSpPr>
            <p:cNvPr id="154" name="Graphic 31">
              <a:extLst>
                <a:ext uri="{FF2B5EF4-FFF2-40B4-BE49-F238E27FC236}">
                  <a16:creationId xmlns:a16="http://schemas.microsoft.com/office/drawing/2014/main" id="{FC342513-A148-44FA-8308-1DE66C46756A}"/>
                </a:ext>
              </a:extLst>
            </p:cNvPr>
            <p:cNvGrpSpPr>
              <a:grpSpLocks noChangeAspect="1"/>
            </p:cNvGrpSpPr>
            <p:nvPr/>
          </p:nvGrpSpPr>
          <p:grpSpPr>
            <a:xfrm>
              <a:off x="1511791" y="2986325"/>
              <a:ext cx="333444" cy="217000"/>
              <a:chOff x="3568064" y="1670943"/>
              <a:chExt cx="864870" cy="681037"/>
            </a:xfrm>
            <a:solidFill>
              <a:schemeClr val="tx2"/>
            </a:solidFill>
          </p:grpSpPr>
          <p:sp>
            <p:nvSpPr>
              <p:cNvPr id="156" name="Freeform: Shape 155">
                <a:extLst>
                  <a:ext uri="{FF2B5EF4-FFF2-40B4-BE49-F238E27FC236}">
                    <a16:creationId xmlns:a16="http://schemas.microsoft.com/office/drawing/2014/main" id="{3705F063-FE28-4E7E-BA53-B01C8874EA98}"/>
                  </a:ext>
                </a:extLst>
              </p:cNvPr>
              <p:cNvSpPr/>
              <p:nvPr/>
            </p:nvSpPr>
            <p:spPr>
              <a:xfrm>
                <a:off x="3568064" y="1670943"/>
                <a:ext cx="864870" cy="681037"/>
              </a:xfrm>
              <a:custGeom>
                <a:avLst/>
                <a:gdLst>
                  <a:gd name="connsiteX0" fmla="*/ 0 w 864870"/>
                  <a:gd name="connsiteY0" fmla="*/ 214313 h 681037"/>
                  <a:gd name="connsiteX1" fmla="*/ 0 w 864870"/>
                  <a:gd name="connsiteY1" fmla="*/ 681038 h 681037"/>
                  <a:gd name="connsiteX2" fmla="*/ 864870 w 864870"/>
                  <a:gd name="connsiteY2" fmla="*/ 681038 h 681037"/>
                  <a:gd name="connsiteX3" fmla="*/ 864870 w 864870"/>
                  <a:gd name="connsiteY3" fmla="*/ 214313 h 681037"/>
                  <a:gd name="connsiteX4" fmla="*/ 864870 w 864870"/>
                  <a:gd name="connsiteY4" fmla="*/ 0 h 681037"/>
                  <a:gd name="connsiteX5" fmla="*/ 0 w 864870"/>
                  <a:gd name="connsiteY5" fmla="*/ 0 h 681037"/>
                  <a:gd name="connsiteX6" fmla="*/ 0 w 864870"/>
                  <a:gd name="connsiteY6" fmla="*/ 214313 h 681037"/>
                  <a:gd name="connsiteX7" fmla="*/ 38100 w 864870"/>
                  <a:gd name="connsiteY7" fmla="*/ 38100 h 681037"/>
                  <a:gd name="connsiteX8" fmla="*/ 826770 w 864870"/>
                  <a:gd name="connsiteY8" fmla="*/ 38100 h 681037"/>
                  <a:gd name="connsiteX9" fmla="*/ 826770 w 864870"/>
                  <a:gd name="connsiteY9" fmla="*/ 176213 h 681037"/>
                  <a:gd name="connsiteX10" fmla="*/ 38100 w 864870"/>
                  <a:gd name="connsiteY10" fmla="*/ 176213 h 681037"/>
                  <a:gd name="connsiteX11" fmla="*/ 38100 w 864870"/>
                  <a:gd name="connsiteY11" fmla="*/ 38100 h 681037"/>
                  <a:gd name="connsiteX12" fmla="*/ 38100 w 864870"/>
                  <a:gd name="connsiteY12" fmla="*/ 214313 h 681037"/>
                  <a:gd name="connsiteX13" fmla="*/ 826770 w 864870"/>
                  <a:gd name="connsiteY13" fmla="*/ 214313 h 681037"/>
                  <a:gd name="connsiteX14" fmla="*/ 826770 w 864870"/>
                  <a:gd name="connsiteY14" fmla="*/ 642938 h 681037"/>
                  <a:gd name="connsiteX15" fmla="*/ 38100 w 864870"/>
                  <a:gd name="connsiteY15" fmla="*/ 642938 h 681037"/>
                  <a:gd name="connsiteX16" fmla="*/ 38100 w 864870"/>
                  <a:gd name="connsiteY16" fmla="*/ 214313 h 68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4870" h="681037">
                    <a:moveTo>
                      <a:pt x="0" y="214313"/>
                    </a:moveTo>
                    <a:lnTo>
                      <a:pt x="0" y="681038"/>
                    </a:lnTo>
                    <a:lnTo>
                      <a:pt x="864870" y="681038"/>
                    </a:lnTo>
                    <a:lnTo>
                      <a:pt x="864870" y="214313"/>
                    </a:lnTo>
                    <a:lnTo>
                      <a:pt x="864870" y="0"/>
                    </a:lnTo>
                    <a:lnTo>
                      <a:pt x="0" y="0"/>
                    </a:lnTo>
                    <a:lnTo>
                      <a:pt x="0" y="214313"/>
                    </a:lnTo>
                    <a:close/>
                    <a:moveTo>
                      <a:pt x="38100" y="38100"/>
                    </a:moveTo>
                    <a:lnTo>
                      <a:pt x="826770" y="38100"/>
                    </a:lnTo>
                    <a:lnTo>
                      <a:pt x="826770" y="176213"/>
                    </a:lnTo>
                    <a:lnTo>
                      <a:pt x="38100" y="176213"/>
                    </a:lnTo>
                    <a:lnTo>
                      <a:pt x="38100" y="38100"/>
                    </a:lnTo>
                    <a:close/>
                    <a:moveTo>
                      <a:pt x="38100" y="214313"/>
                    </a:moveTo>
                    <a:lnTo>
                      <a:pt x="826770" y="214313"/>
                    </a:lnTo>
                    <a:lnTo>
                      <a:pt x="826770" y="642938"/>
                    </a:lnTo>
                    <a:lnTo>
                      <a:pt x="38100" y="642938"/>
                    </a:lnTo>
                    <a:lnTo>
                      <a:pt x="38100" y="214313"/>
                    </a:lnTo>
                    <a:close/>
                  </a:path>
                </a:pathLst>
              </a:custGeom>
              <a:grpFill/>
              <a:ln w="9525" cap="flat">
                <a:noFill/>
                <a:prstDash val="solid"/>
                <a:miter/>
              </a:ln>
            </p:spPr>
            <p:txBody>
              <a:bodyPr rtlCol="0" anchor="ctr"/>
              <a:lstStyle/>
              <a:p>
                <a:endParaRPr lang="en-GB" sz="1050"/>
              </a:p>
            </p:txBody>
          </p:sp>
          <p:sp>
            <p:nvSpPr>
              <p:cNvPr id="157" name="Freeform: Shape 156">
                <a:extLst>
                  <a:ext uri="{FF2B5EF4-FFF2-40B4-BE49-F238E27FC236}">
                    <a16:creationId xmlns:a16="http://schemas.microsoft.com/office/drawing/2014/main" id="{0F0DD957-84A5-4F44-B3F7-1B8658B5D57D}"/>
                  </a:ext>
                </a:extLst>
              </p:cNvPr>
              <p:cNvSpPr/>
              <p:nvPr/>
            </p:nvSpPr>
            <p:spPr>
              <a:xfrm>
                <a:off x="3625215" y="1731904"/>
                <a:ext cx="97154" cy="97154"/>
              </a:xfrm>
              <a:custGeom>
                <a:avLst/>
                <a:gdLst>
                  <a:gd name="connsiteX0" fmla="*/ 97155 w 97154"/>
                  <a:gd name="connsiteY0" fmla="*/ 48578 h 97154"/>
                  <a:gd name="connsiteX1" fmla="*/ 48577 w 97154"/>
                  <a:gd name="connsiteY1" fmla="*/ 97155 h 97154"/>
                  <a:gd name="connsiteX2" fmla="*/ 0 w 97154"/>
                  <a:gd name="connsiteY2" fmla="*/ 48578 h 97154"/>
                  <a:gd name="connsiteX3" fmla="*/ 48577 w 97154"/>
                  <a:gd name="connsiteY3" fmla="*/ 0 h 97154"/>
                  <a:gd name="connsiteX4" fmla="*/ 97155 w 97154"/>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4" h="97154">
                    <a:moveTo>
                      <a:pt x="97155" y="48578"/>
                    </a:moveTo>
                    <a:cubicBezTo>
                      <a:pt x="97155" y="75406"/>
                      <a:pt x="75406" y="97155"/>
                      <a:pt x="48577" y="97155"/>
                    </a:cubicBezTo>
                    <a:cubicBezTo>
                      <a:pt x="21749" y="97155"/>
                      <a:pt x="0" y="75406"/>
                      <a:pt x="0" y="48578"/>
                    </a:cubicBezTo>
                    <a:cubicBezTo>
                      <a:pt x="0" y="21749"/>
                      <a:pt x="21749" y="0"/>
                      <a:pt x="48577" y="0"/>
                    </a:cubicBezTo>
                    <a:cubicBezTo>
                      <a:pt x="75406" y="0"/>
                      <a:pt x="97155" y="21749"/>
                      <a:pt x="97155" y="48578"/>
                    </a:cubicBezTo>
                    <a:close/>
                  </a:path>
                </a:pathLst>
              </a:custGeom>
              <a:grpFill/>
              <a:ln w="9525" cap="flat">
                <a:noFill/>
                <a:prstDash val="solid"/>
                <a:miter/>
              </a:ln>
            </p:spPr>
            <p:txBody>
              <a:bodyPr rtlCol="0" anchor="ctr"/>
              <a:lstStyle/>
              <a:p>
                <a:endParaRPr lang="en-GB" sz="1050"/>
              </a:p>
            </p:txBody>
          </p:sp>
          <p:sp>
            <p:nvSpPr>
              <p:cNvPr id="158" name="Freeform: Shape 157">
                <a:extLst>
                  <a:ext uri="{FF2B5EF4-FFF2-40B4-BE49-F238E27FC236}">
                    <a16:creationId xmlns:a16="http://schemas.microsoft.com/office/drawing/2014/main" id="{AB6532CF-6144-4521-8FC4-FF7142FA79FB}"/>
                  </a:ext>
                </a:extLst>
              </p:cNvPr>
              <p:cNvSpPr/>
              <p:nvPr/>
            </p:nvSpPr>
            <p:spPr>
              <a:xfrm>
                <a:off x="3757612" y="1731904"/>
                <a:ext cx="97155" cy="97154"/>
              </a:xfrm>
              <a:custGeom>
                <a:avLst/>
                <a:gdLst>
                  <a:gd name="connsiteX0" fmla="*/ 97155 w 97155"/>
                  <a:gd name="connsiteY0" fmla="*/ 48578 h 97154"/>
                  <a:gd name="connsiteX1" fmla="*/ 48578 w 97155"/>
                  <a:gd name="connsiteY1" fmla="*/ 97155 h 97154"/>
                  <a:gd name="connsiteX2" fmla="*/ 0 w 97155"/>
                  <a:gd name="connsiteY2" fmla="*/ 48578 h 97154"/>
                  <a:gd name="connsiteX3" fmla="*/ 48578 w 97155"/>
                  <a:gd name="connsiteY3" fmla="*/ 0 h 97154"/>
                  <a:gd name="connsiteX4" fmla="*/ 97155 w 97155"/>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 h="97154">
                    <a:moveTo>
                      <a:pt x="97155" y="48578"/>
                    </a:moveTo>
                    <a:cubicBezTo>
                      <a:pt x="97155" y="75406"/>
                      <a:pt x="75406" y="97155"/>
                      <a:pt x="48578" y="97155"/>
                    </a:cubicBezTo>
                    <a:cubicBezTo>
                      <a:pt x="21749" y="97155"/>
                      <a:pt x="0" y="75406"/>
                      <a:pt x="0" y="48578"/>
                    </a:cubicBezTo>
                    <a:cubicBezTo>
                      <a:pt x="0" y="21749"/>
                      <a:pt x="21749" y="0"/>
                      <a:pt x="48578" y="0"/>
                    </a:cubicBezTo>
                    <a:cubicBezTo>
                      <a:pt x="75406" y="0"/>
                      <a:pt x="97155" y="21749"/>
                      <a:pt x="97155" y="48578"/>
                    </a:cubicBezTo>
                    <a:close/>
                  </a:path>
                </a:pathLst>
              </a:custGeom>
              <a:grpFill/>
              <a:ln w="9525" cap="flat">
                <a:noFill/>
                <a:prstDash val="solid"/>
                <a:miter/>
              </a:ln>
            </p:spPr>
            <p:txBody>
              <a:bodyPr rtlCol="0" anchor="ctr"/>
              <a:lstStyle/>
              <a:p>
                <a:endParaRPr lang="en-GB" sz="1050"/>
              </a:p>
            </p:txBody>
          </p:sp>
          <p:sp>
            <p:nvSpPr>
              <p:cNvPr id="159" name="Freeform: Shape 158">
                <a:extLst>
                  <a:ext uri="{FF2B5EF4-FFF2-40B4-BE49-F238E27FC236}">
                    <a16:creationId xmlns:a16="http://schemas.microsoft.com/office/drawing/2014/main" id="{5150297D-B5AD-44DB-9FE4-425DC4117517}"/>
                  </a:ext>
                </a:extLst>
              </p:cNvPr>
              <p:cNvSpPr/>
              <p:nvPr/>
            </p:nvSpPr>
            <p:spPr>
              <a:xfrm>
                <a:off x="3890010" y="1731904"/>
                <a:ext cx="97155" cy="97154"/>
              </a:xfrm>
              <a:custGeom>
                <a:avLst/>
                <a:gdLst>
                  <a:gd name="connsiteX0" fmla="*/ 97155 w 97155"/>
                  <a:gd name="connsiteY0" fmla="*/ 48578 h 97154"/>
                  <a:gd name="connsiteX1" fmla="*/ 48578 w 97155"/>
                  <a:gd name="connsiteY1" fmla="*/ 97155 h 97154"/>
                  <a:gd name="connsiteX2" fmla="*/ 0 w 97155"/>
                  <a:gd name="connsiteY2" fmla="*/ 48578 h 97154"/>
                  <a:gd name="connsiteX3" fmla="*/ 48578 w 97155"/>
                  <a:gd name="connsiteY3" fmla="*/ 0 h 97154"/>
                  <a:gd name="connsiteX4" fmla="*/ 97155 w 97155"/>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 h="97154">
                    <a:moveTo>
                      <a:pt x="97155" y="48578"/>
                    </a:moveTo>
                    <a:cubicBezTo>
                      <a:pt x="97155" y="75406"/>
                      <a:pt x="75406" y="97155"/>
                      <a:pt x="48578" y="97155"/>
                    </a:cubicBezTo>
                    <a:cubicBezTo>
                      <a:pt x="21749" y="97155"/>
                      <a:pt x="0" y="75406"/>
                      <a:pt x="0" y="48578"/>
                    </a:cubicBezTo>
                    <a:cubicBezTo>
                      <a:pt x="0" y="21749"/>
                      <a:pt x="21749" y="0"/>
                      <a:pt x="48578" y="0"/>
                    </a:cubicBezTo>
                    <a:cubicBezTo>
                      <a:pt x="75406" y="0"/>
                      <a:pt x="97155" y="21749"/>
                      <a:pt x="97155" y="48578"/>
                    </a:cubicBezTo>
                    <a:close/>
                  </a:path>
                </a:pathLst>
              </a:custGeom>
              <a:grpFill/>
              <a:ln w="9525" cap="flat">
                <a:noFill/>
                <a:prstDash val="solid"/>
                <a:miter/>
              </a:ln>
            </p:spPr>
            <p:txBody>
              <a:bodyPr rtlCol="0" anchor="ctr"/>
              <a:lstStyle/>
              <a:p>
                <a:endParaRPr lang="en-GB" sz="1050"/>
              </a:p>
            </p:txBody>
          </p:sp>
          <p:sp>
            <p:nvSpPr>
              <p:cNvPr id="160" name="Freeform: Shape 159">
                <a:extLst>
                  <a:ext uri="{FF2B5EF4-FFF2-40B4-BE49-F238E27FC236}">
                    <a16:creationId xmlns:a16="http://schemas.microsoft.com/office/drawing/2014/main" id="{5ECE1081-FEBC-4798-BB0E-DFC6852ED6AD}"/>
                  </a:ext>
                </a:extLst>
              </p:cNvPr>
              <p:cNvSpPr/>
              <p:nvPr/>
            </p:nvSpPr>
            <p:spPr>
              <a:xfrm>
                <a:off x="3671887" y="1977649"/>
                <a:ext cx="279082" cy="241935"/>
              </a:xfrm>
              <a:custGeom>
                <a:avLst/>
                <a:gdLst>
                  <a:gd name="connsiteX0" fmla="*/ 260033 w 279082"/>
                  <a:gd name="connsiteY0" fmla="*/ 0 h 241935"/>
                  <a:gd name="connsiteX1" fmla="*/ 218123 w 279082"/>
                  <a:gd name="connsiteY1" fmla="*/ 0 h 241935"/>
                  <a:gd name="connsiteX2" fmla="*/ 99060 w 279082"/>
                  <a:gd name="connsiteY2" fmla="*/ 101917 h 241935"/>
                  <a:gd name="connsiteX3" fmla="*/ 19050 w 279082"/>
                  <a:gd name="connsiteY3" fmla="*/ 101917 h 241935"/>
                  <a:gd name="connsiteX4" fmla="*/ 0 w 279082"/>
                  <a:gd name="connsiteY4" fmla="*/ 120967 h 241935"/>
                  <a:gd name="connsiteX5" fmla="*/ 19050 w 279082"/>
                  <a:gd name="connsiteY5" fmla="*/ 140017 h 241935"/>
                  <a:gd name="connsiteX6" fmla="*/ 99060 w 279082"/>
                  <a:gd name="connsiteY6" fmla="*/ 140017 h 241935"/>
                  <a:gd name="connsiteX7" fmla="*/ 218123 w 279082"/>
                  <a:gd name="connsiteY7" fmla="*/ 241935 h 241935"/>
                  <a:gd name="connsiteX8" fmla="*/ 260033 w 279082"/>
                  <a:gd name="connsiteY8" fmla="*/ 241935 h 241935"/>
                  <a:gd name="connsiteX9" fmla="*/ 279083 w 279082"/>
                  <a:gd name="connsiteY9" fmla="*/ 222885 h 241935"/>
                  <a:gd name="connsiteX10" fmla="*/ 279083 w 279082"/>
                  <a:gd name="connsiteY10" fmla="*/ 19050 h 241935"/>
                  <a:gd name="connsiteX11" fmla="*/ 260033 w 279082"/>
                  <a:gd name="connsiteY11" fmla="*/ 0 h 241935"/>
                  <a:gd name="connsiteX12" fmla="*/ 240983 w 279082"/>
                  <a:gd name="connsiteY12" fmla="*/ 203835 h 241935"/>
                  <a:gd name="connsiteX13" fmla="*/ 218123 w 279082"/>
                  <a:gd name="connsiteY13" fmla="*/ 203835 h 241935"/>
                  <a:gd name="connsiteX14" fmla="*/ 135255 w 279082"/>
                  <a:gd name="connsiteY14" fmla="*/ 120967 h 241935"/>
                  <a:gd name="connsiteX15" fmla="*/ 218123 w 279082"/>
                  <a:gd name="connsiteY15" fmla="*/ 38100 h 241935"/>
                  <a:gd name="connsiteX16" fmla="*/ 240983 w 279082"/>
                  <a:gd name="connsiteY16" fmla="*/ 38100 h 241935"/>
                  <a:gd name="connsiteX17" fmla="*/ 240983 w 279082"/>
                  <a:gd name="connsiteY17" fmla="*/ 203835 h 24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9082" h="241935">
                    <a:moveTo>
                      <a:pt x="260033" y="0"/>
                    </a:moveTo>
                    <a:lnTo>
                      <a:pt x="218123" y="0"/>
                    </a:lnTo>
                    <a:cubicBezTo>
                      <a:pt x="158115" y="0"/>
                      <a:pt x="107632" y="43815"/>
                      <a:pt x="99060" y="101917"/>
                    </a:cubicBezTo>
                    <a:lnTo>
                      <a:pt x="19050" y="101917"/>
                    </a:lnTo>
                    <a:cubicBezTo>
                      <a:pt x="8572" y="101917"/>
                      <a:pt x="0" y="110490"/>
                      <a:pt x="0" y="120967"/>
                    </a:cubicBezTo>
                    <a:cubicBezTo>
                      <a:pt x="0" y="131445"/>
                      <a:pt x="8572" y="140017"/>
                      <a:pt x="19050" y="140017"/>
                    </a:cubicBezTo>
                    <a:lnTo>
                      <a:pt x="99060" y="140017"/>
                    </a:lnTo>
                    <a:cubicBezTo>
                      <a:pt x="108585" y="198120"/>
                      <a:pt x="158115" y="241935"/>
                      <a:pt x="218123" y="241935"/>
                    </a:cubicBezTo>
                    <a:lnTo>
                      <a:pt x="260033" y="241935"/>
                    </a:lnTo>
                    <a:cubicBezTo>
                      <a:pt x="270510" y="241935"/>
                      <a:pt x="279083" y="233363"/>
                      <a:pt x="279083" y="222885"/>
                    </a:cubicBezTo>
                    <a:lnTo>
                      <a:pt x="279083" y="19050"/>
                    </a:lnTo>
                    <a:cubicBezTo>
                      <a:pt x="279083" y="8572"/>
                      <a:pt x="270510" y="0"/>
                      <a:pt x="260033" y="0"/>
                    </a:cubicBezTo>
                    <a:close/>
                    <a:moveTo>
                      <a:pt x="240983" y="203835"/>
                    </a:moveTo>
                    <a:lnTo>
                      <a:pt x="218123" y="203835"/>
                    </a:lnTo>
                    <a:cubicBezTo>
                      <a:pt x="172402" y="203835"/>
                      <a:pt x="135255" y="166688"/>
                      <a:pt x="135255" y="120967"/>
                    </a:cubicBezTo>
                    <a:cubicBezTo>
                      <a:pt x="135255" y="75247"/>
                      <a:pt x="172402" y="38100"/>
                      <a:pt x="218123" y="38100"/>
                    </a:cubicBezTo>
                    <a:lnTo>
                      <a:pt x="240983" y="38100"/>
                    </a:lnTo>
                    <a:lnTo>
                      <a:pt x="240983" y="203835"/>
                    </a:lnTo>
                    <a:close/>
                  </a:path>
                </a:pathLst>
              </a:custGeom>
              <a:grpFill/>
              <a:ln w="9525" cap="flat">
                <a:noFill/>
                <a:prstDash val="solid"/>
                <a:miter/>
              </a:ln>
            </p:spPr>
            <p:txBody>
              <a:bodyPr rtlCol="0" anchor="ctr"/>
              <a:lstStyle/>
              <a:p>
                <a:endParaRPr lang="en-GB" sz="1050"/>
              </a:p>
            </p:txBody>
          </p:sp>
          <p:sp>
            <p:nvSpPr>
              <p:cNvPr id="161" name="Freeform: Shape 160">
                <a:extLst>
                  <a:ext uri="{FF2B5EF4-FFF2-40B4-BE49-F238E27FC236}">
                    <a16:creationId xmlns:a16="http://schemas.microsoft.com/office/drawing/2014/main" id="{7C7EC767-C238-4BCB-866D-9220705652D8}"/>
                  </a:ext>
                </a:extLst>
              </p:cNvPr>
              <p:cNvSpPr/>
              <p:nvPr/>
            </p:nvSpPr>
            <p:spPr>
              <a:xfrm>
                <a:off x="3987164" y="1977649"/>
                <a:ext cx="342900" cy="242887"/>
              </a:xfrm>
              <a:custGeom>
                <a:avLst/>
                <a:gdLst>
                  <a:gd name="connsiteX0" fmla="*/ 323850 w 342900"/>
                  <a:gd name="connsiteY0" fmla="*/ 101917 h 242887"/>
                  <a:gd name="connsiteX1" fmla="*/ 243840 w 342900"/>
                  <a:gd name="connsiteY1" fmla="*/ 101917 h 242887"/>
                  <a:gd name="connsiteX2" fmla="*/ 124778 w 342900"/>
                  <a:gd name="connsiteY2" fmla="*/ 0 h 242887"/>
                  <a:gd name="connsiteX3" fmla="*/ 82868 w 342900"/>
                  <a:gd name="connsiteY3" fmla="*/ 0 h 242887"/>
                  <a:gd name="connsiteX4" fmla="*/ 63818 w 342900"/>
                  <a:gd name="connsiteY4" fmla="*/ 19050 h 242887"/>
                  <a:gd name="connsiteX5" fmla="*/ 63818 w 342900"/>
                  <a:gd name="connsiteY5" fmla="*/ 50482 h 242887"/>
                  <a:gd name="connsiteX6" fmla="*/ 19050 w 342900"/>
                  <a:gd name="connsiteY6" fmla="*/ 50482 h 242887"/>
                  <a:gd name="connsiteX7" fmla="*/ 0 w 342900"/>
                  <a:gd name="connsiteY7" fmla="*/ 69532 h 242887"/>
                  <a:gd name="connsiteX8" fmla="*/ 19050 w 342900"/>
                  <a:gd name="connsiteY8" fmla="*/ 88582 h 242887"/>
                  <a:gd name="connsiteX9" fmla="*/ 63818 w 342900"/>
                  <a:gd name="connsiteY9" fmla="*/ 88582 h 242887"/>
                  <a:gd name="connsiteX10" fmla="*/ 63818 w 342900"/>
                  <a:gd name="connsiteY10" fmla="*/ 154305 h 242887"/>
                  <a:gd name="connsiteX11" fmla="*/ 19050 w 342900"/>
                  <a:gd name="connsiteY11" fmla="*/ 154305 h 242887"/>
                  <a:gd name="connsiteX12" fmla="*/ 0 w 342900"/>
                  <a:gd name="connsiteY12" fmla="*/ 173355 h 242887"/>
                  <a:gd name="connsiteX13" fmla="*/ 19050 w 342900"/>
                  <a:gd name="connsiteY13" fmla="*/ 192405 h 242887"/>
                  <a:gd name="connsiteX14" fmla="*/ 63818 w 342900"/>
                  <a:gd name="connsiteY14" fmla="*/ 192405 h 242887"/>
                  <a:gd name="connsiteX15" fmla="*/ 63818 w 342900"/>
                  <a:gd name="connsiteY15" fmla="*/ 223838 h 242887"/>
                  <a:gd name="connsiteX16" fmla="*/ 82868 w 342900"/>
                  <a:gd name="connsiteY16" fmla="*/ 242888 h 242887"/>
                  <a:gd name="connsiteX17" fmla="*/ 124778 w 342900"/>
                  <a:gd name="connsiteY17" fmla="*/ 242888 h 242887"/>
                  <a:gd name="connsiteX18" fmla="*/ 243840 w 342900"/>
                  <a:gd name="connsiteY18" fmla="*/ 140970 h 242887"/>
                  <a:gd name="connsiteX19" fmla="*/ 323850 w 342900"/>
                  <a:gd name="connsiteY19" fmla="*/ 140970 h 242887"/>
                  <a:gd name="connsiteX20" fmla="*/ 342900 w 342900"/>
                  <a:gd name="connsiteY20" fmla="*/ 121920 h 242887"/>
                  <a:gd name="connsiteX21" fmla="*/ 323850 w 342900"/>
                  <a:gd name="connsiteY21" fmla="*/ 101917 h 242887"/>
                  <a:gd name="connsiteX22" fmla="*/ 123825 w 342900"/>
                  <a:gd name="connsiteY22" fmla="*/ 203835 h 242887"/>
                  <a:gd name="connsiteX23" fmla="*/ 100965 w 342900"/>
                  <a:gd name="connsiteY23" fmla="*/ 203835 h 242887"/>
                  <a:gd name="connsiteX24" fmla="*/ 100965 w 342900"/>
                  <a:gd name="connsiteY24" fmla="*/ 38100 h 242887"/>
                  <a:gd name="connsiteX25" fmla="*/ 123825 w 342900"/>
                  <a:gd name="connsiteY25" fmla="*/ 38100 h 242887"/>
                  <a:gd name="connsiteX26" fmla="*/ 206693 w 342900"/>
                  <a:gd name="connsiteY26" fmla="*/ 120967 h 242887"/>
                  <a:gd name="connsiteX27" fmla="*/ 123825 w 342900"/>
                  <a:gd name="connsiteY27" fmla="*/ 203835 h 2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42900" h="242887">
                    <a:moveTo>
                      <a:pt x="323850" y="101917"/>
                    </a:moveTo>
                    <a:lnTo>
                      <a:pt x="243840" y="101917"/>
                    </a:lnTo>
                    <a:cubicBezTo>
                      <a:pt x="234315" y="43815"/>
                      <a:pt x="184785" y="0"/>
                      <a:pt x="124778" y="0"/>
                    </a:cubicBezTo>
                    <a:lnTo>
                      <a:pt x="82868" y="0"/>
                    </a:lnTo>
                    <a:cubicBezTo>
                      <a:pt x="72390" y="0"/>
                      <a:pt x="63818" y="8572"/>
                      <a:pt x="63818" y="19050"/>
                    </a:cubicBezTo>
                    <a:lnTo>
                      <a:pt x="63818" y="50482"/>
                    </a:lnTo>
                    <a:lnTo>
                      <a:pt x="19050" y="50482"/>
                    </a:lnTo>
                    <a:cubicBezTo>
                      <a:pt x="8573" y="50482"/>
                      <a:pt x="0" y="59055"/>
                      <a:pt x="0" y="69532"/>
                    </a:cubicBezTo>
                    <a:cubicBezTo>
                      <a:pt x="0" y="80010"/>
                      <a:pt x="8573" y="88582"/>
                      <a:pt x="19050" y="88582"/>
                    </a:cubicBezTo>
                    <a:lnTo>
                      <a:pt x="63818" y="88582"/>
                    </a:lnTo>
                    <a:lnTo>
                      <a:pt x="63818" y="154305"/>
                    </a:lnTo>
                    <a:lnTo>
                      <a:pt x="19050" y="154305"/>
                    </a:lnTo>
                    <a:cubicBezTo>
                      <a:pt x="8573" y="154305"/>
                      <a:pt x="0" y="162877"/>
                      <a:pt x="0" y="173355"/>
                    </a:cubicBezTo>
                    <a:cubicBezTo>
                      <a:pt x="0" y="183832"/>
                      <a:pt x="8573" y="192405"/>
                      <a:pt x="19050" y="192405"/>
                    </a:cubicBezTo>
                    <a:lnTo>
                      <a:pt x="63818" y="192405"/>
                    </a:lnTo>
                    <a:lnTo>
                      <a:pt x="63818" y="223838"/>
                    </a:lnTo>
                    <a:cubicBezTo>
                      <a:pt x="63818" y="234315"/>
                      <a:pt x="72390" y="242888"/>
                      <a:pt x="82868" y="242888"/>
                    </a:cubicBezTo>
                    <a:lnTo>
                      <a:pt x="124778" y="242888"/>
                    </a:lnTo>
                    <a:cubicBezTo>
                      <a:pt x="184785" y="242888"/>
                      <a:pt x="235268" y="199073"/>
                      <a:pt x="243840" y="140970"/>
                    </a:cubicBezTo>
                    <a:lnTo>
                      <a:pt x="323850" y="140970"/>
                    </a:lnTo>
                    <a:cubicBezTo>
                      <a:pt x="334328" y="140970"/>
                      <a:pt x="342900" y="132397"/>
                      <a:pt x="342900" y="121920"/>
                    </a:cubicBezTo>
                    <a:cubicBezTo>
                      <a:pt x="342900" y="111442"/>
                      <a:pt x="334328" y="101917"/>
                      <a:pt x="323850" y="101917"/>
                    </a:cubicBezTo>
                    <a:close/>
                    <a:moveTo>
                      <a:pt x="123825" y="203835"/>
                    </a:moveTo>
                    <a:lnTo>
                      <a:pt x="100965" y="203835"/>
                    </a:lnTo>
                    <a:lnTo>
                      <a:pt x="100965" y="38100"/>
                    </a:lnTo>
                    <a:lnTo>
                      <a:pt x="123825" y="38100"/>
                    </a:lnTo>
                    <a:cubicBezTo>
                      <a:pt x="169545" y="38100"/>
                      <a:pt x="206693" y="75247"/>
                      <a:pt x="206693" y="120967"/>
                    </a:cubicBezTo>
                    <a:cubicBezTo>
                      <a:pt x="207645" y="166688"/>
                      <a:pt x="169545" y="203835"/>
                      <a:pt x="123825" y="203835"/>
                    </a:cubicBezTo>
                    <a:close/>
                  </a:path>
                </a:pathLst>
              </a:custGeom>
              <a:grpFill/>
              <a:ln w="9525" cap="flat">
                <a:noFill/>
                <a:prstDash val="solid"/>
                <a:miter/>
              </a:ln>
            </p:spPr>
            <p:txBody>
              <a:bodyPr rtlCol="0" anchor="ctr"/>
              <a:lstStyle/>
              <a:p>
                <a:endParaRPr lang="en-GB" sz="1050"/>
              </a:p>
            </p:txBody>
          </p:sp>
        </p:grpSp>
        <p:sp>
          <p:nvSpPr>
            <p:cNvPr id="155" name="TextBox 154">
              <a:extLst>
                <a:ext uri="{FF2B5EF4-FFF2-40B4-BE49-F238E27FC236}">
                  <a16:creationId xmlns:a16="http://schemas.microsoft.com/office/drawing/2014/main" id="{1C23A93C-F188-41BD-9C9B-06FE8471FE3A}"/>
                </a:ext>
              </a:extLst>
            </p:cNvPr>
            <p:cNvSpPr txBox="1"/>
            <p:nvPr/>
          </p:nvSpPr>
          <p:spPr>
            <a:xfrm>
              <a:off x="1277363" y="3199396"/>
              <a:ext cx="802300" cy="230832"/>
            </a:xfrm>
            <a:prstGeom prst="rect">
              <a:avLst/>
            </a:prstGeom>
            <a:noFill/>
          </p:spPr>
          <p:txBody>
            <a:bodyPr wrap="square" rtlCol="0">
              <a:spAutoFit/>
            </a:bodyPr>
            <a:lstStyle/>
            <a:p>
              <a:pPr algn="ctr"/>
              <a:r>
                <a:rPr lang="en-GB" sz="900" b="1">
                  <a:solidFill>
                    <a:schemeClr val="tx2"/>
                  </a:solidFill>
                  <a:latin typeface="Trebuchet MS" panose="020B0603020202020204" pitchFamily="34" charset="0"/>
                </a:rPr>
                <a:t>Connector</a:t>
              </a:r>
            </a:p>
          </p:txBody>
        </p:sp>
      </p:grpSp>
      <p:sp>
        <p:nvSpPr>
          <p:cNvPr id="162" name="Ellipse 80">
            <a:extLst>
              <a:ext uri="{FF2B5EF4-FFF2-40B4-BE49-F238E27FC236}">
                <a16:creationId xmlns:a16="http://schemas.microsoft.com/office/drawing/2014/main" id="{9DD4F141-9772-44F2-8377-CE85A8A89520}"/>
              </a:ext>
            </a:extLst>
          </p:cNvPr>
          <p:cNvSpPr/>
          <p:nvPr/>
        </p:nvSpPr>
        <p:spPr bwMode="auto">
          <a:xfrm>
            <a:off x="838669" y="3840415"/>
            <a:ext cx="223550" cy="213007"/>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700" b="0" i="0" u="none" strike="noStrike" cap="none" normalizeH="0" baseline="0">
                <a:ln>
                  <a:noFill/>
                </a:ln>
                <a:solidFill>
                  <a:schemeClr val="bg1"/>
                </a:solidFill>
                <a:effectLst/>
                <a:latin typeface="Trebuchet MS" panose="020B0603020202020204" pitchFamily="34" charset="0"/>
              </a:rPr>
              <a:t>2</a:t>
            </a:r>
          </a:p>
        </p:txBody>
      </p:sp>
      <p:cxnSp>
        <p:nvCxnSpPr>
          <p:cNvPr id="163" name="Connecteur droit avec flèche 5">
            <a:extLst>
              <a:ext uri="{FF2B5EF4-FFF2-40B4-BE49-F238E27FC236}">
                <a16:creationId xmlns:a16="http://schemas.microsoft.com/office/drawing/2014/main" id="{3A67DD97-BC20-4267-B7EE-87F8B96C1B07}"/>
              </a:ext>
            </a:extLst>
          </p:cNvPr>
          <p:cNvCxnSpPr>
            <a:cxnSpLocks/>
          </p:cNvCxnSpPr>
          <p:nvPr/>
        </p:nvCxnSpPr>
        <p:spPr bwMode="auto">
          <a:xfrm>
            <a:off x="667799" y="1506553"/>
            <a:ext cx="0" cy="4959024"/>
          </a:xfrm>
          <a:prstGeom prst="straightConnector1">
            <a:avLst/>
          </a:prstGeom>
          <a:solidFill>
            <a:schemeClr val="accent1"/>
          </a:solidFill>
          <a:ln w="22225" cap="flat" cmpd="sng" algn="ctr">
            <a:solidFill>
              <a:schemeClr val="tx2"/>
            </a:solidFill>
            <a:prstDash val="solid"/>
            <a:round/>
            <a:headEnd type="none" w="med" len="med"/>
            <a:tailEnd type="triangle"/>
          </a:ln>
          <a:effectLst/>
        </p:spPr>
      </p:cxnSp>
      <p:sp>
        <p:nvSpPr>
          <p:cNvPr id="164" name="TextBox 163">
            <a:extLst>
              <a:ext uri="{FF2B5EF4-FFF2-40B4-BE49-F238E27FC236}">
                <a16:creationId xmlns:a16="http://schemas.microsoft.com/office/drawing/2014/main" id="{7A575100-63EC-4C2D-AF9E-3D64A2811925}"/>
              </a:ext>
            </a:extLst>
          </p:cNvPr>
          <p:cNvSpPr txBox="1"/>
          <p:nvPr/>
        </p:nvSpPr>
        <p:spPr>
          <a:xfrm>
            <a:off x="145015" y="1729513"/>
            <a:ext cx="359340" cy="246221"/>
          </a:xfrm>
          <a:prstGeom prst="rect">
            <a:avLst/>
          </a:prstGeom>
          <a:noFill/>
        </p:spPr>
        <p:txBody>
          <a:bodyPr wrap="square" lIns="0" rIns="0" rtlCol="0">
            <a:spAutoFit/>
          </a:bodyPr>
          <a:lstStyle>
            <a:defPPr>
              <a:defRPr lang="en-US"/>
            </a:defPPr>
            <a:lvl1pPr algn="ctr">
              <a:defRPr sz="1000" i="1">
                <a:latin typeface="+mj-lt"/>
              </a:defRPr>
            </a:lvl1pPr>
          </a:lstStyle>
          <a:p>
            <a:r>
              <a:rPr lang="en-GB">
                <a:solidFill>
                  <a:schemeClr val="tx2"/>
                </a:solidFill>
                <a:latin typeface="Trebuchet MS" panose="020B0603020202020204" pitchFamily="34" charset="0"/>
              </a:rPr>
              <a:t>None</a:t>
            </a:r>
          </a:p>
        </p:txBody>
      </p:sp>
      <p:sp>
        <p:nvSpPr>
          <p:cNvPr id="165" name="TextBox 164">
            <a:extLst>
              <a:ext uri="{FF2B5EF4-FFF2-40B4-BE49-F238E27FC236}">
                <a16:creationId xmlns:a16="http://schemas.microsoft.com/office/drawing/2014/main" id="{F7EA5B7D-4AC8-43DF-987C-0CAB82338F9C}"/>
              </a:ext>
            </a:extLst>
          </p:cNvPr>
          <p:cNvSpPr txBox="1"/>
          <p:nvPr/>
        </p:nvSpPr>
        <p:spPr>
          <a:xfrm>
            <a:off x="86051" y="5779294"/>
            <a:ext cx="480644" cy="553998"/>
          </a:xfrm>
          <a:prstGeom prst="rect">
            <a:avLst/>
          </a:prstGeom>
          <a:noFill/>
        </p:spPr>
        <p:txBody>
          <a:bodyPr wrap="square" lIns="0" rIns="0" rtlCol="0">
            <a:spAutoFit/>
          </a:bodyPr>
          <a:lstStyle/>
          <a:p>
            <a:pPr algn="ctr"/>
            <a:r>
              <a:rPr lang="en-GB" sz="1000" i="1">
                <a:solidFill>
                  <a:schemeClr val="tx2"/>
                </a:solidFill>
                <a:latin typeface="Trebuchet MS" panose="020B0603020202020204" pitchFamily="34" charset="0"/>
              </a:rPr>
              <a:t>Tailor-made service</a:t>
            </a:r>
          </a:p>
        </p:txBody>
      </p:sp>
      <p:sp>
        <p:nvSpPr>
          <p:cNvPr id="166" name="TextBox 165">
            <a:extLst>
              <a:ext uri="{FF2B5EF4-FFF2-40B4-BE49-F238E27FC236}">
                <a16:creationId xmlns:a16="http://schemas.microsoft.com/office/drawing/2014/main" id="{D30442F1-5CDF-424E-BB56-C7C4247E4979}"/>
              </a:ext>
            </a:extLst>
          </p:cNvPr>
          <p:cNvSpPr txBox="1"/>
          <p:nvPr/>
        </p:nvSpPr>
        <p:spPr>
          <a:xfrm>
            <a:off x="63341" y="927920"/>
            <a:ext cx="1210990" cy="553998"/>
          </a:xfrm>
          <a:prstGeom prst="rect">
            <a:avLst/>
          </a:prstGeom>
          <a:noFill/>
        </p:spPr>
        <p:txBody>
          <a:bodyPr wrap="square" rtlCol="0">
            <a:spAutoFit/>
          </a:bodyPr>
          <a:lstStyle/>
          <a:p>
            <a:pPr algn="ctr"/>
            <a:r>
              <a:rPr lang="en-GB" sz="1000" b="1">
                <a:solidFill>
                  <a:schemeClr val="tx2"/>
                </a:solidFill>
                <a:latin typeface="Trebuchet MS" panose="020B0603020202020204" pitchFamily="34" charset="0"/>
              </a:rPr>
              <a:t>Level of personalization in clients’ tools</a:t>
            </a:r>
          </a:p>
        </p:txBody>
      </p:sp>
      <p:sp>
        <p:nvSpPr>
          <p:cNvPr id="2" name="Rectangle 1">
            <a:extLst>
              <a:ext uri="{FF2B5EF4-FFF2-40B4-BE49-F238E27FC236}">
                <a16:creationId xmlns:a16="http://schemas.microsoft.com/office/drawing/2014/main" id="{7814B1B9-7435-4EC7-9F25-EF7783D80DBD}"/>
              </a:ext>
            </a:extLst>
          </p:cNvPr>
          <p:cNvSpPr/>
          <p:nvPr/>
        </p:nvSpPr>
        <p:spPr bwMode="auto">
          <a:xfrm>
            <a:off x="2000312" y="5687906"/>
            <a:ext cx="7693542" cy="63041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50" err="1">
                <a:latin typeface="Trebuchet MS" panose="020B0603020202020204" pitchFamily="34" charset="0"/>
              </a:rPr>
              <a:t>Altares</a:t>
            </a:r>
            <a:r>
              <a:rPr lang="en-GB" sz="1050">
                <a:latin typeface="Trebuchet MS" panose="020B0603020202020204" pitchFamily="34" charset="0"/>
              </a:rPr>
              <a:t> has several kind of APIs:</a:t>
            </a:r>
          </a:p>
          <a:p>
            <a:pPr marL="396000" marR="0" indent="-171450" defTabSz="914400" rtl="0" eaLnBrk="1" fontAlgn="base" latinLnBrk="0" hangingPunct="1">
              <a:lnSpc>
                <a:spcPct val="100000"/>
              </a:lnSpc>
              <a:spcBef>
                <a:spcPct val="0"/>
              </a:spcBef>
              <a:spcAft>
                <a:spcPct val="0"/>
              </a:spcAft>
              <a:buClrTx/>
              <a:buSzTx/>
              <a:buFontTx/>
              <a:buChar char="-"/>
              <a:tabLst/>
            </a:pPr>
            <a:r>
              <a:rPr lang="en-GB" sz="1050">
                <a:latin typeface="Trebuchet MS" panose="020B0603020202020204" pitchFamily="34" charset="0"/>
              </a:rPr>
              <a:t>On-the-shelf APIs, ready to use by the client</a:t>
            </a:r>
          </a:p>
          <a:p>
            <a:pPr marL="396000" marR="0" indent="-171450" defTabSz="914400" rtl="0" eaLnBrk="1" fontAlgn="base" latinLnBrk="0" hangingPunct="1">
              <a:lnSpc>
                <a:spcPct val="100000"/>
              </a:lnSpc>
              <a:spcBef>
                <a:spcPct val="0"/>
              </a:spcBef>
              <a:spcAft>
                <a:spcPct val="0"/>
              </a:spcAft>
              <a:buClrTx/>
              <a:buSzTx/>
              <a:buFontTx/>
              <a:buChar char="-"/>
              <a:tabLst/>
            </a:pPr>
            <a:r>
              <a:rPr lang="en-GB" sz="1050">
                <a:latin typeface="Trebuchet MS" panose="020B0603020202020204" pitchFamily="34" charset="0"/>
              </a:rPr>
              <a:t>Tailor-made API interfaces resulting of a combined work between </a:t>
            </a:r>
            <a:r>
              <a:rPr lang="en-GB" sz="1050" err="1">
                <a:latin typeface="Trebuchet MS" panose="020B0603020202020204" pitchFamily="34" charset="0"/>
              </a:rPr>
              <a:t>Altares</a:t>
            </a:r>
            <a:r>
              <a:rPr lang="en-GB" sz="1050">
                <a:latin typeface="Trebuchet MS" panose="020B0603020202020204" pitchFamily="34" charset="0"/>
              </a:rPr>
              <a:t> and each client individually</a:t>
            </a:r>
            <a:endParaRPr kumimoji="0" lang="en-GB" sz="1050" b="0" i="0" u="none" strike="noStrike" cap="none" normalizeH="0" baseline="0">
              <a:ln>
                <a:noFill/>
              </a:ln>
              <a:solidFill>
                <a:schemeClr val="tx1"/>
              </a:solidFill>
              <a:effectLst/>
              <a:latin typeface="Trebuchet MS" panose="020B0603020202020204" pitchFamily="34" charset="0"/>
            </a:endParaRPr>
          </a:p>
        </p:txBody>
      </p:sp>
      <p:pic>
        <p:nvPicPr>
          <p:cNvPr id="12292" name="Picture 4" descr="Icône CSV - Téléchargement gratuit en PNG et vecteurs">
            <a:extLst>
              <a:ext uri="{FF2B5EF4-FFF2-40B4-BE49-F238E27FC236}">
                <a16:creationId xmlns:a16="http://schemas.microsoft.com/office/drawing/2014/main" id="{BE804BB2-2A6E-458E-AB67-65BD889FFD73}"/>
              </a:ext>
            </a:extLst>
          </p:cNvPr>
          <p:cNvPicPr>
            <a:picLocks noChangeAspect="1" noChangeArrowheads="1"/>
          </p:cNvPicPr>
          <p:nvPr/>
        </p:nvPicPr>
        <p:blipFill>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69556" y="4854144"/>
            <a:ext cx="486595" cy="486595"/>
          </a:xfrm>
          <a:prstGeom prst="rect">
            <a:avLst/>
          </a:prstGeom>
          <a:noFill/>
          <a:extLst>
            <a:ext uri="{909E8E84-426E-40DD-AFC4-6F175D3DCCD1}">
              <a14:hiddenFill xmlns:a14="http://schemas.microsoft.com/office/drawing/2010/main">
                <a:solidFill>
                  <a:srgbClr val="FFFFFF"/>
                </a:solidFill>
              </a14:hiddenFill>
            </a:ext>
          </a:extLst>
        </p:spPr>
      </p:pic>
      <p:grpSp>
        <p:nvGrpSpPr>
          <p:cNvPr id="95" name="Groupe 95">
            <a:extLst>
              <a:ext uri="{FF2B5EF4-FFF2-40B4-BE49-F238E27FC236}">
                <a16:creationId xmlns:a16="http://schemas.microsoft.com/office/drawing/2014/main" id="{BCED11D0-4BE4-4E3A-A7C2-F50EC3F0D424}"/>
              </a:ext>
            </a:extLst>
          </p:cNvPr>
          <p:cNvGrpSpPr/>
          <p:nvPr/>
        </p:nvGrpSpPr>
        <p:grpSpPr>
          <a:xfrm>
            <a:off x="8448150" y="-11528"/>
            <a:ext cx="1435548" cy="588143"/>
            <a:chOff x="8448150" y="-11528"/>
            <a:chExt cx="1435548" cy="588143"/>
          </a:xfrm>
        </p:grpSpPr>
        <p:sp>
          <p:nvSpPr>
            <p:cNvPr id="96" name="Rectangle : coins arrondis 199">
              <a:extLst>
                <a:ext uri="{FF2B5EF4-FFF2-40B4-BE49-F238E27FC236}">
                  <a16:creationId xmlns:a16="http://schemas.microsoft.com/office/drawing/2014/main" id="{E295DECD-EA51-4CC3-804F-8344EDB59E6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7" name="Rectangle : coins arrondis 200">
              <a:extLst>
                <a:ext uri="{FF2B5EF4-FFF2-40B4-BE49-F238E27FC236}">
                  <a16:creationId xmlns:a16="http://schemas.microsoft.com/office/drawing/2014/main" id="{6D886A7F-299B-45EC-8290-98430C15E9A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8" name="Rectangle : coins arrondis 201">
              <a:extLst>
                <a:ext uri="{FF2B5EF4-FFF2-40B4-BE49-F238E27FC236}">
                  <a16:creationId xmlns:a16="http://schemas.microsoft.com/office/drawing/2014/main" id="{92ED6E43-7B18-4676-997F-ADB93B2C6064}"/>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9" name="ZoneTexte 18">
              <a:extLst>
                <a:ext uri="{FF2B5EF4-FFF2-40B4-BE49-F238E27FC236}">
                  <a16:creationId xmlns:a16="http://schemas.microsoft.com/office/drawing/2014/main" id="{215D5B16-779F-47EB-BC2D-DB116E169414}"/>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offer</a:t>
              </a:r>
            </a:p>
          </p:txBody>
        </p:sp>
        <p:pic>
          <p:nvPicPr>
            <p:cNvPr id="100" name="Graphique 128" descr="Jauge">
              <a:extLst>
                <a:ext uri="{FF2B5EF4-FFF2-40B4-BE49-F238E27FC236}">
                  <a16:creationId xmlns:a16="http://schemas.microsoft.com/office/drawing/2014/main" id="{22BC6F10-CFBC-4DC8-82D7-293E5BF14A2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553764" y="187516"/>
              <a:ext cx="234953" cy="218224"/>
            </a:xfrm>
            <a:prstGeom prst="rect">
              <a:avLst/>
            </a:prstGeom>
            <a:effectLst/>
          </p:spPr>
        </p:pic>
        <p:pic>
          <p:nvPicPr>
            <p:cNvPr id="101" name="Graphique 90" descr="Poignée de main">
              <a:extLst>
                <a:ext uri="{FF2B5EF4-FFF2-40B4-BE49-F238E27FC236}">
                  <a16:creationId xmlns:a16="http://schemas.microsoft.com/office/drawing/2014/main" id="{E53CC601-96E0-4D27-A7D2-1C8945DAA40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960868" y="152880"/>
              <a:ext cx="256313" cy="287496"/>
            </a:xfrm>
            <a:prstGeom prst="rect">
              <a:avLst/>
            </a:prstGeom>
            <a:effectLst/>
          </p:spPr>
        </p:pic>
        <p:pic>
          <p:nvPicPr>
            <p:cNvPr id="102" name="Graphique 74" descr="Mégaphone">
              <a:extLst>
                <a:ext uri="{FF2B5EF4-FFF2-40B4-BE49-F238E27FC236}">
                  <a16:creationId xmlns:a16="http://schemas.microsoft.com/office/drawing/2014/main" id="{B7D2DCB5-C6DD-4149-892C-6C87FF8CACD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9389331" y="181519"/>
              <a:ext cx="233011" cy="216420"/>
            </a:xfrm>
            <a:prstGeom prst="rect">
              <a:avLst/>
            </a:prstGeom>
            <a:effectLst/>
          </p:spPr>
        </p:pic>
        <p:pic>
          <p:nvPicPr>
            <p:cNvPr id="103" name="Picture 2" descr="Drapeau France">
              <a:extLst>
                <a:ext uri="{FF2B5EF4-FFF2-40B4-BE49-F238E27FC236}">
                  <a16:creationId xmlns:a16="http://schemas.microsoft.com/office/drawing/2014/main" id="{8243E66D-0A38-4796-A8D9-411A2BBC7FD5}"/>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04" name="Picture 2" descr="5 ft x 3 ft 150 x 90 cm-DRAPEAU BELGE Belgique 100% Polyester ...">
              <a:extLst>
                <a:ext uri="{FF2B5EF4-FFF2-40B4-BE49-F238E27FC236}">
                  <a16:creationId xmlns:a16="http://schemas.microsoft.com/office/drawing/2014/main" id="{CA266B62-D16B-49A4-981B-25D08E2AD6EE}"/>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05" name="Picture 2 - 1" descr="Drapeau des Pays-Bas — Wikipédia">
              <a:extLst>
                <a:ext uri="{FF2B5EF4-FFF2-40B4-BE49-F238E27FC236}">
                  <a16:creationId xmlns:a16="http://schemas.microsoft.com/office/drawing/2014/main" id="{8870EF1D-BBC9-4683-B468-73104296276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06" name="Picture 2 - 2" descr="Drapeau du Luxembourg">
              <a:extLst>
                <a:ext uri="{FF2B5EF4-FFF2-40B4-BE49-F238E27FC236}">
                  <a16:creationId xmlns:a16="http://schemas.microsoft.com/office/drawing/2014/main" id="{29C9360A-5BDF-4D8A-A1D5-F8CCB71549CA}"/>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67" name="ZoneTexte 18">
              <a:extLst>
                <a:ext uri="{FF2B5EF4-FFF2-40B4-BE49-F238E27FC236}">
                  <a16:creationId xmlns:a16="http://schemas.microsoft.com/office/drawing/2014/main" id="{7A3002E4-B192-4519-9DD3-EB4D0DEC846E}"/>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Delivery modes</a:t>
              </a:r>
            </a:p>
          </p:txBody>
        </p:sp>
      </p:grpSp>
      <p:pic>
        <p:nvPicPr>
          <p:cNvPr id="168" name="Picture 2" descr="Un accès unique et centralisé au portail d'information BtoB - Intuiz">
            <a:extLst>
              <a:ext uri="{FF2B5EF4-FFF2-40B4-BE49-F238E27FC236}">
                <a16:creationId xmlns:a16="http://schemas.microsoft.com/office/drawing/2014/main" id="{5EFB993E-0E89-4A41-9B8F-566F2570CFB3}"/>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933141" y="1652786"/>
            <a:ext cx="646056" cy="256269"/>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2" descr="IndueD - La conformité simplifiée - KYC | Altares DB France">
            <a:extLst>
              <a:ext uri="{FF2B5EF4-FFF2-40B4-BE49-F238E27FC236}">
                <a16:creationId xmlns:a16="http://schemas.microsoft.com/office/drawing/2014/main" id="{C8044D88-B5A0-4147-8A07-491FEB905525}"/>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5580153" y="1688407"/>
            <a:ext cx="651541" cy="224130"/>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44">
            <a:extLst>
              <a:ext uri="{FF2B5EF4-FFF2-40B4-BE49-F238E27FC236}">
                <a16:creationId xmlns:a16="http://schemas.microsoft.com/office/drawing/2014/main" id="{FB73333F-F854-48AF-A813-0D3AA7AAB63F}"/>
              </a:ext>
            </a:extLst>
          </p:cNvPr>
          <p:cNvPicPr>
            <a:picLocks noChangeAspect="1"/>
          </p:cNvPicPr>
          <p:nvPr/>
        </p:nvPicPr>
        <p:blipFill>
          <a:blip r:embed="rId33">
            <a:clrChange>
              <a:clrFrom>
                <a:srgbClr val="FFFFFF"/>
              </a:clrFrom>
              <a:clrTo>
                <a:srgbClr val="FFFFFF">
                  <a:alpha val="0"/>
                </a:srgbClr>
              </a:clrTo>
            </a:clrChange>
            <a:extLst>
              <a:ext uri="{BEBA8EAE-BF5A-486C-A8C5-ECC9F3942E4B}">
                <a14:imgProps xmlns:a14="http://schemas.microsoft.com/office/drawing/2010/main">
                  <a14:imgLayer r:embed="rId34">
                    <a14:imgEffect>
                      <a14:brightnessContrast bright="7000"/>
                    </a14:imgEffect>
                  </a14:imgLayer>
                </a14:imgProps>
              </a:ext>
            </a:extLst>
          </a:blip>
          <a:stretch>
            <a:fillRect/>
          </a:stretch>
        </p:blipFill>
        <p:spPr>
          <a:xfrm>
            <a:off x="8232650" y="1667030"/>
            <a:ext cx="707648" cy="281245"/>
          </a:xfrm>
          <a:prstGeom prst="rect">
            <a:avLst/>
          </a:prstGeom>
        </p:spPr>
      </p:pic>
    </p:spTree>
    <p:extLst>
      <p:ext uri="{BB962C8B-B14F-4D97-AF65-F5344CB8AC3E}">
        <p14:creationId xmlns:p14="http://schemas.microsoft.com/office/powerpoint/2010/main" val="434245041"/>
      </p:ext>
    </p:extLst>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EA12D43-8EBD-4094-9E80-90792F6A3C2D}"/>
              </a:ext>
            </a:extLst>
          </p:cNvPr>
          <p:cNvGraphicFramePr>
            <a:graphicFrameLocks noChangeAspect="1"/>
          </p:cNvGraphicFramePr>
          <p:nvPr>
            <p:custDataLst>
              <p:tags r:id="rId1"/>
            </p:custDataLst>
            <p:extLst>
              <p:ext uri="{D42A27DB-BD31-4B8C-83A1-F6EECF244321}">
                <p14:modId xmlns:p14="http://schemas.microsoft.com/office/powerpoint/2010/main" val="2984901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7" name="Object 6" hidden="1">
                        <a:extLst>
                          <a:ext uri="{FF2B5EF4-FFF2-40B4-BE49-F238E27FC236}">
                            <a16:creationId xmlns:a16="http://schemas.microsoft.com/office/drawing/2014/main" id="{EEA12D43-8EBD-4094-9E80-90792F6A3C2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BB7249C-F65F-4168-8232-CDD4A72FB30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8" name="Rectangle 37">
            <a:extLst>
              <a:ext uri="{FF2B5EF4-FFF2-40B4-BE49-F238E27FC236}">
                <a16:creationId xmlns:a16="http://schemas.microsoft.com/office/drawing/2014/main" id="{40582762-A04E-4AD0-8292-1867E94D5C16}"/>
              </a:ext>
            </a:extLst>
          </p:cNvPr>
          <p:cNvSpPr/>
          <p:nvPr/>
        </p:nvSpPr>
        <p:spPr bwMode="auto">
          <a:xfrm>
            <a:off x="495507" y="4917570"/>
            <a:ext cx="4096590" cy="1507106"/>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effectLst/>
                <a:latin typeface="Trebuchet MS" panose="020B0603020202020204" pitchFamily="34" charset="0"/>
              </a:rPr>
              <a:t>Comments</a:t>
            </a:r>
          </a:p>
          <a:p>
            <a:pPr marL="0" marR="0" indent="0" algn="ctr" defTabSz="914400" rtl="0" eaLnBrk="1" fontAlgn="base" latinLnBrk="0" hangingPunct="1">
              <a:lnSpc>
                <a:spcPct val="100000"/>
              </a:lnSpc>
              <a:spcBef>
                <a:spcPct val="0"/>
              </a:spcBef>
              <a:spcAft>
                <a:spcPct val="0"/>
              </a:spcAft>
              <a:buClrTx/>
              <a:buSzTx/>
              <a:buFontTx/>
              <a:buNone/>
              <a:tabLst/>
            </a:pPr>
            <a:endParaRPr lang="en-GB" sz="1000">
              <a:solidFill>
                <a:schemeClr val="tx2"/>
              </a:solidFill>
              <a:latin typeface="Trebuchet MS" panose="020B0603020202020204" pitchFamily="34" charset="0"/>
            </a:endParaRP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000" b="0" i="0" u="none" strike="noStrike" cap="none" normalizeH="0" baseline="0">
                <a:ln>
                  <a:noFill/>
                </a:ln>
                <a:effectLst/>
                <a:latin typeface="Trebuchet MS" panose="020B0603020202020204" pitchFamily="34" charset="0"/>
              </a:rPr>
              <a:t>The three LOB have </a:t>
            </a:r>
            <a:r>
              <a:rPr kumimoji="0" lang="en-GB" sz="1000" b="0" i="0" u="none" strike="noStrike" cap="none" normalizeH="0" baseline="0">
                <a:ln>
                  <a:noFill/>
                </a:ln>
                <a:solidFill>
                  <a:schemeClr val="tx2"/>
                </a:solidFill>
                <a:effectLst/>
                <a:latin typeface="Trebuchet MS" panose="020B0603020202020204" pitchFamily="34" charset="0"/>
              </a:rPr>
              <a:t>different evolution </a:t>
            </a:r>
            <a:r>
              <a:rPr kumimoji="0" lang="en-GB" sz="1000" b="0" i="0" u="none" strike="noStrike" cap="none" normalizeH="0" baseline="0">
                <a:ln>
                  <a:noFill/>
                </a:ln>
                <a:effectLst/>
                <a:latin typeface="Trebuchet MS" panose="020B0603020202020204" pitchFamily="34" charset="0"/>
              </a:rPr>
              <a:t>as </a:t>
            </a:r>
            <a:r>
              <a:rPr lang="en-GB" sz="1000">
                <a:latin typeface="Trebuchet MS" panose="020B0603020202020204" pitchFamily="34" charset="0"/>
              </a:rPr>
              <a:t>demonstrated by the </a:t>
            </a:r>
            <a:r>
              <a:rPr kumimoji="0" lang="en-GB" sz="1000" b="0" i="0" u="none" strike="noStrike" cap="none" normalizeH="0" baseline="0">
                <a:ln>
                  <a:noFill/>
                </a:ln>
                <a:solidFill>
                  <a:schemeClr val="tx2"/>
                </a:solidFill>
                <a:effectLst/>
                <a:latin typeface="Trebuchet MS" panose="020B0603020202020204" pitchFamily="34" charset="0"/>
              </a:rPr>
              <a:t>CAGR</a:t>
            </a:r>
            <a:r>
              <a:rPr kumimoji="0" lang="en-GB" sz="1000" b="0" i="0" u="none" strike="noStrike" cap="none" normalizeH="0" baseline="-25000">
                <a:ln>
                  <a:noFill/>
                </a:ln>
                <a:solidFill>
                  <a:schemeClr val="tx2"/>
                </a:solidFill>
                <a:effectLst/>
                <a:latin typeface="Trebuchet MS" panose="020B0603020202020204" pitchFamily="34" charset="0"/>
              </a:rPr>
              <a:t>17-20</a:t>
            </a:r>
            <a:r>
              <a:rPr kumimoji="0" lang="en-GB" sz="1000" b="0" i="0" u="none" strike="noStrike" cap="none" normalizeH="0" baseline="0">
                <a:ln>
                  <a:noFill/>
                </a:ln>
                <a:effectLst/>
                <a:latin typeface="Trebuchet MS" panose="020B0603020202020204" pitchFamily="34" charset="0"/>
              </a:rPr>
              <a:t>:</a:t>
            </a:r>
          </a:p>
          <a:p>
            <a:pPr marL="628650" lvl="1" indent="-171450">
              <a:buFont typeface="Courier New" panose="02070309020205020404" pitchFamily="49" charset="0"/>
              <a:buChar char="o"/>
            </a:pPr>
            <a:r>
              <a:rPr lang="en-GB" sz="1000">
                <a:latin typeface="Trebuchet MS" panose="020B0603020202020204" pitchFamily="34" charset="0"/>
              </a:rPr>
              <a:t>Credit risk: 	-4.3%</a:t>
            </a:r>
          </a:p>
          <a:p>
            <a:pPr marL="628650" lvl="1" indent="-171450">
              <a:buFont typeface="Courier New" panose="02070309020205020404" pitchFamily="49" charset="0"/>
              <a:buChar char="o"/>
            </a:pPr>
            <a:r>
              <a:rPr kumimoji="0" lang="en-GB" sz="1000" b="0" i="0" u="none" strike="noStrike" cap="none" normalizeH="0" baseline="0">
                <a:ln>
                  <a:noFill/>
                </a:ln>
                <a:effectLst/>
                <a:latin typeface="Trebuchet MS" panose="020B0603020202020204" pitchFamily="34" charset="0"/>
              </a:rPr>
              <a:t>Compliance: 	+23.0%</a:t>
            </a:r>
          </a:p>
          <a:p>
            <a:pPr marL="628650" lvl="1" indent="-171450">
              <a:buFont typeface="Courier New" panose="02070309020205020404" pitchFamily="49" charset="0"/>
              <a:buChar char="o"/>
            </a:pPr>
            <a:r>
              <a:rPr kumimoji="0" lang="en-GB" sz="1000" b="0" i="0" u="none" strike="noStrike" cap="none" normalizeH="0" baseline="0">
                <a:ln>
                  <a:noFill/>
                </a:ln>
                <a:effectLst/>
                <a:latin typeface="Trebuchet MS" panose="020B0603020202020204" pitchFamily="34" charset="0"/>
              </a:rPr>
              <a:t>B2B m</a:t>
            </a:r>
            <a:r>
              <a:rPr lang="en-GB" sz="1000">
                <a:latin typeface="Trebuchet MS" panose="020B0603020202020204" pitchFamily="34" charset="0"/>
              </a:rPr>
              <a:t>arketing: 	+0.4%</a:t>
            </a:r>
          </a:p>
          <a:p>
            <a:pPr marL="171450" indent="-171450">
              <a:buFont typeface="Arial" panose="020B0604020202020204" pitchFamily="34" charset="0"/>
              <a:buChar char="•"/>
            </a:pPr>
            <a:r>
              <a:rPr lang="en-GB" sz="1000" err="1">
                <a:latin typeface="Trebuchet MS" panose="020B0603020202020204" pitchFamily="34" charset="0"/>
              </a:rPr>
              <a:t>Altares</a:t>
            </a:r>
            <a:r>
              <a:rPr lang="en-GB" sz="1000">
                <a:latin typeface="Trebuchet MS" panose="020B0603020202020204" pitchFamily="34" charset="0"/>
              </a:rPr>
              <a:t>’ growth is </a:t>
            </a:r>
            <a:r>
              <a:rPr lang="en-GB" sz="1000">
                <a:solidFill>
                  <a:schemeClr val="tx2"/>
                </a:solidFill>
                <a:latin typeface="Trebuchet MS" panose="020B0603020202020204" pitchFamily="34" charset="0"/>
              </a:rPr>
              <a:t>driven in France </a:t>
            </a:r>
            <a:r>
              <a:rPr lang="en-GB" sz="1000">
                <a:latin typeface="Trebuchet MS" panose="020B0603020202020204" pitchFamily="34" charset="0"/>
              </a:rPr>
              <a:t>by </a:t>
            </a:r>
            <a:r>
              <a:rPr lang="en-GB" sz="1000">
                <a:solidFill>
                  <a:schemeClr val="tx2"/>
                </a:solidFill>
                <a:latin typeface="Trebuchet MS" panose="020B0603020202020204" pitchFamily="34" charset="0"/>
              </a:rPr>
              <a:t>compliance</a:t>
            </a:r>
            <a:r>
              <a:rPr lang="en-GB" sz="1000">
                <a:latin typeface="Trebuchet MS" panose="020B0603020202020204" pitchFamily="34" charset="0"/>
              </a:rPr>
              <a:t>, particularly  with the </a:t>
            </a:r>
            <a:r>
              <a:rPr lang="en-GB" sz="1000">
                <a:solidFill>
                  <a:schemeClr val="tx2"/>
                </a:solidFill>
                <a:latin typeface="Trebuchet MS" panose="020B0603020202020204" pitchFamily="34" charset="0"/>
              </a:rPr>
              <a:t>law </a:t>
            </a:r>
            <a:r>
              <a:rPr lang="en-GB" sz="1000" err="1">
                <a:solidFill>
                  <a:schemeClr val="tx2"/>
                </a:solidFill>
                <a:latin typeface="Trebuchet MS" panose="020B0603020202020204" pitchFamily="34" charset="0"/>
              </a:rPr>
              <a:t>Sapin</a:t>
            </a:r>
            <a:r>
              <a:rPr lang="en-GB" sz="1000">
                <a:solidFill>
                  <a:schemeClr val="tx2"/>
                </a:solidFill>
                <a:latin typeface="Trebuchet MS" panose="020B0603020202020204" pitchFamily="34" charset="0"/>
              </a:rPr>
              <a:t> II </a:t>
            </a:r>
          </a:p>
        </p:txBody>
      </p:sp>
      <p:sp>
        <p:nvSpPr>
          <p:cNvPr id="39" name="Rectangle 38">
            <a:extLst>
              <a:ext uri="{FF2B5EF4-FFF2-40B4-BE49-F238E27FC236}">
                <a16:creationId xmlns:a16="http://schemas.microsoft.com/office/drawing/2014/main" id="{B6D2A71D-15F8-4868-8A22-57E5A307A840}"/>
              </a:ext>
            </a:extLst>
          </p:cNvPr>
          <p:cNvSpPr/>
          <p:nvPr/>
        </p:nvSpPr>
        <p:spPr bwMode="auto">
          <a:xfrm>
            <a:off x="5416062" y="4917570"/>
            <a:ext cx="4152144" cy="1507106"/>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effectLst/>
                <a:latin typeface="Trebuchet MS" panose="020B0603020202020204" pitchFamily="34" charset="0"/>
              </a:rPr>
              <a:t>Comments</a:t>
            </a:r>
          </a:p>
          <a:p>
            <a:pPr marL="0" marR="0" indent="0" algn="ctr" defTabSz="914400" rtl="0" eaLnBrk="1" fontAlgn="base" latinLnBrk="0" hangingPunct="1">
              <a:lnSpc>
                <a:spcPct val="100000"/>
              </a:lnSpc>
              <a:spcBef>
                <a:spcPct val="0"/>
              </a:spcBef>
              <a:spcAft>
                <a:spcPct val="0"/>
              </a:spcAft>
              <a:buClrTx/>
              <a:buSzTx/>
              <a:buFontTx/>
              <a:buNone/>
              <a:tabLst/>
            </a:pPr>
            <a:endParaRPr lang="en-GB" sz="1000">
              <a:solidFill>
                <a:schemeClr val="tx2"/>
              </a:solidFill>
              <a:latin typeface="Trebuchet MS" panose="020B0603020202020204" pitchFamily="34" charset="0"/>
            </a:endParaRP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000" b="0" i="0" u="none" strike="noStrike" cap="none" normalizeH="0" baseline="0">
                <a:ln>
                  <a:noFill/>
                </a:ln>
                <a:effectLst/>
                <a:latin typeface="Trebuchet MS" panose="020B0603020202020204" pitchFamily="34" charset="0"/>
              </a:rPr>
              <a:t>The three LOB has </a:t>
            </a:r>
            <a:r>
              <a:rPr kumimoji="0" lang="en-GB" sz="1000" b="0" i="0" u="none" strike="noStrike" cap="none" normalizeH="0" baseline="0">
                <a:ln>
                  <a:noFill/>
                </a:ln>
                <a:solidFill>
                  <a:schemeClr val="tx2"/>
                </a:solidFill>
                <a:effectLst/>
                <a:latin typeface="Trebuchet MS" panose="020B0603020202020204" pitchFamily="34" charset="0"/>
              </a:rPr>
              <a:t>different evolution </a:t>
            </a:r>
            <a:r>
              <a:rPr kumimoji="0" lang="en-GB" sz="1000" b="0" i="0" u="none" strike="noStrike" cap="none" normalizeH="0" baseline="0">
                <a:ln>
                  <a:noFill/>
                </a:ln>
                <a:effectLst/>
                <a:latin typeface="Trebuchet MS" panose="020B0603020202020204" pitchFamily="34" charset="0"/>
              </a:rPr>
              <a:t>as </a:t>
            </a:r>
            <a:r>
              <a:rPr lang="en-GB" sz="1000">
                <a:latin typeface="Trebuchet MS" panose="020B0603020202020204" pitchFamily="34" charset="0"/>
              </a:rPr>
              <a:t>demonstrated by the </a:t>
            </a:r>
            <a:r>
              <a:rPr kumimoji="0" lang="en-GB" sz="1000" b="0" i="0" u="none" strike="noStrike" cap="none" normalizeH="0" baseline="0">
                <a:ln>
                  <a:noFill/>
                </a:ln>
                <a:solidFill>
                  <a:schemeClr val="tx2"/>
                </a:solidFill>
                <a:effectLst/>
                <a:latin typeface="Trebuchet MS" panose="020B0603020202020204" pitchFamily="34" charset="0"/>
              </a:rPr>
              <a:t>CAGR</a:t>
            </a:r>
            <a:r>
              <a:rPr kumimoji="0" lang="en-GB" sz="1000" b="0" i="0" u="none" strike="noStrike" cap="none" normalizeH="0" baseline="-25000">
                <a:ln>
                  <a:noFill/>
                </a:ln>
                <a:solidFill>
                  <a:schemeClr val="tx2"/>
                </a:solidFill>
                <a:effectLst/>
                <a:latin typeface="Trebuchet MS" panose="020B0603020202020204" pitchFamily="34" charset="0"/>
              </a:rPr>
              <a:t>17-20</a:t>
            </a:r>
            <a:r>
              <a:rPr kumimoji="0" lang="en-GB" sz="1000" b="0" i="0" u="none" strike="noStrike" cap="none" normalizeH="0" baseline="0">
                <a:ln>
                  <a:noFill/>
                </a:ln>
                <a:effectLst/>
                <a:latin typeface="Trebuchet MS" panose="020B0603020202020204" pitchFamily="34" charset="0"/>
              </a:rPr>
              <a:t>:</a:t>
            </a:r>
          </a:p>
          <a:p>
            <a:pPr marL="628650" lvl="1" indent="-171450">
              <a:buFont typeface="Courier New" panose="02070309020205020404" pitchFamily="49" charset="0"/>
              <a:buChar char="o"/>
            </a:pPr>
            <a:r>
              <a:rPr lang="en-GB" sz="1000">
                <a:latin typeface="Trebuchet MS" panose="020B0603020202020204" pitchFamily="34" charset="0"/>
              </a:rPr>
              <a:t>Credit risk : 	-5.0%</a:t>
            </a:r>
          </a:p>
          <a:p>
            <a:pPr marL="628650" lvl="1" indent="-171450">
              <a:buFont typeface="Courier New" panose="02070309020205020404" pitchFamily="49" charset="0"/>
              <a:buChar char="o"/>
            </a:pPr>
            <a:r>
              <a:rPr kumimoji="0" lang="en-GB" sz="1000" b="0" i="0" u="none" strike="noStrike" cap="none" normalizeH="0" baseline="0">
                <a:ln>
                  <a:noFill/>
                </a:ln>
                <a:effectLst/>
                <a:latin typeface="Trebuchet MS" panose="020B0603020202020204" pitchFamily="34" charset="0"/>
              </a:rPr>
              <a:t>Compliance: 	+11.2%</a:t>
            </a:r>
          </a:p>
          <a:p>
            <a:pPr marL="628650" lvl="1" indent="-171450">
              <a:buFont typeface="Courier New" panose="02070309020205020404" pitchFamily="49" charset="0"/>
              <a:buChar char="o"/>
            </a:pPr>
            <a:r>
              <a:rPr kumimoji="0" lang="en-GB" sz="1000" b="0" i="0" u="none" strike="noStrike" cap="none" normalizeH="0" baseline="0">
                <a:ln>
                  <a:noFill/>
                </a:ln>
                <a:effectLst/>
                <a:latin typeface="Trebuchet MS" panose="020B0603020202020204" pitchFamily="34" charset="0"/>
              </a:rPr>
              <a:t>B2B m</a:t>
            </a:r>
            <a:r>
              <a:rPr lang="en-GB" sz="1000">
                <a:latin typeface="Trebuchet MS" panose="020B0603020202020204" pitchFamily="34" charset="0"/>
              </a:rPr>
              <a:t>arketing : 	+7.7%</a:t>
            </a:r>
            <a:endParaRPr kumimoji="0" lang="en-GB" sz="1000" b="0" i="0" u="none" strike="noStrike" cap="none" normalizeH="0" baseline="0">
              <a:ln>
                <a:noFill/>
              </a:ln>
              <a:effectLst/>
              <a:latin typeface="Trebuchet MS" panose="020B0603020202020204" pitchFamily="34" charset="0"/>
            </a:endParaRPr>
          </a:p>
          <a:p>
            <a:pPr marL="171450" indent="-171450">
              <a:buFont typeface="Arial" panose="020B0604020202020204" pitchFamily="34" charset="0"/>
              <a:buChar char="•"/>
            </a:pPr>
            <a:r>
              <a:rPr lang="en-GB" sz="1000" err="1">
                <a:latin typeface="Trebuchet MS" panose="020B0603020202020204" pitchFamily="34" charset="0"/>
              </a:rPr>
              <a:t>Altares</a:t>
            </a:r>
            <a:r>
              <a:rPr lang="en-GB" sz="1000">
                <a:latin typeface="Trebuchet MS" panose="020B0603020202020204" pitchFamily="34" charset="0"/>
              </a:rPr>
              <a:t>’ growth is </a:t>
            </a:r>
            <a:r>
              <a:rPr lang="en-GB" sz="1000">
                <a:solidFill>
                  <a:schemeClr val="tx2"/>
                </a:solidFill>
                <a:latin typeface="Trebuchet MS" panose="020B0603020202020204" pitchFamily="34" charset="0"/>
              </a:rPr>
              <a:t>driven in Benelux </a:t>
            </a:r>
            <a:r>
              <a:rPr lang="en-GB" sz="1000">
                <a:latin typeface="Trebuchet MS" panose="020B0603020202020204" pitchFamily="34" charset="0"/>
              </a:rPr>
              <a:t>by </a:t>
            </a:r>
            <a:r>
              <a:rPr lang="en-GB" sz="1000">
                <a:solidFill>
                  <a:schemeClr val="tx2"/>
                </a:solidFill>
                <a:latin typeface="Trebuchet MS" panose="020B0603020202020204" pitchFamily="34" charset="0"/>
              </a:rPr>
              <a:t>both compliance and B2B marketing</a:t>
            </a: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2" name="Titre 1">
            <a:extLst>
              <a:ext uri="{FF2B5EF4-FFF2-40B4-BE49-F238E27FC236}">
                <a16:creationId xmlns:a16="http://schemas.microsoft.com/office/drawing/2014/main" id="{7C0E641A-DF41-4C6A-A5DB-AE017CB89662}"/>
              </a:ext>
            </a:extLst>
          </p:cNvPr>
          <p:cNvSpPr>
            <a:spLocks noGrp="1"/>
          </p:cNvSpPr>
          <p:nvPr>
            <p:ph type="title"/>
          </p:nvPr>
        </p:nvSpPr>
        <p:spPr>
          <a:xfrm>
            <a:off x="165600" y="147600"/>
            <a:ext cx="8388164" cy="684000"/>
          </a:xfrm>
        </p:spPr>
        <p:txBody>
          <a:bodyPr/>
          <a:lstStyle/>
          <a:p>
            <a:r>
              <a:rPr lang="en-GB" sz="1600">
                <a:solidFill>
                  <a:schemeClr val="tx2"/>
                </a:solidFill>
                <a:latin typeface="Trebuchet MS" pitchFamily="34" charset="0"/>
              </a:rPr>
              <a:t>Credit risk solutions </a:t>
            </a:r>
            <a:r>
              <a:rPr lang="en-GB" sz="1600">
                <a:latin typeface="Trebuchet MS" pitchFamily="34" charset="0"/>
              </a:rPr>
              <a:t>currently represent the </a:t>
            </a:r>
            <a:r>
              <a:rPr lang="en-GB" sz="1600">
                <a:solidFill>
                  <a:schemeClr val="tx2"/>
                </a:solidFill>
                <a:latin typeface="Trebuchet MS" pitchFamily="34" charset="0"/>
              </a:rPr>
              <a:t>main part </a:t>
            </a:r>
            <a:r>
              <a:rPr lang="en-GB" sz="1600">
                <a:latin typeface="Trebuchet MS" pitchFamily="34" charset="0"/>
              </a:rPr>
              <a:t>of </a:t>
            </a:r>
            <a:r>
              <a:rPr lang="en-GB" sz="1600" err="1">
                <a:latin typeface="Trebuchet MS" pitchFamily="34" charset="0"/>
              </a:rPr>
              <a:t>Altares</a:t>
            </a:r>
            <a:r>
              <a:rPr lang="en-GB" sz="1600">
                <a:latin typeface="Trebuchet MS" pitchFamily="34" charset="0"/>
              </a:rPr>
              <a:t>’ turnover, while </a:t>
            </a:r>
            <a:r>
              <a:rPr lang="en-GB" sz="1600">
                <a:solidFill>
                  <a:schemeClr val="tx2"/>
                </a:solidFill>
                <a:latin typeface="Trebuchet MS" pitchFamily="34" charset="0"/>
              </a:rPr>
              <a:t>growth</a:t>
            </a:r>
            <a:r>
              <a:rPr lang="en-GB" sz="1600">
                <a:latin typeface="Trebuchet MS" pitchFamily="34" charset="0"/>
              </a:rPr>
              <a:t> is mainly supported by </a:t>
            </a:r>
            <a:r>
              <a:rPr lang="en-GB" sz="1600">
                <a:solidFill>
                  <a:schemeClr val="tx2"/>
                </a:solidFill>
                <a:latin typeface="Trebuchet MS" pitchFamily="34" charset="0"/>
              </a:rPr>
              <a:t>B2B marketing and compliance</a:t>
            </a:r>
            <a:endParaRPr lang="en-GB">
              <a:solidFill>
                <a:schemeClr val="tx2"/>
              </a:solidFill>
              <a:latin typeface="Trebuchet MS" panose="020B0603020202020204" pitchFamily="34" charset="0"/>
            </a:endParaRPr>
          </a:p>
        </p:txBody>
      </p:sp>
      <p:sp>
        <p:nvSpPr>
          <p:cNvPr id="3" name="Espace réservé du texte 2">
            <a:extLst>
              <a:ext uri="{FF2B5EF4-FFF2-40B4-BE49-F238E27FC236}">
                <a16:creationId xmlns:a16="http://schemas.microsoft.com/office/drawing/2014/main" id="{399A593E-CFB5-4E6F-81ED-F69A5821C01C}"/>
              </a:ext>
            </a:extLst>
          </p:cNvPr>
          <p:cNvSpPr>
            <a:spLocks noGrp="1"/>
          </p:cNvSpPr>
          <p:nvPr>
            <p:ph type="body" sz="quarter" idx="10"/>
          </p:nvPr>
        </p:nvSpPr>
        <p:spPr/>
        <p:txBody>
          <a:bodyPr/>
          <a:lstStyle/>
          <a:p>
            <a:r>
              <a:rPr lang="en-GB"/>
              <a:t>Sources: eleven research &amp; analysis, company data</a:t>
            </a:r>
          </a:p>
          <a:p>
            <a:r>
              <a:rPr lang="en-GB" b="1" u="sng"/>
              <a:t>1.</a:t>
            </a:r>
            <a:r>
              <a:rPr lang="en-GB" b="1" i="0"/>
              <a:t> </a:t>
            </a:r>
            <a:r>
              <a:rPr lang="en-GB"/>
              <a:t>LOB: Line of business</a:t>
            </a:r>
          </a:p>
          <a:p>
            <a:endParaRPr lang="en-GB"/>
          </a:p>
        </p:txBody>
      </p:sp>
      <p:cxnSp>
        <p:nvCxnSpPr>
          <p:cNvPr id="5" name="Connecteur droit 208">
            <a:extLst>
              <a:ext uri="{FF2B5EF4-FFF2-40B4-BE49-F238E27FC236}">
                <a16:creationId xmlns:a16="http://schemas.microsoft.com/office/drawing/2014/main" id="{4BD82AF0-DF65-439D-AF5D-B85C87DCF40F}"/>
              </a:ext>
            </a:extLst>
          </p:cNvPr>
          <p:cNvCxnSpPr>
            <a:cxnSpLocks/>
          </p:cNvCxnSpPr>
          <p:nvPr/>
        </p:nvCxnSpPr>
        <p:spPr bwMode="auto">
          <a:xfrm>
            <a:off x="384975" y="1093792"/>
            <a:ext cx="9183231"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6" name="Rectangle 84">
            <a:extLst>
              <a:ext uri="{FF2B5EF4-FFF2-40B4-BE49-F238E27FC236}">
                <a16:creationId xmlns:a16="http://schemas.microsoft.com/office/drawing/2014/main" id="{4002F52B-3495-415A-B262-7FFC832AAF2F}"/>
              </a:ext>
            </a:extLst>
          </p:cNvPr>
          <p:cNvSpPr/>
          <p:nvPr/>
        </p:nvSpPr>
        <p:spPr bwMode="auto">
          <a:xfrm>
            <a:off x="2944281" y="962043"/>
            <a:ext cx="3666226" cy="263498"/>
          </a:xfrm>
          <a:prstGeom prst="rect">
            <a:avLst/>
          </a:prstGeom>
          <a:solidFill>
            <a:schemeClr val="bg1"/>
          </a:solidFill>
        </p:spPr>
        <p:txBody>
          <a:bodyPr wrap="square" rtlCol="0">
            <a:noAutofit/>
          </a:bodyPr>
          <a:lstStyle/>
          <a:p>
            <a:pPr algn="ctr"/>
            <a:r>
              <a:rPr lang="en-GB" sz="1100" dirty="0">
                <a:latin typeface="Trebuchet MS" panose="020B0603020202020204" pitchFamily="34" charset="0"/>
              </a:rPr>
              <a:t>Evolution of revenue by LOB since 2017 (€m)</a:t>
            </a:r>
          </a:p>
        </p:txBody>
      </p:sp>
      <p:graphicFrame>
        <p:nvGraphicFramePr>
          <p:cNvPr id="16" name="Chart 15">
            <a:extLst>
              <a:ext uri="{FF2B5EF4-FFF2-40B4-BE49-F238E27FC236}">
                <a16:creationId xmlns:a16="http://schemas.microsoft.com/office/drawing/2014/main" id="{2FD05142-33E1-4410-A3C4-50EAFB7C946E}"/>
              </a:ext>
            </a:extLst>
          </p:cNvPr>
          <p:cNvGraphicFramePr/>
          <p:nvPr>
            <p:extLst>
              <p:ext uri="{D42A27DB-BD31-4B8C-83A1-F6EECF244321}">
                <p14:modId xmlns:p14="http://schemas.microsoft.com/office/powerpoint/2010/main" val="4091905544"/>
              </p:ext>
            </p:extLst>
          </p:nvPr>
        </p:nvGraphicFramePr>
        <p:xfrm>
          <a:off x="271418" y="1250718"/>
          <a:ext cx="4739526" cy="3781870"/>
        </p:xfrm>
        <a:graphic>
          <a:graphicData uri="http://schemas.openxmlformats.org/drawingml/2006/chart">
            <c:chart xmlns:c="http://schemas.openxmlformats.org/drawingml/2006/chart" xmlns:r="http://schemas.openxmlformats.org/officeDocument/2006/relationships" r:id="rId7"/>
          </a:graphicData>
        </a:graphic>
      </p:graphicFrame>
      <p:grpSp>
        <p:nvGrpSpPr>
          <p:cNvPr id="8" name="Group 4">
            <a:extLst>
              <a:ext uri="{FF2B5EF4-FFF2-40B4-BE49-F238E27FC236}">
                <a16:creationId xmlns:a16="http://schemas.microsoft.com/office/drawing/2014/main" id="{2532FA5C-C04C-41BC-86C0-5D619588239C}"/>
              </a:ext>
            </a:extLst>
          </p:cNvPr>
          <p:cNvGrpSpPr>
            <a:grpSpLocks noChangeAspect="1"/>
          </p:cNvGrpSpPr>
          <p:nvPr/>
        </p:nvGrpSpPr>
        <p:grpSpPr bwMode="auto">
          <a:xfrm>
            <a:off x="1906732" y="4956947"/>
            <a:ext cx="226868" cy="184867"/>
            <a:chOff x="788" y="869"/>
            <a:chExt cx="740" cy="603"/>
          </a:xfrm>
          <a:solidFill>
            <a:schemeClr val="tx1"/>
          </a:solidFill>
        </p:grpSpPr>
        <p:sp>
          <p:nvSpPr>
            <p:cNvPr id="10" name="Freeform 5">
              <a:extLst>
                <a:ext uri="{FF2B5EF4-FFF2-40B4-BE49-F238E27FC236}">
                  <a16:creationId xmlns:a16="http://schemas.microsoft.com/office/drawing/2014/main" id="{97973C8C-634C-4A7C-BF4F-E5E9402B3103}"/>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Rectangle 6">
              <a:extLst>
                <a:ext uri="{FF2B5EF4-FFF2-40B4-BE49-F238E27FC236}">
                  <a16:creationId xmlns:a16="http://schemas.microsoft.com/office/drawing/2014/main" id="{3FE2BC04-129F-47F4-9B67-EFADE3FEDB73}"/>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Rectangle 7">
              <a:extLst>
                <a:ext uri="{FF2B5EF4-FFF2-40B4-BE49-F238E27FC236}">
                  <a16:creationId xmlns:a16="http://schemas.microsoft.com/office/drawing/2014/main" id="{5EB9687A-C311-48AA-93E2-D1C6AD46A185}"/>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Rectangle 8">
              <a:extLst>
                <a:ext uri="{FF2B5EF4-FFF2-40B4-BE49-F238E27FC236}">
                  <a16:creationId xmlns:a16="http://schemas.microsoft.com/office/drawing/2014/main" id="{0A419F05-D0F5-4286-99BD-37AC4CE0E790}"/>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 name="Group 4">
            <a:extLst>
              <a:ext uri="{FF2B5EF4-FFF2-40B4-BE49-F238E27FC236}">
                <a16:creationId xmlns:a16="http://schemas.microsoft.com/office/drawing/2014/main" id="{96268D1E-FC9E-4A40-A510-267C617E8025}"/>
              </a:ext>
            </a:extLst>
          </p:cNvPr>
          <p:cNvGrpSpPr>
            <a:grpSpLocks noChangeAspect="1"/>
          </p:cNvGrpSpPr>
          <p:nvPr/>
        </p:nvGrpSpPr>
        <p:grpSpPr bwMode="auto">
          <a:xfrm>
            <a:off x="6875895" y="4956947"/>
            <a:ext cx="226868" cy="184867"/>
            <a:chOff x="788" y="869"/>
            <a:chExt cx="740" cy="603"/>
          </a:xfrm>
          <a:solidFill>
            <a:schemeClr val="tx1"/>
          </a:solidFill>
        </p:grpSpPr>
        <p:sp>
          <p:nvSpPr>
            <p:cNvPr id="19" name="Freeform 5">
              <a:extLst>
                <a:ext uri="{FF2B5EF4-FFF2-40B4-BE49-F238E27FC236}">
                  <a16:creationId xmlns:a16="http://schemas.microsoft.com/office/drawing/2014/main" id="{FD3D31DD-F723-41F6-9972-7F79F370A7B8}"/>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Rectangle 6">
              <a:extLst>
                <a:ext uri="{FF2B5EF4-FFF2-40B4-BE49-F238E27FC236}">
                  <a16:creationId xmlns:a16="http://schemas.microsoft.com/office/drawing/2014/main" id="{D61370AC-DCE8-45EA-939E-580B44E92C6E}"/>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7">
              <a:extLst>
                <a:ext uri="{FF2B5EF4-FFF2-40B4-BE49-F238E27FC236}">
                  <a16:creationId xmlns:a16="http://schemas.microsoft.com/office/drawing/2014/main" id="{59D93BB9-8A89-4A11-B65C-86E44303CC5A}"/>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Rectangle 8">
              <a:extLst>
                <a:ext uri="{FF2B5EF4-FFF2-40B4-BE49-F238E27FC236}">
                  <a16:creationId xmlns:a16="http://schemas.microsoft.com/office/drawing/2014/main" id="{F8931035-36DF-4ED5-AF65-B595E2687DF8}"/>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aphicFrame>
        <p:nvGraphicFramePr>
          <p:cNvPr id="26" name="Chart 25">
            <a:extLst>
              <a:ext uri="{FF2B5EF4-FFF2-40B4-BE49-F238E27FC236}">
                <a16:creationId xmlns:a16="http://schemas.microsoft.com/office/drawing/2014/main" id="{B7D79CA9-CD28-4261-AC1B-594946002DC6}"/>
              </a:ext>
            </a:extLst>
          </p:cNvPr>
          <p:cNvGraphicFramePr/>
          <p:nvPr>
            <p:extLst>
              <p:ext uri="{D42A27DB-BD31-4B8C-83A1-F6EECF244321}">
                <p14:modId xmlns:p14="http://schemas.microsoft.com/office/powerpoint/2010/main" val="2149944497"/>
              </p:ext>
            </p:extLst>
          </p:nvPr>
        </p:nvGraphicFramePr>
        <p:xfrm>
          <a:off x="5122371" y="1250717"/>
          <a:ext cx="4739526" cy="3781870"/>
        </p:xfrm>
        <a:graphic>
          <a:graphicData uri="http://schemas.openxmlformats.org/drawingml/2006/chart">
            <c:chart xmlns:c="http://schemas.openxmlformats.org/drawingml/2006/chart" xmlns:r="http://schemas.openxmlformats.org/officeDocument/2006/relationships" r:id="rId8"/>
          </a:graphicData>
        </a:graphic>
      </p:graphicFrame>
      <p:grpSp>
        <p:nvGrpSpPr>
          <p:cNvPr id="24" name="Groupe 23">
            <a:extLst>
              <a:ext uri="{FF2B5EF4-FFF2-40B4-BE49-F238E27FC236}">
                <a16:creationId xmlns:a16="http://schemas.microsoft.com/office/drawing/2014/main" id="{9F03E851-F978-49E1-9662-047CCF1D8B81}"/>
              </a:ext>
            </a:extLst>
          </p:cNvPr>
          <p:cNvGrpSpPr/>
          <p:nvPr/>
        </p:nvGrpSpPr>
        <p:grpSpPr>
          <a:xfrm>
            <a:off x="8448150" y="-11528"/>
            <a:ext cx="1435548" cy="588143"/>
            <a:chOff x="8448150" y="-11528"/>
            <a:chExt cx="1435548" cy="588143"/>
          </a:xfrm>
        </p:grpSpPr>
        <p:sp>
          <p:nvSpPr>
            <p:cNvPr id="25" name="Rectangle : coins arrondis 199">
              <a:extLst>
                <a:ext uri="{FF2B5EF4-FFF2-40B4-BE49-F238E27FC236}">
                  <a16:creationId xmlns:a16="http://schemas.microsoft.com/office/drawing/2014/main" id="{322FC9F4-C242-449C-973A-4B1B0A5E41D6}"/>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7" name="Rectangle : coins arrondis 200">
              <a:extLst>
                <a:ext uri="{FF2B5EF4-FFF2-40B4-BE49-F238E27FC236}">
                  <a16:creationId xmlns:a16="http://schemas.microsoft.com/office/drawing/2014/main" id="{BB81EB03-5466-4FCB-8898-2F6E8991A5DE}"/>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8" name="Rectangle : coins arrondis 201">
              <a:extLst>
                <a:ext uri="{FF2B5EF4-FFF2-40B4-BE49-F238E27FC236}">
                  <a16:creationId xmlns:a16="http://schemas.microsoft.com/office/drawing/2014/main" id="{DDCE7BCE-20E3-4132-A7E6-1F073518DD18}"/>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9" name="ZoneTexte 18">
              <a:extLst>
                <a:ext uri="{FF2B5EF4-FFF2-40B4-BE49-F238E27FC236}">
                  <a16:creationId xmlns:a16="http://schemas.microsoft.com/office/drawing/2014/main" id="{1BA1E3D6-CF12-4DC4-B109-507C21E528E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offer</a:t>
              </a:r>
            </a:p>
          </p:txBody>
        </p:sp>
        <p:pic>
          <p:nvPicPr>
            <p:cNvPr id="30" name="Graphique 128" descr="Jauge">
              <a:extLst>
                <a:ext uri="{FF2B5EF4-FFF2-40B4-BE49-F238E27FC236}">
                  <a16:creationId xmlns:a16="http://schemas.microsoft.com/office/drawing/2014/main" id="{EF768D42-ABC9-4695-8E35-8A6174D8CEF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53764" y="187516"/>
              <a:ext cx="234953" cy="218224"/>
            </a:xfrm>
            <a:prstGeom prst="rect">
              <a:avLst/>
            </a:prstGeom>
            <a:effectLst/>
          </p:spPr>
        </p:pic>
        <p:pic>
          <p:nvPicPr>
            <p:cNvPr id="31" name="Graphique 90" descr="Poignée de main">
              <a:extLst>
                <a:ext uri="{FF2B5EF4-FFF2-40B4-BE49-F238E27FC236}">
                  <a16:creationId xmlns:a16="http://schemas.microsoft.com/office/drawing/2014/main" id="{6413ABC7-075D-486D-BD8C-45BEA1A7D9B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60868" y="152880"/>
              <a:ext cx="256313" cy="287496"/>
            </a:xfrm>
            <a:prstGeom prst="rect">
              <a:avLst/>
            </a:prstGeom>
            <a:effectLst/>
          </p:spPr>
        </p:pic>
        <p:pic>
          <p:nvPicPr>
            <p:cNvPr id="32" name="Graphique 74" descr="Mégaphone">
              <a:extLst>
                <a:ext uri="{FF2B5EF4-FFF2-40B4-BE49-F238E27FC236}">
                  <a16:creationId xmlns:a16="http://schemas.microsoft.com/office/drawing/2014/main" id="{BFEB26B3-DA67-4AD1-9749-E78699E078D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389331" y="181519"/>
              <a:ext cx="233011" cy="216420"/>
            </a:xfrm>
            <a:prstGeom prst="rect">
              <a:avLst/>
            </a:prstGeom>
            <a:effectLst/>
          </p:spPr>
        </p:pic>
        <p:pic>
          <p:nvPicPr>
            <p:cNvPr id="33" name="Picture 2" descr="Drapeau France">
              <a:extLst>
                <a:ext uri="{FF2B5EF4-FFF2-40B4-BE49-F238E27FC236}">
                  <a16:creationId xmlns:a16="http://schemas.microsoft.com/office/drawing/2014/main" id="{EE6BD5FA-A01F-4B67-980F-6E1F5AEBEFE9}"/>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34" name="Picture 2" descr="5 ft x 3 ft 150 x 90 cm-DRAPEAU BELGE Belgique 100% Polyester ...">
              <a:extLst>
                <a:ext uri="{FF2B5EF4-FFF2-40B4-BE49-F238E27FC236}">
                  <a16:creationId xmlns:a16="http://schemas.microsoft.com/office/drawing/2014/main" id="{97E34E60-9C44-4279-BE33-6B513CE1CBE4}"/>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35" name="Picture 2 - 1" descr="Drapeau des Pays-Bas — Wikipédia">
              <a:extLst>
                <a:ext uri="{FF2B5EF4-FFF2-40B4-BE49-F238E27FC236}">
                  <a16:creationId xmlns:a16="http://schemas.microsoft.com/office/drawing/2014/main" id="{AF571F1C-4878-45B7-BAA4-AFBA7A692E99}"/>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36" name="Picture 2 - 2" descr="Drapeau du Luxembourg">
              <a:extLst>
                <a:ext uri="{FF2B5EF4-FFF2-40B4-BE49-F238E27FC236}">
                  <a16:creationId xmlns:a16="http://schemas.microsoft.com/office/drawing/2014/main" id="{69166A46-991A-483A-908B-47329438F83C}"/>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37" name="ZoneTexte 18">
              <a:extLst>
                <a:ext uri="{FF2B5EF4-FFF2-40B4-BE49-F238E27FC236}">
                  <a16:creationId xmlns:a16="http://schemas.microsoft.com/office/drawing/2014/main" id="{40CEF885-D595-4E40-9DEA-EF2839D6729B}"/>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Product dynamics</a:t>
              </a:r>
            </a:p>
          </p:txBody>
        </p:sp>
      </p:grpSp>
      <p:pic>
        <p:nvPicPr>
          <p:cNvPr id="48" name="Picture 2" descr="Drapeau France">
            <a:extLst>
              <a:ext uri="{FF2B5EF4-FFF2-40B4-BE49-F238E27FC236}">
                <a16:creationId xmlns:a16="http://schemas.microsoft.com/office/drawing/2014/main" id="{CDA6BB34-F5C6-4071-8B9A-FF803AE11343}"/>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17006" b="16757"/>
          <a:stretch/>
        </p:blipFill>
        <p:spPr bwMode="auto">
          <a:xfrm>
            <a:off x="495507" y="1352645"/>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49" name="Picture 2" descr="5 ft x 3 ft 150 x 90 cm-DRAPEAU BELGE Belgique 100% Polyester ...">
            <a:extLst>
              <a:ext uri="{FF2B5EF4-FFF2-40B4-BE49-F238E27FC236}">
                <a16:creationId xmlns:a16="http://schemas.microsoft.com/office/drawing/2014/main" id="{AEC7954E-AC41-4985-B8B7-429F5A92807E}"/>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3973"/>
          <a:stretch/>
        </p:blipFill>
        <p:spPr bwMode="auto">
          <a:xfrm>
            <a:off x="5428840" y="1352645"/>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0" name="Picture 2 - 1" descr="Drapeau des Pays-Bas — Wikipédia">
            <a:extLst>
              <a:ext uri="{FF2B5EF4-FFF2-40B4-BE49-F238E27FC236}">
                <a16:creationId xmlns:a16="http://schemas.microsoft.com/office/drawing/2014/main" id="{F646F5BD-33D5-42D2-B90A-961B74302BA9}"/>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222517" y="135264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1" name="Picture 2 - 2" descr="Drapeau du Luxembourg">
            <a:extLst>
              <a:ext uri="{FF2B5EF4-FFF2-40B4-BE49-F238E27FC236}">
                <a16:creationId xmlns:a16="http://schemas.microsoft.com/office/drawing/2014/main" id="{B91920D0-76D8-42E4-9010-B3A3B4BCE59B}"/>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635163" y="135264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2" name="ZoneTexte 18">
            <a:extLst>
              <a:ext uri="{FF2B5EF4-FFF2-40B4-BE49-F238E27FC236}">
                <a16:creationId xmlns:a16="http://schemas.microsoft.com/office/drawing/2014/main" id="{8939AD18-2DA3-4875-BCD3-0051055BBDF8}"/>
              </a:ext>
            </a:extLst>
          </p:cNvPr>
          <p:cNvSpPr txBox="1"/>
          <p:nvPr/>
        </p:nvSpPr>
        <p:spPr>
          <a:xfrm>
            <a:off x="-1724550" y="300912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spTree>
    <p:extLst>
      <p:ext uri="{BB962C8B-B14F-4D97-AF65-F5344CB8AC3E}">
        <p14:creationId xmlns:p14="http://schemas.microsoft.com/office/powerpoint/2010/main" val="4012805871"/>
      </p:ext>
    </p:extLst>
  </p:cSld>
  <p:clrMapOvr>
    <a:masterClrMapping/>
  </p:clrMapOv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AAA3A35-C6B3-4EE6-9406-A3DBC2CB7256}"/>
              </a:ext>
            </a:extLst>
          </p:cNvPr>
          <p:cNvGraphicFramePr>
            <a:graphicFrameLocks noChangeAspect="1"/>
          </p:cNvGraphicFramePr>
          <p:nvPr>
            <p:custDataLst>
              <p:tags r:id="rId1"/>
            </p:custDataLst>
            <p:extLst>
              <p:ext uri="{D42A27DB-BD31-4B8C-83A1-F6EECF244321}">
                <p14:modId xmlns:p14="http://schemas.microsoft.com/office/powerpoint/2010/main" val="750955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Objet 4" hidden="1">
                        <a:extLst>
                          <a:ext uri="{FF2B5EF4-FFF2-40B4-BE49-F238E27FC236}">
                            <a16:creationId xmlns:a16="http://schemas.microsoft.com/office/drawing/2014/main" id="{EAAA3A35-C6B3-4EE6-9406-A3DBC2CB72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DA14E9-D9F6-4D44-A466-BF298653DD7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4" name="Rectangle 13">
            <a:extLst>
              <a:ext uri="{FF2B5EF4-FFF2-40B4-BE49-F238E27FC236}">
                <a16:creationId xmlns:a16="http://schemas.microsoft.com/office/drawing/2014/main" id="{92FC6C6C-155F-4C1A-890E-114863D14568}"/>
              </a:ext>
            </a:extLst>
          </p:cNvPr>
          <p:cNvSpPr/>
          <p:nvPr/>
        </p:nvSpPr>
        <p:spPr bwMode="auto">
          <a:xfrm>
            <a:off x="227901" y="914401"/>
            <a:ext cx="9450199" cy="551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7" name="Rectangle 56">
            <a:extLst>
              <a:ext uri="{FF2B5EF4-FFF2-40B4-BE49-F238E27FC236}">
                <a16:creationId xmlns:a16="http://schemas.microsoft.com/office/drawing/2014/main" id="{BB6FD7F9-F8DD-4E65-ACE1-215FCC72E034}"/>
              </a:ext>
            </a:extLst>
          </p:cNvPr>
          <p:cNvSpPr/>
          <p:nvPr/>
        </p:nvSpPr>
        <p:spPr bwMode="auto">
          <a:xfrm>
            <a:off x="3394685" y="4717986"/>
            <a:ext cx="6174854" cy="1601775"/>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spcAft>
                <a:spcPts val="600"/>
              </a:spcAft>
              <a:buClr>
                <a:schemeClr val="tx1"/>
              </a:buClr>
            </a:pPr>
            <a:r>
              <a:rPr lang="en-GB" sz="1000">
                <a:latin typeface="Trebuchet MS" pitchFamily="34" charset="0"/>
              </a:rPr>
              <a:t>Comments</a:t>
            </a:r>
          </a:p>
          <a:p>
            <a:pPr marL="171450" indent="-171450">
              <a:spcBef>
                <a:spcPts val="200"/>
              </a:spcBef>
              <a:buClr>
                <a:schemeClr val="tx1"/>
              </a:buClr>
              <a:buFont typeface="Arial" panose="020B0604020202020204" pitchFamily="34" charset="0"/>
              <a:buChar char="•"/>
            </a:pPr>
            <a:r>
              <a:rPr lang="en-GB" sz="1000">
                <a:latin typeface="Trebuchet MS" pitchFamily="34" charset="0"/>
              </a:rPr>
              <a:t>In France as well as in Benelux, there is an </a:t>
            </a:r>
            <a:r>
              <a:rPr lang="en-GB" sz="1000">
                <a:solidFill>
                  <a:schemeClr val="tx2"/>
                </a:solidFill>
                <a:latin typeface="Trebuchet MS" pitchFamily="34" charset="0"/>
              </a:rPr>
              <a:t>increasing demand for integration into clients’ system</a:t>
            </a:r>
            <a:r>
              <a:rPr lang="en-GB" sz="1000">
                <a:latin typeface="Trebuchet MS" pitchFamily="34" charset="0"/>
              </a:rPr>
              <a:t>:</a:t>
            </a:r>
          </a:p>
          <a:p>
            <a:pPr marL="685800" lvl="1" indent="-228600">
              <a:spcBef>
                <a:spcPts val="200"/>
              </a:spcBef>
              <a:buClr>
                <a:schemeClr val="tx1"/>
              </a:buClr>
              <a:buFont typeface="Courier New" panose="02070309020205020404" pitchFamily="49" charset="0"/>
              <a:buChar char="o"/>
            </a:pPr>
            <a:r>
              <a:rPr lang="en-GB" sz="1000">
                <a:latin typeface="Trebuchet MS" pitchFamily="34" charset="0"/>
              </a:rPr>
              <a:t>Connectors sales − Business Add-On and </a:t>
            </a:r>
            <a:r>
              <a:rPr lang="en-GB" sz="1000" err="1">
                <a:latin typeface="Trebuchet MS" pitchFamily="34" charset="0"/>
              </a:rPr>
              <a:t>Dataxess</a:t>
            </a:r>
            <a:r>
              <a:rPr lang="en-GB" sz="1000">
                <a:latin typeface="Trebuchet MS" pitchFamily="34" charset="0"/>
              </a:rPr>
              <a:t> − increased from 0.71€m in 2016 to 2.58€m in 2019 in France </a:t>
            </a:r>
            <a:r>
              <a:rPr lang="en-GB" sz="1000">
                <a:solidFill>
                  <a:schemeClr val="tx2"/>
                </a:solidFill>
                <a:latin typeface="Trebuchet MS" pitchFamily="34" charset="0"/>
              </a:rPr>
              <a:t>(CAGR</a:t>
            </a:r>
            <a:r>
              <a:rPr lang="en-GB" sz="1000" baseline="-25000">
                <a:solidFill>
                  <a:schemeClr val="tx2"/>
                </a:solidFill>
                <a:latin typeface="Trebuchet MS" pitchFamily="34" charset="0"/>
              </a:rPr>
              <a:t>16-19</a:t>
            </a:r>
            <a:r>
              <a:rPr lang="en-GB" sz="1000">
                <a:solidFill>
                  <a:schemeClr val="tx2"/>
                </a:solidFill>
                <a:latin typeface="Trebuchet MS" pitchFamily="34" charset="0"/>
              </a:rPr>
              <a:t>: 55%) </a:t>
            </a:r>
            <a:r>
              <a:rPr lang="en-GB" sz="1000">
                <a:latin typeface="Trebuchet MS" pitchFamily="34" charset="0"/>
              </a:rPr>
              <a:t>while it has increased from nothing in 2017 to 1.51€m in 2019 in Benelux </a:t>
            </a:r>
          </a:p>
          <a:p>
            <a:pPr marL="685800" lvl="1" indent="-228600">
              <a:spcBef>
                <a:spcPts val="200"/>
              </a:spcBef>
              <a:buClr>
                <a:schemeClr val="tx1"/>
              </a:buClr>
              <a:buFont typeface="Courier New" panose="02070309020205020404" pitchFamily="49" charset="0"/>
              <a:buChar char="o"/>
            </a:pPr>
            <a:r>
              <a:rPr lang="en-GB" sz="1000">
                <a:latin typeface="Trebuchet MS" pitchFamily="34" charset="0"/>
              </a:rPr>
              <a:t>Direct + API sales has increased from 0.01€m in 2016 to 2.28€m in 2019 </a:t>
            </a:r>
            <a:r>
              <a:rPr lang="en-GB" sz="1000">
                <a:solidFill>
                  <a:schemeClr val="tx2"/>
                </a:solidFill>
                <a:latin typeface="Trebuchet MS" pitchFamily="34" charset="0"/>
              </a:rPr>
              <a:t>(CAGR</a:t>
            </a:r>
            <a:r>
              <a:rPr lang="en-GB" sz="1000" baseline="-25000">
                <a:solidFill>
                  <a:schemeClr val="tx2"/>
                </a:solidFill>
                <a:latin typeface="Trebuchet MS" pitchFamily="34" charset="0"/>
              </a:rPr>
              <a:t>16-19</a:t>
            </a:r>
            <a:r>
              <a:rPr lang="en-GB" sz="1000">
                <a:solidFill>
                  <a:schemeClr val="tx2"/>
                </a:solidFill>
                <a:latin typeface="Trebuchet MS" pitchFamily="34" charset="0"/>
              </a:rPr>
              <a:t>: 510%) </a:t>
            </a:r>
            <a:r>
              <a:rPr lang="en-GB" sz="1000">
                <a:latin typeface="Trebuchet MS" pitchFamily="34" charset="0"/>
              </a:rPr>
              <a:t>in France </a:t>
            </a:r>
          </a:p>
          <a:p>
            <a:pPr marL="228600" indent="-228600">
              <a:spcBef>
                <a:spcPts val="600"/>
              </a:spcBef>
              <a:buClr>
                <a:schemeClr val="tx1"/>
              </a:buClr>
              <a:buFont typeface="Arial" panose="020B0604020202020204" pitchFamily="34" charset="0"/>
              <a:buChar char="•"/>
            </a:pPr>
            <a:r>
              <a:rPr lang="en-GB" sz="1000">
                <a:latin typeface="Trebuchet MS" pitchFamily="34" charset="0"/>
              </a:rPr>
              <a:t>The development of project such as </a:t>
            </a:r>
            <a:r>
              <a:rPr lang="en-GB" sz="1000" err="1">
                <a:latin typeface="Trebuchet MS" pitchFamily="34" charset="0"/>
              </a:rPr>
              <a:t>DataHub</a:t>
            </a:r>
            <a:r>
              <a:rPr lang="en-GB" sz="1000">
                <a:latin typeface="Trebuchet MS" pitchFamily="34" charset="0"/>
              </a:rPr>
              <a:t> aims to facilitate the development of API</a:t>
            </a:r>
          </a:p>
        </p:txBody>
      </p:sp>
      <p:sp>
        <p:nvSpPr>
          <p:cNvPr id="58" name="Bulle narrative : rectangle 3">
            <a:extLst>
              <a:ext uri="{FF2B5EF4-FFF2-40B4-BE49-F238E27FC236}">
                <a16:creationId xmlns:a16="http://schemas.microsoft.com/office/drawing/2014/main" id="{58DFB556-E206-431A-9120-341385B2445B}"/>
              </a:ext>
            </a:extLst>
          </p:cNvPr>
          <p:cNvSpPr/>
          <p:nvPr/>
        </p:nvSpPr>
        <p:spPr bwMode="auto">
          <a:xfrm>
            <a:off x="336461" y="4717986"/>
            <a:ext cx="2949664" cy="1603577"/>
          </a:xfrm>
          <a:prstGeom prst="rect">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1200"/>
              </a:spcAft>
              <a:buClrTx/>
              <a:buSzTx/>
              <a:buFontTx/>
              <a:buNone/>
              <a:tabLst/>
            </a:pPr>
            <a:r>
              <a:rPr kumimoji="0" lang="en-GB" sz="1000" b="0" i="0" u="none" strike="noStrike" cap="none" normalizeH="0" baseline="0">
                <a:ln>
                  <a:noFill/>
                </a:ln>
                <a:effectLst/>
                <a:latin typeface="Trebuchet MS" pitchFamily="34" charset="0"/>
              </a:rPr>
              <a:t>Readin</a:t>
            </a:r>
            <a:r>
              <a:rPr lang="en-GB" sz="1000">
                <a:latin typeface="Trebuchet MS" pitchFamily="34" charset="0"/>
              </a:rPr>
              <a:t>g insights</a:t>
            </a:r>
            <a:endParaRPr kumimoji="0" lang="en-GB" sz="1000" b="0" i="0" u="none" strike="noStrike" cap="none" normalizeH="0" baseline="0">
              <a:ln>
                <a:noFill/>
              </a:ln>
              <a:solidFill>
                <a:schemeClr val="bg1">
                  <a:lumMod val="65000"/>
                </a:schemeClr>
              </a:solidFill>
              <a:effectLst/>
              <a:latin typeface="Trebuchet MS" pitchFamily="34" charset="0"/>
            </a:endParaRP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kumimoji="0" lang="en-GB" sz="1000" b="0" i="0" u="none" strike="noStrike" cap="none" normalizeH="0" baseline="0">
                <a:ln>
                  <a:noFill/>
                </a:ln>
                <a:effectLst/>
                <a:latin typeface="Trebuchet MS" pitchFamily="34" charset="0"/>
              </a:rPr>
              <a:t>Transversal products describe all the </a:t>
            </a:r>
            <a:r>
              <a:rPr kumimoji="0" lang="en-GB" sz="1000" b="0" i="0" u="none" strike="noStrike" cap="none" normalizeH="0" baseline="0">
                <a:ln>
                  <a:noFill/>
                </a:ln>
                <a:solidFill>
                  <a:schemeClr val="tx2"/>
                </a:solidFill>
                <a:effectLst/>
                <a:latin typeface="Trebuchet MS" pitchFamily="34" charset="0"/>
              </a:rPr>
              <a:t>solutions </a:t>
            </a:r>
            <a:r>
              <a:rPr kumimoji="0" lang="en-GB" sz="1000" b="0" i="0" u="none" strike="noStrike" cap="none" normalizeH="0" baseline="0">
                <a:ln>
                  <a:noFill/>
                </a:ln>
                <a:effectLst/>
                <a:latin typeface="Trebuchet MS" pitchFamily="34" charset="0"/>
              </a:rPr>
              <a:t>that aim to </a:t>
            </a:r>
            <a:r>
              <a:rPr kumimoji="0" lang="en-GB" sz="1000" b="0" i="0" u="none" strike="noStrike" cap="none" normalizeH="0" baseline="0">
                <a:ln>
                  <a:noFill/>
                </a:ln>
                <a:solidFill>
                  <a:schemeClr val="tx2"/>
                </a:solidFill>
                <a:effectLst/>
                <a:latin typeface="Trebuchet MS" pitchFamily="34" charset="0"/>
              </a:rPr>
              <a:t>improve the reliability and accuracy </a:t>
            </a:r>
            <a:r>
              <a:rPr kumimoji="0" lang="en-GB" sz="1000" b="0" i="0" u="none" strike="noStrike" cap="none" normalizeH="0" baseline="0">
                <a:ln>
                  <a:noFill/>
                </a:ln>
                <a:effectLst/>
                <a:latin typeface="Trebuchet MS" pitchFamily="34" charset="0"/>
              </a:rPr>
              <a:t>of business data</a:t>
            </a: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lang="en-GB" sz="1000">
                <a:latin typeface="Trebuchet MS" pitchFamily="34" charset="0"/>
              </a:rPr>
              <a:t>Some products exhibited in this slide are </a:t>
            </a:r>
            <a:r>
              <a:rPr lang="en-GB" sz="1000">
                <a:solidFill>
                  <a:schemeClr val="tx2"/>
                </a:solidFill>
                <a:latin typeface="Trebuchet MS" pitchFamily="34" charset="0"/>
              </a:rPr>
              <a:t>not present in the offer presentation </a:t>
            </a:r>
            <a:r>
              <a:rPr lang="en-GB" sz="1000">
                <a:latin typeface="Trebuchet MS" pitchFamily="34" charset="0"/>
              </a:rPr>
              <a:t>cause are </a:t>
            </a:r>
            <a:r>
              <a:rPr lang="en-GB" sz="1000">
                <a:solidFill>
                  <a:schemeClr val="tx2"/>
                </a:solidFill>
                <a:latin typeface="Trebuchet MS" pitchFamily="34" charset="0"/>
              </a:rPr>
              <a:t>no longer in the roadmap</a:t>
            </a:r>
            <a:endParaRPr kumimoji="0" lang="en-GB" sz="1000" b="0" i="0" u="none" strike="noStrike" cap="none" normalizeH="0" baseline="0">
              <a:ln>
                <a:noFill/>
              </a:ln>
              <a:solidFill>
                <a:schemeClr val="tx2"/>
              </a:solidFill>
              <a:effectLst/>
              <a:latin typeface="Trebuchet MS" pitchFamily="34" charset="0"/>
            </a:endParaRPr>
          </a:p>
        </p:txBody>
      </p:sp>
      <p:sp>
        <p:nvSpPr>
          <p:cNvPr id="3" name="Espace réservé du texte 2">
            <a:extLst>
              <a:ext uri="{FF2B5EF4-FFF2-40B4-BE49-F238E27FC236}">
                <a16:creationId xmlns:a16="http://schemas.microsoft.com/office/drawing/2014/main" id="{30953E26-7813-417B-AC0B-7AC74C77D79F}"/>
              </a:ext>
            </a:extLst>
          </p:cNvPr>
          <p:cNvSpPr>
            <a:spLocks noGrp="1"/>
          </p:cNvSpPr>
          <p:nvPr>
            <p:ph type="body" sz="quarter" idx="10"/>
          </p:nvPr>
        </p:nvSpPr>
        <p:spPr/>
        <p:txBody>
          <a:bodyPr/>
          <a:lstStyle/>
          <a:p>
            <a:r>
              <a:rPr lang="en-GB"/>
              <a:t>Sources: eleven research &amp; analysis, company data, interviews with management</a:t>
            </a:r>
          </a:p>
          <a:p>
            <a:endParaRPr lang="en-GB"/>
          </a:p>
        </p:txBody>
      </p:sp>
      <p:grpSp>
        <p:nvGrpSpPr>
          <p:cNvPr id="18" name="Group 4">
            <a:extLst>
              <a:ext uri="{FF2B5EF4-FFF2-40B4-BE49-F238E27FC236}">
                <a16:creationId xmlns:a16="http://schemas.microsoft.com/office/drawing/2014/main" id="{60180F31-0B5B-4FD3-810E-B4A5CF9DE2B5}"/>
              </a:ext>
            </a:extLst>
          </p:cNvPr>
          <p:cNvGrpSpPr>
            <a:grpSpLocks noChangeAspect="1"/>
          </p:cNvGrpSpPr>
          <p:nvPr/>
        </p:nvGrpSpPr>
        <p:grpSpPr bwMode="auto">
          <a:xfrm>
            <a:off x="5610082" y="4757081"/>
            <a:ext cx="226868" cy="184867"/>
            <a:chOff x="788" y="869"/>
            <a:chExt cx="740" cy="603"/>
          </a:xfrm>
          <a:solidFill>
            <a:schemeClr val="tx1"/>
          </a:solidFill>
        </p:grpSpPr>
        <p:sp>
          <p:nvSpPr>
            <p:cNvPr id="19" name="Freeform 5">
              <a:extLst>
                <a:ext uri="{FF2B5EF4-FFF2-40B4-BE49-F238E27FC236}">
                  <a16:creationId xmlns:a16="http://schemas.microsoft.com/office/drawing/2014/main" id="{1E5A6A0B-C611-4574-A42C-FC5B912BEDB8}"/>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Rectangle 6">
              <a:extLst>
                <a:ext uri="{FF2B5EF4-FFF2-40B4-BE49-F238E27FC236}">
                  <a16:creationId xmlns:a16="http://schemas.microsoft.com/office/drawing/2014/main" id="{2B045855-D60A-44F7-853B-2AD3EFFF9916}"/>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7">
              <a:extLst>
                <a:ext uri="{FF2B5EF4-FFF2-40B4-BE49-F238E27FC236}">
                  <a16:creationId xmlns:a16="http://schemas.microsoft.com/office/drawing/2014/main" id="{2770970A-9962-4B09-8003-0F94CAB261A4}"/>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Rectangle 8">
              <a:extLst>
                <a:ext uri="{FF2B5EF4-FFF2-40B4-BE49-F238E27FC236}">
                  <a16:creationId xmlns:a16="http://schemas.microsoft.com/office/drawing/2014/main" id="{351CE059-D7C3-45A1-AEB5-43B53CC4A74B}"/>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7" name="Rectangle 46">
            <a:extLst>
              <a:ext uri="{FF2B5EF4-FFF2-40B4-BE49-F238E27FC236}">
                <a16:creationId xmlns:a16="http://schemas.microsoft.com/office/drawing/2014/main" id="{C85B0421-5BDB-4848-914A-867C2D466E74}"/>
              </a:ext>
            </a:extLst>
          </p:cNvPr>
          <p:cNvSpPr/>
          <p:nvPr/>
        </p:nvSpPr>
        <p:spPr bwMode="auto">
          <a:xfrm>
            <a:off x="536860" y="912961"/>
            <a:ext cx="3979494"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billing in France for Transversal products,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aphicFrame>
        <p:nvGraphicFramePr>
          <p:cNvPr id="8" name="Chart 7">
            <a:extLst>
              <a:ext uri="{FF2B5EF4-FFF2-40B4-BE49-F238E27FC236}">
                <a16:creationId xmlns:a16="http://schemas.microsoft.com/office/drawing/2014/main" id="{33FB3308-7027-43E7-8BA9-7261B4061CE1}"/>
              </a:ext>
            </a:extLst>
          </p:cNvPr>
          <p:cNvGraphicFramePr/>
          <p:nvPr/>
        </p:nvGraphicFramePr>
        <p:xfrm>
          <a:off x="317562" y="1330992"/>
          <a:ext cx="3998394" cy="323745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2" name="Chart 31">
            <a:extLst>
              <a:ext uri="{FF2B5EF4-FFF2-40B4-BE49-F238E27FC236}">
                <a16:creationId xmlns:a16="http://schemas.microsoft.com/office/drawing/2014/main" id="{1B062626-EA51-4F1B-83A1-BF61AB21E5FC}"/>
              </a:ext>
            </a:extLst>
          </p:cNvPr>
          <p:cNvGraphicFramePr/>
          <p:nvPr/>
        </p:nvGraphicFramePr>
        <p:xfrm>
          <a:off x="5590046" y="1330992"/>
          <a:ext cx="3998394" cy="3237453"/>
        </p:xfrm>
        <a:graphic>
          <a:graphicData uri="http://schemas.openxmlformats.org/drawingml/2006/chart">
            <c:chart xmlns:c="http://schemas.openxmlformats.org/drawingml/2006/chart" xmlns:r="http://schemas.openxmlformats.org/officeDocument/2006/relationships" r:id="rId7"/>
          </a:graphicData>
        </a:graphic>
      </p:graphicFrame>
      <p:sp>
        <p:nvSpPr>
          <p:cNvPr id="33" name="Rectangle 32">
            <a:extLst>
              <a:ext uri="{FF2B5EF4-FFF2-40B4-BE49-F238E27FC236}">
                <a16:creationId xmlns:a16="http://schemas.microsoft.com/office/drawing/2014/main" id="{A1FDEDE9-E5E2-4EBC-A5B8-4EEF0C822E21}"/>
              </a:ext>
            </a:extLst>
          </p:cNvPr>
          <p:cNvSpPr/>
          <p:nvPr/>
        </p:nvSpPr>
        <p:spPr bwMode="auto">
          <a:xfrm>
            <a:off x="6283102" y="912961"/>
            <a:ext cx="3390534"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bookings in Benelux for Transversal products,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pSp>
        <p:nvGrpSpPr>
          <p:cNvPr id="2" name="Group 1">
            <a:extLst>
              <a:ext uri="{FF2B5EF4-FFF2-40B4-BE49-F238E27FC236}">
                <a16:creationId xmlns:a16="http://schemas.microsoft.com/office/drawing/2014/main" id="{94AE583C-9E69-4C2F-A442-F6BD6426AD94}"/>
              </a:ext>
            </a:extLst>
          </p:cNvPr>
          <p:cNvGrpSpPr/>
          <p:nvPr/>
        </p:nvGrpSpPr>
        <p:grpSpPr>
          <a:xfrm>
            <a:off x="4370385" y="1194924"/>
            <a:ext cx="1165233" cy="2135992"/>
            <a:chOff x="4370385" y="1780867"/>
            <a:chExt cx="1165233" cy="2135992"/>
          </a:xfrm>
        </p:grpSpPr>
        <p:sp>
          <p:nvSpPr>
            <p:cNvPr id="43" name="Rectangle 42">
              <a:extLst>
                <a:ext uri="{FF2B5EF4-FFF2-40B4-BE49-F238E27FC236}">
                  <a16:creationId xmlns:a16="http://schemas.microsoft.com/office/drawing/2014/main" id="{A7331F05-FF74-4FA1-B865-A812ECE4F24C}"/>
                </a:ext>
              </a:extLst>
            </p:cNvPr>
            <p:cNvSpPr/>
            <p:nvPr/>
          </p:nvSpPr>
          <p:spPr bwMode="auto">
            <a:xfrm>
              <a:off x="4370385" y="1780867"/>
              <a:ext cx="1165233" cy="213599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a:ln>
                    <a:noFill/>
                  </a:ln>
                  <a:solidFill>
                    <a:schemeClr val="tx1"/>
                  </a:solidFill>
                  <a:effectLst/>
                  <a:latin typeface="Trebuchet MS" pitchFamily="34" charset="0"/>
                </a:rPr>
                <a:t>Transversal products</a:t>
              </a:r>
            </a:p>
          </p:txBody>
        </p:sp>
        <p:sp>
          <p:nvSpPr>
            <p:cNvPr id="60" name="Rectangle 59">
              <a:extLst>
                <a:ext uri="{FF2B5EF4-FFF2-40B4-BE49-F238E27FC236}">
                  <a16:creationId xmlns:a16="http://schemas.microsoft.com/office/drawing/2014/main" id="{AD24FD99-5D7D-4EF3-932A-CA786F84EC1C}"/>
                </a:ext>
              </a:extLst>
            </p:cNvPr>
            <p:cNvSpPr/>
            <p:nvPr/>
          </p:nvSpPr>
          <p:spPr bwMode="auto">
            <a:xfrm>
              <a:off x="4425340" y="2019575"/>
              <a:ext cx="1068880" cy="904359"/>
            </a:xfrm>
            <a:prstGeom prst="rect">
              <a:avLst/>
            </a:prstGeom>
            <a:solidFill>
              <a:srgbClr val="EAF5FA"/>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30" name="Group 29">
              <a:extLst>
                <a:ext uri="{FF2B5EF4-FFF2-40B4-BE49-F238E27FC236}">
                  <a16:creationId xmlns:a16="http://schemas.microsoft.com/office/drawing/2014/main" id="{1D38C301-5A1C-4C0A-BBB0-360AF21E3A42}"/>
                </a:ext>
              </a:extLst>
            </p:cNvPr>
            <p:cNvGrpSpPr/>
            <p:nvPr/>
          </p:nvGrpSpPr>
          <p:grpSpPr>
            <a:xfrm>
              <a:off x="4457846" y="3479418"/>
              <a:ext cx="734003" cy="123111"/>
              <a:chOff x="4457846" y="4210322"/>
              <a:chExt cx="734003" cy="123111"/>
            </a:xfrm>
          </p:grpSpPr>
          <p:cxnSp>
            <p:nvCxnSpPr>
              <p:cNvPr id="69" name="Straight Connector 68">
                <a:extLst>
                  <a:ext uri="{FF2B5EF4-FFF2-40B4-BE49-F238E27FC236}">
                    <a16:creationId xmlns:a16="http://schemas.microsoft.com/office/drawing/2014/main" id="{C8378F7C-DD64-4B2F-8129-89047048DB1D}"/>
                  </a:ext>
                </a:extLst>
              </p:cNvPr>
              <p:cNvCxnSpPr>
                <a:cxnSpLocks/>
              </p:cNvCxnSpPr>
              <p:nvPr/>
            </p:nvCxnSpPr>
            <p:spPr bwMode="auto">
              <a:xfrm>
                <a:off x="4457846" y="4271877"/>
                <a:ext cx="207891" cy="0"/>
              </a:xfrm>
              <a:prstGeom prst="line">
                <a:avLst/>
              </a:prstGeom>
              <a:solidFill>
                <a:schemeClr val="bg1"/>
              </a:solidFill>
              <a:ln w="88900" cap="flat" cmpd="sng" algn="ctr">
                <a:solidFill>
                  <a:srgbClr val="A6A6A6"/>
                </a:solidFill>
                <a:prstDash val="solid"/>
                <a:round/>
                <a:headEnd type="none" w="med" len="med"/>
                <a:tailEnd type="none" w="med" len="med"/>
              </a:ln>
              <a:effectLst/>
            </p:spPr>
          </p:cxnSp>
          <p:sp>
            <p:nvSpPr>
              <p:cNvPr id="70" name="TextBox 69">
                <a:extLst>
                  <a:ext uri="{FF2B5EF4-FFF2-40B4-BE49-F238E27FC236}">
                    <a16:creationId xmlns:a16="http://schemas.microsoft.com/office/drawing/2014/main" id="{0F1995F5-5C8E-414F-B55C-6025A2645F61}"/>
                  </a:ext>
                </a:extLst>
              </p:cNvPr>
              <p:cNvSpPr txBox="1"/>
              <p:nvPr/>
            </p:nvSpPr>
            <p:spPr>
              <a:xfrm>
                <a:off x="4684644" y="4210322"/>
                <a:ext cx="507205" cy="123111"/>
              </a:xfrm>
              <a:prstGeom prst="rect">
                <a:avLst/>
              </a:prstGeom>
              <a:noFill/>
            </p:spPr>
            <p:txBody>
              <a:bodyPr wrap="square" lIns="0" tIns="0" rIns="0" bIns="0" rtlCol="0">
                <a:spAutoFit/>
              </a:bodyPr>
              <a:lstStyle/>
              <a:p>
                <a:r>
                  <a:rPr lang="en-GB" sz="800">
                    <a:latin typeface="+mj-lt"/>
                  </a:rPr>
                  <a:t>Batch files</a:t>
                </a:r>
              </a:p>
            </p:txBody>
          </p:sp>
        </p:grpSp>
        <p:grpSp>
          <p:nvGrpSpPr>
            <p:cNvPr id="29" name="Group 28">
              <a:extLst>
                <a:ext uri="{FF2B5EF4-FFF2-40B4-BE49-F238E27FC236}">
                  <a16:creationId xmlns:a16="http://schemas.microsoft.com/office/drawing/2014/main" id="{1CE162CF-5E09-4335-B078-AE45FF24AAEA}"/>
                </a:ext>
              </a:extLst>
            </p:cNvPr>
            <p:cNvGrpSpPr/>
            <p:nvPr/>
          </p:nvGrpSpPr>
          <p:grpSpPr>
            <a:xfrm>
              <a:off x="4457846" y="3720574"/>
              <a:ext cx="510732" cy="123111"/>
              <a:chOff x="4457846" y="4413688"/>
              <a:chExt cx="510732" cy="123111"/>
            </a:xfrm>
          </p:grpSpPr>
          <p:cxnSp>
            <p:nvCxnSpPr>
              <p:cNvPr id="67" name="Straight Connector 66">
                <a:extLst>
                  <a:ext uri="{FF2B5EF4-FFF2-40B4-BE49-F238E27FC236}">
                    <a16:creationId xmlns:a16="http://schemas.microsoft.com/office/drawing/2014/main" id="{6BF9203B-EF5D-421B-9376-E641036F773A}"/>
                  </a:ext>
                </a:extLst>
              </p:cNvPr>
              <p:cNvCxnSpPr>
                <a:cxnSpLocks/>
              </p:cNvCxnSpPr>
              <p:nvPr/>
            </p:nvCxnSpPr>
            <p:spPr bwMode="auto">
              <a:xfrm>
                <a:off x="4457846" y="4475243"/>
                <a:ext cx="207891" cy="0"/>
              </a:xfrm>
              <a:prstGeom prst="line">
                <a:avLst/>
              </a:prstGeom>
              <a:solidFill>
                <a:schemeClr val="bg1"/>
              </a:solidFill>
              <a:ln w="88900" cap="flat" cmpd="sng" algn="ctr">
                <a:solidFill>
                  <a:schemeClr val="bg1">
                    <a:lumMod val="95000"/>
                  </a:schemeClr>
                </a:solidFill>
                <a:prstDash val="solid"/>
                <a:round/>
                <a:headEnd type="none" w="med" len="med"/>
                <a:tailEnd type="none" w="med" len="med"/>
              </a:ln>
              <a:effectLst/>
            </p:spPr>
          </p:cxnSp>
          <p:sp>
            <p:nvSpPr>
              <p:cNvPr id="68" name="TextBox 67">
                <a:extLst>
                  <a:ext uri="{FF2B5EF4-FFF2-40B4-BE49-F238E27FC236}">
                    <a16:creationId xmlns:a16="http://schemas.microsoft.com/office/drawing/2014/main" id="{EEBAE851-4C0C-4B21-AF31-FA78FA108B7B}"/>
                  </a:ext>
                </a:extLst>
              </p:cNvPr>
              <p:cNvSpPr txBox="1"/>
              <p:nvPr/>
            </p:nvSpPr>
            <p:spPr>
              <a:xfrm>
                <a:off x="4684645" y="4413688"/>
                <a:ext cx="283933" cy="123111"/>
              </a:xfrm>
              <a:prstGeom prst="rect">
                <a:avLst/>
              </a:prstGeom>
              <a:noFill/>
            </p:spPr>
            <p:txBody>
              <a:bodyPr wrap="square" lIns="0" tIns="0" rIns="0" bIns="0" rtlCol="0">
                <a:spAutoFit/>
              </a:bodyPr>
              <a:lstStyle/>
              <a:p>
                <a:r>
                  <a:rPr lang="en-GB" sz="800">
                    <a:latin typeface="+mj-lt"/>
                  </a:rPr>
                  <a:t>Other</a:t>
                </a:r>
              </a:p>
            </p:txBody>
          </p:sp>
        </p:grpSp>
        <p:grpSp>
          <p:nvGrpSpPr>
            <p:cNvPr id="27" name="Group 26">
              <a:extLst>
                <a:ext uri="{FF2B5EF4-FFF2-40B4-BE49-F238E27FC236}">
                  <a16:creationId xmlns:a16="http://schemas.microsoft.com/office/drawing/2014/main" id="{88BC34A8-2EE6-4F47-A676-2813675C1507}"/>
                </a:ext>
              </a:extLst>
            </p:cNvPr>
            <p:cNvGrpSpPr/>
            <p:nvPr/>
          </p:nvGrpSpPr>
          <p:grpSpPr>
            <a:xfrm>
              <a:off x="4457846" y="2997108"/>
              <a:ext cx="831238" cy="123111"/>
              <a:chOff x="4457846" y="3897079"/>
              <a:chExt cx="831238" cy="123111"/>
            </a:xfrm>
          </p:grpSpPr>
          <p:cxnSp>
            <p:nvCxnSpPr>
              <p:cNvPr id="65" name="Straight Connector 64">
                <a:extLst>
                  <a:ext uri="{FF2B5EF4-FFF2-40B4-BE49-F238E27FC236}">
                    <a16:creationId xmlns:a16="http://schemas.microsoft.com/office/drawing/2014/main" id="{DFAD437F-93DD-4271-B142-B1E3B409083E}"/>
                  </a:ext>
                </a:extLst>
              </p:cNvPr>
              <p:cNvCxnSpPr>
                <a:cxnSpLocks/>
              </p:cNvCxnSpPr>
              <p:nvPr/>
            </p:nvCxnSpPr>
            <p:spPr bwMode="auto">
              <a:xfrm>
                <a:off x="4457846" y="3958634"/>
                <a:ext cx="207891" cy="0"/>
              </a:xfrm>
              <a:prstGeom prst="line">
                <a:avLst/>
              </a:prstGeom>
              <a:solidFill>
                <a:schemeClr val="bg1"/>
              </a:solidFill>
              <a:ln w="88900" cap="flat" cmpd="sng" algn="ctr">
                <a:solidFill>
                  <a:srgbClr val="8FCD9F"/>
                </a:solidFill>
                <a:prstDash val="solid"/>
                <a:round/>
                <a:headEnd type="none" w="med" len="med"/>
                <a:tailEnd type="none" w="med" len="med"/>
              </a:ln>
              <a:effectLst/>
            </p:spPr>
          </p:cxnSp>
          <p:sp>
            <p:nvSpPr>
              <p:cNvPr id="66" name="TextBox 65">
                <a:extLst>
                  <a:ext uri="{FF2B5EF4-FFF2-40B4-BE49-F238E27FC236}">
                    <a16:creationId xmlns:a16="http://schemas.microsoft.com/office/drawing/2014/main" id="{8BBFD341-BA2D-4BA0-B764-CC42F998C7B6}"/>
                  </a:ext>
                </a:extLst>
              </p:cNvPr>
              <p:cNvSpPr txBox="1"/>
              <p:nvPr/>
            </p:nvSpPr>
            <p:spPr>
              <a:xfrm>
                <a:off x="4684645" y="3897079"/>
                <a:ext cx="604439" cy="123111"/>
              </a:xfrm>
              <a:prstGeom prst="rect">
                <a:avLst/>
              </a:prstGeom>
              <a:noFill/>
            </p:spPr>
            <p:txBody>
              <a:bodyPr wrap="square" lIns="0" tIns="0" rIns="0" bIns="0" rtlCol="0">
                <a:spAutoFit/>
              </a:bodyPr>
              <a:lstStyle/>
              <a:p>
                <a:r>
                  <a:rPr lang="en-GB" sz="800" err="1">
                    <a:latin typeface="+mj-lt"/>
                  </a:rPr>
                  <a:t>Datascience</a:t>
                </a:r>
                <a:endParaRPr lang="en-GB" sz="800">
                  <a:latin typeface="+mj-lt"/>
                </a:endParaRPr>
              </a:p>
            </p:txBody>
          </p:sp>
        </p:grpSp>
        <p:grpSp>
          <p:nvGrpSpPr>
            <p:cNvPr id="6" name="Group 5">
              <a:extLst>
                <a:ext uri="{FF2B5EF4-FFF2-40B4-BE49-F238E27FC236}">
                  <a16:creationId xmlns:a16="http://schemas.microsoft.com/office/drawing/2014/main" id="{2B7C7BE2-3F86-4A48-BEF2-1282AD04CD79}"/>
                </a:ext>
              </a:extLst>
            </p:cNvPr>
            <p:cNvGrpSpPr/>
            <p:nvPr/>
          </p:nvGrpSpPr>
          <p:grpSpPr>
            <a:xfrm>
              <a:off x="4457846" y="2032488"/>
              <a:ext cx="732972" cy="123111"/>
              <a:chOff x="4457846" y="3070451"/>
              <a:chExt cx="732972" cy="123111"/>
            </a:xfrm>
          </p:grpSpPr>
          <p:cxnSp>
            <p:nvCxnSpPr>
              <p:cNvPr id="63" name="Straight Connector 62">
                <a:extLst>
                  <a:ext uri="{FF2B5EF4-FFF2-40B4-BE49-F238E27FC236}">
                    <a16:creationId xmlns:a16="http://schemas.microsoft.com/office/drawing/2014/main" id="{43131F26-367B-4AC4-94E5-5833F9F7CC1B}"/>
                  </a:ext>
                </a:extLst>
              </p:cNvPr>
              <p:cNvCxnSpPr>
                <a:cxnSpLocks/>
              </p:cNvCxnSpPr>
              <p:nvPr/>
            </p:nvCxnSpPr>
            <p:spPr bwMode="auto">
              <a:xfrm>
                <a:off x="4457846" y="3132006"/>
                <a:ext cx="207891" cy="0"/>
              </a:xfrm>
              <a:prstGeom prst="line">
                <a:avLst/>
              </a:prstGeom>
              <a:solidFill>
                <a:schemeClr val="bg1"/>
              </a:solidFill>
              <a:ln w="88900" cap="flat" cmpd="sng" algn="ctr">
                <a:solidFill>
                  <a:srgbClr val="00A3E2"/>
                </a:solidFill>
                <a:prstDash val="solid"/>
                <a:round/>
                <a:headEnd type="none" w="med" len="med"/>
                <a:tailEnd type="none" w="med" len="med"/>
              </a:ln>
              <a:effectLst/>
            </p:spPr>
          </p:cxnSp>
          <p:sp>
            <p:nvSpPr>
              <p:cNvPr id="64" name="TextBox 63">
                <a:extLst>
                  <a:ext uri="{FF2B5EF4-FFF2-40B4-BE49-F238E27FC236}">
                    <a16:creationId xmlns:a16="http://schemas.microsoft.com/office/drawing/2014/main" id="{AF4FDE51-BB44-4095-ADD9-5CA5D871EB35}"/>
                  </a:ext>
                </a:extLst>
              </p:cNvPr>
              <p:cNvSpPr txBox="1"/>
              <p:nvPr/>
            </p:nvSpPr>
            <p:spPr>
              <a:xfrm>
                <a:off x="4684645" y="3070451"/>
                <a:ext cx="506173" cy="123111"/>
              </a:xfrm>
              <a:prstGeom prst="rect">
                <a:avLst/>
              </a:prstGeom>
              <a:noFill/>
            </p:spPr>
            <p:txBody>
              <a:bodyPr wrap="square" lIns="0" tIns="0" rIns="0" bIns="0" rtlCol="0">
                <a:spAutoFit/>
              </a:bodyPr>
              <a:lstStyle/>
              <a:p>
                <a:r>
                  <a:rPr lang="en-GB" sz="800">
                    <a:latin typeface="+mj-lt"/>
                  </a:rPr>
                  <a:t>Direct +</a:t>
                </a:r>
              </a:p>
            </p:txBody>
          </p:sp>
        </p:grpSp>
        <p:grpSp>
          <p:nvGrpSpPr>
            <p:cNvPr id="15" name="Group 14">
              <a:extLst>
                <a:ext uri="{FF2B5EF4-FFF2-40B4-BE49-F238E27FC236}">
                  <a16:creationId xmlns:a16="http://schemas.microsoft.com/office/drawing/2014/main" id="{8AD2C3DB-6BD5-483D-99DA-E725F34401B9}"/>
                </a:ext>
              </a:extLst>
            </p:cNvPr>
            <p:cNvGrpSpPr/>
            <p:nvPr/>
          </p:nvGrpSpPr>
          <p:grpSpPr>
            <a:xfrm>
              <a:off x="4457846" y="2273643"/>
              <a:ext cx="990311" cy="123111"/>
              <a:chOff x="4457846" y="3273817"/>
              <a:chExt cx="990311" cy="123111"/>
            </a:xfrm>
          </p:grpSpPr>
          <p:cxnSp>
            <p:nvCxnSpPr>
              <p:cNvPr id="74" name="Straight Connector 73">
                <a:extLst>
                  <a:ext uri="{FF2B5EF4-FFF2-40B4-BE49-F238E27FC236}">
                    <a16:creationId xmlns:a16="http://schemas.microsoft.com/office/drawing/2014/main" id="{B6DFFB08-059B-439D-86E9-320735E0080F}"/>
                  </a:ext>
                </a:extLst>
              </p:cNvPr>
              <p:cNvCxnSpPr>
                <a:cxnSpLocks/>
              </p:cNvCxnSpPr>
              <p:nvPr/>
            </p:nvCxnSpPr>
            <p:spPr bwMode="auto">
              <a:xfrm>
                <a:off x="4457846" y="3335372"/>
                <a:ext cx="207891" cy="0"/>
              </a:xfrm>
              <a:prstGeom prst="line">
                <a:avLst/>
              </a:prstGeom>
              <a:solidFill>
                <a:schemeClr val="bg1"/>
              </a:solidFill>
              <a:ln w="88900" cap="flat" cmpd="sng" algn="ctr">
                <a:solidFill>
                  <a:srgbClr val="ADD9FD"/>
                </a:solidFill>
                <a:prstDash val="solid"/>
                <a:round/>
                <a:headEnd type="none" w="med" len="med"/>
                <a:tailEnd type="none" w="med" len="med"/>
              </a:ln>
              <a:effectLst/>
            </p:spPr>
          </p:cxnSp>
          <p:sp>
            <p:nvSpPr>
              <p:cNvPr id="75" name="TextBox 74">
                <a:extLst>
                  <a:ext uri="{FF2B5EF4-FFF2-40B4-BE49-F238E27FC236}">
                    <a16:creationId xmlns:a16="http://schemas.microsoft.com/office/drawing/2014/main" id="{CE2342FA-B38A-43DF-98EE-FDBD9BF9990B}"/>
                  </a:ext>
                </a:extLst>
              </p:cNvPr>
              <p:cNvSpPr txBox="1"/>
              <p:nvPr/>
            </p:nvSpPr>
            <p:spPr>
              <a:xfrm>
                <a:off x="4684645" y="3273817"/>
                <a:ext cx="763512" cy="123111"/>
              </a:xfrm>
              <a:prstGeom prst="rect">
                <a:avLst/>
              </a:prstGeom>
              <a:noFill/>
            </p:spPr>
            <p:txBody>
              <a:bodyPr wrap="square" lIns="0" tIns="0" rIns="0" bIns="0" rtlCol="0">
                <a:spAutoFit/>
              </a:bodyPr>
              <a:lstStyle/>
              <a:p>
                <a:r>
                  <a:rPr lang="en-GB" sz="800">
                    <a:latin typeface="+mj-lt"/>
                  </a:rPr>
                  <a:t>Business Add-On</a:t>
                </a:r>
              </a:p>
            </p:txBody>
          </p:sp>
        </p:grpSp>
        <p:grpSp>
          <p:nvGrpSpPr>
            <p:cNvPr id="17" name="Group 16">
              <a:extLst>
                <a:ext uri="{FF2B5EF4-FFF2-40B4-BE49-F238E27FC236}">
                  <a16:creationId xmlns:a16="http://schemas.microsoft.com/office/drawing/2014/main" id="{86854559-FC5D-404B-A9A9-1609F39C29D5}"/>
                </a:ext>
              </a:extLst>
            </p:cNvPr>
            <p:cNvGrpSpPr/>
            <p:nvPr/>
          </p:nvGrpSpPr>
          <p:grpSpPr>
            <a:xfrm>
              <a:off x="4457846" y="2514798"/>
              <a:ext cx="862931" cy="123111"/>
              <a:chOff x="4457846" y="3477183"/>
              <a:chExt cx="862931" cy="123111"/>
            </a:xfrm>
          </p:grpSpPr>
          <p:cxnSp>
            <p:nvCxnSpPr>
              <p:cNvPr id="76" name="Straight Connector 75">
                <a:extLst>
                  <a:ext uri="{FF2B5EF4-FFF2-40B4-BE49-F238E27FC236}">
                    <a16:creationId xmlns:a16="http://schemas.microsoft.com/office/drawing/2014/main" id="{C7BBEB5A-156A-4188-9C84-4D60E84B0242}"/>
                  </a:ext>
                </a:extLst>
              </p:cNvPr>
              <p:cNvCxnSpPr>
                <a:cxnSpLocks/>
              </p:cNvCxnSpPr>
              <p:nvPr/>
            </p:nvCxnSpPr>
            <p:spPr bwMode="auto">
              <a:xfrm>
                <a:off x="4457846" y="3538738"/>
                <a:ext cx="207891" cy="0"/>
              </a:xfrm>
              <a:prstGeom prst="line">
                <a:avLst/>
              </a:prstGeom>
              <a:solidFill>
                <a:schemeClr val="bg1"/>
              </a:solidFill>
              <a:ln w="88900" cap="flat" cmpd="sng" algn="ctr">
                <a:solidFill>
                  <a:srgbClr val="55CFFF"/>
                </a:solidFill>
                <a:prstDash val="solid"/>
                <a:round/>
                <a:headEnd type="none" w="med" len="med"/>
                <a:tailEnd type="none" w="med" len="med"/>
              </a:ln>
              <a:effectLst/>
            </p:spPr>
          </p:cxnSp>
          <p:sp>
            <p:nvSpPr>
              <p:cNvPr id="77" name="TextBox 76">
                <a:extLst>
                  <a:ext uri="{FF2B5EF4-FFF2-40B4-BE49-F238E27FC236}">
                    <a16:creationId xmlns:a16="http://schemas.microsoft.com/office/drawing/2014/main" id="{A5C5824D-BD72-4964-AA10-3D669932076E}"/>
                  </a:ext>
                </a:extLst>
              </p:cNvPr>
              <p:cNvSpPr txBox="1"/>
              <p:nvPr/>
            </p:nvSpPr>
            <p:spPr>
              <a:xfrm>
                <a:off x="4684645" y="3477183"/>
                <a:ext cx="636132" cy="123111"/>
              </a:xfrm>
              <a:prstGeom prst="rect">
                <a:avLst/>
              </a:prstGeom>
              <a:noFill/>
            </p:spPr>
            <p:txBody>
              <a:bodyPr wrap="square" lIns="0" tIns="0" rIns="0" bIns="0" rtlCol="0">
                <a:spAutoFit/>
              </a:bodyPr>
              <a:lstStyle/>
              <a:p>
                <a:r>
                  <a:rPr lang="en-GB" sz="800" err="1">
                    <a:latin typeface="+mj-lt"/>
                  </a:rPr>
                  <a:t>Dataxess</a:t>
                </a:r>
                <a:endParaRPr lang="en-GB" sz="800">
                  <a:latin typeface="+mj-lt"/>
                </a:endParaRPr>
              </a:p>
            </p:txBody>
          </p:sp>
        </p:grpSp>
        <p:grpSp>
          <p:nvGrpSpPr>
            <p:cNvPr id="26" name="Group 25">
              <a:extLst>
                <a:ext uri="{FF2B5EF4-FFF2-40B4-BE49-F238E27FC236}">
                  <a16:creationId xmlns:a16="http://schemas.microsoft.com/office/drawing/2014/main" id="{F7356656-802A-47AE-812E-664D5C8C2280}"/>
                </a:ext>
              </a:extLst>
            </p:cNvPr>
            <p:cNvGrpSpPr/>
            <p:nvPr/>
          </p:nvGrpSpPr>
          <p:grpSpPr>
            <a:xfrm>
              <a:off x="4457846" y="2755953"/>
              <a:ext cx="862931" cy="123111"/>
              <a:chOff x="4457846" y="3680549"/>
              <a:chExt cx="862931" cy="123111"/>
            </a:xfrm>
          </p:grpSpPr>
          <p:cxnSp>
            <p:nvCxnSpPr>
              <p:cNvPr id="78" name="Straight Connector 77">
                <a:extLst>
                  <a:ext uri="{FF2B5EF4-FFF2-40B4-BE49-F238E27FC236}">
                    <a16:creationId xmlns:a16="http://schemas.microsoft.com/office/drawing/2014/main" id="{8A6AA79F-0670-416F-A19E-33DB01A7F25A}"/>
                  </a:ext>
                </a:extLst>
              </p:cNvPr>
              <p:cNvCxnSpPr>
                <a:cxnSpLocks/>
              </p:cNvCxnSpPr>
              <p:nvPr/>
            </p:nvCxnSpPr>
            <p:spPr bwMode="auto">
              <a:xfrm>
                <a:off x="4457846" y="3742104"/>
                <a:ext cx="207891" cy="0"/>
              </a:xfrm>
              <a:prstGeom prst="line">
                <a:avLst/>
              </a:prstGeom>
              <a:solidFill>
                <a:schemeClr val="bg1"/>
              </a:solidFill>
              <a:ln w="88900" cap="flat" cmpd="sng" algn="ctr">
                <a:solidFill>
                  <a:srgbClr val="0575D0"/>
                </a:solidFill>
                <a:prstDash val="solid"/>
                <a:round/>
                <a:headEnd type="none" w="med" len="med"/>
                <a:tailEnd type="none" w="med" len="med"/>
              </a:ln>
              <a:effectLst/>
            </p:spPr>
          </p:cxnSp>
          <p:sp>
            <p:nvSpPr>
              <p:cNvPr id="79" name="TextBox 78">
                <a:extLst>
                  <a:ext uri="{FF2B5EF4-FFF2-40B4-BE49-F238E27FC236}">
                    <a16:creationId xmlns:a16="http://schemas.microsoft.com/office/drawing/2014/main" id="{CB527A27-001E-4869-BAEB-A088928FB751}"/>
                  </a:ext>
                </a:extLst>
              </p:cNvPr>
              <p:cNvSpPr txBox="1"/>
              <p:nvPr/>
            </p:nvSpPr>
            <p:spPr>
              <a:xfrm>
                <a:off x="4684645" y="3680549"/>
                <a:ext cx="636132" cy="123111"/>
              </a:xfrm>
              <a:prstGeom prst="rect">
                <a:avLst/>
              </a:prstGeom>
              <a:noFill/>
            </p:spPr>
            <p:txBody>
              <a:bodyPr wrap="square" lIns="0" tIns="0" rIns="0" bIns="0" rtlCol="0">
                <a:spAutoFit/>
              </a:bodyPr>
              <a:lstStyle/>
              <a:p>
                <a:r>
                  <a:rPr lang="en-GB" sz="800">
                    <a:latin typeface="+mj-lt"/>
                  </a:rPr>
                  <a:t>D&amp;B Connect</a:t>
                </a:r>
              </a:p>
            </p:txBody>
          </p:sp>
        </p:grpSp>
        <p:grpSp>
          <p:nvGrpSpPr>
            <p:cNvPr id="28" name="Group 27">
              <a:extLst>
                <a:ext uri="{FF2B5EF4-FFF2-40B4-BE49-F238E27FC236}">
                  <a16:creationId xmlns:a16="http://schemas.microsoft.com/office/drawing/2014/main" id="{5F13E799-6899-4EE9-AA69-4B62F2FF2E21}"/>
                </a:ext>
              </a:extLst>
            </p:cNvPr>
            <p:cNvGrpSpPr/>
            <p:nvPr/>
          </p:nvGrpSpPr>
          <p:grpSpPr>
            <a:xfrm>
              <a:off x="4457846" y="3238263"/>
              <a:ext cx="862931" cy="123111"/>
              <a:chOff x="4457846" y="4077769"/>
              <a:chExt cx="862931" cy="123111"/>
            </a:xfrm>
          </p:grpSpPr>
          <p:cxnSp>
            <p:nvCxnSpPr>
              <p:cNvPr id="80" name="Straight Connector 79">
                <a:extLst>
                  <a:ext uri="{FF2B5EF4-FFF2-40B4-BE49-F238E27FC236}">
                    <a16:creationId xmlns:a16="http://schemas.microsoft.com/office/drawing/2014/main" id="{1583AC27-6A31-4B0B-90B5-5E303E30AF39}"/>
                  </a:ext>
                </a:extLst>
              </p:cNvPr>
              <p:cNvCxnSpPr>
                <a:cxnSpLocks/>
              </p:cNvCxnSpPr>
              <p:nvPr/>
            </p:nvCxnSpPr>
            <p:spPr bwMode="auto">
              <a:xfrm>
                <a:off x="4457846" y="4139324"/>
                <a:ext cx="207891" cy="0"/>
              </a:xfrm>
              <a:prstGeom prst="line">
                <a:avLst/>
              </a:prstGeom>
              <a:solidFill>
                <a:schemeClr val="bg1"/>
              </a:solidFill>
              <a:ln w="88900" cap="flat" cmpd="sng" algn="ctr">
                <a:solidFill>
                  <a:schemeClr val="tx2"/>
                </a:solidFill>
                <a:prstDash val="solid"/>
                <a:round/>
                <a:headEnd type="none" w="med" len="med"/>
                <a:tailEnd type="none" w="med" len="med"/>
              </a:ln>
              <a:effectLst/>
            </p:spPr>
          </p:cxnSp>
          <p:sp>
            <p:nvSpPr>
              <p:cNvPr id="81" name="TextBox 80">
                <a:extLst>
                  <a:ext uri="{FF2B5EF4-FFF2-40B4-BE49-F238E27FC236}">
                    <a16:creationId xmlns:a16="http://schemas.microsoft.com/office/drawing/2014/main" id="{7C32DA22-74C9-4D73-A6E5-984D5312A1E7}"/>
                  </a:ext>
                </a:extLst>
              </p:cNvPr>
              <p:cNvSpPr txBox="1"/>
              <p:nvPr/>
            </p:nvSpPr>
            <p:spPr>
              <a:xfrm>
                <a:off x="4684645" y="4077769"/>
                <a:ext cx="636132" cy="123111"/>
              </a:xfrm>
              <a:prstGeom prst="rect">
                <a:avLst/>
              </a:prstGeom>
              <a:noFill/>
            </p:spPr>
            <p:txBody>
              <a:bodyPr wrap="square" lIns="0" tIns="0" rIns="0" bIns="0" rtlCol="0">
                <a:spAutoFit/>
              </a:bodyPr>
              <a:lstStyle/>
              <a:p>
                <a:r>
                  <a:rPr lang="en-GB" sz="800">
                    <a:latin typeface="+mj-lt"/>
                  </a:rPr>
                  <a:t>Data manager</a:t>
                </a:r>
              </a:p>
            </p:txBody>
          </p:sp>
        </p:grpSp>
      </p:grpSp>
      <p:pic>
        <p:nvPicPr>
          <p:cNvPr id="84" name="Graphic 83" descr="Lights On">
            <a:extLst>
              <a:ext uri="{FF2B5EF4-FFF2-40B4-BE49-F238E27FC236}">
                <a16:creationId xmlns:a16="http://schemas.microsoft.com/office/drawing/2014/main" id="{7E4D4335-0C3B-4325-A934-11835CB615B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83355" y="4765951"/>
            <a:ext cx="209742" cy="209742"/>
          </a:xfrm>
          <a:prstGeom prst="rect">
            <a:avLst/>
          </a:prstGeom>
        </p:spPr>
      </p:pic>
      <p:sp>
        <p:nvSpPr>
          <p:cNvPr id="61" name="TextBox 60">
            <a:extLst>
              <a:ext uri="{FF2B5EF4-FFF2-40B4-BE49-F238E27FC236}">
                <a16:creationId xmlns:a16="http://schemas.microsoft.com/office/drawing/2014/main" id="{2A880444-8716-49C6-96B9-5D4E2DCF3C58}"/>
              </a:ext>
            </a:extLst>
          </p:cNvPr>
          <p:cNvSpPr txBox="1"/>
          <p:nvPr/>
        </p:nvSpPr>
        <p:spPr>
          <a:xfrm>
            <a:off x="4793379" y="3400994"/>
            <a:ext cx="815574" cy="369332"/>
          </a:xfrm>
          <a:prstGeom prst="rect">
            <a:avLst/>
          </a:prstGeom>
          <a:noFill/>
        </p:spPr>
        <p:txBody>
          <a:bodyPr wrap="square" rtlCol="0">
            <a:spAutoFit/>
          </a:bodyPr>
          <a:lstStyle/>
          <a:p>
            <a:r>
              <a:rPr lang="en-GB" sz="900" i="1">
                <a:latin typeface="Trebuchet MS" panose="020B0603020202020204" pitchFamily="34" charset="0"/>
              </a:rPr>
              <a:t>API / Connectors</a:t>
            </a:r>
          </a:p>
        </p:txBody>
      </p:sp>
      <p:sp>
        <p:nvSpPr>
          <p:cNvPr id="62" name="Rectangle 61">
            <a:extLst>
              <a:ext uri="{FF2B5EF4-FFF2-40B4-BE49-F238E27FC236}">
                <a16:creationId xmlns:a16="http://schemas.microsoft.com/office/drawing/2014/main" id="{A8EB407D-5D39-4AFE-9BFE-F49B1F2F997C}"/>
              </a:ext>
            </a:extLst>
          </p:cNvPr>
          <p:cNvSpPr/>
          <p:nvPr/>
        </p:nvSpPr>
        <p:spPr bwMode="auto">
          <a:xfrm>
            <a:off x="4425340" y="3496916"/>
            <a:ext cx="329894" cy="195876"/>
          </a:xfrm>
          <a:prstGeom prst="rect">
            <a:avLst/>
          </a:prstGeom>
          <a:solidFill>
            <a:srgbClr val="EAF5FA"/>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nvGrpSpPr>
          <p:cNvPr id="71" name="Groupe 70">
            <a:extLst>
              <a:ext uri="{FF2B5EF4-FFF2-40B4-BE49-F238E27FC236}">
                <a16:creationId xmlns:a16="http://schemas.microsoft.com/office/drawing/2014/main" id="{D4EC1B0C-01BD-4BEA-8973-CDB47C73E86E}"/>
              </a:ext>
            </a:extLst>
          </p:cNvPr>
          <p:cNvGrpSpPr/>
          <p:nvPr/>
        </p:nvGrpSpPr>
        <p:grpSpPr>
          <a:xfrm>
            <a:off x="8448150" y="-11528"/>
            <a:ext cx="1435548" cy="588143"/>
            <a:chOff x="8448150" y="-11528"/>
            <a:chExt cx="1435548" cy="588143"/>
          </a:xfrm>
        </p:grpSpPr>
        <p:sp>
          <p:nvSpPr>
            <p:cNvPr id="72" name="Rectangle : coins arrondis 199">
              <a:extLst>
                <a:ext uri="{FF2B5EF4-FFF2-40B4-BE49-F238E27FC236}">
                  <a16:creationId xmlns:a16="http://schemas.microsoft.com/office/drawing/2014/main" id="{EC87F7AD-A864-4372-8E14-B495BEE2C0B3}"/>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3" name="Rectangle : coins arrondis 200">
              <a:extLst>
                <a:ext uri="{FF2B5EF4-FFF2-40B4-BE49-F238E27FC236}">
                  <a16:creationId xmlns:a16="http://schemas.microsoft.com/office/drawing/2014/main" id="{F002D2FA-D69B-401A-AEB9-B8356CC19408}"/>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2" name="Rectangle : coins arrondis 201">
              <a:extLst>
                <a:ext uri="{FF2B5EF4-FFF2-40B4-BE49-F238E27FC236}">
                  <a16:creationId xmlns:a16="http://schemas.microsoft.com/office/drawing/2014/main" id="{2D4199B3-3A4E-45D7-A2F1-65B98C8BCAB7}"/>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5" name="ZoneTexte 18">
              <a:extLst>
                <a:ext uri="{FF2B5EF4-FFF2-40B4-BE49-F238E27FC236}">
                  <a16:creationId xmlns:a16="http://schemas.microsoft.com/office/drawing/2014/main" id="{7CE12BC3-9545-40F7-8DAD-9CA7FB2E2ECF}"/>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offer</a:t>
              </a:r>
            </a:p>
          </p:txBody>
        </p:sp>
        <p:pic>
          <p:nvPicPr>
            <p:cNvPr id="86" name="Graphique 128" descr="Jauge">
              <a:extLst>
                <a:ext uri="{FF2B5EF4-FFF2-40B4-BE49-F238E27FC236}">
                  <a16:creationId xmlns:a16="http://schemas.microsoft.com/office/drawing/2014/main" id="{E8EA2F5C-5FF2-4525-9C97-6718C8537F5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53764" y="187516"/>
              <a:ext cx="234953" cy="218224"/>
            </a:xfrm>
            <a:prstGeom prst="rect">
              <a:avLst/>
            </a:prstGeom>
            <a:effectLst/>
          </p:spPr>
        </p:pic>
        <p:pic>
          <p:nvPicPr>
            <p:cNvPr id="87" name="Graphique 90" descr="Poignée de main">
              <a:extLst>
                <a:ext uri="{FF2B5EF4-FFF2-40B4-BE49-F238E27FC236}">
                  <a16:creationId xmlns:a16="http://schemas.microsoft.com/office/drawing/2014/main" id="{134BF2C6-BA5D-4D80-8006-718E3C70E4C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960868" y="152880"/>
              <a:ext cx="256313" cy="287496"/>
            </a:xfrm>
            <a:prstGeom prst="rect">
              <a:avLst/>
            </a:prstGeom>
            <a:effectLst/>
          </p:spPr>
        </p:pic>
        <p:pic>
          <p:nvPicPr>
            <p:cNvPr id="88" name="Graphique 74" descr="Mégaphone">
              <a:extLst>
                <a:ext uri="{FF2B5EF4-FFF2-40B4-BE49-F238E27FC236}">
                  <a16:creationId xmlns:a16="http://schemas.microsoft.com/office/drawing/2014/main" id="{3E946B7E-E755-4A88-AD97-5D34F5CA946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389331" y="181519"/>
              <a:ext cx="233011" cy="216420"/>
            </a:xfrm>
            <a:prstGeom prst="rect">
              <a:avLst/>
            </a:prstGeom>
            <a:effectLst/>
          </p:spPr>
        </p:pic>
        <p:pic>
          <p:nvPicPr>
            <p:cNvPr id="89" name="Picture 2" descr="Drapeau France">
              <a:extLst>
                <a:ext uri="{FF2B5EF4-FFF2-40B4-BE49-F238E27FC236}">
                  <a16:creationId xmlns:a16="http://schemas.microsoft.com/office/drawing/2014/main" id="{2C3B70DC-70F3-4737-A6FE-D77DA5854790}"/>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90" name="Picture 2" descr="5 ft x 3 ft 150 x 90 cm-DRAPEAU BELGE Belgique 100% Polyester ...">
              <a:extLst>
                <a:ext uri="{FF2B5EF4-FFF2-40B4-BE49-F238E27FC236}">
                  <a16:creationId xmlns:a16="http://schemas.microsoft.com/office/drawing/2014/main" id="{EB50DD09-0070-4156-AF34-839A5AD51ED2}"/>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91" name="Picture 2 - 1" descr="Drapeau des Pays-Bas — Wikipédia">
              <a:extLst>
                <a:ext uri="{FF2B5EF4-FFF2-40B4-BE49-F238E27FC236}">
                  <a16:creationId xmlns:a16="http://schemas.microsoft.com/office/drawing/2014/main" id="{CAB4B51A-C73C-4DE9-B8E3-91CCC623DD32}"/>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92" name="Picture 2 - 2" descr="Drapeau du Luxembourg">
              <a:extLst>
                <a:ext uri="{FF2B5EF4-FFF2-40B4-BE49-F238E27FC236}">
                  <a16:creationId xmlns:a16="http://schemas.microsoft.com/office/drawing/2014/main" id="{0E96D1F3-9ECB-44E8-B591-13EC5F9F4074}"/>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93" name="ZoneTexte 18">
              <a:extLst>
                <a:ext uri="{FF2B5EF4-FFF2-40B4-BE49-F238E27FC236}">
                  <a16:creationId xmlns:a16="http://schemas.microsoft.com/office/drawing/2014/main" id="{7C963906-3647-40F3-87C3-DDCECED4FA44}"/>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Product dynamics</a:t>
              </a:r>
            </a:p>
          </p:txBody>
        </p:sp>
      </p:grpSp>
      <p:pic>
        <p:nvPicPr>
          <p:cNvPr id="94" name="Picture 2" descr="Drapeau France">
            <a:extLst>
              <a:ext uri="{FF2B5EF4-FFF2-40B4-BE49-F238E27FC236}">
                <a16:creationId xmlns:a16="http://schemas.microsoft.com/office/drawing/2014/main" id="{852705B9-76EA-43A9-BEDC-61451596974E}"/>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17006" b="16757"/>
          <a:stretch/>
        </p:blipFill>
        <p:spPr bwMode="auto">
          <a:xfrm>
            <a:off x="336460" y="1079848"/>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96" name="Picture 2" descr="5 ft x 3 ft 150 x 90 cm-DRAPEAU BELGE Belgique 100% Polyester ...">
            <a:extLst>
              <a:ext uri="{FF2B5EF4-FFF2-40B4-BE49-F238E27FC236}">
                <a16:creationId xmlns:a16="http://schemas.microsoft.com/office/drawing/2014/main" id="{FD749FD2-971A-4946-B77B-9842035951EC}"/>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3973"/>
          <a:stretch/>
        </p:blipFill>
        <p:spPr bwMode="auto">
          <a:xfrm>
            <a:off x="5815276" y="1079848"/>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97" name="Picture 2 - 1" descr="Drapeau des Pays-Bas — Wikipédia">
            <a:extLst>
              <a:ext uri="{FF2B5EF4-FFF2-40B4-BE49-F238E27FC236}">
                <a16:creationId xmlns:a16="http://schemas.microsoft.com/office/drawing/2014/main" id="{63FB8CA0-57F7-4611-9236-9112235FFB9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608953" y="1079848"/>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98" name="Picture 2 - 2" descr="Drapeau du Luxembourg">
            <a:extLst>
              <a:ext uri="{FF2B5EF4-FFF2-40B4-BE49-F238E27FC236}">
                <a16:creationId xmlns:a16="http://schemas.microsoft.com/office/drawing/2014/main" id="{9A90C5B6-46D5-4291-BF49-EC9429D8B62C}"/>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021599" y="1079848"/>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83" name="Titre 2">
            <a:extLst>
              <a:ext uri="{FF2B5EF4-FFF2-40B4-BE49-F238E27FC236}">
                <a16:creationId xmlns:a16="http://schemas.microsoft.com/office/drawing/2014/main" id="{36680727-1D42-4C2D-B8E5-0C1A648FCB73}"/>
              </a:ext>
            </a:extLst>
          </p:cNvPr>
          <p:cNvSpPr>
            <a:spLocks noGrp="1"/>
          </p:cNvSpPr>
          <p:nvPr>
            <p:ph type="title"/>
          </p:nvPr>
        </p:nvSpPr>
        <p:spPr>
          <a:xfrm>
            <a:off x="676289" y="147600"/>
            <a:ext cx="7822182" cy="684000"/>
          </a:xfrm>
        </p:spPr>
        <p:txBody>
          <a:bodyPr/>
          <a:lstStyle/>
          <a:p>
            <a:r>
              <a:rPr lang="en-GB" i="1">
                <a:solidFill>
                  <a:schemeClr val="accent1"/>
                </a:solidFill>
                <a:latin typeface="Trebuchet MS" panose="020B0603020202020204" pitchFamily="34" charset="0"/>
              </a:rPr>
              <a:t>Illustration – Transversal products: </a:t>
            </a:r>
            <a:r>
              <a:rPr lang="en-GB" kern="0">
                <a:solidFill>
                  <a:schemeClr val="tx2"/>
                </a:solidFill>
                <a:latin typeface="Trebuchet MS" panose="020B0603020202020204" pitchFamily="34" charset="0"/>
              </a:rPr>
              <a:t>Transversal solutions</a:t>
            </a:r>
            <a:r>
              <a:rPr lang="en-GB" kern="0">
                <a:latin typeface="Trebuchet MS" panose="020B0603020202020204" pitchFamily="34" charset="0"/>
              </a:rPr>
              <a:t>, i.e. all the products that aim to </a:t>
            </a:r>
            <a:r>
              <a:rPr lang="en-GB" kern="0">
                <a:solidFill>
                  <a:schemeClr val="tx2"/>
                </a:solidFill>
                <a:latin typeface="Trebuchet MS" panose="020B0603020202020204" pitchFamily="34" charset="0"/>
              </a:rPr>
              <a:t>make clients’ data more reliable and accurate</a:t>
            </a:r>
            <a:r>
              <a:rPr lang="en-GB" kern="0">
                <a:latin typeface="Trebuchet MS" panose="020B0603020202020204" pitchFamily="34" charset="0"/>
              </a:rPr>
              <a:t>, are progressively </a:t>
            </a:r>
            <a:r>
              <a:rPr lang="en-GB" kern="0">
                <a:solidFill>
                  <a:schemeClr val="tx2"/>
                </a:solidFill>
                <a:latin typeface="Trebuchet MS" panose="020B0603020202020204" pitchFamily="34" charset="0"/>
              </a:rPr>
              <a:t>switching</a:t>
            </a:r>
            <a:r>
              <a:rPr lang="en-GB" kern="0">
                <a:latin typeface="Trebuchet MS" panose="020B0603020202020204" pitchFamily="34" charset="0"/>
              </a:rPr>
              <a:t> from batch solutions </a:t>
            </a:r>
            <a:r>
              <a:rPr lang="en-GB" kern="0">
                <a:solidFill>
                  <a:schemeClr val="tx2"/>
                </a:solidFill>
                <a:latin typeface="Trebuchet MS" panose="020B0603020202020204" pitchFamily="34" charset="0"/>
              </a:rPr>
              <a:t>to integrated solutions </a:t>
            </a:r>
            <a:br>
              <a:rPr lang="en-GB" kern="0">
                <a:solidFill>
                  <a:schemeClr val="tx2"/>
                </a:solidFill>
                <a:latin typeface="Trebuchet MS" panose="020B0603020202020204" pitchFamily="34" charset="0"/>
              </a:rPr>
            </a:br>
            <a:endParaRPr lang="en-GB">
              <a:solidFill>
                <a:schemeClr val="tx2"/>
              </a:solidFill>
              <a:latin typeface="Trebuchet MS" panose="020B0603020202020204" pitchFamily="34" charset="0"/>
            </a:endParaRPr>
          </a:p>
        </p:txBody>
      </p:sp>
      <p:sp>
        <p:nvSpPr>
          <p:cNvPr id="95" name="Freeform 9">
            <a:extLst>
              <a:ext uri="{FF2B5EF4-FFF2-40B4-BE49-F238E27FC236}">
                <a16:creationId xmlns:a16="http://schemas.microsoft.com/office/drawing/2014/main" id="{B22B5A8A-1749-4BA1-8BBC-91343ACD3B26}"/>
              </a:ext>
            </a:extLst>
          </p:cNvPr>
          <p:cNvSpPr>
            <a:spLocks noEditPoints="1"/>
          </p:cNvSpPr>
          <p:nvPr/>
        </p:nvSpPr>
        <p:spPr bwMode="auto">
          <a:xfrm>
            <a:off x="152836" y="229262"/>
            <a:ext cx="382759" cy="416927"/>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Tree>
    <p:extLst>
      <p:ext uri="{BB962C8B-B14F-4D97-AF65-F5344CB8AC3E}">
        <p14:creationId xmlns:p14="http://schemas.microsoft.com/office/powerpoint/2010/main" val="1409974748"/>
      </p:ext>
    </p:extLst>
  </p:cSld>
  <p:clrMapOvr>
    <a:masterClrMapping/>
  </p:clrMapOv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AAA3A35-C6B3-4EE6-9406-A3DBC2CB72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Objet 4" hidden="1">
                        <a:extLst>
                          <a:ext uri="{FF2B5EF4-FFF2-40B4-BE49-F238E27FC236}">
                            <a16:creationId xmlns:a16="http://schemas.microsoft.com/office/drawing/2014/main" id="{EAAA3A35-C6B3-4EE6-9406-A3DBC2CB72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DA14E9-D9F6-4D44-A466-BF298653DD7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4" name="Rectangle 13">
            <a:extLst>
              <a:ext uri="{FF2B5EF4-FFF2-40B4-BE49-F238E27FC236}">
                <a16:creationId xmlns:a16="http://schemas.microsoft.com/office/drawing/2014/main" id="{92FC6C6C-155F-4C1A-890E-114863D14568}"/>
              </a:ext>
            </a:extLst>
          </p:cNvPr>
          <p:cNvSpPr/>
          <p:nvPr/>
        </p:nvSpPr>
        <p:spPr bwMode="auto">
          <a:xfrm>
            <a:off x="227902" y="914401"/>
            <a:ext cx="9326546" cy="551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 name="Espace réservé du texte 2">
            <a:extLst>
              <a:ext uri="{FF2B5EF4-FFF2-40B4-BE49-F238E27FC236}">
                <a16:creationId xmlns:a16="http://schemas.microsoft.com/office/drawing/2014/main" id="{30953E26-7813-417B-AC0B-7AC74C77D79F}"/>
              </a:ext>
            </a:extLst>
          </p:cNvPr>
          <p:cNvSpPr>
            <a:spLocks noGrp="1"/>
          </p:cNvSpPr>
          <p:nvPr>
            <p:ph type="body" sz="quarter" idx="10"/>
          </p:nvPr>
        </p:nvSpPr>
        <p:spPr>
          <a:xfrm>
            <a:off x="1315274" y="6580025"/>
            <a:ext cx="4005503" cy="244800"/>
          </a:xfrm>
        </p:spPr>
        <p:txBody>
          <a:bodyPr/>
          <a:lstStyle/>
          <a:p>
            <a:r>
              <a:rPr lang="en-GB"/>
              <a:t>Sources: eleven research &amp; analysis, company data, interviews with management</a:t>
            </a:r>
          </a:p>
          <a:p>
            <a:endParaRPr lang="en-GB"/>
          </a:p>
        </p:txBody>
      </p:sp>
      <p:sp>
        <p:nvSpPr>
          <p:cNvPr id="47" name="Rectangle 46">
            <a:extLst>
              <a:ext uri="{FF2B5EF4-FFF2-40B4-BE49-F238E27FC236}">
                <a16:creationId xmlns:a16="http://schemas.microsoft.com/office/drawing/2014/main" id="{C85B0421-5BDB-4848-914A-867C2D466E74}"/>
              </a:ext>
            </a:extLst>
          </p:cNvPr>
          <p:cNvSpPr/>
          <p:nvPr/>
        </p:nvSpPr>
        <p:spPr bwMode="auto">
          <a:xfrm>
            <a:off x="525863" y="912961"/>
            <a:ext cx="3873438"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billing in France for Credit &amp; financial risk products,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4" name="Titre 1">
            <a:extLst>
              <a:ext uri="{FF2B5EF4-FFF2-40B4-BE49-F238E27FC236}">
                <a16:creationId xmlns:a16="http://schemas.microsoft.com/office/drawing/2014/main" id="{E4C834B3-8C96-4B4D-A3B2-401C953956D3}"/>
              </a:ext>
            </a:extLst>
          </p:cNvPr>
          <p:cNvSpPr txBox="1">
            <a:spLocks/>
          </p:cNvSpPr>
          <p:nvPr/>
        </p:nvSpPr>
        <p:spPr bwMode="auto">
          <a:xfrm>
            <a:off x="216000" y="147600"/>
            <a:ext cx="8230753" cy="48042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kern="0" err="1">
                <a:latin typeface="Trebuchet MS" panose="020B0603020202020204" pitchFamily="34" charset="0"/>
              </a:rPr>
              <a:t>Altares</a:t>
            </a:r>
            <a:r>
              <a:rPr lang="en-GB" kern="0">
                <a:latin typeface="Trebuchet MS" panose="020B0603020202020204" pitchFamily="34" charset="0"/>
              </a:rPr>
              <a:t> is progressively </a:t>
            </a:r>
            <a:r>
              <a:rPr lang="en-GB" kern="0">
                <a:solidFill>
                  <a:schemeClr val="tx2"/>
                </a:solidFill>
                <a:latin typeface="Trebuchet MS" panose="020B0603020202020204" pitchFamily="34" charset="0"/>
              </a:rPr>
              <a:t>rationalizing its Credit &amp; financial risk products range </a:t>
            </a:r>
            <a:r>
              <a:rPr lang="en-GB" kern="0">
                <a:latin typeface="Trebuchet MS" panose="020B0603020202020204" pitchFamily="34" charset="0"/>
              </a:rPr>
              <a:t>in order to </a:t>
            </a:r>
            <a:r>
              <a:rPr lang="en-GB" kern="0">
                <a:solidFill>
                  <a:schemeClr val="tx2"/>
                </a:solidFill>
                <a:latin typeface="Trebuchet MS" panose="020B0603020202020204" pitchFamily="34" charset="0"/>
              </a:rPr>
              <a:t>maintain its margins </a:t>
            </a:r>
            <a:r>
              <a:rPr lang="en-GB" kern="0">
                <a:latin typeface="Trebuchet MS" panose="020B0603020202020204" pitchFamily="34" charset="0"/>
              </a:rPr>
              <a:t>despite the decrease in sales </a:t>
            </a:r>
          </a:p>
        </p:txBody>
      </p:sp>
      <p:sp>
        <p:nvSpPr>
          <p:cNvPr id="33" name="Rectangle 32">
            <a:extLst>
              <a:ext uri="{FF2B5EF4-FFF2-40B4-BE49-F238E27FC236}">
                <a16:creationId xmlns:a16="http://schemas.microsoft.com/office/drawing/2014/main" id="{A1FDEDE9-E5E2-4EBC-A5B8-4EEF0C822E21}"/>
              </a:ext>
            </a:extLst>
          </p:cNvPr>
          <p:cNvSpPr/>
          <p:nvPr/>
        </p:nvSpPr>
        <p:spPr bwMode="auto">
          <a:xfrm>
            <a:off x="6260891" y="912961"/>
            <a:ext cx="3383217"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bookings in Benelux for Credit &amp; financial risk products,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aphicFrame>
        <p:nvGraphicFramePr>
          <p:cNvPr id="61" name="Chart 60">
            <a:extLst>
              <a:ext uri="{FF2B5EF4-FFF2-40B4-BE49-F238E27FC236}">
                <a16:creationId xmlns:a16="http://schemas.microsoft.com/office/drawing/2014/main" id="{5930B959-BF0B-4173-934E-6EF0FE0A13EA}"/>
              </a:ext>
            </a:extLst>
          </p:cNvPr>
          <p:cNvGraphicFramePr/>
          <p:nvPr>
            <p:extLst>
              <p:ext uri="{D42A27DB-BD31-4B8C-83A1-F6EECF244321}">
                <p14:modId xmlns:p14="http://schemas.microsoft.com/office/powerpoint/2010/main" val="4176675076"/>
              </p:ext>
            </p:extLst>
          </p:nvPr>
        </p:nvGraphicFramePr>
        <p:xfrm>
          <a:off x="317562" y="1330992"/>
          <a:ext cx="3998394" cy="323745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1" name="Chart 70">
            <a:extLst>
              <a:ext uri="{FF2B5EF4-FFF2-40B4-BE49-F238E27FC236}">
                <a16:creationId xmlns:a16="http://schemas.microsoft.com/office/drawing/2014/main" id="{A9EDD84F-41F5-40A2-880E-7FC6BA669633}"/>
              </a:ext>
            </a:extLst>
          </p:cNvPr>
          <p:cNvGraphicFramePr/>
          <p:nvPr/>
        </p:nvGraphicFramePr>
        <p:xfrm>
          <a:off x="5590046" y="1330992"/>
          <a:ext cx="3998394" cy="3237453"/>
        </p:xfrm>
        <a:graphic>
          <a:graphicData uri="http://schemas.openxmlformats.org/drawingml/2006/chart">
            <c:chart xmlns:c="http://schemas.openxmlformats.org/drawingml/2006/chart" xmlns:r="http://schemas.openxmlformats.org/officeDocument/2006/relationships" r:id="rId7"/>
          </a:graphicData>
        </a:graphic>
      </p:graphicFrame>
      <p:sp>
        <p:nvSpPr>
          <p:cNvPr id="188" name="Rectangle 187">
            <a:extLst>
              <a:ext uri="{FF2B5EF4-FFF2-40B4-BE49-F238E27FC236}">
                <a16:creationId xmlns:a16="http://schemas.microsoft.com/office/drawing/2014/main" id="{C5BDDC62-1520-4FE8-A457-FD055F57896B}"/>
              </a:ext>
            </a:extLst>
          </p:cNvPr>
          <p:cNvSpPr/>
          <p:nvPr/>
        </p:nvSpPr>
        <p:spPr bwMode="auto">
          <a:xfrm>
            <a:off x="3394685" y="4717986"/>
            <a:ext cx="6174854" cy="1601775"/>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dirty="0">
                <a:latin typeface="Trebuchet MS" pitchFamily="34" charset="0"/>
              </a:rPr>
              <a:t>Comments</a:t>
            </a:r>
          </a:p>
          <a:p>
            <a:pPr marL="171450" indent="-171450">
              <a:spcBef>
                <a:spcPts val="600"/>
              </a:spcBef>
              <a:buClr>
                <a:schemeClr val="tx1"/>
              </a:buClr>
              <a:buFont typeface="Arial" panose="020B0604020202020204" pitchFamily="34" charset="0"/>
              <a:buChar char="•"/>
            </a:pPr>
            <a:r>
              <a:rPr lang="en-GB" sz="1000" dirty="0">
                <a:latin typeface="Trebuchet MS" pitchFamily="34" charset="0"/>
              </a:rPr>
              <a:t>Both DBAI/Toolkit/GDM and </a:t>
            </a:r>
            <a:r>
              <a:rPr lang="en-GB" sz="1000" dirty="0" err="1">
                <a:latin typeface="Trebuchet MS" panose="020B0603020202020204" pitchFamily="34" charset="0"/>
              </a:rPr>
              <a:t>DNBi</a:t>
            </a:r>
            <a:r>
              <a:rPr lang="en-GB" sz="1000" dirty="0">
                <a:latin typeface="Trebuchet MS" panose="020B0603020202020204" pitchFamily="34" charset="0"/>
              </a:rPr>
              <a:t> clients are being </a:t>
            </a:r>
            <a:r>
              <a:rPr lang="en-GB" sz="1000" dirty="0">
                <a:solidFill>
                  <a:schemeClr val="tx2"/>
                </a:solidFill>
                <a:latin typeface="Trebuchet MS" pitchFamily="34" charset="0"/>
              </a:rPr>
              <a:t>migrated towards D&amp;B Credit </a:t>
            </a:r>
            <a:r>
              <a:rPr lang="en-GB" sz="1000" dirty="0">
                <a:latin typeface="Trebuchet MS" panose="020B0603020202020204" pitchFamily="34" charset="0"/>
              </a:rPr>
              <a:t>in order to </a:t>
            </a:r>
            <a:r>
              <a:rPr lang="en-GB" sz="1000" dirty="0">
                <a:solidFill>
                  <a:schemeClr val="tx2"/>
                </a:solidFill>
                <a:latin typeface="Trebuchet MS" pitchFamily="34" charset="0"/>
              </a:rPr>
              <a:t>rationalize and actualize </a:t>
            </a:r>
            <a:r>
              <a:rPr lang="en-GB" sz="1000" dirty="0">
                <a:latin typeface="Trebuchet MS" panose="020B0603020202020204" pitchFamily="34" charset="0"/>
              </a:rPr>
              <a:t>products offer </a:t>
            </a:r>
          </a:p>
          <a:p>
            <a:pPr marL="171450" indent="-171450">
              <a:spcBef>
                <a:spcPts val="600"/>
              </a:spcBef>
              <a:buClr>
                <a:schemeClr val="tx1"/>
              </a:buClr>
              <a:buFont typeface="Arial" panose="020B0604020202020204" pitchFamily="34" charset="0"/>
              <a:buChar char="•"/>
            </a:pPr>
            <a:r>
              <a:rPr lang="en-GB" sz="1000" dirty="0" err="1">
                <a:latin typeface="Trebuchet MS" panose="020B0603020202020204" pitchFamily="34" charset="0"/>
              </a:rPr>
              <a:t>Wynbe</a:t>
            </a:r>
            <a:r>
              <a:rPr lang="en-GB" sz="1000" dirty="0">
                <a:latin typeface="Trebuchet MS" panose="020B0603020202020204" pitchFamily="34" charset="0"/>
              </a:rPr>
              <a:t> customers that induced negative margin have been migrated towards </a:t>
            </a:r>
            <a:r>
              <a:rPr lang="en-GB" sz="1000" dirty="0" err="1">
                <a:latin typeface="Trebuchet MS" panose="020B0603020202020204" pitchFamily="34" charset="0"/>
              </a:rPr>
              <a:t>intuiz</a:t>
            </a:r>
            <a:r>
              <a:rPr lang="en-GB" sz="1000" dirty="0">
                <a:latin typeface="Trebuchet MS" panose="020B0603020202020204" pitchFamily="34" charset="0"/>
              </a:rPr>
              <a:t>+</a:t>
            </a:r>
          </a:p>
          <a:p>
            <a:pPr marL="171450" indent="-171450">
              <a:spcBef>
                <a:spcPts val="600"/>
              </a:spcBef>
              <a:buClr>
                <a:schemeClr val="tx1"/>
              </a:buClr>
              <a:buFont typeface="Wingdings" panose="05000000000000000000" pitchFamily="2" charset="2"/>
              <a:buChar char="Ø"/>
            </a:pPr>
            <a:r>
              <a:rPr lang="en-GB" sz="1000" dirty="0" err="1">
                <a:latin typeface="Trebuchet MS" pitchFamily="34" charset="0"/>
              </a:rPr>
              <a:t>Altares</a:t>
            </a:r>
            <a:r>
              <a:rPr lang="en-GB" sz="1000" dirty="0">
                <a:latin typeface="Trebuchet MS" pitchFamily="34" charset="0"/>
              </a:rPr>
              <a:t> is </a:t>
            </a:r>
            <a:r>
              <a:rPr lang="en-GB" sz="1000" dirty="0">
                <a:solidFill>
                  <a:schemeClr val="tx2"/>
                </a:solidFill>
                <a:latin typeface="Trebuchet MS" pitchFamily="34" charset="0"/>
              </a:rPr>
              <a:t>replacing old products with outdated pricing </a:t>
            </a:r>
            <a:r>
              <a:rPr lang="en-GB" sz="1000" dirty="0">
                <a:latin typeface="Trebuchet MS" pitchFamily="34" charset="0"/>
              </a:rPr>
              <a:t>with new products in order to fit better in the market </a:t>
            </a:r>
          </a:p>
        </p:txBody>
      </p:sp>
      <p:grpSp>
        <p:nvGrpSpPr>
          <p:cNvPr id="189" name="Group 4">
            <a:extLst>
              <a:ext uri="{FF2B5EF4-FFF2-40B4-BE49-F238E27FC236}">
                <a16:creationId xmlns:a16="http://schemas.microsoft.com/office/drawing/2014/main" id="{B13B303F-29E4-47B3-AFC8-1E61FB51F0FF}"/>
              </a:ext>
            </a:extLst>
          </p:cNvPr>
          <p:cNvGrpSpPr>
            <a:grpSpLocks noChangeAspect="1"/>
          </p:cNvGrpSpPr>
          <p:nvPr/>
        </p:nvGrpSpPr>
        <p:grpSpPr bwMode="auto">
          <a:xfrm>
            <a:off x="5610082" y="4757081"/>
            <a:ext cx="226868" cy="184867"/>
            <a:chOff x="788" y="869"/>
            <a:chExt cx="740" cy="603"/>
          </a:xfrm>
          <a:solidFill>
            <a:schemeClr val="tx1"/>
          </a:solidFill>
        </p:grpSpPr>
        <p:sp>
          <p:nvSpPr>
            <p:cNvPr id="190" name="Freeform 5">
              <a:extLst>
                <a:ext uri="{FF2B5EF4-FFF2-40B4-BE49-F238E27FC236}">
                  <a16:creationId xmlns:a16="http://schemas.microsoft.com/office/drawing/2014/main" id="{13B91938-DA88-445B-96FC-2C15A9EC96B4}"/>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1" name="Rectangle 6">
              <a:extLst>
                <a:ext uri="{FF2B5EF4-FFF2-40B4-BE49-F238E27FC236}">
                  <a16:creationId xmlns:a16="http://schemas.microsoft.com/office/drawing/2014/main" id="{CD11B9F3-4454-4F15-8396-EA6CA394C9F4}"/>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2" name="Rectangle 7">
              <a:extLst>
                <a:ext uri="{FF2B5EF4-FFF2-40B4-BE49-F238E27FC236}">
                  <a16:creationId xmlns:a16="http://schemas.microsoft.com/office/drawing/2014/main" id="{8A29BADD-28B5-4907-9A62-B1BD26EC4533}"/>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3" name="Rectangle 8">
              <a:extLst>
                <a:ext uri="{FF2B5EF4-FFF2-40B4-BE49-F238E27FC236}">
                  <a16:creationId xmlns:a16="http://schemas.microsoft.com/office/drawing/2014/main" id="{AD3937E5-73B9-4FB1-B8A6-86AC41FB69D3}"/>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94" name="Bulle narrative : rectangle 3">
            <a:extLst>
              <a:ext uri="{FF2B5EF4-FFF2-40B4-BE49-F238E27FC236}">
                <a16:creationId xmlns:a16="http://schemas.microsoft.com/office/drawing/2014/main" id="{D2F9D774-2CB5-45E6-8AEE-E74405319A23}"/>
              </a:ext>
            </a:extLst>
          </p:cNvPr>
          <p:cNvSpPr/>
          <p:nvPr/>
        </p:nvSpPr>
        <p:spPr bwMode="auto">
          <a:xfrm>
            <a:off x="336461" y="4717986"/>
            <a:ext cx="2949664" cy="1603577"/>
          </a:xfrm>
          <a:prstGeom prst="rect">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1200"/>
              </a:spcAft>
              <a:buClrTx/>
              <a:buSzTx/>
              <a:buFontTx/>
              <a:buNone/>
              <a:tabLst/>
            </a:pPr>
            <a:r>
              <a:rPr kumimoji="0" lang="en-GB" sz="1000" b="0" i="0" u="none" strike="noStrike" cap="none" normalizeH="0" baseline="0">
                <a:ln>
                  <a:noFill/>
                </a:ln>
                <a:effectLst/>
                <a:latin typeface="Trebuchet MS" panose="020B0603020202020204" pitchFamily="34" charset="0"/>
              </a:rPr>
              <a:t>Readin</a:t>
            </a:r>
            <a:r>
              <a:rPr lang="en-GB" sz="1000">
                <a:latin typeface="Trebuchet MS" panose="020B0603020202020204" pitchFamily="34" charset="0"/>
              </a:rPr>
              <a:t>g insights</a:t>
            </a:r>
            <a:endParaRPr kumimoji="0" lang="en-GB" sz="1000" b="0" i="0" u="none" strike="noStrike" cap="none" normalizeH="0" baseline="0">
              <a:ln>
                <a:noFill/>
              </a:ln>
              <a:solidFill>
                <a:schemeClr val="bg1">
                  <a:lumMod val="65000"/>
                </a:schemeClr>
              </a:solidFill>
              <a:effectLst/>
              <a:latin typeface="Trebuchet MS" panose="020B0603020202020204" pitchFamily="34" charset="0"/>
            </a:endParaRP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kumimoji="0" lang="en-GB" sz="1000" b="0" i="0" u="none" strike="noStrike" cap="none" normalizeH="0" baseline="0">
                <a:ln>
                  <a:noFill/>
                </a:ln>
                <a:effectLst/>
                <a:latin typeface="Trebuchet MS" panose="020B0603020202020204" pitchFamily="34" charset="0"/>
              </a:rPr>
              <a:t>Transversal products, that </a:t>
            </a:r>
            <a:r>
              <a:rPr kumimoji="0" lang="en-GB" sz="1000" b="0" i="0" u="none" strike="noStrike" cap="none" normalizeH="0" baseline="0">
                <a:ln>
                  <a:noFill/>
                </a:ln>
                <a:solidFill>
                  <a:schemeClr val="tx2"/>
                </a:solidFill>
                <a:effectLst/>
                <a:latin typeface="Trebuchet MS" panose="020B0603020202020204" pitchFamily="34" charset="0"/>
              </a:rPr>
              <a:t>address the three lines of business</a:t>
            </a:r>
            <a:r>
              <a:rPr kumimoji="0" lang="en-GB" sz="1000" b="0" i="0" u="none" strike="noStrike" cap="none" normalizeH="0" baseline="0">
                <a:ln>
                  <a:noFill/>
                </a:ln>
                <a:effectLst/>
                <a:latin typeface="Trebuchet MS" panose="020B0603020202020204" pitchFamily="34" charset="0"/>
              </a:rPr>
              <a:t>, are merged into a virtual category that represe</a:t>
            </a:r>
            <a:r>
              <a:rPr lang="en-GB" sz="1000">
                <a:latin typeface="Trebuchet MS" panose="020B0603020202020204" pitchFamily="34" charset="0"/>
              </a:rPr>
              <a:t>nts all the </a:t>
            </a:r>
            <a:r>
              <a:rPr lang="en-GB" sz="1000">
                <a:solidFill>
                  <a:schemeClr val="tx2"/>
                </a:solidFill>
                <a:latin typeface="Trebuchet MS" panose="020B0603020202020204" pitchFamily="34" charset="0"/>
              </a:rPr>
              <a:t>transversal sales related to Credit &amp; financial risk </a:t>
            </a:r>
            <a:endParaRPr kumimoji="0" lang="en-GB" sz="1000" u="none" strike="noStrike" cap="none" normalizeH="0" baseline="0">
              <a:ln>
                <a:noFill/>
              </a:ln>
              <a:solidFill>
                <a:schemeClr val="tx2"/>
              </a:solidFill>
              <a:effectLst/>
              <a:latin typeface="Trebuchet MS" panose="020B0603020202020204" pitchFamily="34" charset="0"/>
            </a:endParaRP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lang="en-GB" sz="1000">
                <a:latin typeface="Trebuchet MS" panose="020B0603020202020204" pitchFamily="34" charset="0"/>
              </a:rPr>
              <a:t>Some products exhibited in this slide are </a:t>
            </a:r>
            <a:r>
              <a:rPr lang="en-GB" sz="1000">
                <a:solidFill>
                  <a:schemeClr val="tx2"/>
                </a:solidFill>
                <a:latin typeface="Trebuchet MS" panose="020B0603020202020204" pitchFamily="34" charset="0"/>
              </a:rPr>
              <a:t>not present in the offer presentation </a:t>
            </a:r>
            <a:r>
              <a:rPr lang="en-GB" sz="1000">
                <a:latin typeface="Trebuchet MS" panose="020B0603020202020204" pitchFamily="34" charset="0"/>
              </a:rPr>
              <a:t>cause are </a:t>
            </a:r>
            <a:r>
              <a:rPr lang="en-GB" sz="1000">
                <a:solidFill>
                  <a:schemeClr val="tx2"/>
                </a:solidFill>
                <a:latin typeface="Trebuchet MS" panose="020B0603020202020204" pitchFamily="34" charset="0"/>
              </a:rPr>
              <a:t>no longer in the roadmap</a:t>
            </a:r>
            <a:endParaRPr kumimoji="0" lang="en-GB" sz="1000" b="0" i="0" u="none" strike="noStrike" cap="none" normalizeH="0" baseline="0">
              <a:ln>
                <a:noFill/>
              </a:ln>
              <a:solidFill>
                <a:schemeClr val="tx2"/>
              </a:solidFill>
              <a:effectLst/>
              <a:latin typeface="Trebuchet MS" panose="020B0603020202020204" pitchFamily="34" charset="0"/>
            </a:endParaRPr>
          </a:p>
        </p:txBody>
      </p:sp>
      <p:pic>
        <p:nvPicPr>
          <p:cNvPr id="195" name="Graphic 194" descr="Lights On">
            <a:extLst>
              <a:ext uri="{FF2B5EF4-FFF2-40B4-BE49-F238E27FC236}">
                <a16:creationId xmlns:a16="http://schemas.microsoft.com/office/drawing/2014/main" id="{71A5829A-FCF0-4D16-8F52-999967EF338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83355" y="4765951"/>
            <a:ext cx="209742" cy="209742"/>
          </a:xfrm>
          <a:prstGeom prst="rect">
            <a:avLst/>
          </a:prstGeom>
        </p:spPr>
      </p:pic>
      <p:sp>
        <p:nvSpPr>
          <p:cNvPr id="43" name="Rectangle 42">
            <a:extLst>
              <a:ext uri="{FF2B5EF4-FFF2-40B4-BE49-F238E27FC236}">
                <a16:creationId xmlns:a16="http://schemas.microsoft.com/office/drawing/2014/main" id="{A7331F05-FF74-4FA1-B865-A812ECE4F24C}"/>
              </a:ext>
            </a:extLst>
          </p:cNvPr>
          <p:cNvSpPr/>
          <p:nvPr/>
        </p:nvSpPr>
        <p:spPr bwMode="auto">
          <a:xfrm>
            <a:off x="4402172" y="1330992"/>
            <a:ext cx="1115216" cy="2810146"/>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grpSp>
        <p:nvGrpSpPr>
          <p:cNvPr id="41" name="Group 40">
            <a:extLst>
              <a:ext uri="{FF2B5EF4-FFF2-40B4-BE49-F238E27FC236}">
                <a16:creationId xmlns:a16="http://schemas.microsoft.com/office/drawing/2014/main" id="{9DB0BF56-4287-4653-8EE7-E646106F4DBB}"/>
              </a:ext>
            </a:extLst>
          </p:cNvPr>
          <p:cNvGrpSpPr/>
          <p:nvPr/>
        </p:nvGrpSpPr>
        <p:grpSpPr>
          <a:xfrm>
            <a:off x="4454401" y="2320647"/>
            <a:ext cx="1103746" cy="123111"/>
            <a:chOff x="4457845" y="2814486"/>
            <a:chExt cx="1103746" cy="123111"/>
          </a:xfrm>
        </p:grpSpPr>
        <p:cxnSp>
          <p:nvCxnSpPr>
            <p:cNvPr id="63" name="Straight Connector 62">
              <a:extLst>
                <a:ext uri="{FF2B5EF4-FFF2-40B4-BE49-F238E27FC236}">
                  <a16:creationId xmlns:a16="http://schemas.microsoft.com/office/drawing/2014/main" id="{43131F26-367B-4AC4-94E5-5833F9F7CC1B}"/>
                </a:ext>
              </a:extLst>
            </p:cNvPr>
            <p:cNvCxnSpPr>
              <a:cxnSpLocks/>
            </p:cNvCxnSpPr>
            <p:nvPr/>
          </p:nvCxnSpPr>
          <p:spPr bwMode="auto">
            <a:xfrm>
              <a:off x="4457845" y="2876041"/>
              <a:ext cx="207891" cy="0"/>
            </a:xfrm>
            <a:prstGeom prst="line">
              <a:avLst/>
            </a:prstGeom>
            <a:solidFill>
              <a:schemeClr val="bg1"/>
            </a:solidFill>
            <a:ln w="88900" cap="flat" cmpd="sng" algn="ctr">
              <a:solidFill>
                <a:srgbClr val="ADD9FD"/>
              </a:solidFill>
              <a:prstDash val="solid"/>
              <a:round/>
              <a:headEnd type="none" w="med" len="med"/>
              <a:tailEnd type="none" w="med" len="med"/>
            </a:ln>
            <a:effectLst/>
          </p:spPr>
        </p:cxnSp>
        <p:sp>
          <p:nvSpPr>
            <p:cNvPr id="64" name="TextBox 63">
              <a:extLst>
                <a:ext uri="{FF2B5EF4-FFF2-40B4-BE49-F238E27FC236}">
                  <a16:creationId xmlns:a16="http://schemas.microsoft.com/office/drawing/2014/main" id="{AF4FDE51-BB44-4095-ADD9-5CA5D871EB35}"/>
                </a:ext>
              </a:extLst>
            </p:cNvPr>
            <p:cNvSpPr txBox="1"/>
            <p:nvPr/>
          </p:nvSpPr>
          <p:spPr>
            <a:xfrm>
              <a:off x="4684644" y="2814486"/>
              <a:ext cx="876947" cy="123111"/>
            </a:xfrm>
            <a:prstGeom prst="rect">
              <a:avLst/>
            </a:prstGeom>
            <a:noFill/>
          </p:spPr>
          <p:txBody>
            <a:bodyPr wrap="square" lIns="0" tIns="0" rIns="0" bIns="0" rtlCol="0">
              <a:spAutoFit/>
            </a:bodyPr>
            <a:lstStyle/>
            <a:p>
              <a:r>
                <a:rPr lang="en-GB" sz="800">
                  <a:latin typeface="+mj-lt"/>
                </a:rPr>
                <a:t>Portfolio manager</a:t>
              </a:r>
            </a:p>
          </p:txBody>
        </p:sp>
      </p:grpSp>
      <p:sp>
        <p:nvSpPr>
          <p:cNvPr id="80" name="Rectangle 79">
            <a:extLst>
              <a:ext uri="{FF2B5EF4-FFF2-40B4-BE49-F238E27FC236}">
                <a16:creationId xmlns:a16="http://schemas.microsoft.com/office/drawing/2014/main" id="{DFB8602C-728A-4C8C-A7F2-2B654B27BE87}"/>
              </a:ext>
            </a:extLst>
          </p:cNvPr>
          <p:cNvSpPr/>
          <p:nvPr/>
        </p:nvSpPr>
        <p:spPr bwMode="auto">
          <a:xfrm>
            <a:off x="4432333" y="1364076"/>
            <a:ext cx="1054894" cy="670012"/>
          </a:xfrm>
          <a:prstGeom prst="rect">
            <a:avLst/>
          </a:prstGeom>
          <a:solidFill>
            <a:schemeClr val="bg1">
              <a:lumMod val="95000"/>
            </a:schemeClr>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8" name="Rectangle 47">
            <a:extLst>
              <a:ext uri="{FF2B5EF4-FFF2-40B4-BE49-F238E27FC236}">
                <a16:creationId xmlns:a16="http://schemas.microsoft.com/office/drawing/2014/main" id="{D12D5E80-9750-458B-889B-2619482F75B3}"/>
              </a:ext>
            </a:extLst>
          </p:cNvPr>
          <p:cNvSpPr/>
          <p:nvPr/>
        </p:nvSpPr>
        <p:spPr bwMode="auto">
          <a:xfrm>
            <a:off x="4425340" y="2506666"/>
            <a:ext cx="1068880" cy="439997"/>
          </a:xfrm>
          <a:prstGeom prst="rect">
            <a:avLst/>
          </a:prstGeom>
          <a:solidFill>
            <a:schemeClr val="bg1">
              <a:lumMod val="95000"/>
            </a:schemeClr>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7" name="Group 6">
            <a:extLst>
              <a:ext uri="{FF2B5EF4-FFF2-40B4-BE49-F238E27FC236}">
                <a16:creationId xmlns:a16="http://schemas.microsoft.com/office/drawing/2014/main" id="{3BF2DBCB-F5D6-4AA2-AA46-5206F0EC92E1}"/>
              </a:ext>
            </a:extLst>
          </p:cNvPr>
          <p:cNvGrpSpPr/>
          <p:nvPr/>
        </p:nvGrpSpPr>
        <p:grpSpPr>
          <a:xfrm>
            <a:off x="4454402" y="1392528"/>
            <a:ext cx="862931" cy="246221"/>
            <a:chOff x="4454402" y="1816975"/>
            <a:chExt cx="862931" cy="246221"/>
          </a:xfrm>
        </p:grpSpPr>
        <p:cxnSp>
          <p:nvCxnSpPr>
            <p:cNvPr id="69" name="Straight Connector 68">
              <a:extLst>
                <a:ext uri="{FF2B5EF4-FFF2-40B4-BE49-F238E27FC236}">
                  <a16:creationId xmlns:a16="http://schemas.microsoft.com/office/drawing/2014/main" id="{C8378F7C-DD64-4B2F-8129-89047048DB1D}"/>
                </a:ext>
              </a:extLst>
            </p:cNvPr>
            <p:cNvCxnSpPr>
              <a:cxnSpLocks/>
            </p:cNvCxnSpPr>
            <p:nvPr/>
          </p:nvCxnSpPr>
          <p:spPr bwMode="auto">
            <a:xfrm>
              <a:off x="4454402" y="1898093"/>
              <a:ext cx="207891"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70" name="TextBox 69">
              <a:extLst>
                <a:ext uri="{FF2B5EF4-FFF2-40B4-BE49-F238E27FC236}">
                  <a16:creationId xmlns:a16="http://schemas.microsoft.com/office/drawing/2014/main" id="{0F1995F5-5C8E-414F-B55C-6025A2645F61}"/>
                </a:ext>
              </a:extLst>
            </p:cNvPr>
            <p:cNvSpPr txBox="1"/>
            <p:nvPr/>
          </p:nvSpPr>
          <p:spPr>
            <a:xfrm>
              <a:off x="4681200" y="1816975"/>
              <a:ext cx="636133" cy="246221"/>
            </a:xfrm>
            <a:prstGeom prst="rect">
              <a:avLst/>
            </a:prstGeom>
            <a:noFill/>
          </p:spPr>
          <p:txBody>
            <a:bodyPr wrap="square" lIns="0" tIns="0" rIns="0" bIns="0" rtlCol="0">
              <a:spAutoFit/>
            </a:bodyPr>
            <a:lstStyle/>
            <a:p>
              <a:r>
                <a:rPr lang="en-GB" sz="800">
                  <a:latin typeface="+mj-lt"/>
                </a:rPr>
                <a:t>DBAI/Toolkit/GDM</a:t>
              </a:r>
            </a:p>
          </p:txBody>
        </p:sp>
      </p:grpSp>
      <p:grpSp>
        <p:nvGrpSpPr>
          <p:cNvPr id="10" name="Group 9">
            <a:extLst>
              <a:ext uri="{FF2B5EF4-FFF2-40B4-BE49-F238E27FC236}">
                <a16:creationId xmlns:a16="http://schemas.microsoft.com/office/drawing/2014/main" id="{280E1333-83DE-4126-B2CD-FE42EEFB4D89}"/>
              </a:ext>
            </a:extLst>
          </p:cNvPr>
          <p:cNvGrpSpPr/>
          <p:nvPr/>
        </p:nvGrpSpPr>
        <p:grpSpPr>
          <a:xfrm>
            <a:off x="4454402" y="1856587"/>
            <a:ext cx="782419" cy="123111"/>
            <a:chOff x="4457846" y="2241750"/>
            <a:chExt cx="782419" cy="123111"/>
          </a:xfrm>
        </p:grpSpPr>
        <p:sp>
          <p:nvSpPr>
            <p:cNvPr id="68" name="TextBox 67">
              <a:extLst>
                <a:ext uri="{FF2B5EF4-FFF2-40B4-BE49-F238E27FC236}">
                  <a16:creationId xmlns:a16="http://schemas.microsoft.com/office/drawing/2014/main" id="{EEBAE851-4C0C-4B21-AF31-FA78FA108B7B}"/>
                </a:ext>
              </a:extLst>
            </p:cNvPr>
            <p:cNvSpPr txBox="1"/>
            <p:nvPr/>
          </p:nvSpPr>
          <p:spPr>
            <a:xfrm>
              <a:off x="4684645" y="2241750"/>
              <a:ext cx="555620" cy="123111"/>
            </a:xfrm>
            <a:prstGeom prst="rect">
              <a:avLst/>
            </a:prstGeom>
            <a:noFill/>
          </p:spPr>
          <p:txBody>
            <a:bodyPr wrap="square" lIns="0" tIns="0" rIns="0" bIns="0" rtlCol="0">
              <a:spAutoFit/>
            </a:bodyPr>
            <a:lstStyle/>
            <a:p>
              <a:r>
                <a:rPr lang="en-GB" sz="800">
                  <a:latin typeface="+mj-lt"/>
                </a:rPr>
                <a:t>DB Credit</a:t>
              </a:r>
            </a:p>
          </p:txBody>
        </p:sp>
        <p:cxnSp>
          <p:nvCxnSpPr>
            <p:cNvPr id="65" name="Straight Connector 64">
              <a:extLst>
                <a:ext uri="{FF2B5EF4-FFF2-40B4-BE49-F238E27FC236}">
                  <a16:creationId xmlns:a16="http://schemas.microsoft.com/office/drawing/2014/main" id="{DFAD437F-93DD-4271-B142-B1E3B409083E}"/>
                </a:ext>
              </a:extLst>
            </p:cNvPr>
            <p:cNvCxnSpPr>
              <a:cxnSpLocks/>
            </p:cNvCxnSpPr>
            <p:nvPr/>
          </p:nvCxnSpPr>
          <p:spPr bwMode="auto">
            <a:xfrm>
              <a:off x="4457846" y="2303305"/>
              <a:ext cx="207891" cy="0"/>
            </a:xfrm>
            <a:prstGeom prst="line">
              <a:avLst/>
            </a:prstGeom>
            <a:solidFill>
              <a:schemeClr val="bg1"/>
            </a:solidFill>
            <a:ln w="88900" cap="flat" cmpd="sng" algn="ctr">
              <a:solidFill>
                <a:srgbClr val="8FCD9F"/>
              </a:solidFill>
              <a:prstDash val="solid"/>
              <a:round/>
              <a:headEnd type="none" w="med" len="med"/>
              <a:tailEnd type="none" w="med" len="med"/>
            </a:ln>
            <a:effectLst/>
          </p:spPr>
        </p:cxnSp>
      </p:grpSp>
      <p:grpSp>
        <p:nvGrpSpPr>
          <p:cNvPr id="40" name="Group 39">
            <a:extLst>
              <a:ext uri="{FF2B5EF4-FFF2-40B4-BE49-F238E27FC236}">
                <a16:creationId xmlns:a16="http://schemas.microsoft.com/office/drawing/2014/main" id="{C213E59F-6446-41C5-98DD-3E49B58E7389}"/>
              </a:ext>
            </a:extLst>
          </p:cNvPr>
          <p:cNvGrpSpPr/>
          <p:nvPr/>
        </p:nvGrpSpPr>
        <p:grpSpPr>
          <a:xfrm>
            <a:off x="4454402" y="2552677"/>
            <a:ext cx="990311" cy="123111"/>
            <a:chOff x="4457846" y="3018313"/>
            <a:chExt cx="990311" cy="123111"/>
          </a:xfrm>
        </p:grpSpPr>
        <p:cxnSp>
          <p:nvCxnSpPr>
            <p:cNvPr id="74" name="Straight Connector 73">
              <a:extLst>
                <a:ext uri="{FF2B5EF4-FFF2-40B4-BE49-F238E27FC236}">
                  <a16:creationId xmlns:a16="http://schemas.microsoft.com/office/drawing/2014/main" id="{B6DFFB08-059B-439D-86E9-320735E0080F}"/>
                </a:ext>
              </a:extLst>
            </p:cNvPr>
            <p:cNvCxnSpPr>
              <a:cxnSpLocks/>
            </p:cNvCxnSpPr>
            <p:nvPr/>
          </p:nvCxnSpPr>
          <p:spPr bwMode="auto">
            <a:xfrm>
              <a:off x="4457846" y="3079868"/>
              <a:ext cx="207891" cy="0"/>
            </a:xfrm>
            <a:prstGeom prst="line">
              <a:avLst/>
            </a:prstGeom>
            <a:solidFill>
              <a:schemeClr val="bg1"/>
            </a:solidFill>
            <a:ln w="88900" cap="flat" cmpd="sng" algn="ctr">
              <a:solidFill>
                <a:srgbClr val="00A3E2"/>
              </a:solidFill>
              <a:prstDash val="solid"/>
              <a:round/>
              <a:headEnd type="none" w="med" len="med"/>
              <a:tailEnd type="none" w="med" len="med"/>
            </a:ln>
            <a:effectLst/>
          </p:spPr>
        </p:cxnSp>
        <p:sp>
          <p:nvSpPr>
            <p:cNvPr id="75" name="TextBox 74">
              <a:extLst>
                <a:ext uri="{FF2B5EF4-FFF2-40B4-BE49-F238E27FC236}">
                  <a16:creationId xmlns:a16="http://schemas.microsoft.com/office/drawing/2014/main" id="{CE2342FA-B38A-43DF-98EE-FDBD9BF9990B}"/>
                </a:ext>
              </a:extLst>
            </p:cNvPr>
            <p:cNvSpPr txBox="1"/>
            <p:nvPr/>
          </p:nvSpPr>
          <p:spPr>
            <a:xfrm>
              <a:off x="4684645" y="3018313"/>
              <a:ext cx="763512" cy="123111"/>
            </a:xfrm>
            <a:prstGeom prst="rect">
              <a:avLst/>
            </a:prstGeom>
            <a:noFill/>
          </p:spPr>
          <p:txBody>
            <a:bodyPr wrap="square" lIns="0" tIns="0" rIns="0" bIns="0" rtlCol="0">
              <a:spAutoFit/>
            </a:bodyPr>
            <a:lstStyle/>
            <a:p>
              <a:r>
                <a:rPr lang="en-GB" sz="800" err="1">
                  <a:latin typeface="+mj-lt"/>
                </a:rPr>
                <a:t>intuiz</a:t>
              </a:r>
              <a:r>
                <a:rPr lang="en-GB" sz="800">
                  <a:latin typeface="+mj-lt"/>
                </a:rPr>
                <a:t>+</a:t>
              </a:r>
            </a:p>
          </p:txBody>
        </p:sp>
      </p:grpSp>
      <p:grpSp>
        <p:nvGrpSpPr>
          <p:cNvPr id="35" name="Group 34">
            <a:extLst>
              <a:ext uri="{FF2B5EF4-FFF2-40B4-BE49-F238E27FC236}">
                <a16:creationId xmlns:a16="http://schemas.microsoft.com/office/drawing/2014/main" id="{F89E0703-3F40-4F8D-90BC-46880A7421DA}"/>
              </a:ext>
            </a:extLst>
          </p:cNvPr>
          <p:cNvGrpSpPr/>
          <p:nvPr/>
        </p:nvGrpSpPr>
        <p:grpSpPr>
          <a:xfrm>
            <a:off x="4454402" y="2784707"/>
            <a:ext cx="862931" cy="123111"/>
            <a:chOff x="4457846" y="3236372"/>
            <a:chExt cx="862931" cy="123111"/>
          </a:xfrm>
        </p:grpSpPr>
        <p:cxnSp>
          <p:nvCxnSpPr>
            <p:cNvPr id="76" name="Straight Connector 75">
              <a:extLst>
                <a:ext uri="{FF2B5EF4-FFF2-40B4-BE49-F238E27FC236}">
                  <a16:creationId xmlns:a16="http://schemas.microsoft.com/office/drawing/2014/main" id="{C7BBEB5A-156A-4188-9C84-4D60E84B0242}"/>
                </a:ext>
              </a:extLst>
            </p:cNvPr>
            <p:cNvCxnSpPr>
              <a:cxnSpLocks/>
            </p:cNvCxnSpPr>
            <p:nvPr/>
          </p:nvCxnSpPr>
          <p:spPr bwMode="auto">
            <a:xfrm>
              <a:off x="4457846" y="3297927"/>
              <a:ext cx="207891" cy="0"/>
            </a:xfrm>
            <a:prstGeom prst="line">
              <a:avLst/>
            </a:prstGeom>
            <a:solidFill>
              <a:schemeClr val="bg1"/>
            </a:solidFill>
            <a:ln w="88900" cap="flat" cmpd="sng" algn="ctr">
              <a:solidFill>
                <a:srgbClr val="0575D0"/>
              </a:solidFill>
              <a:prstDash val="solid"/>
              <a:round/>
              <a:headEnd type="none" w="med" len="med"/>
              <a:tailEnd type="none" w="med" len="med"/>
            </a:ln>
            <a:effectLst/>
          </p:spPr>
        </p:cxnSp>
        <p:sp>
          <p:nvSpPr>
            <p:cNvPr id="77" name="TextBox 76">
              <a:extLst>
                <a:ext uri="{FF2B5EF4-FFF2-40B4-BE49-F238E27FC236}">
                  <a16:creationId xmlns:a16="http://schemas.microsoft.com/office/drawing/2014/main" id="{A5C5824D-BD72-4964-AA10-3D669932076E}"/>
                </a:ext>
              </a:extLst>
            </p:cNvPr>
            <p:cNvSpPr txBox="1"/>
            <p:nvPr/>
          </p:nvSpPr>
          <p:spPr>
            <a:xfrm>
              <a:off x="4684645" y="3236372"/>
              <a:ext cx="636132" cy="123111"/>
            </a:xfrm>
            <a:prstGeom prst="rect">
              <a:avLst/>
            </a:prstGeom>
            <a:noFill/>
          </p:spPr>
          <p:txBody>
            <a:bodyPr wrap="square" lIns="0" tIns="0" rIns="0" bIns="0" rtlCol="0">
              <a:spAutoFit/>
            </a:bodyPr>
            <a:lstStyle/>
            <a:p>
              <a:r>
                <a:rPr lang="en-GB" sz="800" err="1">
                  <a:latin typeface="+mj-lt"/>
                </a:rPr>
                <a:t>Wynbe</a:t>
              </a:r>
              <a:endParaRPr lang="en-GB" sz="800">
                <a:latin typeface="+mj-lt"/>
              </a:endParaRPr>
            </a:p>
          </p:txBody>
        </p:sp>
      </p:grpSp>
      <p:grpSp>
        <p:nvGrpSpPr>
          <p:cNvPr id="12" name="Group 11">
            <a:extLst>
              <a:ext uri="{FF2B5EF4-FFF2-40B4-BE49-F238E27FC236}">
                <a16:creationId xmlns:a16="http://schemas.microsoft.com/office/drawing/2014/main" id="{26D5D87B-0CCB-4814-BA62-F7EF86D8AB4C}"/>
              </a:ext>
            </a:extLst>
          </p:cNvPr>
          <p:cNvGrpSpPr/>
          <p:nvPr/>
        </p:nvGrpSpPr>
        <p:grpSpPr>
          <a:xfrm>
            <a:off x="4454402" y="3419241"/>
            <a:ext cx="862931" cy="246221"/>
            <a:chOff x="4457846" y="3843688"/>
            <a:chExt cx="862931" cy="246221"/>
          </a:xfrm>
        </p:grpSpPr>
        <p:cxnSp>
          <p:nvCxnSpPr>
            <p:cNvPr id="78" name="Straight Connector 77">
              <a:extLst>
                <a:ext uri="{FF2B5EF4-FFF2-40B4-BE49-F238E27FC236}">
                  <a16:creationId xmlns:a16="http://schemas.microsoft.com/office/drawing/2014/main" id="{8A6AA79F-0670-416F-A19E-33DB01A7F25A}"/>
                </a:ext>
              </a:extLst>
            </p:cNvPr>
            <p:cNvCxnSpPr>
              <a:cxnSpLocks/>
            </p:cNvCxnSpPr>
            <p:nvPr/>
          </p:nvCxnSpPr>
          <p:spPr bwMode="auto">
            <a:xfrm>
              <a:off x="4457846" y="3966799"/>
              <a:ext cx="207891" cy="0"/>
            </a:xfrm>
            <a:prstGeom prst="line">
              <a:avLst/>
            </a:prstGeom>
            <a:solidFill>
              <a:schemeClr val="bg1"/>
            </a:solidFill>
            <a:ln w="88900" cap="flat" cmpd="sng" algn="ctr">
              <a:solidFill>
                <a:schemeClr val="tx1"/>
              </a:solidFill>
              <a:prstDash val="solid"/>
              <a:round/>
              <a:headEnd type="none" w="med" len="med"/>
              <a:tailEnd type="none" w="med" len="med"/>
            </a:ln>
            <a:effectLst/>
          </p:spPr>
        </p:cxnSp>
        <p:sp>
          <p:nvSpPr>
            <p:cNvPr id="79" name="TextBox 78">
              <a:extLst>
                <a:ext uri="{FF2B5EF4-FFF2-40B4-BE49-F238E27FC236}">
                  <a16:creationId xmlns:a16="http://schemas.microsoft.com/office/drawing/2014/main" id="{CB527A27-001E-4869-BAEB-A088928FB751}"/>
                </a:ext>
              </a:extLst>
            </p:cNvPr>
            <p:cNvSpPr txBox="1"/>
            <p:nvPr/>
          </p:nvSpPr>
          <p:spPr>
            <a:xfrm>
              <a:off x="4684645" y="3843688"/>
              <a:ext cx="636132" cy="246221"/>
            </a:xfrm>
            <a:prstGeom prst="rect">
              <a:avLst/>
            </a:prstGeom>
            <a:noFill/>
          </p:spPr>
          <p:txBody>
            <a:bodyPr wrap="square" lIns="0" tIns="0" rIns="0" bIns="0" rtlCol="0">
              <a:spAutoFit/>
            </a:bodyPr>
            <a:lstStyle/>
            <a:p>
              <a:r>
                <a:rPr lang="en-GB" sz="800">
                  <a:latin typeface="+mj-lt"/>
                </a:rPr>
                <a:t>Transversal products</a:t>
              </a:r>
            </a:p>
          </p:txBody>
        </p:sp>
      </p:grpSp>
      <p:grpSp>
        <p:nvGrpSpPr>
          <p:cNvPr id="11" name="Group 10">
            <a:extLst>
              <a:ext uri="{FF2B5EF4-FFF2-40B4-BE49-F238E27FC236}">
                <a16:creationId xmlns:a16="http://schemas.microsoft.com/office/drawing/2014/main" id="{29354F1C-052A-4202-BA76-4D2228FC0118}"/>
              </a:ext>
            </a:extLst>
          </p:cNvPr>
          <p:cNvGrpSpPr/>
          <p:nvPr/>
        </p:nvGrpSpPr>
        <p:grpSpPr>
          <a:xfrm>
            <a:off x="4454402" y="2088617"/>
            <a:ext cx="1042540" cy="123111"/>
            <a:chOff x="4457846" y="2454138"/>
            <a:chExt cx="1042540" cy="123111"/>
          </a:xfrm>
        </p:grpSpPr>
        <p:sp>
          <p:nvSpPr>
            <p:cNvPr id="66" name="TextBox 65">
              <a:extLst>
                <a:ext uri="{FF2B5EF4-FFF2-40B4-BE49-F238E27FC236}">
                  <a16:creationId xmlns:a16="http://schemas.microsoft.com/office/drawing/2014/main" id="{8BBFD341-BA2D-4BA0-B764-CC42F998C7B6}"/>
                </a:ext>
              </a:extLst>
            </p:cNvPr>
            <p:cNvSpPr txBox="1"/>
            <p:nvPr/>
          </p:nvSpPr>
          <p:spPr>
            <a:xfrm>
              <a:off x="4684645" y="2454138"/>
              <a:ext cx="815741" cy="123111"/>
            </a:xfrm>
            <a:prstGeom prst="rect">
              <a:avLst/>
            </a:prstGeom>
            <a:noFill/>
          </p:spPr>
          <p:txBody>
            <a:bodyPr wrap="square" lIns="0" tIns="0" rIns="0" bIns="0" rtlCol="0">
              <a:spAutoFit/>
            </a:bodyPr>
            <a:lstStyle/>
            <a:p>
              <a:r>
                <a:rPr lang="en-GB" sz="800">
                  <a:latin typeface="+mj-lt"/>
                </a:rPr>
                <a:t>Global Financials</a:t>
              </a:r>
            </a:p>
          </p:txBody>
        </p:sp>
        <p:cxnSp>
          <p:nvCxnSpPr>
            <p:cNvPr id="90" name="Straight Connector 89">
              <a:extLst>
                <a:ext uri="{FF2B5EF4-FFF2-40B4-BE49-F238E27FC236}">
                  <a16:creationId xmlns:a16="http://schemas.microsoft.com/office/drawing/2014/main" id="{3699FB65-965D-40D0-BFFF-2A15B14930C0}"/>
                </a:ext>
              </a:extLst>
            </p:cNvPr>
            <p:cNvCxnSpPr>
              <a:cxnSpLocks/>
            </p:cNvCxnSpPr>
            <p:nvPr/>
          </p:nvCxnSpPr>
          <p:spPr bwMode="auto">
            <a:xfrm>
              <a:off x="4457846" y="2515693"/>
              <a:ext cx="207891" cy="0"/>
            </a:xfrm>
            <a:prstGeom prst="line">
              <a:avLst/>
            </a:prstGeom>
            <a:solidFill>
              <a:schemeClr val="bg1"/>
            </a:solidFill>
            <a:ln w="88900" cap="flat" cmpd="sng" algn="ctr">
              <a:solidFill>
                <a:srgbClr val="E9F5EC"/>
              </a:solidFill>
              <a:prstDash val="solid"/>
              <a:round/>
              <a:headEnd type="none" w="med" len="med"/>
              <a:tailEnd type="none" w="med" len="med"/>
            </a:ln>
            <a:effectLst/>
          </p:spPr>
        </p:cxnSp>
      </p:grpSp>
      <p:grpSp>
        <p:nvGrpSpPr>
          <p:cNvPr id="6" name="Group 5">
            <a:extLst>
              <a:ext uri="{FF2B5EF4-FFF2-40B4-BE49-F238E27FC236}">
                <a16:creationId xmlns:a16="http://schemas.microsoft.com/office/drawing/2014/main" id="{5A21057D-BE0E-4F6F-8F57-6151D5E72198}"/>
              </a:ext>
            </a:extLst>
          </p:cNvPr>
          <p:cNvGrpSpPr/>
          <p:nvPr/>
        </p:nvGrpSpPr>
        <p:grpSpPr>
          <a:xfrm>
            <a:off x="4454402" y="1624557"/>
            <a:ext cx="1042540" cy="123111"/>
            <a:chOff x="4454402" y="2049004"/>
            <a:chExt cx="1042540" cy="123111"/>
          </a:xfrm>
        </p:grpSpPr>
        <p:cxnSp>
          <p:nvCxnSpPr>
            <p:cNvPr id="67" name="Straight Connector 66">
              <a:extLst>
                <a:ext uri="{FF2B5EF4-FFF2-40B4-BE49-F238E27FC236}">
                  <a16:creationId xmlns:a16="http://schemas.microsoft.com/office/drawing/2014/main" id="{6BF9203B-EF5D-421B-9376-E641036F773A}"/>
                </a:ext>
              </a:extLst>
            </p:cNvPr>
            <p:cNvCxnSpPr>
              <a:cxnSpLocks/>
            </p:cNvCxnSpPr>
            <p:nvPr/>
          </p:nvCxnSpPr>
          <p:spPr bwMode="auto">
            <a:xfrm>
              <a:off x="4454402" y="2110559"/>
              <a:ext cx="207891"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91" name="TextBox 90">
              <a:extLst>
                <a:ext uri="{FF2B5EF4-FFF2-40B4-BE49-F238E27FC236}">
                  <a16:creationId xmlns:a16="http://schemas.microsoft.com/office/drawing/2014/main" id="{577BE9AF-9AE9-46E4-8453-D0770B696043}"/>
                </a:ext>
              </a:extLst>
            </p:cNvPr>
            <p:cNvSpPr txBox="1"/>
            <p:nvPr/>
          </p:nvSpPr>
          <p:spPr>
            <a:xfrm>
              <a:off x="4681201" y="2049004"/>
              <a:ext cx="815741" cy="123111"/>
            </a:xfrm>
            <a:prstGeom prst="rect">
              <a:avLst/>
            </a:prstGeom>
            <a:noFill/>
          </p:spPr>
          <p:txBody>
            <a:bodyPr wrap="square" lIns="0" tIns="0" rIns="0" bIns="0" rtlCol="0">
              <a:spAutoFit/>
            </a:bodyPr>
            <a:lstStyle/>
            <a:p>
              <a:r>
                <a:rPr lang="en-GB" sz="800" err="1">
                  <a:latin typeface="+mj-lt"/>
                </a:rPr>
                <a:t>DNBi</a:t>
              </a:r>
              <a:endParaRPr lang="en-GB" sz="800">
                <a:latin typeface="+mj-lt"/>
              </a:endParaRPr>
            </a:p>
          </p:txBody>
        </p:sp>
      </p:grpSp>
      <p:grpSp>
        <p:nvGrpSpPr>
          <p:cNvPr id="31" name="Group 30">
            <a:extLst>
              <a:ext uri="{FF2B5EF4-FFF2-40B4-BE49-F238E27FC236}">
                <a16:creationId xmlns:a16="http://schemas.microsoft.com/office/drawing/2014/main" id="{6F9CF154-6D51-4BDA-9381-661B410E1FCC}"/>
              </a:ext>
            </a:extLst>
          </p:cNvPr>
          <p:cNvGrpSpPr/>
          <p:nvPr/>
        </p:nvGrpSpPr>
        <p:grpSpPr>
          <a:xfrm>
            <a:off x="4454402" y="3016737"/>
            <a:ext cx="862931" cy="123111"/>
            <a:chOff x="4457846" y="3493584"/>
            <a:chExt cx="862931" cy="123111"/>
          </a:xfrm>
        </p:grpSpPr>
        <p:cxnSp>
          <p:nvCxnSpPr>
            <p:cNvPr id="92" name="Straight Connector 91">
              <a:extLst>
                <a:ext uri="{FF2B5EF4-FFF2-40B4-BE49-F238E27FC236}">
                  <a16:creationId xmlns:a16="http://schemas.microsoft.com/office/drawing/2014/main" id="{4F9DE8BA-2EDA-4A3F-8444-81ACBB8301DA}"/>
                </a:ext>
              </a:extLst>
            </p:cNvPr>
            <p:cNvCxnSpPr>
              <a:cxnSpLocks/>
            </p:cNvCxnSpPr>
            <p:nvPr/>
          </p:nvCxnSpPr>
          <p:spPr bwMode="auto">
            <a:xfrm>
              <a:off x="4457846" y="3555139"/>
              <a:ext cx="207891" cy="0"/>
            </a:xfrm>
            <a:prstGeom prst="line">
              <a:avLst/>
            </a:prstGeom>
            <a:solidFill>
              <a:schemeClr val="bg1"/>
            </a:solidFill>
            <a:ln w="88900" cap="flat" cmpd="sng" algn="ctr">
              <a:solidFill>
                <a:srgbClr val="005271"/>
              </a:solidFill>
              <a:prstDash val="solid"/>
              <a:round/>
              <a:headEnd type="none" w="med" len="med"/>
              <a:tailEnd type="none" w="med" len="med"/>
            </a:ln>
            <a:effectLst/>
          </p:spPr>
        </p:cxnSp>
        <p:sp>
          <p:nvSpPr>
            <p:cNvPr id="93" name="TextBox 92">
              <a:extLst>
                <a:ext uri="{FF2B5EF4-FFF2-40B4-BE49-F238E27FC236}">
                  <a16:creationId xmlns:a16="http://schemas.microsoft.com/office/drawing/2014/main" id="{D340A8FA-D825-4F99-83F6-78AF581933BE}"/>
                </a:ext>
              </a:extLst>
            </p:cNvPr>
            <p:cNvSpPr txBox="1"/>
            <p:nvPr/>
          </p:nvSpPr>
          <p:spPr>
            <a:xfrm>
              <a:off x="4684645" y="3493584"/>
              <a:ext cx="636132" cy="123111"/>
            </a:xfrm>
            <a:prstGeom prst="rect">
              <a:avLst/>
            </a:prstGeom>
            <a:noFill/>
          </p:spPr>
          <p:txBody>
            <a:bodyPr wrap="square" lIns="0" tIns="0" rIns="0" bIns="0" rtlCol="0">
              <a:spAutoFit/>
            </a:bodyPr>
            <a:lstStyle/>
            <a:p>
              <a:r>
                <a:rPr lang="en-GB" sz="800">
                  <a:latin typeface="+mj-lt"/>
                </a:rPr>
                <a:t>County Risk</a:t>
              </a:r>
            </a:p>
          </p:txBody>
        </p:sp>
      </p:grpSp>
      <p:grpSp>
        <p:nvGrpSpPr>
          <p:cNvPr id="30" name="Group 29">
            <a:extLst>
              <a:ext uri="{FF2B5EF4-FFF2-40B4-BE49-F238E27FC236}">
                <a16:creationId xmlns:a16="http://schemas.microsoft.com/office/drawing/2014/main" id="{B16EF68E-E17B-4389-945C-B38BBCA493D9}"/>
              </a:ext>
            </a:extLst>
          </p:cNvPr>
          <p:cNvGrpSpPr/>
          <p:nvPr/>
        </p:nvGrpSpPr>
        <p:grpSpPr>
          <a:xfrm>
            <a:off x="4454402" y="3248767"/>
            <a:ext cx="862931" cy="123111"/>
            <a:chOff x="4457846" y="3668838"/>
            <a:chExt cx="862931" cy="123111"/>
          </a:xfrm>
        </p:grpSpPr>
        <p:cxnSp>
          <p:nvCxnSpPr>
            <p:cNvPr id="94" name="Straight Connector 93">
              <a:extLst>
                <a:ext uri="{FF2B5EF4-FFF2-40B4-BE49-F238E27FC236}">
                  <a16:creationId xmlns:a16="http://schemas.microsoft.com/office/drawing/2014/main" id="{8A113B7B-BE17-4138-A4CD-65462B71561E}"/>
                </a:ext>
              </a:extLst>
            </p:cNvPr>
            <p:cNvCxnSpPr>
              <a:cxnSpLocks/>
            </p:cNvCxnSpPr>
            <p:nvPr/>
          </p:nvCxnSpPr>
          <p:spPr bwMode="auto">
            <a:xfrm>
              <a:off x="4457846" y="3730393"/>
              <a:ext cx="207891" cy="0"/>
            </a:xfrm>
            <a:prstGeom prst="line">
              <a:avLst/>
            </a:prstGeom>
            <a:solidFill>
              <a:schemeClr val="bg1"/>
            </a:solidFill>
            <a:ln w="88900" cap="flat" cmpd="sng" algn="ctr">
              <a:solidFill>
                <a:srgbClr val="D9D9D9"/>
              </a:solidFill>
              <a:prstDash val="solid"/>
              <a:round/>
              <a:headEnd type="none" w="med" len="med"/>
              <a:tailEnd type="none" w="med" len="med"/>
            </a:ln>
            <a:effectLst/>
          </p:spPr>
        </p:cxnSp>
        <p:sp>
          <p:nvSpPr>
            <p:cNvPr id="95" name="TextBox 94">
              <a:extLst>
                <a:ext uri="{FF2B5EF4-FFF2-40B4-BE49-F238E27FC236}">
                  <a16:creationId xmlns:a16="http://schemas.microsoft.com/office/drawing/2014/main" id="{624B5D0A-8B13-4DB6-A8C3-24A5D4BA9BF4}"/>
                </a:ext>
              </a:extLst>
            </p:cNvPr>
            <p:cNvSpPr txBox="1"/>
            <p:nvPr/>
          </p:nvSpPr>
          <p:spPr>
            <a:xfrm>
              <a:off x="4684645" y="3668838"/>
              <a:ext cx="636132" cy="123111"/>
            </a:xfrm>
            <a:prstGeom prst="rect">
              <a:avLst/>
            </a:prstGeom>
            <a:noFill/>
          </p:spPr>
          <p:txBody>
            <a:bodyPr wrap="square" lIns="0" tIns="0" rIns="0" bIns="0" rtlCol="0">
              <a:spAutoFit/>
            </a:bodyPr>
            <a:lstStyle/>
            <a:p>
              <a:r>
                <a:rPr lang="en-GB" sz="800" err="1">
                  <a:latin typeface="+mj-lt"/>
                </a:rPr>
                <a:t>Inforisk</a:t>
              </a:r>
              <a:endParaRPr lang="en-GB" sz="800">
                <a:latin typeface="+mj-lt"/>
              </a:endParaRPr>
            </a:p>
          </p:txBody>
        </p:sp>
      </p:grpSp>
      <p:grpSp>
        <p:nvGrpSpPr>
          <p:cNvPr id="8" name="Group 7">
            <a:extLst>
              <a:ext uri="{FF2B5EF4-FFF2-40B4-BE49-F238E27FC236}">
                <a16:creationId xmlns:a16="http://schemas.microsoft.com/office/drawing/2014/main" id="{DCC6C2AD-F2D1-4FA4-86D7-65BED4F72619}"/>
              </a:ext>
            </a:extLst>
          </p:cNvPr>
          <p:cNvGrpSpPr/>
          <p:nvPr/>
        </p:nvGrpSpPr>
        <p:grpSpPr>
          <a:xfrm>
            <a:off x="4454402" y="3712827"/>
            <a:ext cx="734003" cy="123111"/>
            <a:chOff x="4457846" y="4128144"/>
            <a:chExt cx="734003" cy="123111"/>
          </a:xfrm>
        </p:grpSpPr>
        <p:cxnSp>
          <p:nvCxnSpPr>
            <p:cNvPr id="84" name="Straight Connector 83">
              <a:extLst>
                <a:ext uri="{FF2B5EF4-FFF2-40B4-BE49-F238E27FC236}">
                  <a16:creationId xmlns:a16="http://schemas.microsoft.com/office/drawing/2014/main" id="{844AB27F-A8F8-4963-89F1-5545E9A02783}"/>
                </a:ext>
              </a:extLst>
            </p:cNvPr>
            <p:cNvCxnSpPr>
              <a:cxnSpLocks/>
            </p:cNvCxnSpPr>
            <p:nvPr/>
          </p:nvCxnSpPr>
          <p:spPr bwMode="auto">
            <a:xfrm>
              <a:off x="4457846" y="4189699"/>
              <a:ext cx="207891" cy="0"/>
            </a:xfrm>
            <a:prstGeom prst="line">
              <a:avLst/>
            </a:prstGeom>
            <a:solidFill>
              <a:schemeClr val="bg1"/>
            </a:solidFill>
            <a:ln w="88900" cap="flat" cmpd="sng" algn="ctr">
              <a:solidFill>
                <a:srgbClr val="A6A6A6"/>
              </a:solidFill>
              <a:prstDash val="solid"/>
              <a:round/>
              <a:headEnd type="none" w="med" len="med"/>
              <a:tailEnd type="none" w="med" len="med"/>
            </a:ln>
            <a:effectLst/>
          </p:spPr>
        </p:cxnSp>
        <p:sp>
          <p:nvSpPr>
            <p:cNvPr id="85" name="TextBox 84">
              <a:extLst>
                <a:ext uri="{FF2B5EF4-FFF2-40B4-BE49-F238E27FC236}">
                  <a16:creationId xmlns:a16="http://schemas.microsoft.com/office/drawing/2014/main" id="{A8F01BA5-C6E3-4352-A2E1-ED4CA8CD7B85}"/>
                </a:ext>
              </a:extLst>
            </p:cNvPr>
            <p:cNvSpPr txBox="1"/>
            <p:nvPr/>
          </p:nvSpPr>
          <p:spPr>
            <a:xfrm>
              <a:off x="4684644" y="4128144"/>
              <a:ext cx="507205" cy="123111"/>
            </a:xfrm>
            <a:prstGeom prst="rect">
              <a:avLst/>
            </a:prstGeom>
            <a:noFill/>
          </p:spPr>
          <p:txBody>
            <a:bodyPr wrap="square" lIns="0" tIns="0" rIns="0" bIns="0" rtlCol="0">
              <a:spAutoFit/>
            </a:bodyPr>
            <a:lstStyle/>
            <a:p>
              <a:r>
                <a:rPr lang="en-GB" sz="800">
                  <a:latin typeface="+mj-lt"/>
                </a:rPr>
                <a:t>Risk Files</a:t>
              </a:r>
            </a:p>
          </p:txBody>
        </p:sp>
      </p:grpSp>
      <p:grpSp>
        <p:nvGrpSpPr>
          <p:cNvPr id="86" name="Group 85">
            <a:extLst>
              <a:ext uri="{FF2B5EF4-FFF2-40B4-BE49-F238E27FC236}">
                <a16:creationId xmlns:a16="http://schemas.microsoft.com/office/drawing/2014/main" id="{78E286ED-F360-4197-A579-939D6A297C55}"/>
              </a:ext>
            </a:extLst>
          </p:cNvPr>
          <p:cNvGrpSpPr/>
          <p:nvPr/>
        </p:nvGrpSpPr>
        <p:grpSpPr>
          <a:xfrm>
            <a:off x="4454402" y="3944853"/>
            <a:ext cx="510732" cy="123111"/>
            <a:chOff x="4457846" y="4413688"/>
            <a:chExt cx="510732" cy="123111"/>
          </a:xfrm>
        </p:grpSpPr>
        <p:cxnSp>
          <p:nvCxnSpPr>
            <p:cNvPr id="88" name="Straight Connector 87">
              <a:extLst>
                <a:ext uri="{FF2B5EF4-FFF2-40B4-BE49-F238E27FC236}">
                  <a16:creationId xmlns:a16="http://schemas.microsoft.com/office/drawing/2014/main" id="{A6380AD5-8129-49F7-81E7-8BE9415F6526}"/>
                </a:ext>
              </a:extLst>
            </p:cNvPr>
            <p:cNvCxnSpPr>
              <a:cxnSpLocks/>
            </p:cNvCxnSpPr>
            <p:nvPr/>
          </p:nvCxnSpPr>
          <p:spPr bwMode="auto">
            <a:xfrm>
              <a:off x="4457846" y="4475243"/>
              <a:ext cx="207891" cy="0"/>
            </a:xfrm>
            <a:prstGeom prst="line">
              <a:avLst/>
            </a:prstGeom>
            <a:solidFill>
              <a:schemeClr val="bg1"/>
            </a:solidFill>
            <a:ln w="88900" cap="flat" cmpd="sng" algn="ctr">
              <a:solidFill>
                <a:schemeClr val="bg1">
                  <a:lumMod val="95000"/>
                </a:schemeClr>
              </a:solidFill>
              <a:prstDash val="solid"/>
              <a:round/>
              <a:headEnd type="none" w="med" len="med"/>
              <a:tailEnd type="none" w="med" len="med"/>
            </a:ln>
            <a:effectLst/>
          </p:spPr>
        </p:cxnSp>
        <p:sp>
          <p:nvSpPr>
            <p:cNvPr id="89" name="TextBox 88">
              <a:extLst>
                <a:ext uri="{FF2B5EF4-FFF2-40B4-BE49-F238E27FC236}">
                  <a16:creationId xmlns:a16="http://schemas.microsoft.com/office/drawing/2014/main" id="{4D648B5A-B248-4C39-AA7A-466658D7877F}"/>
                </a:ext>
              </a:extLst>
            </p:cNvPr>
            <p:cNvSpPr txBox="1"/>
            <p:nvPr/>
          </p:nvSpPr>
          <p:spPr>
            <a:xfrm>
              <a:off x="4684645" y="4413688"/>
              <a:ext cx="283933" cy="123111"/>
            </a:xfrm>
            <a:prstGeom prst="rect">
              <a:avLst/>
            </a:prstGeom>
            <a:noFill/>
          </p:spPr>
          <p:txBody>
            <a:bodyPr wrap="square" lIns="0" tIns="0" rIns="0" bIns="0" rtlCol="0">
              <a:spAutoFit/>
            </a:bodyPr>
            <a:lstStyle/>
            <a:p>
              <a:r>
                <a:rPr lang="en-GB" sz="800">
                  <a:latin typeface="+mj-lt"/>
                </a:rPr>
                <a:t>Other</a:t>
              </a:r>
            </a:p>
          </p:txBody>
        </p:sp>
      </p:grpSp>
      <p:grpSp>
        <p:nvGrpSpPr>
          <p:cNvPr id="116" name="Groupe 115">
            <a:extLst>
              <a:ext uri="{FF2B5EF4-FFF2-40B4-BE49-F238E27FC236}">
                <a16:creationId xmlns:a16="http://schemas.microsoft.com/office/drawing/2014/main" id="{723CAF34-41C6-4C6B-8896-27FF6F9A3304}"/>
              </a:ext>
            </a:extLst>
          </p:cNvPr>
          <p:cNvGrpSpPr/>
          <p:nvPr/>
        </p:nvGrpSpPr>
        <p:grpSpPr>
          <a:xfrm>
            <a:off x="8448150" y="-11528"/>
            <a:ext cx="1435548" cy="588143"/>
            <a:chOff x="8448150" y="-11528"/>
            <a:chExt cx="1435548" cy="588143"/>
          </a:xfrm>
        </p:grpSpPr>
        <p:sp>
          <p:nvSpPr>
            <p:cNvPr id="117" name="Rectangle : coins arrondis 199">
              <a:extLst>
                <a:ext uri="{FF2B5EF4-FFF2-40B4-BE49-F238E27FC236}">
                  <a16:creationId xmlns:a16="http://schemas.microsoft.com/office/drawing/2014/main" id="{9BC0B343-DC1A-496C-A41B-EDEF84CFACED}"/>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8" name="Rectangle : coins arrondis 200">
              <a:extLst>
                <a:ext uri="{FF2B5EF4-FFF2-40B4-BE49-F238E27FC236}">
                  <a16:creationId xmlns:a16="http://schemas.microsoft.com/office/drawing/2014/main" id="{7AC68D76-10A7-4544-A8E9-5C8DAF647A27}"/>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9" name="Rectangle : coins arrondis 201">
              <a:extLst>
                <a:ext uri="{FF2B5EF4-FFF2-40B4-BE49-F238E27FC236}">
                  <a16:creationId xmlns:a16="http://schemas.microsoft.com/office/drawing/2014/main" id="{26886C10-A68C-418D-9588-30FDBBCEA9D5}"/>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0" name="ZoneTexte 18">
              <a:extLst>
                <a:ext uri="{FF2B5EF4-FFF2-40B4-BE49-F238E27FC236}">
                  <a16:creationId xmlns:a16="http://schemas.microsoft.com/office/drawing/2014/main" id="{CCB67412-0A92-4AE4-9E48-9F7AB70B610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offer</a:t>
              </a:r>
            </a:p>
          </p:txBody>
        </p:sp>
        <p:pic>
          <p:nvPicPr>
            <p:cNvPr id="121" name="Graphique 128" descr="Jauge">
              <a:extLst>
                <a:ext uri="{FF2B5EF4-FFF2-40B4-BE49-F238E27FC236}">
                  <a16:creationId xmlns:a16="http://schemas.microsoft.com/office/drawing/2014/main" id="{8655F89D-9AD6-4297-90D8-3D40E265A29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53764" y="187516"/>
              <a:ext cx="234953" cy="218224"/>
            </a:xfrm>
            <a:prstGeom prst="rect">
              <a:avLst/>
            </a:prstGeom>
            <a:effectLst/>
          </p:spPr>
        </p:pic>
        <p:pic>
          <p:nvPicPr>
            <p:cNvPr id="122" name="Graphique 90" descr="Poignée de main">
              <a:extLst>
                <a:ext uri="{FF2B5EF4-FFF2-40B4-BE49-F238E27FC236}">
                  <a16:creationId xmlns:a16="http://schemas.microsoft.com/office/drawing/2014/main" id="{DF384A9F-8332-4772-9053-E851542BFCF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960868" y="152880"/>
              <a:ext cx="256313" cy="287496"/>
            </a:xfrm>
            <a:prstGeom prst="rect">
              <a:avLst/>
            </a:prstGeom>
            <a:effectLst/>
          </p:spPr>
        </p:pic>
        <p:pic>
          <p:nvPicPr>
            <p:cNvPr id="123" name="Graphique 74" descr="Mégaphone">
              <a:extLst>
                <a:ext uri="{FF2B5EF4-FFF2-40B4-BE49-F238E27FC236}">
                  <a16:creationId xmlns:a16="http://schemas.microsoft.com/office/drawing/2014/main" id="{320A9A77-CE65-438F-A7F0-059E046A29E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389331" y="181519"/>
              <a:ext cx="233011" cy="216420"/>
            </a:xfrm>
            <a:prstGeom prst="rect">
              <a:avLst/>
            </a:prstGeom>
            <a:effectLst/>
          </p:spPr>
        </p:pic>
        <p:pic>
          <p:nvPicPr>
            <p:cNvPr id="124" name="Picture 2" descr="Drapeau France">
              <a:extLst>
                <a:ext uri="{FF2B5EF4-FFF2-40B4-BE49-F238E27FC236}">
                  <a16:creationId xmlns:a16="http://schemas.microsoft.com/office/drawing/2014/main" id="{5511732F-91F4-46A5-B93F-04DBF86AD8B1}"/>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25" name="Picture 2" descr="5 ft x 3 ft 150 x 90 cm-DRAPEAU BELGE Belgique 100% Polyester ...">
              <a:extLst>
                <a:ext uri="{FF2B5EF4-FFF2-40B4-BE49-F238E27FC236}">
                  <a16:creationId xmlns:a16="http://schemas.microsoft.com/office/drawing/2014/main" id="{14FD1DCE-B0B7-45E1-95FC-14D25038F028}"/>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26" name="Picture 2 - 1" descr="Drapeau des Pays-Bas — Wikipédia">
              <a:extLst>
                <a:ext uri="{FF2B5EF4-FFF2-40B4-BE49-F238E27FC236}">
                  <a16:creationId xmlns:a16="http://schemas.microsoft.com/office/drawing/2014/main" id="{5D817D25-AF54-4FAE-BCFB-7E643A28102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27" name="Picture 2 - 2" descr="Drapeau du Luxembourg">
              <a:extLst>
                <a:ext uri="{FF2B5EF4-FFF2-40B4-BE49-F238E27FC236}">
                  <a16:creationId xmlns:a16="http://schemas.microsoft.com/office/drawing/2014/main" id="{297FBE2B-0E9F-4E8C-B3C6-5C1B509820B8}"/>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28" name="ZoneTexte 18">
              <a:extLst>
                <a:ext uri="{FF2B5EF4-FFF2-40B4-BE49-F238E27FC236}">
                  <a16:creationId xmlns:a16="http://schemas.microsoft.com/office/drawing/2014/main" id="{9DBE7F3F-C910-41F1-BBED-7E0860D6AA4D}"/>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Product dynamics</a:t>
              </a:r>
            </a:p>
          </p:txBody>
        </p:sp>
      </p:grpSp>
      <p:pic>
        <p:nvPicPr>
          <p:cNvPr id="129" name="Picture 2" descr="Drapeau France">
            <a:extLst>
              <a:ext uri="{FF2B5EF4-FFF2-40B4-BE49-F238E27FC236}">
                <a16:creationId xmlns:a16="http://schemas.microsoft.com/office/drawing/2014/main" id="{A0E38489-B25D-4AB9-9E87-157618A1E299}"/>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17006" b="16757"/>
          <a:stretch/>
        </p:blipFill>
        <p:spPr bwMode="auto">
          <a:xfrm>
            <a:off x="336461" y="1006117"/>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31" name="Picture 2" descr="5 ft x 3 ft 150 x 90 cm-DRAPEAU BELGE Belgique 100% Polyester ...">
            <a:extLst>
              <a:ext uri="{FF2B5EF4-FFF2-40B4-BE49-F238E27FC236}">
                <a16:creationId xmlns:a16="http://schemas.microsoft.com/office/drawing/2014/main" id="{E47A65BE-B699-447E-86E1-A8C0B2333FD9}"/>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3973"/>
          <a:stretch/>
        </p:blipFill>
        <p:spPr bwMode="auto">
          <a:xfrm>
            <a:off x="5808970" y="1006117"/>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33" name="Picture 2 - 1" descr="Drapeau des Pays-Bas — Wikipédia">
            <a:extLst>
              <a:ext uri="{FF2B5EF4-FFF2-40B4-BE49-F238E27FC236}">
                <a16:creationId xmlns:a16="http://schemas.microsoft.com/office/drawing/2014/main" id="{D1C5418C-C454-49FE-A058-EF10BC967C0C}"/>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602647" y="1006117"/>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34" name="Picture 2 - 2" descr="Drapeau du Luxembourg">
            <a:extLst>
              <a:ext uri="{FF2B5EF4-FFF2-40B4-BE49-F238E27FC236}">
                <a16:creationId xmlns:a16="http://schemas.microsoft.com/office/drawing/2014/main" id="{8F398D53-A41E-42E8-9188-978F307208F3}"/>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015293" y="1006117"/>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82" name="TextBox 81">
            <a:extLst>
              <a:ext uri="{FF2B5EF4-FFF2-40B4-BE49-F238E27FC236}">
                <a16:creationId xmlns:a16="http://schemas.microsoft.com/office/drawing/2014/main" id="{853C9803-0051-4AC3-96FD-D3DB89940DB3}"/>
              </a:ext>
            </a:extLst>
          </p:cNvPr>
          <p:cNvSpPr txBox="1"/>
          <p:nvPr/>
        </p:nvSpPr>
        <p:spPr>
          <a:xfrm>
            <a:off x="4793379" y="4178234"/>
            <a:ext cx="742239" cy="369332"/>
          </a:xfrm>
          <a:prstGeom prst="rect">
            <a:avLst/>
          </a:prstGeom>
          <a:noFill/>
        </p:spPr>
        <p:txBody>
          <a:bodyPr wrap="square" rtlCol="0">
            <a:spAutoFit/>
          </a:bodyPr>
          <a:lstStyle/>
          <a:p>
            <a:r>
              <a:rPr lang="en-GB" sz="900" i="1">
                <a:latin typeface="Trebuchet MS" panose="020B0603020202020204" pitchFamily="34" charset="0"/>
              </a:rPr>
              <a:t>Products merging </a:t>
            </a:r>
          </a:p>
        </p:txBody>
      </p:sp>
      <p:sp>
        <p:nvSpPr>
          <p:cNvPr id="83" name="Rectangle 82">
            <a:extLst>
              <a:ext uri="{FF2B5EF4-FFF2-40B4-BE49-F238E27FC236}">
                <a16:creationId xmlns:a16="http://schemas.microsoft.com/office/drawing/2014/main" id="{84743DD9-366B-4B62-B75D-78AD12F309D6}"/>
              </a:ext>
            </a:extLst>
          </p:cNvPr>
          <p:cNvSpPr/>
          <p:nvPr/>
        </p:nvSpPr>
        <p:spPr bwMode="auto">
          <a:xfrm>
            <a:off x="4425340" y="4274156"/>
            <a:ext cx="329894" cy="195876"/>
          </a:xfrm>
          <a:prstGeom prst="rect">
            <a:avLst/>
          </a:prstGeom>
          <a:solidFill>
            <a:schemeClr val="bg1">
              <a:lumMod val="95000"/>
            </a:schemeClr>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Tree>
    <p:extLst>
      <p:ext uri="{BB962C8B-B14F-4D97-AF65-F5344CB8AC3E}">
        <p14:creationId xmlns:p14="http://schemas.microsoft.com/office/powerpoint/2010/main" val="1376864738"/>
      </p:ext>
    </p:extLst>
  </p:cSld>
  <p:clrMapOvr>
    <a:masterClrMapping/>
  </p:clrMapOv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AAA3A35-C6B3-4EE6-9406-A3DBC2CB72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Objet 4" hidden="1">
                        <a:extLst>
                          <a:ext uri="{FF2B5EF4-FFF2-40B4-BE49-F238E27FC236}">
                            <a16:creationId xmlns:a16="http://schemas.microsoft.com/office/drawing/2014/main" id="{EAAA3A35-C6B3-4EE6-9406-A3DBC2CB72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DA14E9-D9F6-4D44-A466-BF298653DD7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4" name="Rectangle 13">
            <a:extLst>
              <a:ext uri="{FF2B5EF4-FFF2-40B4-BE49-F238E27FC236}">
                <a16:creationId xmlns:a16="http://schemas.microsoft.com/office/drawing/2014/main" id="{92FC6C6C-155F-4C1A-890E-114863D14568}"/>
              </a:ext>
            </a:extLst>
          </p:cNvPr>
          <p:cNvSpPr/>
          <p:nvPr/>
        </p:nvSpPr>
        <p:spPr bwMode="auto">
          <a:xfrm>
            <a:off x="227901" y="914401"/>
            <a:ext cx="9450199" cy="551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 name="Espace réservé du texte 2">
            <a:extLst>
              <a:ext uri="{FF2B5EF4-FFF2-40B4-BE49-F238E27FC236}">
                <a16:creationId xmlns:a16="http://schemas.microsoft.com/office/drawing/2014/main" id="{30953E26-7813-417B-AC0B-7AC74C77D79F}"/>
              </a:ext>
            </a:extLst>
          </p:cNvPr>
          <p:cNvSpPr>
            <a:spLocks noGrp="1"/>
          </p:cNvSpPr>
          <p:nvPr>
            <p:ph type="body" sz="quarter" idx="10"/>
          </p:nvPr>
        </p:nvSpPr>
        <p:spPr>
          <a:xfrm>
            <a:off x="1315274" y="6580025"/>
            <a:ext cx="4005503" cy="244800"/>
          </a:xfrm>
        </p:spPr>
        <p:txBody>
          <a:bodyPr/>
          <a:lstStyle/>
          <a:p>
            <a:r>
              <a:rPr lang="en-GB"/>
              <a:t>Sources: eleven research &amp; analysis, company data, interviews with management</a:t>
            </a:r>
          </a:p>
          <a:p>
            <a:endParaRPr lang="en-GB"/>
          </a:p>
        </p:txBody>
      </p:sp>
      <p:sp>
        <p:nvSpPr>
          <p:cNvPr id="16" name="Rectangle 15">
            <a:extLst>
              <a:ext uri="{FF2B5EF4-FFF2-40B4-BE49-F238E27FC236}">
                <a16:creationId xmlns:a16="http://schemas.microsoft.com/office/drawing/2014/main" id="{EACE795C-C806-425F-8AA4-8EFA6F2CB1B5}"/>
              </a:ext>
            </a:extLst>
          </p:cNvPr>
          <p:cNvSpPr/>
          <p:nvPr/>
        </p:nvSpPr>
        <p:spPr bwMode="auto">
          <a:xfrm>
            <a:off x="3394685" y="4717986"/>
            <a:ext cx="6174854" cy="1601775"/>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a:latin typeface="Trebuchet MS" pitchFamily="34" charset="0"/>
              </a:rPr>
              <a:t>Comments</a:t>
            </a:r>
          </a:p>
          <a:p>
            <a:pPr marL="171450" indent="-171450">
              <a:spcBef>
                <a:spcPts val="600"/>
              </a:spcBef>
              <a:buClr>
                <a:schemeClr val="tx1"/>
              </a:buClr>
              <a:buFont typeface="Arial" panose="020B0604020202020204" pitchFamily="34" charset="0"/>
              <a:buChar char="•"/>
            </a:pPr>
            <a:r>
              <a:rPr lang="en-GB" sz="1000" err="1">
                <a:latin typeface="Trebuchet MS" pitchFamily="34" charset="0"/>
              </a:rPr>
              <a:t>Altares</a:t>
            </a:r>
            <a:r>
              <a:rPr lang="en-GB" sz="1000">
                <a:latin typeface="Trebuchet MS" pitchFamily="34" charset="0"/>
              </a:rPr>
              <a:t> has capitalized on the increasing demand for Compliance by </a:t>
            </a:r>
            <a:r>
              <a:rPr lang="en-GB" sz="1000">
                <a:solidFill>
                  <a:schemeClr val="tx2"/>
                </a:solidFill>
                <a:latin typeface="Trebuchet MS" panose="020B0603020202020204" pitchFamily="34" charset="0"/>
              </a:rPr>
              <a:t>the launch of </a:t>
            </a:r>
            <a:r>
              <a:rPr lang="en-GB" sz="1000" err="1">
                <a:solidFill>
                  <a:schemeClr val="tx2"/>
                </a:solidFill>
                <a:latin typeface="Trebuchet MS" panose="020B0603020202020204" pitchFamily="34" charset="0"/>
              </a:rPr>
              <a:t>indueD</a:t>
            </a:r>
            <a:r>
              <a:rPr lang="en-GB" sz="1000">
                <a:solidFill>
                  <a:schemeClr val="tx2"/>
                </a:solidFill>
                <a:latin typeface="Trebuchet MS" panose="020B0603020202020204" pitchFamily="34" charset="0"/>
              </a:rPr>
              <a:t> </a:t>
            </a:r>
            <a:r>
              <a:rPr lang="en-GB" sz="1000">
                <a:latin typeface="Trebuchet MS" panose="020B0603020202020204" pitchFamily="34" charset="0"/>
              </a:rPr>
              <a:t>that has known a strong sales increase</a:t>
            </a:r>
          </a:p>
          <a:p>
            <a:pPr marL="171450" indent="-171450">
              <a:spcBef>
                <a:spcPts val="600"/>
              </a:spcBef>
              <a:buClr>
                <a:schemeClr val="tx1"/>
              </a:buClr>
              <a:buFont typeface="Arial" panose="020B0604020202020204" pitchFamily="34" charset="0"/>
              <a:buChar char="•"/>
            </a:pPr>
            <a:r>
              <a:rPr lang="en-GB" sz="1000">
                <a:solidFill>
                  <a:schemeClr val="tx2"/>
                </a:solidFill>
                <a:latin typeface="Trebuchet MS" panose="020B0603020202020204" pitchFamily="34" charset="0"/>
              </a:rPr>
              <a:t>Non-recurring products are progressively</a:t>
            </a:r>
            <a:r>
              <a:rPr lang="en-GB" sz="1000">
                <a:latin typeface="Trebuchet MS" panose="020B0603020202020204" pitchFamily="34" charset="0"/>
              </a:rPr>
              <a:t> replaced by </a:t>
            </a:r>
            <a:r>
              <a:rPr lang="en-GB" sz="1000">
                <a:solidFill>
                  <a:schemeClr val="tx2"/>
                </a:solidFill>
                <a:latin typeface="Trebuchet MS" panose="020B0603020202020204" pitchFamily="34" charset="0"/>
              </a:rPr>
              <a:t>recurring solutions</a:t>
            </a:r>
            <a:r>
              <a:rPr lang="en-GB" sz="1000">
                <a:latin typeface="Trebuchet MS" panose="020B0603020202020204" pitchFamily="34" charset="0"/>
              </a:rPr>
              <a:t>, especially </a:t>
            </a:r>
            <a:r>
              <a:rPr lang="en-GB" sz="1000">
                <a:solidFill>
                  <a:schemeClr val="tx2"/>
                </a:solidFill>
                <a:latin typeface="Trebuchet MS" panose="020B0603020202020204" pitchFamily="34" charset="0"/>
              </a:rPr>
              <a:t>D&amp;B Onboard </a:t>
            </a:r>
            <a:r>
              <a:rPr lang="en-GB" sz="1000">
                <a:latin typeface="Trebuchet MS" panose="020B0603020202020204" pitchFamily="34" charset="0"/>
              </a:rPr>
              <a:t>and</a:t>
            </a:r>
            <a:r>
              <a:rPr lang="en-GB" sz="1000">
                <a:solidFill>
                  <a:schemeClr val="tx2"/>
                </a:solidFill>
                <a:latin typeface="Trebuchet MS" panose="020B0603020202020204" pitchFamily="34" charset="0"/>
              </a:rPr>
              <a:t> </a:t>
            </a:r>
            <a:r>
              <a:rPr lang="en-GB" sz="1000" err="1">
                <a:solidFill>
                  <a:schemeClr val="tx2"/>
                </a:solidFill>
                <a:latin typeface="Trebuchet MS" panose="020B0603020202020204" pitchFamily="34" charset="0"/>
              </a:rPr>
              <a:t>indueD</a:t>
            </a:r>
            <a:r>
              <a:rPr lang="en-GB" sz="1000">
                <a:solidFill>
                  <a:schemeClr val="tx2"/>
                </a:solidFill>
                <a:latin typeface="Trebuchet MS" panose="020B0603020202020204" pitchFamily="34" charset="0"/>
              </a:rPr>
              <a:t>, </a:t>
            </a:r>
            <a:r>
              <a:rPr lang="en-GB" sz="1000">
                <a:latin typeface="Trebuchet MS" panose="020B0603020202020204" pitchFamily="34" charset="0"/>
              </a:rPr>
              <a:t>ensuring a </a:t>
            </a:r>
            <a:r>
              <a:rPr lang="en-GB" sz="1000">
                <a:solidFill>
                  <a:schemeClr val="tx2"/>
                </a:solidFill>
                <a:latin typeface="Trebuchet MS" panose="020B0603020202020204" pitchFamily="34" charset="0"/>
              </a:rPr>
              <a:t>better customer retention</a:t>
            </a:r>
          </a:p>
          <a:p>
            <a:pPr>
              <a:spcBef>
                <a:spcPts val="600"/>
              </a:spcBef>
              <a:buClr>
                <a:schemeClr val="tx1"/>
              </a:buClr>
            </a:pPr>
            <a:endParaRPr lang="en-GB" sz="1000">
              <a:latin typeface="Trebuchet MS" panose="020B0603020202020204" pitchFamily="34" charset="0"/>
            </a:endParaRPr>
          </a:p>
        </p:txBody>
      </p:sp>
      <p:grpSp>
        <p:nvGrpSpPr>
          <p:cNvPr id="18" name="Group 4">
            <a:extLst>
              <a:ext uri="{FF2B5EF4-FFF2-40B4-BE49-F238E27FC236}">
                <a16:creationId xmlns:a16="http://schemas.microsoft.com/office/drawing/2014/main" id="{60180F31-0B5B-4FD3-810E-B4A5CF9DE2B5}"/>
              </a:ext>
            </a:extLst>
          </p:cNvPr>
          <p:cNvGrpSpPr>
            <a:grpSpLocks noChangeAspect="1"/>
          </p:cNvGrpSpPr>
          <p:nvPr/>
        </p:nvGrpSpPr>
        <p:grpSpPr bwMode="auto">
          <a:xfrm>
            <a:off x="5610082" y="4757081"/>
            <a:ext cx="226868" cy="184867"/>
            <a:chOff x="788" y="869"/>
            <a:chExt cx="740" cy="603"/>
          </a:xfrm>
          <a:solidFill>
            <a:schemeClr val="tx1"/>
          </a:solidFill>
        </p:grpSpPr>
        <p:sp>
          <p:nvSpPr>
            <p:cNvPr id="19" name="Freeform 5">
              <a:extLst>
                <a:ext uri="{FF2B5EF4-FFF2-40B4-BE49-F238E27FC236}">
                  <a16:creationId xmlns:a16="http://schemas.microsoft.com/office/drawing/2014/main" id="{1E5A6A0B-C611-4574-A42C-FC5B912BEDB8}"/>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Rectangle 6">
              <a:extLst>
                <a:ext uri="{FF2B5EF4-FFF2-40B4-BE49-F238E27FC236}">
                  <a16:creationId xmlns:a16="http://schemas.microsoft.com/office/drawing/2014/main" id="{2B045855-D60A-44F7-853B-2AD3EFFF9916}"/>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7">
              <a:extLst>
                <a:ext uri="{FF2B5EF4-FFF2-40B4-BE49-F238E27FC236}">
                  <a16:creationId xmlns:a16="http://schemas.microsoft.com/office/drawing/2014/main" id="{2770970A-9962-4B09-8003-0F94CAB261A4}"/>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Rectangle 8">
              <a:extLst>
                <a:ext uri="{FF2B5EF4-FFF2-40B4-BE49-F238E27FC236}">
                  <a16:creationId xmlns:a16="http://schemas.microsoft.com/office/drawing/2014/main" id="{351CE059-D7C3-45A1-AEB5-43B53CC4A74B}"/>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7" name="Rectangle 46">
            <a:extLst>
              <a:ext uri="{FF2B5EF4-FFF2-40B4-BE49-F238E27FC236}">
                <a16:creationId xmlns:a16="http://schemas.microsoft.com/office/drawing/2014/main" id="{C85B0421-5BDB-4848-914A-867C2D466E74}"/>
              </a:ext>
            </a:extLst>
          </p:cNvPr>
          <p:cNvSpPr/>
          <p:nvPr/>
        </p:nvSpPr>
        <p:spPr bwMode="auto">
          <a:xfrm>
            <a:off x="543614" y="912961"/>
            <a:ext cx="3979494" cy="31016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billing in France for Compliance products,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4" name="Titre 1">
            <a:extLst>
              <a:ext uri="{FF2B5EF4-FFF2-40B4-BE49-F238E27FC236}">
                <a16:creationId xmlns:a16="http://schemas.microsoft.com/office/drawing/2014/main" id="{E4C834B3-8C96-4B4D-A3B2-401C953956D3}"/>
              </a:ext>
            </a:extLst>
          </p:cNvPr>
          <p:cNvSpPr txBox="1">
            <a:spLocks/>
          </p:cNvSpPr>
          <p:nvPr/>
        </p:nvSpPr>
        <p:spPr bwMode="auto">
          <a:xfrm>
            <a:off x="216000" y="147600"/>
            <a:ext cx="8230753" cy="57231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kern="0" err="1">
                <a:latin typeface="Trebuchet MS" panose="020B0603020202020204" pitchFamily="34" charset="0"/>
              </a:rPr>
              <a:t>Altares</a:t>
            </a:r>
            <a:r>
              <a:rPr lang="en-GB" kern="0">
                <a:latin typeface="Trebuchet MS" panose="020B0603020202020204" pitchFamily="34" charset="0"/>
              </a:rPr>
              <a:t> is increasing its customers retention on the </a:t>
            </a:r>
            <a:r>
              <a:rPr lang="en-GB" kern="0">
                <a:solidFill>
                  <a:schemeClr val="tx2"/>
                </a:solidFill>
                <a:latin typeface="Trebuchet MS" panose="020B0603020202020204" pitchFamily="34" charset="0"/>
              </a:rPr>
              <a:t>fast-growing Compliance market </a:t>
            </a:r>
            <a:r>
              <a:rPr lang="en-GB" kern="0">
                <a:latin typeface="Trebuchet MS" panose="020B0603020202020204" pitchFamily="34" charset="0"/>
              </a:rPr>
              <a:t>by </a:t>
            </a:r>
            <a:r>
              <a:rPr lang="en-GB" kern="0">
                <a:solidFill>
                  <a:schemeClr val="tx2"/>
                </a:solidFill>
                <a:latin typeface="Trebuchet MS" panose="020B0603020202020204" pitchFamily="34" charset="0"/>
              </a:rPr>
              <a:t>migrating</a:t>
            </a:r>
            <a:r>
              <a:rPr lang="en-GB" kern="0">
                <a:latin typeface="Trebuchet MS" panose="020B0603020202020204" pitchFamily="34" charset="0"/>
              </a:rPr>
              <a:t> its customer </a:t>
            </a:r>
            <a:r>
              <a:rPr lang="en-GB" kern="0">
                <a:solidFill>
                  <a:schemeClr val="tx2"/>
                </a:solidFill>
                <a:latin typeface="Trebuchet MS" panose="020B0603020202020204" pitchFamily="34" charset="0"/>
              </a:rPr>
              <a:t>from one-off solutions </a:t>
            </a:r>
            <a:r>
              <a:rPr lang="en-GB" kern="0">
                <a:latin typeface="Trebuchet MS" panose="020B0603020202020204" pitchFamily="34" charset="0"/>
              </a:rPr>
              <a:t>towards</a:t>
            </a:r>
            <a:r>
              <a:rPr lang="en-GB" kern="0">
                <a:solidFill>
                  <a:schemeClr val="tx2"/>
                </a:solidFill>
                <a:latin typeface="Trebuchet MS" panose="020B0603020202020204" pitchFamily="34" charset="0"/>
              </a:rPr>
              <a:t> recuring products</a:t>
            </a:r>
          </a:p>
        </p:txBody>
      </p:sp>
      <p:grpSp>
        <p:nvGrpSpPr>
          <p:cNvPr id="36" name="Groupe 35">
            <a:extLst>
              <a:ext uri="{FF2B5EF4-FFF2-40B4-BE49-F238E27FC236}">
                <a16:creationId xmlns:a16="http://schemas.microsoft.com/office/drawing/2014/main" id="{A3B40BAB-A07F-48BA-8133-D5706E9A5B37}"/>
              </a:ext>
            </a:extLst>
          </p:cNvPr>
          <p:cNvGrpSpPr/>
          <p:nvPr/>
        </p:nvGrpSpPr>
        <p:grpSpPr>
          <a:xfrm>
            <a:off x="8448150" y="-11528"/>
            <a:ext cx="1435548" cy="588143"/>
            <a:chOff x="8448150" y="-11528"/>
            <a:chExt cx="1435548" cy="588143"/>
          </a:xfrm>
        </p:grpSpPr>
        <p:sp>
          <p:nvSpPr>
            <p:cNvPr id="37" name="Rectangle : coins arrondis 199">
              <a:extLst>
                <a:ext uri="{FF2B5EF4-FFF2-40B4-BE49-F238E27FC236}">
                  <a16:creationId xmlns:a16="http://schemas.microsoft.com/office/drawing/2014/main" id="{BC332233-14DF-4C73-AB17-88C3B9382411}"/>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Rectangle : coins arrondis 200">
              <a:extLst>
                <a:ext uri="{FF2B5EF4-FFF2-40B4-BE49-F238E27FC236}">
                  <a16:creationId xmlns:a16="http://schemas.microsoft.com/office/drawing/2014/main" id="{DD62F214-64DE-4187-B2E0-D1194D3A3DC8}"/>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9" name="Rectangle : coins arrondis 201">
              <a:extLst>
                <a:ext uri="{FF2B5EF4-FFF2-40B4-BE49-F238E27FC236}">
                  <a16:creationId xmlns:a16="http://schemas.microsoft.com/office/drawing/2014/main" id="{C3A976AD-14C4-4ABE-A934-7E27BBE85C1C}"/>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6" name="ZoneTexte 18">
              <a:extLst>
                <a:ext uri="{FF2B5EF4-FFF2-40B4-BE49-F238E27FC236}">
                  <a16:creationId xmlns:a16="http://schemas.microsoft.com/office/drawing/2014/main" id="{9FB5FA0A-66DB-4991-8669-D703061FDE44}"/>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offer</a:t>
              </a:r>
            </a:p>
          </p:txBody>
        </p:sp>
        <p:pic>
          <p:nvPicPr>
            <p:cNvPr id="49" name="Graphique 128" descr="Jauge">
              <a:extLst>
                <a:ext uri="{FF2B5EF4-FFF2-40B4-BE49-F238E27FC236}">
                  <a16:creationId xmlns:a16="http://schemas.microsoft.com/office/drawing/2014/main" id="{7DA24090-1963-45FE-A4B2-528485027E5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50" name="Graphique 90" descr="Poignée de main">
              <a:extLst>
                <a:ext uri="{FF2B5EF4-FFF2-40B4-BE49-F238E27FC236}">
                  <a16:creationId xmlns:a16="http://schemas.microsoft.com/office/drawing/2014/main" id="{10B3DF77-4263-42D4-B525-91A3C7E05B3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51" name="Graphique 74" descr="Mégaphone">
              <a:extLst>
                <a:ext uri="{FF2B5EF4-FFF2-40B4-BE49-F238E27FC236}">
                  <a16:creationId xmlns:a16="http://schemas.microsoft.com/office/drawing/2014/main" id="{398D8ED9-C5E8-48D7-AEF3-A48C00E52EC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52" name="Picture 2" descr="Drapeau France">
              <a:extLst>
                <a:ext uri="{FF2B5EF4-FFF2-40B4-BE49-F238E27FC236}">
                  <a16:creationId xmlns:a16="http://schemas.microsoft.com/office/drawing/2014/main" id="{CBB9C241-D669-483B-A3FF-0B8C9E58BD1E}"/>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3" name="Picture 2" descr="5 ft x 3 ft 150 x 90 cm-DRAPEAU BELGE Belgique 100% Polyester ...">
              <a:extLst>
                <a:ext uri="{FF2B5EF4-FFF2-40B4-BE49-F238E27FC236}">
                  <a16:creationId xmlns:a16="http://schemas.microsoft.com/office/drawing/2014/main" id="{EF70B876-7006-481B-892C-D06722D595C9}"/>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4" name="Picture 2 - 1" descr="Drapeau des Pays-Bas — Wikipédia">
              <a:extLst>
                <a:ext uri="{FF2B5EF4-FFF2-40B4-BE49-F238E27FC236}">
                  <a16:creationId xmlns:a16="http://schemas.microsoft.com/office/drawing/2014/main" id="{9D54CB9F-4432-4D7E-93C7-5F22510243B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5" name="Picture 2 - 2" descr="Drapeau du Luxembourg">
              <a:extLst>
                <a:ext uri="{FF2B5EF4-FFF2-40B4-BE49-F238E27FC236}">
                  <a16:creationId xmlns:a16="http://schemas.microsoft.com/office/drawing/2014/main" id="{3670457D-A209-4646-9548-17C9C0DE44A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6" name="ZoneTexte 55">
              <a:extLst>
                <a:ext uri="{FF2B5EF4-FFF2-40B4-BE49-F238E27FC236}">
                  <a16:creationId xmlns:a16="http://schemas.microsoft.com/office/drawing/2014/main" id="{47F1C37A-47CF-4B73-B59D-BF4C343FCB28}"/>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Product dynamics</a:t>
              </a:r>
            </a:p>
          </p:txBody>
        </p:sp>
      </p:grpSp>
      <p:sp>
        <p:nvSpPr>
          <p:cNvPr id="33" name="Rectangle 32">
            <a:extLst>
              <a:ext uri="{FF2B5EF4-FFF2-40B4-BE49-F238E27FC236}">
                <a16:creationId xmlns:a16="http://schemas.microsoft.com/office/drawing/2014/main" id="{A1FDEDE9-E5E2-4EBC-A5B8-4EEF0C822E21}"/>
              </a:ext>
            </a:extLst>
          </p:cNvPr>
          <p:cNvSpPr/>
          <p:nvPr/>
        </p:nvSpPr>
        <p:spPr bwMode="auto">
          <a:xfrm>
            <a:off x="6232075" y="912961"/>
            <a:ext cx="3441561"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bookings in Benelux for Compliance products,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83" name="Bulle narrative : rectangle 3">
            <a:extLst>
              <a:ext uri="{FF2B5EF4-FFF2-40B4-BE49-F238E27FC236}">
                <a16:creationId xmlns:a16="http://schemas.microsoft.com/office/drawing/2014/main" id="{09711A59-19BF-4193-B3D8-CF704E6665A4}"/>
              </a:ext>
            </a:extLst>
          </p:cNvPr>
          <p:cNvSpPr/>
          <p:nvPr/>
        </p:nvSpPr>
        <p:spPr bwMode="auto">
          <a:xfrm>
            <a:off x="336461" y="4717986"/>
            <a:ext cx="2949664" cy="1603577"/>
          </a:xfrm>
          <a:prstGeom prst="rect">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1200"/>
              </a:spcAft>
              <a:buClrTx/>
              <a:buSzTx/>
              <a:buFontTx/>
              <a:buNone/>
              <a:tabLst/>
            </a:pPr>
            <a:r>
              <a:rPr kumimoji="0" lang="en-GB" sz="1000" b="0" i="0" u="none" strike="noStrike" cap="none" normalizeH="0" baseline="0">
                <a:ln>
                  <a:noFill/>
                </a:ln>
                <a:effectLst/>
                <a:latin typeface="Trebuchet MS" panose="020B0603020202020204" pitchFamily="34" charset="0"/>
              </a:rPr>
              <a:t>Readin</a:t>
            </a:r>
            <a:r>
              <a:rPr lang="en-GB" sz="1000">
                <a:latin typeface="Trebuchet MS" panose="020B0603020202020204" pitchFamily="34" charset="0"/>
              </a:rPr>
              <a:t>g insights</a:t>
            </a:r>
            <a:endParaRPr kumimoji="0" lang="en-GB" sz="1000" b="0" i="0" u="none" strike="noStrike" cap="none" normalizeH="0" baseline="0">
              <a:ln>
                <a:noFill/>
              </a:ln>
              <a:solidFill>
                <a:schemeClr val="bg1">
                  <a:lumMod val="65000"/>
                </a:schemeClr>
              </a:solidFill>
              <a:effectLst/>
              <a:latin typeface="Trebuchet MS" panose="020B0603020202020204" pitchFamily="34" charset="0"/>
            </a:endParaRP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kumimoji="0" lang="en-GB" sz="1000" b="0" i="0" u="none" strike="noStrike" cap="none" normalizeH="0" baseline="0">
                <a:ln>
                  <a:noFill/>
                </a:ln>
                <a:effectLst/>
                <a:latin typeface="Trebuchet MS" panose="020B0603020202020204" pitchFamily="34" charset="0"/>
              </a:rPr>
              <a:t>Transversal products, that </a:t>
            </a:r>
            <a:r>
              <a:rPr kumimoji="0" lang="en-GB" sz="1000" b="0" i="0" u="none" strike="noStrike" cap="none" normalizeH="0" baseline="0">
                <a:ln>
                  <a:noFill/>
                </a:ln>
                <a:solidFill>
                  <a:schemeClr val="tx2"/>
                </a:solidFill>
                <a:effectLst/>
                <a:latin typeface="Trebuchet MS" panose="020B0603020202020204" pitchFamily="34" charset="0"/>
              </a:rPr>
              <a:t>address the three lines of business</a:t>
            </a:r>
            <a:r>
              <a:rPr kumimoji="0" lang="en-GB" sz="1000" b="0" i="0" u="none" strike="noStrike" cap="none" normalizeH="0" baseline="0">
                <a:ln>
                  <a:noFill/>
                </a:ln>
                <a:effectLst/>
                <a:latin typeface="Trebuchet MS" panose="020B0603020202020204" pitchFamily="34" charset="0"/>
              </a:rPr>
              <a:t>, are merged into a virtual category that represe</a:t>
            </a:r>
            <a:r>
              <a:rPr lang="en-GB" sz="1000">
                <a:latin typeface="Trebuchet MS" panose="020B0603020202020204" pitchFamily="34" charset="0"/>
              </a:rPr>
              <a:t>nts all the </a:t>
            </a:r>
            <a:r>
              <a:rPr lang="en-GB" sz="1000">
                <a:solidFill>
                  <a:schemeClr val="tx2"/>
                </a:solidFill>
                <a:latin typeface="Trebuchet MS" panose="020B0603020202020204" pitchFamily="34" charset="0"/>
              </a:rPr>
              <a:t>transversal sales related to Compliance</a:t>
            </a:r>
            <a:endParaRPr kumimoji="0" lang="en-GB" sz="1000" u="none" strike="noStrike" cap="none" normalizeH="0" baseline="0">
              <a:ln>
                <a:noFill/>
              </a:ln>
              <a:solidFill>
                <a:schemeClr val="tx2"/>
              </a:solidFill>
              <a:effectLst/>
              <a:latin typeface="Trebuchet MS" panose="020B0603020202020204" pitchFamily="34" charset="0"/>
            </a:endParaRP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lang="en-GB" sz="1000">
                <a:latin typeface="Trebuchet MS" panose="020B0603020202020204" pitchFamily="34" charset="0"/>
              </a:rPr>
              <a:t>Some products exhibited in this slide are </a:t>
            </a:r>
            <a:r>
              <a:rPr lang="en-GB" sz="1000">
                <a:solidFill>
                  <a:schemeClr val="tx2"/>
                </a:solidFill>
                <a:latin typeface="Trebuchet MS" panose="020B0603020202020204" pitchFamily="34" charset="0"/>
              </a:rPr>
              <a:t>not present in the offer presentation </a:t>
            </a:r>
            <a:r>
              <a:rPr lang="en-GB" sz="1000">
                <a:latin typeface="Trebuchet MS" panose="020B0603020202020204" pitchFamily="34" charset="0"/>
              </a:rPr>
              <a:t>cause are </a:t>
            </a:r>
            <a:r>
              <a:rPr lang="en-GB" sz="1000">
                <a:solidFill>
                  <a:schemeClr val="tx2"/>
                </a:solidFill>
                <a:latin typeface="Trebuchet MS" panose="020B0603020202020204" pitchFamily="34" charset="0"/>
              </a:rPr>
              <a:t>no longer in the roadmap</a:t>
            </a:r>
            <a:endParaRPr kumimoji="0" lang="en-GB" sz="1000" b="0" i="0" u="none" strike="noStrike" cap="none" normalizeH="0" baseline="0">
              <a:ln>
                <a:noFill/>
              </a:ln>
              <a:solidFill>
                <a:schemeClr val="tx2"/>
              </a:solidFill>
              <a:effectLst/>
              <a:latin typeface="Trebuchet MS" panose="020B0603020202020204" pitchFamily="34" charset="0"/>
            </a:endParaRPr>
          </a:p>
        </p:txBody>
      </p:sp>
      <p:pic>
        <p:nvPicPr>
          <p:cNvPr id="84" name="Graphic 83" descr="Lights On">
            <a:extLst>
              <a:ext uri="{FF2B5EF4-FFF2-40B4-BE49-F238E27FC236}">
                <a16:creationId xmlns:a16="http://schemas.microsoft.com/office/drawing/2014/main" id="{7E4D4335-0C3B-4325-A934-11835CB615B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83355" y="4765951"/>
            <a:ext cx="209742" cy="209742"/>
          </a:xfrm>
          <a:prstGeom prst="rect">
            <a:avLst/>
          </a:prstGeom>
        </p:spPr>
      </p:pic>
      <p:graphicFrame>
        <p:nvGraphicFramePr>
          <p:cNvPr id="61" name="Chart 60">
            <a:extLst>
              <a:ext uri="{FF2B5EF4-FFF2-40B4-BE49-F238E27FC236}">
                <a16:creationId xmlns:a16="http://schemas.microsoft.com/office/drawing/2014/main" id="{A25543EC-7DF1-4051-A80D-817800C62518}"/>
              </a:ext>
            </a:extLst>
          </p:cNvPr>
          <p:cNvGraphicFramePr/>
          <p:nvPr/>
        </p:nvGraphicFramePr>
        <p:xfrm>
          <a:off x="317562" y="1330992"/>
          <a:ext cx="3998394" cy="3237453"/>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62" name="Chart 61">
            <a:extLst>
              <a:ext uri="{FF2B5EF4-FFF2-40B4-BE49-F238E27FC236}">
                <a16:creationId xmlns:a16="http://schemas.microsoft.com/office/drawing/2014/main" id="{1E320756-3CDB-4E19-9AC0-97ED073BA107}"/>
              </a:ext>
            </a:extLst>
          </p:cNvPr>
          <p:cNvGraphicFramePr/>
          <p:nvPr/>
        </p:nvGraphicFramePr>
        <p:xfrm>
          <a:off x="5590046" y="1330992"/>
          <a:ext cx="3998394" cy="3237453"/>
        </p:xfrm>
        <a:graphic>
          <a:graphicData uri="http://schemas.openxmlformats.org/drawingml/2006/chart">
            <c:chart xmlns:c="http://schemas.openxmlformats.org/drawingml/2006/chart" xmlns:r="http://schemas.openxmlformats.org/officeDocument/2006/relationships" r:id="rId19"/>
          </a:graphicData>
        </a:graphic>
      </p:graphicFrame>
      <p:grpSp>
        <p:nvGrpSpPr>
          <p:cNvPr id="2" name="Group 1">
            <a:extLst>
              <a:ext uri="{FF2B5EF4-FFF2-40B4-BE49-F238E27FC236}">
                <a16:creationId xmlns:a16="http://schemas.microsoft.com/office/drawing/2014/main" id="{60337440-5FDF-4425-9686-94011C997318}"/>
              </a:ext>
            </a:extLst>
          </p:cNvPr>
          <p:cNvGrpSpPr/>
          <p:nvPr/>
        </p:nvGrpSpPr>
        <p:grpSpPr>
          <a:xfrm>
            <a:off x="4370385" y="1330992"/>
            <a:ext cx="1184141" cy="1698097"/>
            <a:chOff x="4370385" y="1624268"/>
            <a:chExt cx="1184141" cy="1698097"/>
          </a:xfrm>
        </p:grpSpPr>
        <p:sp>
          <p:nvSpPr>
            <p:cNvPr id="43" name="Rectangle 42">
              <a:extLst>
                <a:ext uri="{FF2B5EF4-FFF2-40B4-BE49-F238E27FC236}">
                  <a16:creationId xmlns:a16="http://schemas.microsoft.com/office/drawing/2014/main" id="{A7331F05-FF74-4FA1-B865-A812ECE4F24C}"/>
                </a:ext>
              </a:extLst>
            </p:cNvPr>
            <p:cNvSpPr/>
            <p:nvPr/>
          </p:nvSpPr>
          <p:spPr bwMode="auto">
            <a:xfrm>
              <a:off x="4370385" y="1624268"/>
              <a:ext cx="1165233" cy="169809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67" name="Rectangle 66">
              <a:extLst>
                <a:ext uri="{FF2B5EF4-FFF2-40B4-BE49-F238E27FC236}">
                  <a16:creationId xmlns:a16="http://schemas.microsoft.com/office/drawing/2014/main" id="{D404C0A4-E0C4-4876-ADCB-BD3CA4322544}"/>
                </a:ext>
              </a:extLst>
            </p:cNvPr>
            <p:cNvSpPr/>
            <p:nvPr/>
          </p:nvSpPr>
          <p:spPr bwMode="auto">
            <a:xfrm>
              <a:off x="4425554" y="1668681"/>
              <a:ext cx="1054894" cy="619628"/>
            </a:xfrm>
            <a:prstGeom prst="rect">
              <a:avLst/>
            </a:prstGeom>
            <a:solidFill>
              <a:schemeClr val="bg2">
                <a:lumMod val="20000"/>
                <a:lumOff val="80000"/>
              </a:schemeClr>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6" name="Rectangle 65">
              <a:extLst>
                <a:ext uri="{FF2B5EF4-FFF2-40B4-BE49-F238E27FC236}">
                  <a16:creationId xmlns:a16="http://schemas.microsoft.com/office/drawing/2014/main" id="{5DD1B974-10AB-4A19-BDD3-3F856BCAF01A}"/>
                </a:ext>
              </a:extLst>
            </p:cNvPr>
            <p:cNvSpPr/>
            <p:nvPr/>
          </p:nvSpPr>
          <p:spPr bwMode="auto">
            <a:xfrm>
              <a:off x="4425554" y="2342298"/>
              <a:ext cx="1054894" cy="692307"/>
            </a:xfrm>
            <a:prstGeom prst="rect">
              <a:avLst/>
            </a:prstGeom>
            <a:solidFill>
              <a:schemeClr val="bg1">
                <a:lumMod val="95000"/>
              </a:schemeClr>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7" name="Group 6">
              <a:extLst>
                <a:ext uri="{FF2B5EF4-FFF2-40B4-BE49-F238E27FC236}">
                  <a16:creationId xmlns:a16="http://schemas.microsoft.com/office/drawing/2014/main" id="{C1F1A367-81C6-4478-9E97-629A02259584}"/>
                </a:ext>
              </a:extLst>
            </p:cNvPr>
            <p:cNvGrpSpPr/>
            <p:nvPr/>
          </p:nvGrpSpPr>
          <p:grpSpPr>
            <a:xfrm>
              <a:off x="4457846" y="2908140"/>
              <a:ext cx="1096680" cy="123111"/>
              <a:chOff x="4457846" y="4137274"/>
              <a:chExt cx="1096680" cy="123111"/>
            </a:xfrm>
          </p:grpSpPr>
          <p:cxnSp>
            <p:nvCxnSpPr>
              <p:cNvPr id="88" name="Straight Connector 87">
                <a:extLst>
                  <a:ext uri="{FF2B5EF4-FFF2-40B4-BE49-F238E27FC236}">
                    <a16:creationId xmlns:a16="http://schemas.microsoft.com/office/drawing/2014/main" id="{30F3FA4B-868C-4BFF-A397-1D8D374047B3}"/>
                  </a:ext>
                </a:extLst>
              </p:cNvPr>
              <p:cNvCxnSpPr>
                <a:cxnSpLocks/>
              </p:cNvCxnSpPr>
              <p:nvPr/>
            </p:nvCxnSpPr>
            <p:spPr bwMode="auto">
              <a:xfrm>
                <a:off x="4457846" y="4198829"/>
                <a:ext cx="207891" cy="0"/>
              </a:xfrm>
              <a:prstGeom prst="line">
                <a:avLst/>
              </a:prstGeom>
              <a:solidFill>
                <a:schemeClr val="bg1"/>
              </a:solidFill>
              <a:ln w="88900" cap="flat" cmpd="sng" algn="ctr">
                <a:solidFill>
                  <a:srgbClr val="A6A6A6"/>
                </a:solidFill>
                <a:prstDash val="solid"/>
                <a:round/>
                <a:headEnd type="none" w="med" len="med"/>
                <a:tailEnd type="none" w="med" len="med"/>
              </a:ln>
              <a:effectLst/>
            </p:spPr>
          </p:cxnSp>
          <p:sp>
            <p:nvSpPr>
              <p:cNvPr id="90" name="TextBox 89">
                <a:extLst>
                  <a:ext uri="{FF2B5EF4-FFF2-40B4-BE49-F238E27FC236}">
                    <a16:creationId xmlns:a16="http://schemas.microsoft.com/office/drawing/2014/main" id="{19303C3A-5AE4-4EA0-A1FA-4B7D8590A926}"/>
                  </a:ext>
                </a:extLst>
              </p:cNvPr>
              <p:cNvSpPr txBox="1"/>
              <p:nvPr/>
            </p:nvSpPr>
            <p:spPr>
              <a:xfrm>
                <a:off x="4684644" y="4137274"/>
                <a:ext cx="869882" cy="123111"/>
              </a:xfrm>
              <a:prstGeom prst="rect">
                <a:avLst/>
              </a:prstGeom>
              <a:noFill/>
            </p:spPr>
            <p:txBody>
              <a:bodyPr wrap="square" lIns="0" tIns="0" rIns="0" bIns="0" rtlCol="0">
                <a:spAutoFit/>
              </a:bodyPr>
              <a:lstStyle/>
              <a:p>
                <a:r>
                  <a:rPr lang="en-GB" sz="800">
                    <a:latin typeface="+mj-lt"/>
                  </a:rPr>
                  <a:t>Compliance Files</a:t>
                </a:r>
              </a:p>
            </p:txBody>
          </p:sp>
        </p:grpSp>
        <p:grpSp>
          <p:nvGrpSpPr>
            <p:cNvPr id="91" name="Group 90">
              <a:extLst>
                <a:ext uri="{FF2B5EF4-FFF2-40B4-BE49-F238E27FC236}">
                  <a16:creationId xmlns:a16="http://schemas.microsoft.com/office/drawing/2014/main" id="{0B94E400-664E-41DC-AD58-E31B4856BCFC}"/>
                </a:ext>
              </a:extLst>
            </p:cNvPr>
            <p:cNvGrpSpPr/>
            <p:nvPr/>
          </p:nvGrpSpPr>
          <p:grpSpPr>
            <a:xfrm>
              <a:off x="4457846" y="3126081"/>
              <a:ext cx="510732" cy="123111"/>
              <a:chOff x="4457846" y="4413688"/>
              <a:chExt cx="510732" cy="123111"/>
            </a:xfrm>
          </p:grpSpPr>
          <p:cxnSp>
            <p:nvCxnSpPr>
              <p:cNvPr id="92" name="Straight Connector 91">
                <a:extLst>
                  <a:ext uri="{FF2B5EF4-FFF2-40B4-BE49-F238E27FC236}">
                    <a16:creationId xmlns:a16="http://schemas.microsoft.com/office/drawing/2014/main" id="{F25D1E8A-A509-4083-A2A8-F77E2FDB36C6}"/>
                  </a:ext>
                </a:extLst>
              </p:cNvPr>
              <p:cNvCxnSpPr>
                <a:cxnSpLocks/>
              </p:cNvCxnSpPr>
              <p:nvPr/>
            </p:nvCxnSpPr>
            <p:spPr bwMode="auto">
              <a:xfrm>
                <a:off x="4457846" y="4475243"/>
                <a:ext cx="207891" cy="0"/>
              </a:xfrm>
              <a:prstGeom prst="line">
                <a:avLst/>
              </a:prstGeom>
              <a:solidFill>
                <a:schemeClr val="bg1"/>
              </a:solidFill>
              <a:ln w="88900" cap="flat" cmpd="sng" algn="ctr">
                <a:solidFill>
                  <a:schemeClr val="bg1">
                    <a:lumMod val="95000"/>
                  </a:schemeClr>
                </a:solidFill>
                <a:prstDash val="solid"/>
                <a:round/>
                <a:headEnd type="none" w="med" len="med"/>
                <a:tailEnd type="none" w="med" len="med"/>
              </a:ln>
              <a:effectLst/>
            </p:spPr>
          </p:cxnSp>
          <p:sp>
            <p:nvSpPr>
              <p:cNvPr id="93" name="TextBox 92">
                <a:extLst>
                  <a:ext uri="{FF2B5EF4-FFF2-40B4-BE49-F238E27FC236}">
                    <a16:creationId xmlns:a16="http://schemas.microsoft.com/office/drawing/2014/main" id="{502873FC-04DA-4875-8AF3-02F2AF1AF33D}"/>
                  </a:ext>
                </a:extLst>
              </p:cNvPr>
              <p:cNvSpPr txBox="1"/>
              <p:nvPr/>
            </p:nvSpPr>
            <p:spPr>
              <a:xfrm>
                <a:off x="4684645" y="4413688"/>
                <a:ext cx="283933" cy="123111"/>
              </a:xfrm>
              <a:prstGeom prst="rect">
                <a:avLst/>
              </a:prstGeom>
              <a:noFill/>
            </p:spPr>
            <p:txBody>
              <a:bodyPr wrap="square" lIns="0" tIns="0" rIns="0" bIns="0" rtlCol="0">
                <a:spAutoFit/>
              </a:bodyPr>
              <a:lstStyle/>
              <a:p>
                <a:r>
                  <a:rPr lang="en-GB" sz="800">
                    <a:latin typeface="+mj-lt"/>
                  </a:rPr>
                  <a:t>Other</a:t>
                </a:r>
              </a:p>
            </p:txBody>
          </p:sp>
        </p:grpSp>
        <p:grpSp>
          <p:nvGrpSpPr>
            <p:cNvPr id="94" name="Group 93">
              <a:extLst>
                <a:ext uri="{FF2B5EF4-FFF2-40B4-BE49-F238E27FC236}">
                  <a16:creationId xmlns:a16="http://schemas.microsoft.com/office/drawing/2014/main" id="{241E924B-E0AF-419C-83F6-B1DBAC82369B}"/>
                </a:ext>
              </a:extLst>
            </p:cNvPr>
            <p:cNvGrpSpPr/>
            <p:nvPr/>
          </p:nvGrpSpPr>
          <p:grpSpPr>
            <a:xfrm>
              <a:off x="4457846" y="2567087"/>
              <a:ext cx="862931" cy="246221"/>
              <a:chOff x="4457846" y="3843688"/>
              <a:chExt cx="862931" cy="246221"/>
            </a:xfrm>
          </p:grpSpPr>
          <p:cxnSp>
            <p:nvCxnSpPr>
              <p:cNvPr id="95" name="Straight Connector 94">
                <a:extLst>
                  <a:ext uri="{FF2B5EF4-FFF2-40B4-BE49-F238E27FC236}">
                    <a16:creationId xmlns:a16="http://schemas.microsoft.com/office/drawing/2014/main" id="{F491F6F7-EF8F-4A3F-8BFE-760A2203837D}"/>
                  </a:ext>
                </a:extLst>
              </p:cNvPr>
              <p:cNvCxnSpPr>
                <a:cxnSpLocks/>
              </p:cNvCxnSpPr>
              <p:nvPr/>
            </p:nvCxnSpPr>
            <p:spPr bwMode="auto">
              <a:xfrm>
                <a:off x="4457846" y="3966799"/>
                <a:ext cx="207891" cy="0"/>
              </a:xfrm>
              <a:prstGeom prst="line">
                <a:avLst/>
              </a:prstGeom>
              <a:solidFill>
                <a:schemeClr val="bg1"/>
              </a:solidFill>
              <a:ln w="88900" cap="flat" cmpd="sng" algn="ctr">
                <a:solidFill>
                  <a:schemeClr val="tx1"/>
                </a:solidFill>
                <a:prstDash val="solid"/>
                <a:round/>
                <a:headEnd type="none" w="med" len="med"/>
                <a:tailEnd type="none" w="med" len="med"/>
              </a:ln>
              <a:effectLst/>
            </p:spPr>
          </p:cxnSp>
          <p:sp>
            <p:nvSpPr>
              <p:cNvPr id="96" name="TextBox 95">
                <a:extLst>
                  <a:ext uri="{FF2B5EF4-FFF2-40B4-BE49-F238E27FC236}">
                    <a16:creationId xmlns:a16="http://schemas.microsoft.com/office/drawing/2014/main" id="{9701400A-0644-448C-9CC5-FDA70DBF5798}"/>
                  </a:ext>
                </a:extLst>
              </p:cNvPr>
              <p:cNvSpPr txBox="1"/>
              <p:nvPr/>
            </p:nvSpPr>
            <p:spPr>
              <a:xfrm>
                <a:off x="4684645" y="3843688"/>
                <a:ext cx="636132" cy="246221"/>
              </a:xfrm>
              <a:prstGeom prst="rect">
                <a:avLst/>
              </a:prstGeom>
              <a:noFill/>
            </p:spPr>
            <p:txBody>
              <a:bodyPr wrap="square" lIns="0" tIns="0" rIns="0" bIns="0" rtlCol="0">
                <a:spAutoFit/>
              </a:bodyPr>
              <a:lstStyle/>
              <a:p>
                <a:r>
                  <a:rPr lang="en-GB" sz="800">
                    <a:latin typeface="+mj-lt"/>
                  </a:rPr>
                  <a:t>Transversal products</a:t>
                </a:r>
              </a:p>
            </p:txBody>
          </p:sp>
        </p:grpSp>
        <p:grpSp>
          <p:nvGrpSpPr>
            <p:cNvPr id="97" name="Group 96">
              <a:extLst>
                <a:ext uri="{FF2B5EF4-FFF2-40B4-BE49-F238E27FC236}">
                  <a16:creationId xmlns:a16="http://schemas.microsoft.com/office/drawing/2014/main" id="{0DB82910-9D40-40C2-AE24-8F2AED411362}"/>
                </a:ext>
              </a:extLst>
            </p:cNvPr>
            <p:cNvGrpSpPr/>
            <p:nvPr/>
          </p:nvGrpSpPr>
          <p:grpSpPr>
            <a:xfrm>
              <a:off x="4457846" y="1695315"/>
              <a:ext cx="734003" cy="123111"/>
              <a:chOff x="4457846" y="2654207"/>
              <a:chExt cx="734003" cy="123111"/>
            </a:xfrm>
          </p:grpSpPr>
          <p:cxnSp>
            <p:nvCxnSpPr>
              <p:cNvPr id="98" name="Straight Connector 97">
                <a:extLst>
                  <a:ext uri="{FF2B5EF4-FFF2-40B4-BE49-F238E27FC236}">
                    <a16:creationId xmlns:a16="http://schemas.microsoft.com/office/drawing/2014/main" id="{627F58A2-F9C7-44E0-A542-4E95B393B751}"/>
                  </a:ext>
                </a:extLst>
              </p:cNvPr>
              <p:cNvCxnSpPr>
                <a:cxnSpLocks/>
              </p:cNvCxnSpPr>
              <p:nvPr/>
            </p:nvCxnSpPr>
            <p:spPr bwMode="auto">
              <a:xfrm>
                <a:off x="4457846" y="2715762"/>
                <a:ext cx="207891"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99" name="TextBox 98">
                <a:extLst>
                  <a:ext uri="{FF2B5EF4-FFF2-40B4-BE49-F238E27FC236}">
                    <a16:creationId xmlns:a16="http://schemas.microsoft.com/office/drawing/2014/main" id="{4718EE55-3C39-4BA4-901E-713BA1815145}"/>
                  </a:ext>
                </a:extLst>
              </p:cNvPr>
              <p:cNvSpPr txBox="1"/>
              <p:nvPr/>
            </p:nvSpPr>
            <p:spPr>
              <a:xfrm>
                <a:off x="4684644" y="2654207"/>
                <a:ext cx="507205" cy="123111"/>
              </a:xfrm>
              <a:prstGeom prst="rect">
                <a:avLst/>
              </a:prstGeom>
              <a:noFill/>
            </p:spPr>
            <p:txBody>
              <a:bodyPr wrap="square" lIns="0" tIns="0" rIns="0" bIns="0" rtlCol="0">
                <a:spAutoFit/>
              </a:bodyPr>
              <a:lstStyle/>
              <a:p>
                <a:r>
                  <a:rPr lang="en-GB" sz="800">
                    <a:latin typeface="+mj-lt"/>
                  </a:rPr>
                  <a:t>Onboard</a:t>
                </a:r>
              </a:p>
            </p:txBody>
          </p:sp>
        </p:grpSp>
        <p:grpSp>
          <p:nvGrpSpPr>
            <p:cNvPr id="100" name="Group 99">
              <a:extLst>
                <a:ext uri="{FF2B5EF4-FFF2-40B4-BE49-F238E27FC236}">
                  <a16:creationId xmlns:a16="http://schemas.microsoft.com/office/drawing/2014/main" id="{5C346707-5426-47EE-9579-8AECDCF4F4B0}"/>
                </a:ext>
              </a:extLst>
            </p:cNvPr>
            <p:cNvGrpSpPr/>
            <p:nvPr/>
          </p:nvGrpSpPr>
          <p:grpSpPr>
            <a:xfrm>
              <a:off x="4457846" y="1913258"/>
              <a:ext cx="782419" cy="123111"/>
              <a:chOff x="4457846" y="2857573"/>
              <a:chExt cx="782419" cy="123111"/>
            </a:xfrm>
          </p:grpSpPr>
          <p:cxnSp>
            <p:nvCxnSpPr>
              <p:cNvPr id="101" name="Straight Connector 100">
                <a:extLst>
                  <a:ext uri="{FF2B5EF4-FFF2-40B4-BE49-F238E27FC236}">
                    <a16:creationId xmlns:a16="http://schemas.microsoft.com/office/drawing/2014/main" id="{DCF19D23-BD49-43C0-B979-8817E201E61E}"/>
                  </a:ext>
                </a:extLst>
              </p:cNvPr>
              <p:cNvCxnSpPr>
                <a:cxnSpLocks/>
              </p:cNvCxnSpPr>
              <p:nvPr/>
            </p:nvCxnSpPr>
            <p:spPr bwMode="auto">
              <a:xfrm>
                <a:off x="4457846" y="2919128"/>
                <a:ext cx="207891"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102" name="TextBox 101">
                <a:extLst>
                  <a:ext uri="{FF2B5EF4-FFF2-40B4-BE49-F238E27FC236}">
                    <a16:creationId xmlns:a16="http://schemas.microsoft.com/office/drawing/2014/main" id="{64B09D7C-3158-4F2A-BB55-9DC2DE1E36A1}"/>
                  </a:ext>
                </a:extLst>
              </p:cNvPr>
              <p:cNvSpPr txBox="1"/>
              <p:nvPr/>
            </p:nvSpPr>
            <p:spPr>
              <a:xfrm>
                <a:off x="4684645" y="2857573"/>
                <a:ext cx="555620" cy="123111"/>
              </a:xfrm>
              <a:prstGeom prst="rect">
                <a:avLst/>
              </a:prstGeom>
              <a:noFill/>
            </p:spPr>
            <p:txBody>
              <a:bodyPr wrap="square" lIns="0" tIns="0" rIns="0" bIns="0" rtlCol="0">
                <a:spAutoFit/>
              </a:bodyPr>
              <a:lstStyle/>
              <a:p>
                <a:r>
                  <a:rPr lang="en-GB" sz="800" err="1">
                    <a:latin typeface="+mj-lt"/>
                  </a:rPr>
                  <a:t>indueD</a:t>
                </a:r>
                <a:endParaRPr lang="en-GB" sz="800">
                  <a:latin typeface="+mj-lt"/>
                </a:endParaRPr>
              </a:p>
            </p:txBody>
          </p:sp>
        </p:grpSp>
        <p:grpSp>
          <p:nvGrpSpPr>
            <p:cNvPr id="103" name="Group 102">
              <a:extLst>
                <a:ext uri="{FF2B5EF4-FFF2-40B4-BE49-F238E27FC236}">
                  <a16:creationId xmlns:a16="http://schemas.microsoft.com/office/drawing/2014/main" id="{8E1C79E3-DC11-4886-BD82-FC20721AA4EA}"/>
                </a:ext>
              </a:extLst>
            </p:cNvPr>
            <p:cNvGrpSpPr/>
            <p:nvPr/>
          </p:nvGrpSpPr>
          <p:grpSpPr>
            <a:xfrm>
              <a:off x="4457846" y="2131201"/>
              <a:ext cx="831238" cy="123111"/>
              <a:chOff x="4457846" y="3060939"/>
              <a:chExt cx="831238" cy="123111"/>
            </a:xfrm>
          </p:grpSpPr>
          <p:cxnSp>
            <p:nvCxnSpPr>
              <p:cNvPr id="104" name="Straight Connector 103">
                <a:extLst>
                  <a:ext uri="{FF2B5EF4-FFF2-40B4-BE49-F238E27FC236}">
                    <a16:creationId xmlns:a16="http://schemas.microsoft.com/office/drawing/2014/main" id="{B51269A7-EE28-4309-A63C-1D78AB78FE2F}"/>
                  </a:ext>
                </a:extLst>
              </p:cNvPr>
              <p:cNvCxnSpPr>
                <a:cxnSpLocks/>
              </p:cNvCxnSpPr>
              <p:nvPr/>
            </p:nvCxnSpPr>
            <p:spPr bwMode="auto">
              <a:xfrm>
                <a:off x="4457846" y="3122494"/>
                <a:ext cx="207891" cy="0"/>
              </a:xfrm>
              <a:prstGeom prst="line">
                <a:avLst/>
              </a:prstGeom>
              <a:solidFill>
                <a:schemeClr val="bg1"/>
              </a:solidFill>
              <a:ln w="88900" cap="flat" cmpd="sng" algn="ctr">
                <a:solidFill>
                  <a:srgbClr val="8FCD9F"/>
                </a:solidFill>
                <a:prstDash val="solid"/>
                <a:round/>
                <a:headEnd type="none" w="med" len="med"/>
                <a:tailEnd type="none" w="med" len="med"/>
              </a:ln>
              <a:effectLst/>
            </p:spPr>
          </p:cxnSp>
          <p:sp>
            <p:nvSpPr>
              <p:cNvPr id="105" name="TextBox 104">
                <a:extLst>
                  <a:ext uri="{FF2B5EF4-FFF2-40B4-BE49-F238E27FC236}">
                    <a16:creationId xmlns:a16="http://schemas.microsoft.com/office/drawing/2014/main" id="{D5A9A91B-F9B6-4B6A-B8D0-C653F41FFDFA}"/>
                  </a:ext>
                </a:extLst>
              </p:cNvPr>
              <p:cNvSpPr txBox="1"/>
              <p:nvPr/>
            </p:nvSpPr>
            <p:spPr>
              <a:xfrm>
                <a:off x="4684645" y="3060939"/>
                <a:ext cx="604439" cy="123111"/>
              </a:xfrm>
              <a:prstGeom prst="rect">
                <a:avLst/>
              </a:prstGeom>
              <a:noFill/>
            </p:spPr>
            <p:txBody>
              <a:bodyPr wrap="square" lIns="0" tIns="0" rIns="0" bIns="0" rtlCol="0">
                <a:spAutoFit/>
              </a:bodyPr>
              <a:lstStyle/>
              <a:p>
                <a:r>
                  <a:rPr lang="en-GB" sz="800" err="1">
                    <a:latin typeface="+mj-lt"/>
                  </a:rPr>
                  <a:t>InDoc</a:t>
                </a:r>
                <a:endParaRPr lang="en-GB" sz="800">
                  <a:latin typeface="+mj-lt"/>
                </a:endParaRPr>
              </a:p>
            </p:txBody>
          </p:sp>
        </p:grpSp>
        <p:grpSp>
          <p:nvGrpSpPr>
            <p:cNvPr id="106" name="Group 105">
              <a:extLst>
                <a:ext uri="{FF2B5EF4-FFF2-40B4-BE49-F238E27FC236}">
                  <a16:creationId xmlns:a16="http://schemas.microsoft.com/office/drawing/2014/main" id="{1107D20D-6F07-4A8A-8249-69BF80A85DAD}"/>
                </a:ext>
              </a:extLst>
            </p:cNvPr>
            <p:cNvGrpSpPr/>
            <p:nvPr/>
          </p:nvGrpSpPr>
          <p:grpSpPr>
            <a:xfrm>
              <a:off x="4457846" y="2349144"/>
              <a:ext cx="732972" cy="123111"/>
              <a:chOff x="4457846" y="3264305"/>
              <a:chExt cx="732972" cy="123111"/>
            </a:xfrm>
          </p:grpSpPr>
          <p:cxnSp>
            <p:nvCxnSpPr>
              <p:cNvPr id="107" name="Straight Connector 106">
                <a:extLst>
                  <a:ext uri="{FF2B5EF4-FFF2-40B4-BE49-F238E27FC236}">
                    <a16:creationId xmlns:a16="http://schemas.microsoft.com/office/drawing/2014/main" id="{244DEC22-7493-4260-8F2A-6A0C629E1144}"/>
                  </a:ext>
                </a:extLst>
              </p:cNvPr>
              <p:cNvCxnSpPr>
                <a:cxnSpLocks/>
              </p:cNvCxnSpPr>
              <p:nvPr/>
            </p:nvCxnSpPr>
            <p:spPr bwMode="auto">
              <a:xfrm>
                <a:off x="4457846" y="3325860"/>
                <a:ext cx="207891" cy="0"/>
              </a:xfrm>
              <a:prstGeom prst="line">
                <a:avLst/>
              </a:prstGeom>
              <a:solidFill>
                <a:schemeClr val="bg1"/>
              </a:solidFill>
              <a:ln w="88900" cap="flat" cmpd="sng" algn="ctr">
                <a:solidFill>
                  <a:srgbClr val="ADD9FD"/>
                </a:solidFill>
                <a:prstDash val="solid"/>
                <a:round/>
                <a:headEnd type="none" w="med" len="med"/>
                <a:tailEnd type="none" w="med" len="med"/>
              </a:ln>
              <a:effectLst/>
            </p:spPr>
          </p:cxnSp>
          <p:sp>
            <p:nvSpPr>
              <p:cNvPr id="108" name="TextBox 107">
                <a:extLst>
                  <a:ext uri="{FF2B5EF4-FFF2-40B4-BE49-F238E27FC236}">
                    <a16:creationId xmlns:a16="http://schemas.microsoft.com/office/drawing/2014/main" id="{CDBBA658-27F9-4347-8A97-6421F8ED8014}"/>
                  </a:ext>
                </a:extLst>
              </p:cNvPr>
              <p:cNvSpPr txBox="1"/>
              <p:nvPr/>
            </p:nvSpPr>
            <p:spPr>
              <a:xfrm>
                <a:off x="4684645" y="3264305"/>
                <a:ext cx="506173" cy="123111"/>
              </a:xfrm>
              <a:prstGeom prst="rect">
                <a:avLst/>
              </a:prstGeom>
              <a:noFill/>
            </p:spPr>
            <p:txBody>
              <a:bodyPr wrap="square" lIns="0" tIns="0" rIns="0" bIns="0" rtlCol="0">
                <a:spAutoFit/>
              </a:bodyPr>
              <a:lstStyle/>
              <a:p>
                <a:r>
                  <a:rPr lang="en-GB" sz="800">
                    <a:latin typeface="+mj-lt"/>
                  </a:rPr>
                  <a:t>LEI</a:t>
                </a:r>
              </a:p>
            </p:txBody>
          </p:sp>
        </p:grpSp>
      </p:grpSp>
      <p:sp>
        <p:nvSpPr>
          <p:cNvPr id="110" name="Rectangle 109">
            <a:extLst>
              <a:ext uri="{FF2B5EF4-FFF2-40B4-BE49-F238E27FC236}">
                <a16:creationId xmlns:a16="http://schemas.microsoft.com/office/drawing/2014/main" id="{CC5D8E0F-5769-4F5D-AC32-5CE6E1851892}"/>
              </a:ext>
            </a:extLst>
          </p:cNvPr>
          <p:cNvSpPr/>
          <p:nvPr/>
        </p:nvSpPr>
        <p:spPr bwMode="auto">
          <a:xfrm>
            <a:off x="4425340" y="3668884"/>
            <a:ext cx="353424" cy="202314"/>
          </a:xfrm>
          <a:prstGeom prst="rect">
            <a:avLst/>
          </a:prstGeom>
          <a:solidFill>
            <a:schemeClr val="bg1">
              <a:lumMod val="95000"/>
            </a:schemeClr>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11" name="TextBox 110">
            <a:extLst>
              <a:ext uri="{FF2B5EF4-FFF2-40B4-BE49-F238E27FC236}">
                <a16:creationId xmlns:a16="http://schemas.microsoft.com/office/drawing/2014/main" id="{0AFDA080-B837-4755-BE66-604904FD9C99}"/>
              </a:ext>
            </a:extLst>
          </p:cNvPr>
          <p:cNvSpPr txBox="1"/>
          <p:nvPr/>
        </p:nvSpPr>
        <p:spPr>
          <a:xfrm>
            <a:off x="4793379" y="3521925"/>
            <a:ext cx="742239" cy="507831"/>
          </a:xfrm>
          <a:prstGeom prst="rect">
            <a:avLst/>
          </a:prstGeom>
          <a:noFill/>
        </p:spPr>
        <p:txBody>
          <a:bodyPr wrap="square" rtlCol="0">
            <a:spAutoFit/>
          </a:bodyPr>
          <a:lstStyle/>
          <a:p>
            <a:r>
              <a:rPr lang="en-GB" sz="900" i="1">
                <a:latin typeface="Trebuchet MS" panose="020B0603020202020204" pitchFamily="34" charset="0"/>
              </a:rPr>
              <a:t>Non-recurring products</a:t>
            </a:r>
          </a:p>
        </p:txBody>
      </p:sp>
      <p:sp>
        <p:nvSpPr>
          <p:cNvPr id="8" name="Speech Bubble: Rectangle 7">
            <a:extLst>
              <a:ext uri="{FF2B5EF4-FFF2-40B4-BE49-F238E27FC236}">
                <a16:creationId xmlns:a16="http://schemas.microsoft.com/office/drawing/2014/main" id="{53FB619D-0F4A-48B2-A015-9406AFBA5E42}"/>
              </a:ext>
            </a:extLst>
          </p:cNvPr>
          <p:cNvSpPr/>
          <p:nvPr/>
        </p:nvSpPr>
        <p:spPr bwMode="auto">
          <a:xfrm>
            <a:off x="1575303" y="1493243"/>
            <a:ext cx="1294362" cy="686174"/>
          </a:xfrm>
          <a:prstGeom prst="wedgeRectCallout">
            <a:avLst>
              <a:gd name="adj1" fmla="val 1452"/>
              <a:gd name="adj2" fmla="val 153539"/>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High amount of compliances files due to the one-off CDC contract</a:t>
            </a:r>
          </a:p>
        </p:txBody>
      </p:sp>
      <p:pic>
        <p:nvPicPr>
          <p:cNvPr id="73" name="Picture 2" descr="Drapeau France">
            <a:extLst>
              <a:ext uri="{FF2B5EF4-FFF2-40B4-BE49-F238E27FC236}">
                <a16:creationId xmlns:a16="http://schemas.microsoft.com/office/drawing/2014/main" id="{4F4A6883-AF5B-4E1A-AE68-9C60AA2EBCF5}"/>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336461" y="1006117"/>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74" name="Picture 2" descr="5 ft x 3 ft 150 x 90 cm-DRAPEAU BELGE Belgique 100% Polyester ...">
            <a:extLst>
              <a:ext uri="{FF2B5EF4-FFF2-40B4-BE49-F238E27FC236}">
                <a16:creationId xmlns:a16="http://schemas.microsoft.com/office/drawing/2014/main" id="{C1E1E117-27C6-4BF9-9002-44BEBF9AA11E}"/>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5808970" y="1006117"/>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75" name="Picture 2 - 1" descr="Drapeau des Pays-Bas — Wikipédia">
            <a:extLst>
              <a:ext uri="{FF2B5EF4-FFF2-40B4-BE49-F238E27FC236}">
                <a16:creationId xmlns:a16="http://schemas.microsoft.com/office/drawing/2014/main" id="{E9A7158D-74FC-4656-B741-836092A690F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602647" y="1006117"/>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6" name="Picture 2 - 2" descr="Drapeau du Luxembourg">
            <a:extLst>
              <a:ext uri="{FF2B5EF4-FFF2-40B4-BE49-F238E27FC236}">
                <a16:creationId xmlns:a16="http://schemas.microsoft.com/office/drawing/2014/main" id="{2A0A7425-9297-401E-88B0-87B02669A22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015293" y="1006117"/>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77" name="TextBox 60">
            <a:extLst>
              <a:ext uri="{FF2B5EF4-FFF2-40B4-BE49-F238E27FC236}">
                <a16:creationId xmlns:a16="http://schemas.microsoft.com/office/drawing/2014/main" id="{A6F9909A-6F0E-43DC-806F-8DC6EC6E91A2}"/>
              </a:ext>
            </a:extLst>
          </p:cNvPr>
          <p:cNvSpPr txBox="1"/>
          <p:nvPr/>
        </p:nvSpPr>
        <p:spPr>
          <a:xfrm>
            <a:off x="4793379" y="3116969"/>
            <a:ext cx="742239" cy="369332"/>
          </a:xfrm>
          <a:prstGeom prst="rect">
            <a:avLst/>
          </a:prstGeom>
          <a:noFill/>
        </p:spPr>
        <p:txBody>
          <a:bodyPr wrap="square" rtlCol="0">
            <a:spAutoFit/>
          </a:bodyPr>
          <a:lstStyle/>
          <a:p>
            <a:r>
              <a:rPr lang="en-GB" sz="900" i="1">
                <a:latin typeface="Trebuchet MS" panose="020B0603020202020204" pitchFamily="34" charset="0"/>
              </a:rPr>
              <a:t>Recurring products</a:t>
            </a:r>
          </a:p>
        </p:txBody>
      </p:sp>
      <p:sp>
        <p:nvSpPr>
          <p:cNvPr id="78" name="Rectangle 77">
            <a:extLst>
              <a:ext uri="{FF2B5EF4-FFF2-40B4-BE49-F238E27FC236}">
                <a16:creationId xmlns:a16="http://schemas.microsoft.com/office/drawing/2014/main" id="{697155C0-992A-4CC4-8585-36298359035D}"/>
              </a:ext>
            </a:extLst>
          </p:cNvPr>
          <p:cNvSpPr/>
          <p:nvPr/>
        </p:nvSpPr>
        <p:spPr bwMode="auto">
          <a:xfrm>
            <a:off x="4425340" y="3212891"/>
            <a:ext cx="329894" cy="195876"/>
          </a:xfrm>
          <a:prstGeom prst="rect">
            <a:avLst/>
          </a:prstGeom>
          <a:solidFill>
            <a:schemeClr val="bg2">
              <a:lumMod val="20000"/>
              <a:lumOff val="80000"/>
            </a:schemeClr>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Tree>
    <p:extLst>
      <p:ext uri="{BB962C8B-B14F-4D97-AF65-F5344CB8AC3E}">
        <p14:creationId xmlns:p14="http://schemas.microsoft.com/office/powerpoint/2010/main" val="2075179110"/>
      </p:ext>
    </p:extLst>
  </p:cSld>
  <p:clrMapOvr>
    <a:masterClrMapping/>
  </p:clrMapOv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AAA3A35-C6B3-4EE6-9406-A3DBC2CB7256}"/>
              </a:ext>
            </a:extLst>
          </p:cNvPr>
          <p:cNvGraphicFramePr>
            <a:graphicFrameLocks noChangeAspect="1"/>
          </p:cNvGraphicFramePr>
          <p:nvPr>
            <p:custDataLst>
              <p:tags r:id="rId1"/>
            </p:custDataLst>
            <p:extLst>
              <p:ext uri="{D42A27DB-BD31-4B8C-83A1-F6EECF244321}">
                <p14:modId xmlns:p14="http://schemas.microsoft.com/office/powerpoint/2010/main" val="4209899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Objet 4" hidden="1">
                        <a:extLst>
                          <a:ext uri="{FF2B5EF4-FFF2-40B4-BE49-F238E27FC236}">
                            <a16:creationId xmlns:a16="http://schemas.microsoft.com/office/drawing/2014/main" id="{EAAA3A35-C6B3-4EE6-9406-A3DBC2CB72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DA14E9-D9F6-4D44-A466-BF298653DD7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4" name="Rectangle 13">
            <a:extLst>
              <a:ext uri="{FF2B5EF4-FFF2-40B4-BE49-F238E27FC236}">
                <a16:creationId xmlns:a16="http://schemas.microsoft.com/office/drawing/2014/main" id="{92FC6C6C-155F-4C1A-890E-114863D14568}"/>
              </a:ext>
            </a:extLst>
          </p:cNvPr>
          <p:cNvSpPr/>
          <p:nvPr/>
        </p:nvSpPr>
        <p:spPr bwMode="auto">
          <a:xfrm>
            <a:off x="227901" y="914401"/>
            <a:ext cx="9450199" cy="551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8" name="Rectangle 117">
            <a:extLst>
              <a:ext uri="{FF2B5EF4-FFF2-40B4-BE49-F238E27FC236}">
                <a16:creationId xmlns:a16="http://schemas.microsoft.com/office/drawing/2014/main" id="{A9EA9FDD-69FA-4F76-A3EE-9A711810EF9A}"/>
              </a:ext>
            </a:extLst>
          </p:cNvPr>
          <p:cNvSpPr/>
          <p:nvPr/>
        </p:nvSpPr>
        <p:spPr bwMode="auto">
          <a:xfrm>
            <a:off x="4355513" y="1329267"/>
            <a:ext cx="1166400" cy="262323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3" name="Espace réservé du texte 2">
            <a:extLst>
              <a:ext uri="{FF2B5EF4-FFF2-40B4-BE49-F238E27FC236}">
                <a16:creationId xmlns:a16="http://schemas.microsoft.com/office/drawing/2014/main" id="{30953E26-7813-417B-AC0B-7AC74C77D79F}"/>
              </a:ext>
            </a:extLst>
          </p:cNvPr>
          <p:cNvSpPr>
            <a:spLocks noGrp="1"/>
          </p:cNvSpPr>
          <p:nvPr>
            <p:ph type="body" sz="quarter" idx="10"/>
          </p:nvPr>
        </p:nvSpPr>
        <p:spPr/>
        <p:txBody>
          <a:bodyPr/>
          <a:lstStyle/>
          <a:p>
            <a:r>
              <a:rPr lang="en-GB"/>
              <a:t>Sources: eleven research &amp; analysis, company data, interviews with management</a:t>
            </a:r>
          </a:p>
        </p:txBody>
      </p:sp>
      <p:sp>
        <p:nvSpPr>
          <p:cNvPr id="16" name="Rectangle 15">
            <a:extLst>
              <a:ext uri="{FF2B5EF4-FFF2-40B4-BE49-F238E27FC236}">
                <a16:creationId xmlns:a16="http://schemas.microsoft.com/office/drawing/2014/main" id="{EACE795C-C806-425F-8AA4-8EFA6F2CB1B5}"/>
              </a:ext>
            </a:extLst>
          </p:cNvPr>
          <p:cNvSpPr/>
          <p:nvPr/>
        </p:nvSpPr>
        <p:spPr bwMode="auto">
          <a:xfrm>
            <a:off x="5602647" y="4717986"/>
            <a:ext cx="3966891" cy="1601775"/>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dirty="0">
                <a:latin typeface="Trebuchet MS" pitchFamily="34" charset="0"/>
              </a:rPr>
              <a:t>Comments</a:t>
            </a:r>
          </a:p>
          <a:p>
            <a:pPr marL="171450" indent="-171450">
              <a:spcBef>
                <a:spcPts val="600"/>
              </a:spcBef>
              <a:buClr>
                <a:schemeClr val="tx1"/>
              </a:buClr>
              <a:buFont typeface="Arial" panose="020B0604020202020204" pitchFamily="34" charset="0"/>
              <a:buChar char="•"/>
            </a:pPr>
            <a:r>
              <a:rPr lang="en-GB" sz="1000" dirty="0">
                <a:solidFill>
                  <a:schemeClr val="tx2"/>
                </a:solidFill>
                <a:latin typeface="Trebuchet MS" pitchFamily="34" charset="0"/>
              </a:rPr>
              <a:t>Point Risk </a:t>
            </a:r>
            <a:r>
              <a:rPr lang="en-GB" sz="1000" dirty="0">
                <a:latin typeface="Trebuchet MS" pitchFamily="34" charset="0"/>
              </a:rPr>
              <a:t>has been migrated towards </a:t>
            </a:r>
            <a:r>
              <a:rPr lang="en-GB" sz="1000" dirty="0">
                <a:solidFill>
                  <a:schemeClr val="tx2"/>
                </a:solidFill>
                <a:latin typeface="Trebuchet MS" pitchFamily="34" charset="0"/>
              </a:rPr>
              <a:t>Hoovers and SMART</a:t>
            </a:r>
          </a:p>
          <a:p>
            <a:pPr marL="171450" indent="-171450">
              <a:spcBef>
                <a:spcPts val="600"/>
              </a:spcBef>
              <a:buClr>
                <a:schemeClr val="tx1"/>
              </a:buClr>
              <a:buFont typeface="Arial" panose="020B0604020202020204" pitchFamily="34" charset="0"/>
              <a:buChar char="•"/>
            </a:pPr>
            <a:r>
              <a:rPr lang="en-GB" sz="1000" dirty="0">
                <a:latin typeface="Trebuchet MS" pitchFamily="34" charset="0"/>
              </a:rPr>
              <a:t>Transversal B2B marketing solutions are switching from </a:t>
            </a:r>
            <a:r>
              <a:rPr lang="en-GB" sz="1000" dirty="0">
                <a:solidFill>
                  <a:schemeClr val="tx2"/>
                </a:solidFill>
                <a:latin typeface="Trebuchet MS" pitchFamily="34" charset="0"/>
              </a:rPr>
              <a:t>one-off contracts </a:t>
            </a:r>
            <a:r>
              <a:rPr lang="en-GB" sz="1000" dirty="0">
                <a:latin typeface="Trebuchet MS" pitchFamily="34" charset="0"/>
              </a:rPr>
              <a:t>to </a:t>
            </a:r>
            <a:r>
              <a:rPr lang="en-GB" sz="1000" dirty="0">
                <a:solidFill>
                  <a:schemeClr val="tx2"/>
                </a:solidFill>
                <a:latin typeface="Trebuchet MS" pitchFamily="34" charset="0"/>
              </a:rPr>
              <a:t>connector</a:t>
            </a:r>
            <a:r>
              <a:rPr lang="en-GB" sz="1000" dirty="0">
                <a:latin typeface="Trebuchet MS" pitchFamily="34" charset="0"/>
              </a:rPr>
              <a:t> integration ensuring revenue sustainability</a:t>
            </a:r>
          </a:p>
          <a:p>
            <a:pPr marL="171450" indent="-171450">
              <a:spcBef>
                <a:spcPts val="600"/>
              </a:spcBef>
              <a:buClr>
                <a:schemeClr val="tx1"/>
              </a:buClr>
              <a:buFont typeface="Arial" panose="020B0604020202020204" pitchFamily="34" charset="0"/>
              <a:buChar char="•"/>
            </a:pPr>
            <a:r>
              <a:rPr lang="en-GB" sz="1000" dirty="0" err="1">
                <a:solidFill>
                  <a:schemeClr val="tx2"/>
                </a:solidFill>
                <a:latin typeface="Trebuchet MS" pitchFamily="34" charset="0"/>
              </a:rPr>
              <a:t>mLead</a:t>
            </a:r>
            <a:r>
              <a:rPr lang="en-GB" sz="1000" dirty="0">
                <a:latin typeface="Trebuchet MS" pitchFamily="34" charset="0"/>
              </a:rPr>
              <a:t> and </a:t>
            </a:r>
            <a:r>
              <a:rPr lang="en-GB" sz="1000" dirty="0" err="1">
                <a:solidFill>
                  <a:schemeClr val="tx2"/>
                </a:solidFill>
                <a:latin typeface="Trebuchet MS" pitchFamily="34" charset="0"/>
              </a:rPr>
              <a:t>mList</a:t>
            </a:r>
            <a:r>
              <a:rPr lang="en-GB" sz="1000" dirty="0">
                <a:latin typeface="Trebuchet MS" pitchFamily="34" charset="0"/>
              </a:rPr>
              <a:t> are </a:t>
            </a:r>
            <a:r>
              <a:rPr lang="en-GB" sz="1000" dirty="0">
                <a:solidFill>
                  <a:schemeClr val="tx2"/>
                </a:solidFill>
                <a:latin typeface="Trebuchet MS" pitchFamily="34" charset="0"/>
              </a:rPr>
              <a:t>being merged</a:t>
            </a:r>
          </a:p>
          <a:p>
            <a:pPr>
              <a:spcBef>
                <a:spcPts val="600"/>
              </a:spcBef>
              <a:buClr>
                <a:schemeClr val="tx1"/>
              </a:buClr>
            </a:pPr>
            <a:r>
              <a:rPr lang="en-GB" sz="1000" i="1" dirty="0">
                <a:solidFill>
                  <a:schemeClr val="accent1"/>
                </a:solidFill>
                <a:latin typeface="Trebuchet MS" pitchFamily="34" charset="0"/>
              </a:rPr>
              <a:t>*See supra page 75 for detail on transversal products</a:t>
            </a:r>
          </a:p>
          <a:p>
            <a:pPr>
              <a:spcBef>
                <a:spcPts val="600"/>
              </a:spcBef>
              <a:buClr>
                <a:schemeClr val="tx1"/>
              </a:buClr>
            </a:pPr>
            <a:endParaRPr lang="en-GB" sz="1000" dirty="0">
              <a:latin typeface="Trebuchet MS" pitchFamily="34" charset="0"/>
            </a:endParaRPr>
          </a:p>
        </p:txBody>
      </p:sp>
      <p:grpSp>
        <p:nvGrpSpPr>
          <p:cNvPr id="18" name="Group 4">
            <a:extLst>
              <a:ext uri="{FF2B5EF4-FFF2-40B4-BE49-F238E27FC236}">
                <a16:creationId xmlns:a16="http://schemas.microsoft.com/office/drawing/2014/main" id="{60180F31-0B5B-4FD3-810E-B4A5CF9DE2B5}"/>
              </a:ext>
            </a:extLst>
          </p:cNvPr>
          <p:cNvGrpSpPr>
            <a:grpSpLocks noChangeAspect="1"/>
          </p:cNvGrpSpPr>
          <p:nvPr/>
        </p:nvGrpSpPr>
        <p:grpSpPr bwMode="auto">
          <a:xfrm>
            <a:off x="6883204" y="4764832"/>
            <a:ext cx="226868" cy="184867"/>
            <a:chOff x="788" y="869"/>
            <a:chExt cx="740" cy="603"/>
          </a:xfrm>
          <a:solidFill>
            <a:schemeClr val="tx1"/>
          </a:solidFill>
        </p:grpSpPr>
        <p:sp>
          <p:nvSpPr>
            <p:cNvPr id="19" name="Freeform 5">
              <a:extLst>
                <a:ext uri="{FF2B5EF4-FFF2-40B4-BE49-F238E27FC236}">
                  <a16:creationId xmlns:a16="http://schemas.microsoft.com/office/drawing/2014/main" id="{1E5A6A0B-C611-4574-A42C-FC5B912BEDB8}"/>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Rectangle 6">
              <a:extLst>
                <a:ext uri="{FF2B5EF4-FFF2-40B4-BE49-F238E27FC236}">
                  <a16:creationId xmlns:a16="http://schemas.microsoft.com/office/drawing/2014/main" id="{2B045855-D60A-44F7-853B-2AD3EFFF9916}"/>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7">
              <a:extLst>
                <a:ext uri="{FF2B5EF4-FFF2-40B4-BE49-F238E27FC236}">
                  <a16:creationId xmlns:a16="http://schemas.microsoft.com/office/drawing/2014/main" id="{2770970A-9962-4B09-8003-0F94CAB261A4}"/>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Rectangle 8">
              <a:extLst>
                <a:ext uri="{FF2B5EF4-FFF2-40B4-BE49-F238E27FC236}">
                  <a16:creationId xmlns:a16="http://schemas.microsoft.com/office/drawing/2014/main" id="{351CE059-D7C3-45A1-AEB5-43B53CC4A74B}"/>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7" name="Rectangle 46">
            <a:extLst>
              <a:ext uri="{FF2B5EF4-FFF2-40B4-BE49-F238E27FC236}">
                <a16:creationId xmlns:a16="http://schemas.microsoft.com/office/drawing/2014/main" id="{C85B0421-5BDB-4848-914A-867C2D466E74}"/>
              </a:ext>
            </a:extLst>
          </p:cNvPr>
          <p:cNvSpPr/>
          <p:nvPr/>
        </p:nvSpPr>
        <p:spPr bwMode="auto">
          <a:xfrm>
            <a:off x="587747" y="948473"/>
            <a:ext cx="3979494" cy="280800"/>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incomes in France for B2B marketing products (</a:t>
            </a:r>
            <a:r>
              <a:rPr lang="en-GB" sz="1000" b="1" i="1" err="1">
                <a:latin typeface="Trebuchet MS" panose="020B0603020202020204" pitchFamily="34" charset="0"/>
              </a:rPr>
              <a:t>Altares</a:t>
            </a:r>
            <a:r>
              <a:rPr lang="en-GB" sz="1000" b="1" i="1">
                <a:latin typeface="Trebuchet MS" panose="020B0603020202020204" pitchFamily="34" charset="0"/>
              </a:rPr>
              <a:t>’ product in billings, </a:t>
            </a:r>
            <a:r>
              <a:rPr lang="en-GB" sz="1000" b="1" i="1" err="1">
                <a:latin typeface="Trebuchet MS" panose="020B0603020202020204" pitchFamily="34" charset="0"/>
              </a:rPr>
              <a:t>Manageo’s</a:t>
            </a:r>
            <a:r>
              <a:rPr lang="en-GB" sz="1000" b="1" i="1">
                <a:latin typeface="Trebuchet MS" panose="020B0603020202020204" pitchFamily="34" charset="0"/>
              </a:rPr>
              <a:t> in sales),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7" name="Rectangle : coins arrondis 199">
            <a:extLst>
              <a:ext uri="{FF2B5EF4-FFF2-40B4-BE49-F238E27FC236}">
                <a16:creationId xmlns:a16="http://schemas.microsoft.com/office/drawing/2014/main" id="{BC332233-14DF-4C73-AB17-88C3B9382411}"/>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Rectangle : coins arrondis 200">
            <a:extLst>
              <a:ext uri="{FF2B5EF4-FFF2-40B4-BE49-F238E27FC236}">
                <a16:creationId xmlns:a16="http://schemas.microsoft.com/office/drawing/2014/main" id="{DD62F214-64DE-4187-B2E0-D1194D3A3DC8}"/>
              </a:ext>
            </a:extLst>
          </p:cNvPr>
          <p:cNvSpPr/>
          <p:nvPr/>
        </p:nvSpPr>
        <p:spPr bwMode="auto">
          <a:xfrm>
            <a:off x="8923225" y="196035"/>
            <a:ext cx="335598" cy="212138"/>
          </a:xfrm>
          <a:prstGeom prst="roundRect">
            <a:avLst/>
          </a:prstGeom>
          <a:solidFill>
            <a:srgbClr val="D9D9D9"/>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9" name="Rectangle : coins arrondis 201">
            <a:extLst>
              <a:ext uri="{FF2B5EF4-FFF2-40B4-BE49-F238E27FC236}">
                <a16:creationId xmlns:a16="http://schemas.microsoft.com/office/drawing/2014/main" id="{C3A976AD-14C4-4ABE-A934-7E27BBE85C1C}"/>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6" name="ZoneTexte 18">
            <a:extLst>
              <a:ext uri="{FF2B5EF4-FFF2-40B4-BE49-F238E27FC236}">
                <a16:creationId xmlns:a16="http://schemas.microsoft.com/office/drawing/2014/main" id="{9FB5FA0A-66DB-4991-8669-D703061FDE44}"/>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offer</a:t>
            </a:r>
          </a:p>
        </p:txBody>
      </p:sp>
      <p:pic>
        <p:nvPicPr>
          <p:cNvPr id="49" name="Graphique 128" descr="Jauge">
            <a:extLst>
              <a:ext uri="{FF2B5EF4-FFF2-40B4-BE49-F238E27FC236}">
                <a16:creationId xmlns:a16="http://schemas.microsoft.com/office/drawing/2014/main" id="{7DA24090-1963-45FE-A4B2-528485027E5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50" name="Graphique 90" descr="Poignée de main">
            <a:extLst>
              <a:ext uri="{FF2B5EF4-FFF2-40B4-BE49-F238E27FC236}">
                <a16:creationId xmlns:a16="http://schemas.microsoft.com/office/drawing/2014/main" id="{10B3DF77-4263-42D4-B525-91A3C7E05B3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51" name="Graphique 74" descr="Mégaphone">
            <a:extLst>
              <a:ext uri="{FF2B5EF4-FFF2-40B4-BE49-F238E27FC236}">
                <a16:creationId xmlns:a16="http://schemas.microsoft.com/office/drawing/2014/main" id="{398D8ED9-C5E8-48D7-AEF3-A48C00E52EC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52" name="Picture 2" descr="Drapeau France">
            <a:extLst>
              <a:ext uri="{FF2B5EF4-FFF2-40B4-BE49-F238E27FC236}">
                <a16:creationId xmlns:a16="http://schemas.microsoft.com/office/drawing/2014/main" id="{CBB9C241-D669-483B-A3FF-0B8C9E58BD1E}"/>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3" name="Picture 2" descr="5 ft x 3 ft 150 x 90 cm-DRAPEAU BELGE Belgique 100% Polyester ...">
            <a:extLst>
              <a:ext uri="{FF2B5EF4-FFF2-40B4-BE49-F238E27FC236}">
                <a16:creationId xmlns:a16="http://schemas.microsoft.com/office/drawing/2014/main" id="{EF70B876-7006-481B-892C-D06722D595C9}"/>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4" name="Picture 2 - 1" descr="Drapeau des Pays-Bas — Wikipédia">
            <a:extLst>
              <a:ext uri="{FF2B5EF4-FFF2-40B4-BE49-F238E27FC236}">
                <a16:creationId xmlns:a16="http://schemas.microsoft.com/office/drawing/2014/main" id="{9D54CB9F-4432-4D7E-93C7-5F22510243B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5" name="Picture 2 - 2" descr="Drapeau du Luxembourg">
            <a:extLst>
              <a:ext uri="{FF2B5EF4-FFF2-40B4-BE49-F238E27FC236}">
                <a16:creationId xmlns:a16="http://schemas.microsoft.com/office/drawing/2014/main" id="{3670457D-A209-4646-9548-17C9C0DE44A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6" name="ZoneTexte 55">
            <a:extLst>
              <a:ext uri="{FF2B5EF4-FFF2-40B4-BE49-F238E27FC236}">
                <a16:creationId xmlns:a16="http://schemas.microsoft.com/office/drawing/2014/main" id="{47F1C37A-47CF-4B73-B59D-BF4C343FCB28}"/>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Product dynamics</a:t>
            </a:r>
          </a:p>
          <a:p>
            <a:pPr algn="ctr"/>
            <a:endParaRPr lang="en-GB" sz="800" i="1">
              <a:latin typeface="Trebuchet MS" panose="020B0603020202020204" pitchFamily="34" charset="0"/>
            </a:endParaRPr>
          </a:p>
        </p:txBody>
      </p:sp>
      <p:sp>
        <p:nvSpPr>
          <p:cNvPr id="33" name="Rectangle 32">
            <a:extLst>
              <a:ext uri="{FF2B5EF4-FFF2-40B4-BE49-F238E27FC236}">
                <a16:creationId xmlns:a16="http://schemas.microsoft.com/office/drawing/2014/main" id="{A1FDEDE9-E5E2-4EBC-A5B8-4EEF0C822E21}"/>
              </a:ext>
            </a:extLst>
          </p:cNvPr>
          <p:cNvSpPr/>
          <p:nvPr/>
        </p:nvSpPr>
        <p:spPr bwMode="auto">
          <a:xfrm>
            <a:off x="6222446" y="948473"/>
            <a:ext cx="3420422" cy="280800"/>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bookings in Benelux for B2B marketing products,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83" name="Bulle narrative : rectangle 3">
            <a:extLst>
              <a:ext uri="{FF2B5EF4-FFF2-40B4-BE49-F238E27FC236}">
                <a16:creationId xmlns:a16="http://schemas.microsoft.com/office/drawing/2014/main" id="{09711A59-19BF-4193-B3D8-CF704E6665A4}"/>
              </a:ext>
            </a:extLst>
          </p:cNvPr>
          <p:cNvSpPr/>
          <p:nvPr/>
        </p:nvSpPr>
        <p:spPr bwMode="auto">
          <a:xfrm>
            <a:off x="336461" y="4717986"/>
            <a:ext cx="3978716" cy="1603577"/>
          </a:xfrm>
          <a:prstGeom prst="rect">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1200"/>
              </a:spcAft>
              <a:buClrTx/>
              <a:buSzTx/>
              <a:buFontTx/>
              <a:buNone/>
              <a:tabLst/>
            </a:pPr>
            <a:r>
              <a:rPr kumimoji="0" lang="en-GB" sz="1000" b="0" i="0" u="none" strike="noStrike" cap="none" normalizeH="0" baseline="0">
                <a:ln>
                  <a:noFill/>
                </a:ln>
                <a:effectLst/>
                <a:latin typeface="Trebuchet MS" panose="020B0603020202020204" pitchFamily="34" charset="0"/>
              </a:rPr>
              <a:t>Readin</a:t>
            </a:r>
            <a:r>
              <a:rPr lang="en-GB" sz="1000">
                <a:latin typeface="Trebuchet MS" panose="020B0603020202020204" pitchFamily="34" charset="0"/>
              </a:rPr>
              <a:t>g insights</a:t>
            </a:r>
            <a:endParaRPr kumimoji="0" lang="en-GB" sz="1000" b="0" i="0" u="none" strike="noStrike" cap="none" normalizeH="0" baseline="0">
              <a:ln>
                <a:noFill/>
              </a:ln>
              <a:solidFill>
                <a:schemeClr val="bg1">
                  <a:lumMod val="65000"/>
                </a:schemeClr>
              </a:solidFill>
              <a:effectLst/>
              <a:latin typeface="Trebuchet MS" panose="020B0603020202020204" pitchFamily="34" charset="0"/>
            </a:endParaRP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kumimoji="0" lang="en-GB" sz="1000" b="0" i="0" u="none" strike="noStrike" cap="none" normalizeH="0" baseline="0">
                <a:ln>
                  <a:noFill/>
                </a:ln>
                <a:effectLst/>
                <a:latin typeface="Trebuchet MS" panose="020B0603020202020204" pitchFamily="34" charset="0"/>
              </a:rPr>
              <a:t>Transversal products, that </a:t>
            </a:r>
            <a:r>
              <a:rPr kumimoji="0" lang="en-GB" sz="1000" b="0" i="0" u="none" strike="noStrike" cap="none" normalizeH="0" baseline="0">
                <a:ln>
                  <a:noFill/>
                </a:ln>
                <a:solidFill>
                  <a:schemeClr val="tx2"/>
                </a:solidFill>
                <a:effectLst/>
                <a:latin typeface="Trebuchet MS" panose="020B0603020202020204" pitchFamily="34" charset="0"/>
              </a:rPr>
              <a:t>address the three lines of business</a:t>
            </a:r>
            <a:r>
              <a:rPr kumimoji="0" lang="en-GB" sz="1000" b="0" i="0" u="none" strike="noStrike" cap="none" normalizeH="0" baseline="0">
                <a:ln>
                  <a:noFill/>
                </a:ln>
                <a:effectLst/>
                <a:latin typeface="Trebuchet MS" panose="020B0603020202020204" pitchFamily="34" charset="0"/>
              </a:rPr>
              <a:t>, are merged into a virtual category that represe</a:t>
            </a:r>
            <a:r>
              <a:rPr lang="en-GB" sz="1000">
                <a:latin typeface="Trebuchet MS" panose="020B0603020202020204" pitchFamily="34" charset="0"/>
              </a:rPr>
              <a:t>nts all the </a:t>
            </a:r>
            <a:r>
              <a:rPr lang="en-GB" sz="1000">
                <a:solidFill>
                  <a:schemeClr val="tx2"/>
                </a:solidFill>
                <a:latin typeface="Trebuchet MS" panose="020B0603020202020204" pitchFamily="34" charset="0"/>
              </a:rPr>
              <a:t>transversal sales related to B2B marketing</a:t>
            </a:r>
            <a:endParaRPr kumimoji="0" lang="en-GB" sz="1000" u="none" strike="noStrike" cap="none" normalizeH="0" baseline="0">
              <a:ln>
                <a:noFill/>
              </a:ln>
              <a:solidFill>
                <a:schemeClr val="tx2"/>
              </a:solidFill>
              <a:effectLst/>
              <a:latin typeface="Trebuchet MS" panose="020B0603020202020204" pitchFamily="34" charset="0"/>
            </a:endParaRP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lang="en-GB" sz="1000">
                <a:latin typeface="Trebuchet MS" panose="020B0603020202020204" pitchFamily="34" charset="0"/>
              </a:rPr>
              <a:t>Some products exhibited in this slide are </a:t>
            </a:r>
            <a:r>
              <a:rPr lang="en-GB" sz="1000">
                <a:solidFill>
                  <a:schemeClr val="tx2"/>
                </a:solidFill>
                <a:latin typeface="Trebuchet MS" panose="020B0603020202020204" pitchFamily="34" charset="0"/>
              </a:rPr>
              <a:t>not present in the offer presentation </a:t>
            </a:r>
            <a:r>
              <a:rPr lang="en-GB" sz="1000">
                <a:latin typeface="Trebuchet MS" panose="020B0603020202020204" pitchFamily="34" charset="0"/>
              </a:rPr>
              <a:t>cause are </a:t>
            </a:r>
            <a:r>
              <a:rPr lang="en-GB" sz="1000">
                <a:solidFill>
                  <a:schemeClr val="tx2"/>
                </a:solidFill>
                <a:latin typeface="Trebuchet MS" panose="020B0603020202020204" pitchFamily="34" charset="0"/>
              </a:rPr>
              <a:t>no longer in the roadmap</a:t>
            </a:r>
            <a:endParaRPr kumimoji="0" lang="en-GB" sz="1000" b="0" i="0" u="none" strike="noStrike" cap="none" normalizeH="0" baseline="0">
              <a:ln>
                <a:noFill/>
              </a:ln>
              <a:solidFill>
                <a:schemeClr val="tx2"/>
              </a:solidFill>
              <a:effectLst/>
              <a:latin typeface="Trebuchet MS" panose="020B0603020202020204" pitchFamily="34" charset="0"/>
            </a:endParaRPr>
          </a:p>
        </p:txBody>
      </p:sp>
      <p:pic>
        <p:nvPicPr>
          <p:cNvPr id="84" name="Graphic 83" descr="Lights On">
            <a:extLst>
              <a:ext uri="{FF2B5EF4-FFF2-40B4-BE49-F238E27FC236}">
                <a16:creationId xmlns:a16="http://schemas.microsoft.com/office/drawing/2014/main" id="{7E4D4335-0C3B-4325-A934-11835CB615B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83355" y="4765951"/>
            <a:ext cx="209742" cy="209742"/>
          </a:xfrm>
          <a:prstGeom prst="rect">
            <a:avLst/>
          </a:prstGeom>
        </p:spPr>
      </p:pic>
      <p:graphicFrame>
        <p:nvGraphicFramePr>
          <p:cNvPr id="71" name="Chart 70">
            <a:extLst>
              <a:ext uri="{FF2B5EF4-FFF2-40B4-BE49-F238E27FC236}">
                <a16:creationId xmlns:a16="http://schemas.microsoft.com/office/drawing/2014/main" id="{7A1CB4DF-8092-4BCC-A155-061DA4EA9BA4}"/>
              </a:ext>
            </a:extLst>
          </p:cNvPr>
          <p:cNvGraphicFramePr/>
          <p:nvPr>
            <p:extLst>
              <p:ext uri="{D42A27DB-BD31-4B8C-83A1-F6EECF244321}">
                <p14:modId xmlns:p14="http://schemas.microsoft.com/office/powerpoint/2010/main" val="3527943003"/>
              </p:ext>
            </p:extLst>
          </p:nvPr>
        </p:nvGraphicFramePr>
        <p:xfrm>
          <a:off x="5590046" y="1330992"/>
          <a:ext cx="3998394" cy="3237453"/>
        </p:xfrm>
        <a:graphic>
          <a:graphicData uri="http://schemas.openxmlformats.org/drawingml/2006/chart">
            <c:chart xmlns:c="http://schemas.openxmlformats.org/drawingml/2006/chart" xmlns:r="http://schemas.openxmlformats.org/officeDocument/2006/relationships" r:id="rId18"/>
          </a:graphicData>
        </a:graphic>
      </p:graphicFrame>
      <p:sp>
        <p:nvSpPr>
          <p:cNvPr id="2" name="Rectangle 1">
            <a:extLst>
              <a:ext uri="{FF2B5EF4-FFF2-40B4-BE49-F238E27FC236}">
                <a16:creationId xmlns:a16="http://schemas.microsoft.com/office/drawing/2014/main" id="{AB387DAE-7DC9-49A2-A7FA-8D5E9B1A2704}"/>
              </a:ext>
            </a:extLst>
          </p:cNvPr>
          <p:cNvSpPr/>
          <p:nvPr/>
        </p:nvSpPr>
        <p:spPr bwMode="auto">
          <a:xfrm>
            <a:off x="4419078" y="4237479"/>
            <a:ext cx="357342" cy="202314"/>
          </a:xfrm>
          <a:prstGeom prst="rect">
            <a:avLst/>
          </a:prstGeom>
          <a:pattFill prst="ltDnDiag">
            <a:fgClr>
              <a:schemeClr val="bg1"/>
            </a:fgClr>
            <a:bgClr>
              <a:srgbClr val="6C6C6C"/>
            </a:bgClr>
          </a:patt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0" name="TextBox 69">
            <a:extLst>
              <a:ext uri="{FF2B5EF4-FFF2-40B4-BE49-F238E27FC236}">
                <a16:creationId xmlns:a16="http://schemas.microsoft.com/office/drawing/2014/main" id="{A7155E95-C09C-4921-B36A-61DBD70182D1}"/>
              </a:ext>
            </a:extLst>
          </p:cNvPr>
          <p:cNvSpPr txBox="1"/>
          <p:nvPr/>
        </p:nvSpPr>
        <p:spPr>
          <a:xfrm>
            <a:off x="4761103" y="4013063"/>
            <a:ext cx="842324" cy="784830"/>
          </a:xfrm>
          <a:prstGeom prst="rect">
            <a:avLst/>
          </a:prstGeom>
          <a:noFill/>
        </p:spPr>
        <p:txBody>
          <a:bodyPr wrap="square" rtlCol="0">
            <a:spAutoFit/>
          </a:bodyPr>
          <a:lstStyle/>
          <a:p>
            <a:r>
              <a:rPr lang="en-GB" sz="900" i="1">
                <a:latin typeface="Trebuchet MS" panose="020B0603020202020204" pitchFamily="34" charset="0"/>
              </a:rPr>
              <a:t>Transversal solutions delivered into API / Connector</a:t>
            </a:r>
          </a:p>
        </p:txBody>
      </p:sp>
      <p:pic>
        <p:nvPicPr>
          <p:cNvPr id="69" name="Picture 2" descr="Drapeau France">
            <a:extLst>
              <a:ext uri="{FF2B5EF4-FFF2-40B4-BE49-F238E27FC236}">
                <a16:creationId xmlns:a16="http://schemas.microsoft.com/office/drawing/2014/main" id="{B18B7AEF-D958-4029-BCD3-2CB8391D23C4}"/>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336461" y="1006117"/>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72" name="Picture 2" descr="5 ft x 3 ft 150 x 90 cm-DRAPEAU BELGE Belgique 100% Polyester ...">
            <a:extLst>
              <a:ext uri="{FF2B5EF4-FFF2-40B4-BE49-F238E27FC236}">
                <a16:creationId xmlns:a16="http://schemas.microsoft.com/office/drawing/2014/main" id="{9ED01FE6-2CC6-4E3A-8CAA-CAB0D74280FB}"/>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5808970" y="1006117"/>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73" name="Picture 2 - 1" descr="Drapeau des Pays-Bas — Wikipédia">
            <a:extLst>
              <a:ext uri="{FF2B5EF4-FFF2-40B4-BE49-F238E27FC236}">
                <a16:creationId xmlns:a16="http://schemas.microsoft.com/office/drawing/2014/main" id="{2714B55A-45B0-4AD3-8BD1-FFB5DC3BF13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602647" y="1006117"/>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8" name="Picture 2 - 2" descr="Drapeau du Luxembourg">
            <a:extLst>
              <a:ext uri="{FF2B5EF4-FFF2-40B4-BE49-F238E27FC236}">
                <a16:creationId xmlns:a16="http://schemas.microsoft.com/office/drawing/2014/main" id="{ECC0377F-08AF-4755-9E3C-A7F108E566F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015293" y="1006117"/>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87" name="Rectangle 86">
            <a:extLst>
              <a:ext uri="{FF2B5EF4-FFF2-40B4-BE49-F238E27FC236}">
                <a16:creationId xmlns:a16="http://schemas.microsoft.com/office/drawing/2014/main" id="{3135A921-2813-475E-9841-C4B3846CE2F4}"/>
              </a:ext>
            </a:extLst>
          </p:cNvPr>
          <p:cNvSpPr/>
          <p:nvPr/>
        </p:nvSpPr>
        <p:spPr bwMode="auto">
          <a:xfrm>
            <a:off x="4419078" y="4939620"/>
            <a:ext cx="353424" cy="202314"/>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8" name="TextBox 69">
            <a:extLst>
              <a:ext uri="{FF2B5EF4-FFF2-40B4-BE49-F238E27FC236}">
                <a16:creationId xmlns:a16="http://schemas.microsoft.com/office/drawing/2014/main" id="{FD33D527-5FE9-486F-A08C-C72CC17D8B82}"/>
              </a:ext>
            </a:extLst>
          </p:cNvPr>
          <p:cNvSpPr txBox="1"/>
          <p:nvPr/>
        </p:nvSpPr>
        <p:spPr>
          <a:xfrm>
            <a:off x="4761102" y="4811647"/>
            <a:ext cx="833089" cy="507831"/>
          </a:xfrm>
          <a:prstGeom prst="rect">
            <a:avLst/>
          </a:prstGeom>
          <a:noFill/>
        </p:spPr>
        <p:txBody>
          <a:bodyPr wrap="square" rtlCol="0">
            <a:spAutoFit/>
          </a:bodyPr>
          <a:lstStyle/>
          <a:p>
            <a:r>
              <a:rPr lang="en-GB" sz="900" i="1">
                <a:latin typeface="Trebuchet MS" panose="020B0603020202020204" pitchFamily="34" charset="0"/>
              </a:rPr>
              <a:t>Transversal one-off solutions</a:t>
            </a:r>
          </a:p>
        </p:txBody>
      </p:sp>
      <p:graphicFrame>
        <p:nvGraphicFramePr>
          <p:cNvPr id="28" name="Chart 27">
            <a:extLst>
              <a:ext uri="{FF2B5EF4-FFF2-40B4-BE49-F238E27FC236}">
                <a16:creationId xmlns:a16="http://schemas.microsoft.com/office/drawing/2014/main" id="{22FD1987-B3A4-4D58-9A6A-1598091B84AA}"/>
              </a:ext>
            </a:extLst>
          </p:cNvPr>
          <p:cNvGraphicFramePr/>
          <p:nvPr>
            <p:extLst>
              <p:ext uri="{D42A27DB-BD31-4B8C-83A1-F6EECF244321}">
                <p14:modId xmlns:p14="http://schemas.microsoft.com/office/powerpoint/2010/main" val="836999367"/>
              </p:ext>
            </p:extLst>
          </p:nvPr>
        </p:nvGraphicFramePr>
        <p:xfrm>
          <a:off x="317562" y="1330992"/>
          <a:ext cx="3998394" cy="3237453"/>
        </p:xfrm>
        <a:graphic>
          <a:graphicData uri="http://schemas.openxmlformats.org/drawingml/2006/chart">
            <c:chart xmlns:c="http://schemas.openxmlformats.org/drawingml/2006/chart" xmlns:r="http://schemas.openxmlformats.org/officeDocument/2006/relationships" r:id="rId19"/>
          </a:graphicData>
        </a:graphic>
      </p:graphicFrame>
      <p:grpSp>
        <p:nvGrpSpPr>
          <p:cNvPr id="119" name="Group 118">
            <a:extLst>
              <a:ext uri="{FF2B5EF4-FFF2-40B4-BE49-F238E27FC236}">
                <a16:creationId xmlns:a16="http://schemas.microsoft.com/office/drawing/2014/main" id="{80D4C045-E3FF-48DD-9E62-AC3E7069A32B}"/>
              </a:ext>
            </a:extLst>
          </p:cNvPr>
          <p:cNvGrpSpPr/>
          <p:nvPr/>
        </p:nvGrpSpPr>
        <p:grpSpPr>
          <a:xfrm>
            <a:off x="4457020" y="2304386"/>
            <a:ext cx="782419" cy="123111"/>
            <a:chOff x="4457846" y="3162711"/>
            <a:chExt cx="782419" cy="123111"/>
          </a:xfrm>
        </p:grpSpPr>
        <p:cxnSp>
          <p:nvCxnSpPr>
            <p:cNvPr id="141" name="Straight Connector 140">
              <a:extLst>
                <a:ext uri="{FF2B5EF4-FFF2-40B4-BE49-F238E27FC236}">
                  <a16:creationId xmlns:a16="http://schemas.microsoft.com/office/drawing/2014/main" id="{04A16EDB-1B8F-46AD-A43D-F47C3724892A}"/>
                </a:ext>
              </a:extLst>
            </p:cNvPr>
            <p:cNvCxnSpPr>
              <a:cxnSpLocks/>
            </p:cNvCxnSpPr>
            <p:nvPr/>
          </p:nvCxnSpPr>
          <p:spPr bwMode="auto">
            <a:xfrm>
              <a:off x="4457846" y="3224266"/>
              <a:ext cx="207891" cy="0"/>
            </a:xfrm>
            <a:prstGeom prst="line">
              <a:avLst/>
            </a:prstGeom>
            <a:solidFill>
              <a:schemeClr val="bg1"/>
            </a:solidFill>
            <a:ln w="88900" cap="flat" cmpd="sng" algn="ctr">
              <a:solidFill>
                <a:srgbClr val="00A3E2"/>
              </a:solidFill>
              <a:prstDash val="solid"/>
              <a:round/>
              <a:headEnd type="none" w="med" len="med"/>
              <a:tailEnd type="none" w="med" len="med"/>
            </a:ln>
            <a:effectLst/>
          </p:spPr>
        </p:cxnSp>
        <p:sp>
          <p:nvSpPr>
            <p:cNvPr id="142" name="TextBox 141">
              <a:extLst>
                <a:ext uri="{FF2B5EF4-FFF2-40B4-BE49-F238E27FC236}">
                  <a16:creationId xmlns:a16="http://schemas.microsoft.com/office/drawing/2014/main" id="{049644E9-DD13-49D9-BA1C-546C08F21883}"/>
                </a:ext>
              </a:extLst>
            </p:cNvPr>
            <p:cNvSpPr txBox="1"/>
            <p:nvPr/>
          </p:nvSpPr>
          <p:spPr>
            <a:xfrm>
              <a:off x="4684645" y="3162711"/>
              <a:ext cx="555620" cy="123111"/>
            </a:xfrm>
            <a:prstGeom prst="rect">
              <a:avLst/>
            </a:prstGeom>
            <a:noFill/>
          </p:spPr>
          <p:txBody>
            <a:bodyPr wrap="square" lIns="0" tIns="0" rIns="0" bIns="0" rtlCol="0">
              <a:spAutoFit/>
            </a:bodyPr>
            <a:lstStyle/>
            <a:p>
              <a:r>
                <a:rPr lang="en-GB" sz="800">
                  <a:latin typeface="+mj-lt"/>
                </a:rPr>
                <a:t>GRS</a:t>
              </a:r>
            </a:p>
          </p:txBody>
        </p:sp>
      </p:grpSp>
      <p:grpSp>
        <p:nvGrpSpPr>
          <p:cNvPr id="120" name="Group 119">
            <a:extLst>
              <a:ext uri="{FF2B5EF4-FFF2-40B4-BE49-F238E27FC236}">
                <a16:creationId xmlns:a16="http://schemas.microsoft.com/office/drawing/2014/main" id="{C9F42869-B5BA-4875-A29C-B746E9C27B53}"/>
              </a:ext>
            </a:extLst>
          </p:cNvPr>
          <p:cNvGrpSpPr/>
          <p:nvPr/>
        </p:nvGrpSpPr>
        <p:grpSpPr>
          <a:xfrm>
            <a:off x="4457020" y="2080694"/>
            <a:ext cx="966983" cy="123111"/>
            <a:chOff x="4457846" y="3359618"/>
            <a:chExt cx="966983" cy="123111"/>
          </a:xfrm>
        </p:grpSpPr>
        <p:cxnSp>
          <p:nvCxnSpPr>
            <p:cNvPr id="139" name="Straight Connector 138">
              <a:extLst>
                <a:ext uri="{FF2B5EF4-FFF2-40B4-BE49-F238E27FC236}">
                  <a16:creationId xmlns:a16="http://schemas.microsoft.com/office/drawing/2014/main" id="{25246646-F546-42FF-A8C2-E355CF3D9F96}"/>
                </a:ext>
              </a:extLst>
            </p:cNvPr>
            <p:cNvCxnSpPr>
              <a:cxnSpLocks/>
            </p:cNvCxnSpPr>
            <p:nvPr/>
          </p:nvCxnSpPr>
          <p:spPr bwMode="auto">
            <a:xfrm>
              <a:off x="4457846" y="3421173"/>
              <a:ext cx="207891" cy="0"/>
            </a:xfrm>
            <a:prstGeom prst="line">
              <a:avLst/>
            </a:prstGeom>
            <a:solidFill>
              <a:schemeClr val="bg1"/>
            </a:solidFill>
            <a:ln w="88900" cap="flat" cmpd="sng" algn="ctr">
              <a:solidFill>
                <a:srgbClr val="ADD9FD"/>
              </a:solidFill>
              <a:prstDash val="solid"/>
              <a:round/>
              <a:headEnd type="none" w="med" len="med"/>
              <a:tailEnd type="none" w="med" len="med"/>
            </a:ln>
            <a:effectLst/>
          </p:spPr>
        </p:cxnSp>
        <p:sp>
          <p:nvSpPr>
            <p:cNvPr id="140" name="TextBox 139">
              <a:extLst>
                <a:ext uri="{FF2B5EF4-FFF2-40B4-BE49-F238E27FC236}">
                  <a16:creationId xmlns:a16="http://schemas.microsoft.com/office/drawing/2014/main" id="{D24B3E8A-D4F3-443E-A3D1-76CA0FDEEECF}"/>
                </a:ext>
              </a:extLst>
            </p:cNvPr>
            <p:cNvSpPr txBox="1"/>
            <p:nvPr/>
          </p:nvSpPr>
          <p:spPr>
            <a:xfrm>
              <a:off x="4684645" y="3359618"/>
              <a:ext cx="740184" cy="123111"/>
            </a:xfrm>
            <a:prstGeom prst="rect">
              <a:avLst/>
            </a:prstGeom>
            <a:noFill/>
          </p:spPr>
          <p:txBody>
            <a:bodyPr wrap="square" lIns="0" tIns="0" rIns="0" bIns="0" rtlCol="0">
              <a:spAutoFit/>
            </a:bodyPr>
            <a:lstStyle/>
            <a:p>
              <a:r>
                <a:rPr lang="en-GB" sz="800">
                  <a:latin typeface="+mj-lt"/>
                </a:rPr>
                <a:t>Market insight</a:t>
              </a:r>
            </a:p>
          </p:txBody>
        </p:sp>
      </p:grpSp>
      <p:grpSp>
        <p:nvGrpSpPr>
          <p:cNvPr id="121" name="Group 120">
            <a:extLst>
              <a:ext uri="{FF2B5EF4-FFF2-40B4-BE49-F238E27FC236}">
                <a16:creationId xmlns:a16="http://schemas.microsoft.com/office/drawing/2014/main" id="{CCF07DB7-970D-4E7E-8FAC-7F0878A542BA}"/>
              </a:ext>
            </a:extLst>
          </p:cNvPr>
          <p:cNvGrpSpPr/>
          <p:nvPr/>
        </p:nvGrpSpPr>
        <p:grpSpPr>
          <a:xfrm>
            <a:off x="4457020" y="1857002"/>
            <a:ext cx="732972" cy="123111"/>
            <a:chOff x="4457846" y="3556525"/>
            <a:chExt cx="732972" cy="123111"/>
          </a:xfrm>
        </p:grpSpPr>
        <p:cxnSp>
          <p:nvCxnSpPr>
            <p:cNvPr id="137" name="Straight Connector 136">
              <a:extLst>
                <a:ext uri="{FF2B5EF4-FFF2-40B4-BE49-F238E27FC236}">
                  <a16:creationId xmlns:a16="http://schemas.microsoft.com/office/drawing/2014/main" id="{FFF27064-9A06-4516-BFA9-2F29DEFC2B54}"/>
                </a:ext>
              </a:extLst>
            </p:cNvPr>
            <p:cNvCxnSpPr>
              <a:cxnSpLocks/>
            </p:cNvCxnSpPr>
            <p:nvPr/>
          </p:nvCxnSpPr>
          <p:spPr bwMode="auto">
            <a:xfrm>
              <a:off x="4457846" y="3618080"/>
              <a:ext cx="207891" cy="0"/>
            </a:xfrm>
            <a:prstGeom prst="line">
              <a:avLst/>
            </a:prstGeom>
            <a:solidFill>
              <a:schemeClr val="bg1"/>
            </a:solidFill>
            <a:ln w="88900" cap="flat" cmpd="sng" algn="ctr">
              <a:solidFill>
                <a:srgbClr val="55CFFF"/>
              </a:solidFill>
              <a:prstDash val="solid"/>
              <a:round/>
              <a:headEnd type="none" w="med" len="med"/>
              <a:tailEnd type="none" w="med" len="med"/>
            </a:ln>
            <a:effectLst/>
          </p:spPr>
        </p:cxnSp>
        <p:sp>
          <p:nvSpPr>
            <p:cNvPr id="138" name="TextBox 137">
              <a:extLst>
                <a:ext uri="{FF2B5EF4-FFF2-40B4-BE49-F238E27FC236}">
                  <a16:creationId xmlns:a16="http://schemas.microsoft.com/office/drawing/2014/main" id="{55153472-7EC8-4AE9-A97E-F8499EBCABBF}"/>
                </a:ext>
              </a:extLst>
            </p:cNvPr>
            <p:cNvSpPr txBox="1"/>
            <p:nvPr/>
          </p:nvSpPr>
          <p:spPr>
            <a:xfrm>
              <a:off x="4684645" y="3556525"/>
              <a:ext cx="506173" cy="123111"/>
            </a:xfrm>
            <a:prstGeom prst="rect">
              <a:avLst/>
            </a:prstGeom>
            <a:noFill/>
          </p:spPr>
          <p:txBody>
            <a:bodyPr wrap="square" lIns="0" tIns="0" rIns="0" bIns="0" rtlCol="0">
              <a:spAutoFit/>
            </a:bodyPr>
            <a:lstStyle/>
            <a:p>
              <a:r>
                <a:rPr lang="en-GB" sz="800">
                  <a:latin typeface="+mj-lt"/>
                </a:rPr>
                <a:t>Hoovers</a:t>
              </a:r>
            </a:p>
          </p:txBody>
        </p:sp>
      </p:grpSp>
      <p:grpSp>
        <p:nvGrpSpPr>
          <p:cNvPr id="122" name="Group 121">
            <a:extLst>
              <a:ext uri="{FF2B5EF4-FFF2-40B4-BE49-F238E27FC236}">
                <a16:creationId xmlns:a16="http://schemas.microsoft.com/office/drawing/2014/main" id="{74F78D43-DA75-4068-98E2-27145E24C681}"/>
              </a:ext>
            </a:extLst>
          </p:cNvPr>
          <p:cNvGrpSpPr/>
          <p:nvPr/>
        </p:nvGrpSpPr>
        <p:grpSpPr>
          <a:xfrm>
            <a:off x="4457020" y="1633310"/>
            <a:ext cx="990311" cy="123111"/>
            <a:chOff x="4457846" y="3753432"/>
            <a:chExt cx="990311" cy="123111"/>
          </a:xfrm>
        </p:grpSpPr>
        <p:cxnSp>
          <p:nvCxnSpPr>
            <p:cNvPr id="135" name="Straight Connector 134">
              <a:extLst>
                <a:ext uri="{FF2B5EF4-FFF2-40B4-BE49-F238E27FC236}">
                  <a16:creationId xmlns:a16="http://schemas.microsoft.com/office/drawing/2014/main" id="{56F26EFF-875B-46D3-9796-441CC4935304}"/>
                </a:ext>
              </a:extLst>
            </p:cNvPr>
            <p:cNvCxnSpPr>
              <a:cxnSpLocks/>
            </p:cNvCxnSpPr>
            <p:nvPr/>
          </p:nvCxnSpPr>
          <p:spPr bwMode="auto">
            <a:xfrm>
              <a:off x="4457846" y="3814987"/>
              <a:ext cx="207891" cy="0"/>
            </a:xfrm>
            <a:prstGeom prst="line">
              <a:avLst/>
            </a:prstGeom>
            <a:solidFill>
              <a:schemeClr val="bg1"/>
            </a:solidFill>
            <a:ln w="88900" cap="flat" cmpd="sng" algn="ctr">
              <a:solidFill>
                <a:srgbClr val="EEBA86"/>
              </a:solidFill>
              <a:prstDash val="solid"/>
              <a:round/>
              <a:headEnd type="none" w="med" len="med"/>
              <a:tailEnd type="none" w="med" len="med"/>
            </a:ln>
            <a:effectLst/>
          </p:spPr>
        </p:cxnSp>
        <p:sp>
          <p:nvSpPr>
            <p:cNvPr id="136" name="TextBox 135">
              <a:extLst>
                <a:ext uri="{FF2B5EF4-FFF2-40B4-BE49-F238E27FC236}">
                  <a16:creationId xmlns:a16="http://schemas.microsoft.com/office/drawing/2014/main" id="{9439AF07-9178-45E1-9D81-0F2E431B0F7F}"/>
                </a:ext>
              </a:extLst>
            </p:cNvPr>
            <p:cNvSpPr txBox="1"/>
            <p:nvPr/>
          </p:nvSpPr>
          <p:spPr>
            <a:xfrm>
              <a:off x="4684645" y="3753432"/>
              <a:ext cx="763512" cy="123111"/>
            </a:xfrm>
            <a:prstGeom prst="rect">
              <a:avLst/>
            </a:prstGeom>
            <a:noFill/>
          </p:spPr>
          <p:txBody>
            <a:bodyPr wrap="square" lIns="0" tIns="0" rIns="0" bIns="0" rtlCol="0">
              <a:spAutoFit/>
            </a:bodyPr>
            <a:lstStyle/>
            <a:p>
              <a:r>
                <a:rPr lang="en-GB" sz="800">
                  <a:latin typeface="+mj-lt"/>
                </a:rPr>
                <a:t>Point Risk</a:t>
              </a:r>
            </a:p>
          </p:txBody>
        </p:sp>
      </p:grpSp>
      <p:grpSp>
        <p:nvGrpSpPr>
          <p:cNvPr id="123" name="Group 122">
            <a:extLst>
              <a:ext uri="{FF2B5EF4-FFF2-40B4-BE49-F238E27FC236}">
                <a16:creationId xmlns:a16="http://schemas.microsoft.com/office/drawing/2014/main" id="{931D3758-9BF0-4A52-8BD6-CB533F5BA72D}"/>
              </a:ext>
            </a:extLst>
          </p:cNvPr>
          <p:cNvGrpSpPr/>
          <p:nvPr/>
        </p:nvGrpSpPr>
        <p:grpSpPr>
          <a:xfrm>
            <a:off x="4457020" y="1409618"/>
            <a:ext cx="862931" cy="123111"/>
            <a:chOff x="4457846" y="3950339"/>
            <a:chExt cx="862931" cy="123111"/>
          </a:xfrm>
        </p:grpSpPr>
        <p:cxnSp>
          <p:nvCxnSpPr>
            <p:cNvPr id="133" name="Straight Connector 132">
              <a:extLst>
                <a:ext uri="{FF2B5EF4-FFF2-40B4-BE49-F238E27FC236}">
                  <a16:creationId xmlns:a16="http://schemas.microsoft.com/office/drawing/2014/main" id="{33D8A32A-0B40-459E-9357-8E0F35F7EBC4}"/>
                </a:ext>
              </a:extLst>
            </p:cNvPr>
            <p:cNvCxnSpPr>
              <a:cxnSpLocks/>
            </p:cNvCxnSpPr>
            <p:nvPr/>
          </p:nvCxnSpPr>
          <p:spPr bwMode="auto">
            <a:xfrm>
              <a:off x="4457846" y="4011894"/>
              <a:ext cx="207891" cy="0"/>
            </a:xfrm>
            <a:prstGeom prst="line">
              <a:avLst/>
            </a:prstGeom>
            <a:solidFill>
              <a:schemeClr val="bg1"/>
            </a:solidFill>
            <a:ln w="88900" cap="flat" cmpd="sng" algn="ctr">
              <a:solidFill>
                <a:srgbClr val="F9E8D7"/>
              </a:solidFill>
              <a:prstDash val="solid"/>
              <a:round/>
              <a:headEnd type="none" w="med" len="med"/>
              <a:tailEnd type="none" w="med" len="med"/>
            </a:ln>
            <a:effectLst/>
          </p:spPr>
        </p:cxnSp>
        <p:sp>
          <p:nvSpPr>
            <p:cNvPr id="134" name="TextBox 133">
              <a:extLst>
                <a:ext uri="{FF2B5EF4-FFF2-40B4-BE49-F238E27FC236}">
                  <a16:creationId xmlns:a16="http://schemas.microsoft.com/office/drawing/2014/main" id="{37A1DB06-4B4C-497E-B249-A48784182DBA}"/>
                </a:ext>
              </a:extLst>
            </p:cNvPr>
            <p:cNvSpPr txBox="1"/>
            <p:nvPr/>
          </p:nvSpPr>
          <p:spPr>
            <a:xfrm>
              <a:off x="4684645" y="3950339"/>
              <a:ext cx="636132" cy="123111"/>
            </a:xfrm>
            <a:prstGeom prst="rect">
              <a:avLst/>
            </a:prstGeom>
            <a:noFill/>
          </p:spPr>
          <p:txBody>
            <a:bodyPr wrap="square" lIns="0" tIns="0" rIns="0" bIns="0" rtlCol="0">
              <a:spAutoFit/>
            </a:bodyPr>
            <a:lstStyle/>
            <a:p>
              <a:r>
                <a:rPr lang="en-GB" sz="800">
                  <a:latin typeface="+mj-lt"/>
                </a:rPr>
                <a:t>Smart</a:t>
              </a:r>
            </a:p>
          </p:txBody>
        </p:sp>
      </p:grpSp>
      <p:grpSp>
        <p:nvGrpSpPr>
          <p:cNvPr id="125" name="Group 124">
            <a:extLst>
              <a:ext uri="{FF2B5EF4-FFF2-40B4-BE49-F238E27FC236}">
                <a16:creationId xmlns:a16="http://schemas.microsoft.com/office/drawing/2014/main" id="{28F01B21-4F49-4CF2-9276-D00EB11D0EDF}"/>
              </a:ext>
            </a:extLst>
          </p:cNvPr>
          <p:cNvGrpSpPr/>
          <p:nvPr/>
        </p:nvGrpSpPr>
        <p:grpSpPr>
          <a:xfrm>
            <a:off x="4457020" y="3422846"/>
            <a:ext cx="862931" cy="246221"/>
            <a:chOff x="4457846" y="3843688"/>
            <a:chExt cx="862931" cy="246221"/>
          </a:xfrm>
        </p:grpSpPr>
        <p:cxnSp>
          <p:nvCxnSpPr>
            <p:cNvPr id="129" name="Straight Connector 128">
              <a:extLst>
                <a:ext uri="{FF2B5EF4-FFF2-40B4-BE49-F238E27FC236}">
                  <a16:creationId xmlns:a16="http://schemas.microsoft.com/office/drawing/2014/main" id="{0B3058B7-7A05-45CD-A4B8-F99897EDE147}"/>
                </a:ext>
              </a:extLst>
            </p:cNvPr>
            <p:cNvCxnSpPr>
              <a:cxnSpLocks/>
            </p:cNvCxnSpPr>
            <p:nvPr/>
          </p:nvCxnSpPr>
          <p:spPr bwMode="auto">
            <a:xfrm>
              <a:off x="4457846" y="3966799"/>
              <a:ext cx="207891" cy="0"/>
            </a:xfrm>
            <a:prstGeom prst="line">
              <a:avLst/>
            </a:prstGeom>
            <a:solidFill>
              <a:schemeClr val="bg1"/>
            </a:solidFill>
            <a:ln w="88900" cap="flat" cmpd="sng" algn="ctr">
              <a:solidFill>
                <a:schemeClr val="tx1"/>
              </a:solidFill>
              <a:prstDash val="solid"/>
              <a:round/>
              <a:headEnd type="none" w="med" len="med"/>
              <a:tailEnd type="none" w="med" len="med"/>
            </a:ln>
            <a:effectLst/>
          </p:spPr>
        </p:cxnSp>
        <p:sp>
          <p:nvSpPr>
            <p:cNvPr id="130" name="TextBox 129">
              <a:extLst>
                <a:ext uri="{FF2B5EF4-FFF2-40B4-BE49-F238E27FC236}">
                  <a16:creationId xmlns:a16="http://schemas.microsoft.com/office/drawing/2014/main" id="{DEE58D52-5545-43DC-92AA-EF33BD6F0275}"/>
                </a:ext>
              </a:extLst>
            </p:cNvPr>
            <p:cNvSpPr txBox="1"/>
            <p:nvPr/>
          </p:nvSpPr>
          <p:spPr>
            <a:xfrm>
              <a:off x="4684645" y="3843688"/>
              <a:ext cx="636132" cy="246221"/>
            </a:xfrm>
            <a:prstGeom prst="rect">
              <a:avLst/>
            </a:prstGeom>
            <a:noFill/>
          </p:spPr>
          <p:txBody>
            <a:bodyPr wrap="square" lIns="0" tIns="0" rIns="0" bIns="0" rtlCol="0">
              <a:spAutoFit/>
            </a:bodyPr>
            <a:lstStyle/>
            <a:p>
              <a:r>
                <a:rPr lang="en-GB" sz="800">
                  <a:latin typeface="+mj-lt"/>
                </a:rPr>
                <a:t>Transversal products</a:t>
              </a:r>
              <a:r>
                <a:rPr lang="en-GB" sz="800">
                  <a:solidFill>
                    <a:schemeClr val="accent1"/>
                  </a:solidFill>
                  <a:latin typeface="+mj-lt"/>
                </a:rPr>
                <a:t>*</a:t>
              </a:r>
            </a:p>
          </p:txBody>
        </p:sp>
      </p:grpSp>
      <p:grpSp>
        <p:nvGrpSpPr>
          <p:cNvPr id="126" name="Group 125">
            <a:extLst>
              <a:ext uri="{FF2B5EF4-FFF2-40B4-BE49-F238E27FC236}">
                <a16:creationId xmlns:a16="http://schemas.microsoft.com/office/drawing/2014/main" id="{3AD9FA27-57C3-420C-93AF-EE7D21A07833}"/>
              </a:ext>
            </a:extLst>
          </p:cNvPr>
          <p:cNvGrpSpPr/>
          <p:nvPr/>
        </p:nvGrpSpPr>
        <p:grpSpPr>
          <a:xfrm>
            <a:off x="4457020" y="3769648"/>
            <a:ext cx="510732" cy="123111"/>
            <a:chOff x="4457846" y="4413688"/>
            <a:chExt cx="510732" cy="123111"/>
          </a:xfrm>
        </p:grpSpPr>
        <p:cxnSp>
          <p:nvCxnSpPr>
            <p:cNvPr id="127" name="Straight Connector 126">
              <a:extLst>
                <a:ext uri="{FF2B5EF4-FFF2-40B4-BE49-F238E27FC236}">
                  <a16:creationId xmlns:a16="http://schemas.microsoft.com/office/drawing/2014/main" id="{AB3F0940-76E6-4BB8-BD24-E1AFC2AA4C83}"/>
                </a:ext>
              </a:extLst>
            </p:cNvPr>
            <p:cNvCxnSpPr>
              <a:cxnSpLocks/>
            </p:cNvCxnSpPr>
            <p:nvPr/>
          </p:nvCxnSpPr>
          <p:spPr bwMode="auto">
            <a:xfrm>
              <a:off x="4457846" y="4475243"/>
              <a:ext cx="207891" cy="0"/>
            </a:xfrm>
            <a:prstGeom prst="line">
              <a:avLst/>
            </a:prstGeom>
            <a:solidFill>
              <a:schemeClr val="bg1"/>
            </a:solidFill>
            <a:ln w="88900" cap="flat" cmpd="sng" algn="ctr">
              <a:solidFill>
                <a:schemeClr val="bg1">
                  <a:lumMod val="95000"/>
                </a:schemeClr>
              </a:solidFill>
              <a:prstDash val="solid"/>
              <a:round/>
              <a:headEnd type="none" w="med" len="med"/>
              <a:tailEnd type="none" w="med" len="med"/>
            </a:ln>
            <a:effectLst/>
          </p:spPr>
        </p:cxnSp>
        <p:sp>
          <p:nvSpPr>
            <p:cNvPr id="128" name="TextBox 127">
              <a:extLst>
                <a:ext uri="{FF2B5EF4-FFF2-40B4-BE49-F238E27FC236}">
                  <a16:creationId xmlns:a16="http://schemas.microsoft.com/office/drawing/2014/main" id="{A74FEF23-8C64-434D-A072-9DA1D63A8BA3}"/>
                </a:ext>
              </a:extLst>
            </p:cNvPr>
            <p:cNvSpPr txBox="1"/>
            <p:nvPr/>
          </p:nvSpPr>
          <p:spPr>
            <a:xfrm>
              <a:off x="4684645" y="4413688"/>
              <a:ext cx="283933" cy="123111"/>
            </a:xfrm>
            <a:prstGeom prst="rect">
              <a:avLst/>
            </a:prstGeom>
            <a:noFill/>
          </p:spPr>
          <p:txBody>
            <a:bodyPr wrap="square" lIns="0" tIns="0" rIns="0" bIns="0" rtlCol="0">
              <a:spAutoFit/>
            </a:bodyPr>
            <a:lstStyle/>
            <a:p>
              <a:r>
                <a:rPr lang="en-GB" sz="800">
                  <a:latin typeface="+mj-lt"/>
                </a:rPr>
                <a:t>Other</a:t>
              </a:r>
            </a:p>
          </p:txBody>
        </p:sp>
      </p:grpSp>
      <p:sp>
        <p:nvSpPr>
          <p:cNvPr id="153" name="Rectangle 152">
            <a:extLst>
              <a:ext uri="{FF2B5EF4-FFF2-40B4-BE49-F238E27FC236}">
                <a16:creationId xmlns:a16="http://schemas.microsoft.com/office/drawing/2014/main" id="{F4110848-3570-49D0-A047-433787E59B7C}"/>
              </a:ext>
            </a:extLst>
          </p:cNvPr>
          <p:cNvSpPr/>
          <p:nvPr/>
        </p:nvSpPr>
        <p:spPr bwMode="auto">
          <a:xfrm>
            <a:off x="4419078" y="2488063"/>
            <a:ext cx="1054894" cy="913660"/>
          </a:xfrm>
          <a:prstGeom prst="rect">
            <a:avLst/>
          </a:prstGeom>
          <a:solidFill>
            <a:srgbClr val="EAF6ED"/>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24" name="Group 123">
            <a:extLst>
              <a:ext uri="{FF2B5EF4-FFF2-40B4-BE49-F238E27FC236}">
                <a16:creationId xmlns:a16="http://schemas.microsoft.com/office/drawing/2014/main" id="{43F2471C-2F0F-405E-A55C-E575F836F430}"/>
              </a:ext>
            </a:extLst>
          </p:cNvPr>
          <p:cNvGrpSpPr/>
          <p:nvPr/>
        </p:nvGrpSpPr>
        <p:grpSpPr>
          <a:xfrm>
            <a:off x="4457020" y="3199154"/>
            <a:ext cx="862931" cy="123111"/>
            <a:chOff x="4457846" y="4147246"/>
            <a:chExt cx="862931" cy="123111"/>
          </a:xfrm>
        </p:grpSpPr>
        <p:cxnSp>
          <p:nvCxnSpPr>
            <p:cNvPr id="131" name="Straight Connector 130">
              <a:extLst>
                <a:ext uri="{FF2B5EF4-FFF2-40B4-BE49-F238E27FC236}">
                  <a16:creationId xmlns:a16="http://schemas.microsoft.com/office/drawing/2014/main" id="{CF5F5E26-DC98-4013-8326-08B72965F001}"/>
                </a:ext>
              </a:extLst>
            </p:cNvPr>
            <p:cNvCxnSpPr>
              <a:cxnSpLocks/>
            </p:cNvCxnSpPr>
            <p:nvPr/>
          </p:nvCxnSpPr>
          <p:spPr bwMode="auto">
            <a:xfrm>
              <a:off x="4457846" y="4208801"/>
              <a:ext cx="207891" cy="0"/>
            </a:xfrm>
            <a:prstGeom prst="line">
              <a:avLst/>
            </a:prstGeom>
            <a:solidFill>
              <a:schemeClr val="bg1"/>
            </a:solidFill>
            <a:ln w="88900" cap="flat" cmpd="sng" algn="ctr">
              <a:solidFill>
                <a:srgbClr val="69D878"/>
              </a:solidFill>
              <a:prstDash val="solid"/>
              <a:round/>
              <a:headEnd type="none" w="med" len="med"/>
              <a:tailEnd type="none" w="med" len="med"/>
            </a:ln>
            <a:effectLst/>
          </p:spPr>
        </p:cxnSp>
        <p:sp>
          <p:nvSpPr>
            <p:cNvPr id="132" name="TextBox 131">
              <a:extLst>
                <a:ext uri="{FF2B5EF4-FFF2-40B4-BE49-F238E27FC236}">
                  <a16:creationId xmlns:a16="http://schemas.microsoft.com/office/drawing/2014/main" id="{D0EFA135-5384-409A-A385-9D4FBF0F5B8C}"/>
                </a:ext>
              </a:extLst>
            </p:cNvPr>
            <p:cNvSpPr txBox="1"/>
            <p:nvPr/>
          </p:nvSpPr>
          <p:spPr>
            <a:xfrm>
              <a:off x="4684645" y="4147246"/>
              <a:ext cx="636132" cy="123111"/>
            </a:xfrm>
            <a:prstGeom prst="rect">
              <a:avLst/>
            </a:prstGeom>
            <a:noFill/>
          </p:spPr>
          <p:txBody>
            <a:bodyPr wrap="square" lIns="0" tIns="0" rIns="0" bIns="0" rtlCol="0">
              <a:spAutoFit/>
            </a:bodyPr>
            <a:lstStyle/>
            <a:p>
              <a:r>
                <a:rPr lang="en-GB" sz="800" err="1">
                  <a:latin typeface="+mj-lt"/>
                </a:rPr>
                <a:t>mData</a:t>
              </a:r>
              <a:endParaRPr lang="en-GB" sz="800">
                <a:latin typeface="+mj-lt"/>
              </a:endParaRPr>
            </a:p>
          </p:txBody>
        </p:sp>
      </p:grpSp>
      <p:grpSp>
        <p:nvGrpSpPr>
          <p:cNvPr id="99" name="Group 98">
            <a:extLst>
              <a:ext uri="{FF2B5EF4-FFF2-40B4-BE49-F238E27FC236}">
                <a16:creationId xmlns:a16="http://schemas.microsoft.com/office/drawing/2014/main" id="{678BA6BA-F654-4923-82C7-DA319D25663C}"/>
              </a:ext>
            </a:extLst>
          </p:cNvPr>
          <p:cNvGrpSpPr/>
          <p:nvPr/>
        </p:nvGrpSpPr>
        <p:grpSpPr>
          <a:xfrm>
            <a:off x="4457020" y="2975462"/>
            <a:ext cx="734003" cy="123111"/>
            <a:chOff x="4457846" y="2654207"/>
            <a:chExt cx="734003" cy="123111"/>
          </a:xfrm>
        </p:grpSpPr>
        <p:cxnSp>
          <p:nvCxnSpPr>
            <p:cNvPr id="109" name="Straight Connector 108">
              <a:extLst>
                <a:ext uri="{FF2B5EF4-FFF2-40B4-BE49-F238E27FC236}">
                  <a16:creationId xmlns:a16="http://schemas.microsoft.com/office/drawing/2014/main" id="{6B7D0182-7F73-4297-B1A4-3162153D8002}"/>
                </a:ext>
              </a:extLst>
            </p:cNvPr>
            <p:cNvCxnSpPr>
              <a:cxnSpLocks/>
            </p:cNvCxnSpPr>
            <p:nvPr/>
          </p:nvCxnSpPr>
          <p:spPr bwMode="auto">
            <a:xfrm>
              <a:off x="4457846" y="2715762"/>
              <a:ext cx="207891"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110" name="TextBox 109">
              <a:extLst>
                <a:ext uri="{FF2B5EF4-FFF2-40B4-BE49-F238E27FC236}">
                  <a16:creationId xmlns:a16="http://schemas.microsoft.com/office/drawing/2014/main" id="{E953AF84-49AC-4C9C-AD1D-6B49E69CBB12}"/>
                </a:ext>
              </a:extLst>
            </p:cNvPr>
            <p:cNvSpPr txBox="1"/>
            <p:nvPr/>
          </p:nvSpPr>
          <p:spPr>
            <a:xfrm>
              <a:off x="4684644" y="2654207"/>
              <a:ext cx="507205" cy="123111"/>
            </a:xfrm>
            <a:prstGeom prst="rect">
              <a:avLst/>
            </a:prstGeom>
            <a:noFill/>
          </p:spPr>
          <p:txBody>
            <a:bodyPr wrap="square" lIns="0" tIns="0" rIns="0" bIns="0" rtlCol="0">
              <a:spAutoFit/>
            </a:bodyPr>
            <a:lstStyle/>
            <a:p>
              <a:r>
                <a:rPr lang="en-GB" sz="800" err="1">
                  <a:latin typeface="+mj-lt"/>
                </a:rPr>
                <a:t>mLead</a:t>
              </a:r>
              <a:endParaRPr lang="en-GB" sz="800">
                <a:latin typeface="+mj-lt"/>
              </a:endParaRPr>
            </a:p>
          </p:txBody>
        </p:sp>
      </p:grpSp>
      <p:grpSp>
        <p:nvGrpSpPr>
          <p:cNvPr id="100" name="Group 99">
            <a:extLst>
              <a:ext uri="{FF2B5EF4-FFF2-40B4-BE49-F238E27FC236}">
                <a16:creationId xmlns:a16="http://schemas.microsoft.com/office/drawing/2014/main" id="{52469BEE-6026-4982-A0C0-48CBA2C144B8}"/>
              </a:ext>
            </a:extLst>
          </p:cNvPr>
          <p:cNvGrpSpPr/>
          <p:nvPr/>
        </p:nvGrpSpPr>
        <p:grpSpPr>
          <a:xfrm>
            <a:off x="4457020" y="2751770"/>
            <a:ext cx="782419" cy="123111"/>
            <a:chOff x="4457846" y="2857573"/>
            <a:chExt cx="782419" cy="123111"/>
          </a:xfrm>
        </p:grpSpPr>
        <p:cxnSp>
          <p:nvCxnSpPr>
            <p:cNvPr id="107" name="Straight Connector 106">
              <a:extLst>
                <a:ext uri="{FF2B5EF4-FFF2-40B4-BE49-F238E27FC236}">
                  <a16:creationId xmlns:a16="http://schemas.microsoft.com/office/drawing/2014/main" id="{96DD5135-2A1F-46A2-9BC6-7989F6ADA3F6}"/>
                </a:ext>
              </a:extLst>
            </p:cNvPr>
            <p:cNvCxnSpPr>
              <a:cxnSpLocks/>
            </p:cNvCxnSpPr>
            <p:nvPr/>
          </p:nvCxnSpPr>
          <p:spPr bwMode="auto">
            <a:xfrm>
              <a:off x="4457846" y="2919128"/>
              <a:ext cx="207891"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108" name="TextBox 107">
              <a:extLst>
                <a:ext uri="{FF2B5EF4-FFF2-40B4-BE49-F238E27FC236}">
                  <a16:creationId xmlns:a16="http://schemas.microsoft.com/office/drawing/2014/main" id="{BB6FF532-7FB3-4936-96EF-CCF5EA0457E1}"/>
                </a:ext>
              </a:extLst>
            </p:cNvPr>
            <p:cNvSpPr txBox="1"/>
            <p:nvPr/>
          </p:nvSpPr>
          <p:spPr>
            <a:xfrm>
              <a:off x="4684645" y="2857573"/>
              <a:ext cx="555620" cy="123111"/>
            </a:xfrm>
            <a:prstGeom prst="rect">
              <a:avLst/>
            </a:prstGeom>
            <a:noFill/>
          </p:spPr>
          <p:txBody>
            <a:bodyPr wrap="square" lIns="0" tIns="0" rIns="0" bIns="0" rtlCol="0">
              <a:spAutoFit/>
            </a:bodyPr>
            <a:lstStyle/>
            <a:p>
              <a:r>
                <a:rPr lang="en-GB" sz="800" err="1">
                  <a:latin typeface="+mj-lt"/>
                </a:rPr>
                <a:t>mList</a:t>
              </a:r>
              <a:endParaRPr lang="en-GB" sz="800">
                <a:latin typeface="+mj-lt"/>
              </a:endParaRPr>
            </a:p>
          </p:txBody>
        </p:sp>
      </p:grpSp>
      <p:grpSp>
        <p:nvGrpSpPr>
          <p:cNvPr id="32" name="Group 31">
            <a:extLst>
              <a:ext uri="{FF2B5EF4-FFF2-40B4-BE49-F238E27FC236}">
                <a16:creationId xmlns:a16="http://schemas.microsoft.com/office/drawing/2014/main" id="{919E2B8A-960C-4FA3-B3CA-BFC0F7B1E907}"/>
              </a:ext>
            </a:extLst>
          </p:cNvPr>
          <p:cNvGrpSpPr/>
          <p:nvPr/>
        </p:nvGrpSpPr>
        <p:grpSpPr>
          <a:xfrm>
            <a:off x="4457020" y="2528078"/>
            <a:ext cx="1029580" cy="123111"/>
            <a:chOff x="-1989334" y="4200566"/>
            <a:chExt cx="1029580" cy="123111"/>
          </a:xfrm>
        </p:grpSpPr>
        <p:cxnSp>
          <p:nvCxnSpPr>
            <p:cNvPr id="105" name="Straight Connector 104">
              <a:extLst>
                <a:ext uri="{FF2B5EF4-FFF2-40B4-BE49-F238E27FC236}">
                  <a16:creationId xmlns:a16="http://schemas.microsoft.com/office/drawing/2014/main" id="{F03C883C-474E-440F-BCA7-8A07CDE09D4B}"/>
                </a:ext>
              </a:extLst>
            </p:cNvPr>
            <p:cNvCxnSpPr>
              <a:cxnSpLocks/>
            </p:cNvCxnSpPr>
            <p:nvPr/>
          </p:nvCxnSpPr>
          <p:spPr bwMode="auto">
            <a:xfrm>
              <a:off x="-1989334" y="4262121"/>
              <a:ext cx="207891" cy="0"/>
            </a:xfrm>
            <a:prstGeom prst="line">
              <a:avLst/>
            </a:prstGeom>
            <a:solidFill>
              <a:schemeClr val="bg1"/>
            </a:solidFill>
            <a:ln w="88900" cap="flat" cmpd="sng" algn="ctr">
              <a:solidFill>
                <a:srgbClr val="8FCD9F"/>
              </a:solidFill>
              <a:prstDash val="solid"/>
              <a:round/>
              <a:headEnd type="none" w="med" len="med"/>
              <a:tailEnd type="none" w="med" len="med"/>
            </a:ln>
            <a:effectLst/>
          </p:spPr>
        </p:cxnSp>
        <p:sp>
          <p:nvSpPr>
            <p:cNvPr id="106" name="TextBox 105">
              <a:extLst>
                <a:ext uri="{FF2B5EF4-FFF2-40B4-BE49-F238E27FC236}">
                  <a16:creationId xmlns:a16="http://schemas.microsoft.com/office/drawing/2014/main" id="{9F110E81-C4C4-4390-8245-0AB320204C3A}"/>
                </a:ext>
              </a:extLst>
            </p:cNvPr>
            <p:cNvSpPr txBox="1"/>
            <p:nvPr/>
          </p:nvSpPr>
          <p:spPr>
            <a:xfrm>
              <a:off x="-1762535" y="4200566"/>
              <a:ext cx="802781" cy="123111"/>
            </a:xfrm>
            <a:prstGeom prst="rect">
              <a:avLst/>
            </a:prstGeom>
            <a:noFill/>
          </p:spPr>
          <p:txBody>
            <a:bodyPr wrap="square" lIns="0" tIns="0" rIns="0" bIns="0" rtlCol="0">
              <a:spAutoFit/>
            </a:bodyPr>
            <a:lstStyle/>
            <a:p>
              <a:r>
                <a:rPr lang="en-GB" sz="800" err="1">
                  <a:latin typeface="+mj-lt"/>
                </a:rPr>
                <a:t>mAds</a:t>
              </a:r>
              <a:endParaRPr lang="en-GB" sz="800">
                <a:latin typeface="+mj-lt"/>
              </a:endParaRPr>
            </a:p>
          </p:txBody>
        </p:sp>
      </p:grpSp>
      <p:cxnSp>
        <p:nvCxnSpPr>
          <p:cNvPr id="59" name="Connector: Elbow 58">
            <a:extLst>
              <a:ext uri="{FF2B5EF4-FFF2-40B4-BE49-F238E27FC236}">
                <a16:creationId xmlns:a16="http://schemas.microsoft.com/office/drawing/2014/main" id="{C2957944-6598-4E2C-B288-B15A7081DE81}"/>
              </a:ext>
            </a:extLst>
          </p:cNvPr>
          <p:cNvCxnSpPr>
            <a:cxnSpLocks/>
            <a:stCxn id="130" idx="1"/>
            <a:endCxn id="2" idx="1"/>
          </p:cNvCxnSpPr>
          <p:nvPr/>
        </p:nvCxnSpPr>
        <p:spPr bwMode="auto">
          <a:xfrm rot="10800000" flipV="1">
            <a:off x="4419079" y="3545956"/>
            <a:ext cx="264741" cy="792679"/>
          </a:xfrm>
          <a:prstGeom prst="bentConnector3">
            <a:avLst>
              <a:gd name="adj1" fmla="val 186349"/>
            </a:avLst>
          </a:prstGeom>
          <a:solidFill>
            <a:schemeClr val="accent1"/>
          </a:solidFill>
          <a:ln w="9525" cap="flat" cmpd="sng" algn="ctr">
            <a:solidFill>
              <a:schemeClr val="tx1"/>
            </a:solidFill>
            <a:prstDash val="solid"/>
            <a:round/>
            <a:headEnd type="none" w="med" len="med"/>
            <a:tailEnd type="triangle"/>
          </a:ln>
          <a:effectLst/>
        </p:spPr>
      </p:cxnSp>
      <p:cxnSp>
        <p:nvCxnSpPr>
          <p:cNvPr id="148" name="Connector: Elbow 147">
            <a:extLst>
              <a:ext uri="{FF2B5EF4-FFF2-40B4-BE49-F238E27FC236}">
                <a16:creationId xmlns:a16="http://schemas.microsoft.com/office/drawing/2014/main" id="{043FBC9C-3421-46E8-AB2D-02D1F944ABA4}"/>
              </a:ext>
            </a:extLst>
          </p:cNvPr>
          <p:cNvCxnSpPr>
            <a:cxnSpLocks/>
            <a:stCxn id="130" idx="1"/>
            <a:endCxn id="87" idx="1"/>
          </p:cNvCxnSpPr>
          <p:nvPr/>
        </p:nvCxnSpPr>
        <p:spPr bwMode="auto">
          <a:xfrm rot="10800000" flipV="1">
            <a:off x="4419079" y="3545957"/>
            <a:ext cx="264741" cy="1494820"/>
          </a:xfrm>
          <a:prstGeom prst="bentConnector3">
            <a:avLst>
              <a:gd name="adj1" fmla="val 186349"/>
            </a:avLst>
          </a:prstGeom>
          <a:solidFill>
            <a:schemeClr val="accent1"/>
          </a:solidFill>
          <a:ln w="9525" cap="flat" cmpd="sng" algn="ctr">
            <a:solidFill>
              <a:schemeClr val="tx1"/>
            </a:solidFill>
            <a:prstDash val="solid"/>
            <a:round/>
            <a:headEnd type="none" w="med" len="med"/>
            <a:tailEnd type="triangle"/>
          </a:ln>
          <a:effectLst/>
        </p:spPr>
      </p:cxnSp>
      <p:sp>
        <p:nvSpPr>
          <p:cNvPr id="154" name="Rectangle 153">
            <a:extLst>
              <a:ext uri="{FF2B5EF4-FFF2-40B4-BE49-F238E27FC236}">
                <a16:creationId xmlns:a16="http://schemas.microsoft.com/office/drawing/2014/main" id="{96A43AD6-2486-463F-9E9A-7525B89C3D2B}"/>
              </a:ext>
            </a:extLst>
          </p:cNvPr>
          <p:cNvSpPr/>
          <p:nvPr/>
        </p:nvSpPr>
        <p:spPr bwMode="auto">
          <a:xfrm>
            <a:off x="4411266" y="5469579"/>
            <a:ext cx="365154" cy="202314"/>
          </a:xfrm>
          <a:prstGeom prst="rect">
            <a:avLst/>
          </a:prstGeom>
          <a:solidFill>
            <a:srgbClr val="EAF6ED"/>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55" name="TextBox 69">
            <a:extLst>
              <a:ext uri="{FF2B5EF4-FFF2-40B4-BE49-F238E27FC236}">
                <a16:creationId xmlns:a16="http://schemas.microsoft.com/office/drawing/2014/main" id="{DC679D19-7F2E-45B1-AE81-E01BC1E9553E}"/>
              </a:ext>
            </a:extLst>
          </p:cNvPr>
          <p:cNvSpPr txBox="1"/>
          <p:nvPr/>
        </p:nvSpPr>
        <p:spPr>
          <a:xfrm>
            <a:off x="4761102" y="5391404"/>
            <a:ext cx="833089" cy="507831"/>
          </a:xfrm>
          <a:prstGeom prst="rect">
            <a:avLst/>
          </a:prstGeom>
          <a:noFill/>
        </p:spPr>
        <p:txBody>
          <a:bodyPr wrap="square" rtlCol="0">
            <a:spAutoFit/>
          </a:bodyPr>
          <a:lstStyle/>
          <a:p>
            <a:r>
              <a:rPr lang="en-GB" sz="900" i="1" err="1">
                <a:latin typeface="Trebuchet MS" panose="020B0603020202020204" pitchFamily="34" charset="0"/>
              </a:rPr>
              <a:t>Manageo’s</a:t>
            </a:r>
            <a:r>
              <a:rPr lang="en-GB" sz="900" i="1">
                <a:latin typeface="Trebuchet MS" panose="020B0603020202020204" pitchFamily="34" charset="0"/>
              </a:rPr>
              <a:t> product (sales)</a:t>
            </a:r>
          </a:p>
        </p:txBody>
      </p:sp>
      <p:sp>
        <p:nvSpPr>
          <p:cNvPr id="165" name="Titre 1">
            <a:extLst>
              <a:ext uri="{FF2B5EF4-FFF2-40B4-BE49-F238E27FC236}">
                <a16:creationId xmlns:a16="http://schemas.microsoft.com/office/drawing/2014/main" id="{25F32F07-38D7-4C34-8FA5-4E314FC50468}"/>
              </a:ext>
            </a:extLst>
          </p:cNvPr>
          <p:cNvSpPr txBox="1">
            <a:spLocks/>
          </p:cNvSpPr>
          <p:nvPr/>
        </p:nvSpPr>
        <p:spPr bwMode="auto">
          <a:xfrm>
            <a:off x="216000" y="147601"/>
            <a:ext cx="8230753" cy="5026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kern="0">
                <a:solidFill>
                  <a:schemeClr val="tx2"/>
                </a:solidFill>
                <a:latin typeface="Trebuchet MS" panose="020B0603020202020204" pitchFamily="34" charset="0"/>
              </a:rPr>
              <a:t>B2B marketing activity </a:t>
            </a:r>
            <a:r>
              <a:rPr lang="en-GB" kern="0">
                <a:latin typeface="Trebuchet MS" panose="020B0603020202020204" pitchFamily="34" charset="0"/>
              </a:rPr>
              <a:t>past growth has been mainly supported by both </a:t>
            </a:r>
            <a:r>
              <a:rPr lang="en-GB" kern="0" err="1">
                <a:solidFill>
                  <a:schemeClr val="tx2"/>
                </a:solidFill>
                <a:latin typeface="Trebuchet MS" panose="020B0603020202020204" pitchFamily="34" charset="0"/>
              </a:rPr>
              <a:t>Manageo’s</a:t>
            </a:r>
            <a:r>
              <a:rPr lang="en-GB" kern="0">
                <a:solidFill>
                  <a:schemeClr val="tx2"/>
                </a:solidFill>
                <a:latin typeface="Trebuchet MS" panose="020B0603020202020204" pitchFamily="34" charset="0"/>
              </a:rPr>
              <a:t> products </a:t>
            </a:r>
            <a:r>
              <a:rPr lang="en-GB" kern="0">
                <a:latin typeface="Trebuchet MS" panose="020B0603020202020204" pitchFamily="34" charset="0"/>
              </a:rPr>
              <a:t>and </a:t>
            </a:r>
            <a:r>
              <a:rPr lang="en-GB" kern="0">
                <a:solidFill>
                  <a:schemeClr val="tx2"/>
                </a:solidFill>
                <a:latin typeface="Trebuchet MS" panose="020B0603020202020204" pitchFamily="34" charset="0"/>
              </a:rPr>
              <a:t>transversal products </a:t>
            </a:r>
            <a:r>
              <a:rPr lang="en-GB" kern="0">
                <a:latin typeface="Trebuchet MS" panose="020B0603020202020204" pitchFamily="34" charset="0"/>
              </a:rPr>
              <a:t>with an </a:t>
            </a:r>
            <a:r>
              <a:rPr lang="en-GB" kern="0">
                <a:solidFill>
                  <a:schemeClr val="tx2"/>
                </a:solidFill>
                <a:latin typeface="Trebuchet MS" panose="020B0603020202020204" pitchFamily="34" charset="0"/>
              </a:rPr>
              <a:t>increasing importance </a:t>
            </a:r>
            <a:r>
              <a:rPr lang="en-GB" kern="0">
                <a:latin typeface="Trebuchet MS" panose="020B0603020202020204" pitchFamily="34" charset="0"/>
              </a:rPr>
              <a:t>of</a:t>
            </a:r>
            <a:r>
              <a:rPr lang="en-GB" kern="0">
                <a:solidFill>
                  <a:schemeClr val="tx2"/>
                </a:solidFill>
                <a:latin typeface="Trebuchet MS" panose="020B0603020202020204" pitchFamily="34" charset="0"/>
              </a:rPr>
              <a:t> connectors solutions </a:t>
            </a:r>
            <a:r>
              <a:rPr lang="en-GB" kern="0">
                <a:latin typeface="Trebuchet MS" panose="020B0603020202020204" pitchFamily="34" charset="0"/>
              </a:rPr>
              <a:t>over the years increasing </a:t>
            </a:r>
            <a:r>
              <a:rPr lang="en-GB" kern="0">
                <a:solidFill>
                  <a:schemeClr val="tx2"/>
                </a:solidFill>
                <a:latin typeface="Trebuchet MS" panose="020B0603020202020204" pitchFamily="34" charset="0"/>
              </a:rPr>
              <a:t>customer stickiness</a:t>
            </a:r>
          </a:p>
        </p:txBody>
      </p:sp>
    </p:spTree>
    <p:extLst>
      <p:ext uri="{BB962C8B-B14F-4D97-AF65-F5344CB8AC3E}">
        <p14:creationId xmlns:p14="http://schemas.microsoft.com/office/powerpoint/2010/main" val="1492206073"/>
      </p:ext>
    </p:extLst>
  </p:cSld>
  <p:clrMapOvr>
    <a:masterClrMapping/>
  </p:clrMapOv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E96EA93-E714-4D0F-A1A8-2AAA5188B475}"/>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4E9DE99D-BD68-42FE-9B3C-2293D0C1089E}"/>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BC317995-D852-4549-AC70-AA5A11CAFAFC}"/>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indent="-228600">
              <a:spcBef>
                <a:spcPts val="600"/>
              </a:spcBef>
              <a:buAutoNum type="arabicPeriod"/>
            </a:pPr>
            <a:r>
              <a:rPr lang="en-GB" sz="1200">
                <a:latin typeface="Trebuchet MS" panose="020B0603020202020204" pitchFamily="34" charset="0"/>
              </a:rPr>
              <a:t>Overview of </a:t>
            </a:r>
            <a:r>
              <a:rPr lang="en-GB" sz="1200" err="1">
                <a:latin typeface="Trebuchet MS" panose="020B0603020202020204" pitchFamily="34" charset="0"/>
              </a:rPr>
              <a:t>Altares</a:t>
            </a:r>
            <a:r>
              <a:rPr lang="en-GB" sz="1200">
                <a:latin typeface="Trebuchet MS" panose="020B0603020202020204" pitchFamily="34" charset="0"/>
              </a:rPr>
              <a:t>’ core assets</a:t>
            </a:r>
          </a:p>
          <a:p>
            <a:pPr marL="228600" indent="-228600">
              <a:spcBef>
                <a:spcPts val="600"/>
              </a:spcBef>
              <a:buAutoNum type="arabicPeriod"/>
            </a:pPr>
            <a:r>
              <a:rPr lang="en-GB" sz="1200" err="1">
                <a:solidFill>
                  <a:schemeClr val="tx2"/>
                </a:solidFill>
                <a:latin typeface="Trebuchet MS" panose="020B0603020202020204" pitchFamily="34" charset="0"/>
              </a:rPr>
              <a:t>Altares</a:t>
            </a:r>
            <a:r>
              <a:rPr lang="en-GB" sz="1200">
                <a:solidFill>
                  <a:schemeClr val="tx2"/>
                </a:solidFill>
                <a:latin typeface="Trebuchet MS" panose="020B0603020202020204" pitchFamily="34" charset="0"/>
              </a:rPr>
              <a:t>' offer and value proposition</a:t>
            </a:r>
          </a:p>
          <a:p>
            <a:pPr marL="685800" lvl="1" indent="-228600">
              <a:spcBef>
                <a:spcPts val="600"/>
              </a:spcBef>
              <a:buAutoNum type="romanLcPeriod"/>
            </a:pPr>
            <a:r>
              <a:rPr lang="en-GB" sz="1200" err="1">
                <a:latin typeface="Trebuchet MS" panose="020B0603020202020204" pitchFamily="34" charset="0"/>
              </a:rPr>
              <a:t>Altares</a:t>
            </a:r>
            <a:r>
              <a:rPr lang="en-GB" sz="1200">
                <a:latin typeface="Trebuchet MS" panose="020B0603020202020204" pitchFamily="34" charset="0"/>
              </a:rPr>
              <a:t>’ comprehensive offer</a:t>
            </a:r>
          </a:p>
          <a:p>
            <a:pPr marL="685800" lvl="1" indent="-228600">
              <a:spcBef>
                <a:spcPts val="600"/>
              </a:spcBef>
              <a:buAutoNum type="romanLcPeriod"/>
            </a:pPr>
            <a:r>
              <a:rPr lang="en-GB" sz="1200" err="1">
                <a:solidFill>
                  <a:schemeClr val="tx2"/>
                </a:solidFill>
                <a:latin typeface="Trebuchet MS" panose="020B0603020202020204" pitchFamily="34" charset="0"/>
              </a:rPr>
              <a:t>Altares</a:t>
            </a:r>
            <a:r>
              <a:rPr lang="en-GB" sz="1200">
                <a:solidFill>
                  <a:schemeClr val="tx2"/>
                </a:solidFill>
                <a:latin typeface="Trebuchet MS" panose="020B0603020202020204" pitchFamily="34" charset="0"/>
              </a:rPr>
              <a:t>’ premium value proposition </a:t>
            </a: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loyal, resilient and diversified client base</a:t>
            </a:r>
          </a:p>
          <a:p>
            <a:pPr marL="285750" indent="-285750">
              <a:spcBef>
                <a:spcPts val="600"/>
              </a:spcBef>
              <a:buFont typeface="+mj-lt"/>
              <a:buAutoNum type="arabicPeriod"/>
            </a:pPr>
            <a:r>
              <a:rPr kumimoji="0" lang="en-GB" sz="1200" b="0" i="0" u="none" strike="noStrike" kern="1200" cap="none" spc="0" normalizeH="0" baseline="0" noProof="0" err="1">
                <a:ln>
                  <a:noFill/>
                </a:ln>
                <a:effectLst/>
                <a:uLnTx/>
                <a:uFillTx/>
                <a:latin typeface="Trebuchet MS" panose="020B0603020202020204" pitchFamily="34" charset="0"/>
                <a:ea typeface="+mn-ea"/>
                <a:cs typeface="Arial" pitchFamily="34" charset="0"/>
              </a:rPr>
              <a:t>Altares</a:t>
            </a:r>
            <a:r>
              <a:rPr kumimoji="0" lang="en-GB" sz="1200" b="0" i="0" u="none" strike="noStrike" kern="1200" cap="none" spc="0" normalizeH="0" baseline="0" noProof="0">
                <a:ln>
                  <a:noFill/>
                </a:ln>
                <a:effectLst/>
                <a:uLnTx/>
                <a:uFillTx/>
                <a:latin typeface="Trebuchet MS" panose="020B0603020202020204" pitchFamily="34" charset="0"/>
                <a:ea typeface="+mn-ea"/>
                <a:cs typeface="Arial" pitchFamily="34" charset="0"/>
              </a:rPr>
              <a:t>’ structuring partnership with Dun &amp; Bradstreet</a:t>
            </a: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high-quality comprehensive data collection</a:t>
            </a:r>
            <a:endParaRPr kumimoji="0" lang="en-GB" sz="1200" b="0" i="0" u="none" strike="noStrike" kern="1200" cap="none" spc="0" normalizeH="0" baseline="0" noProof="0">
              <a:ln>
                <a:noFill/>
              </a:ln>
              <a:effectLst/>
              <a:uLnTx/>
              <a:uFillTx/>
              <a:latin typeface="Trebuchet MS" panose="020B0603020202020204" pitchFamily="34" charset="0"/>
              <a:ea typeface="+mn-ea"/>
              <a:cs typeface="Arial" pitchFamily="34" charset="0"/>
            </a:endParaRP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fine-tuned operating </a:t>
            </a:r>
            <a:r>
              <a:rPr lang="en-GB" sz="1200" err="1">
                <a:latin typeface="Trebuchet MS" panose="020B0603020202020204" pitchFamily="34" charset="0"/>
              </a:rPr>
              <a:t>modellforce</a:t>
            </a:r>
            <a:endParaRPr kumimoji="0" lang="en-GB" sz="12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p:txBody>
      </p:sp>
      <p:sp>
        <p:nvSpPr>
          <p:cNvPr id="5" name="Chevron">
            <a:extLst>
              <a:ext uri="{FF2B5EF4-FFF2-40B4-BE49-F238E27FC236}">
                <a16:creationId xmlns:a16="http://schemas.microsoft.com/office/drawing/2014/main" id="{19C7AF68-ADEF-46DC-A209-2CDD74387B37}"/>
              </a:ext>
            </a:extLst>
          </p:cNvPr>
          <p:cNvSpPr/>
          <p:nvPr/>
        </p:nvSpPr>
        <p:spPr bwMode="auto">
          <a:xfrm>
            <a:off x="1418399" y="2685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 name="Section">
            <a:extLst>
              <a:ext uri="{FF2B5EF4-FFF2-40B4-BE49-F238E27FC236}">
                <a16:creationId xmlns:a16="http://schemas.microsoft.com/office/drawing/2014/main" id="{636E6D9A-2F3C-453B-9C0F-03B146337E4D}"/>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3</a:t>
            </a:r>
          </a:p>
        </p:txBody>
      </p:sp>
      <p:sp>
        <p:nvSpPr>
          <p:cNvPr id="7" name="Isosceles Triangle">
            <a:extLst>
              <a:ext uri="{FF2B5EF4-FFF2-40B4-BE49-F238E27FC236}">
                <a16:creationId xmlns:a16="http://schemas.microsoft.com/office/drawing/2014/main" id="{C318007B-403C-42AF-B031-9BC2368A2A62}"/>
              </a:ext>
            </a:extLst>
          </p:cNvPr>
          <p:cNvSpPr/>
          <p:nvPr/>
        </p:nvSpPr>
        <p:spPr bwMode="auto">
          <a:xfrm rot="5400000">
            <a:off x="5731200" y="2791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 name="Arrow: Pentagon">
            <a:extLst>
              <a:ext uri="{FF2B5EF4-FFF2-40B4-BE49-F238E27FC236}">
                <a16:creationId xmlns:a16="http://schemas.microsoft.com/office/drawing/2014/main" id="{7904D192-459B-4756-AE1A-D7899460519C}"/>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9" name="Oval">
            <a:extLst>
              <a:ext uri="{FF2B5EF4-FFF2-40B4-BE49-F238E27FC236}">
                <a16:creationId xmlns:a16="http://schemas.microsoft.com/office/drawing/2014/main" id="{062FBA40-225B-48C4-81CE-382D0D4B14F5}"/>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10" name="Arrow: Pentagon">
            <a:extLst>
              <a:ext uri="{FF2B5EF4-FFF2-40B4-BE49-F238E27FC236}">
                <a16:creationId xmlns:a16="http://schemas.microsoft.com/office/drawing/2014/main" id="{6035A1FD-A608-4328-AFC0-F29F7A6F9BA7}"/>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11" name="Oval">
            <a:extLst>
              <a:ext uri="{FF2B5EF4-FFF2-40B4-BE49-F238E27FC236}">
                <a16:creationId xmlns:a16="http://schemas.microsoft.com/office/drawing/2014/main" id="{EA499982-920D-489D-8219-C0CAF6B403CE}"/>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13" name="Arrow: Pentagon">
            <a:extLst>
              <a:ext uri="{FF2B5EF4-FFF2-40B4-BE49-F238E27FC236}">
                <a16:creationId xmlns:a16="http://schemas.microsoft.com/office/drawing/2014/main" id="{A2C0DC7F-2056-40FA-BBA2-72710283902B}"/>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14" name="Arrow: Pentagon">
            <a:extLst>
              <a:ext uri="{FF2B5EF4-FFF2-40B4-BE49-F238E27FC236}">
                <a16:creationId xmlns:a16="http://schemas.microsoft.com/office/drawing/2014/main" id="{B1964FC5-EE75-41DB-AF6A-F4705AFD5DBD}"/>
              </a:ext>
            </a:extLst>
          </p:cNvPr>
          <p:cNvSpPr/>
          <p:nvPr/>
        </p:nvSpPr>
        <p:spPr bwMode="auto">
          <a:xfrm>
            <a:off x="1641598" y="2685599"/>
            <a:ext cx="4319993"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value proposition &amp; core assets</a:t>
            </a:r>
          </a:p>
        </p:txBody>
      </p:sp>
      <p:sp>
        <p:nvSpPr>
          <p:cNvPr id="15" name="Oval">
            <a:extLst>
              <a:ext uri="{FF2B5EF4-FFF2-40B4-BE49-F238E27FC236}">
                <a16:creationId xmlns:a16="http://schemas.microsoft.com/office/drawing/2014/main" id="{3CDA0F79-0B46-42D7-BEAC-CFA64E765BD6}"/>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16" name="Arrow: Pentagon">
            <a:extLst>
              <a:ext uri="{FF2B5EF4-FFF2-40B4-BE49-F238E27FC236}">
                <a16:creationId xmlns:a16="http://schemas.microsoft.com/office/drawing/2014/main" id="{424DD800-A151-4D86-AC8C-D7AECB8EF0DA}"/>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17" name="Oval">
            <a:extLst>
              <a:ext uri="{FF2B5EF4-FFF2-40B4-BE49-F238E27FC236}">
                <a16:creationId xmlns:a16="http://schemas.microsoft.com/office/drawing/2014/main" id="{E3F9A132-BE90-4B67-8446-591413AFB679}"/>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39" name="Oval">
            <a:extLst>
              <a:ext uri="{FF2B5EF4-FFF2-40B4-BE49-F238E27FC236}">
                <a16:creationId xmlns:a16="http://schemas.microsoft.com/office/drawing/2014/main" id="{6EF4AC82-EFAF-4DD6-8B82-7B92C31BC27C}"/>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2292193147"/>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1E427E5-3948-4905-9E33-F6E47047EC29}"/>
              </a:ext>
            </a:extLst>
          </p:cNvPr>
          <p:cNvGraphicFramePr>
            <a:graphicFrameLocks noChangeAspect="1"/>
          </p:cNvGraphicFramePr>
          <p:nvPr>
            <p:custDataLst>
              <p:tags r:id="rId1"/>
            </p:custDataLst>
            <p:extLst>
              <p:ext uri="{D42A27DB-BD31-4B8C-83A1-F6EECF244321}">
                <p14:modId xmlns:p14="http://schemas.microsoft.com/office/powerpoint/2010/main" val="2634905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10" name="Object 9" hidden="1">
                        <a:extLst>
                          <a:ext uri="{FF2B5EF4-FFF2-40B4-BE49-F238E27FC236}">
                            <a16:creationId xmlns:a16="http://schemas.microsoft.com/office/drawing/2014/main" id="{71E427E5-3948-4905-9E33-F6E47047EC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DA3D0BC-DA7E-4962-A114-29DB29712CF8}"/>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defRPr/>
            </a:pPr>
            <a:endParaRPr kumimoji="0" lang="en-GB" sz="1600" u="none" strike="noStrike" kern="1200" cap="none" spc="0" normalizeH="0" noProof="0" dirty="0">
              <a:ln>
                <a:noFill/>
              </a:ln>
              <a:solidFill>
                <a:srgbClr val="6C6C6C"/>
              </a:solidFill>
              <a:effectLst/>
              <a:uLnTx/>
              <a:uFillTx/>
              <a:latin typeface="Trebuchet MS" panose="020B0603020202020204" pitchFamily="34" charset="0"/>
              <a:ea typeface="+mj-ea"/>
              <a:cs typeface="+mj-cs"/>
              <a:sym typeface="Trebuchet MS" panose="020B0603020202020204" pitchFamily="34" charset="0"/>
            </a:endParaRPr>
          </a:p>
        </p:txBody>
      </p:sp>
      <p:graphicFrame>
        <p:nvGraphicFramePr>
          <p:cNvPr id="114" name="Graphique 113">
            <a:extLst>
              <a:ext uri="{FF2B5EF4-FFF2-40B4-BE49-F238E27FC236}">
                <a16:creationId xmlns:a16="http://schemas.microsoft.com/office/drawing/2014/main" id="{5727DF06-2BA1-4134-B81E-C2C21A3CED50}"/>
              </a:ext>
            </a:extLst>
          </p:cNvPr>
          <p:cNvGraphicFramePr/>
          <p:nvPr>
            <p:extLst>
              <p:ext uri="{D42A27DB-BD31-4B8C-83A1-F6EECF244321}">
                <p14:modId xmlns:p14="http://schemas.microsoft.com/office/powerpoint/2010/main" val="695430671"/>
              </p:ext>
            </p:extLst>
          </p:nvPr>
        </p:nvGraphicFramePr>
        <p:xfrm>
          <a:off x="3481943" y="1052546"/>
          <a:ext cx="2952644" cy="174700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7" name="Graphique 96">
            <a:extLst>
              <a:ext uri="{FF2B5EF4-FFF2-40B4-BE49-F238E27FC236}">
                <a16:creationId xmlns:a16="http://schemas.microsoft.com/office/drawing/2014/main" id="{9D2AF1E8-014C-4672-A39F-B224348566AA}"/>
              </a:ext>
            </a:extLst>
          </p:cNvPr>
          <p:cNvGraphicFramePr/>
          <p:nvPr/>
        </p:nvGraphicFramePr>
        <p:xfrm>
          <a:off x="6792064" y="1052546"/>
          <a:ext cx="2952644" cy="174700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94" name="Graphique 93">
            <a:extLst>
              <a:ext uri="{FF2B5EF4-FFF2-40B4-BE49-F238E27FC236}">
                <a16:creationId xmlns:a16="http://schemas.microsoft.com/office/drawing/2014/main" id="{A6EAD714-73F2-45CA-911D-1E9F377FABBB}"/>
              </a:ext>
            </a:extLst>
          </p:cNvPr>
          <p:cNvGraphicFramePr/>
          <p:nvPr/>
        </p:nvGraphicFramePr>
        <p:xfrm>
          <a:off x="207500" y="1052546"/>
          <a:ext cx="2952644" cy="1747002"/>
        </p:xfrm>
        <a:graphic>
          <a:graphicData uri="http://schemas.openxmlformats.org/drawingml/2006/chart">
            <c:chart xmlns:c="http://schemas.openxmlformats.org/drawingml/2006/chart" xmlns:r="http://schemas.openxmlformats.org/officeDocument/2006/relationships" r:id="rId9"/>
          </a:graphicData>
        </a:graphic>
      </p:graphicFrame>
      <p:sp>
        <p:nvSpPr>
          <p:cNvPr id="32" name="Rectangle 31">
            <a:extLst>
              <a:ext uri="{FF2B5EF4-FFF2-40B4-BE49-F238E27FC236}">
                <a16:creationId xmlns:a16="http://schemas.microsoft.com/office/drawing/2014/main" id="{6A5B054F-3A9E-415F-BBCB-5A046CB2869B}"/>
              </a:ext>
            </a:extLst>
          </p:cNvPr>
          <p:cNvSpPr/>
          <p:nvPr/>
        </p:nvSpPr>
        <p:spPr bwMode="auto">
          <a:xfrm>
            <a:off x="3377617" y="2726315"/>
            <a:ext cx="3144377" cy="150693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ue to its regulatory nature and that it mostly addresses large and the top of mid-size players, the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ompliance</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market</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seems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protected</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from the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economic</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fluctuations</a:t>
            </a:r>
            <a:r>
              <a:rPr kumimoji="0" lang="en-GB" sz="1000" b="0" i="0" u="none" strike="noStrike" kern="1200" cap="none" spc="0" normalizeH="0" baseline="0" noProof="0">
                <a:ln>
                  <a:noFill/>
                </a:ln>
                <a:solidFill>
                  <a:srgbClr val="6C6C6C"/>
                </a:solidFill>
                <a:effectLst/>
                <a:uLnTx/>
                <a:uFillTx/>
                <a:latin typeface="Trebuchet MS" pitchFamily="34" charset="0"/>
                <a:ea typeface="+mn-ea"/>
                <a:cs typeface="Arial" pitchFamily="34" charset="0"/>
              </a:rPr>
              <a:t> and should therefore be little affected by the Covid-19 crisi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GB" sz="1000" b="0" i="0" u="none" strike="noStrike" kern="1200" cap="none" spc="0" normalizeH="0" baseline="0" noProof="0">
              <a:ln>
                <a:noFill/>
              </a:ln>
              <a:solidFill>
                <a:srgbClr val="6C6C6C"/>
              </a:solidFill>
              <a:effectLst/>
              <a:uLnTx/>
              <a:uFillTx/>
              <a:latin typeface="Trebuchet MS" pitchFamily="34" charset="0"/>
              <a:ea typeface="+mn-ea"/>
              <a:cs typeface="Arial" pitchFamily="34"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itchFamily="34" charset="0"/>
                <a:ea typeface="+mn-ea"/>
                <a:cs typeface="Arial" pitchFamily="34" charset="0"/>
              </a:rPr>
              <a:t>The growth over the period is due to the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structural effect of the growing penetration rate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within companies</a:t>
            </a:r>
          </a:p>
        </p:txBody>
      </p:sp>
      <p:sp>
        <p:nvSpPr>
          <p:cNvPr id="2" name="Titre 1">
            <a:extLst>
              <a:ext uri="{FF2B5EF4-FFF2-40B4-BE49-F238E27FC236}">
                <a16:creationId xmlns:a16="http://schemas.microsoft.com/office/drawing/2014/main" id="{85719187-3176-4DF6-907D-B341547AB7A2}"/>
              </a:ext>
            </a:extLst>
          </p:cNvPr>
          <p:cNvSpPr>
            <a:spLocks noGrp="1"/>
          </p:cNvSpPr>
          <p:nvPr>
            <p:ph type="title"/>
          </p:nvPr>
        </p:nvSpPr>
        <p:spPr>
          <a:xfrm>
            <a:off x="165600" y="147600"/>
            <a:ext cx="8585472" cy="684000"/>
          </a:xfrm>
        </p:spPr>
        <p:txBody>
          <a:bodyPr/>
          <a:lstStyle/>
          <a:p>
            <a:r>
              <a:rPr lang="en-GB" dirty="0">
                <a:latin typeface="Trebuchet MS" panose="020B0603020202020204" pitchFamily="34" charset="0"/>
              </a:rPr>
              <a:t>The </a:t>
            </a:r>
            <a:r>
              <a:rPr lang="en-GB" dirty="0">
                <a:solidFill>
                  <a:schemeClr val="tx2"/>
                </a:solidFill>
                <a:latin typeface="Trebuchet MS" panose="020B0603020202020204" pitchFamily="34" charset="0"/>
              </a:rPr>
              <a:t>limited</a:t>
            </a:r>
            <a:r>
              <a:rPr lang="en-GB" dirty="0">
                <a:latin typeface="Trebuchet MS" panose="020B0603020202020204" pitchFamily="34" charset="0"/>
              </a:rPr>
              <a:t> </a:t>
            </a:r>
            <a:r>
              <a:rPr lang="en-GB" dirty="0">
                <a:solidFill>
                  <a:schemeClr val="tx2"/>
                </a:solidFill>
                <a:latin typeface="Trebuchet MS" panose="020B0603020202020204" pitchFamily="34" charset="0"/>
              </a:rPr>
              <a:t>Covid-19</a:t>
            </a:r>
            <a:r>
              <a:rPr lang="en-GB" dirty="0">
                <a:latin typeface="Trebuchet MS" panose="020B0603020202020204" pitchFamily="34" charset="0"/>
              </a:rPr>
              <a:t> </a:t>
            </a:r>
            <a:r>
              <a:rPr lang="en-GB" dirty="0">
                <a:solidFill>
                  <a:schemeClr val="tx2"/>
                </a:solidFill>
                <a:latin typeface="Trebuchet MS" panose="020B0603020202020204" pitchFamily="34" charset="0"/>
              </a:rPr>
              <a:t>impact</a:t>
            </a:r>
            <a:r>
              <a:rPr lang="en-GB" dirty="0">
                <a:latin typeface="Trebuchet MS" panose="020B0603020202020204" pitchFamily="34" charset="0"/>
              </a:rPr>
              <a:t> demonstrates the </a:t>
            </a:r>
            <a:r>
              <a:rPr lang="en-GB" dirty="0">
                <a:solidFill>
                  <a:schemeClr val="tx2"/>
                </a:solidFill>
                <a:latin typeface="Trebuchet MS" panose="020B0603020202020204" pitchFamily="34" charset="0"/>
              </a:rPr>
              <a:t>strong</a:t>
            </a:r>
            <a:r>
              <a:rPr lang="en-GB" dirty="0">
                <a:latin typeface="Trebuchet MS" panose="020B0603020202020204" pitchFamily="34" charset="0"/>
              </a:rPr>
              <a:t> </a:t>
            </a:r>
            <a:r>
              <a:rPr lang="en-GB" dirty="0">
                <a:solidFill>
                  <a:schemeClr val="tx2"/>
                </a:solidFill>
                <a:latin typeface="Trebuchet MS" panose="020B0603020202020204" pitchFamily="34" charset="0"/>
              </a:rPr>
              <a:t>resilience</a:t>
            </a:r>
            <a:r>
              <a:rPr lang="en-GB" dirty="0">
                <a:latin typeface="Trebuchet MS" panose="020B0603020202020204" pitchFamily="34" charset="0"/>
              </a:rPr>
              <a:t> of the BD&amp;A market, as the offerings support companies </a:t>
            </a:r>
            <a:r>
              <a:rPr lang="en-GB" dirty="0">
                <a:solidFill>
                  <a:schemeClr val="tx2"/>
                </a:solidFill>
                <a:latin typeface="Trebuchet MS" panose="020B0603020202020204" pitchFamily="34" charset="0"/>
              </a:rPr>
              <a:t>both in period of growth and in times of crisis</a:t>
            </a:r>
          </a:p>
        </p:txBody>
      </p:sp>
      <p:sp>
        <p:nvSpPr>
          <p:cNvPr id="3" name="Espace réservé du texte 2">
            <a:extLst>
              <a:ext uri="{FF2B5EF4-FFF2-40B4-BE49-F238E27FC236}">
                <a16:creationId xmlns:a16="http://schemas.microsoft.com/office/drawing/2014/main" id="{CDF6068E-6FF4-45E2-848E-3107DADC832E}"/>
              </a:ext>
            </a:extLst>
          </p:cNvPr>
          <p:cNvSpPr>
            <a:spLocks noGrp="1"/>
          </p:cNvSpPr>
          <p:nvPr>
            <p:ph type="body" sz="quarter" idx="10"/>
          </p:nvPr>
        </p:nvSpPr>
        <p:spPr/>
        <p:txBody>
          <a:bodyPr/>
          <a:lstStyle/>
          <a:p>
            <a:r>
              <a:rPr lang="en-GB"/>
              <a:t>Sources: eleven research &amp; analysis, expert calls</a:t>
            </a:r>
          </a:p>
          <a:p>
            <a:endParaRPr lang="en-GB"/>
          </a:p>
        </p:txBody>
      </p:sp>
      <p:grpSp>
        <p:nvGrpSpPr>
          <p:cNvPr id="4" name="Groupe 3">
            <a:extLst>
              <a:ext uri="{FF2B5EF4-FFF2-40B4-BE49-F238E27FC236}">
                <a16:creationId xmlns:a16="http://schemas.microsoft.com/office/drawing/2014/main" id="{D77EB932-D2EA-4B57-ADCC-2F38ADC87320}"/>
              </a:ext>
            </a:extLst>
          </p:cNvPr>
          <p:cNvGrpSpPr/>
          <p:nvPr/>
        </p:nvGrpSpPr>
        <p:grpSpPr>
          <a:xfrm>
            <a:off x="188265" y="980480"/>
            <a:ext cx="2880000" cy="175201"/>
            <a:chOff x="183000" y="3716319"/>
            <a:chExt cx="9540000" cy="175201"/>
          </a:xfrm>
        </p:grpSpPr>
        <p:cxnSp>
          <p:nvCxnSpPr>
            <p:cNvPr id="12" name="Connecteur droit 11">
              <a:extLst>
                <a:ext uri="{FF2B5EF4-FFF2-40B4-BE49-F238E27FC236}">
                  <a16:creationId xmlns:a16="http://schemas.microsoft.com/office/drawing/2014/main" id="{6AB65B3D-7D52-448B-A0CB-900D6C09ED09}"/>
                </a:ext>
              </a:extLst>
            </p:cNvPr>
            <p:cNvCxnSpPr>
              <a:cxnSpLocks/>
            </p:cNvCxnSpPr>
            <p:nvPr/>
          </p:nvCxnSpPr>
          <p:spPr bwMode="auto">
            <a:xfrm>
              <a:off x="183000" y="3813504"/>
              <a:ext cx="9540000"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13" name="Rectangle 84">
              <a:extLst>
                <a:ext uri="{FF2B5EF4-FFF2-40B4-BE49-F238E27FC236}">
                  <a16:creationId xmlns:a16="http://schemas.microsoft.com/office/drawing/2014/main" id="{AF62AA6B-1731-4411-B315-DEB7B769EDEC}"/>
                </a:ext>
              </a:extLst>
            </p:cNvPr>
            <p:cNvSpPr/>
            <p:nvPr/>
          </p:nvSpPr>
          <p:spPr bwMode="auto">
            <a:xfrm>
              <a:off x="2078651" y="3716319"/>
              <a:ext cx="5748698" cy="17520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a:ln>
                    <a:noFill/>
                  </a:ln>
                  <a:solidFill>
                    <a:srgbClr val="00A3E2">
                      <a:lumMod val="75000"/>
                    </a:srgbClr>
                  </a:solidFill>
                  <a:effectLst/>
                  <a:uLnTx/>
                  <a:uFillTx/>
                  <a:latin typeface="Trebuchet MS" panose="020B0603020202020204" pitchFamily="34" charset="0"/>
                  <a:ea typeface="+mn-ea"/>
                  <a:cs typeface="Arial" pitchFamily="34" charset="0"/>
                </a:rPr>
                <a:t>Credit &amp; financial risk</a:t>
              </a:r>
            </a:p>
          </p:txBody>
        </p:sp>
      </p:grpSp>
      <p:grpSp>
        <p:nvGrpSpPr>
          <p:cNvPr id="14" name="Groupe 13">
            <a:extLst>
              <a:ext uri="{FF2B5EF4-FFF2-40B4-BE49-F238E27FC236}">
                <a16:creationId xmlns:a16="http://schemas.microsoft.com/office/drawing/2014/main" id="{B01E09B0-EDD1-4872-89F1-DB15E433FE4A}"/>
              </a:ext>
            </a:extLst>
          </p:cNvPr>
          <p:cNvGrpSpPr/>
          <p:nvPr/>
        </p:nvGrpSpPr>
        <p:grpSpPr>
          <a:xfrm>
            <a:off x="6848265" y="926999"/>
            <a:ext cx="2880000" cy="282162"/>
            <a:chOff x="183000" y="3662838"/>
            <a:chExt cx="9540000" cy="282162"/>
          </a:xfrm>
        </p:grpSpPr>
        <p:cxnSp>
          <p:nvCxnSpPr>
            <p:cNvPr id="15" name="Connecteur droit 14">
              <a:extLst>
                <a:ext uri="{FF2B5EF4-FFF2-40B4-BE49-F238E27FC236}">
                  <a16:creationId xmlns:a16="http://schemas.microsoft.com/office/drawing/2014/main" id="{A9D96177-1F13-4B64-8B92-6EF4141AEB33}"/>
                </a:ext>
              </a:extLst>
            </p:cNvPr>
            <p:cNvCxnSpPr>
              <a:cxnSpLocks/>
            </p:cNvCxnSpPr>
            <p:nvPr/>
          </p:nvCxnSpPr>
          <p:spPr bwMode="auto">
            <a:xfrm>
              <a:off x="183000" y="3813504"/>
              <a:ext cx="9540000"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16" name="Rectangle 84">
              <a:extLst>
                <a:ext uri="{FF2B5EF4-FFF2-40B4-BE49-F238E27FC236}">
                  <a16:creationId xmlns:a16="http://schemas.microsoft.com/office/drawing/2014/main" id="{58D6EB86-2D67-4B64-AD63-2798CC3D91F8}"/>
                </a:ext>
              </a:extLst>
            </p:cNvPr>
            <p:cNvSpPr/>
            <p:nvPr/>
          </p:nvSpPr>
          <p:spPr bwMode="auto">
            <a:xfrm>
              <a:off x="3168255" y="3662838"/>
              <a:ext cx="3569490"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a:ln>
                    <a:noFill/>
                  </a:ln>
                  <a:solidFill>
                    <a:srgbClr val="00A3E2">
                      <a:lumMod val="75000"/>
                    </a:srgbClr>
                  </a:solidFill>
                  <a:effectLst/>
                  <a:uLnTx/>
                  <a:uFillTx/>
                  <a:latin typeface="Trebuchet MS" panose="020B0603020202020204" pitchFamily="34" charset="0"/>
                  <a:ea typeface="+mn-ea"/>
                  <a:cs typeface="Arial" pitchFamily="34" charset="0"/>
                </a:rPr>
                <a:t>B2B Marketing</a:t>
              </a:r>
            </a:p>
          </p:txBody>
        </p:sp>
      </p:grpSp>
      <p:grpSp>
        <p:nvGrpSpPr>
          <p:cNvPr id="17" name="Groupe 16">
            <a:extLst>
              <a:ext uri="{FF2B5EF4-FFF2-40B4-BE49-F238E27FC236}">
                <a16:creationId xmlns:a16="http://schemas.microsoft.com/office/drawing/2014/main" id="{DA10A455-9270-4248-9774-0A458901B3E6}"/>
              </a:ext>
            </a:extLst>
          </p:cNvPr>
          <p:cNvGrpSpPr/>
          <p:nvPr/>
        </p:nvGrpSpPr>
        <p:grpSpPr>
          <a:xfrm>
            <a:off x="3518265" y="926999"/>
            <a:ext cx="2880000" cy="282162"/>
            <a:chOff x="183000" y="3662838"/>
            <a:chExt cx="9540000" cy="282162"/>
          </a:xfrm>
        </p:grpSpPr>
        <p:cxnSp>
          <p:nvCxnSpPr>
            <p:cNvPr id="18" name="Connecteur droit 17">
              <a:extLst>
                <a:ext uri="{FF2B5EF4-FFF2-40B4-BE49-F238E27FC236}">
                  <a16:creationId xmlns:a16="http://schemas.microsoft.com/office/drawing/2014/main" id="{F20C9C6E-71AB-43BE-9746-D5AAF4A57131}"/>
                </a:ext>
              </a:extLst>
            </p:cNvPr>
            <p:cNvCxnSpPr>
              <a:cxnSpLocks/>
            </p:cNvCxnSpPr>
            <p:nvPr/>
          </p:nvCxnSpPr>
          <p:spPr bwMode="auto">
            <a:xfrm>
              <a:off x="183000" y="3813504"/>
              <a:ext cx="9540000"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19" name="Rectangle 84">
              <a:extLst>
                <a:ext uri="{FF2B5EF4-FFF2-40B4-BE49-F238E27FC236}">
                  <a16:creationId xmlns:a16="http://schemas.microsoft.com/office/drawing/2014/main" id="{FD3848EB-4442-48D1-85DA-EC9CA2740676}"/>
                </a:ext>
              </a:extLst>
            </p:cNvPr>
            <p:cNvSpPr/>
            <p:nvPr/>
          </p:nvSpPr>
          <p:spPr bwMode="auto">
            <a:xfrm>
              <a:off x="3168255" y="3662838"/>
              <a:ext cx="3569490"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a:ln>
                    <a:noFill/>
                  </a:ln>
                  <a:solidFill>
                    <a:srgbClr val="00A3E2">
                      <a:lumMod val="75000"/>
                    </a:srgbClr>
                  </a:solidFill>
                  <a:effectLst/>
                  <a:uLnTx/>
                  <a:uFillTx/>
                  <a:latin typeface="Trebuchet MS" panose="020B0603020202020204" pitchFamily="34" charset="0"/>
                  <a:ea typeface="+mn-ea"/>
                  <a:cs typeface="Arial" pitchFamily="34" charset="0"/>
                </a:rPr>
                <a:t>Compliance</a:t>
              </a:r>
            </a:p>
          </p:txBody>
        </p:sp>
      </p:grpSp>
      <p:cxnSp>
        <p:nvCxnSpPr>
          <p:cNvPr id="21" name="Connecteur droit 20">
            <a:extLst>
              <a:ext uri="{FF2B5EF4-FFF2-40B4-BE49-F238E27FC236}">
                <a16:creationId xmlns:a16="http://schemas.microsoft.com/office/drawing/2014/main" id="{F67452FB-D661-498F-A241-2703CA505BBC}"/>
              </a:ext>
            </a:extLst>
          </p:cNvPr>
          <p:cNvCxnSpPr>
            <a:cxnSpLocks/>
          </p:cNvCxnSpPr>
          <p:nvPr/>
        </p:nvCxnSpPr>
        <p:spPr bwMode="auto">
          <a:xfrm>
            <a:off x="3303294" y="1077665"/>
            <a:ext cx="0" cy="4454641"/>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26" name="Rectangle 25">
            <a:extLst>
              <a:ext uri="{FF2B5EF4-FFF2-40B4-BE49-F238E27FC236}">
                <a16:creationId xmlns:a16="http://schemas.microsoft.com/office/drawing/2014/main" id="{03EB0B39-D44D-4B19-8751-410B622C1472}"/>
              </a:ext>
            </a:extLst>
          </p:cNvPr>
          <p:cNvSpPr/>
          <p:nvPr/>
        </p:nvSpPr>
        <p:spPr bwMode="auto">
          <a:xfrm>
            <a:off x="84592" y="2726316"/>
            <a:ext cx="3132000" cy="1507881"/>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The Covid-19 crisis is creating a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scissor effect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with a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positive impact </a:t>
            </a:r>
            <a:r>
              <a:rPr kumimoji="0" lang="en-GB" sz="1000" b="0" i="0" u="none" strike="noStrike" kern="1200" cap="none" spc="0" normalizeH="0" baseline="0" noProof="0">
                <a:ln>
                  <a:noFill/>
                </a:ln>
                <a:effectLst/>
                <a:uLnTx/>
                <a:uFillTx/>
                <a:latin typeface="Trebuchet MS" panose="020B0603020202020204" pitchFamily="34" charset="0"/>
                <a:ea typeface="+mn-ea"/>
                <a:cs typeface="Arial" pitchFamily="34" charset="0"/>
              </a:rPr>
              <a:t>in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oth geographies: </a:t>
            </a:r>
          </a:p>
          <a:p>
            <a:pPr marL="354013" lvl="1" indent="-171450">
              <a:buFont typeface="Courier New" panose="02070309020205020404" pitchFamily="49" charset="0"/>
              <a:buChar char="o"/>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Increase needs as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KYC</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KYS</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processes</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re even more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ritical</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in times of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risis</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because companies become more risk-adverse</a:t>
            </a:r>
          </a:p>
          <a:p>
            <a:pPr marL="354013" lvl="1" indent="-171450">
              <a:buFont typeface="Courier New" panose="02070309020205020404" pitchFamily="49" charset="0"/>
              <a:buChar char="o"/>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Increase in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price pressure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ue to financial stress</a:t>
            </a:r>
          </a:p>
          <a:p>
            <a:pPr marL="171450" indent="-171450">
              <a:buFont typeface="Courier New" panose="02070309020205020404" pitchFamily="49" charset="0"/>
              <a:buChar char="o"/>
              <a:defRPr/>
            </a:pPr>
            <a:r>
              <a:rPr kumimoji="0" lang="en-GB" sz="1000" b="0"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Premium players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will benefit from a </a:t>
            </a:r>
            <a:r>
              <a:rPr kumimoji="0" lang="en-GB" sz="1000" b="0"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windfall effect”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s </a:t>
            </a:r>
            <a:r>
              <a:rPr lang="en-GB" sz="1000">
                <a:solidFill>
                  <a:srgbClr val="6C6C6C"/>
                </a:solidFill>
                <a:latin typeface="Trebuchet MS" panose="020B0603020202020204" pitchFamily="34" charset="0"/>
              </a:rPr>
              <a:t>they offer the only </a:t>
            </a:r>
            <a:r>
              <a:rPr lang="en-GB" sz="1000">
                <a:solidFill>
                  <a:schemeClr val="tx2"/>
                </a:solidFill>
                <a:latin typeface="Trebuchet MS" panose="020B0603020202020204" pitchFamily="34" charset="0"/>
              </a:rPr>
              <a:t>reliable</a:t>
            </a:r>
            <a:r>
              <a:rPr lang="en-GB" sz="1000">
                <a:solidFill>
                  <a:srgbClr val="6C6C6C"/>
                </a:solidFill>
                <a:latin typeface="Trebuchet MS" panose="020B0603020202020204" pitchFamily="34" charset="0"/>
              </a:rPr>
              <a:t> risk management tool in times of crisis</a:t>
            </a:r>
            <a:endPar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p:txBody>
      </p:sp>
      <p:sp>
        <p:nvSpPr>
          <p:cNvPr id="28" name="Rectangle 27">
            <a:extLst>
              <a:ext uri="{FF2B5EF4-FFF2-40B4-BE49-F238E27FC236}">
                <a16:creationId xmlns:a16="http://schemas.microsoft.com/office/drawing/2014/main" id="{F4C3BD8E-0427-48E7-9292-26A279C2E22C}"/>
              </a:ext>
            </a:extLst>
          </p:cNvPr>
          <p:cNvSpPr/>
          <p:nvPr/>
        </p:nvSpPr>
        <p:spPr bwMode="auto">
          <a:xfrm>
            <a:off x="278265" y="4358564"/>
            <a:ext cx="2952725" cy="11484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300"/>
              </a:spcAft>
              <a:buClrTx/>
              <a:buSzTx/>
              <a:buFontTx/>
              <a:buNone/>
              <a:tabLst/>
              <a:defRPr/>
            </a:pPr>
            <a:r>
              <a:rPr kumimoji="0" lang="en-GB" sz="1000" b="0" i="1" u="none" strike="noStrike" kern="1200" cap="none" spc="-30" normalizeH="0" baseline="0" noProof="0">
                <a:ln>
                  <a:noFill/>
                </a:ln>
                <a:solidFill>
                  <a:srgbClr val="6C6C6C"/>
                </a:solidFill>
                <a:effectLst/>
                <a:uLnTx/>
                <a:uFillTx/>
                <a:latin typeface="Trebuchet MS" panose="020B0603020202020204" pitchFamily="34" charset="0"/>
                <a:ea typeface="+mn-ea"/>
                <a:cs typeface="Arial" pitchFamily="34" charset="0"/>
              </a:rPr>
              <a:t>“In times of crisis, </a:t>
            </a:r>
            <a:r>
              <a:rPr kumimoji="0" lang="en-GB" sz="1000" b="0" i="1" u="none" strike="noStrike" kern="1200" cap="none" spc="-30" normalizeH="0" baseline="0" noProof="0">
                <a:ln>
                  <a:noFill/>
                </a:ln>
                <a:solidFill>
                  <a:srgbClr val="289B38"/>
                </a:solidFill>
                <a:effectLst/>
                <a:uLnTx/>
                <a:uFillTx/>
                <a:latin typeface="Trebuchet MS" panose="020B0603020202020204" pitchFamily="34" charset="0"/>
                <a:ea typeface="+mn-ea"/>
                <a:cs typeface="Arial" pitchFamily="34" charset="0"/>
              </a:rPr>
              <a:t>credit insurance works rather badly</a:t>
            </a:r>
            <a:r>
              <a:rPr kumimoji="0" lang="en-GB" sz="1000" b="0" i="1" u="none" strike="noStrike" kern="1200" cap="none" spc="-30" normalizeH="0" baseline="0" noProof="0">
                <a:ln>
                  <a:noFill/>
                </a:ln>
                <a:solidFill>
                  <a:srgbClr val="6C6C6C"/>
                </a:solidFill>
                <a:effectLst/>
                <a:uLnTx/>
                <a:uFillTx/>
                <a:latin typeface="Trebuchet MS" panose="020B0603020202020204" pitchFamily="34" charset="0"/>
                <a:ea typeface="+mn-ea"/>
                <a:cs typeface="Arial" pitchFamily="34" charset="0"/>
              </a:rPr>
              <a:t> and has bad reputation. The </a:t>
            </a:r>
            <a:r>
              <a:rPr kumimoji="0" lang="en-GB" sz="1000" b="0" i="1" u="none" strike="noStrike" kern="1200" cap="none" spc="-30" normalizeH="0" baseline="0" noProof="0">
                <a:ln>
                  <a:noFill/>
                </a:ln>
                <a:solidFill>
                  <a:srgbClr val="289B38"/>
                </a:solidFill>
                <a:effectLst/>
                <a:uLnTx/>
                <a:uFillTx/>
                <a:latin typeface="Trebuchet MS" panose="020B0603020202020204" pitchFamily="34" charset="0"/>
                <a:ea typeface="+mn-ea"/>
                <a:cs typeface="Arial" pitchFamily="34" charset="0"/>
              </a:rPr>
              <a:t>only answers </a:t>
            </a:r>
            <a:r>
              <a:rPr kumimoji="0" lang="en-GB" sz="1000" b="0" i="1" u="none" strike="noStrike" kern="1200" cap="none" spc="-30" normalizeH="0" baseline="0" noProof="0">
                <a:ln>
                  <a:noFill/>
                </a:ln>
                <a:solidFill>
                  <a:srgbClr val="6C6C6C"/>
                </a:solidFill>
                <a:effectLst/>
                <a:uLnTx/>
                <a:uFillTx/>
                <a:latin typeface="Trebuchet MS" panose="020B0603020202020204" pitchFamily="34" charset="0"/>
                <a:ea typeface="+mn-ea"/>
                <a:cs typeface="Arial" pitchFamily="34" charset="0"/>
              </a:rPr>
              <a:t>for companies are to </a:t>
            </a:r>
            <a:r>
              <a:rPr kumimoji="0" lang="en-GB" sz="1000" b="0" i="1" u="none" strike="noStrike" kern="1200" cap="none" spc="-30" normalizeH="0" baseline="0" noProof="0">
                <a:ln>
                  <a:noFill/>
                </a:ln>
                <a:solidFill>
                  <a:srgbClr val="289B38"/>
                </a:solidFill>
                <a:effectLst/>
                <a:uLnTx/>
                <a:uFillTx/>
                <a:latin typeface="Trebuchet MS" panose="020B0603020202020204" pitchFamily="34" charset="0"/>
                <a:ea typeface="+mn-ea"/>
                <a:cs typeface="Arial" pitchFamily="34" charset="0"/>
              </a:rPr>
              <a:t>get well informed</a:t>
            </a:r>
            <a:r>
              <a:rPr kumimoji="0" lang="en-GB" sz="1000" b="0" i="1" u="none" strike="noStrike" kern="1200" cap="none" spc="-30" normalizeH="0" baseline="0" noProof="0">
                <a:ln>
                  <a:noFill/>
                </a:ln>
                <a:solidFill>
                  <a:srgbClr val="6C6C6C"/>
                </a:solidFill>
                <a:effectLst/>
                <a:uLnTx/>
                <a:uFillTx/>
                <a:latin typeface="Trebuchet MS" panose="020B0603020202020204" pitchFamily="34" charset="0"/>
                <a:ea typeface="+mn-ea"/>
                <a:cs typeface="Arial" pitchFamily="34" charset="0"/>
              </a:rPr>
              <a:t>, to self-insure and to make reserve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50" normalizeH="0" baseline="0" noProof="0">
                <a:ln>
                  <a:noFill/>
                </a:ln>
                <a:solidFill>
                  <a:srgbClr val="6C6C6C"/>
                </a:solidFill>
                <a:effectLst/>
                <a:uLnTx/>
                <a:uFillTx/>
                <a:latin typeface="Trebuchet MS" panose="020B0603020202020204" pitchFamily="34" charset="0"/>
                <a:ea typeface="+mn-ea"/>
                <a:cs typeface="Arial" pitchFamily="34" charset="0"/>
              </a:rPr>
              <a:t>Former Managing Director at Graydon</a:t>
            </a:r>
          </a:p>
        </p:txBody>
      </p:sp>
      <p:sp>
        <p:nvSpPr>
          <p:cNvPr id="29" name="Freeform 663">
            <a:extLst>
              <a:ext uri="{FF2B5EF4-FFF2-40B4-BE49-F238E27FC236}">
                <a16:creationId xmlns:a16="http://schemas.microsoft.com/office/drawing/2014/main" id="{E28E2BA2-B193-4A4E-BF2C-E9D8477F7C9F}"/>
              </a:ext>
            </a:extLst>
          </p:cNvPr>
          <p:cNvSpPr>
            <a:spLocks noEditPoints="1"/>
          </p:cNvSpPr>
          <p:nvPr/>
        </p:nvSpPr>
        <p:spPr bwMode="auto">
          <a:xfrm>
            <a:off x="158598" y="4806764"/>
            <a:ext cx="228975"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30" name="Rectangle 29">
            <a:extLst>
              <a:ext uri="{FF2B5EF4-FFF2-40B4-BE49-F238E27FC236}">
                <a16:creationId xmlns:a16="http://schemas.microsoft.com/office/drawing/2014/main" id="{DB4EE7E7-42E4-4AE5-817E-56FA2779C81A}"/>
              </a:ext>
            </a:extLst>
          </p:cNvPr>
          <p:cNvSpPr/>
          <p:nvPr/>
        </p:nvSpPr>
        <p:spPr bwMode="auto">
          <a:xfrm>
            <a:off x="3518264" y="4358564"/>
            <a:ext cx="3005747" cy="11484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0"/>
              </a:spcAft>
              <a:buClrTx/>
              <a:buSzTx/>
              <a:buFontTx/>
              <a:buNone/>
              <a:tabLst/>
              <a:defRPr/>
            </a:pPr>
            <a:r>
              <a:rPr kumimoji="0" lang="en-GB" sz="1000" b="0" i="1"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The Covid-19 will have no impact on UBO processes but will have some on KYC/KYS in the short term: Fraud is already appearing, for example in the sale of masks. The </a:t>
            </a:r>
            <a:r>
              <a:rPr kumimoji="0" lang="en-GB" sz="1000" b="0" i="1" u="none" strike="noStrike" kern="1200" cap="none" spc="0" normalizeH="0" baseline="0" noProof="0" dirty="0">
                <a:ln>
                  <a:noFill/>
                </a:ln>
                <a:solidFill>
                  <a:srgbClr val="289B38"/>
                </a:solidFill>
                <a:effectLst/>
                <a:uLnTx/>
                <a:uFillTx/>
                <a:latin typeface="Trebuchet MS" panose="020B0603020202020204" pitchFamily="34" charset="0"/>
                <a:ea typeface="+mn-ea"/>
                <a:cs typeface="Arial" pitchFamily="34" charset="0"/>
              </a:rPr>
              <a:t>Covid-19</a:t>
            </a:r>
            <a:r>
              <a:rPr kumimoji="0" lang="en-GB" sz="1000" b="0" i="1"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 therefore only </a:t>
            </a:r>
            <a:r>
              <a:rPr kumimoji="0" lang="en-GB" sz="1000" b="0" i="1" u="none" strike="noStrike" kern="1200" cap="none" spc="0" normalizeH="0" baseline="0" noProof="0" dirty="0">
                <a:ln>
                  <a:noFill/>
                </a:ln>
                <a:solidFill>
                  <a:srgbClr val="289B38"/>
                </a:solidFill>
                <a:effectLst/>
                <a:uLnTx/>
                <a:uFillTx/>
                <a:latin typeface="Trebuchet MS" panose="020B0603020202020204" pitchFamily="34" charset="0"/>
                <a:ea typeface="+mn-ea"/>
                <a:cs typeface="Arial" pitchFamily="34" charset="0"/>
              </a:rPr>
              <a:t>offers</a:t>
            </a:r>
            <a:r>
              <a:rPr kumimoji="0" lang="en-GB" sz="1000" b="0" i="1"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 </a:t>
            </a:r>
            <a:r>
              <a:rPr kumimoji="0" lang="en-GB" sz="1000" b="0" i="1" u="none" strike="noStrike" kern="1200" cap="none" spc="0" normalizeH="0" baseline="0" noProof="0" dirty="0">
                <a:ln>
                  <a:noFill/>
                </a:ln>
                <a:solidFill>
                  <a:srgbClr val="289B38"/>
                </a:solidFill>
                <a:effectLst/>
                <a:uLnTx/>
                <a:uFillTx/>
                <a:latin typeface="Trebuchet MS" panose="020B0603020202020204" pitchFamily="34" charset="0"/>
                <a:ea typeface="+mn-ea"/>
                <a:cs typeface="Arial" pitchFamily="34" charset="0"/>
              </a:rPr>
              <a:t>new</a:t>
            </a:r>
            <a:r>
              <a:rPr kumimoji="0" lang="en-GB" sz="1000" b="0" i="1"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 </a:t>
            </a:r>
            <a:r>
              <a:rPr kumimoji="0" lang="en-GB" sz="1000" b="0" i="1" u="none" strike="noStrike" kern="1200" cap="none" spc="0" normalizeH="0" baseline="0" noProof="0" dirty="0">
                <a:ln>
                  <a:noFill/>
                </a:ln>
                <a:solidFill>
                  <a:srgbClr val="289B38"/>
                </a:solidFill>
                <a:effectLst/>
                <a:uLnTx/>
                <a:uFillTx/>
                <a:latin typeface="Trebuchet MS" panose="020B0603020202020204" pitchFamily="34" charset="0"/>
                <a:ea typeface="+mn-ea"/>
                <a:cs typeface="Arial" pitchFamily="34" charset="0"/>
              </a:rPr>
              <a:t>opportunities</a:t>
            </a:r>
            <a:r>
              <a:rPr kumimoji="0" lang="en-GB" sz="1000" b="0" i="1"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 for </a:t>
            </a:r>
            <a:r>
              <a:rPr kumimoji="0" lang="en-GB" sz="1000" b="0" i="1" u="none" strike="noStrike" kern="1200" cap="none" spc="0" normalizeH="0" baseline="0" noProof="0" dirty="0">
                <a:ln>
                  <a:noFill/>
                </a:ln>
                <a:solidFill>
                  <a:srgbClr val="289B38"/>
                </a:solidFill>
                <a:effectLst/>
                <a:uLnTx/>
                <a:uFillTx/>
                <a:latin typeface="Trebuchet MS" panose="020B0603020202020204" pitchFamily="34" charset="0"/>
                <a:ea typeface="+mn-ea"/>
                <a:cs typeface="Arial" pitchFamily="34" charset="0"/>
              </a:rPr>
              <a:t>fraud</a:t>
            </a:r>
            <a:r>
              <a:rPr kumimoji="0" lang="en-GB" sz="1000" b="0" i="1"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 </a:t>
            </a:r>
            <a:r>
              <a:rPr kumimoji="0" lang="en-GB" sz="1000" b="0" i="1" u="none" strike="noStrike" kern="1200" cap="none" spc="0" normalizeH="0" baseline="0" noProof="0" dirty="0">
                <a:ln>
                  <a:noFill/>
                </a:ln>
                <a:effectLst/>
                <a:uLnTx/>
                <a:uFillTx/>
                <a:latin typeface="Trebuchet MS" panose="020B0603020202020204" pitchFamily="34" charset="0"/>
                <a:ea typeface="+mn-ea"/>
                <a:cs typeface="Arial" pitchFamily="34" charset="0"/>
              </a:rPr>
              <a:t>but</a:t>
            </a:r>
            <a:r>
              <a:rPr kumimoji="0" lang="en-GB" sz="1000" b="0" i="1"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 won’t structural impact”</a:t>
            </a:r>
          </a:p>
          <a:p>
            <a:pPr marL="0" marR="0" lvl="0" indent="0" algn="l" defTabSz="914400" rtl="0" eaLnBrk="1" fontAlgn="base" latinLnBrk="0" hangingPunct="1">
              <a:lnSpc>
                <a:spcPts val="1100"/>
              </a:lnSpc>
              <a:spcBef>
                <a:spcPct val="0"/>
              </a:spcBef>
              <a:spcAft>
                <a:spcPts val="0"/>
              </a:spcAft>
              <a:buClrTx/>
              <a:buSzTx/>
              <a:buFontTx/>
              <a:buNone/>
              <a:tabLst/>
              <a:defRPr/>
            </a:pPr>
            <a:r>
              <a:rPr kumimoji="0" lang="en-GB" sz="1000" b="0" i="0" u="none" strike="noStrike" kern="1200" cap="none" spc="-30" normalizeH="0" baseline="0" noProof="0" dirty="0">
                <a:ln>
                  <a:noFill/>
                </a:ln>
                <a:solidFill>
                  <a:srgbClr val="6C6C6C"/>
                </a:solidFill>
                <a:effectLst/>
                <a:uLnTx/>
                <a:uFillTx/>
                <a:latin typeface="Trebuchet MS" panose="020B0603020202020204" pitchFamily="34" charset="0"/>
                <a:ea typeface="+mn-ea"/>
                <a:cs typeface="Arial" pitchFamily="34" charset="0"/>
              </a:rPr>
              <a:t>Former Managing Director at Graydon</a:t>
            </a:r>
            <a:endParaRPr kumimoji="0" lang="en-GB" sz="1000" b="0" i="0"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endParaRPr>
          </a:p>
        </p:txBody>
      </p:sp>
      <p:sp>
        <p:nvSpPr>
          <p:cNvPr id="31" name="Freeform 663">
            <a:extLst>
              <a:ext uri="{FF2B5EF4-FFF2-40B4-BE49-F238E27FC236}">
                <a16:creationId xmlns:a16="http://schemas.microsoft.com/office/drawing/2014/main" id="{60D4BBEE-FC1B-426E-9DA7-36504E5032F8}"/>
              </a:ext>
            </a:extLst>
          </p:cNvPr>
          <p:cNvSpPr>
            <a:spLocks noChangeAspect="1" noEditPoints="1"/>
          </p:cNvSpPr>
          <p:nvPr/>
        </p:nvSpPr>
        <p:spPr bwMode="auto">
          <a:xfrm>
            <a:off x="3392646" y="4794139"/>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nvGrpSpPr>
          <p:cNvPr id="6" name="Groupe 5">
            <a:extLst>
              <a:ext uri="{FF2B5EF4-FFF2-40B4-BE49-F238E27FC236}">
                <a16:creationId xmlns:a16="http://schemas.microsoft.com/office/drawing/2014/main" id="{6E6C947D-CBFD-47F9-8DF3-A7E397BBBE8D}"/>
              </a:ext>
            </a:extLst>
          </p:cNvPr>
          <p:cNvGrpSpPr/>
          <p:nvPr/>
        </p:nvGrpSpPr>
        <p:grpSpPr>
          <a:xfrm>
            <a:off x="-43791" y="5562125"/>
            <a:ext cx="8473010" cy="185171"/>
            <a:chOff x="-49056" y="6243093"/>
            <a:chExt cx="8473010" cy="360846"/>
          </a:xfrm>
        </p:grpSpPr>
        <p:sp>
          <p:nvSpPr>
            <p:cNvPr id="23" name="Rectangle 22">
              <a:extLst>
                <a:ext uri="{FF2B5EF4-FFF2-40B4-BE49-F238E27FC236}">
                  <a16:creationId xmlns:a16="http://schemas.microsoft.com/office/drawing/2014/main" id="{3B096EC3-A9D6-417D-98B2-003E2B99FD2D}"/>
                </a:ext>
              </a:extLst>
            </p:cNvPr>
            <p:cNvSpPr/>
            <p:nvPr/>
          </p:nvSpPr>
          <p:spPr bwMode="auto">
            <a:xfrm>
              <a:off x="-49056" y="6282504"/>
              <a:ext cx="1182468" cy="28202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solidFill>
                    <a:srgbClr val="6C6C6C"/>
                  </a:solidFill>
                  <a:effectLst/>
                  <a:uLnTx/>
                  <a:uFillTx/>
                  <a:latin typeface="Trebuchet MS" pitchFamily="34" charset="0"/>
                  <a:ea typeface="+mn-ea"/>
                  <a:cs typeface="Arial" pitchFamily="34" charset="0"/>
                </a:rPr>
                <a:t>Estimated Covid-19 impact</a:t>
              </a:r>
              <a:endParaRPr kumimoji="0" lang="en-GB" sz="1000" b="1" i="1" u="none" strike="noStrike" kern="1200" cap="none" spc="-30" normalizeH="0" baseline="0" noProof="0">
                <a:ln>
                  <a:noFill/>
                </a:ln>
                <a:solidFill>
                  <a:srgbClr val="6C6C6C"/>
                </a:solidFill>
                <a:effectLst/>
                <a:uLnTx/>
                <a:uFillTx/>
                <a:latin typeface="Trebuchet MS" pitchFamily="34" charset="0"/>
                <a:ea typeface="+mn-ea"/>
                <a:cs typeface="Arial" pitchFamily="34" charset="0"/>
              </a:endParaRPr>
            </a:p>
          </p:txBody>
        </p:sp>
        <p:sp>
          <p:nvSpPr>
            <p:cNvPr id="27" name="Plus Sign 269">
              <a:extLst>
                <a:ext uri="{FF2B5EF4-FFF2-40B4-BE49-F238E27FC236}">
                  <a16:creationId xmlns:a16="http://schemas.microsoft.com/office/drawing/2014/main" id="{C093899E-92DB-4E98-82B0-ADF8880B1A64}"/>
                </a:ext>
              </a:extLst>
            </p:cNvPr>
            <p:cNvSpPr/>
            <p:nvPr/>
          </p:nvSpPr>
          <p:spPr bwMode="auto">
            <a:xfrm>
              <a:off x="1487628" y="6247246"/>
              <a:ext cx="195157" cy="352541"/>
            </a:xfrm>
            <a:prstGeom prst="mathPlus">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6C6C6C"/>
                </a:solidFill>
                <a:effectLst/>
                <a:uLnTx/>
                <a:uFillTx/>
                <a:latin typeface="Trebuchet MS" pitchFamily="34" charset="0"/>
                <a:ea typeface="+mn-ea"/>
                <a:cs typeface="Arial" pitchFamily="34" charset="0"/>
              </a:endParaRPr>
            </a:p>
          </p:txBody>
        </p:sp>
        <p:grpSp>
          <p:nvGrpSpPr>
            <p:cNvPr id="34" name="Group 33">
              <a:extLst>
                <a:ext uri="{FF2B5EF4-FFF2-40B4-BE49-F238E27FC236}">
                  <a16:creationId xmlns:a16="http://schemas.microsoft.com/office/drawing/2014/main" id="{FD6B357C-BCB8-4F3E-8B3E-31A26E058079}"/>
                </a:ext>
              </a:extLst>
            </p:cNvPr>
            <p:cNvGrpSpPr/>
            <p:nvPr/>
          </p:nvGrpSpPr>
          <p:grpSpPr>
            <a:xfrm>
              <a:off x="4879688" y="6348760"/>
              <a:ext cx="146624" cy="231332"/>
              <a:chOff x="2807290" y="6008292"/>
              <a:chExt cx="146624" cy="231332"/>
            </a:xfrm>
          </p:grpSpPr>
          <p:sp>
            <p:nvSpPr>
              <p:cNvPr id="35" name="Minus Sign 279">
                <a:extLst>
                  <a:ext uri="{FF2B5EF4-FFF2-40B4-BE49-F238E27FC236}">
                    <a16:creationId xmlns:a16="http://schemas.microsoft.com/office/drawing/2014/main" id="{12C9DEC7-5089-46A3-A48D-D760B2BAC719}"/>
                  </a:ext>
                </a:extLst>
              </p:cNvPr>
              <p:cNvSpPr/>
              <p:nvPr/>
            </p:nvSpPr>
            <p:spPr bwMode="auto">
              <a:xfrm>
                <a:off x="2807290" y="6008292"/>
                <a:ext cx="146624" cy="149512"/>
              </a:xfrm>
              <a:prstGeom prst="mathMinus">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6C6C6C"/>
                  </a:solidFill>
                  <a:effectLst/>
                  <a:uLnTx/>
                  <a:uFillTx/>
                  <a:latin typeface="Trebuchet MS" pitchFamily="34" charset="0"/>
                  <a:ea typeface="+mn-ea"/>
                  <a:cs typeface="Arial" pitchFamily="34" charset="0"/>
                </a:endParaRPr>
              </a:p>
            </p:txBody>
          </p:sp>
          <p:sp>
            <p:nvSpPr>
              <p:cNvPr id="36" name="Minus Sign 279">
                <a:extLst>
                  <a:ext uri="{FF2B5EF4-FFF2-40B4-BE49-F238E27FC236}">
                    <a16:creationId xmlns:a16="http://schemas.microsoft.com/office/drawing/2014/main" id="{9FEF5B2E-0930-427F-AAFB-53631B87FE9C}"/>
                  </a:ext>
                </a:extLst>
              </p:cNvPr>
              <p:cNvSpPr/>
              <p:nvPr/>
            </p:nvSpPr>
            <p:spPr bwMode="auto">
              <a:xfrm>
                <a:off x="2807290" y="6090109"/>
                <a:ext cx="146624" cy="149515"/>
              </a:xfrm>
              <a:prstGeom prst="mathMinus">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6C6C6C"/>
                  </a:solidFill>
                  <a:effectLst/>
                  <a:uLnTx/>
                  <a:uFillTx/>
                  <a:latin typeface="Trebuchet MS" pitchFamily="34" charset="0"/>
                  <a:ea typeface="+mn-ea"/>
                  <a:cs typeface="Arial" pitchFamily="34" charset="0"/>
                </a:endParaRPr>
              </a:p>
            </p:txBody>
          </p:sp>
        </p:grpSp>
        <p:sp>
          <p:nvSpPr>
            <p:cNvPr id="37" name="Rectangle 36">
              <a:extLst>
                <a:ext uri="{FF2B5EF4-FFF2-40B4-BE49-F238E27FC236}">
                  <a16:creationId xmlns:a16="http://schemas.microsoft.com/office/drawing/2014/main" id="{22BCF2C5-0A7A-46BF-8AEC-7E2535A2E13D}"/>
                </a:ext>
              </a:extLst>
            </p:cNvPr>
            <p:cNvSpPr/>
            <p:nvPr/>
          </p:nvSpPr>
          <p:spPr bwMode="auto">
            <a:xfrm>
              <a:off x="8142047" y="6243093"/>
              <a:ext cx="281907" cy="36084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0" lang="en-GB" sz="3600" b="0" i="0" u="none" strike="noStrike" kern="1200" cap="none" spc="0" normalizeH="0" baseline="0" noProof="0">
                  <a:ln>
                    <a:noFill/>
                  </a:ln>
                  <a:solidFill>
                    <a:srgbClr val="E38C35"/>
                  </a:solidFill>
                  <a:effectLst/>
                  <a:uLnTx/>
                  <a:uFillTx/>
                  <a:latin typeface="Trebuchet MS" panose="020B0603020202020204" pitchFamily="34" charset="0"/>
                  <a:ea typeface="+mn-ea"/>
                  <a:cs typeface="Arial" pitchFamily="34" charset="0"/>
                </a:rPr>
                <a:t>-</a:t>
              </a:r>
            </a:p>
          </p:txBody>
        </p:sp>
      </p:grpSp>
      <p:sp>
        <p:nvSpPr>
          <p:cNvPr id="38" name="Rectangle 37">
            <a:extLst>
              <a:ext uri="{FF2B5EF4-FFF2-40B4-BE49-F238E27FC236}">
                <a16:creationId xmlns:a16="http://schemas.microsoft.com/office/drawing/2014/main" id="{90C03955-55FC-4B12-941A-2C938355FDB5}"/>
              </a:ext>
            </a:extLst>
          </p:cNvPr>
          <p:cNvSpPr/>
          <p:nvPr/>
        </p:nvSpPr>
        <p:spPr bwMode="auto">
          <a:xfrm>
            <a:off x="6700849" y="2727216"/>
            <a:ext cx="3144375" cy="1506938"/>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The Covid-19 lockdown period has led to a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ontraction</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in the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B2B</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marketing</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spending</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for most companies due to a decrease in potential clients’ budget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GB" sz="1000">
                <a:solidFill>
                  <a:srgbClr val="6C6C6C"/>
                </a:solidFill>
                <a:latin typeface="Trebuchet MS" panose="020B0603020202020204" pitchFamily="34" charset="0"/>
              </a:rPr>
              <a:t>A</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n evolution of the customer journey could pave the way to an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increased</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development</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of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digitalized</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hannel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The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market</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is expected to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rebound</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s companies will need to find new customers and relaunch their businesses after </a:t>
            </a:r>
            <a:r>
              <a:rPr kumimoji="0" lang="en-GB" sz="10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th</a:t>
            </a:r>
            <a:r>
              <a:rPr lang="en-GB" sz="1000">
                <a:solidFill>
                  <a:srgbClr val="6C6C6C"/>
                </a:solidFill>
                <a:latin typeface="Trebuchet MS" panose="020B0603020202020204" pitchFamily="34" charset="0"/>
              </a:rPr>
              <a:t>e crisis</a:t>
            </a:r>
            <a:endPar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endParaRPr>
          </a:p>
        </p:txBody>
      </p:sp>
      <p:sp>
        <p:nvSpPr>
          <p:cNvPr id="39" name="Rectangle 38">
            <a:extLst>
              <a:ext uri="{FF2B5EF4-FFF2-40B4-BE49-F238E27FC236}">
                <a16:creationId xmlns:a16="http://schemas.microsoft.com/office/drawing/2014/main" id="{8EB248E9-CE81-4433-9A18-8CB1954101B3}"/>
              </a:ext>
            </a:extLst>
          </p:cNvPr>
          <p:cNvSpPr/>
          <p:nvPr/>
        </p:nvSpPr>
        <p:spPr bwMode="auto">
          <a:xfrm>
            <a:off x="6840981" y="4358564"/>
            <a:ext cx="3005747" cy="11484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300"/>
              </a:spcAft>
              <a:buClrTx/>
              <a:buSzTx/>
              <a:buFontTx/>
              <a:buNone/>
              <a:tabLst/>
              <a:defRPr/>
            </a:pPr>
            <a:r>
              <a:rPr kumimoji="0" lang="en-GB" sz="10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The B2B marketing market is experiencing </a:t>
            </a:r>
            <a:r>
              <a:rPr kumimoji="0" lang="en-GB" sz="1000" b="0" i="1"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significant</a:t>
            </a:r>
            <a:r>
              <a:rPr kumimoji="0" lang="en-GB" sz="10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000" b="0" i="1"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losses</a:t>
            </a:r>
            <a:r>
              <a:rPr kumimoji="0" lang="en-GB" sz="10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of up to -70% of the turnover of some players, due in particular to the </a:t>
            </a:r>
            <a:r>
              <a:rPr kumimoji="0" lang="en-GB" sz="1000" b="0" i="1"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postponement</a:t>
            </a:r>
            <a:r>
              <a:rPr kumimoji="0" lang="en-GB" sz="10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of </a:t>
            </a:r>
            <a:r>
              <a:rPr kumimoji="0" lang="en-GB" sz="1000" b="0" i="1"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product</a:t>
            </a:r>
            <a:r>
              <a:rPr kumimoji="0" lang="en-GB" sz="10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000" b="0" i="1"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launches</a:t>
            </a:r>
            <a:r>
              <a:rPr kumimoji="0" lang="en-GB" sz="10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nd commercial </a:t>
            </a:r>
            <a:r>
              <a:rPr kumimoji="0" lang="en-GB" sz="1000" b="0" i="1"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activations</a:t>
            </a:r>
            <a:r>
              <a:rPr kumimoji="0" lang="en-GB" sz="10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uring the lockdow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50" normalizeH="0" baseline="0" noProof="0">
                <a:ln>
                  <a:noFill/>
                </a:ln>
                <a:solidFill>
                  <a:srgbClr val="6C6C6C"/>
                </a:solidFill>
                <a:effectLst/>
                <a:uLnTx/>
                <a:uFillTx/>
                <a:latin typeface="Trebuchet MS" panose="020B0603020202020204" pitchFamily="34" charset="0"/>
                <a:ea typeface="+mn-ea"/>
                <a:cs typeface="Arial" pitchFamily="34" charset="0"/>
              </a:rPr>
              <a:t>M.D. France &amp; Belgium at </a:t>
            </a:r>
            <a:r>
              <a:rPr kumimoji="0" lang="en-GB" sz="1000" b="0" i="0" u="none" strike="noStrike" kern="1200" cap="none" spc="-50" normalizeH="0" baseline="0" noProof="0" err="1">
                <a:ln>
                  <a:noFill/>
                </a:ln>
                <a:solidFill>
                  <a:srgbClr val="6C6C6C"/>
                </a:solidFill>
                <a:effectLst/>
                <a:uLnTx/>
                <a:uFillTx/>
                <a:latin typeface="Trebuchet MS" panose="020B0603020202020204" pitchFamily="34" charset="0"/>
                <a:ea typeface="+mn-ea"/>
                <a:cs typeface="Arial" pitchFamily="34" charset="0"/>
              </a:rPr>
              <a:t>Creditsafe</a:t>
            </a:r>
            <a:r>
              <a:rPr kumimoji="0" lang="en-GB" sz="1000" b="0" i="0" u="none" strike="noStrike" kern="1200" cap="none" spc="-50" normalizeH="0" baseline="0" noProof="0">
                <a:ln>
                  <a:noFill/>
                </a:ln>
                <a:solidFill>
                  <a:srgbClr val="6C6C6C"/>
                </a:solidFill>
                <a:effectLst/>
                <a:uLnTx/>
                <a:uFillTx/>
                <a:latin typeface="Trebuchet MS" panose="020B0603020202020204" pitchFamily="34" charset="0"/>
                <a:ea typeface="+mn-ea"/>
                <a:cs typeface="Arial" pitchFamily="34" charset="0"/>
              </a:rPr>
              <a:t> </a:t>
            </a:r>
          </a:p>
        </p:txBody>
      </p:sp>
      <p:sp>
        <p:nvSpPr>
          <p:cNvPr id="40" name="Freeform 663">
            <a:extLst>
              <a:ext uri="{FF2B5EF4-FFF2-40B4-BE49-F238E27FC236}">
                <a16:creationId xmlns:a16="http://schemas.microsoft.com/office/drawing/2014/main" id="{7B248246-45D7-483C-90C3-2FBCA82F8975}"/>
              </a:ext>
            </a:extLst>
          </p:cNvPr>
          <p:cNvSpPr>
            <a:spLocks noChangeAspect="1" noEditPoints="1"/>
          </p:cNvSpPr>
          <p:nvPr/>
        </p:nvSpPr>
        <p:spPr bwMode="auto">
          <a:xfrm>
            <a:off x="6700849" y="4794139"/>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42" name="Rectangle 41">
            <a:extLst>
              <a:ext uri="{FF2B5EF4-FFF2-40B4-BE49-F238E27FC236}">
                <a16:creationId xmlns:a16="http://schemas.microsoft.com/office/drawing/2014/main" id="{90FB813A-34C3-4737-AAA2-22847CB895B2}"/>
              </a:ext>
            </a:extLst>
          </p:cNvPr>
          <p:cNvSpPr/>
          <p:nvPr/>
        </p:nvSpPr>
        <p:spPr bwMode="auto">
          <a:xfrm>
            <a:off x="543000" y="5858281"/>
            <a:ext cx="8820000" cy="62833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chemeClr val="tx2"/>
                </a:solidFill>
                <a:effectLst/>
                <a:uLnTx/>
                <a:uFillTx/>
                <a:latin typeface="Trebuchet MS" panose="020B0603020202020204" pitchFamily="34" charset="0"/>
                <a:ea typeface="+mn-ea"/>
                <a:cs typeface="Arial" pitchFamily="34" charset="0"/>
              </a:rPr>
              <a:t>BD&amp;A players </a:t>
            </a:r>
            <a:r>
              <a:rPr kumimoji="0" lang="en-GB" sz="1000" b="0" i="0"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support companies both in </a:t>
            </a:r>
            <a:r>
              <a:rPr kumimoji="0" lang="en-GB" sz="1000" b="0" i="0" u="none" strike="noStrike" kern="1200" cap="none" spc="0" normalizeH="0" baseline="0" noProof="0" dirty="0">
                <a:ln>
                  <a:noFill/>
                </a:ln>
                <a:solidFill>
                  <a:schemeClr val="tx2"/>
                </a:solidFill>
                <a:effectLst/>
                <a:uLnTx/>
                <a:uFillTx/>
                <a:latin typeface="Trebuchet MS" panose="020B0603020202020204" pitchFamily="34" charset="0"/>
                <a:ea typeface="+mn-ea"/>
                <a:cs typeface="Arial" pitchFamily="34" charset="0"/>
              </a:rPr>
              <a:t>periods of growth </a:t>
            </a:r>
            <a:r>
              <a:rPr kumimoji="0" lang="en-GB" sz="1000" b="0" i="0"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to give them key intelligence in the expansion of their business and </a:t>
            </a:r>
            <a:r>
              <a:rPr kumimoji="0" lang="en-GB" sz="1000" b="0" i="0" u="none" strike="noStrike" kern="1200" cap="none" spc="0" normalizeH="0" baseline="0" noProof="0" dirty="0">
                <a:ln>
                  <a:noFill/>
                </a:ln>
                <a:solidFill>
                  <a:schemeClr val="tx2"/>
                </a:solidFill>
                <a:effectLst/>
                <a:uLnTx/>
                <a:uFillTx/>
                <a:latin typeface="Trebuchet MS" panose="020B0603020202020204" pitchFamily="34" charset="0"/>
                <a:ea typeface="+mn-ea"/>
                <a:cs typeface="Arial" pitchFamily="34" charset="0"/>
              </a:rPr>
              <a:t>in times of crisis </a:t>
            </a:r>
            <a:r>
              <a:rPr kumimoji="0" lang="en-GB" sz="1000" b="0" i="0"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in order to better understand market risks. Their </a:t>
            </a:r>
            <a:r>
              <a:rPr kumimoji="0" lang="en-GB" sz="1000" b="0" i="0" u="none" strike="noStrike" kern="1200" cap="none" spc="0" normalizeH="0" baseline="0" noProof="0" dirty="0">
                <a:ln>
                  <a:noFill/>
                </a:ln>
                <a:solidFill>
                  <a:schemeClr val="tx2"/>
                </a:solidFill>
                <a:effectLst/>
                <a:uLnTx/>
                <a:uFillTx/>
                <a:latin typeface="Trebuchet MS" panose="020B0603020202020204" pitchFamily="34" charset="0"/>
                <a:ea typeface="+mn-ea"/>
                <a:cs typeface="Arial" pitchFamily="34" charset="0"/>
              </a:rPr>
              <a:t>offerings are versatile </a:t>
            </a:r>
            <a:r>
              <a:rPr kumimoji="0" lang="en-GB" sz="1000" b="0" i="0" u="none" strike="noStrike" kern="1200" cap="none" spc="0" normalizeH="0" baseline="0" noProof="0" dirty="0">
                <a:ln>
                  <a:noFill/>
                </a:ln>
                <a:solidFill>
                  <a:srgbClr val="6C6C6C"/>
                </a:solidFill>
                <a:effectLst/>
                <a:uLnTx/>
                <a:uFillTx/>
                <a:latin typeface="Trebuchet MS" pitchFamily="34" charset="0"/>
                <a:ea typeface="+mn-ea"/>
                <a:cs typeface="Arial" pitchFamily="34" charset="0"/>
              </a:rPr>
              <a:t>and can be used in all economic situation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6C6C6C"/>
                </a:solidFill>
                <a:effectLst/>
                <a:uLnTx/>
                <a:uFillTx/>
                <a:latin typeface="Trebuchet MS" pitchFamily="34" charset="0"/>
                <a:ea typeface="+mn-ea"/>
                <a:cs typeface="Arial" pitchFamily="34" charset="0"/>
              </a:rPr>
              <a:t>It is a </a:t>
            </a:r>
            <a:r>
              <a:rPr kumimoji="0" lang="en-GB" sz="1000" b="0" i="0" u="none" strike="noStrike" kern="1200" cap="none" spc="0" normalizeH="0" baseline="0" noProof="0" dirty="0">
                <a:ln>
                  <a:noFill/>
                </a:ln>
                <a:solidFill>
                  <a:schemeClr val="tx2"/>
                </a:solidFill>
                <a:effectLst/>
                <a:uLnTx/>
                <a:uFillTx/>
                <a:latin typeface="Trebuchet MS" panose="020B0603020202020204" pitchFamily="34" charset="0"/>
                <a:ea typeface="+mn-ea"/>
                <a:cs typeface="Arial" pitchFamily="34" charset="0"/>
              </a:rPr>
              <a:t>resilient market</a:t>
            </a:r>
            <a:r>
              <a:rPr kumimoji="0" lang="en-GB" sz="1000" b="0" i="0"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 especially for </a:t>
            </a:r>
            <a:r>
              <a:rPr kumimoji="0" lang="en-GB" sz="1000" b="0" i="0" u="none" strike="noStrike" kern="1200" cap="none" spc="0" normalizeH="0" baseline="0" noProof="0" dirty="0">
                <a:ln>
                  <a:noFill/>
                </a:ln>
                <a:solidFill>
                  <a:schemeClr val="tx2"/>
                </a:solidFill>
                <a:effectLst/>
                <a:uLnTx/>
                <a:uFillTx/>
                <a:latin typeface="Trebuchet MS" panose="020B0603020202020204" pitchFamily="34" charset="0"/>
                <a:ea typeface="+mn-ea"/>
                <a:cs typeface="Arial" pitchFamily="34" charset="0"/>
              </a:rPr>
              <a:t>premium players such as </a:t>
            </a:r>
            <a:r>
              <a:rPr kumimoji="0" lang="en-GB" sz="1000" b="0" i="0" u="none" strike="noStrike" kern="1200" cap="none" spc="0" normalizeH="0" baseline="0" noProof="0" dirty="0" err="1">
                <a:ln>
                  <a:noFill/>
                </a:ln>
                <a:solidFill>
                  <a:schemeClr val="tx2"/>
                </a:solidFill>
                <a:effectLst/>
                <a:uLnTx/>
                <a:uFillTx/>
                <a:latin typeface="Trebuchet MS" panose="020B0603020202020204" pitchFamily="34" charset="0"/>
                <a:ea typeface="+mn-ea"/>
                <a:cs typeface="Arial" pitchFamily="34" charset="0"/>
              </a:rPr>
              <a:t>Altares</a:t>
            </a:r>
            <a:r>
              <a:rPr kumimoji="0" lang="en-GB" sz="1000" b="0" i="0"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 that can </a:t>
            </a:r>
            <a:r>
              <a:rPr lang="en-GB" sz="1000" dirty="0">
                <a:solidFill>
                  <a:srgbClr val="6C6C6C"/>
                </a:solidFill>
                <a:latin typeface="Trebuchet MS" panose="020B0603020202020204" pitchFamily="34" charset="0"/>
              </a:rPr>
              <a:t>adapt</a:t>
            </a:r>
            <a:r>
              <a:rPr kumimoji="0" lang="en-GB" sz="1000" b="0" i="0"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 their services and rely on their </a:t>
            </a:r>
            <a:r>
              <a:rPr kumimoji="0" lang="en-GB" sz="1000" b="0" i="0" u="none" strike="noStrike" kern="1200" cap="none" spc="0" normalizeH="0" baseline="0" noProof="0" dirty="0">
                <a:ln>
                  <a:noFill/>
                </a:ln>
                <a:solidFill>
                  <a:schemeClr val="tx2"/>
                </a:solidFill>
                <a:effectLst/>
                <a:uLnTx/>
                <a:uFillTx/>
                <a:latin typeface="Trebuchet MS" panose="020B0603020202020204" pitchFamily="34" charset="0"/>
                <a:ea typeface="+mn-ea"/>
                <a:cs typeface="Arial" pitchFamily="34" charset="0"/>
              </a:rPr>
              <a:t>strong brand image of quality and reliability</a:t>
            </a:r>
            <a:r>
              <a:rPr kumimoji="0" lang="en-GB" sz="1000" b="0" i="0" u="none" strike="noStrike" kern="1200" cap="none" spc="0" normalizeH="0" baseline="0" noProof="0" dirty="0">
                <a:ln>
                  <a:noFill/>
                </a:ln>
                <a:effectLst/>
                <a:uLnTx/>
                <a:uFillTx/>
                <a:latin typeface="Trebuchet MS" panose="020B0603020202020204" pitchFamily="34" charset="0"/>
                <a:ea typeface="+mn-ea"/>
                <a:cs typeface="Arial" pitchFamily="34" charset="0"/>
              </a:rPr>
              <a:t>,</a:t>
            </a:r>
            <a:r>
              <a:rPr kumimoji="0" lang="en-GB" sz="1000" b="0" i="0" u="none" strike="noStrike" kern="1200" cap="none" spc="0" normalizeH="0" baseline="0" noProof="0" dirty="0">
                <a:ln>
                  <a:noFill/>
                </a:ln>
                <a:solidFill>
                  <a:schemeClr val="tx2"/>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recognized among the market, and </a:t>
            </a:r>
            <a:r>
              <a:rPr lang="en-GB" sz="1000" dirty="0">
                <a:solidFill>
                  <a:srgbClr val="6C6C6C"/>
                </a:solidFill>
                <a:latin typeface="Trebuchet MS" panose="020B0603020202020204" pitchFamily="34" charset="0"/>
              </a:rPr>
              <a:t>allowing to support clients in difficult</a:t>
            </a:r>
            <a:r>
              <a:rPr kumimoji="0" lang="en-GB" sz="1000" b="0" i="0"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 economic climate</a:t>
            </a:r>
          </a:p>
        </p:txBody>
      </p:sp>
      <p:cxnSp>
        <p:nvCxnSpPr>
          <p:cNvPr id="54" name="Connecteur droit 53">
            <a:extLst>
              <a:ext uri="{FF2B5EF4-FFF2-40B4-BE49-F238E27FC236}">
                <a16:creationId xmlns:a16="http://schemas.microsoft.com/office/drawing/2014/main" id="{E5810D9C-4C0B-4C61-9ABC-63FC786DBD0B}"/>
              </a:ext>
            </a:extLst>
          </p:cNvPr>
          <p:cNvCxnSpPr>
            <a:cxnSpLocks/>
          </p:cNvCxnSpPr>
          <p:nvPr/>
        </p:nvCxnSpPr>
        <p:spPr bwMode="auto">
          <a:xfrm>
            <a:off x="6601298" y="1077665"/>
            <a:ext cx="0" cy="4454641"/>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146" name="Rectangle 145">
            <a:extLst>
              <a:ext uri="{FF2B5EF4-FFF2-40B4-BE49-F238E27FC236}">
                <a16:creationId xmlns:a16="http://schemas.microsoft.com/office/drawing/2014/main" id="{ECD351E4-FAF3-4561-994C-BB46EFD003F7}"/>
              </a:ext>
            </a:extLst>
          </p:cNvPr>
          <p:cNvSpPr/>
          <p:nvPr/>
        </p:nvSpPr>
        <p:spPr bwMode="auto">
          <a:xfrm>
            <a:off x="7016105" y="1110954"/>
            <a:ext cx="2429345" cy="3307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Impact of the Covid-19 on the B2B marketing market, base 100 index</a:t>
            </a:r>
          </a:p>
        </p:txBody>
      </p:sp>
      <p:grpSp>
        <p:nvGrpSpPr>
          <p:cNvPr id="124" name="Groupe 123">
            <a:extLst>
              <a:ext uri="{FF2B5EF4-FFF2-40B4-BE49-F238E27FC236}">
                <a16:creationId xmlns:a16="http://schemas.microsoft.com/office/drawing/2014/main" id="{F2B55466-D593-4113-89C6-26E06E4E1912}"/>
              </a:ext>
            </a:extLst>
          </p:cNvPr>
          <p:cNvGrpSpPr/>
          <p:nvPr/>
        </p:nvGrpSpPr>
        <p:grpSpPr>
          <a:xfrm>
            <a:off x="8448150" y="-11528"/>
            <a:ext cx="1435548" cy="588143"/>
            <a:chOff x="8448150" y="-11528"/>
            <a:chExt cx="1435548" cy="588143"/>
          </a:xfrm>
        </p:grpSpPr>
        <p:sp>
          <p:nvSpPr>
            <p:cNvPr id="51" name="Rectangle : coins arrondis 199">
              <a:extLst>
                <a:ext uri="{FF2B5EF4-FFF2-40B4-BE49-F238E27FC236}">
                  <a16:creationId xmlns:a16="http://schemas.microsoft.com/office/drawing/2014/main" id="{CB765A61-4854-4F1F-9173-AE6293407662}"/>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
                  <a:srgbClr val="289B38"/>
                </a:buClr>
                <a:buSzPct val="90000"/>
                <a:buFontTx/>
                <a:buNone/>
                <a:tabLst/>
                <a:defRPr/>
              </a:pPr>
              <a:endParaRPr kumimoji="0" lang="en-GB" sz="1000" b="0" i="0" u="none" strike="noStrike" kern="1200" cap="all" spc="-10" normalizeH="0" baseline="0" noProof="0">
                <a:ln>
                  <a:noFill/>
                </a:ln>
                <a:solidFill>
                  <a:srgbClr val="FFFFFF"/>
                </a:solidFill>
                <a:effectLst/>
                <a:uLnTx/>
                <a:uFillTx/>
                <a:latin typeface="Trebuchet MS" pitchFamily="34" charset="0"/>
                <a:ea typeface="+mn-ea"/>
                <a:cs typeface="Arial" pitchFamily="34" charset="0"/>
              </a:endParaRPr>
            </a:p>
          </p:txBody>
        </p:sp>
        <p:sp>
          <p:nvSpPr>
            <p:cNvPr id="52" name="Rectangle : coins arrondis 200">
              <a:extLst>
                <a:ext uri="{FF2B5EF4-FFF2-40B4-BE49-F238E27FC236}">
                  <a16:creationId xmlns:a16="http://schemas.microsoft.com/office/drawing/2014/main" id="{587CEBCA-42CD-47CE-8D2E-353005ED572A}"/>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
                  <a:srgbClr val="289B38"/>
                </a:buClr>
                <a:buSzPct val="90000"/>
                <a:buFontTx/>
                <a:buNone/>
                <a:tabLst/>
                <a:defRPr/>
              </a:pPr>
              <a:endParaRPr kumimoji="0" lang="en-GB" sz="1000" b="0" i="0" u="none" strike="noStrike" kern="1200" cap="all" spc="-10" normalizeH="0" baseline="0" noProof="0">
                <a:ln>
                  <a:noFill/>
                </a:ln>
                <a:solidFill>
                  <a:srgbClr val="FFFFFF"/>
                </a:solidFill>
                <a:effectLst/>
                <a:uLnTx/>
                <a:uFillTx/>
                <a:latin typeface="Trebuchet MS" pitchFamily="34" charset="0"/>
                <a:ea typeface="+mn-ea"/>
                <a:cs typeface="Arial" pitchFamily="34" charset="0"/>
              </a:endParaRPr>
            </a:p>
          </p:txBody>
        </p:sp>
        <p:sp>
          <p:nvSpPr>
            <p:cNvPr id="55" name="Rectangle : coins arrondis 201">
              <a:extLst>
                <a:ext uri="{FF2B5EF4-FFF2-40B4-BE49-F238E27FC236}">
                  <a16:creationId xmlns:a16="http://schemas.microsoft.com/office/drawing/2014/main" id="{42F0C7DB-4719-4E09-996D-20FA1D2930B7}"/>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
                  <a:srgbClr val="289B38"/>
                </a:buClr>
                <a:buSzPct val="90000"/>
                <a:buFontTx/>
                <a:buNone/>
                <a:tabLst/>
                <a:defRPr/>
              </a:pPr>
              <a:endParaRPr kumimoji="0" lang="en-GB" sz="1000" b="0" i="0" u="none" strike="noStrike" kern="1200" cap="all" spc="-10" normalizeH="0" baseline="0" noProof="0">
                <a:ln>
                  <a:noFill/>
                </a:ln>
                <a:solidFill>
                  <a:srgbClr val="FFFFFF"/>
                </a:solidFill>
                <a:effectLst/>
                <a:uLnTx/>
                <a:uFillTx/>
                <a:latin typeface="Trebuchet MS" pitchFamily="34" charset="0"/>
                <a:ea typeface="+mn-ea"/>
                <a:cs typeface="Arial" pitchFamily="34" charset="0"/>
              </a:endParaRPr>
            </a:p>
          </p:txBody>
        </p:sp>
        <p:sp>
          <p:nvSpPr>
            <p:cNvPr id="57" name="ZoneTexte 18">
              <a:extLst>
                <a:ext uri="{FF2B5EF4-FFF2-40B4-BE49-F238E27FC236}">
                  <a16:creationId xmlns:a16="http://schemas.microsoft.com/office/drawing/2014/main" id="{721BBA77-6243-447F-8ED0-9615C5F8F239}"/>
                </a:ext>
              </a:extLst>
            </p:cNvPr>
            <p:cNvSpPr txBox="1"/>
            <p:nvPr/>
          </p:nvSpPr>
          <p:spPr>
            <a:xfrm>
              <a:off x="8448150" y="-11528"/>
              <a:ext cx="1281748" cy="21544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BD&amp;A market</a:t>
              </a:r>
            </a:p>
          </p:txBody>
        </p:sp>
        <p:pic>
          <p:nvPicPr>
            <p:cNvPr id="59" name="Graphique 128" descr="Jauge">
              <a:extLst>
                <a:ext uri="{FF2B5EF4-FFF2-40B4-BE49-F238E27FC236}">
                  <a16:creationId xmlns:a16="http://schemas.microsoft.com/office/drawing/2014/main" id="{5763008B-1132-4784-91A2-D7B53185CD9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53764" y="187516"/>
              <a:ext cx="234953" cy="218224"/>
            </a:xfrm>
            <a:prstGeom prst="rect">
              <a:avLst/>
            </a:prstGeom>
            <a:effectLst/>
          </p:spPr>
        </p:pic>
        <p:pic>
          <p:nvPicPr>
            <p:cNvPr id="61" name="Graphique 90" descr="Poignée de main">
              <a:extLst>
                <a:ext uri="{FF2B5EF4-FFF2-40B4-BE49-F238E27FC236}">
                  <a16:creationId xmlns:a16="http://schemas.microsoft.com/office/drawing/2014/main" id="{B4D57914-AB7A-4EDE-82C8-C925883672C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960868" y="152880"/>
              <a:ext cx="256313" cy="287496"/>
            </a:xfrm>
            <a:prstGeom prst="rect">
              <a:avLst/>
            </a:prstGeom>
            <a:effectLst/>
          </p:spPr>
        </p:pic>
        <p:pic>
          <p:nvPicPr>
            <p:cNvPr id="49" name="Graphique 74" descr="Mégaphone">
              <a:extLst>
                <a:ext uri="{FF2B5EF4-FFF2-40B4-BE49-F238E27FC236}">
                  <a16:creationId xmlns:a16="http://schemas.microsoft.com/office/drawing/2014/main" id="{59E14901-474B-4B97-A51A-F952E11E05C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389331" y="181519"/>
              <a:ext cx="233011" cy="216420"/>
            </a:xfrm>
            <a:prstGeom prst="rect">
              <a:avLst/>
            </a:prstGeom>
            <a:effectLst/>
          </p:spPr>
        </p:pic>
        <p:pic>
          <p:nvPicPr>
            <p:cNvPr id="50" name="Picture 2" descr="Drapeau France">
              <a:extLst>
                <a:ext uri="{FF2B5EF4-FFF2-40B4-BE49-F238E27FC236}">
                  <a16:creationId xmlns:a16="http://schemas.microsoft.com/office/drawing/2014/main" id="{5C432C1A-5457-4C6B-B913-6349BB78D09A}"/>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3" name="Picture 2" descr="5 ft x 3 ft 150 x 90 cm-DRAPEAU BELGE Belgique 100% Polyester ...">
              <a:extLst>
                <a:ext uri="{FF2B5EF4-FFF2-40B4-BE49-F238E27FC236}">
                  <a16:creationId xmlns:a16="http://schemas.microsoft.com/office/drawing/2014/main" id="{CF8B5B5D-0EDE-4D2B-AA84-9631CFB0F6D4}"/>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6" name="Picture 2 - 1" descr="Drapeau des Pays-Bas — Wikipédia">
              <a:extLst>
                <a:ext uri="{FF2B5EF4-FFF2-40B4-BE49-F238E27FC236}">
                  <a16:creationId xmlns:a16="http://schemas.microsoft.com/office/drawing/2014/main" id="{E2437D89-1C6E-40E5-8A21-30F4E71666AB}"/>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8" name="Picture 2 - 2" descr="Drapeau du Luxembourg">
              <a:extLst>
                <a:ext uri="{FF2B5EF4-FFF2-40B4-BE49-F238E27FC236}">
                  <a16:creationId xmlns:a16="http://schemas.microsoft.com/office/drawing/2014/main" id="{C399B622-2398-437F-9893-74BCCA144C6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0" name="ZoneTexte 18">
              <a:extLst>
                <a:ext uri="{FF2B5EF4-FFF2-40B4-BE49-F238E27FC236}">
                  <a16:creationId xmlns:a16="http://schemas.microsoft.com/office/drawing/2014/main" id="{3623AA9C-44A0-48B8-9020-AC1DC27BE248}"/>
                </a:ext>
              </a:extLst>
            </p:cNvPr>
            <p:cNvSpPr txBox="1"/>
            <p:nvPr/>
          </p:nvSpPr>
          <p:spPr>
            <a:xfrm>
              <a:off x="8448150" y="361171"/>
              <a:ext cx="1281748" cy="21544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0" i="1"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Covid</a:t>
              </a:r>
              <a:r>
                <a:rPr kumimoji="0" lang="en-GB" sz="8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impact</a:t>
              </a:r>
            </a:p>
          </p:txBody>
        </p:sp>
      </p:grpSp>
      <p:sp>
        <p:nvSpPr>
          <p:cNvPr id="98" name="Rectangle 97">
            <a:extLst>
              <a:ext uri="{FF2B5EF4-FFF2-40B4-BE49-F238E27FC236}">
                <a16:creationId xmlns:a16="http://schemas.microsoft.com/office/drawing/2014/main" id="{5EF13F67-82B8-469A-92E3-CB085ED51273}"/>
              </a:ext>
            </a:extLst>
          </p:cNvPr>
          <p:cNvSpPr/>
          <p:nvPr/>
        </p:nvSpPr>
        <p:spPr bwMode="auto">
          <a:xfrm>
            <a:off x="3652961" y="1110954"/>
            <a:ext cx="2593688" cy="3307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Impact of the Covid-19 on the compliance market, base 100 index</a:t>
            </a:r>
          </a:p>
        </p:txBody>
      </p:sp>
      <p:sp>
        <p:nvSpPr>
          <p:cNvPr id="99" name="Rectangle 98">
            <a:extLst>
              <a:ext uri="{FF2B5EF4-FFF2-40B4-BE49-F238E27FC236}">
                <a16:creationId xmlns:a16="http://schemas.microsoft.com/office/drawing/2014/main" id="{9BEFB677-1618-447E-A371-00CE8D90916A}"/>
              </a:ext>
            </a:extLst>
          </p:cNvPr>
          <p:cNvSpPr/>
          <p:nvPr/>
        </p:nvSpPr>
        <p:spPr bwMode="auto">
          <a:xfrm>
            <a:off x="299723" y="1110954"/>
            <a:ext cx="2593688" cy="3307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Impact of the Covid-19 on the Credit risk market, base 100 index</a:t>
            </a:r>
          </a:p>
        </p:txBody>
      </p:sp>
      <p:sp>
        <p:nvSpPr>
          <p:cNvPr id="115" name="ZoneTexte 114">
            <a:extLst>
              <a:ext uri="{FF2B5EF4-FFF2-40B4-BE49-F238E27FC236}">
                <a16:creationId xmlns:a16="http://schemas.microsoft.com/office/drawing/2014/main" id="{0087F620-E298-4A6A-9103-8C758191D5E8}"/>
              </a:ext>
            </a:extLst>
          </p:cNvPr>
          <p:cNvSpPr txBox="1"/>
          <p:nvPr/>
        </p:nvSpPr>
        <p:spPr>
          <a:xfrm>
            <a:off x="893261" y="1506998"/>
            <a:ext cx="986872" cy="215444"/>
          </a:xfrm>
          <a:prstGeom prst="wedgeRectCallout">
            <a:avLst>
              <a:gd name="adj1" fmla="val 23661"/>
              <a:gd name="adj2" fmla="val 83135"/>
            </a:avLst>
          </a:prstGeom>
          <a:noFill/>
          <a:ln>
            <a:solidFill>
              <a:schemeClr val="tx1"/>
            </a:solidFill>
          </a:ln>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Limited impact</a:t>
            </a:r>
          </a:p>
        </p:txBody>
      </p:sp>
      <p:sp>
        <p:nvSpPr>
          <p:cNvPr id="116" name="ZoneTexte 115">
            <a:extLst>
              <a:ext uri="{FF2B5EF4-FFF2-40B4-BE49-F238E27FC236}">
                <a16:creationId xmlns:a16="http://schemas.microsoft.com/office/drawing/2014/main" id="{E6BDD79D-4062-4BB6-81B4-3407DF2D1263}"/>
              </a:ext>
            </a:extLst>
          </p:cNvPr>
          <p:cNvSpPr txBox="1"/>
          <p:nvPr/>
        </p:nvSpPr>
        <p:spPr>
          <a:xfrm>
            <a:off x="3525276" y="1424538"/>
            <a:ext cx="986872" cy="338554"/>
          </a:xfrm>
          <a:prstGeom prst="wedgeRectCallout">
            <a:avLst>
              <a:gd name="adj1" fmla="val 65646"/>
              <a:gd name="adj2" fmla="val 47067"/>
            </a:avLst>
          </a:prstGeom>
          <a:noFill/>
          <a:ln>
            <a:solidFill>
              <a:schemeClr val="tx1"/>
            </a:solidFill>
          </a:ln>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No impact estimated</a:t>
            </a:r>
          </a:p>
        </p:txBody>
      </p:sp>
      <p:sp>
        <p:nvSpPr>
          <p:cNvPr id="117" name="ZoneTexte 116">
            <a:extLst>
              <a:ext uri="{FF2B5EF4-FFF2-40B4-BE49-F238E27FC236}">
                <a16:creationId xmlns:a16="http://schemas.microsoft.com/office/drawing/2014/main" id="{C414845C-52B1-47CE-A3EB-882A38173550}"/>
              </a:ext>
            </a:extLst>
          </p:cNvPr>
          <p:cNvSpPr txBox="1"/>
          <p:nvPr/>
        </p:nvSpPr>
        <p:spPr>
          <a:xfrm>
            <a:off x="7922406" y="1479098"/>
            <a:ext cx="1090333" cy="461665"/>
          </a:xfrm>
          <a:prstGeom prst="wedgeRectCallout">
            <a:avLst>
              <a:gd name="adj1" fmla="val 32395"/>
              <a:gd name="adj2" fmla="val 71932"/>
            </a:avLst>
          </a:prstGeom>
          <a:noFill/>
          <a:ln>
            <a:solidFill>
              <a:schemeClr val="tx1"/>
            </a:solidFill>
          </a:ln>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Strong impact with important recovery estimated</a:t>
            </a:r>
          </a:p>
        </p:txBody>
      </p:sp>
      <p:sp>
        <p:nvSpPr>
          <p:cNvPr id="62" name="Rectangle : coins arrondis 201">
            <a:extLst>
              <a:ext uri="{FF2B5EF4-FFF2-40B4-BE49-F238E27FC236}">
                <a16:creationId xmlns:a16="http://schemas.microsoft.com/office/drawing/2014/main" id="{4CFF26B3-58E4-48AC-A007-8D3B1032DE11}"/>
              </a:ext>
            </a:extLst>
          </p:cNvPr>
          <p:cNvSpPr/>
          <p:nvPr/>
        </p:nvSpPr>
        <p:spPr bwMode="auto">
          <a:xfrm>
            <a:off x="6781324" y="973021"/>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pic>
        <p:nvPicPr>
          <p:cNvPr id="63" name="Graphique 74" descr="Mégaphone">
            <a:extLst>
              <a:ext uri="{FF2B5EF4-FFF2-40B4-BE49-F238E27FC236}">
                <a16:creationId xmlns:a16="http://schemas.microsoft.com/office/drawing/2014/main" id="{E5511622-34B7-49BB-88EF-A3030E8D052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832618" y="970880"/>
            <a:ext cx="233011" cy="216420"/>
          </a:xfrm>
          <a:prstGeom prst="rect">
            <a:avLst/>
          </a:prstGeom>
          <a:effectLst/>
        </p:spPr>
      </p:pic>
      <p:sp>
        <p:nvSpPr>
          <p:cNvPr id="64" name="Rectangle : coins arrondis 200">
            <a:extLst>
              <a:ext uri="{FF2B5EF4-FFF2-40B4-BE49-F238E27FC236}">
                <a16:creationId xmlns:a16="http://schemas.microsoft.com/office/drawing/2014/main" id="{40EE8712-C331-46DE-B8D8-C70B712CCEAD}"/>
              </a:ext>
            </a:extLst>
          </p:cNvPr>
          <p:cNvSpPr/>
          <p:nvPr/>
        </p:nvSpPr>
        <p:spPr bwMode="auto">
          <a:xfrm>
            <a:off x="3504608" y="973021"/>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pic>
        <p:nvPicPr>
          <p:cNvPr id="65" name="Graphique 90" descr="Poignée de main">
            <a:extLst>
              <a:ext uri="{FF2B5EF4-FFF2-40B4-BE49-F238E27FC236}">
                <a16:creationId xmlns:a16="http://schemas.microsoft.com/office/drawing/2014/main" id="{10BBF6E1-189E-4E67-9D34-D89E8B5C2E9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44251" y="935342"/>
            <a:ext cx="256313" cy="287496"/>
          </a:xfrm>
          <a:prstGeom prst="rect">
            <a:avLst/>
          </a:prstGeom>
          <a:effectLst/>
        </p:spPr>
      </p:pic>
      <p:sp>
        <p:nvSpPr>
          <p:cNvPr id="66" name="Rectangle : coins arrondis 199">
            <a:extLst>
              <a:ext uri="{FF2B5EF4-FFF2-40B4-BE49-F238E27FC236}">
                <a16:creationId xmlns:a16="http://schemas.microsoft.com/office/drawing/2014/main" id="{8EA0B4DB-848C-44CE-BFFC-24FE033230BB}"/>
              </a:ext>
            </a:extLst>
          </p:cNvPr>
          <p:cNvSpPr/>
          <p:nvPr/>
        </p:nvSpPr>
        <p:spPr bwMode="auto">
          <a:xfrm>
            <a:off x="169009" y="973021"/>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pic>
        <p:nvPicPr>
          <p:cNvPr id="67" name="Graphique 128" descr="Jauge">
            <a:extLst>
              <a:ext uri="{FF2B5EF4-FFF2-40B4-BE49-F238E27FC236}">
                <a16:creationId xmlns:a16="http://schemas.microsoft.com/office/drawing/2014/main" id="{2B7F019E-E9C2-4B3F-BCDC-15FFBE38C4F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19332" y="969978"/>
            <a:ext cx="234953" cy="218224"/>
          </a:xfrm>
          <a:prstGeom prst="rect">
            <a:avLst/>
          </a:prstGeom>
          <a:effectLst/>
        </p:spPr>
      </p:pic>
      <p:grpSp>
        <p:nvGrpSpPr>
          <p:cNvPr id="68" name="Groupe 67">
            <a:extLst>
              <a:ext uri="{FF2B5EF4-FFF2-40B4-BE49-F238E27FC236}">
                <a16:creationId xmlns:a16="http://schemas.microsoft.com/office/drawing/2014/main" id="{F99B613E-B582-47EA-BE89-29CD9D96C19D}"/>
              </a:ext>
            </a:extLst>
          </p:cNvPr>
          <p:cNvGrpSpPr/>
          <p:nvPr/>
        </p:nvGrpSpPr>
        <p:grpSpPr>
          <a:xfrm>
            <a:off x="972391" y="1767208"/>
            <a:ext cx="531614" cy="522817"/>
            <a:chOff x="1664997" y="2513265"/>
            <a:chExt cx="531614" cy="522817"/>
          </a:xfrm>
        </p:grpSpPr>
        <p:pic>
          <p:nvPicPr>
            <p:cNvPr id="69" name="Graphique 68">
              <a:extLst>
                <a:ext uri="{FF2B5EF4-FFF2-40B4-BE49-F238E27FC236}">
                  <a16:creationId xmlns:a16="http://schemas.microsoft.com/office/drawing/2014/main" id="{EB9FC040-CF1C-46DE-B55E-A4E56113156D}"/>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32839" y="2513265"/>
              <a:ext cx="195930" cy="242031"/>
            </a:xfrm>
            <a:prstGeom prst="rect">
              <a:avLst/>
            </a:prstGeom>
          </p:spPr>
        </p:pic>
        <p:sp>
          <p:nvSpPr>
            <p:cNvPr id="70" name="Rectangle 69">
              <a:extLst>
                <a:ext uri="{FF2B5EF4-FFF2-40B4-BE49-F238E27FC236}">
                  <a16:creationId xmlns:a16="http://schemas.microsoft.com/office/drawing/2014/main" id="{3D3FD356-0CB0-410E-9EC3-0E34A0415C9E}"/>
                </a:ext>
              </a:extLst>
            </p:cNvPr>
            <p:cNvSpPr/>
            <p:nvPr/>
          </p:nvSpPr>
          <p:spPr bwMode="auto">
            <a:xfrm>
              <a:off x="1664997" y="2725202"/>
              <a:ext cx="531614" cy="310880"/>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err="1">
                  <a:solidFill>
                    <a:schemeClr val="tx2"/>
                  </a:solidFill>
                  <a:latin typeface="Trebuchet MS" panose="020B0603020202020204" pitchFamily="34" charset="0"/>
                </a:rPr>
                <a:t>Covid</a:t>
              </a:r>
              <a:r>
                <a:rPr lang="en-GB" sz="900" i="1">
                  <a:solidFill>
                    <a:schemeClr val="tx2"/>
                  </a:solidFill>
                  <a:latin typeface="Trebuchet MS" panose="020B0603020202020204" pitchFamily="34" charset="0"/>
                </a:rPr>
                <a:t> impact</a:t>
              </a:r>
              <a:endParaRPr kumimoji="0" lang="en-GB" sz="900" b="0" i="1" u="none" strike="noStrike" cap="none" normalizeH="0" baseline="0">
                <a:ln>
                  <a:noFill/>
                </a:ln>
                <a:solidFill>
                  <a:schemeClr val="tx2"/>
                </a:solidFill>
                <a:effectLst/>
                <a:latin typeface="Trebuchet MS" panose="020B0603020202020204" pitchFamily="34" charset="0"/>
              </a:endParaRPr>
            </a:p>
          </p:txBody>
        </p:sp>
      </p:grpSp>
      <p:grpSp>
        <p:nvGrpSpPr>
          <p:cNvPr id="71" name="Groupe 70">
            <a:extLst>
              <a:ext uri="{FF2B5EF4-FFF2-40B4-BE49-F238E27FC236}">
                <a16:creationId xmlns:a16="http://schemas.microsoft.com/office/drawing/2014/main" id="{1315229E-BF53-4760-9CD0-E0007ADFDD73}"/>
              </a:ext>
            </a:extLst>
          </p:cNvPr>
          <p:cNvGrpSpPr/>
          <p:nvPr/>
        </p:nvGrpSpPr>
        <p:grpSpPr>
          <a:xfrm>
            <a:off x="7558634" y="1946221"/>
            <a:ext cx="531614" cy="522817"/>
            <a:chOff x="1664997" y="2513265"/>
            <a:chExt cx="531614" cy="522817"/>
          </a:xfrm>
        </p:grpSpPr>
        <p:pic>
          <p:nvPicPr>
            <p:cNvPr id="72" name="Graphique 71">
              <a:extLst>
                <a:ext uri="{FF2B5EF4-FFF2-40B4-BE49-F238E27FC236}">
                  <a16:creationId xmlns:a16="http://schemas.microsoft.com/office/drawing/2014/main" id="{CF7B2E37-457D-4052-AEC1-28F3F972C8F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32839" y="2513265"/>
              <a:ext cx="195930" cy="242031"/>
            </a:xfrm>
            <a:prstGeom prst="rect">
              <a:avLst/>
            </a:prstGeom>
          </p:spPr>
        </p:pic>
        <p:sp>
          <p:nvSpPr>
            <p:cNvPr id="73" name="Rectangle 72">
              <a:extLst>
                <a:ext uri="{FF2B5EF4-FFF2-40B4-BE49-F238E27FC236}">
                  <a16:creationId xmlns:a16="http://schemas.microsoft.com/office/drawing/2014/main" id="{E63B3A07-11BB-46D5-9539-7CDD30C1B5E7}"/>
                </a:ext>
              </a:extLst>
            </p:cNvPr>
            <p:cNvSpPr/>
            <p:nvPr/>
          </p:nvSpPr>
          <p:spPr bwMode="auto">
            <a:xfrm>
              <a:off x="1664997" y="2725202"/>
              <a:ext cx="531614" cy="310880"/>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err="1">
                  <a:solidFill>
                    <a:schemeClr val="tx2"/>
                  </a:solidFill>
                  <a:latin typeface="Trebuchet MS" panose="020B0603020202020204" pitchFamily="34" charset="0"/>
                </a:rPr>
                <a:t>Covid</a:t>
              </a:r>
              <a:r>
                <a:rPr lang="en-GB" sz="900" i="1">
                  <a:solidFill>
                    <a:schemeClr val="tx2"/>
                  </a:solidFill>
                  <a:latin typeface="Trebuchet MS" panose="020B0603020202020204" pitchFamily="34" charset="0"/>
                </a:rPr>
                <a:t> impact</a:t>
              </a:r>
              <a:endParaRPr kumimoji="0" lang="en-GB" sz="900" b="0" i="1" u="none" strike="noStrike" cap="none" normalizeH="0" baseline="0">
                <a:ln>
                  <a:noFill/>
                </a:ln>
                <a:solidFill>
                  <a:schemeClr val="tx2"/>
                </a:solidFill>
                <a:effectLst/>
                <a:latin typeface="Trebuchet MS" panose="020B0603020202020204" pitchFamily="34" charset="0"/>
              </a:endParaRPr>
            </a:p>
          </p:txBody>
        </p:sp>
      </p:grpSp>
      <p:grpSp>
        <p:nvGrpSpPr>
          <p:cNvPr id="9" name="Groupe 8">
            <a:extLst>
              <a:ext uri="{FF2B5EF4-FFF2-40B4-BE49-F238E27FC236}">
                <a16:creationId xmlns:a16="http://schemas.microsoft.com/office/drawing/2014/main" id="{6C240571-355C-4BAE-BAE5-0762759FE6F2}"/>
              </a:ext>
            </a:extLst>
          </p:cNvPr>
          <p:cNvGrpSpPr/>
          <p:nvPr/>
        </p:nvGrpSpPr>
        <p:grpSpPr>
          <a:xfrm>
            <a:off x="207500" y="6026944"/>
            <a:ext cx="271131" cy="278606"/>
            <a:chOff x="207500" y="6026944"/>
            <a:chExt cx="271131" cy="278606"/>
          </a:xfrm>
        </p:grpSpPr>
        <p:grpSp>
          <p:nvGrpSpPr>
            <p:cNvPr id="5" name="Groupe 4">
              <a:extLst>
                <a:ext uri="{FF2B5EF4-FFF2-40B4-BE49-F238E27FC236}">
                  <a16:creationId xmlns:a16="http://schemas.microsoft.com/office/drawing/2014/main" id="{0BFE5CB6-CF93-46D6-A0ED-0698453A6A4E}"/>
                </a:ext>
              </a:extLst>
            </p:cNvPr>
            <p:cNvGrpSpPr/>
            <p:nvPr/>
          </p:nvGrpSpPr>
          <p:grpSpPr>
            <a:xfrm>
              <a:off x="254534" y="6079531"/>
              <a:ext cx="170542" cy="170540"/>
              <a:chOff x="254534" y="6079531"/>
              <a:chExt cx="170542" cy="170540"/>
            </a:xfrm>
          </p:grpSpPr>
          <p:sp>
            <p:nvSpPr>
              <p:cNvPr id="74" name="Freeform 6">
                <a:extLst>
                  <a:ext uri="{FF2B5EF4-FFF2-40B4-BE49-F238E27FC236}">
                    <a16:creationId xmlns:a16="http://schemas.microsoft.com/office/drawing/2014/main" id="{B02CA083-41D5-49FD-80B6-011B025F98F5}"/>
                  </a:ext>
                </a:extLst>
              </p:cNvPr>
              <p:cNvSpPr>
                <a:spLocks/>
              </p:cNvSpPr>
              <p:nvPr/>
            </p:nvSpPr>
            <p:spPr bwMode="auto">
              <a:xfrm>
                <a:off x="281196" y="6098148"/>
                <a:ext cx="21375" cy="18617"/>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sp>
            <p:nvSpPr>
              <p:cNvPr id="75" name="Freeform 7">
                <a:extLst>
                  <a:ext uri="{FF2B5EF4-FFF2-40B4-BE49-F238E27FC236}">
                    <a16:creationId xmlns:a16="http://schemas.microsoft.com/office/drawing/2014/main" id="{FBE6B3A0-0D6D-4E7D-B7F5-18370ED32684}"/>
                  </a:ext>
                </a:extLst>
              </p:cNvPr>
              <p:cNvSpPr>
                <a:spLocks/>
              </p:cNvSpPr>
              <p:nvPr/>
            </p:nvSpPr>
            <p:spPr bwMode="auto">
              <a:xfrm>
                <a:off x="254534" y="6153999"/>
                <a:ext cx="21375" cy="10802"/>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sp>
            <p:nvSpPr>
              <p:cNvPr id="76" name="Freeform 8">
                <a:extLst>
                  <a:ext uri="{FF2B5EF4-FFF2-40B4-BE49-F238E27FC236}">
                    <a16:creationId xmlns:a16="http://schemas.microsoft.com/office/drawing/2014/main" id="{83E1E222-B6B0-43F8-97D4-19963A37C18A}"/>
                  </a:ext>
                </a:extLst>
              </p:cNvPr>
              <p:cNvSpPr>
                <a:spLocks/>
              </p:cNvSpPr>
              <p:nvPr/>
            </p:nvSpPr>
            <p:spPr bwMode="auto">
              <a:xfrm>
                <a:off x="403701" y="6164801"/>
                <a:ext cx="21375" cy="10573"/>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sp>
            <p:nvSpPr>
              <p:cNvPr id="77" name="Freeform 9">
                <a:extLst>
                  <a:ext uri="{FF2B5EF4-FFF2-40B4-BE49-F238E27FC236}">
                    <a16:creationId xmlns:a16="http://schemas.microsoft.com/office/drawing/2014/main" id="{5E6230E6-0959-4198-AE89-F8DA84238E6E}"/>
                  </a:ext>
                </a:extLst>
              </p:cNvPr>
              <p:cNvSpPr>
                <a:spLocks/>
              </p:cNvSpPr>
              <p:nvPr/>
            </p:nvSpPr>
            <p:spPr bwMode="auto">
              <a:xfrm>
                <a:off x="387842" y="6106192"/>
                <a:ext cx="18617" cy="18617"/>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sp>
            <p:nvSpPr>
              <p:cNvPr id="78" name="Freeform 10">
                <a:extLst>
                  <a:ext uri="{FF2B5EF4-FFF2-40B4-BE49-F238E27FC236}">
                    <a16:creationId xmlns:a16="http://schemas.microsoft.com/office/drawing/2014/main" id="{C0ABBA2B-4777-4592-9326-6A75C2F1B94D}"/>
                  </a:ext>
                </a:extLst>
              </p:cNvPr>
              <p:cNvSpPr>
                <a:spLocks/>
              </p:cNvSpPr>
              <p:nvPr/>
            </p:nvSpPr>
            <p:spPr bwMode="auto">
              <a:xfrm>
                <a:off x="339805" y="6079531"/>
                <a:ext cx="10573" cy="21145"/>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sp>
            <p:nvSpPr>
              <p:cNvPr id="80" name="Freeform 11">
                <a:extLst>
                  <a:ext uri="{FF2B5EF4-FFF2-40B4-BE49-F238E27FC236}">
                    <a16:creationId xmlns:a16="http://schemas.microsoft.com/office/drawing/2014/main" id="{228B9B84-D2B7-4723-9890-8C86CFEC6C9D}"/>
                  </a:ext>
                </a:extLst>
              </p:cNvPr>
              <p:cNvSpPr>
                <a:spLocks noEditPoints="1"/>
              </p:cNvSpPr>
              <p:nvPr/>
            </p:nvSpPr>
            <p:spPr bwMode="auto">
              <a:xfrm>
                <a:off x="297284" y="6122051"/>
                <a:ext cx="85041" cy="95843"/>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sp>
            <p:nvSpPr>
              <p:cNvPr id="81" name="Freeform 12">
                <a:extLst>
                  <a:ext uri="{FF2B5EF4-FFF2-40B4-BE49-F238E27FC236}">
                    <a16:creationId xmlns:a16="http://schemas.microsoft.com/office/drawing/2014/main" id="{6BB5C437-7AAE-4A58-AD29-3412C9C1FB10}"/>
                  </a:ext>
                </a:extLst>
              </p:cNvPr>
              <p:cNvSpPr>
                <a:spLocks/>
              </p:cNvSpPr>
              <p:nvPr/>
            </p:nvSpPr>
            <p:spPr bwMode="auto">
              <a:xfrm>
                <a:off x="318430" y="6228696"/>
                <a:ext cx="42750" cy="21375"/>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grpSp>
        <p:sp>
          <p:nvSpPr>
            <p:cNvPr id="7" name="Ellipse 6">
              <a:extLst>
                <a:ext uri="{FF2B5EF4-FFF2-40B4-BE49-F238E27FC236}">
                  <a16:creationId xmlns:a16="http://schemas.microsoft.com/office/drawing/2014/main" id="{1FA03A31-0DE6-4874-B1D7-F5BE1EDB10DD}"/>
                </a:ext>
              </a:extLst>
            </p:cNvPr>
            <p:cNvSpPr/>
            <p:nvPr/>
          </p:nvSpPr>
          <p:spPr bwMode="auto">
            <a:xfrm>
              <a:off x="207500" y="6026944"/>
              <a:ext cx="271131" cy="278606"/>
            </a:xfrm>
            <a:prstGeom prst="ellipse">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Tree>
    <p:extLst>
      <p:ext uri="{BB962C8B-B14F-4D97-AF65-F5344CB8AC3E}">
        <p14:creationId xmlns:p14="http://schemas.microsoft.com/office/powerpoint/2010/main" val="104034165"/>
      </p:ext>
    </p:extLst>
  </p:cSld>
  <p:clrMapOvr>
    <a:masterClrMapping/>
  </p:clrMapOv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a:extLst>
              <a:ext uri="{FF2B5EF4-FFF2-40B4-BE49-F238E27FC236}">
                <a16:creationId xmlns:a16="http://schemas.microsoft.com/office/drawing/2014/main" id="{1DEB59F8-5E73-4728-9CA8-B4B48ACCC7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55" name="Object 54" hidden="1">
                        <a:extLst>
                          <a:ext uri="{FF2B5EF4-FFF2-40B4-BE49-F238E27FC236}">
                            <a16:creationId xmlns:a16="http://schemas.microsoft.com/office/drawing/2014/main" id="{1DEB59F8-5E73-4728-9CA8-B4B48ACCC7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 name="Rectangle 52" hidden="1">
            <a:extLst>
              <a:ext uri="{FF2B5EF4-FFF2-40B4-BE49-F238E27FC236}">
                <a16:creationId xmlns:a16="http://schemas.microsoft.com/office/drawing/2014/main" id="{41F7CDCC-5BCE-4CBD-B748-8AB787583F1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 name="Rectangle 2">
            <a:extLst>
              <a:ext uri="{FF2B5EF4-FFF2-40B4-BE49-F238E27FC236}">
                <a16:creationId xmlns:a16="http://schemas.microsoft.com/office/drawing/2014/main" id="{E9385B8F-9BE1-4E76-BB14-24714B10F2EA}"/>
              </a:ext>
            </a:extLst>
          </p:cNvPr>
          <p:cNvSpPr/>
          <p:nvPr/>
        </p:nvSpPr>
        <p:spPr bwMode="auto">
          <a:xfrm>
            <a:off x="93369" y="1855030"/>
            <a:ext cx="2652109" cy="4593495"/>
          </a:xfrm>
          <a:prstGeom prst="rect">
            <a:avLst/>
          </a:prstGeom>
          <a:solidFill>
            <a:srgbClr val="F2F2F2"/>
          </a:solidFill>
          <a:ln w="9525" cap="flat" cmpd="sng" algn="ctr">
            <a:solidFill>
              <a:schemeClr val="tx1"/>
            </a:solidFill>
            <a:prstDash val="lg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86" name="Rectangle 185">
            <a:extLst>
              <a:ext uri="{FF2B5EF4-FFF2-40B4-BE49-F238E27FC236}">
                <a16:creationId xmlns:a16="http://schemas.microsoft.com/office/drawing/2014/main" id="{4B897969-7E48-40AD-9AB3-04C2EB1C600D}"/>
              </a:ext>
            </a:extLst>
          </p:cNvPr>
          <p:cNvSpPr/>
          <p:nvPr/>
        </p:nvSpPr>
        <p:spPr bwMode="auto">
          <a:xfrm>
            <a:off x="4847271" y="1190575"/>
            <a:ext cx="4931551" cy="395413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100"/>
              </a:spcAft>
            </a:pPr>
            <a:endParaRPr lang="en-GB" sz="1000" b="1" i="1">
              <a:latin typeface="Trebuchet MS" panose="020B0603020202020204" pitchFamily="34" charset="0"/>
            </a:endParaRPr>
          </a:p>
        </p:txBody>
      </p:sp>
      <p:graphicFrame>
        <p:nvGraphicFramePr>
          <p:cNvPr id="47" name="Graphique 46">
            <a:extLst>
              <a:ext uri="{FF2B5EF4-FFF2-40B4-BE49-F238E27FC236}">
                <a16:creationId xmlns:a16="http://schemas.microsoft.com/office/drawing/2014/main" id="{398E1163-03DD-432B-9BC8-520C1DF9938C}"/>
              </a:ext>
            </a:extLst>
          </p:cNvPr>
          <p:cNvGraphicFramePr/>
          <p:nvPr/>
        </p:nvGraphicFramePr>
        <p:xfrm>
          <a:off x="4679669" y="1615314"/>
          <a:ext cx="4992643" cy="3451845"/>
        </p:xfrm>
        <a:graphic>
          <a:graphicData uri="http://schemas.openxmlformats.org/drawingml/2006/chart">
            <c:chart xmlns:c="http://schemas.openxmlformats.org/drawingml/2006/chart" xmlns:r="http://schemas.openxmlformats.org/officeDocument/2006/relationships" r:id="rId6"/>
          </a:graphicData>
        </a:graphic>
      </p:graphicFrame>
      <p:sp>
        <p:nvSpPr>
          <p:cNvPr id="44" name="Titre 43">
            <a:extLst>
              <a:ext uri="{FF2B5EF4-FFF2-40B4-BE49-F238E27FC236}">
                <a16:creationId xmlns:a16="http://schemas.microsoft.com/office/drawing/2014/main" id="{41B41659-11A6-4C08-9C67-580F494FC353}"/>
              </a:ext>
            </a:extLst>
          </p:cNvPr>
          <p:cNvSpPr>
            <a:spLocks noGrp="1"/>
          </p:cNvSpPr>
          <p:nvPr>
            <p:ph type="title"/>
          </p:nvPr>
        </p:nvSpPr>
        <p:spPr>
          <a:xfrm>
            <a:off x="165600" y="147600"/>
            <a:ext cx="8414798" cy="684000"/>
          </a:xfrm>
        </p:spPr>
        <p:txBody>
          <a:bodyPr/>
          <a:lstStyle/>
          <a:p>
            <a:r>
              <a:rPr lang="en-GB" err="1">
                <a:solidFill>
                  <a:schemeClr val="tx2"/>
                </a:solidFill>
                <a:latin typeface="Trebuchet MS" panose="020B0603020202020204" pitchFamily="34" charset="0"/>
              </a:rPr>
              <a:t>Altares</a:t>
            </a:r>
            <a:r>
              <a:rPr lang="en-GB">
                <a:solidFill>
                  <a:schemeClr val="tx2"/>
                </a:solidFill>
                <a:latin typeface="Trebuchet MS" panose="020B0603020202020204" pitchFamily="34" charset="0"/>
              </a:rPr>
              <a:t>’ offer outperforms the competition </a:t>
            </a:r>
            <a:r>
              <a:rPr lang="en-GB">
                <a:latin typeface="Trebuchet MS" panose="020B0603020202020204" pitchFamily="34" charset="0"/>
              </a:rPr>
              <a:t>thanks to the </a:t>
            </a:r>
            <a:r>
              <a:rPr lang="en-GB">
                <a:solidFill>
                  <a:schemeClr val="tx2"/>
                </a:solidFill>
                <a:latin typeface="Trebuchet MS" panose="020B0603020202020204" pitchFamily="34" charset="0"/>
              </a:rPr>
              <a:t>quality</a:t>
            </a:r>
            <a:r>
              <a:rPr lang="en-GB">
                <a:latin typeface="Trebuchet MS" panose="020B0603020202020204" pitchFamily="34" charset="0"/>
              </a:rPr>
              <a:t> and </a:t>
            </a:r>
            <a:r>
              <a:rPr lang="en-GB">
                <a:solidFill>
                  <a:schemeClr val="tx2"/>
                </a:solidFill>
                <a:latin typeface="Trebuchet MS" panose="020B0603020202020204" pitchFamily="34" charset="0"/>
              </a:rPr>
              <a:t>comprehensiveness</a:t>
            </a:r>
            <a:r>
              <a:rPr lang="en-GB">
                <a:latin typeface="Trebuchet MS" panose="020B0603020202020204" pitchFamily="34" charset="0"/>
              </a:rPr>
              <a:t> of its data, the accuracy of its analyses and its </a:t>
            </a:r>
            <a:r>
              <a:rPr lang="en-GB">
                <a:solidFill>
                  <a:schemeClr val="tx2"/>
                </a:solidFill>
                <a:latin typeface="Trebuchet MS" panose="020B0603020202020204" pitchFamily="34" charset="0"/>
              </a:rPr>
              <a:t>reliable brand image </a:t>
            </a:r>
          </a:p>
        </p:txBody>
      </p:sp>
      <p:sp>
        <p:nvSpPr>
          <p:cNvPr id="2" name="Espace réservé du texte 1">
            <a:extLst>
              <a:ext uri="{FF2B5EF4-FFF2-40B4-BE49-F238E27FC236}">
                <a16:creationId xmlns:a16="http://schemas.microsoft.com/office/drawing/2014/main" id="{D4764F8F-42C5-4348-8DF2-6E21334FCBB8}"/>
              </a:ext>
            </a:extLst>
          </p:cNvPr>
          <p:cNvSpPr>
            <a:spLocks noGrp="1"/>
          </p:cNvSpPr>
          <p:nvPr>
            <p:ph type="body" sz="quarter" idx="10"/>
          </p:nvPr>
        </p:nvSpPr>
        <p:spPr/>
        <p:txBody>
          <a:bodyPr/>
          <a:lstStyle/>
          <a:p>
            <a:r>
              <a:rPr lang="en-GB"/>
              <a:t>Sources: eleven research &amp; analysis, expert calls</a:t>
            </a:r>
          </a:p>
          <a:p>
            <a:endParaRPr lang="en-GB"/>
          </a:p>
        </p:txBody>
      </p:sp>
      <p:sp>
        <p:nvSpPr>
          <p:cNvPr id="9" name="Rectangle 8">
            <a:extLst>
              <a:ext uri="{FF2B5EF4-FFF2-40B4-BE49-F238E27FC236}">
                <a16:creationId xmlns:a16="http://schemas.microsoft.com/office/drawing/2014/main" id="{90F5C331-5229-44DC-8968-9742E0B316F3}"/>
              </a:ext>
            </a:extLst>
          </p:cNvPr>
          <p:cNvSpPr/>
          <p:nvPr/>
        </p:nvSpPr>
        <p:spPr bwMode="auto">
          <a:xfrm>
            <a:off x="4829191" y="1146684"/>
            <a:ext cx="4105433" cy="464961"/>
          </a:xfrm>
          <a:prstGeom prst="rect">
            <a:avLst/>
          </a:prstGeom>
        </p:spPr>
        <p:txBody>
          <a:bodyPr wrap="square" anchor="ctr">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ea typeface="+mn-ea"/>
                <a:cs typeface="Arial" pitchFamily="34" charset="0"/>
              </a:rPr>
              <a:t>Performance of players on the Credit risk market regarding their offer’s key differentiating elements</a:t>
            </a:r>
          </a:p>
        </p:txBody>
      </p:sp>
      <p:pic>
        <p:nvPicPr>
          <p:cNvPr id="11" name="Picture 4 - 1" descr="Afficher l'image d'origine">
            <a:extLst>
              <a:ext uri="{FF2B5EF4-FFF2-40B4-BE49-F238E27FC236}">
                <a16:creationId xmlns:a16="http://schemas.microsoft.com/office/drawing/2014/main" id="{5907DE26-800F-45CA-AC09-10C1220438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91985" y="4133108"/>
            <a:ext cx="356296" cy="1901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RÃ©sultat de recherche d'images pour &quot;bureau van dijk&quot;">
            <a:extLst>
              <a:ext uri="{FF2B5EF4-FFF2-40B4-BE49-F238E27FC236}">
                <a16:creationId xmlns:a16="http://schemas.microsoft.com/office/drawing/2014/main" id="{22EADC2A-F4D7-4B8B-AEC9-883601C9DF3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39165" y="4105879"/>
            <a:ext cx="608512" cy="24597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3" descr="Afficher l'image d'origine">
            <a:extLst>
              <a:ext uri="{FF2B5EF4-FFF2-40B4-BE49-F238E27FC236}">
                <a16:creationId xmlns:a16="http://schemas.microsoft.com/office/drawing/2014/main" id="{CFBAD65B-3866-4E8A-B5A2-2DADF2DB273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365524" y="4436818"/>
            <a:ext cx="654069" cy="10858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9">
            <a:extLst>
              <a:ext uri="{FF2B5EF4-FFF2-40B4-BE49-F238E27FC236}">
                <a16:creationId xmlns:a16="http://schemas.microsoft.com/office/drawing/2014/main" id="{464C2BC0-0230-4C9B-8703-465915CB4A1A}"/>
              </a:ext>
            </a:extLst>
          </p:cNvPr>
          <p:cNvPicPr>
            <a:picLocks noChangeAspect="1"/>
          </p:cNvPicPr>
          <p:nvPr/>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l="17951" t="23735" r="17951" b="23735"/>
          <a:stretch/>
        </p:blipFill>
        <p:spPr>
          <a:xfrm>
            <a:off x="7601162" y="4905870"/>
            <a:ext cx="495797" cy="181896"/>
          </a:xfrm>
          <a:prstGeom prst="rect">
            <a:avLst/>
          </a:prstGeom>
        </p:spPr>
      </p:pic>
      <p:pic>
        <p:nvPicPr>
          <p:cNvPr id="16" name="Picture 71" descr="A picture containing clipart&#10;&#10;Description automatically generated">
            <a:extLst>
              <a:ext uri="{FF2B5EF4-FFF2-40B4-BE49-F238E27FC236}">
                <a16:creationId xmlns:a16="http://schemas.microsoft.com/office/drawing/2014/main" id="{9037CB59-7FE4-47A7-AA9A-28AA6849E18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171804" y="4923757"/>
            <a:ext cx="675718" cy="100724"/>
          </a:xfrm>
          <a:prstGeom prst="rect">
            <a:avLst/>
          </a:prstGeom>
        </p:spPr>
      </p:pic>
      <p:pic>
        <p:nvPicPr>
          <p:cNvPr id="17" name="Picture 76">
            <a:extLst>
              <a:ext uri="{FF2B5EF4-FFF2-40B4-BE49-F238E27FC236}">
                <a16:creationId xmlns:a16="http://schemas.microsoft.com/office/drawing/2014/main" id="{C3C9990F-91D8-4ABB-8CB7-B2230DA5EFF5}"/>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948829" y="4898743"/>
            <a:ext cx="700083" cy="134299"/>
          </a:xfrm>
          <a:prstGeom prst="rect">
            <a:avLst/>
          </a:prstGeom>
        </p:spPr>
      </p:pic>
      <p:pic>
        <p:nvPicPr>
          <p:cNvPr id="18" name="Picture 80" descr="A picture containing light&#10;&#10;Description automatically generated">
            <a:extLst>
              <a:ext uri="{FF2B5EF4-FFF2-40B4-BE49-F238E27FC236}">
                <a16:creationId xmlns:a16="http://schemas.microsoft.com/office/drawing/2014/main" id="{240F7869-F189-43AE-BC00-33B8D37607BA}"/>
              </a:ext>
            </a:extLst>
          </p:cNvPr>
          <p:cNvPicPr>
            <a:picLocks noChangeAspect="1"/>
          </p:cNvPicPr>
          <p:nvPr/>
        </p:nvPicPr>
        <p:blipFill rotWithShape="1">
          <a:blip r:embed="rId13">
            <a:extLst>
              <a:ext uri="{28A0092B-C50C-407E-A947-70E740481C1C}">
                <a14:useLocalDpi xmlns:a14="http://schemas.microsoft.com/office/drawing/2010/main" val="0"/>
              </a:ext>
            </a:extLst>
          </a:blip>
          <a:srcRect t="38705" b="38705"/>
          <a:stretch/>
        </p:blipFill>
        <p:spPr>
          <a:xfrm>
            <a:off x="8388207" y="4584936"/>
            <a:ext cx="548510" cy="88166"/>
          </a:xfrm>
          <a:prstGeom prst="rect">
            <a:avLst/>
          </a:prstGeom>
        </p:spPr>
      </p:pic>
      <p:pic>
        <p:nvPicPr>
          <p:cNvPr id="19" name="Picture 84">
            <a:extLst>
              <a:ext uri="{FF2B5EF4-FFF2-40B4-BE49-F238E27FC236}">
                <a16:creationId xmlns:a16="http://schemas.microsoft.com/office/drawing/2014/main" id="{8719A74F-0A03-4F8A-AB22-37E30C6D1F21}"/>
              </a:ext>
            </a:extLst>
          </p:cNvPr>
          <p:cNvPicPr>
            <a:picLocks noChangeAspect="1"/>
          </p:cNvPicPr>
          <p:nvPr/>
        </p:nvPicPr>
        <p:blipFill>
          <a:blip r:embed="rId14">
            <a:clrChange>
              <a:clrFrom>
                <a:srgbClr val="FFFFFF"/>
              </a:clrFrom>
              <a:clrTo>
                <a:srgbClr val="FFFFFF">
                  <a:alpha val="0"/>
                </a:srgbClr>
              </a:clrTo>
            </a:clrChange>
          </a:blip>
          <a:stretch>
            <a:fillRect/>
          </a:stretch>
        </p:blipFill>
        <p:spPr>
          <a:xfrm>
            <a:off x="5825754" y="4913280"/>
            <a:ext cx="689313" cy="108550"/>
          </a:xfrm>
          <a:prstGeom prst="rect">
            <a:avLst/>
          </a:prstGeom>
        </p:spPr>
      </p:pic>
      <p:pic>
        <p:nvPicPr>
          <p:cNvPr id="20" name="Picture 2" descr="Fichiers d'Entreprises au Luxembourg – Solution de Prospection">
            <a:extLst>
              <a:ext uri="{FF2B5EF4-FFF2-40B4-BE49-F238E27FC236}">
                <a16:creationId xmlns:a16="http://schemas.microsoft.com/office/drawing/2014/main" id="{58CC2193-2615-47C6-8E34-74FD32A18F1C}"/>
              </a:ext>
            </a:extLst>
          </p:cNvPr>
          <p:cNvPicPr>
            <a:picLocks noChangeAspect="1" noChangeArrowheads="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10606" y="4916789"/>
            <a:ext cx="614183" cy="15403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88">
            <a:extLst>
              <a:ext uri="{FF2B5EF4-FFF2-40B4-BE49-F238E27FC236}">
                <a16:creationId xmlns:a16="http://schemas.microsoft.com/office/drawing/2014/main" id="{E5BD32DA-C70C-4E03-B6D3-60F5EF19CD23}"/>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6630612" y="4870874"/>
            <a:ext cx="595629" cy="190039"/>
          </a:xfrm>
          <a:prstGeom prst="rect">
            <a:avLst/>
          </a:prstGeom>
        </p:spPr>
      </p:pic>
      <p:pic>
        <p:nvPicPr>
          <p:cNvPr id="22" name="Picture 89" descr="A picture containing computer, computer&#10;&#10;Description automatically generated">
            <a:extLst>
              <a:ext uri="{FF2B5EF4-FFF2-40B4-BE49-F238E27FC236}">
                <a16:creationId xmlns:a16="http://schemas.microsoft.com/office/drawing/2014/main" id="{72948269-8D93-4142-B12B-09E3E4D74A10}"/>
              </a:ext>
            </a:extLst>
          </p:cNvPr>
          <p:cNvPicPr>
            <a:picLocks noChangeAspect="1"/>
          </p:cNvPicPr>
          <p:nvPr/>
        </p:nvPicPr>
        <p:blipFill rotWithShape="1">
          <a:blip r:embed="rId17">
            <a:extLst>
              <a:ext uri="{28A0092B-C50C-407E-A947-70E740481C1C}">
                <a14:useLocalDpi xmlns:a14="http://schemas.microsoft.com/office/drawing/2010/main" val="0"/>
              </a:ext>
            </a:extLst>
          </a:blip>
          <a:srcRect l="12024" t="40724" r="12024" b="40724"/>
          <a:stretch/>
        </p:blipFill>
        <p:spPr>
          <a:xfrm>
            <a:off x="9031547" y="4590380"/>
            <a:ext cx="474289" cy="77277"/>
          </a:xfrm>
          <a:prstGeom prst="rect">
            <a:avLst/>
          </a:prstGeom>
        </p:spPr>
      </p:pic>
      <p:sp>
        <p:nvSpPr>
          <p:cNvPr id="46" name="ZoneTexte 45">
            <a:extLst>
              <a:ext uri="{FF2B5EF4-FFF2-40B4-BE49-F238E27FC236}">
                <a16:creationId xmlns:a16="http://schemas.microsoft.com/office/drawing/2014/main" id="{0DCA7B07-46A8-4103-8735-35697202D62C}"/>
              </a:ext>
            </a:extLst>
          </p:cNvPr>
          <p:cNvSpPr txBox="1"/>
          <p:nvPr/>
        </p:nvSpPr>
        <p:spPr>
          <a:xfrm>
            <a:off x="4847271" y="5189891"/>
            <a:ext cx="4931551" cy="1298941"/>
          </a:xfrm>
          <a:prstGeom prst="rect">
            <a:avLst/>
          </a:prstGeom>
          <a:solidFill>
            <a:schemeClr val="bg1">
              <a:lumMod val="95000"/>
            </a:schemeClr>
          </a:solidFill>
        </p:spPr>
        <p:txBody>
          <a:bodyPr wrap="square" anchor="ctr">
            <a:noAutofit/>
          </a:bodyPr>
          <a:lstStyle/>
          <a:p>
            <a:pPr marL="228600" indent="-228600">
              <a:spcBef>
                <a:spcPts val="300"/>
              </a:spcBef>
              <a:buClr>
                <a:schemeClr val="tx1"/>
              </a:buClr>
              <a:buFont typeface="Arial" panose="020B0604020202020204" pitchFamily="34" charset="0"/>
              <a:buChar char="•"/>
            </a:pPr>
            <a:r>
              <a:rPr lang="en-GB" sz="1000" err="1">
                <a:solidFill>
                  <a:schemeClr val="tx2"/>
                </a:solidFill>
                <a:latin typeface="Trebuchet MS" panose="020B0603020202020204" pitchFamily="34" charset="0"/>
              </a:rPr>
              <a:t>Altares</a:t>
            </a:r>
            <a:r>
              <a:rPr lang="en-GB" sz="1000">
                <a:solidFill>
                  <a:schemeClr val="tx2"/>
                </a:solidFill>
                <a:latin typeface="Trebuchet MS" panose="020B0603020202020204" pitchFamily="34" charset="0"/>
              </a:rPr>
              <a:t>’</a:t>
            </a:r>
            <a:r>
              <a:rPr lang="en-GB" sz="1000">
                <a:latin typeface="Trebuchet MS" panose="020B0603020202020204" pitchFamily="34" charset="0"/>
              </a:rPr>
              <a:t> </a:t>
            </a:r>
            <a:r>
              <a:rPr lang="en-GB" sz="1000">
                <a:solidFill>
                  <a:schemeClr val="tx2"/>
                </a:solidFill>
                <a:latin typeface="Trebuchet MS" panose="020B0603020202020204" pitchFamily="34" charset="0"/>
              </a:rPr>
              <a:t>Credit risk information </a:t>
            </a:r>
            <a:r>
              <a:rPr lang="en-GB" sz="1000">
                <a:latin typeface="Trebuchet MS" panose="020B0603020202020204" pitchFamily="34" charset="0"/>
              </a:rPr>
              <a:t>offer is highly </a:t>
            </a:r>
            <a:r>
              <a:rPr lang="en-GB" sz="1000">
                <a:solidFill>
                  <a:schemeClr val="tx2"/>
                </a:solidFill>
                <a:latin typeface="Trebuchet MS" panose="020B0603020202020204" pitchFamily="34" charset="0"/>
              </a:rPr>
              <a:t>competitive</a:t>
            </a:r>
            <a:r>
              <a:rPr lang="en-GB" sz="1000">
                <a:latin typeface="Trebuchet MS" panose="020B0603020202020204" pitchFamily="34" charset="0"/>
              </a:rPr>
              <a:t> and addresses </a:t>
            </a:r>
            <a:r>
              <a:rPr lang="en-GB" sz="1000">
                <a:solidFill>
                  <a:schemeClr val="tx2"/>
                </a:solidFill>
                <a:latin typeface="Trebuchet MS" panose="020B0603020202020204" pitchFamily="34" charset="0"/>
              </a:rPr>
              <a:t>large caps </a:t>
            </a:r>
            <a:r>
              <a:rPr lang="en-GB" sz="1000">
                <a:latin typeface="Trebuchet MS" panose="020B0603020202020204" pitchFamily="34" charset="0"/>
              </a:rPr>
              <a:t>thanks to its </a:t>
            </a:r>
            <a:r>
              <a:rPr lang="en-GB" sz="1000">
                <a:solidFill>
                  <a:schemeClr val="tx2"/>
                </a:solidFill>
                <a:latin typeface="Trebuchet MS" panose="020B0603020202020204" pitchFamily="34" charset="0"/>
              </a:rPr>
              <a:t>brand image</a:t>
            </a:r>
            <a:r>
              <a:rPr lang="en-GB" sz="1000">
                <a:latin typeface="Trebuchet MS" panose="020B0603020202020204" pitchFamily="34" charset="0"/>
              </a:rPr>
              <a:t>, and </a:t>
            </a:r>
            <a:r>
              <a:rPr lang="en-GB" sz="1000">
                <a:solidFill>
                  <a:schemeClr val="tx2"/>
                </a:solidFill>
                <a:latin typeface="Trebuchet MS" panose="020B0603020202020204" pitchFamily="34" charset="0"/>
              </a:rPr>
              <a:t>wide database</a:t>
            </a:r>
          </a:p>
          <a:p>
            <a:pPr marL="228600" indent="-228600">
              <a:spcBef>
                <a:spcPts val="300"/>
              </a:spcBef>
              <a:buClr>
                <a:schemeClr val="tx1"/>
              </a:buClr>
              <a:buFont typeface="Arial" panose="020B0604020202020204" pitchFamily="34" charset="0"/>
              <a:buChar char="•"/>
            </a:pPr>
            <a:r>
              <a:rPr lang="en-GB" sz="1000" err="1">
                <a:latin typeface="Trebuchet MS" panose="020B0603020202020204" pitchFamily="34" charset="0"/>
              </a:rPr>
              <a:t>Altares</a:t>
            </a:r>
            <a:r>
              <a:rPr lang="en-GB" sz="1000">
                <a:latin typeface="Trebuchet MS" panose="020B0603020202020204" pitchFamily="34" charset="0"/>
              </a:rPr>
              <a:t> solutions for </a:t>
            </a:r>
            <a:r>
              <a:rPr lang="en-GB" sz="1000">
                <a:solidFill>
                  <a:schemeClr val="tx2"/>
                </a:solidFill>
                <a:latin typeface="Trebuchet MS" panose="020B0603020202020204" pitchFamily="34" charset="0"/>
              </a:rPr>
              <a:t>compliance</a:t>
            </a:r>
            <a:r>
              <a:rPr lang="en-GB" sz="1000">
                <a:latin typeface="Trebuchet MS" panose="020B0603020202020204" pitchFamily="34" charset="0"/>
              </a:rPr>
              <a:t> are known to be </a:t>
            </a:r>
            <a:r>
              <a:rPr lang="en-GB" sz="1000">
                <a:solidFill>
                  <a:schemeClr val="tx2"/>
                </a:solidFill>
                <a:latin typeface="Trebuchet MS" panose="020B0603020202020204" pitchFamily="34" charset="0"/>
              </a:rPr>
              <a:t>state-of-the-art on the market</a:t>
            </a:r>
          </a:p>
          <a:p>
            <a:pPr marL="228600" indent="-228600">
              <a:spcBef>
                <a:spcPts val="300"/>
              </a:spcBef>
              <a:buClr>
                <a:schemeClr val="tx1"/>
              </a:buClr>
              <a:buFont typeface="Arial" panose="020B0604020202020204" pitchFamily="34" charset="0"/>
              <a:buChar char="•"/>
            </a:pPr>
            <a:r>
              <a:rPr lang="en-GB" sz="1000">
                <a:solidFill>
                  <a:schemeClr val="tx2"/>
                </a:solidFill>
                <a:latin typeface="Trebuchet MS" panose="020B0603020202020204" pitchFamily="34" charset="0"/>
              </a:rPr>
              <a:t>Premium players </a:t>
            </a:r>
            <a:r>
              <a:rPr lang="en-GB" sz="1000">
                <a:latin typeface="Trebuchet MS" panose="020B0603020202020204" pitchFamily="34" charset="0"/>
              </a:rPr>
              <a:t>offer more specific and </a:t>
            </a:r>
            <a:r>
              <a:rPr lang="en-GB" sz="1000">
                <a:solidFill>
                  <a:schemeClr val="tx2"/>
                </a:solidFill>
                <a:latin typeface="Trebuchet MS" panose="020B0603020202020204" pitchFamily="34" charset="0"/>
              </a:rPr>
              <a:t>added-value marketing solutions </a:t>
            </a:r>
            <a:r>
              <a:rPr lang="en-GB" sz="1000">
                <a:latin typeface="Trebuchet MS" panose="020B0603020202020204" pitchFamily="34" charset="0"/>
              </a:rPr>
              <a:t>than local BD&amp;A players, as they </a:t>
            </a:r>
            <a:r>
              <a:rPr lang="en-GB" sz="1000">
                <a:solidFill>
                  <a:schemeClr val="tx2"/>
                </a:solidFill>
                <a:latin typeface="Trebuchet MS" panose="020B0603020202020204" pitchFamily="34" charset="0"/>
              </a:rPr>
              <a:t>rely on their existing database and after-sales services </a:t>
            </a:r>
            <a:r>
              <a:rPr lang="en-GB" sz="1000">
                <a:latin typeface="Trebuchet MS" panose="020B0603020202020204" pitchFamily="34" charset="0"/>
              </a:rPr>
              <a:t>already</a:t>
            </a:r>
            <a:r>
              <a:rPr lang="en-GB" sz="1000">
                <a:solidFill>
                  <a:schemeClr val="tx2"/>
                </a:solidFill>
                <a:latin typeface="Trebuchet MS" panose="020B0603020202020204" pitchFamily="34" charset="0"/>
              </a:rPr>
              <a:t> </a:t>
            </a:r>
            <a:r>
              <a:rPr lang="en-GB" sz="1000">
                <a:latin typeface="Trebuchet MS" panose="020B0603020202020204" pitchFamily="34" charset="0"/>
              </a:rPr>
              <a:t>developed for their Credit risk solution, mostly </a:t>
            </a:r>
            <a:r>
              <a:rPr lang="en-GB" sz="1000">
                <a:solidFill>
                  <a:schemeClr val="tx2"/>
                </a:solidFill>
                <a:latin typeface="Trebuchet MS" panose="020B0603020202020204" pitchFamily="34" charset="0"/>
              </a:rPr>
              <a:t>benefiting larger corporates</a:t>
            </a:r>
          </a:p>
        </p:txBody>
      </p:sp>
      <p:cxnSp>
        <p:nvCxnSpPr>
          <p:cNvPr id="48" name="Connecteur droit 47">
            <a:extLst>
              <a:ext uri="{FF2B5EF4-FFF2-40B4-BE49-F238E27FC236}">
                <a16:creationId xmlns:a16="http://schemas.microsoft.com/office/drawing/2014/main" id="{AFED8B46-453C-42EE-A45C-973A722351B1}"/>
              </a:ext>
            </a:extLst>
          </p:cNvPr>
          <p:cNvCxnSpPr>
            <a:cxnSpLocks/>
          </p:cNvCxnSpPr>
          <p:nvPr/>
        </p:nvCxnSpPr>
        <p:spPr bwMode="auto">
          <a:xfrm>
            <a:off x="270767" y="1079433"/>
            <a:ext cx="9364467"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52" name="Rectangle 84">
            <a:extLst>
              <a:ext uri="{FF2B5EF4-FFF2-40B4-BE49-F238E27FC236}">
                <a16:creationId xmlns:a16="http://schemas.microsoft.com/office/drawing/2014/main" id="{677C3747-81D6-4D0C-A4EA-E280686663CC}"/>
              </a:ext>
            </a:extLst>
          </p:cNvPr>
          <p:cNvSpPr/>
          <p:nvPr/>
        </p:nvSpPr>
        <p:spPr bwMode="auto">
          <a:xfrm>
            <a:off x="3422034" y="928767"/>
            <a:ext cx="3061933"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err="1">
                <a:solidFill>
                  <a:schemeClr val="accent1">
                    <a:lumMod val="75000"/>
                  </a:schemeClr>
                </a:solidFill>
                <a:latin typeface="Trebuchet MS" panose="020B0603020202020204" pitchFamily="34" charset="0"/>
              </a:rPr>
              <a:t>Altares</a:t>
            </a:r>
            <a:r>
              <a:rPr lang="en-GB" sz="1100">
                <a:solidFill>
                  <a:schemeClr val="accent1">
                    <a:lumMod val="75000"/>
                  </a:schemeClr>
                </a:solidFill>
                <a:latin typeface="Trebuchet MS" panose="020B0603020202020204" pitchFamily="34" charset="0"/>
              </a:rPr>
              <a:t>’ key differentiating elements</a:t>
            </a:r>
          </a:p>
        </p:txBody>
      </p:sp>
      <p:grpSp>
        <p:nvGrpSpPr>
          <p:cNvPr id="49" name="Groupe 48">
            <a:extLst>
              <a:ext uri="{FF2B5EF4-FFF2-40B4-BE49-F238E27FC236}">
                <a16:creationId xmlns:a16="http://schemas.microsoft.com/office/drawing/2014/main" id="{AE7C78C8-D784-4BCB-9CBB-41BDAF245AAA}"/>
              </a:ext>
            </a:extLst>
          </p:cNvPr>
          <p:cNvGrpSpPr/>
          <p:nvPr/>
        </p:nvGrpSpPr>
        <p:grpSpPr>
          <a:xfrm>
            <a:off x="8448150" y="-11528"/>
            <a:ext cx="1435548" cy="588143"/>
            <a:chOff x="8448150" y="-11528"/>
            <a:chExt cx="1435548" cy="588143"/>
          </a:xfrm>
        </p:grpSpPr>
        <p:sp>
          <p:nvSpPr>
            <p:cNvPr id="50" name="Rectangle : coins arrondis 199">
              <a:extLst>
                <a:ext uri="{FF2B5EF4-FFF2-40B4-BE49-F238E27FC236}">
                  <a16:creationId xmlns:a16="http://schemas.microsoft.com/office/drawing/2014/main" id="{946767F7-2747-4F24-9D17-D647A04B1F46}"/>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1" name="Rectangle : coins arrondis 200">
              <a:extLst>
                <a:ext uri="{FF2B5EF4-FFF2-40B4-BE49-F238E27FC236}">
                  <a16:creationId xmlns:a16="http://schemas.microsoft.com/office/drawing/2014/main" id="{02AAC6E0-7E57-4294-9519-7A2F13D37716}"/>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4" name="Rectangle : coins arrondis 201">
              <a:extLst>
                <a:ext uri="{FF2B5EF4-FFF2-40B4-BE49-F238E27FC236}">
                  <a16:creationId xmlns:a16="http://schemas.microsoft.com/office/drawing/2014/main" id="{297558A3-6EF5-4551-92F4-AA12589B0C5D}"/>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7" name="ZoneTexte 18">
              <a:extLst>
                <a:ext uri="{FF2B5EF4-FFF2-40B4-BE49-F238E27FC236}">
                  <a16:creationId xmlns:a16="http://schemas.microsoft.com/office/drawing/2014/main" id="{A15CF46A-75B8-4035-869E-396AB432C1B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key assets</a:t>
              </a:r>
            </a:p>
          </p:txBody>
        </p:sp>
        <p:pic>
          <p:nvPicPr>
            <p:cNvPr id="58" name="Graphique 128" descr="Jauge">
              <a:extLst>
                <a:ext uri="{FF2B5EF4-FFF2-40B4-BE49-F238E27FC236}">
                  <a16:creationId xmlns:a16="http://schemas.microsoft.com/office/drawing/2014/main" id="{B6DF4B6F-EEDD-4711-93E0-1A0CF13D44A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553764" y="187516"/>
              <a:ext cx="234953" cy="218224"/>
            </a:xfrm>
            <a:prstGeom prst="rect">
              <a:avLst/>
            </a:prstGeom>
            <a:effectLst/>
          </p:spPr>
        </p:pic>
        <p:pic>
          <p:nvPicPr>
            <p:cNvPr id="61" name="Graphique 90" descr="Poignée de main">
              <a:extLst>
                <a:ext uri="{FF2B5EF4-FFF2-40B4-BE49-F238E27FC236}">
                  <a16:creationId xmlns:a16="http://schemas.microsoft.com/office/drawing/2014/main" id="{1CE6DFBA-67B0-4F67-A6E2-CB153B857CE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960868" y="152880"/>
              <a:ext cx="256313" cy="287496"/>
            </a:xfrm>
            <a:prstGeom prst="rect">
              <a:avLst/>
            </a:prstGeom>
            <a:effectLst/>
          </p:spPr>
        </p:pic>
        <p:pic>
          <p:nvPicPr>
            <p:cNvPr id="62" name="Graphique 74" descr="Mégaphone">
              <a:extLst>
                <a:ext uri="{FF2B5EF4-FFF2-40B4-BE49-F238E27FC236}">
                  <a16:creationId xmlns:a16="http://schemas.microsoft.com/office/drawing/2014/main" id="{4D815C1D-A9C9-45A5-AE10-32CA7C7D896E}"/>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389331" y="181519"/>
              <a:ext cx="233011" cy="216420"/>
            </a:xfrm>
            <a:prstGeom prst="rect">
              <a:avLst/>
            </a:prstGeom>
            <a:effectLst/>
          </p:spPr>
        </p:pic>
        <p:pic>
          <p:nvPicPr>
            <p:cNvPr id="63" name="Picture 2" descr="Drapeau France">
              <a:extLst>
                <a:ext uri="{FF2B5EF4-FFF2-40B4-BE49-F238E27FC236}">
                  <a16:creationId xmlns:a16="http://schemas.microsoft.com/office/drawing/2014/main" id="{8B83239F-7B62-4B01-95A1-489703739E00}"/>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4" name="Picture 2" descr="5 ft x 3 ft 150 x 90 cm-DRAPEAU BELGE Belgique 100% Polyester ...">
              <a:extLst>
                <a:ext uri="{FF2B5EF4-FFF2-40B4-BE49-F238E27FC236}">
                  <a16:creationId xmlns:a16="http://schemas.microsoft.com/office/drawing/2014/main" id="{75BD2042-EBE1-4DAD-B820-8F7E974DC42F}"/>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5" name="Picture 2 - 1" descr="Drapeau des Pays-Bas — Wikipédia">
              <a:extLst>
                <a:ext uri="{FF2B5EF4-FFF2-40B4-BE49-F238E27FC236}">
                  <a16:creationId xmlns:a16="http://schemas.microsoft.com/office/drawing/2014/main" id="{FD9434CA-EEB9-41AA-B07E-91932770BC44}"/>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6" name="Picture 2 - 2" descr="Drapeau du Luxembourg">
              <a:extLst>
                <a:ext uri="{FF2B5EF4-FFF2-40B4-BE49-F238E27FC236}">
                  <a16:creationId xmlns:a16="http://schemas.microsoft.com/office/drawing/2014/main" id="{44675FC2-35BB-44DF-A6FF-268FC6CA012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7" name="ZoneTexte 18">
              <a:extLst>
                <a:ext uri="{FF2B5EF4-FFF2-40B4-BE49-F238E27FC236}">
                  <a16:creationId xmlns:a16="http://schemas.microsoft.com/office/drawing/2014/main" id="{766714FA-3DEA-425B-8135-B68A03542343}"/>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Value proposition</a:t>
              </a:r>
            </a:p>
          </p:txBody>
        </p:sp>
      </p:grpSp>
      <p:sp>
        <p:nvSpPr>
          <p:cNvPr id="78" name="Rectangle 77">
            <a:extLst>
              <a:ext uri="{FF2B5EF4-FFF2-40B4-BE49-F238E27FC236}">
                <a16:creationId xmlns:a16="http://schemas.microsoft.com/office/drawing/2014/main" id="{2509B51C-1745-406C-AD18-D077967705AF}"/>
              </a:ext>
            </a:extLst>
          </p:cNvPr>
          <p:cNvSpPr/>
          <p:nvPr/>
        </p:nvSpPr>
        <p:spPr bwMode="auto">
          <a:xfrm>
            <a:off x="217636" y="3280651"/>
            <a:ext cx="1596120" cy="415828"/>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177800" marR="0" lvl="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Capacity to integrate into the client’s system</a:t>
            </a:r>
            <a:endParaRPr kumimoji="0" lang="en-GB" sz="900" b="0" i="1" u="none" strike="noStrike" kern="0" cap="none" spc="0" normalizeH="0" baseline="0" noProof="0">
              <a:ln>
                <a:noFill/>
              </a:ln>
              <a:solidFill>
                <a:schemeClr val="bg1"/>
              </a:solidFill>
              <a:effectLst/>
              <a:uLnTx/>
              <a:uFillTx/>
              <a:latin typeface="Trebuchet MS" panose="020B0603020202020204" pitchFamily="34" charset="0"/>
            </a:endParaRPr>
          </a:p>
        </p:txBody>
      </p:sp>
      <p:sp>
        <p:nvSpPr>
          <p:cNvPr id="79" name="Rectangle 78">
            <a:extLst>
              <a:ext uri="{FF2B5EF4-FFF2-40B4-BE49-F238E27FC236}">
                <a16:creationId xmlns:a16="http://schemas.microsoft.com/office/drawing/2014/main" id="{C5D59DBC-2F73-4260-9117-7CD08E27A613}"/>
              </a:ext>
            </a:extLst>
          </p:cNvPr>
          <p:cNvSpPr/>
          <p:nvPr/>
        </p:nvSpPr>
        <p:spPr bwMode="auto">
          <a:xfrm>
            <a:off x="217636" y="4297556"/>
            <a:ext cx="1596120" cy="415828"/>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177800" marR="0" lvl="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Availability of international data</a:t>
            </a:r>
          </a:p>
        </p:txBody>
      </p:sp>
      <p:sp>
        <p:nvSpPr>
          <p:cNvPr id="80" name="Rectangle 79">
            <a:extLst>
              <a:ext uri="{FF2B5EF4-FFF2-40B4-BE49-F238E27FC236}">
                <a16:creationId xmlns:a16="http://schemas.microsoft.com/office/drawing/2014/main" id="{DD3BF237-1C89-461E-9C54-262670FAEE51}"/>
              </a:ext>
            </a:extLst>
          </p:cNvPr>
          <p:cNvSpPr/>
          <p:nvPr/>
        </p:nvSpPr>
        <p:spPr bwMode="auto">
          <a:xfrm>
            <a:off x="217636" y="3789103"/>
            <a:ext cx="1596120" cy="415828"/>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177800" marR="0" lvl="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Price competitiveness </a:t>
            </a:r>
          </a:p>
        </p:txBody>
      </p:sp>
      <p:sp>
        <p:nvSpPr>
          <p:cNvPr id="81" name="Rectangle 80">
            <a:extLst>
              <a:ext uri="{FF2B5EF4-FFF2-40B4-BE49-F238E27FC236}">
                <a16:creationId xmlns:a16="http://schemas.microsoft.com/office/drawing/2014/main" id="{E9F34570-3927-4B5C-A0E3-B95DF81321C1}"/>
              </a:ext>
            </a:extLst>
          </p:cNvPr>
          <p:cNvSpPr/>
          <p:nvPr/>
        </p:nvSpPr>
        <p:spPr bwMode="auto">
          <a:xfrm>
            <a:off x="217636" y="2772198"/>
            <a:ext cx="1596120" cy="415828"/>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177800" marR="0" lvl="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Reliability of the prediction score </a:t>
            </a:r>
          </a:p>
        </p:txBody>
      </p:sp>
      <p:sp>
        <p:nvSpPr>
          <p:cNvPr id="82" name="Rectangle 81">
            <a:extLst>
              <a:ext uri="{FF2B5EF4-FFF2-40B4-BE49-F238E27FC236}">
                <a16:creationId xmlns:a16="http://schemas.microsoft.com/office/drawing/2014/main" id="{1694F4F3-8C04-41FD-860C-A5D34D8FC88C}"/>
              </a:ext>
            </a:extLst>
          </p:cNvPr>
          <p:cNvSpPr/>
          <p:nvPr/>
        </p:nvSpPr>
        <p:spPr bwMode="auto">
          <a:xfrm>
            <a:off x="217636" y="2263745"/>
            <a:ext cx="1596120" cy="415828"/>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177800" marR="0" lvl="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Quality of the database</a:t>
            </a:r>
            <a:endParaRPr kumimoji="0" lang="en-GB" sz="900" b="0" i="1" u="none" strike="noStrike" kern="0" cap="none" spc="0" normalizeH="0" baseline="0" noProof="0">
              <a:ln>
                <a:noFill/>
              </a:ln>
              <a:solidFill>
                <a:schemeClr val="bg1"/>
              </a:solidFill>
              <a:effectLst/>
              <a:uLnTx/>
              <a:uFillTx/>
              <a:latin typeface="Trebuchet MS" panose="020B0603020202020204" pitchFamily="34" charset="0"/>
            </a:endParaRPr>
          </a:p>
        </p:txBody>
      </p:sp>
      <p:sp>
        <p:nvSpPr>
          <p:cNvPr id="83" name="Rectangle 82">
            <a:extLst>
              <a:ext uri="{FF2B5EF4-FFF2-40B4-BE49-F238E27FC236}">
                <a16:creationId xmlns:a16="http://schemas.microsoft.com/office/drawing/2014/main" id="{C32A1E68-0D36-4A9A-861B-89677EBC5F04}"/>
              </a:ext>
            </a:extLst>
          </p:cNvPr>
          <p:cNvSpPr/>
          <p:nvPr/>
        </p:nvSpPr>
        <p:spPr bwMode="auto">
          <a:xfrm>
            <a:off x="217636" y="4806009"/>
            <a:ext cx="1596120" cy="415828"/>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177800" marR="0" lvl="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Ability to provide the required level of service (inc. tailor-made analyses)</a:t>
            </a:r>
          </a:p>
        </p:txBody>
      </p:sp>
      <p:sp>
        <p:nvSpPr>
          <p:cNvPr id="84" name="Rectangle 83">
            <a:extLst>
              <a:ext uri="{FF2B5EF4-FFF2-40B4-BE49-F238E27FC236}">
                <a16:creationId xmlns:a16="http://schemas.microsoft.com/office/drawing/2014/main" id="{29FA8C9E-1AA5-4FF7-90C4-F828BEF892A7}"/>
              </a:ext>
            </a:extLst>
          </p:cNvPr>
          <p:cNvSpPr/>
          <p:nvPr/>
        </p:nvSpPr>
        <p:spPr bwMode="auto">
          <a:xfrm>
            <a:off x="217636" y="5314461"/>
            <a:ext cx="1596120" cy="415828"/>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177800" marR="0" lvl="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Ease of use of the solution</a:t>
            </a:r>
          </a:p>
        </p:txBody>
      </p:sp>
      <p:sp>
        <p:nvSpPr>
          <p:cNvPr id="85" name="Rectangle 84">
            <a:extLst>
              <a:ext uri="{FF2B5EF4-FFF2-40B4-BE49-F238E27FC236}">
                <a16:creationId xmlns:a16="http://schemas.microsoft.com/office/drawing/2014/main" id="{441783E1-C63C-413C-80A0-E1476D1D7D9B}"/>
              </a:ext>
            </a:extLst>
          </p:cNvPr>
          <p:cNvSpPr/>
          <p:nvPr/>
        </p:nvSpPr>
        <p:spPr bwMode="auto">
          <a:xfrm>
            <a:off x="217636" y="5822914"/>
            <a:ext cx="1596120" cy="415828"/>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177800" marR="0" lvl="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Brand image</a:t>
            </a:r>
          </a:p>
        </p:txBody>
      </p:sp>
      <p:sp>
        <p:nvSpPr>
          <p:cNvPr id="86" name="Rectangle 85">
            <a:extLst>
              <a:ext uri="{FF2B5EF4-FFF2-40B4-BE49-F238E27FC236}">
                <a16:creationId xmlns:a16="http://schemas.microsoft.com/office/drawing/2014/main" id="{1BDDBE1A-EE27-4088-9346-64903104833E}"/>
              </a:ext>
            </a:extLst>
          </p:cNvPr>
          <p:cNvSpPr/>
          <p:nvPr/>
        </p:nvSpPr>
        <p:spPr bwMode="auto">
          <a:xfrm>
            <a:off x="1784246" y="1855031"/>
            <a:ext cx="985443" cy="313079"/>
          </a:xfrm>
          <a:prstGeom prst="rect">
            <a:avLst/>
          </a:prstGeom>
          <a:noFill/>
          <a:ln w="9525" cap="flat" cmpd="sng" algn="ctr">
            <a:noFill/>
            <a:prstDash val="solid"/>
            <a:round/>
            <a:headEnd type="none" w="med" len="med"/>
            <a:tailEnd type="none" w="med" len="med"/>
          </a:ln>
          <a:effectLst/>
        </p:spPr>
        <p:txBody>
          <a:bodyPr vert="horz" wrap="square" lIns="0" tIns="45720" rIns="36000" bIns="45720" numCol="1" rtlCol="0" anchor="b" anchorCtr="0" compatLnSpc="1">
            <a:prstTxWarp prst="textNoShape">
              <a:avLst/>
            </a:prstTxWarp>
          </a:bodyPr>
          <a:lstStyle/>
          <a:p>
            <a:pPr marL="92075" marR="0" lvl="0" indent="0" algn="ctr" defTabSz="914400" eaLnBrk="1" fontAlgn="auto" latinLnBrk="0" hangingPunct="1">
              <a:lnSpc>
                <a:spcPct val="100000"/>
              </a:lnSpc>
              <a:spcBef>
                <a:spcPts val="0"/>
              </a:spcBef>
              <a:spcAft>
                <a:spcPts val="0"/>
              </a:spcAft>
              <a:buClrTx/>
              <a:buSzTx/>
              <a:buFontTx/>
              <a:buNone/>
              <a:tabLst/>
              <a:defRPr/>
            </a:pPr>
            <a:r>
              <a:rPr lang="en-GB" sz="900" i="1" kern="0">
                <a:solidFill>
                  <a:schemeClr val="tx2"/>
                </a:solidFill>
                <a:latin typeface="Trebuchet MS" panose="020B0603020202020204" pitchFamily="34" charset="0"/>
              </a:rPr>
              <a:t>Credit risk</a:t>
            </a:r>
            <a:endParaRPr kumimoji="0" lang="en-GB" sz="900" b="0" i="1" u="none" strike="noStrike" kern="0" cap="none" spc="0" normalizeH="0" baseline="0" noProof="0">
              <a:ln>
                <a:noFill/>
              </a:ln>
              <a:solidFill>
                <a:schemeClr val="tx2"/>
              </a:solidFill>
              <a:effectLst/>
              <a:uLnTx/>
              <a:uFillTx/>
              <a:latin typeface="Trebuchet MS" panose="020B0603020202020204" pitchFamily="34" charset="0"/>
            </a:endParaRPr>
          </a:p>
        </p:txBody>
      </p:sp>
      <p:sp>
        <p:nvSpPr>
          <p:cNvPr id="87" name="Rectangle 86">
            <a:extLst>
              <a:ext uri="{FF2B5EF4-FFF2-40B4-BE49-F238E27FC236}">
                <a16:creationId xmlns:a16="http://schemas.microsoft.com/office/drawing/2014/main" id="{0C90581B-9658-4AD5-B44F-FDEA44E5630E}"/>
              </a:ext>
            </a:extLst>
          </p:cNvPr>
          <p:cNvSpPr/>
          <p:nvPr/>
        </p:nvSpPr>
        <p:spPr bwMode="auto">
          <a:xfrm>
            <a:off x="2630997" y="1888127"/>
            <a:ext cx="985443" cy="313079"/>
          </a:xfrm>
          <a:prstGeom prst="rect">
            <a:avLst/>
          </a:prstGeom>
          <a:no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algn="ctr" defTabSz="914400" eaLnBrk="1" fontAlgn="auto" latinLnBrk="0" hangingPunct="1">
              <a:lnSpc>
                <a:spcPct val="100000"/>
              </a:lnSpc>
              <a:spcBef>
                <a:spcPts val="0"/>
              </a:spcBef>
              <a:spcAft>
                <a:spcPts val="0"/>
              </a:spcAft>
              <a:buClrTx/>
              <a:buSzTx/>
              <a:buFontTx/>
              <a:buNone/>
              <a:tabLst/>
              <a:defRPr/>
            </a:pPr>
            <a:r>
              <a:rPr lang="en-GB" sz="900" i="1" kern="0">
                <a:solidFill>
                  <a:schemeClr val="tx2"/>
                </a:solidFill>
                <a:latin typeface="Trebuchet MS" panose="020B0603020202020204" pitchFamily="34" charset="0"/>
              </a:rPr>
              <a:t>Compliance</a:t>
            </a:r>
            <a:endParaRPr lang="en-GB" sz="500" i="1" kern="0">
              <a:solidFill>
                <a:schemeClr val="tx2"/>
              </a:solidFill>
              <a:latin typeface="Trebuchet MS" panose="020B0603020202020204" pitchFamily="34" charset="0"/>
            </a:endParaRPr>
          </a:p>
        </p:txBody>
      </p:sp>
      <p:sp>
        <p:nvSpPr>
          <p:cNvPr id="88" name="Rectangle 87">
            <a:extLst>
              <a:ext uri="{FF2B5EF4-FFF2-40B4-BE49-F238E27FC236}">
                <a16:creationId xmlns:a16="http://schemas.microsoft.com/office/drawing/2014/main" id="{A8F36ADF-A776-4132-8CA3-B2F8F7DC03CC}"/>
              </a:ext>
            </a:extLst>
          </p:cNvPr>
          <p:cNvSpPr/>
          <p:nvPr/>
        </p:nvSpPr>
        <p:spPr bwMode="auto">
          <a:xfrm>
            <a:off x="3560649" y="1877415"/>
            <a:ext cx="985443" cy="313079"/>
          </a:xfrm>
          <a:prstGeom prst="rect">
            <a:avLst/>
          </a:prstGeom>
          <a:noFill/>
          <a:ln w="9525" cap="flat" cmpd="sng" algn="ctr">
            <a:noFill/>
            <a:prstDash val="solid"/>
            <a:round/>
            <a:headEnd type="none" w="med" len="med"/>
            <a:tailEnd type="none" w="med" len="med"/>
          </a:ln>
          <a:effectLst/>
        </p:spPr>
        <p:txBody>
          <a:bodyPr vert="horz" wrap="square" lIns="0" tIns="72000" rIns="36000" bIns="45720" numCol="1" rtlCol="0" anchor="ctr" anchorCtr="0" compatLnSpc="1">
            <a:prstTxWarp prst="textNoShape">
              <a:avLst/>
            </a:prstTxWarp>
          </a:bodyPr>
          <a:lstStyle/>
          <a:p>
            <a:pPr marL="92075" marR="0" lvl="0" indent="0" algn="ctr" defTabSz="914400" eaLnBrk="1" fontAlgn="auto" latinLnBrk="0" hangingPunct="1">
              <a:lnSpc>
                <a:spcPct val="100000"/>
              </a:lnSpc>
              <a:spcBef>
                <a:spcPts val="0"/>
              </a:spcBef>
              <a:spcAft>
                <a:spcPts val="0"/>
              </a:spcAft>
              <a:buClrTx/>
              <a:buSzTx/>
              <a:buFontTx/>
              <a:buNone/>
              <a:tabLst/>
              <a:defRPr/>
            </a:pPr>
            <a:r>
              <a:rPr lang="en-GB" sz="900" i="1" kern="0">
                <a:solidFill>
                  <a:schemeClr val="tx2"/>
                </a:solidFill>
                <a:latin typeface="Trebuchet MS" panose="020B0603020202020204" pitchFamily="34" charset="0"/>
              </a:rPr>
              <a:t>B2B Marketing</a:t>
            </a:r>
            <a:endParaRPr kumimoji="0" lang="en-GB" sz="900" b="0" i="1" u="none" strike="noStrike" kern="0" cap="none" spc="0" normalizeH="0" baseline="0" noProof="0">
              <a:ln>
                <a:noFill/>
              </a:ln>
              <a:solidFill>
                <a:schemeClr val="tx2"/>
              </a:solidFill>
              <a:effectLst/>
              <a:uLnTx/>
              <a:uFillTx/>
              <a:latin typeface="Trebuchet MS" panose="020B0603020202020204" pitchFamily="34" charset="0"/>
            </a:endParaRPr>
          </a:p>
        </p:txBody>
      </p:sp>
      <p:sp>
        <p:nvSpPr>
          <p:cNvPr id="89" name="Rectangle 84">
            <a:extLst>
              <a:ext uri="{FF2B5EF4-FFF2-40B4-BE49-F238E27FC236}">
                <a16:creationId xmlns:a16="http://schemas.microsoft.com/office/drawing/2014/main" id="{9F2FDE29-38A7-4146-B511-94F3CCB9DF20}"/>
              </a:ext>
            </a:extLst>
          </p:cNvPr>
          <p:cNvSpPr/>
          <p:nvPr/>
        </p:nvSpPr>
        <p:spPr bwMode="auto">
          <a:xfrm>
            <a:off x="1897962" y="1480348"/>
            <a:ext cx="2501981" cy="400110"/>
          </a:xfrm>
          <a:prstGeom prst="rect">
            <a:avLst/>
          </a:prstGeom>
          <a:noFill/>
        </p:spPr>
        <p:txBody>
          <a:bodyPr wrap="square" rtlCol="0">
            <a:spAutoFit/>
          </a:bodyPr>
          <a:lstStyle/>
          <a:p>
            <a:pPr algn="ctr" fontAlgn="auto">
              <a:spcBef>
                <a:spcPts val="0"/>
              </a:spcBef>
              <a:spcAft>
                <a:spcPts val="0"/>
              </a:spcAft>
            </a:pPr>
            <a:r>
              <a:rPr lang="en-GB" sz="1000" b="1" i="1" kern="0">
                <a:solidFill>
                  <a:srgbClr val="646464"/>
                </a:solidFill>
                <a:latin typeface="Trebuchet MS" panose="020B0603020202020204" pitchFamily="34" charset="0"/>
              </a:rPr>
              <a:t>Weighted importance of each KPC for the three </a:t>
            </a:r>
            <a:r>
              <a:rPr lang="en-GB" sz="1000" b="1" i="1" kern="0" err="1">
                <a:solidFill>
                  <a:srgbClr val="646464"/>
                </a:solidFill>
                <a:latin typeface="Trebuchet MS" panose="020B0603020202020204" pitchFamily="34" charset="0"/>
              </a:rPr>
              <a:t>Altares</a:t>
            </a:r>
            <a:r>
              <a:rPr lang="en-GB" sz="1000" b="1" i="1" kern="0">
                <a:solidFill>
                  <a:srgbClr val="646464"/>
                </a:solidFill>
                <a:latin typeface="Trebuchet MS" panose="020B0603020202020204" pitchFamily="34" charset="0"/>
              </a:rPr>
              <a:t>’ client types </a:t>
            </a:r>
          </a:p>
        </p:txBody>
      </p:sp>
      <p:sp>
        <p:nvSpPr>
          <p:cNvPr id="90" name="Étoile : 5 branches 89">
            <a:extLst>
              <a:ext uri="{FF2B5EF4-FFF2-40B4-BE49-F238E27FC236}">
                <a16:creationId xmlns:a16="http://schemas.microsoft.com/office/drawing/2014/main" id="{6F980140-8D53-4ED4-B095-95CC6C9FBA21}"/>
              </a:ext>
            </a:extLst>
          </p:cNvPr>
          <p:cNvSpPr/>
          <p:nvPr/>
        </p:nvSpPr>
        <p:spPr bwMode="auto">
          <a:xfrm>
            <a:off x="2213939" y="2306045"/>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1" name="Étoile : 5 branches 90">
            <a:extLst>
              <a:ext uri="{FF2B5EF4-FFF2-40B4-BE49-F238E27FC236}">
                <a16:creationId xmlns:a16="http://schemas.microsoft.com/office/drawing/2014/main" id="{BDB0401F-7592-442E-B782-8FD0B10FDDB5}"/>
              </a:ext>
            </a:extLst>
          </p:cNvPr>
          <p:cNvSpPr/>
          <p:nvPr/>
        </p:nvSpPr>
        <p:spPr bwMode="auto">
          <a:xfrm>
            <a:off x="1956880" y="2306045"/>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2" name="Étoile : 5 branches 91">
            <a:extLst>
              <a:ext uri="{FF2B5EF4-FFF2-40B4-BE49-F238E27FC236}">
                <a16:creationId xmlns:a16="http://schemas.microsoft.com/office/drawing/2014/main" id="{BCD2E6D5-066D-4DB2-9830-0027A3C8AE52}"/>
              </a:ext>
            </a:extLst>
          </p:cNvPr>
          <p:cNvSpPr/>
          <p:nvPr/>
        </p:nvSpPr>
        <p:spPr bwMode="auto">
          <a:xfrm>
            <a:off x="2470998" y="2306045"/>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93" name="Étoile : 5 branches 92">
            <a:extLst>
              <a:ext uri="{FF2B5EF4-FFF2-40B4-BE49-F238E27FC236}">
                <a16:creationId xmlns:a16="http://schemas.microsoft.com/office/drawing/2014/main" id="{44E83C73-2BE8-46AB-A89F-27F220F2A319}"/>
              </a:ext>
            </a:extLst>
          </p:cNvPr>
          <p:cNvSpPr/>
          <p:nvPr/>
        </p:nvSpPr>
        <p:spPr bwMode="auto">
          <a:xfrm>
            <a:off x="2213939" y="2851714"/>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4" name="Étoile : 5 branches 93">
            <a:extLst>
              <a:ext uri="{FF2B5EF4-FFF2-40B4-BE49-F238E27FC236}">
                <a16:creationId xmlns:a16="http://schemas.microsoft.com/office/drawing/2014/main" id="{A2D22674-0B31-4DCB-BE04-7CD8890F3C06}"/>
              </a:ext>
            </a:extLst>
          </p:cNvPr>
          <p:cNvSpPr/>
          <p:nvPr/>
        </p:nvSpPr>
        <p:spPr bwMode="auto">
          <a:xfrm>
            <a:off x="1956880" y="2851714"/>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5" name="Étoile : 5 branches 94">
            <a:extLst>
              <a:ext uri="{FF2B5EF4-FFF2-40B4-BE49-F238E27FC236}">
                <a16:creationId xmlns:a16="http://schemas.microsoft.com/office/drawing/2014/main" id="{AE00B634-D3DD-4293-B37A-711D5CC6CF08}"/>
              </a:ext>
            </a:extLst>
          </p:cNvPr>
          <p:cNvSpPr/>
          <p:nvPr/>
        </p:nvSpPr>
        <p:spPr bwMode="auto">
          <a:xfrm>
            <a:off x="2470998" y="2851714"/>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96" name="Étoile : 5 branches 95">
            <a:extLst>
              <a:ext uri="{FF2B5EF4-FFF2-40B4-BE49-F238E27FC236}">
                <a16:creationId xmlns:a16="http://schemas.microsoft.com/office/drawing/2014/main" id="{584A357A-3210-42A7-A7F0-DF3A7932AB41}"/>
              </a:ext>
            </a:extLst>
          </p:cNvPr>
          <p:cNvSpPr/>
          <p:nvPr/>
        </p:nvSpPr>
        <p:spPr bwMode="auto">
          <a:xfrm>
            <a:off x="2213939" y="3360167"/>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7" name="Étoile : 5 branches 96">
            <a:extLst>
              <a:ext uri="{FF2B5EF4-FFF2-40B4-BE49-F238E27FC236}">
                <a16:creationId xmlns:a16="http://schemas.microsoft.com/office/drawing/2014/main" id="{AB55166B-9A3A-4A0F-ADFA-2D10B909D1B3}"/>
              </a:ext>
            </a:extLst>
          </p:cNvPr>
          <p:cNvSpPr/>
          <p:nvPr/>
        </p:nvSpPr>
        <p:spPr bwMode="auto">
          <a:xfrm>
            <a:off x="1956880" y="3360167"/>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8" name="Étoile : 5 branches 97">
            <a:extLst>
              <a:ext uri="{FF2B5EF4-FFF2-40B4-BE49-F238E27FC236}">
                <a16:creationId xmlns:a16="http://schemas.microsoft.com/office/drawing/2014/main" id="{9380FA17-BF1E-478B-9A33-C0EA5CF564D7}"/>
              </a:ext>
            </a:extLst>
          </p:cNvPr>
          <p:cNvSpPr/>
          <p:nvPr/>
        </p:nvSpPr>
        <p:spPr bwMode="auto">
          <a:xfrm>
            <a:off x="2470998" y="3360167"/>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9" name="Étoile : 5 branches 98">
            <a:extLst>
              <a:ext uri="{FF2B5EF4-FFF2-40B4-BE49-F238E27FC236}">
                <a16:creationId xmlns:a16="http://schemas.microsoft.com/office/drawing/2014/main" id="{1BD840B9-39D7-4F47-A052-D19160215576}"/>
              </a:ext>
            </a:extLst>
          </p:cNvPr>
          <p:cNvSpPr/>
          <p:nvPr/>
        </p:nvSpPr>
        <p:spPr bwMode="auto">
          <a:xfrm>
            <a:off x="2213939" y="3868564"/>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0" name="Étoile : 5 branches 99">
            <a:extLst>
              <a:ext uri="{FF2B5EF4-FFF2-40B4-BE49-F238E27FC236}">
                <a16:creationId xmlns:a16="http://schemas.microsoft.com/office/drawing/2014/main" id="{57BD191D-457F-4329-A3CC-7C981E5B5F42}"/>
              </a:ext>
            </a:extLst>
          </p:cNvPr>
          <p:cNvSpPr/>
          <p:nvPr/>
        </p:nvSpPr>
        <p:spPr bwMode="auto">
          <a:xfrm>
            <a:off x="1956880" y="3868564"/>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1" name="Étoile : 5 branches 100">
            <a:extLst>
              <a:ext uri="{FF2B5EF4-FFF2-40B4-BE49-F238E27FC236}">
                <a16:creationId xmlns:a16="http://schemas.microsoft.com/office/drawing/2014/main" id="{CCC567B5-98F9-4B75-A1F5-45DABE4D13A7}"/>
              </a:ext>
            </a:extLst>
          </p:cNvPr>
          <p:cNvSpPr/>
          <p:nvPr/>
        </p:nvSpPr>
        <p:spPr bwMode="auto">
          <a:xfrm>
            <a:off x="2470998" y="3868564"/>
            <a:ext cx="189508" cy="186082"/>
          </a:xfrm>
          <a:prstGeom prst="star5">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2" name="Étoile : 5 branches 101">
            <a:extLst>
              <a:ext uri="{FF2B5EF4-FFF2-40B4-BE49-F238E27FC236}">
                <a16:creationId xmlns:a16="http://schemas.microsoft.com/office/drawing/2014/main" id="{B9F5A4D6-2A03-4196-A68F-C8CCB5897758}"/>
              </a:ext>
            </a:extLst>
          </p:cNvPr>
          <p:cNvSpPr/>
          <p:nvPr/>
        </p:nvSpPr>
        <p:spPr bwMode="auto">
          <a:xfrm>
            <a:off x="2213939" y="4377071"/>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3" name="Étoile : 5 branches 102">
            <a:extLst>
              <a:ext uri="{FF2B5EF4-FFF2-40B4-BE49-F238E27FC236}">
                <a16:creationId xmlns:a16="http://schemas.microsoft.com/office/drawing/2014/main" id="{84EF0CE2-F122-4A04-AE81-AE849FEA9686}"/>
              </a:ext>
            </a:extLst>
          </p:cNvPr>
          <p:cNvSpPr/>
          <p:nvPr/>
        </p:nvSpPr>
        <p:spPr bwMode="auto">
          <a:xfrm>
            <a:off x="1956880" y="4377071"/>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4" name="Étoile : 5 branches 103">
            <a:extLst>
              <a:ext uri="{FF2B5EF4-FFF2-40B4-BE49-F238E27FC236}">
                <a16:creationId xmlns:a16="http://schemas.microsoft.com/office/drawing/2014/main" id="{55F1E868-83E1-4CF3-AABF-47D3D7333404}"/>
              </a:ext>
            </a:extLst>
          </p:cNvPr>
          <p:cNvSpPr/>
          <p:nvPr/>
        </p:nvSpPr>
        <p:spPr bwMode="auto">
          <a:xfrm>
            <a:off x="2470998" y="4377071"/>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5" name="Étoile : 5 branches 104">
            <a:extLst>
              <a:ext uri="{FF2B5EF4-FFF2-40B4-BE49-F238E27FC236}">
                <a16:creationId xmlns:a16="http://schemas.microsoft.com/office/drawing/2014/main" id="{7090CDC1-C5CE-4FF7-B2CE-4AC40E11636B}"/>
              </a:ext>
            </a:extLst>
          </p:cNvPr>
          <p:cNvSpPr/>
          <p:nvPr/>
        </p:nvSpPr>
        <p:spPr bwMode="auto">
          <a:xfrm>
            <a:off x="2213939" y="4885525"/>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6" name="Étoile : 5 branches 105">
            <a:extLst>
              <a:ext uri="{FF2B5EF4-FFF2-40B4-BE49-F238E27FC236}">
                <a16:creationId xmlns:a16="http://schemas.microsoft.com/office/drawing/2014/main" id="{CB5FDB34-4A9C-48C7-9E1C-B5E4AD7BD364}"/>
              </a:ext>
            </a:extLst>
          </p:cNvPr>
          <p:cNvSpPr/>
          <p:nvPr/>
        </p:nvSpPr>
        <p:spPr bwMode="auto">
          <a:xfrm>
            <a:off x="1956880" y="4885525"/>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7" name="Étoile : 5 branches 106">
            <a:extLst>
              <a:ext uri="{FF2B5EF4-FFF2-40B4-BE49-F238E27FC236}">
                <a16:creationId xmlns:a16="http://schemas.microsoft.com/office/drawing/2014/main" id="{0F19A227-45BF-420C-AC61-1505FEA43FE8}"/>
              </a:ext>
            </a:extLst>
          </p:cNvPr>
          <p:cNvSpPr/>
          <p:nvPr/>
        </p:nvSpPr>
        <p:spPr bwMode="auto">
          <a:xfrm>
            <a:off x="2470998" y="4885525"/>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9" name="Étoile : 5 branches 108">
            <a:extLst>
              <a:ext uri="{FF2B5EF4-FFF2-40B4-BE49-F238E27FC236}">
                <a16:creationId xmlns:a16="http://schemas.microsoft.com/office/drawing/2014/main" id="{F59F3DEE-B834-4D7C-8A30-3D619C52E678}"/>
              </a:ext>
            </a:extLst>
          </p:cNvPr>
          <p:cNvSpPr/>
          <p:nvPr/>
        </p:nvSpPr>
        <p:spPr bwMode="auto">
          <a:xfrm>
            <a:off x="1956880" y="5393977"/>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0" name="Étoile : 5 branches 109">
            <a:extLst>
              <a:ext uri="{FF2B5EF4-FFF2-40B4-BE49-F238E27FC236}">
                <a16:creationId xmlns:a16="http://schemas.microsoft.com/office/drawing/2014/main" id="{FA9678FF-3376-4695-A502-9958B765A46C}"/>
              </a:ext>
            </a:extLst>
          </p:cNvPr>
          <p:cNvSpPr/>
          <p:nvPr/>
        </p:nvSpPr>
        <p:spPr bwMode="auto">
          <a:xfrm>
            <a:off x="2470998" y="5393977"/>
            <a:ext cx="189508" cy="186082"/>
          </a:xfrm>
          <a:prstGeom prst="star5">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1" name="Étoile : 5 branches 110">
            <a:extLst>
              <a:ext uri="{FF2B5EF4-FFF2-40B4-BE49-F238E27FC236}">
                <a16:creationId xmlns:a16="http://schemas.microsoft.com/office/drawing/2014/main" id="{E3352E18-F823-49F4-AE5D-0C83F4C62552}"/>
              </a:ext>
            </a:extLst>
          </p:cNvPr>
          <p:cNvSpPr/>
          <p:nvPr/>
        </p:nvSpPr>
        <p:spPr bwMode="auto">
          <a:xfrm>
            <a:off x="2213939" y="5902430"/>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2" name="Étoile : 5 branches 111">
            <a:extLst>
              <a:ext uri="{FF2B5EF4-FFF2-40B4-BE49-F238E27FC236}">
                <a16:creationId xmlns:a16="http://schemas.microsoft.com/office/drawing/2014/main" id="{6A1378CD-7599-494D-846D-003EC324E218}"/>
              </a:ext>
            </a:extLst>
          </p:cNvPr>
          <p:cNvSpPr/>
          <p:nvPr/>
        </p:nvSpPr>
        <p:spPr bwMode="auto">
          <a:xfrm>
            <a:off x="1956880" y="5902430"/>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3" name="Étoile : 5 branches 112">
            <a:extLst>
              <a:ext uri="{FF2B5EF4-FFF2-40B4-BE49-F238E27FC236}">
                <a16:creationId xmlns:a16="http://schemas.microsoft.com/office/drawing/2014/main" id="{ECCC20D4-201C-4E27-BA60-57550E938559}"/>
              </a:ext>
            </a:extLst>
          </p:cNvPr>
          <p:cNvSpPr/>
          <p:nvPr/>
        </p:nvSpPr>
        <p:spPr bwMode="auto">
          <a:xfrm>
            <a:off x="2470998" y="5902430"/>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4" name="Étoile : 5 branches 113">
            <a:extLst>
              <a:ext uri="{FF2B5EF4-FFF2-40B4-BE49-F238E27FC236}">
                <a16:creationId xmlns:a16="http://schemas.microsoft.com/office/drawing/2014/main" id="{53360E40-A773-4F6E-91CC-313B64594DCB}"/>
              </a:ext>
            </a:extLst>
          </p:cNvPr>
          <p:cNvSpPr/>
          <p:nvPr/>
        </p:nvSpPr>
        <p:spPr bwMode="auto">
          <a:xfrm>
            <a:off x="3098121" y="2303199"/>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5" name="Étoile : 5 branches 114">
            <a:extLst>
              <a:ext uri="{FF2B5EF4-FFF2-40B4-BE49-F238E27FC236}">
                <a16:creationId xmlns:a16="http://schemas.microsoft.com/office/drawing/2014/main" id="{34CF9451-1955-4336-B1F2-D15E7538AC1A}"/>
              </a:ext>
            </a:extLst>
          </p:cNvPr>
          <p:cNvSpPr/>
          <p:nvPr/>
        </p:nvSpPr>
        <p:spPr bwMode="auto">
          <a:xfrm>
            <a:off x="2841062" y="2303199"/>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6" name="Étoile : 5 branches 115">
            <a:extLst>
              <a:ext uri="{FF2B5EF4-FFF2-40B4-BE49-F238E27FC236}">
                <a16:creationId xmlns:a16="http://schemas.microsoft.com/office/drawing/2014/main" id="{0C7F937E-3677-419D-82FE-10F7C672FB7F}"/>
              </a:ext>
            </a:extLst>
          </p:cNvPr>
          <p:cNvSpPr/>
          <p:nvPr/>
        </p:nvSpPr>
        <p:spPr bwMode="auto">
          <a:xfrm>
            <a:off x="3355180" y="2303199"/>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17" name="Étoile : 5 branches 116">
            <a:extLst>
              <a:ext uri="{FF2B5EF4-FFF2-40B4-BE49-F238E27FC236}">
                <a16:creationId xmlns:a16="http://schemas.microsoft.com/office/drawing/2014/main" id="{DB53495B-B21C-45D0-848E-00AC4F837723}"/>
              </a:ext>
            </a:extLst>
          </p:cNvPr>
          <p:cNvSpPr/>
          <p:nvPr/>
        </p:nvSpPr>
        <p:spPr bwMode="auto">
          <a:xfrm>
            <a:off x="3098121" y="3357320"/>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8" name="Étoile : 5 branches 117">
            <a:extLst>
              <a:ext uri="{FF2B5EF4-FFF2-40B4-BE49-F238E27FC236}">
                <a16:creationId xmlns:a16="http://schemas.microsoft.com/office/drawing/2014/main" id="{86F9FB78-1880-4A14-9981-A007C074C178}"/>
              </a:ext>
            </a:extLst>
          </p:cNvPr>
          <p:cNvSpPr/>
          <p:nvPr/>
        </p:nvSpPr>
        <p:spPr bwMode="auto">
          <a:xfrm>
            <a:off x="2841062" y="3357320"/>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9" name="Étoile : 5 branches 118">
            <a:extLst>
              <a:ext uri="{FF2B5EF4-FFF2-40B4-BE49-F238E27FC236}">
                <a16:creationId xmlns:a16="http://schemas.microsoft.com/office/drawing/2014/main" id="{070AEA3B-8144-46DB-A635-47CDF3057206}"/>
              </a:ext>
            </a:extLst>
          </p:cNvPr>
          <p:cNvSpPr/>
          <p:nvPr/>
        </p:nvSpPr>
        <p:spPr bwMode="auto">
          <a:xfrm>
            <a:off x="3355180" y="3357320"/>
            <a:ext cx="189508" cy="186082"/>
          </a:xfrm>
          <a:prstGeom prst="star5">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0" name="Étoile : 5 branches 119">
            <a:extLst>
              <a:ext uri="{FF2B5EF4-FFF2-40B4-BE49-F238E27FC236}">
                <a16:creationId xmlns:a16="http://schemas.microsoft.com/office/drawing/2014/main" id="{E7B1E6E7-5F25-47A3-AD0F-21BD422BA7E4}"/>
              </a:ext>
            </a:extLst>
          </p:cNvPr>
          <p:cNvSpPr/>
          <p:nvPr/>
        </p:nvSpPr>
        <p:spPr bwMode="auto">
          <a:xfrm>
            <a:off x="3098121" y="3865717"/>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1" name="Étoile : 5 branches 120">
            <a:extLst>
              <a:ext uri="{FF2B5EF4-FFF2-40B4-BE49-F238E27FC236}">
                <a16:creationId xmlns:a16="http://schemas.microsoft.com/office/drawing/2014/main" id="{B40310BB-CAB3-443C-8428-2C65CCA42980}"/>
              </a:ext>
            </a:extLst>
          </p:cNvPr>
          <p:cNvSpPr/>
          <p:nvPr/>
        </p:nvSpPr>
        <p:spPr bwMode="auto">
          <a:xfrm>
            <a:off x="2841062" y="3865717"/>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2" name="Étoile : 5 branches 121">
            <a:extLst>
              <a:ext uri="{FF2B5EF4-FFF2-40B4-BE49-F238E27FC236}">
                <a16:creationId xmlns:a16="http://schemas.microsoft.com/office/drawing/2014/main" id="{DB5CBFF7-89E8-4F1D-90EC-9E022C2DC85A}"/>
              </a:ext>
            </a:extLst>
          </p:cNvPr>
          <p:cNvSpPr/>
          <p:nvPr/>
        </p:nvSpPr>
        <p:spPr bwMode="auto">
          <a:xfrm>
            <a:off x="3355180" y="3865717"/>
            <a:ext cx="189508" cy="186082"/>
          </a:xfrm>
          <a:prstGeom prst="star5">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3" name="Étoile : 5 branches 122">
            <a:extLst>
              <a:ext uri="{FF2B5EF4-FFF2-40B4-BE49-F238E27FC236}">
                <a16:creationId xmlns:a16="http://schemas.microsoft.com/office/drawing/2014/main" id="{A7A27F42-9D7C-4441-B0A3-D212345FFC2E}"/>
              </a:ext>
            </a:extLst>
          </p:cNvPr>
          <p:cNvSpPr/>
          <p:nvPr/>
        </p:nvSpPr>
        <p:spPr bwMode="auto">
          <a:xfrm>
            <a:off x="3098121" y="4374226"/>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4" name="Étoile : 5 branches 123">
            <a:extLst>
              <a:ext uri="{FF2B5EF4-FFF2-40B4-BE49-F238E27FC236}">
                <a16:creationId xmlns:a16="http://schemas.microsoft.com/office/drawing/2014/main" id="{39E2FD2F-854C-4C7A-BBEC-9AA8E744B150}"/>
              </a:ext>
            </a:extLst>
          </p:cNvPr>
          <p:cNvSpPr/>
          <p:nvPr/>
        </p:nvSpPr>
        <p:spPr bwMode="auto">
          <a:xfrm>
            <a:off x="2841062" y="4374226"/>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5" name="Étoile : 5 branches 124">
            <a:extLst>
              <a:ext uri="{FF2B5EF4-FFF2-40B4-BE49-F238E27FC236}">
                <a16:creationId xmlns:a16="http://schemas.microsoft.com/office/drawing/2014/main" id="{9DDA9993-602B-416F-85F8-2E8C31D7EE02}"/>
              </a:ext>
            </a:extLst>
          </p:cNvPr>
          <p:cNvSpPr/>
          <p:nvPr/>
        </p:nvSpPr>
        <p:spPr bwMode="auto">
          <a:xfrm>
            <a:off x="3355180" y="4374226"/>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6" name="Étoile : 5 branches 125">
            <a:extLst>
              <a:ext uri="{FF2B5EF4-FFF2-40B4-BE49-F238E27FC236}">
                <a16:creationId xmlns:a16="http://schemas.microsoft.com/office/drawing/2014/main" id="{329E5DB1-B5C2-42C0-BE08-C0229197997D}"/>
              </a:ext>
            </a:extLst>
          </p:cNvPr>
          <p:cNvSpPr/>
          <p:nvPr/>
        </p:nvSpPr>
        <p:spPr bwMode="auto">
          <a:xfrm>
            <a:off x="3098121" y="4882678"/>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7" name="Étoile : 5 branches 126">
            <a:extLst>
              <a:ext uri="{FF2B5EF4-FFF2-40B4-BE49-F238E27FC236}">
                <a16:creationId xmlns:a16="http://schemas.microsoft.com/office/drawing/2014/main" id="{E65C1320-CBBB-419E-9C31-54E27A16DA71}"/>
              </a:ext>
            </a:extLst>
          </p:cNvPr>
          <p:cNvSpPr/>
          <p:nvPr/>
        </p:nvSpPr>
        <p:spPr bwMode="auto">
          <a:xfrm>
            <a:off x="2841062" y="4882678"/>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8" name="Étoile : 5 branches 127">
            <a:extLst>
              <a:ext uri="{FF2B5EF4-FFF2-40B4-BE49-F238E27FC236}">
                <a16:creationId xmlns:a16="http://schemas.microsoft.com/office/drawing/2014/main" id="{805667D0-ED7C-483D-AF90-1A65E6F9E433}"/>
              </a:ext>
            </a:extLst>
          </p:cNvPr>
          <p:cNvSpPr/>
          <p:nvPr/>
        </p:nvSpPr>
        <p:spPr bwMode="auto">
          <a:xfrm>
            <a:off x="3355180" y="4882678"/>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9" name="Étoile : 5 branches 128">
            <a:extLst>
              <a:ext uri="{FF2B5EF4-FFF2-40B4-BE49-F238E27FC236}">
                <a16:creationId xmlns:a16="http://schemas.microsoft.com/office/drawing/2014/main" id="{D94FF7B5-C305-48D9-807D-A1EEA93A1E6E}"/>
              </a:ext>
            </a:extLst>
          </p:cNvPr>
          <p:cNvSpPr/>
          <p:nvPr/>
        </p:nvSpPr>
        <p:spPr bwMode="auto">
          <a:xfrm>
            <a:off x="3098121" y="5391131"/>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0" name="Étoile : 5 branches 129">
            <a:extLst>
              <a:ext uri="{FF2B5EF4-FFF2-40B4-BE49-F238E27FC236}">
                <a16:creationId xmlns:a16="http://schemas.microsoft.com/office/drawing/2014/main" id="{6CF8A8B2-5C40-4694-BE2D-B2A3C0C18878}"/>
              </a:ext>
            </a:extLst>
          </p:cNvPr>
          <p:cNvSpPr/>
          <p:nvPr/>
        </p:nvSpPr>
        <p:spPr bwMode="auto">
          <a:xfrm>
            <a:off x="2827046" y="5403218"/>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1" name="Étoile : 5 branches 130">
            <a:extLst>
              <a:ext uri="{FF2B5EF4-FFF2-40B4-BE49-F238E27FC236}">
                <a16:creationId xmlns:a16="http://schemas.microsoft.com/office/drawing/2014/main" id="{635FAAD8-3615-42FC-9249-9F5093EB2BE2}"/>
              </a:ext>
            </a:extLst>
          </p:cNvPr>
          <p:cNvSpPr/>
          <p:nvPr/>
        </p:nvSpPr>
        <p:spPr bwMode="auto">
          <a:xfrm>
            <a:off x="3355180" y="5391131"/>
            <a:ext cx="189508" cy="186082"/>
          </a:xfrm>
          <a:prstGeom prst="star5">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2" name="Étoile : 5 branches 131">
            <a:extLst>
              <a:ext uri="{FF2B5EF4-FFF2-40B4-BE49-F238E27FC236}">
                <a16:creationId xmlns:a16="http://schemas.microsoft.com/office/drawing/2014/main" id="{83BC5FB7-A6B7-4354-B625-CBE18BFA2C5F}"/>
              </a:ext>
            </a:extLst>
          </p:cNvPr>
          <p:cNvSpPr/>
          <p:nvPr/>
        </p:nvSpPr>
        <p:spPr bwMode="auto">
          <a:xfrm>
            <a:off x="3098121" y="5899584"/>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3" name="Étoile : 5 branches 132">
            <a:extLst>
              <a:ext uri="{FF2B5EF4-FFF2-40B4-BE49-F238E27FC236}">
                <a16:creationId xmlns:a16="http://schemas.microsoft.com/office/drawing/2014/main" id="{50E4C611-10E1-4ED9-A2BE-7DE3C2E09BB0}"/>
              </a:ext>
            </a:extLst>
          </p:cNvPr>
          <p:cNvSpPr/>
          <p:nvPr/>
        </p:nvSpPr>
        <p:spPr bwMode="auto">
          <a:xfrm>
            <a:off x="2841062" y="5899584"/>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4" name="Étoile : 5 branches 133">
            <a:extLst>
              <a:ext uri="{FF2B5EF4-FFF2-40B4-BE49-F238E27FC236}">
                <a16:creationId xmlns:a16="http://schemas.microsoft.com/office/drawing/2014/main" id="{C72BB0BA-BF32-4E4A-AE99-5F302B646E59}"/>
              </a:ext>
            </a:extLst>
          </p:cNvPr>
          <p:cNvSpPr/>
          <p:nvPr/>
        </p:nvSpPr>
        <p:spPr bwMode="auto">
          <a:xfrm>
            <a:off x="3355180" y="5899584"/>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5" name="Étoile : 5 branches 134">
            <a:extLst>
              <a:ext uri="{FF2B5EF4-FFF2-40B4-BE49-F238E27FC236}">
                <a16:creationId xmlns:a16="http://schemas.microsoft.com/office/drawing/2014/main" id="{5F7517F0-6509-4B85-B22A-38A19A8FE9DA}"/>
              </a:ext>
            </a:extLst>
          </p:cNvPr>
          <p:cNvSpPr/>
          <p:nvPr/>
        </p:nvSpPr>
        <p:spPr bwMode="auto">
          <a:xfrm>
            <a:off x="4012124" y="2301598"/>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6" name="Étoile : 5 branches 135">
            <a:extLst>
              <a:ext uri="{FF2B5EF4-FFF2-40B4-BE49-F238E27FC236}">
                <a16:creationId xmlns:a16="http://schemas.microsoft.com/office/drawing/2014/main" id="{0011444F-C1AB-4F34-9760-C18B0C8FF5DF}"/>
              </a:ext>
            </a:extLst>
          </p:cNvPr>
          <p:cNvSpPr/>
          <p:nvPr/>
        </p:nvSpPr>
        <p:spPr bwMode="auto">
          <a:xfrm>
            <a:off x="3755065" y="2301598"/>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7" name="Étoile : 5 branches 136">
            <a:extLst>
              <a:ext uri="{FF2B5EF4-FFF2-40B4-BE49-F238E27FC236}">
                <a16:creationId xmlns:a16="http://schemas.microsoft.com/office/drawing/2014/main" id="{12F02A66-2198-448A-900C-C360A5A300D8}"/>
              </a:ext>
            </a:extLst>
          </p:cNvPr>
          <p:cNvSpPr/>
          <p:nvPr/>
        </p:nvSpPr>
        <p:spPr bwMode="auto">
          <a:xfrm>
            <a:off x="4269183" y="2301598"/>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38" name="Étoile : 5 branches 137">
            <a:extLst>
              <a:ext uri="{FF2B5EF4-FFF2-40B4-BE49-F238E27FC236}">
                <a16:creationId xmlns:a16="http://schemas.microsoft.com/office/drawing/2014/main" id="{D7F59C8A-56FC-4C8D-98F7-A92E12352BEE}"/>
              </a:ext>
            </a:extLst>
          </p:cNvPr>
          <p:cNvSpPr/>
          <p:nvPr/>
        </p:nvSpPr>
        <p:spPr bwMode="auto">
          <a:xfrm>
            <a:off x="4012124" y="3355720"/>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9" name="Étoile : 5 branches 138">
            <a:extLst>
              <a:ext uri="{FF2B5EF4-FFF2-40B4-BE49-F238E27FC236}">
                <a16:creationId xmlns:a16="http://schemas.microsoft.com/office/drawing/2014/main" id="{FF93EB92-7264-48D3-98A5-FF47D6259ECC}"/>
              </a:ext>
            </a:extLst>
          </p:cNvPr>
          <p:cNvSpPr/>
          <p:nvPr/>
        </p:nvSpPr>
        <p:spPr bwMode="auto">
          <a:xfrm>
            <a:off x="3755065" y="3355720"/>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0" name="Étoile : 5 branches 139">
            <a:extLst>
              <a:ext uri="{FF2B5EF4-FFF2-40B4-BE49-F238E27FC236}">
                <a16:creationId xmlns:a16="http://schemas.microsoft.com/office/drawing/2014/main" id="{E396F238-94A1-4D30-AA0C-CC5DA7B02901}"/>
              </a:ext>
            </a:extLst>
          </p:cNvPr>
          <p:cNvSpPr/>
          <p:nvPr/>
        </p:nvSpPr>
        <p:spPr bwMode="auto">
          <a:xfrm>
            <a:off x="4269183" y="3355720"/>
            <a:ext cx="189508" cy="186082"/>
          </a:xfrm>
          <a:prstGeom prst="star5">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1" name="Étoile : 5 branches 140">
            <a:extLst>
              <a:ext uri="{FF2B5EF4-FFF2-40B4-BE49-F238E27FC236}">
                <a16:creationId xmlns:a16="http://schemas.microsoft.com/office/drawing/2014/main" id="{F719B23B-6852-4D5E-BD9D-6A1DF5F7DF26}"/>
              </a:ext>
            </a:extLst>
          </p:cNvPr>
          <p:cNvSpPr/>
          <p:nvPr/>
        </p:nvSpPr>
        <p:spPr bwMode="auto">
          <a:xfrm>
            <a:off x="4012124" y="3864117"/>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2" name="Étoile : 5 branches 141">
            <a:extLst>
              <a:ext uri="{FF2B5EF4-FFF2-40B4-BE49-F238E27FC236}">
                <a16:creationId xmlns:a16="http://schemas.microsoft.com/office/drawing/2014/main" id="{6F11CD3D-6AC7-4F15-AFD0-0CEAEC83C6C0}"/>
              </a:ext>
            </a:extLst>
          </p:cNvPr>
          <p:cNvSpPr/>
          <p:nvPr/>
        </p:nvSpPr>
        <p:spPr bwMode="auto">
          <a:xfrm>
            <a:off x="3755065" y="3864117"/>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3" name="Étoile : 5 branches 142">
            <a:extLst>
              <a:ext uri="{FF2B5EF4-FFF2-40B4-BE49-F238E27FC236}">
                <a16:creationId xmlns:a16="http://schemas.microsoft.com/office/drawing/2014/main" id="{4F99769C-4CBA-45AB-A24B-D795CD50CCF6}"/>
              </a:ext>
            </a:extLst>
          </p:cNvPr>
          <p:cNvSpPr/>
          <p:nvPr/>
        </p:nvSpPr>
        <p:spPr bwMode="auto">
          <a:xfrm>
            <a:off x="4269183" y="3864117"/>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4" name="Étoile : 5 branches 143">
            <a:extLst>
              <a:ext uri="{FF2B5EF4-FFF2-40B4-BE49-F238E27FC236}">
                <a16:creationId xmlns:a16="http://schemas.microsoft.com/office/drawing/2014/main" id="{B1EF91F0-1B63-45FD-8628-DA978BE79194}"/>
              </a:ext>
            </a:extLst>
          </p:cNvPr>
          <p:cNvSpPr/>
          <p:nvPr/>
        </p:nvSpPr>
        <p:spPr bwMode="auto">
          <a:xfrm>
            <a:off x="4012124" y="4372625"/>
            <a:ext cx="189508" cy="186082"/>
          </a:xfrm>
          <a:prstGeom prst="star5">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5" name="Étoile : 5 branches 144">
            <a:extLst>
              <a:ext uri="{FF2B5EF4-FFF2-40B4-BE49-F238E27FC236}">
                <a16:creationId xmlns:a16="http://schemas.microsoft.com/office/drawing/2014/main" id="{E4063130-3FE3-4A8C-9EED-B72F52B660B3}"/>
              </a:ext>
            </a:extLst>
          </p:cNvPr>
          <p:cNvSpPr/>
          <p:nvPr/>
        </p:nvSpPr>
        <p:spPr bwMode="auto">
          <a:xfrm>
            <a:off x="3755065" y="4372625"/>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6" name="Étoile : 5 branches 145">
            <a:extLst>
              <a:ext uri="{FF2B5EF4-FFF2-40B4-BE49-F238E27FC236}">
                <a16:creationId xmlns:a16="http://schemas.microsoft.com/office/drawing/2014/main" id="{7EA7144C-044B-4934-8005-3779E22ACC04}"/>
              </a:ext>
            </a:extLst>
          </p:cNvPr>
          <p:cNvSpPr/>
          <p:nvPr/>
        </p:nvSpPr>
        <p:spPr bwMode="auto">
          <a:xfrm>
            <a:off x="4269183" y="4372625"/>
            <a:ext cx="189508" cy="186082"/>
          </a:xfrm>
          <a:prstGeom prst="star5">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7" name="Étoile : 5 branches 146">
            <a:extLst>
              <a:ext uri="{FF2B5EF4-FFF2-40B4-BE49-F238E27FC236}">
                <a16:creationId xmlns:a16="http://schemas.microsoft.com/office/drawing/2014/main" id="{7DBF1D44-1EAE-4A9C-A94A-9B45D06CB19E}"/>
              </a:ext>
            </a:extLst>
          </p:cNvPr>
          <p:cNvSpPr/>
          <p:nvPr/>
        </p:nvSpPr>
        <p:spPr bwMode="auto">
          <a:xfrm>
            <a:off x="4012124" y="4881078"/>
            <a:ext cx="189508" cy="186082"/>
          </a:xfrm>
          <a:prstGeom prst="star5">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8" name="Étoile : 5 branches 147">
            <a:extLst>
              <a:ext uri="{FF2B5EF4-FFF2-40B4-BE49-F238E27FC236}">
                <a16:creationId xmlns:a16="http://schemas.microsoft.com/office/drawing/2014/main" id="{757A0E37-E359-4B39-A7A9-8C95C4FBA9F0}"/>
              </a:ext>
            </a:extLst>
          </p:cNvPr>
          <p:cNvSpPr/>
          <p:nvPr/>
        </p:nvSpPr>
        <p:spPr bwMode="auto">
          <a:xfrm>
            <a:off x="3755065" y="4881078"/>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9" name="Étoile : 5 branches 148">
            <a:extLst>
              <a:ext uri="{FF2B5EF4-FFF2-40B4-BE49-F238E27FC236}">
                <a16:creationId xmlns:a16="http://schemas.microsoft.com/office/drawing/2014/main" id="{6C3788DA-E448-4741-97EE-2A34B4751891}"/>
              </a:ext>
            </a:extLst>
          </p:cNvPr>
          <p:cNvSpPr/>
          <p:nvPr/>
        </p:nvSpPr>
        <p:spPr bwMode="auto">
          <a:xfrm>
            <a:off x="4269183" y="4881078"/>
            <a:ext cx="189508" cy="186082"/>
          </a:xfrm>
          <a:prstGeom prst="star5">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0" name="Étoile : 5 branches 149">
            <a:extLst>
              <a:ext uri="{FF2B5EF4-FFF2-40B4-BE49-F238E27FC236}">
                <a16:creationId xmlns:a16="http://schemas.microsoft.com/office/drawing/2014/main" id="{B5E8EFEF-153B-4C1B-81C5-ABCC7A2D159C}"/>
              </a:ext>
            </a:extLst>
          </p:cNvPr>
          <p:cNvSpPr/>
          <p:nvPr/>
        </p:nvSpPr>
        <p:spPr bwMode="auto">
          <a:xfrm>
            <a:off x="4012124" y="5389531"/>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1" name="Étoile : 5 branches 150">
            <a:extLst>
              <a:ext uri="{FF2B5EF4-FFF2-40B4-BE49-F238E27FC236}">
                <a16:creationId xmlns:a16="http://schemas.microsoft.com/office/drawing/2014/main" id="{EB4A6F82-20E3-4F4B-84AB-27BA04B7BF7A}"/>
              </a:ext>
            </a:extLst>
          </p:cNvPr>
          <p:cNvSpPr/>
          <p:nvPr/>
        </p:nvSpPr>
        <p:spPr bwMode="auto">
          <a:xfrm>
            <a:off x="3755065" y="5389531"/>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2" name="Étoile : 5 branches 151">
            <a:extLst>
              <a:ext uri="{FF2B5EF4-FFF2-40B4-BE49-F238E27FC236}">
                <a16:creationId xmlns:a16="http://schemas.microsoft.com/office/drawing/2014/main" id="{900F16BF-0CFC-44A5-9CED-6534BF504AA2}"/>
              </a:ext>
            </a:extLst>
          </p:cNvPr>
          <p:cNvSpPr/>
          <p:nvPr/>
        </p:nvSpPr>
        <p:spPr bwMode="auto">
          <a:xfrm>
            <a:off x="4269183" y="5389531"/>
            <a:ext cx="189508" cy="186082"/>
          </a:xfrm>
          <a:prstGeom prst="star5">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3" name="Étoile : 5 branches 152">
            <a:extLst>
              <a:ext uri="{FF2B5EF4-FFF2-40B4-BE49-F238E27FC236}">
                <a16:creationId xmlns:a16="http://schemas.microsoft.com/office/drawing/2014/main" id="{DB3E5B88-59E5-46D2-84D5-E0B872B7FF8D}"/>
              </a:ext>
            </a:extLst>
          </p:cNvPr>
          <p:cNvSpPr/>
          <p:nvPr/>
        </p:nvSpPr>
        <p:spPr bwMode="auto">
          <a:xfrm>
            <a:off x="4012124" y="5897982"/>
            <a:ext cx="189508" cy="186082"/>
          </a:xfrm>
          <a:prstGeom prst="star5">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4" name="Étoile : 5 branches 153">
            <a:extLst>
              <a:ext uri="{FF2B5EF4-FFF2-40B4-BE49-F238E27FC236}">
                <a16:creationId xmlns:a16="http://schemas.microsoft.com/office/drawing/2014/main" id="{EA5552C7-D80E-4A3C-9847-6E2B0F6A650D}"/>
              </a:ext>
            </a:extLst>
          </p:cNvPr>
          <p:cNvSpPr/>
          <p:nvPr/>
        </p:nvSpPr>
        <p:spPr bwMode="auto">
          <a:xfrm>
            <a:off x="3755065" y="5897982"/>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5" name="Étoile : 5 branches 154">
            <a:extLst>
              <a:ext uri="{FF2B5EF4-FFF2-40B4-BE49-F238E27FC236}">
                <a16:creationId xmlns:a16="http://schemas.microsoft.com/office/drawing/2014/main" id="{338670DF-699D-4741-A938-26DD1628B0E4}"/>
              </a:ext>
            </a:extLst>
          </p:cNvPr>
          <p:cNvSpPr/>
          <p:nvPr/>
        </p:nvSpPr>
        <p:spPr bwMode="auto">
          <a:xfrm>
            <a:off x="4269183" y="5897982"/>
            <a:ext cx="189508" cy="186082"/>
          </a:xfrm>
          <a:prstGeom prst="star5">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6" name="TextBox 99">
            <a:extLst>
              <a:ext uri="{FF2B5EF4-FFF2-40B4-BE49-F238E27FC236}">
                <a16:creationId xmlns:a16="http://schemas.microsoft.com/office/drawing/2014/main" id="{EB3E7A06-414E-4B18-8B94-A52A030E6CD6}"/>
              </a:ext>
            </a:extLst>
          </p:cNvPr>
          <p:cNvSpPr txBox="1"/>
          <p:nvPr/>
        </p:nvSpPr>
        <p:spPr>
          <a:xfrm>
            <a:off x="2741396" y="2830917"/>
            <a:ext cx="985443" cy="2386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i="1" u="none" strike="noStrike" kern="0" cap="none" spc="0" normalizeH="0" baseline="0" noProof="0" err="1">
                <a:ln>
                  <a:noFill/>
                </a:ln>
                <a:solidFill>
                  <a:srgbClr val="646464"/>
                </a:solidFill>
                <a:effectLst/>
                <a:uLnTx/>
                <a:uFillTx/>
                <a:latin typeface="Trebuchet MS" panose="020B0603020202020204" pitchFamily="34" charset="0"/>
              </a:rPr>
              <a:t>n.a.</a:t>
            </a:r>
            <a:endParaRPr kumimoji="0" lang="en-GB" sz="900" i="1" u="none" strike="noStrike" kern="0" cap="none" spc="0" normalizeH="0" baseline="0" noProof="0">
              <a:ln>
                <a:noFill/>
              </a:ln>
              <a:solidFill>
                <a:srgbClr val="646464"/>
              </a:solidFill>
              <a:effectLst/>
              <a:uLnTx/>
              <a:uFillTx/>
              <a:latin typeface="Trebuchet MS" panose="020B0603020202020204" pitchFamily="34" charset="0"/>
            </a:endParaRPr>
          </a:p>
        </p:txBody>
      </p:sp>
      <p:sp>
        <p:nvSpPr>
          <p:cNvPr id="157" name="TextBox 99">
            <a:extLst>
              <a:ext uri="{FF2B5EF4-FFF2-40B4-BE49-F238E27FC236}">
                <a16:creationId xmlns:a16="http://schemas.microsoft.com/office/drawing/2014/main" id="{ADEED683-9573-4F11-843C-66FCFCBE2CB1}"/>
              </a:ext>
            </a:extLst>
          </p:cNvPr>
          <p:cNvSpPr txBox="1"/>
          <p:nvPr/>
        </p:nvSpPr>
        <p:spPr>
          <a:xfrm>
            <a:off x="3698308" y="2830917"/>
            <a:ext cx="985443" cy="2386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i="1" u="none" strike="noStrike" kern="0" cap="none" spc="0" normalizeH="0" baseline="0" noProof="0" err="1">
                <a:ln>
                  <a:noFill/>
                </a:ln>
                <a:solidFill>
                  <a:srgbClr val="646464"/>
                </a:solidFill>
                <a:effectLst/>
                <a:uLnTx/>
                <a:uFillTx/>
                <a:latin typeface="Trebuchet MS" panose="020B0603020202020204" pitchFamily="34" charset="0"/>
              </a:rPr>
              <a:t>n.a.</a:t>
            </a:r>
            <a:endParaRPr kumimoji="0" lang="en-GB" sz="900" i="1" u="none" strike="noStrike" kern="0" cap="none" spc="0" normalizeH="0" baseline="0" noProof="0">
              <a:ln>
                <a:noFill/>
              </a:ln>
              <a:solidFill>
                <a:srgbClr val="646464"/>
              </a:solidFill>
              <a:effectLst/>
              <a:uLnTx/>
              <a:uFillTx/>
              <a:latin typeface="Trebuchet MS" panose="020B0603020202020204" pitchFamily="34" charset="0"/>
            </a:endParaRPr>
          </a:p>
        </p:txBody>
      </p:sp>
      <p:grpSp>
        <p:nvGrpSpPr>
          <p:cNvPr id="7" name="Groupe 6">
            <a:extLst>
              <a:ext uri="{FF2B5EF4-FFF2-40B4-BE49-F238E27FC236}">
                <a16:creationId xmlns:a16="http://schemas.microsoft.com/office/drawing/2014/main" id="{197A9177-3738-4723-9E61-B305B2B7FCE3}"/>
              </a:ext>
            </a:extLst>
          </p:cNvPr>
          <p:cNvGrpSpPr/>
          <p:nvPr/>
        </p:nvGrpSpPr>
        <p:grpSpPr>
          <a:xfrm>
            <a:off x="100136" y="2348431"/>
            <a:ext cx="219710" cy="276999"/>
            <a:chOff x="100136" y="2348431"/>
            <a:chExt cx="219710" cy="276999"/>
          </a:xfrm>
        </p:grpSpPr>
        <p:sp>
          <p:nvSpPr>
            <p:cNvPr id="4" name="Ellipse 3">
              <a:extLst>
                <a:ext uri="{FF2B5EF4-FFF2-40B4-BE49-F238E27FC236}">
                  <a16:creationId xmlns:a16="http://schemas.microsoft.com/office/drawing/2014/main" id="{FCB82714-5C70-45D1-B89C-71AB1D8A6E5D}"/>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ZoneTexte 4">
              <a:extLst>
                <a:ext uri="{FF2B5EF4-FFF2-40B4-BE49-F238E27FC236}">
                  <a16:creationId xmlns:a16="http://schemas.microsoft.com/office/drawing/2014/main" id="{636BD95F-7BE4-4362-92F7-EDF7D249DC79}"/>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1</a:t>
              </a:r>
            </a:p>
          </p:txBody>
        </p:sp>
      </p:grpSp>
      <p:grpSp>
        <p:nvGrpSpPr>
          <p:cNvPr id="162" name="Groupe 161">
            <a:extLst>
              <a:ext uri="{FF2B5EF4-FFF2-40B4-BE49-F238E27FC236}">
                <a16:creationId xmlns:a16="http://schemas.microsoft.com/office/drawing/2014/main" id="{4365B434-EED0-491A-A6A4-1F973AE30466}"/>
              </a:ext>
            </a:extLst>
          </p:cNvPr>
          <p:cNvGrpSpPr/>
          <p:nvPr/>
        </p:nvGrpSpPr>
        <p:grpSpPr>
          <a:xfrm>
            <a:off x="100136" y="2841612"/>
            <a:ext cx="219710" cy="276999"/>
            <a:chOff x="100136" y="2348431"/>
            <a:chExt cx="219710" cy="276999"/>
          </a:xfrm>
        </p:grpSpPr>
        <p:sp>
          <p:nvSpPr>
            <p:cNvPr id="163" name="Ellipse 162">
              <a:extLst>
                <a:ext uri="{FF2B5EF4-FFF2-40B4-BE49-F238E27FC236}">
                  <a16:creationId xmlns:a16="http://schemas.microsoft.com/office/drawing/2014/main" id="{8C10E192-6509-4A42-8B23-F546A10C12CA}"/>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4" name="ZoneTexte 163">
              <a:extLst>
                <a:ext uri="{FF2B5EF4-FFF2-40B4-BE49-F238E27FC236}">
                  <a16:creationId xmlns:a16="http://schemas.microsoft.com/office/drawing/2014/main" id="{BB5162FE-DC2A-4FDA-811E-942ED31466EF}"/>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2</a:t>
              </a:r>
            </a:p>
          </p:txBody>
        </p:sp>
      </p:grpSp>
      <p:grpSp>
        <p:nvGrpSpPr>
          <p:cNvPr id="165" name="Groupe 164">
            <a:extLst>
              <a:ext uri="{FF2B5EF4-FFF2-40B4-BE49-F238E27FC236}">
                <a16:creationId xmlns:a16="http://schemas.microsoft.com/office/drawing/2014/main" id="{A60D99ED-9B7D-49DB-8A0A-0722934DBB06}"/>
              </a:ext>
            </a:extLst>
          </p:cNvPr>
          <p:cNvGrpSpPr/>
          <p:nvPr/>
        </p:nvGrpSpPr>
        <p:grpSpPr>
          <a:xfrm>
            <a:off x="100136" y="3354364"/>
            <a:ext cx="219710" cy="276999"/>
            <a:chOff x="100136" y="2348431"/>
            <a:chExt cx="219710" cy="276999"/>
          </a:xfrm>
        </p:grpSpPr>
        <p:sp>
          <p:nvSpPr>
            <p:cNvPr id="166" name="Ellipse 165">
              <a:extLst>
                <a:ext uri="{FF2B5EF4-FFF2-40B4-BE49-F238E27FC236}">
                  <a16:creationId xmlns:a16="http://schemas.microsoft.com/office/drawing/2014/main" id="{D2D4E721-2A81-4A9F-8737-3F02C2309B27}"/>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7" name="ZoneTexte 166">
              <a:extLst>
                <a:ext uri="{FF2B5EF4-FFF2-40B4-BE49-F238E27FC236}">
                  <a16:creationId xmlns:a16="http://schemas.microsoft.com/office/drawing/2014/main" id="{7030BF9B-67A5-42D2-82A8-FB956C568940}"/>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3</a:t>
              </a:r>
            </a:p>
          </p:txBody>
        </p:sp>
      </p:grpSp>
      <p:grpSp>
        <p:nvGrpSpPr>
          <p:cNvPr id="168" name="Groupe 167">
            <a:extLst>
              <a:ext uri="{FF2B5EF4-FFF2-40B4-BE49-F238E27FC236}">
                <a16:creationId xmlns:a16="http://schemas.microsoft.com/office/drawing/2014/main" id="{BE102DE1-43C1-4C3D-8193-2C2FE12FF8FC}"/>
              </a:ext>
            </a:extLst>
          </p:cNvPr>
          <p:cNvGrpSpPr/>
          <p:nvPr/>
        </p:nvGrpSpPr>
        <p:grpSpPr>
          <a:xfrm>
            <a:off x="100136" y="3871615"/>
            <a:ext cx="219710" cy="276999"/>
            <a:chOff x="100136" y="2348431"/>
            <a:chExt cx="219710" cy="276999"/>
          </a:xfrm>
        </p:grpSpPr>
        <p:sp>
          <p:nvSpPr>
            <p:cNvPr id="169" name="Ellipse 168">
              <a:extLst>
                <a:ext uri="{FF2B5EF4-FFF2-40B4-BE49-F238E27FC236}">
                  <a16:creationId xmlns:a16="http://schemas.microsoft.com/office/drawing/2014/main" id="{DDF419EF-196D-4127-8822-5150864C51A2}"/>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0" name="ZoneTexte 169">
              <a:extLst>
                <a:ext uri="{FF2B5EF4-FFF2-40B4-BE49-F238E27FC236}">
                  <a16:creationId xmlns:a16="http://schemas.microsoft.com/office/drawing/2014/main" id="{79D23F5B-18F7-4D51-AC07-12F6297C6374}"/>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4</a:t>
              </a:r>
            </a:p>
          </p:txBody>
        </p:sp>
      </p:grpSp>
      <p:grpSp>
        <p:nvGrpSpPr>
          <p:cNvPr id="171" name="Groupe 170">
            <a:extLst>
              <a:ext uri="{FF2B5EF4-FFF2-40B4-BE49-F238E27FC236}">
                <a16:creationId xmlns:a16="http://schemas.microsoft.com/office/drawing/2014/main" id="{9022825F-3595-4CB5-8063-1F839FA4F21B}"/>
              </a:ext>
            </a:extLst>
          </p:cNvPr>
          <p:cNvGrpSpPr/>
          <p:nvPr/>
        </p:nvGrpSpPr>
        <p:grpSpPr>
          <a:xfrm>
            <a:off x="100136" y="4366970"/>
            <a:ext cx="219710" cy="276999"/>
            <a:chOff x="100136" y="2348431"/>
            <a:chExt cx="219710" cy="276999"/>
          </a:xfrm>
        </p:grpSpPr>
        <p:sp>
          <p:nvSpPr>
            <p:cNvPr id="172" name="Ellipse 171">
              <a:extLst>
                <a:ext uri="{FF2B5EF4-FFF2-40B4-BE49-F238E27FC236}">
                  <a16:creationId xmlns:a16="http://schemas.microsoft.com/office/drawing/2014/main" id="{2B3A83D2-17CA-4B2B-8BE9-80CFE1219E80}"/>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3" name="ZoneTexte 172">
              <a:extLst>
                <a:ext uri="{FF2B5EF4-FFF2-40B4-BE49-F238E27FC236}">
                  <a16:creationId xmlns:a16="http://schemas.microsoft.com/office/drawing/2014/main" id="{9E0D91C1-9394-40C2-8031-748ED7385352}"/>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5</a:t>
              </a:r>
            </a:p>
          </p:txBody>
        </p:sp>
      </p:grpSp>
      <p:grpSp>
        <p:nvGrpSpPr>
          <p:cNvPr id="174" name="Groupe 173">
            <a:extLst>
              <a:ext uri="{FF2B5EF4-FFF2-40B4-BE49-F238E27FC236}">
                <a16:creationId xmlns:a16="http://schemas.microsoft.com/office/drawing/2014/main" id="{DBF4689E-30DC-4D2F-8C25-A1E2E0EBB72B}"/>
              </a:ext>
            </a:extLst>
          </p:cNvPr>
          <p:cNvGrpSpPr/>
          <p:nvPr/>
        </p:nvGrpSpPr>
        <p:grpSpPr>
          <a:xfrm>
            <a:off x="100136" y="4905870"/>
            <a:ext cx="219710" cy="276999"/>
            <a:chOff x="100136" y="2348431"/>
            <a:chExt cx="219710" cy="276999"/>
          </a:xfrm>
        </p:grpSpPr>
        <p:sp>
          <p:nvSpPr>
            <p:cNvPr id="175" name="Ellipse 174">
              <a:extLst>
                <a:ext uri="{FF2B5EF4-FFF2-40B4-BE49-F238E27FC236}">
                  <a16:creationId xmlns:a16="http://schemas.microsoft.com/office/drawing/2014/main" id="{DF54A37B-92CA-463D-A320-B636DCB82002}"/>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6" name="ZoneTexte 175">
              <a:extLst>
                <a:ext uri="{FF2B5EF4-FFF2-40B4-BE49-F238E27FC236}">
                  <a16:creationId xmlns:a16="http://schemas.microsoft.com/office/drawing/2014/main" id="{CEF3078C-0320-4112-A90B-5D8D8DEAF5BF}"/>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6</a:t>
              </a:r>
            </a:p>
          </p:txBody>
        </p:sp>
      </p:grpSp>
      <p:grpSp>
        <p:nvGrpSpPr>
          <p:cNvPr id="180" name="Groupe 179">
            <a:extLst>
              <a:ext uri="{FF2B5EF4-FFF2-40B4-BE49-F238E27FC236}">
                <a16:creationId xmlns:a16="http://schemas.microsoft.com/office/drawing/2014/main" id="{99D3C5DB-D758-48F1-A57D-01050FC50254}"/>
              </a:ext>
            </a:extLst>
          </p:cNvPr>
          <p:cNvGrpSpPr/>
          <p:nvPr/>
        </p:nvGrpSpPr>
        <p:grpSpPr>
          <a:xfrm>
            <a:off x="100136" y="5383875"/>
            <a:ext cx="219710" cy="276999"/>
            <a:chOff x="100136" y="2348431"/>
            <a:chExt cx="219710" cy="276999"/>
          </a:xfrm>
        </p:grpSpPr>
        <p:sp>
          <p:nvSpPr>
            <p:cNvPr id="181" name="Ellipse 180">
              <a:extLst>
                <a:ext uri="{FF2B5EF4-FFF2-40B4-BE49-F238E27FC236}">
                  <a16:creationId xmlns:a16="http://schemas.microsoft.com/office/drawing/2014/main" id="{4FD6C715-17FA-40B5-8A2C-730F71B00925}"/>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82" name="ZoneTexte 181">
              <a:extLst>
                <a:ext uri="{FF2B5EF4-FFF2-40B4-BE49-F238E27FC236}">
                  <a16:creationId xmlns:a16="http://schemas.microsoft.com/office/drawing/2014/main" id="{2C721DFD-C910-4716-A6DC-8D05D366C44A}"/>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7</a:t>
              </a:r>
            </a:p>
          </p:txBody>
        </p:sp>
      </p:grpSp>
      <p:grpSp>
        <p:nvGrpSpPr>
          <p:cNvPr id="183" name="Groupe 182">
            <a:extLst>
              <a:ext uri="{FF2B5EF4-FFF2-40B4-BE49-F238E27FC236}">
                <a16:creationId xmlns:a16="http://schemas.microsoft.com/office/drawing/2014/main" id="{51C9BEBC-8DD7-4C8E-BFB5-C04615EF5E7B}"/>
              </a:ext>
            </a:extLst>
          </p:cNvPr>
          <p:cNvGrpSpPr/>
          <p:nvPr/>
        </p:nvGrpSpPr>
        <p:grpSpPr>
          <a:xfrm>
            <a:off x="100136" y="5892328"/>
            <a:ext cx="219710" cy="276999"/>
            <a:chOff x="100136" y="2348431"/>
            <a:chExt cx="219710" cy="276999"/>
          </a:xfrm>
        </p:grpSpPr>
        <p:sp>
          <p:nvSpPr>
            <p:cNvPr id="184" name="Ellipse 183">
              <a:extLst>
                <a:ext uri="{FF2B5EF4-FFF2-40B4-BE49-F238E27FC236}">
                  <a16:creationId xmlns:a16="http://schemas.microsoft.com/office/drawing/2014/main" id="{347CD8A5-5C71-4C79-A2AD-8F717845CC4F}"/>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85" name="ZoneTexte 184">
              <a:extLst>
                <a:ext uri="{FF2B5EF4-FFF2-40B4-BE49-F238E27FC236}">
                  <a16:creationId xmlns:a16="http://schemas.microsoft.com/office/drawing/2014/main" id="{A99F4FC1-5AC2-4BFC-BF2B-A801B2973CF5}"/>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8</a:t>
              </a:r>
            </a:p>
          </p:txBody>
        </p:sp>
      </p:grpSp>
      <p:cxnSp>
        <p:nvCxnSpPr>
          <p:cNvPr id="23" name="Connecteur : en angle 22">
            <a:extLst>
              <a:ext uri="{FF2B5EF4-FFF2-40B4-BE49-F238E27FC236}">
                <a16:creationId xmlns:a16="http://schemas.microsoft.com/office/drawing/2014/main" id="{AFDF1382-3898-4FFC-AE52-629CE80045FC}"/>
              </a:ext>
            </a:extLst>
          </p:cNvPr>
          <p:cNvCxnSpPr>
            <a:cxnSpLocks/>
            <a:stCxn id="3" idx="0"/>
          </p:cNvCxnSpPr>
          <p:nvPr/>
        </p:nvCxnSpPr>
        <p:spPr bwMode="auto">
          <a:xfrm rot="5400000" flipH="1" flipV="1">
            <a:off x="2840229" y="-81343"/>
            <a:ext cx="515568" cy="3357179"/>
          </a:xfrm>
          <a:prstGeom prst="bentConnector2">
            <a:avLst/>
          </a:prstGeom>
          <a:solidFill>
            <a:schemeClr val="accent1"/>
          </a:solidFill>
          <a:ln w="9525" cap="flat" cmpd="sng" algn="ctr">
            <a:solidFill>
              <a:schemeClr val="tx1"/>
            </a:solidFill>
            <a:prstDash val="solid"/>
            <a:round/>
            <a:headEnd type="none" w="med" len="med"/>
            <a:tailEnd type="triangle"/>
          </a:ln>
          <a:effectLst/>
        </p:spPr>
      </p:cxnSp>
      <p:sp>
        <p:nvSpPr>
          <p:cNvPr id="108" name="Étoile : 5 branches 107">
            <a:extLst>
              <a:ext uri="{FF2B5EF4-FFF2-40B4-BE49-F238E27FC236}">
                <a16:creationId xmlns:a16="http://schemas.microsoft.com/office/drawing/2014/main" id="{EC6D0E24-59E8-4460-9BAB-724A2AEB9B00}"/>
              </a:ext>
            </a:extLst>
          </p:cNvPr>
          <p:cNvSpPr/>
          <p:nvPr/>
        </p:nvSpPr>
        <p:spPr bwMode="auto">
          <a:xfrm>
            <a:off x="2213939" y="5400501"/>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58" name="Groupe 157">
            <a:extLst>
              <a:ext uri="{FF2B5EF4-FFF2-40B4-BE49-F238E27FC236}">
                <a16:creationId xmlns:a16="http://schemas.microsoft.com/office/drawing/2014/main" id="{95D9ECE2-8FF9-4047-B40B-D6E309E60E48}"/>
              </a:ext>
            </a:extLst>
          </p:cNvPr>
          <p:cNvGrpSpPr/>
          <p:nvPr/>
        </p:nvGrpSpPr>
        <p:grpSpPr>
          <a:xfrm>
            <a:off x="5344813" y="3779232"/>
            <a:ext cx="219710" cy="276999"/>
            <a:chOff x="100136" y="2348431"/>
            <a:chExt cx="219710" cy="276999"/>
          </a:xfrm>
        </p:grpSpPr>
        <p:sp>
          <p:nvSpPr>
            <p:cNvPr id="159" name="Ellipse 158">
              <a:extLst>
                <a:ext uri="{FF2B5EF4-FFF2-40B4-BE49-F238E27FC236}">
                  <a16:creationId xmlns:a16="http://schemas.microsoft.com/office/drawing/2014/main" id="{52FCBAC7-DB45-468D-8B3C-E5AE241C52D6}"/>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0" name="ZoneTexte 159">
              <a:extLst>
                <a:ext uri="{FF2B5EF4-FFF2-40B4-BE49-F238E27FC236}">
                  <a16:creationId xmlns:a16="http://schemas.microsoft.com/office/drawing/2014/main" id="{F079BDDA-6156-4C2B-BAD2-0A0A39A4ADE3}"/>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1</a:t>
              </a:r>
            </a:p>
          </p:txBody>
        </p:sp>
      </p:grpSp>
      <p:grpSp>
        <p:nvGrpSpPr>
          <p:cNvPr id="161" name="Groupe 160">
            <a:extLst>
              <a:ext uri="{FF2B5EF4-FFF2-40B4-BE49-F238E27FC236}">
                <a16:creationId xmlns:a16="http://schemas.microsoft.com/office/drawing/2014/main" id="{DE942972-3219-479B-A3BD-A86EB906DFD9}"/>
              </a:ext>
            </a:extLst>
          </p:cNvPr>
          <p:cNvGrpSpPr/>
          <p:nvPr/>
        </p:nvGrpSpPr>
        <p:grpSpPr>
          <a:xfrm>
            <a:off x="5905495" y="3779232"/>
            <a:ext cx="219710" cy="276999"/>
            <a:chOff x="100136" y="2348431"/>
            <a:chExt cx="219710" cy="276999"/>
          </a:xfrm>
        </p:grpSpPr>
        <p:sp>
          <p:nvSpPr>
            <p:cNvPr id="177" name="Ellipse 176">
              <a:extLst>
                <a:ext uri="{FF2B5EF4-FFF2-40B4-BE49-F238E27FC236}">
                  <a16:creationId xmlns:a16="http://schemas.microsoft.com/office/drawing/2014/main" id="{650E31D6-A5EA-4FFA-8BA9-76A62ADFC3C0}"/>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8" name="ZoneTexte 177">
              <a:extLst>
                <a:ext uri="{FF2B5EF4-FFF2-40B4-BE49-F238E27FC236}">
                  <a16:creationId xmlns:a16="http://schemas.microsoft.com/office/drawing/2014/main" id="{E0152863-39D1-4FB5-BA22-A1DCD2F59E5A}"/>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2</a:t>
              </a:r>
            </a:p>
          </p:txBody>
        </p:sp>
      </p:grpSp>
      <p:grpSp>
        <p:nvGrpSpPr>
          <p:cNvPr id="179" name="Groupe 178">
            <a:extLst>
              <a:ext uri="{FF2B5EF4-FFF2-40B4-BE49-F238E27FC236}">
                <a16:creationId xmlns:a16="http://schemas.microsoft.com/office/drawing/2014/main" id="{B43B6D2D-5141-413B-B4F9-C997936050E0}"/>
              </a:ext>
            </a:extLst>
          </p:cNvPr>
          <p:cNvGrpSpPr/>
          <p:nvPr/>
        </p:nvGrpSpPr>
        <p:grpSpPr>
          <a:xfrm>
            <a:off x="6466177" y="3779232"/>
            <a:ext cx="219710" cy="276999"/>
            <a:chOff x="100136" y="2348431"/>
            <a:chExt cx="219710" cy="276999"/>
          </a:xfrm>
        </p:grpSpPr>
        <p:sp>
          <p:nvSpPr>
            <p:cNvPr id="187" name="Ellipse 186">
              <a:extLst>
                <a:ext uri="{FF2B5EF4-FFF2-40B4-BE49-F238E27FC236}">
                  <a16:creationId xmlns:a16="http://schemas.microsoft.com/office/drawing/2014/main" id="{D2F6C7A7-91AD-4F91-8AFD-7AE3E0EBAA90}"/>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88" name="ZoneTexte 187">
              <a:extLst>
                <a:ext uri="{FF2B5EF4-FFF2-40B4-BE49-F238E27FC236}">
                  <a16:creationId xmlns:a16="http://schemas.microsoft.com/office/drawing/2014/main" id="{064FE43A-4076-4FAA-A23E-EDDC53C8E4E1}"/>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3</a:t>
              </a:r>
            </a:p>
          </p:txBody>
        </p:sp>
      </p:grpSp>
      <p:grpSp>
        <p:nvGrpSpPr>
          <p:cNvPr id="189" name="Groupe 188">
            <a:extLst>
              <a:ext uri="{FF2B5EF4-FFF2-40B4-BE49-F238E27FC236}">
                <a16:creationId xmlns:a16="http://schemas.microsoft.com/office/drawing/2014/main" id="{695015E8-2963-4D3F-AFEB-59FBAF482D3E}"/>
              </a:ext>
            </a:extLst>
          </p:cNvPr>
          <p:cNvGrpSpPr/>
          <p:nvPr/>
        </p:nvGrpSpPr>
        <p:grpSpPr>
          <a:xfrm>
            <a:off x="7050774" y="3779232"/>
            <a:ext cx="219710" cy="276999"/>
            <a:chOff x="100136" y="2348431"/>
            <a:chExt cx="219710" cy="276999"/>
          </a:xfrm>
        </p:grpSpPr>
        <p:sp>
          <p:nvSpPr>
            <p:cNvPr id="190" name="Ellipse 189">
              <a:extLst>
                <a:ext uri="{FF2B5EF4-FFF2-40B4-BE49-F238E27FC236}">
                  <a16:creationId xmlns:a16="http://schemas.microsoft.com/office/drawing/2014/main" id="{2A44CCA5-BE5C-457D-A6AD-D94F18905182}"/>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1" name="ZoneTexte 190">
              <a:extLst>
                <a:ext uri="{FF2B5EF4-FFF2-40B4-BE49-F238E27FC236}">
                  <a16:creationId xmlns:a16="http://schemas.microsoft.com/office/drawing/2014/main" id="{5C70BE64-58A9-43EF-B0FC-5B0C797EF80C}"/>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4</a:t>
              </a:r>
            </a:p>
          </p:txBody>
        </p:sp>
      </p:grpSp>
      <p:grpSp>
        <p:nvGrpSpPr>
          <p:cNvPr id="192" name="Groupe 191">
            <a:extLst>
              <a:ext uri="{FF2B5EF4-FFF2-40B4-BE49-F238E27FC236}">
                <a16:creationId xmlns:a16="http://schemas.microsoft.com/office/drawing/2014/main" id="{B0E63CB3-D26B-4134-92C8-346A0F699D54}"/>
              </a:ext>
            </a:extLst>
          </p:cNvPr>
          <p:cNvGrpSpPr/>
          <p:nvPr/>
        </p:nvGrpSpPr>
        <p:grpSpPr>
          <a:xfrm>
            <a:off x="7611456" y="3779232"/>
            <a:ext cx="219710" cy="276999"/>
            <a:chOff x="100136" y="2348431"/>
            <a:chExt cx="219710" cy="276999"/>
          </a:xfrm>
        </p:grpSpPr>
        <p:sp>
          <p:nvSpPr>
            <p:cNvPr id="193" name="Ellipse 192">
              <a:extLst>
                <a:ext uri="{FF2B5EF4-FFF2-40B4-BE49-F238E27FC236}">
                  <a16:creationId xmlns:a16="http://schemas.microsoft.com/office/drawing/2014/main" id="{F5D48394-7623-4763-9F62-5A4CDB43D540}"/>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4" name="ZoneTexte 193">
              <a:extLst>
                <a:ext uri="{FF2B5EF4-FFF2-40B4-BE49-F238E27FC236}">
                  <a16:creationId xmlns:a16="http://schemas.microsoft.com/office/drawing/2014/main" id="{5E7BE32B-E9AA-4EF5-9547-37321578EB73}"/>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5</a:t>
              </a:r>
            </a:p>
          </p:txBody>
        </p:sp>
      </p:grpSp>
      <p:grpSp>
        <p:nvGrpSpPr>
          <p:cNvPr id="195" name="Groupe 194">
            <a:extLst>
              <a:ext uri="{FF2B5EF4-FFF2-40B4-BE49-F238E27FC236}">
                <a16:creationId xmlns:a16="http://schemas.microsoft.com/office/drawing/2014/main" id="{C4D35207-8D34-4E61-A765-ABFFEF665FDC}"/>
              </a:ext>
            </a:extLst>
          </p:cNvPr>
          <p:cNvGrpSpPr/>
          <p:nvPr/>
        </p:nvGrpSpPr>
        <p:grpSpPr>
          <a:xfrm>
            <a:off x="8172138" y="3779232"/>
            <a:ext cx="219710" cy="276999"/>
            <a:chOff x="100136" y="2348431"/>
            <a:chExt cx="219710" cy="276999"/>
          </a:xfrm>
        </p:grpSpPr>
        <p:sp>
          <p:nvSpPr>
            <p:cNvPr id="196" name="Ellipse 195">
              <a:extLst>
                <a:ext uri="{FF2B5EF4-FFF2-40B4-BE49-F238E27FC236}">
                  <a16:creationId xmlns:a16="http://schemas.microsoft.com/office/drawing/2014/main" id="{995B103C-28DA-4096-9328-BBAB44CCA4EA}"/>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7" name="ZoneTexte 196">
              <a:extLst>
                <a:ext uri="{FF2B5EF4-FFF2-40B4-BE49-F238E27FC236}">
                  <a16:creationId xmlns:a16="http://schemas.microsoft.com/office/drawing/2014/main" id="{15437E17-57AD-4D04-9504-FB231D79FB53}"/>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6</a:t>
              </a:r>
            </a:p>
          </p:txBody>
        </p:sp>
      </p:grpSp>
      <p:grpSp>
        <p:nvGrpSpPr>
          <p:cNvPr id="198" name="Groupe 197">
            <a:extLst>
              <a:ext uri="{FF2B5EF4-FFF2-40B4-BE49-F238E27FC236}">
                <a16:creationId xmlns:a16="http://schemas.microsoft.com/office/drawing/2014/main" id="{9E18E89E-4CA5-4B72-8820-44E94531C9DA}"/>
              </a:ext>
            </a:extLst>
          </p:cNvPr>
          <p:cNvGrpSpPr/>
          <p:nvPr/>
        </p:nvGrpSpPr>
        <p:grpSpPr>
          <a:xfrm>
            <a:off x="8714914" y="3779232"/>
            <a:ext cx="219710" cy="276999"/>
            <a:chOff x="100136" y="2348431"/>
            <a:chExt cx="219710" cy="276999"/>
          </a:xfrm>
        </p:grpSpPr>
        <p:sp>
          <p:nvSpPr>
            <p:cNvPr id="199" name="Ellipse 198">
              <a:extLst>
                <a:ext uri="{FF2B5EF4-FFF2-40B4-BE49-F238E27FC236}">
                  <a16:creationId xmlns:a16="http://schemas.microsoft.com/office/drawing/2014/main" id="{5B73425F-D0F3-4C69-B449-DDD0EF77F83F}"/>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00" name="ZoneTexte 199">
              <a:extLst>
                <a:ext uri="{FF2B5EF4-FFF2-40B4-BE49-F238E27FC236}">
                  <a16:creationId xmlns:a16="http://schemas.microsoft.com/office/drawing/2014/main" id="{2E94C22F-D805-41F9-9FD4-C585F9FD3059}"/>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7</a:t>
              </a:r>
            </a:p>
          </p:txBody>
        </p:sp>
      </p:grpSp>
      <p:grpSp>
        <p:nvGrpSpPr>
          <p:cNvPr id="201" name="Groupe 200">
            <a:extLst>
              <a:ext uri="{FF2B5EF4-FFF2-40B4-BE49-F238E27FC236}">
                <a16:creationId xmlns:a16="http://schemas.microsoft.com/office/drawing/2014/main" id="{F3056505-DEC7-4292-889B-3208DF2CED70}"/>
              </a:ext>
            </a:extLst>
          </p:cNvPr>
          <p:cNvGrpSpPr/>
          <p:nvPr/>
        </p:nvGrpSpPr>
        <p:grpSpPr>
          <a:xfrm>
            <a:off x="9275596" y="3779232"/>
            <a:ext cx="219710" cy="276999"/>
            <a:chOff x="100136" y="2348431"/>
            <a:chExt cx="219710" cy="276999"/>
          </a:xfrm>
        </p:grpSpPr>
        <p:sp>
          <p:nvSpPr>
            <p:cNvPr id="202" name="Ellipse 201">
              <a:extLst>
                <a:ext uri="{FF2B5EF4-FFF2-40B4-BE49-F238E27FC236}">
                  <a16:creationId xmlns:a16="http://schemas.microsoft.com/office/drawing/2014/main" id="{C43D9678-22FC-46FA-8C6A-3D03A3980F0F}"/>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03" name="ZoneTexte 202">
              <a:extLst>
                <a:ext uri="{FF2B5EF4-FFF2-40B4-BE49-F238E27FC236}">
                  <a16:creationId xmlns:a16="http://schemas.microsoft.com/office/drawing/2014/main" id="{54F38626-557B-4B78-AF83-A6BA0799ABC5}"/>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8</a:t>
              </a:r>
            </a:p>
          </p:txBody>
        </p:sp>
      </p:grpSp>
    </p:spTree>
    <p:extLst>
      <p:ext uri="{BB962C8B-B14F-4D97-AF65-F5344CB8AC3E}">
        <p14:creationId xmlns:p14="http://schemas.microsoft.com/office/powerpoint/2010/main" val="3758819461"/>
      </p:ext>
    </p:extLst>
  </p:cSld>
  <p:clrMapOvr>
    <a:masterClrMapping/>
  </p:clrMapOv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C0E76B1-4C40-467A-A51D-F30ED3C77EA1}"/>
              </a:ext>
            </a:extLst>
          </p:cNvPr>
          <p:cNvGraphicFramePr>
            <a:graphicFrameLocks noChangeAspect="1"/>
          </p:cNvGraphicFramePr>
          <p:nvPr>
            <p:custDataLst>
              <p:tags r:id="rId1"/>
            </p:custDataLst>
            <p:extLst>
              <p:ext uri="{D42A27DB-BD31-4B8C-83A1-F6EECF244321}">
                <p14:modId xmlns:p14="http://schemas.microsoft.com/office/powerpoint/2010/main" val="1668647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BC0E76B1-4C40-467A-A51D-F30ED3C77E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09ACD1F-8256-4576-BACE-9EAD37EF359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A7667494-4501-4111-9706-BD4EF61979EB}"/>
              </a:ext>
            </a:extLst>
          </p:cNvPr>
          <p:cNvSpPr>
            <a:spLocks noGrp="1"/>
          </p:cNvSpPr>
          <p:nvPr>
            <p:ph type="title"/>
          </p:nvPr>
        </p:nvSpPr>
        <p:spPr>
          <a:xfrm>
            <a:off x="165600" y="147600"/>
            <a:ext cx="8357688" cy="684000"/>
          </a:xfrm>
        </p:spPr>
        <p:txBody>
          <a:bodyPr/>
          <a:lstStyle/>
          <a:p>
            <a:r>
              <a:rPr lang="en-GB" sz="1600" err="1">
                <a:solidFill>
                  <a:schemeClr val="tx2"/>
                </a:solidFill>
                <a:latin typeface="Trebuchet MS" panose="020B0603020202020204" pitchFamily="34" charset="0"/>
              </a:rPr>
              <a:t>Altares</a:t>
            </a:r>
            <a:r>
              <a:rPr lang="en-GB" sz="1600">
                <a:solidFill>
                  <a:schemeClr val="tx2"/>
                </a:solidFill>
                <a:latin typeface="Trebuchet MS" panose="020B0603020202020204" pitchFamily="34" charset="0"/>
              </a:rPr>
              <a:t>’ offer </a:t>
            </a:r>
            <a:r>
              <a:rPr lang="en-GB" sz="1600">
                <a:latin typeface="Trebuchet MS" panose="020B0603020202020204" pitchFamily="34" charset="0"/>
              </a:rPr>
              <a:t>on</a:t>
            </a:r>
            <a:r>
              <a:rPr lang="en-GB" sz="1600">
                <a:solidFill>
                  <a:schemeClr val="tx2"/>
                </a:solidFill>
                <a:latin typeface="Trebuchet MS" panose="020B0603020202020204" pitchFamily="34" charset="0"/>
              </a:rPr>
              <a:t> Credit &amp; financial risk</a:t>
            </a:r>
            <a:r>
              <a:rPr lang="en-GB">
                <a:solidFill>
                  <a:schemeClr val="tx2"/>
                </a:solidFill>
                <a:latin typeface="Trebuchet MS" panose="020B0603020202020204" pitchFamily="34" charset="0"/>
              </a:rPr>
              <a:t> information </a:t>
            </a:r>
            <a:r>
              <a:rPr lang="en-GB">
                <a:latin typeface="Trebuchet MS" panose="020B0603020202020204" pitchFamily="34" charset="0"/>
              </a:rPr>
              <a:t>appears </a:t>
            </a:r>
            <a:r>
              <a:rPr lang="en-GB">
                <a:solidFill>
                  <a:schemeClr val="tx2"/>
                </a:solidFill>
                <a:latin typeface="Trebuchet MS" panose="020B0603020202020204" pitchFamily="34" charset="0"/>
              </a:rPr>
              <a:t>highly competitive</a:t>
            </a:r>
            <a:r>
              <a:rPr lang="en-GB">
                <a:latin typeface="Trebuchet MS" panose="020B0603020202020204" pitchFamily="34" charset="0"/>
              </a:rPr>
              <a:t>, especially to</a:t>
            </a:r>
            <a:r>
              <a:rPr lang="en-GB">
                <a:solidFill>
                  <a:schemeClr val="tx2"/>
                </a:solidFill>
                <a:latin typeface="Trebuchet MS" panose="020B0603020202020204" pitchFamily="34" charset="0"/>
              </a:rPr>
              <a:t> address large caps </a:t>
            </a:r>
            <a:r>
              <a:rPr lang="en-GB">
                <a:latin typeface="Trebuchet MS" panose="020B0603020202020204" pitchFamily="34" charset="0"/>
              </a:rPr>
              <a:t>thanks to </a:t>
            </a:r>
            <a:r>
              <a:rPr lang="en-GB" err="1">
                <a:latin typeface="Trebuchet MS" panose="020B0603020202020204" pitchFamily="34" charset="0"/>
              </a:rPr>
              <a:t>Altares</a:t>
            </a:r>
            <a:r>
              <a:rPr lang="en-GB">
                <a:latin typeface="Trebuchet MS" panose="020B0603020202020204" pitchFamily="34" charset="0"/>
              </a:rPr>
              <a:t>’ high-quality </a:t>
            </a:r>
            <a:r>
              <a:rPr lang="en-GB">
                <a:solidFill>
                  <a:schemeClr val="tx2"/>
                </a:solidFill>
                <a:latin typeface="Trebuchet MS" panose="020B0603020202020204" pitchFamily="34" charset="0"/>
              </a:rPr>
              <a:t>brand image</a:t>
            </a:r>
            <a:r>
              <a:rPr lang="en-GB">
                <a:latin typeface="Trebuchet MS" panose="020B0603020202020204" pitchFamily="34" charset="0"/>
              </a:rPr>
              <a:t>, comprehensive international </a:t>
            </a:r>
            <a:r>
              <a:rPr lang="en-GB">
                <a:solidFill>
                  <a:schemeClr val="tx2"/>
                </a:solidFill>
                <a:latin typeface="Trebuchet MS" panose="020B0603020202020204" pitchFamily="34" charset="0"/>
              </a:rPr>
              <a:t>database </a:t>
            </a:r>
            <a:r>
              <a:rPr lang="en-GB">
                <a:latin typeface="Trebuchet MS" panose="020B0603020202020204" pitchFamily="34" charset="0"/>
              </a:rPr>
              <a:t>and ability to </a:t>
            </a:r>
            <a:r>
              <a:rPr lang="en-GB">
                <a:solidFill>
                  <a:schemeClr val="tx2"/>
                </a:solidFill>
                <a:latin typeface="Trebuchet MS" panose="020B0603020202020204" pitchFamily="34" charset="0"/>
              </a:rPr>
              <a:t>provide tailor-made services </a:t>
            </a:r>
          </a:p>
        </p:txBody>
      </p:sp>
      <p:sp>
        <p:nvSpPr>
          <p:cNvPr id="7" name="Espace réservé du texte 6">
            <a:extLst>
              <a:ext uri="{FF2B5EF4-FFF2-40B4-BE49-F238E27FC236}">
                <a16:creationId xmlns:a16="http://schemas.microsoft.com/office/drawing/2014/main" id="{6A14060D-9373-4696-92EF-8A765C296131}"/>
              </a:ext>
            </a:extLst>
          </p:cNvPr>
          <p:cNvSpPr>
            <a:spLocks noGrp="1"/>
          </p:cNvSpPr>
          <p:nvPr>
            <p:ph type="body" sz="quarter" idx="10"/>
          </p:nvPr>
        </p:nvSpPr>
        <p:spPr/>
        <p:txBody>
          <a:bodyPr/>
          <a:lstStyle/>
          <a:p>
            <a:r>
              <a:rPr lang="en-GB" sz="800" i="1" kern="0"/>
              <a:t>Sources: eleven research &amp; analysis, expert calls</a:t>
            </a:r>
          </a:p>
        </p:txBody>
      </p:sp>
      <p:sp>
        <p:nvSpPr>
          <p:cNvPr id="214" name="Rectangle 213">
            <a:extLst>
              <a:ext uri="{FF2B5EF4-FFF2-40B4-BE49-F238E27FC236}">
                <a16:creationId xmlns:a16="http://schemas.microsoft.com/office/drawing/2014/main" id="{A8B7529F-709B-4E9D-B181-9ECA307CB567}"/>
              </a:ext>
            </a:extLst>
          </p:cNvPr>
          <p:cNvSpPr/>
          <p:nvPr/>
        </p:nvSpPr>
        <p:spPr bwMode="auto">
          <a:xfrm>
            <a:off x="8992122" y="975034"/>
            <a:ext cx="322284" cy="23981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accent2">
                  <a:lumMod val="25000"/>
                </a:schemeClr>
              </a:solidFill>
              <a:effectLst/>
              <a:latin typeface="Trebuchet MS" pitchFamily="34" charset="0"/>
            </a:endParaRPr>
          </a:p>
        </p:txBody>
      </p:sp>
      <p:pic>
        <p:nvPicPr>
          <p:cNvPr id="227" name="Picture 13" descr="Afficher l'image d'origine">
            <a:extLst>
              <a:ext uri="{FF2B5EF4-FFF2-40B4-BE49-F238E27FC236}">
                <a16:creationId xmlns:a16="http://schemas.microsoft.com/office/drawing/2014/main" id="{488D4ECF-E29F-4249-8B10-180E7415378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42856" y="1325931"/>
            <a:ext cx="828000" cy="154560"/>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RÃ©sultat de recherche d'images pour &quot;bureau van dijk&quot;">
            <a:extLst>
              <a:ext uri="{FF2B5EF4-FFF2-40B4-BE49-F238E27FC236}">
                <a16:creationId xmlns:a16="http://schemas.microsoft.com/office/drawing/2014/main" id="{9540237C-D5DC-4039-8368-06BB3C0A1CB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13593" y="1235520"/>
            <a:ext cx="737940" cy="335382"/>
          </a:xfrm>
          <a:prstGeom prst="rect">
            <a:avLst/>
          </a:prstGeom>
          <a:noFill/>
          <a:extLst>
            <a:ext uri="{909E8E84-426E-40DD-AFC4-6F175D3DCCD1}">
              <a14:hiddenFill xmlns:a14="http://schemas.microsoft.com/office/drawing/2010/main">
                <a:solidFill>
                  <a:srgbClr val="FFFFFF"/>
                </a:solidFill>
              </a14:hiddenFill>
            </a:ext>
          </a:extLst>
        </p:spPr>
      </p:pic>
      <p:cxnSp>
        <p:nvCxnSpPr>
          <p:cNvPr id="5" name="Connecteur droit 4">
            <a:extLst>
              <a:ext uri="{FF2B5EF4-FFF2-40B4-BE49-F238E27FC236}">
                <a16:creationId xmlns:a16="http://schemas.microsoft.com/office/drawing/2014/main" id="{88E4374C-6CD8-4C72-8420-B323C9A3661A}"/>
              </a:ext>
            </a:extLst>
          </p:cNvPr>
          <p:cNvCxnSpPr>
            <a:cxnSpLocks/>
          </p:cNvCxnSpPr>
          <p:nvPr/>
        </p:nvCxnSpPr>
        <p:spPr bwMode="auto">
          <a:xfrm>
            <a:off x="457461" y="1778480"/>
            <a:ext cx="2686729" cy="0"/>
          </a:xfrm>
          <a:prstGeom prst="line">
            <a:avLst/>
          </a:prstGeom>
          <a:solidFill>
            <a:srgbClr val="26ACDE"/>
          </a:solidFill>
          <a:ln w="15875" cap="flat" cmpd="sng" algn="ctr">
            <a:solidFill>
              <a:srgbClr val="36964F"/>
            </a:solidFill>
            <a:prstDash val="solid"/>
            <a:round/>
            <a:headEnd type="none" w="med" len="med"/>
            <a:tailEnd type="none" w="med" len="med"/>
          </a:ln>
          <a:effectLst/>
        </p:spPr>
      </p:cxnSp>
      <p:sp>
        <p:nvSpPr>
          <p:cNvPr id="6" name="TextBox 99">
            <a:extLst>
              <a:ext uri="{FF2B5EF4-FFF2-40B4-BE49-F238E27FC236}">
                <a16:creationId xmlns:a16="http://schemas.microsoft.com/office/drawing/2014/main" id="{073CBBBF-3D9B-42D6-9753-7143FCF25F79}"/>
              </a:ext>
            </a:extLst>
          </p:cNvPr>
          <p:cNvSpPr txBox="1"/>
          <p:nvPr/>
        </p:nvSpPr>
        <p:spPr>
          <a:xfrm>
            <a:off x="507930" y="1482690"/>
            <a:ext cx="2650082" cy="2308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646464"/>
                </a:solidFill>
                <a:effectLst/>
                <a:uLnTx/>
                <a:uFillTx/>
                <a:latin typeface="Trebuchet MS" panose="020B0603020202020204" pitchFamily="34" charset="0"/>
              </a:rPr>
              <a:t>Key differentiating elements</a:t>
            </a:r>
          </a:p>
        </p:txBody>
      </p:sp>
      <p:sp>
        <p:nvSpPr>
          <p:cNvPr id="16" name="Rectangle 15">
            <a:extLst>
              <a:ext uri="{FF2B5EF4-FFF2-40B4-BE49-F238E27FC236}">
                <a16:creationId xmlns:a16="http://schemas.microsoft.com/office/drawing/2014/main" id="{B06104E7-3FBF-4052-909E-31812CEB7227}"/>
              </a:ext>
            </a:extLst>
          </p:cNvPr>
          <p:cNvSpPr/>
          <p:nvPr/>
        </p:nvSpPr>
        <p:spPr bwMode="auto">
          <a:xfrm>
            <a:off x="457461" y="3045876"/>
            <a:ext cx="2708296" cy="452651"/>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Capacity to integrate into the client’s system</a:t>
            </a:r>
            <a:endParaRPr kumimoji="0" lang="en-GB" sz="900" b="0" i="1" u="none" strike="noStrike" kern="0" cap="none" spc="0" normalizeH="0" baseline="0" noProof="0">
              <a:ln>
                <a:noFill/>
              </a:ln>
              <a:solidFill>
                <a:schemeClr val="bg1"/>
              </a:solidFill>
              <a:effectLst/>
              <a:uLnTx/>
              <a:uFillTx/>
              <a:latin typeface="Trebuchet MS" panose="020B0603020202020204" pitchFamily="34" charset="0"/>
            </a:endParaRPr>
          </a:p>
        </p:txBody>
      </p:sp>
      <p:sp>
        <p:nvSpPr>
          <p:cNvPr id="17" name="Rectangle 16">
            <a:extLst>
              <a:ext uri="{FF2B5EF4-FFF2-40B4-BE49-F238E27FC236}">
                <a16:creationId xmlns:a16="http://schemas.microsoft.com/office/drawing/2014/main" id="{913F5C94-CF9D-4A7F-B560-C86EFE6C58D7}"/>
              </a:ext>
            </a:extLst>
          </p:cNvPr>
          <p:cNvSpPr/>
          <p:nvPr/>
        </p:nvSpPr>
        <p:spPr bwMode="auto">
          <a:xfrm>
            <a:off x="457461" y="4152831"/>
            <a:ext cx="2708296" cy="452651"/>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Availability of international data</a:t>
            </a:r>
          </a:p>
        </p:txBody>
      </p:sp>
      <p:sp>
        <p:nvSpPr>
          <p:cNvPr id="18" name="Rectangle 17">
            <a:extLst>
              <a:ext uri="{FF2B5EF4-FFF2-40B4-BE49-F238E27FC236}">
                <a16:creationId xmlns:a16="http://schemas.microsoft.com/office/drawing/2014/main" id="{3A250FCF-FA30-4F7E-BDCD-420DDC63DECA}"/>
              </a:ext>
            </a:extLst>
          </p:cNvPr>
          <p:cNvSpPr/>
          <p:nvPr/>
        </p:nvSpPr>
        <p:spPr bwMode="auto">
          <a:xfrm>
            <a:off x="457461" y="3599354"/>
            <a:ext cx="2708296" cy="452651"/>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Price competitiveness </a:t>
            </a:r>
          </a:p>
        </p:txBody>
      </p:sp>
      <p:sp>
        <p:nvSpPr>
          <p:cNvPr id="19" name="Rectangle 18">
            <a:extLst>
              <a:ext uri="{FF2B5EF4-FFF2-40B4-BE49-F238E27FC236}">
                <a16:creationId xmlns:a16="http://schemas.microsoft.com/office/drawing/2014/main" id="{D5E0A3E6-87FD-4EE6-9D76-A7078149A41C}"/>
              </a:ext>
            </a:extLst>
          </p:cNvPr>
          <p:cNvSpPr/>
          <p:nvPr/>
        </p:nvSpPr>
        <p:spPr bwMode="auto">
          <a:xfrm>
            <a:off x="457461" y="2492398"/>
            <a:ext cx="2708296" cy="452651"/>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Reliability of the prediction score </a:t>
            </a:r>
          </a:p>
        </p:txBody>
      </p:sp>
      <p:sp>
        <p:nvSpPr>
          <p:cNvPr id="20" name="Rectangle 19">
            <a:extLst>
              <a:ext uri="{FF2B5EF4-FFF2-40B4-BE49-F238E27FC236}">
                <a16:creationId xmlns:a16="http://schemas.microsoft.com/office/drawing/2014/main" id="{F14304AE-6747-4532-9987-6CE59DD41206}"/>
              </a:ext>
            </a:extLst>
          </p:cNvPr>
          <p:cNvSpPr/>
          <p:nvPr/>
        </p:nvSpPr>
        <p:spPr bwMode="auto">
          <a:xfrm>
            <a:off x="457461" y="1938921"/>
            <a:ext cx="2708296" cy="452651"/>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Quality of the database</a:t>
            </a:r>
            <a:endParaRPr kumimoji="0" lang="en-GB" sz="900" b="0" i="1" u="none" strike="noStrike" kern="0" cap="none" spc="0" normalizeH="0" baseline="0" noProof="0">
              <a:ln>
                <a:noFill/>
              </a:ln>
              <a:solidFill>
                <a:schemeClr val="bg1"/>
              </a:solidFill>
              <a:effectLst/>
              <a:uLnTx/>
              <a:uFillTx/>
              <a:latin typeface="Trebuchet MS" panose="020B0603020202020204" pitchFamily="34" charset="0"/>
            </a:endParaRPr>
          </a:p>
        </p:txBody>
      </p:sp>
      <p:sp>
        <p:nvSpPr>
          <p:cNvPr id="21" name="Rectangle 20">
            <a:extLst>
              <a:ext uri="{FF2B5EF4-FFF2-40B4-BE49-F238E27FC236}">
                <a16:creationId xmlns:a16="http://schemas.microsoft.com/office/drawing/2014/main" id="{177724EC-7E54-4161-A242-388DD0A23E85}"/>
              </a:ext>
            </a:extLst>
          </p:cNvPr>
          <p:cNvSpPr/>
          <p:nvPr/>
        </p:nvSpPr>
        <p:spPr bwMode="auto">
          <a:xfrm>
            <a:off x="457461" y="4706309"/>
            <a:ext cx="2708296" cy="452651"/>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Ability to provide the required level of service (inc. tailor-made analyses)</a:t>
            </a:r>
          </a:p>
        </p:txBody>
      </p:sp>
      <p:sp>
        <p:nvSpPr>
          <p:cNvPr id="22" name="Rectangle 21">
            <a:extLst>
              <a:ext uri="{FF2B5EF4-FFF2-40B4-BE49-F238E27FC236}">
                <a16:creationId xmlns:a16="http://schemas.microsoft.com/office/drawing/2014/main" id="{8B875634-9E00-4DC2-A20D-D8C07989348F}"/>
              </a:ext>
            </a:extLst>
          </p:cNvPr>
          <p:cNvSpPr/>
          <p:nvPr/>
        </p:nvSpPr>
        <p:spPr bwMode="auto">
          <a:xfrm>
            <a:off x="457461" y="5259786"/>
            <a:ext cx="2708296" cy="452651"/>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Ease of use of the solution</a:t>
            </a:r>
          </a:p>
        </p:txBody>
      </p:sp>
      <p:sp>
        <p:nvSpPr>
          <p:cNvPr id="23" name="Rectangle 22">
            <a:extLst>
              <a:ext uri="{FF2B5EF4-FFF2-40B4-BE49-F238E27FC236}">
                <a16:creationId xmlns:a16="http://schemas.microsoft.com/office/drawing/2014/main" id="{6D8A25CD-0899-4673-B8F4-3D48F1A3C65B}"/>
              </a:ext>
            </a:extLst>
          </p:cNvPr>
          <p:cNvSpPr/>
          <p:nvPr/>
        </p:nvSpPr>
        <p:spPr bwMode="auto">
          <a:xfrm>
            <a:off x="457461" y="5813264"/>
            <a:ext cx="2708296" cy="452651"/>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Brand image</a:t>
            </a:r>
          </a:p>
        </p:txBody>
      </p:sp>
      <p:cxnSp>
        <p:nvCxnSpPr>
          <p:cNvPr id="36" name="Connecteur droit 35">
            <a:extLst>
              <a:ext uri="{FF2B5EF4-FFF2-40B4-BE49-F238E27FC236}">
                <a16:creationId xmlns:a16="http://schemas.microsoft.com/office/drawing/2014/main" id="{5242845D-1494-43A9-82D2-6339CF79C5E1}"/>
              </a:ext>
            </a:extLst>
          </p:cNvPr>
          <p:cNvCxnSpPr/>
          <p:nvPr/>
        </p:nvCxnSpPr>
        <p:spPr bwMode="auto">
          <a:xfrm>
            <a:off x="3877698" y="1777856"/>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7" name="Connecteur droit 36">
            <a:extLst>
              <a:ext uri="{FF2B5EF4-FFF2-40B4-BE49-F238E27FC236}">
                <a16:creationId xmlns:a16="http://schemas.microsoft.com/office/drawing/2014/main" id="{C26D1A79-82BF-4264-970A-282421AB3978}"/>
              </a:ext>
            </a:extLst>
          </p:cNvPr>
          <p:cNvCxnSpPr/>
          <p:nvPr/>
        </p:nvCxnSpPr>
        <p:spPr bwMode="auto">
          <a:xfrm>
            <a:off x="3699451" y="1777856"/>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8" name="Connecteur droit 37">
            <a:extLst>
              <a:ext uri="{FF2B5EF4-FFF2-40B4-BE49-F238E27FC236}">
                <a16:creationId xmlns:a16="http://schemas.microsoft.com/office/drawing/2014/main" id="{642936CD-4167-4120-9611-1CC2C7BDAD87}"/>
              </a:ext>
            </a:extLst>
          </p:cNvPr>
          <p:cNvCxnSpPr/>
          <p:nvPr/>
        </p:nvCxnSpPr>
        <p:spPr bwMode="auto">
          <a:xfrm>
            <a:off x="3521204" y="1777856"/>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9" name="Connecteur droit 38">
            <a:extLst>
              <a:ext uri="{FF2B5EF4-FFF2-40B4-BE49-F238E27FC236}">
                <a16:creationId xmlns:a16="http://schemas.microsoft.com/office/drawing/2014/main" id="{F0669377-5DE5-46F0-AA64-05DCC7BED420}"/>
              </a:ext>
            </a:extLst>
          </p:cNvPr>
          <p:cNvCxnSpPr/>
          <p:nvPr/>
        </p:nvCxnSpPr>
        <p:spPr bwMode="auto">
          <a:xfrm>
            <a:off x="3342957" y="1777856"/>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3" name="Connecteur droit 42">
            <a:extLst>
              <a:ext uri="{FF2B5EF4-FFF2-40B4-BE49-F238E27FC236}">
                <a16:creationId xmlns:a16="http://schemas.microsoft.com/office/drawing/2014/main" id="{BDA6E143-3AAB-4CDC-9815-1FE631CE9318}"/>
              </a:ext>
            </a:extLst>
          </p:cNvPr>
          <p:cNvCxnSpPr/>
          <p:nvPr/>
        </p:nvCxnSpPr>
        <p:spPr bwMode="auto">
          <a:xfrm>
            <a:off x="4045425" y="1805331"/>
            <a:ext cx="0" cy="4375309"/>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61" name="Ellipse 60">
            <a:extLst>
              <a:ext uri="{FF2B5EF4-FFF2-40B4-BE49-F238E27FC236}">
                <a16:creationId xmlns:a16="http://schemas.microsoft.com/office/drawing/2014/main" id="{03281B1E-EB54-405E-B79B-40EAE5F0D201}"/>
              </a:ext>
            </a:extLst>
          </p:cNvPr>
          <p:cNvSpPr>
            <a:spLocks noChangeAspect="1"/>
          </p:cNvSpPr>
          <p:nvPr/>
        </p:nvSpPr>
        <p:spPr bwMode="auto">
          <a:xfrm>
            <a:off x="3288669" y="1643172"/>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62" name="Ellipse 61">
            <a:extLst>
              <a:ext uri="{FF2B5EF4-FFF2-40B4-BE49-F238E27FC236}">
                <a16:creationId xmlns:a16="http://schemas.microsoft.com/office/drawing/2014/main" id="{3251D41D-E154-406D-831B-ACEDEFB9991A}"/>
              </a:ext>
            </a:extLst>
          </p:cNvPr>
          <p:cNvSpPr>
            <a:spLocks noChangeAspect="1"/>
          </p:cNvSpPr>
          <p:nvPr/>
        </p:nvSpPr>
        <p:spPr bwMode="auto">
          <a:xfrm>
            <a:off x="3814698" y="1643172"/>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63" name="Ellipse 62">
            <a:extLst>
              <a:ext uri="{FF2B5EF4-FFF2-40B4-BE49-F238E27FC236}">
                <a16:creationId xmlns:a16="http://schemas.microsoft.com/office/drawing/2014/main" id="{FCC44B41-6C4A-42A9-8A83-6D294717C301}"/>
              </a:ext>
            </a:extLst>
          </p:cNvPr>
          <p:cNvSpPr>
            <a:spLocks noChangeAspect="1"/>
          </p:cNvSpPr>
          <p:nvPr/>
        </p:nvSpPr>
        <p:spPr bwMode="auto">
          <a:xfrm>
            <a:off x="3638101" y="1643172"/>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64" name="Ellipse 63">
            <a:extLst>
              <a:ext uri="{FF2B5EF4-FFF2-40B4-BE49-F238E27FC236}">
                <a16:creationId xmlns:a16="http://schemas.microsoft.com/office/drawing/2014/main" id="{4CD420CE-EFDA-4B03-B9DE-9F42096A5DB7}"/>
              </a:ext>
            </a:extLst>
          </p:cNvPr>
          <p:cNvSpPr>
            <a:spLocks noChangeAspect="1"/>
          </p:cNvSpPr>
          <p:nvPr/>
        </p:nvSpPr>
        <p:spPr bwMode="auto">
          <a:xfrm>
            <a:off x="3461504" y="1643172"/>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sp>
        <p:nvSpPr>
          <p:cNvPr id="78" name="Ellipse 77">
            <a:extLst>
              <a:ext uri="{FF2B5EF4-FFF2-40B4-BE49-F238E27FC236}">
                <a16:creationId xmlns:a16="http://schemas.microsoft.com/office/drawing/2014/main" id="{F1D2D26B-38C6-43AB-9D1D-7851AD9914F3}"/>
              </a:ext>
            </a:extLst>
          </p:cNvPr>
          <p:cNvSpPr/>
          <p:nvPr/>
        </p:nvSpPr>
        <p:spPr bwMode="auto">
          <a:xfrm>
            <a:off x="3832021" y="2124734"/>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79" name="Ellipse 78">
            <a:extLst>
              <a:ext uri="{FF2B5EF4-FFF2-40B4-BE49-F238E27FC236}">
                <a16:creationId xmlns:a16="http://schemas.microsoft.com/office/drawing/2014/main" id="{F17C5DBD-1BF6-4AB3-8C6E-9F593143A76C}"/>
              </a:ext>
            </a:extLst>
          </p:cNvPr>
          <p:cNvSpPr/>
          <p:nvPr/>
        </p:nvSpPr>
        <p:spPr bwMode="auto">
          <a:xfrm>
            <a:off x="3818277" y="3250810"/>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0" name="Ellipse 79">
            <a:extLst>
              <a:ext uri="{FF2B5EF4-FFF2-40B4-BE49-F238E27FC236}">
                <a16:creationId xmlns:a16="http://schemas.microsoft.com/office/drawing/2014/main" id="{37E14909-97E7-4198-A350-2DB8DD869813}"/>
              </a:ext>
            </a:extLst>
          </p:cNvPr>
          <p:cNvSpPr/>
          <p:nvPr/>
        </p:nvSpPr>
        <p:spPr bwMode="auto">
          <a:xfrm>
            <a:off x="3487999" y="3785167"/>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1" name="Ellipse 80">
            <a:extLst>
              <a:ext uri="{FF2B5EF4-FFF2-40B4-BE49-F238E27FC236}">
                <a16:creationId xmlns:a16="http://schemas.microsoft.com/office/drawing/2014/main" id="{88B0D50E-36BF-4FEB-9967-14C2E7241AE8}"/>
              </a:ext>
            </a:extLst>
          </p:cNvPr>
          <p:cNvSpPr/>
          <p:nvPr/>
        </p:nvSpPr>
        <p:spPr bwMode="auto">
          <a:xfrm>
            <a:off x="3837830" y="4338644"/>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2" name="Ellipse 81">
            <a:extLst>
              <a:ext uri="{FF2B5EF4-FFF2-40B4-BE49-F238E27FC236}">
                <a16:creationId xmlns:a16="http://schemas.microsoft.com/office/drawing/2014/main" id="{53BC15A9-4DDF-464D-B838-F8B484086381}"/>
              </a:ext>
            </a:extLst>
          </p:cNvPr>
          <p:cNvSpPr/>
          <p:nvPr/>
        </p:nvSpPr>
        <p:spPr bwMode="auto">
          <a:xfrm>
            <a:off x="3848904" y="4860316"/>
            <a:ext cx="80784"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3" name="Ellipse 82">
            <a:extLst>
              <a:ext uri="{FF2B5EF4-FFF2-40B4-BE49-F238E27FC236}">
                <a16:creationId xmlns:a16="http://schemas.microsoft.com/office/drawing/2014/main" id="{59141F7E-CC81-4CB8-AD2C-3BADA3B1D9E0}"/>
              </a:ext>
            </a:extLst>
          </p:cNvPr>
          <p:cNvSpPr/>
          <p:nvPr/>
        </p:nvSpPr>
        <p:spPr bwMode="auto">
          <a:xfrm>
            <a:off x="3826041" y="2658364"/>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84" name="Connecteur droit 83">
            <a:extLst>
              <a:ext uri="{FF2B5EF4-FFF2-40B4-BE49-F238E27FC236}">
                <a16:creationId xmlns:a16="http://schemas.microsoft.com/office/drawing/2014/main" id="{B7C793D4-624E-4907-8FF0-EA1CD4EF52F7}"/>
              </a:ext>
            </a:extLst>
          </p:cNvPr>
          <p:cNvCxnSpPr>
            <a:cxnSpLocks/>
            <a:stCxn id="78" idx="3"/>
            <a:endCxn id="83" idx="0"/>
          </p:cNvCxnSpPr>
          <p:nvPr/>
        </p:nvCxnSpPr>
        <p:spPr bwMode="auto">
          <a:xfrm>
            <a:off x="3842776" y="2193892"/>
            <a:ext cx="19985" cy="464472"/>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5" name="Connecteur droit 84">
            <a:extLst>
              <a:ext uri="{FF2B5EF4-FFF2-40B4-BE49-F238E27FC236}">
                <a16:creationId xmlns:a16="http://schemas.microsoft.com/office/drawing/2014/main" id="{625D08B3-B814-4C9A-8627-F8EB0DF77F60}"/>
              </a:ext>
            </a:extLst>
          </p:cNvPr>
          <p:cNvCxnSpPr>
            <a:stCxn id="83" idx="4"/>
            <a:endCxn id="79" idx="0"/>
          </p:cNvCxnSpPr>
          <p:nvPr/>
        </p:nvCxnSpPr>
        <p:spPr bwMode="auto">
          <a:xfrm flipH="1">
            <a:off x="3854997" y="2739388"/>
            <a:ext cx="7764" cy="511422"/>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6" name="Connecteur droit 85">
            <a:extLst>
              <a:ext uri="{FF2B5EF4-FFF2-40B4-BE49-F238E27FC236}">
                <a16:creationId xmlns:a16="http://schemas.microsoft.com/office/drawing/2014/main" id="{6F27B7C1-354E-4018-9938-089F799A0E75}"/>
              </a:ext>
            </a:extLst>
          </p:cNvPr>
          <p:cNvCxnSpPr>
            <a:stCxn id="79" idx="4"/>
            <a:endCxn id="80" idx="0"/>
          </p:cNvCxnSpPr>
          <p:nvPr/>
        </p:nvCxnSpPr>
        <p:spPr bwMode="auto">
          <a:xfrm flipH="1">
            <a:off x="3524719" y="3331834"/>
            <a:ext cx="330278" cy="4533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7" name="Connecteur droit 86">
            <a:extLst>
              <a:ext uri="{FF2B5EF4-FFF2-40B4-BE49-F238E27FC236}">
                <a16:creationId xmlns:a16="http://schemas.microsoft.com/office/drawing/2014/main" id="{F1D406B1-7BAA-4B30-A58F-43AB3EB26E93}"/>
              </a:ext>
            </a:extLst>
          </p:cNvPr>
          <p:cNvCxnSpPr>
            <a:stCxn id="80" idx="4"/>
            <a:endCxn id="81" idx="0"/>
          </p:cNvCxnSpPr>
          <p:nvPr/>
        </p:nvCxnSpPr>
        <p:spPr bwMode="auto">
          <a:xfrm>
            <a:off x="3524719" y="3866191"/>
            <a:ext cx="349831" cy="47245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8" name="Connecteur droit 87">
            <a:extLst>
              <a:ext uri="{FF2B5EF4-FFF2-40B4-BE49-F238E27FC236}">
                <a16:creationId xmlns:a16="http://schemas.microsoft.com/office/drawing/2014/main" id="{E312777C-B68A-4B0E-A5B9-92FBEE388A21}"/>
              </a:ext>
            </a:extLst>
          </p:cNvPr>
          <p:cNvCxnSpPr>
            <a:stCxn id="81" idx="4"/>
            <a:endCxn id="82" idx="0"/>
          </p:cNvCxnSpPr>
          <p:nvPr/>
        </p:nvCxnSpPr>
        <p:spPr bwMode="auto">
          <a:xfrm>
            <a:off x="3874550" y="4419668"/>
            <a:ext cx="14746" cy="440648"/>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27" name="Ellipse 126">
            <a:extLst>
              <a:ext uri="{FF2B5EF4-FFF2-40B4-BE49-F238E27FC236}">
                <a16:creationId xmlns:a16="http://schemas.microsoft.com/office/drawing/2014/main" id="{C448E81C-0C04-445E-B2D5-56A727A77777}"/>
              </a:ext>
            </a:extLst>
          </p:cNvPr>
          <p:cNvSpPr/>
          <p:nvPr/>
        </p:nvSpPr>
        <p:spPr bwMode="auto">
          <a:xfrm>
            <a:off x="3659362" y="5445599"/>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28" name="Ellipse 127">
            <a:extLst>
              <a:ext uri="{FF2B5EF4-FFF2-40B4-BE49-F238E27FC236}">
                <a16:creationId xmlns:a16="http://schemas.microsoft.com/office/drawing/2014/main" id="{917FC58C-6148-4C9E-AC3F-76AA30EF4EA0}"/>
              </a:ext>
            </a:extLst>
          </p:cNvPr>
          <p:cNvSpPr/>
          <p:nvPr/>
        </p:nvSpPr>
        <p:spPr bwMode="auto">
          <a:xfrm>
            <a:off x="3853059" y="5999077"/>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29" name="Connecteur droit 128">
            <a:extLst>
              <a:ext uri="{FF2B5EF4-FFF2-40B4-BE49-F238E27FC236}">
                <a16:creationId xmlns:a16="http://schemas.microsoft.com/office/drawing/2014/main" id="{0EF30944-E4E5-4F70-B115-4151DAC8AB08}"/>
              </a:ext>
            </a:extLst>
          </p:cNvPr>
          <p:cNvCxnSpPr>
            <a:stCxn id="82" idx="4"/>
            <a:endCxn id="127" idx="0"/>
          </p:cNvCxnSpPr>
          <p:nvPr/>
        </p:nvCxnSpPr>
        <p:spPr bwMode="auto">
          <a:xfrm flipH="1">
            <a:off x="3696082" y="4941340"/>
            <a:ext cx="193214" cy="504259"/>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30" name="Connecteur droit 129">
            <a:extLst>
              <a:ext uri="{FF2B5EF4-FFF2-40B4-BE49-F238E27FC236}">
                <a16:creationId xmlns:a16="http://schemas.microsoft.com/office/drawing/2014/main" id="{627C9755-5704-4143-8D66-969F3B06D884}"/>
              </a:ext>
            </a:extLst>
          </p:cNvPr>
          <p:cNvCxnSpPr>
            <a:stCxn id="127" idx="4"/>
            <a:endCxn id="128" idx="0"/>
          </p:cNvCxnSpPr>
          <p:nvPr/>
        </p:nvCxnSpPr>
        <p:spPr bwMode="auto">
          <a:xfrm>
            <a:off x="3696082" y="5526623"/>
            <a:ext cx="193697"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32" name="Connecteur droit 31">
            <a:extLst>
              <a:ext uri="{FF2B5EF4-FFF2-40B4-BE49-F238E27FC236}">
                <a16:creationId xmlns:a16="http://schemas.microsoft.com/office/drawing/2014/main" id="{1A55EB00-A844-4A87-9DA0-DB5428135C90}"/>
              </a:ext>
            </a:extLst>
          </p:cNvPr>
          <p:cNvCxnSpPr/>
          <p:nvPr/>
        </p:nvCxnSpPr>
        <p:spPr bwMode="auto">
          <a:xfrm>
            <a:off x="5733171" y="1841783"/>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3" name="Connecteur droit 32">
            <a:extLst>
              <a:ext uri="{FF2B5EF4-FFF2-40B4-BE49-F238E27FC236}">
                <a16:creationId xmlns:a16="http://schemas.microsoft.com/office/drawing/2014/main" id="{33D4AAB3-025B-4A99-89E8-3C047DA627EF}"/>
              </a:ext>
            </a:extLst>
          </p:cNvPr>
          <p:cNvCxnSpPr/>
          <p:nvPr/>
        </p:nvCxnSpPr>
        <p:spPr bwMode="auto">
          <a:xfrm>
            <a:off x="5554924" y="1841783"/>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4" name="Connecteur droit 33">
            <a:extLst>
              <a:ext uri="{FF2B5EF4-FFF2-40B4-BE49-F238E27FC236}">
                <a16:creationId xmlns:a16="http://schemas.microsoft.com/office/drawing/2014/main" id="{B589DCD6-4C50-4890-A054-6156CA821B57}"/>
              </a:ext>
            </a:extLst>
          </p:cNvPr>
          <p:cNvCxnSpPr/>
          <p:nvPr/>
        </p:nvCxnSpPr>
        <p:spPr bwMode="auto">
          <a:xfrm>
            <a:off x="5376677" y="1841783"/>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5" name="Connecteur droit 34">
            <a:extLst>
              <a:ext uri="{FF2B5EF4-FFF2-40B4-BE49-F238E27FC236}">
                <a16:creationId xmlns:a16="http://schemas.microsoft.com/office/drawing/2014/main" id="{CFB61C36-D4F0-4886-BBCE-5D280AB51441}"/>
              </a:ext>
            </a:extLst>
          </p:cNvPr>
          <p:cNvCxnSpPr/>
          <p:nvPr/>
        </p:nvCxnSpPr>
        <p:spPr bwMode="auto">
          <a:xfrm>
            <a:off x="5198430" y="1841783"/>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4" name="Connecteur droit 43">
            <a:extLst>
              <a:ext uri="{FF2B5EF4-FFF2-40B4-BE49-F238E27FC236}">
                <a16:creationId xmlns:a16="http://schemas.microsoft.com/office/drawing/2014/main" id="{86B07622-2DAC-40FA-B075-9EF71CF1080E}"/>
              </a:ext>
            </a:extLst>
          </p:cNvPr>
          <p:cNvCxnSpPr/>
          <p:nvPr/>
        </p:nvCxnSpPr>
        <p:spPr bwMode="auto">
          <a:xfrm>
            <a:off x="5955045" y="1866649"/>
            <a:ext cx="0" cy="4375309"/>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57" name="Ellipse 56">
            <a:extLst>
              <a:ext uri="{FF2B5EF4-FFF2-40B4-BE49-F238E27FC236}">
                <a16:creationId xmlns:a16="http://schemas.microsoft.com/office/drawing/2014/main" id="{B13DF443-65C5-424C-845A-F58E189D3CA5}"/>
              </a:ext>
            </a:extLst>
          </p:cNvPr>
          <p:cNvSpPr/>
          <p:nvPr/>
        </p:nvSpPr>
        <p:spPr bwMode="auto">
          <a:xfrm>
            <a:off x="5508530" y="2678211"/>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65" name="Ellipse 64">
            <a:extLst>
              <a:ext uri="{FF2B5EF4-FFF2-40B4-BE49-F238E27FC236}">
                <a16:creationId xmlns:a16="http://schemas.microsoft.com/office/drawing/2014/main" id="{33B0F95C-A84B-4878-9481-4E5E183F9A84}"/>
              </a:ext>
            </a:extLst>
          </p:cNvPr>
          <p:cNvSpPr>
            <a:spLocks noChangeAspect="1"/>
          </p:cNvSpPr>
          <p:nvPr/>
        </p:nvSpPr>
        <p:spPr bwMode="auto">
          <a:xfrm>
            <a:off x="5158775" y="1646004"/>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66" name="Ellipse 65">
            <a:extLst>
              <a:ext uri="{FF2B5EF4-FFF2-40B4-BE49-F238E27FC236}">
                <a16:creationId xmlns:a16="http://schemas.microsoft.com/office/drawing/2014/main" id="{89EFB7A0-EE00-4254-9297-8D630A252B64}"/>
              </a:ext>
            </a:extLst>
          </p:cNvPr>
          <p:cNvSpPr>
            <a:spLocks noChangeAspect="1"/>
          </p:cNvSpPr>
          <p:nvPr/>
        </p:nvSpPr>
        <p:spPr bwMode="auto">
          <a:xfrm>
            <a:off x="5684804" y="1646004"/>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67" name="Ellipse 66">
            <a:extLst>
              <a:ext uri="{FF2B5EF4-FFF2-40B4-BE49-F238E27FC236}">
                <a16:creationId xmlns:a16="http://schemas.microsoft.com/office/drawing/2014/main" id="{98492036-D0E4-4B53-9660-3D24C8BFCE3E}"/>
              </a:ext>
            </a:extLst>
          </p:cNvPr>
          <p:cNvSpPr>
            <a:spLocks noChangeAspect="1"/>
          </p:cNvSpPr>
          <p:nvPr/>
        </p:nvSpPr>
        <p:spPr bwMode="auto">
          <a:xfrm>
            <a:off x="5508207" y="1646004"/>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68" name="Ellipse 67">
            <a:extLst>
              <a:ext uri="{FF2B5EF4-FFF2-40B4-BE49-F238E27FC236}">
                <a16:creationId xmlns:a16="http://schemas.microsoft.com/office/drawing/2014/main" id="{D92EFE09-CFD3-4A1C-9905-97DF4210AAE3}"/>
              </a:ext>
            </a:extLst>
          </p:cNvPr>
          <p:cNvSpPr>
            <a:spLocks noChangeAspect="1"/>
          </p:cNvSpPr>
          <p:nvPr/>
        </p:nvSpPr>
        <p:spPr bwMode="auto">
          <a:xfrm>
            <a:off x="5331610" y="1646004"/>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sp>
        <p:nvSpPr>
          <p:cNvPr id="89" name="Ellipse 88">
            <a:extLst>
              <a:ext uri="{FF2B5EF4-FFF2-40B4-BE49-F238E27FC236}">
                <a16:creationId xmlns:a16="http://schemas.microsoft.com/office/drawing/2014/main" id="{6F49BE15-801F-4528-8A54-AAEAB5D7F179}"/>
              </a:ext>
            </a:extLst>
          </p:cNvPr>
          <p:cNvSpPr/>
          <p:nvPr/>
        </p:nvSpPr>
        <p:spPr bwMode="auto">
          <a:xfrm>
            <a:off x="5509929" y="2124734"/>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90" name="Ellipse 89">
            <a:extLst>
              <a:ext uri="{FF2B5EF4-FFF2-40B4-BE49-F238E27FC236}">
                <a16:creationId xmlns:a16="http://schemas.microsoft.com/office/drawing/2014/main" id="{63556117-CC35-4D20-8CBD-D9E01848A2D8}"/>
              </a:ext>
            </a:extLst>
          </p:cNvPr>
          <p:cNvSpPr/>
          <p:nvPr/>
        </p:nvSpPr>
        <p:spPr bwMode="auto">
          <a:xfrm>
            <a:off x="5522428" y="3231689"/>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91" name="Ellipse 90">
            <a:extLst>
              <a:ext uri="{FF2B5EF4-FFF2-40B4-BE49-F238E27FC236}">
                <a16:creationId xmlns:a16="http://schemas.microsoft.com/office/drawing/2014/main" id="{B9D88896-C563-4C92-834D-C5B437C9CC72}"/>
              </a:ext>
            </a:extLst>
          </p:cNvPr>
          <p:cNvSpPr/>
          <p:nvPr/>
        </p:nvSpPr>
        <p:spPr bwMode="auto">
          <a:xfrm>
            <a:off x="5695247" y="3785167"/>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92" name="Ellipse 91">
            <a:extLst>
              <a:ext uri="{FF2B5EF4-FFF2-40B4-BE49-F238E27FC236}">
                <a16:creationId xmlns:a16="http://schemas.microsoft.com/office/drawing/2014/main" id="{15C37E8A-C622-478D-BE57-4BB5CB83CAAF}"/>
              </a:ext>
            </a:extLst>
          </p:cNvPr>
          <p:cNvSpPr/>
          <p:nvPr/>
        </p:nvSpPr>
        <p:spPr bwMode="auto">
          <a:xfrm>
            <a:off x="5519881" y="4338644"/>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93" name="Ellipse 92">
            <a:extLst>
              <a:ext uri="{FF2B5EF4-FFF2-40B4-BE49-F238E27FC236}">
                <a16:creationId xmlns:a16="http://schemas.microsoft.com/office/drawing/2014/main" id="{9795EA03-3ADA-4495-8A1E-D99631DF8547}"/>
              </a:ext>
            </a:extLst>
          </p:cNvPr>
          <p:cNvSpPr/>
          <p:nvPr/>
        </p:nvSpPr>
        <p:spPr bwMode="auto">
          <a:xfrm>
            <a:off x="5346864" y="4892122"/>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94" name="Connecteur droit 93">
            <a:extLst>
              <a:ext uri="{FF2B5EF4-FFF2-40B4-BE49-F238E27FC236}">
                <a16:creationId xmlns:a16="http://schemas.microsoft.com/office/drawing/2014/main" id="{BE8C3527-E4F3-41F8-AB92-75FD82D9893D}"/>
              </a:ext>
            </a:extLst>
          </p:cNvPr>
          <p:cNvCxnSpPr>
            <a:stCxn id="89" idx="4"/>
            <a:endCxn id="57" idx="0"/>
          </p:cNvCxnSpPr>
          <p:nvPr/>
        </p:nvCxnSpPr>
        <p:spPr bwMode="auto">
          <a:xfrm flipH="1">
            <a:off x="5545250" y="2205758"/>
            <a:ext cx="1399" cy="47245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95" name="Connecteur droit 94">
            <a:extLst>
              <a:ext uri="{FF2B5EF4-FFF2-40B4-BE49-F238E27FC236}">
                <a16:creationId xmlns:a16="http://schemas.microsoft.com/office/drawing/2014/main" id="{B41D6DDE-4EDF-4891-AEB4-A15E2525AEC0}"/>
              </a:ext>
            </a:extLst>
          </p:cNvPr>
          <p:cNvCxnSpPr>
            <a:stCxn id="57" idx="4"/>
            <a:endCxn id="90" idx="0"/>
          </p:cNvCxnSpPr>
          <p:nvPr/>
        </p:nvCxnSpPr>
        <p:spPr bwMode="auto">
          <a:xfrm>
            <a:off x="5545250" y="2759235"/>
            <a:ext cx="13898"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96" name="Connecteur droit 95">
            <a:extLst>
              <a:ext uri="{FF2B5EF4-FFF2-40B4-BE49-F238E27FC236}">
                <a16:creationId xmlns:a16="http://schemas.microsoft.com/office/drawing/2014/main" id="{63B4E1F0-7D42-4935-9411-5756C54A9E91}"/>
              </a:ext>
            </a:extLst>
          </p:cNvPr>
          <p:cNvCxnSpPr>
            <a:stCxn id="90" idx="4"/>
            <a:endCxn id="91" idx="0"/>
          </p:cNvCxnSpPr>
          <p:nvPr/>
        </p:nvCxnSpPr>
        <p:spPr bwMode="auto">
          <a:xfrm>
            <a:off x="5559148" y="3312713"/>
            <a:ext cx="172819"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97" name="Connecteur droit 96">
            <a:extLst>
              <a:ext uri="{FF2B5EF4-FFF2-40B4-BE49-F238E27FC236}">
                <a16:creationId xmlns:a16="http://schemas.microsoft.com/office/drawing/2014/main" id="{EE6F83C9-F4AC-4A22-AB63-CF9069EAC7B5}"/>
              </a:ext>
            </a:extLst>
          </p:cNvPr>
          <p:cNvCxnSpPr>
            <a:stCxn id="91" idx="4"/>
            <a:endCxn id="92" idx="0"/>
          </p:cNvCxnSpPr>
          <p:nvPr/>
        </p:nvCxnSpPr>
        <p:spPr bwMode="auto">
          <a:xfrm flipH="1">
            <a:off x="5556601" y="3866191"/>
            <a:ext cx="175366" cy="47245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98" name="Connecteur droit 97">
            <a:extLst>
              <a:ext uri="{FF2B5EF4-FFF2-40B4-BE49-F238E27FC236}">
                <a16:creationId xmlns:a16="http://schemas.microsoft.com/office/drawing/2014/main" id="{498AE693-D702-4B62-B1DD-2F1438A2E95C}"/>
              </a:ext>
            </a:extLst>
          </p:cNvPr>
          <p:cNvCxnSpPr>
            <a:stCxn id="92" idx="4"/>
            <a:endCxn id="93" idx="0"/>
          </p:cNvCxnSpPr>
          <p:nvPr/>
        </p:nvCxnSpPr>
        <p:spPr bwMode="auto">
          <a:xfrm flipH="1">
            <a:off x="5383584" y="4419668"/>
            <a:ext cx="173017"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31" name="Ellipse 130">
            <a:extLst>
              <a:ext uri="{FF2B5EF4-FFF2-40B4-BE49-F238E27FC236}">
                <a16:creationId xmlns:a16="http://schemas.microsoft.com/office/drawing/2014/main" id="{E47114D0-8A57-4CB2-9C60-44A7BB8A425A}"/>
              </a:ext>
            </a:extLst>
          </p:cNvPr>
          <p:cNvSpPr/>
          <p:nvPr/>
        </p:nvSpPr>
        <p:spPr bwMode="auto">
          <a:xfrm>
            <a:off x="5703113" y="5445599"/>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32" name="Ellipse 131">
            <a:extLst>
              <a:ext uri="{FF2B5EF4-FFF2-40B4-BE49-F238E27FC236}">
                <a16:creationId xmlns:a16="http://schemas.microsoft.com/office/drawing/2014/main" id="{C833ACF6-F610-4096-BAEB-C213E8F79084}"/>
              </a:ext>
            </a:extLst>
          </p:cNvPr>
          <p:cNvSpPr/>
          <p:nvPr/>
        </p:nvSpPr>
        <p:spPr bwMode="auto">
          <a:xfrm>
            <a:off x="5326123" y="5999077"/>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33" name="Connecteur droit 132">
            <a:extLst>
              <a:ext uri="{FF2B5EF4-FFF2-40B4-BE49-F238E27FC236}">
                <a16:creationId xmlns:a16="http://schemas.microsoft.com/office/drawing/2014/main" id="{116AFC45-2F1E-4F67-B176-DE63C5C7200C}"/>
              </a:ext>
            </a:extLst>
          </p:cNvPr>
          <p:cNvCxnSpPr>
            <a:stCxn id="93" idx="4"/>
            <a:endCxn id="131" idx="0"/>
          </p:cNvCxnSpPr>
          <p:nvPr/>
        </p:nvCxnSpPr>
        <p:spPr bwMode="auto">
          <a:xfrm>
            <a:off x="5383584" y="4973146"/>
            <a:ext cx="356249" cy="47245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34" name="Connecteur droit 133">
            <a:extLst>
              <a:ext uri="{FF2B5EF4-FFF2-40B4-BE49-F238E27FC236}">
                <a16:creationId xmlns:a16="http://schemas.microsoft.com/office/drawing/2014/main" id="{9FF9B8CA-B09E-42B4-9727-B1C22C754A21}"/>
              </a:ext>
            </a:extLst>
          </p:cNvPr>
          <p:cNvCxnSpPr>
            <a:stCxn id="131" idx="4"/>
            <a:endCxn id="132" idx="0"/>
          </p:cNvCxnSpPr>
          <p:nvPr/>
        </p:nvCxnSpPr>
        <p:spPr bwMode="auto">
          <a:xfrm flipH="1">
            <a:off x="5362843" y="5526623"/>
            <a:ext cx="376990"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28" name="Connecteur droit 27">
            <a:extLst>
              <a:ext uri="{FF2B5EF4-FFF2-40B4-BE49-F238E27FC236}">
                <a16:creationId xmlns:a16="http://schemas.microsoft.com/office/drawing/2014/main" id="{51730EFF-FA4F-475D-8176-99E7242E0A28}"/>
              </a:ext>
            </a:extLst>
          </p:cNvPr>
          <p:cNvCxnSpPr/>
          <p:nvPr/>
        </p:nvCxnSpPr>
        <p:spPr bwMode="auto">
          <a:xfrm>
            <a:off x="6772665" y="1841783"/>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29" name="Connecteur droit 28">
            <a:extLst>
              <a:ext uri="{FF2B5EF4-FFF2-40B4-BE49-F238E27FC236}">
                <a16:creationId xmlns:a16="http://schemas.microsoft.com/office/drawing/2014/main" id="{86AF977D-1555-43B2-9FC6-F6EA53AA0A4C}"/>
              </a:ext>
            </a:extLst>
          </p:cNvPr>
          <p:cNvCxnSpPr/>
          <p:nvPr/>
        </p:nvCxnSpPr>
        <p:spPr bwMode="auto">
          <a:xfrm>
            <a:off x="6594418" y="1841783"/>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0" name="Connecteur droit 29">
            <a:extLst>
              <a:ext uri="{FF2B5EF4-FFF2-40B4-BE49-F238E27FC236}">
                <a16:creationId xmlns:a16="http://schemas.microsoft.com/office/drawing/2014/main" id="{B0474015-7EEC-4478-A569-6F030A7E99AC}"/>
              </a:ext>
            </a:extLst>
          </p:cNvPr>
          <p:cNvCxnSpPr/>
          <p:nvPr/>
        </p:nvCxnSpPr>
        <p:spPr bwMode="auto">
          <a:xfrm>
            <a:off x="6416171" y="1841783"/>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1" name="Connecteur droit 30">
            <a:extLst>
              <a:ext uri="{FF2B5EF4-FFF2-40B4-BE49-F238E27FC236}">
                <a16:creationId xmlns:a16="http://schemas.microsoft.com/office/drawing/2014/main" id="{EF4878FB-D18A-49F8-85B4-1BC5B379341F}"/>
              </a:ext>
            </a:extLst>
          </p:cNvPr>
          <p:cNvCxnSpPr/>
          <p:nvPr/>
        </p:nvCxnSpPr>
        <p:spPr bwMode="auto">
          <a:xfrm>
            <a:off x="6237924" y="1841783"/>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5" name="Connecteur droit 44">
            <a:extLst>
              <a:ext uri="{FF2B5EF4-FFF2-40B4-BE49-F238E27FC236}">
                <a16:creationId xmlns:a16="http://schemas.microsoft.com/office/drawing/2014/main" id="{40487E42-92DF-4B0B-8177-DD67E6ADC2FB}"/>
              </a:ext>
            </a:extLst>
          </p:cNvPr>
          <p:cNvCxnSpPr/>
          <p:nvPr/>
        </p:nvCxnSpPr>
        <p:spPr bwMode="auto">
          <a:xfrm>
            <a:off x="6934436" y="1869258"/>
            <a:ext cx="0" cy="4375309"/>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69" name="Ellipse 68">
            <a:extLst>
              <a:ext uri="{FF2B5EF4-FFF2-40B4-BE49-F238E27FC236}">
                <a16:creationId xmlns:a16="http://schemas.microsoft.com/office/drawing/2014/main" id="{F3A071CD-59E8-4A3A-90E8-CD9DD9245369}"/>
              </a:ext>
            </a:extLst>
          </p:cNvPr>
          <p:cNvSpPr>
            <a:spLocks noChangeAspect="1"/>
          </p:cNvSpPr>
          <p:nvPr/>
        </p:nvSpPr>
        <p:spPr bwMode="auto">
          <a:xfrm>
            <a:off x="6170205" y="1646004"/>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70" name="Ellipse 69">
            <a:extLst>
              <a:ext uri="{FF2B5EF4-FFF2-40B4-BE49-F238E27FC236}">
                <a16:creationId xmlns:a16="http://schemas.microsoft.com/office/drawing/2014/main" id="{9F09764F-54ED-497C-8BEC-DC7C2290ECB2}"/>
              </a:ext>
            </a:extLst>
          </p:cNvPr>
          <p:cNvSpPr>
            <a:spLocks noChangeAspect="1"/>
          </p:cNvSpPr>
          <p:nvPr/>
        </p:nvSpPr>
        <p:spPr bwMode="auto">
          <a:xfrm>
            <a:off x="6696234" y="1646004"/>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71" name="Ellipse 70">
            <a:extLst>
              <a:ext uri="{FF2B5EF4-FFF2-40B4-BE49-F238E27FC236}">
                <a16:creationId xmlns:a16="http://schemas.microsoft.com/office/drawing/2014/main" id="{A8D8E0A1-B787-40BC-BBDC-AC4CCD0B8D36}"/>
              </a:ext>
            </a:extLst>
          </p:cNvPr>
          <p:cNvSpPr>
            <a:spLocks noChangeAspect="1"/>
          </p:cNvSpPr>
          <p:nvPr/>
        </p:nvSpPr>
        <p:spPr bwMode="auto">
          <a:xfrm>
            <a:off x="6519637" y="1646004"/>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72" name="Ellipse 71">
            <a:extLst>
              <a:ext uri="{FF2B5EF4-FFF2-40B4-BE49-F238E27FC236}">
                <a16:creationId xmlns:a16="http://schemas.microsoft.com/office/drawing/2014/main" id="{3EFF76FF-63C4-4E96-9AB6-A27DCBFDA21C}"/>
              </a:ext>
            </a:extLst>
          </p:cNvPr>
          <p:cNvSpPr>
            <a:spLocks noChangeAspect="1"/>
          </p:cNvSpPr>
          <p:nvPr/>
        </p:nvSpPr>
        <p:spPr bwMode="auto">
          <a:xfrm>
            <a:off x="6343040" y="1646004"/>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sp>
        <p:nvSpPr>
          <p:cNvPr id="99" name="Ellipse 98">
            <a:extLst>
              <a:ext uri="{FF2B5EF4-FFF2-40B4-BE49-F238E27FC236}">
                <a16:creationId xmlns:a16="http://schemas.microsoft.com/office/drawing/2014/main" id="{CC579BC9-F06E-40D6-9089-2F29368CE407}"/>
              </a:ext>
            </a:extLst>
          </p:cNvPr>
          <p:cNvSpPr/>
          <p:nvPr/>
        </p:nvSpPr>
        <p:spPr bwMode="auto">
          <a:xfrm>
            <a:off x="6372638" y="2143855"/>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0" name="Ellipse 99">
            <a:extLst>
              <a:ext uri="{FF2B5EF4-FFF2-40B4-BE49-F238E27FC236}">
                <a16:creationId xmlns:a16="http://schemas.microsoft.com/office/drawing/2014/main" id="{6B4D98A6-2CC0-4102-B4C1-2574B8461952}"/>
              </a:ext>
            </a:extLst>
          </p:cNvPr>
          <p:cNvSpPr/>
          <p:nvPr/>
        </p:nvSpPr>
        <p:spPr bwMode="auto">
          <a:xfrm>
            <a:off x="6192352" y="3233131"/>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1" name="Ellipse 100">
            <a:extLst>
              <a:ext uri="{FF2B5EF4-FFF2-40B4-BE49-F238E27FC236}">
                <a16:creationId xmlns:a16="http://schemas.microsoft.com/office/drawing/2014/main" id="{47E216FA-5823-4510-A587-08E21D4E5387}"/>
              </a:ext>
            </a:extLst>
          </p:cNvPr>
          <p:cNvSpPr/>
          <p:nvPr/>
        </p:nvSpPr>
        <p:spPr bwMode="auto">
          <a:xfrm>
            <a:off x="6383543" y="3785167"/>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2" name="Ellipse 101">
            <a:extLst>
              <a:ext uri="{FF2B5EF4-FFF2-40B4-BE49-F238E27FC236}">
                <a16:creationId xmlns:a16="http://schemas.microsoft.com/office/drawing/2014/main" id="{241AE8A5-4A68-4CFD-A3B1-955BE47B53AF}"/>
              </a:ext>
            </a:extLst>
          </p:cNvPr>
          <p:cNvSpPr/>
          <p:nvPr/>
        </p:nvSpPr>
        <p:spPr bwMode="auto">
          <a:xfrm>
            <a:off x="6216392" y="4368621"/>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3" name="Ellipse 102">
            <a:extLst>
              <a:ext uri="{FF2B5EF4-FFF2-40B4-BE49-F238E27FC236}">
                <a16:creationId xmlns:a16="http://schemas.microsoft.com/office/drawing/2014/main" id="{6DC8F5F3-B2F0-480A-A6E3-9F4F3BDDDD0D}"/>
              </a:ext>
            </a:extLst>
          </p:cNvPr>
          <p:cNvSpPr/>
          <p:nvPr/>
        </p:nvSpPr>
        <p:spPr bwMode="auto">
          <a:xfrm>
            <a:off x="6577123" y="4892122"/>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4" name="Ellipse 103">
            <a:extLst>
              <a:ext uri="{FF2B5EF4-FFF2-40B4-BE49-F238E27FC236}">
                <a16:creationId xmlns:a16="http://schemas.microsoft.com/office/drawing/2014/main" id="{3CD4DABD-4152-4FA7-99EF-0C6D2470D395}"/>
              </a:ext>
            </a:extLst>
          </p:cNvPr>
          <p:cNvSpPr/>
          <p:nvPr/>
        </p:nvSpPr>
        <p:spPr bwMode="auto">
          <a:xfrm>
            <a:off x="6552918" y="2678211"/>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05" name="Connecteur droit 104">
            <a:extLst>
              <a:ext uri="{FF2B5EF4-FFF2-40B4-BE49-F238E27FC236}">
                <a16:creationId xmlns:a16="http://schemas.microsoft.com/office/drawing/2014/main" id="{FFC8476D-D83B-4DEF-AFCC-F198C016E69C}"/>
              </a:ext>
            </a:extLst>
          </p:cNvPr>
          <p:cNvCxnSpPr>
            <a:stCxn id="99" idx="4"/>
            <a:endCxn id="104" idx="0"/>
          </p:cNvCxnSpPr>
          <p:nvPr/>
        </p:nvCxnSpPr>
        <p:spPr bwMode="auto">
          <a:xfrm>
            <a:off x="6409358" y="2224879"/>
            <a:ext cx="180280" cy="453332"/>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6" name="Connecteur droit 105">
            <a:extLst>
              <a:ext uri="{FF2B5EF4-FFF2-40B4-BE49-F238E27FC236}">
                <a16:creationId xmlns:a16="http://schemas.microsoft.com/office/drawing/2014/main" id="{48BF003B-3E0F-4A40-BF5F-F644B9081EE4}"/>
              </a:ext>
            </a:extLst>
          </p:cNvPr>
          <p:cNvCxnSpPr>
            <a:cxnSpLocks/>
            <a:stCxn id="104" idx="4"/>
            <a:endCxn id="100" idx="0"/>
          </p:cNvCxnSpPr>
          <p:nvPr/>
        </p:nvCxnSpPr>
        <p:spPr bwMode="auto">
          <a:xfrm flipH="1">
            <a:off x="6229072" y="2759235"/>
            <a:ext cx="360566" cy="473896"/>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7" name="Connecteur droit 106">
            <a:extLst>
              <a:ext uri="{FF2B5EF4-FFF2-40B4-BE49-F238E27FC236}">
                <a16:creationId xmlns:a16="http://schemas.microsoft.com/office/drawing/2014/main" id="{31EB1051-EFD6-46BD-8CF1-203D1CCAE0EA}"/>
              </a:ext>
            </a:extLst>
          </p:cNvPr>
          <p:cNvCxnSpPr>
            <a:stCxn id="100" idx="4"/>
            <a:endCxn id="101" idx="0"/>
          </p:cNvCxnSpPr>
          <p:nvPr/>
        </p:nvCxnSpPr>
        <p:spPr bwMode="auto">
          <a:xfrm>
            <a:off x="6229072" y="3314155"/>
            <a:ext cx="191191" cy="471012"/>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8" name="Connecteur droit 107">
            <a:extLst>
              <a:ext uri="{FF2B5EF4-FFF2-40B4-BE49-F238E27FC236}">
                <a16:creationId xmlns:a16="http://schemas.microsoft.com/office/drawing/2014/main" id="{71B27ED9-299E-4001-8BED-3E5646AE31A8}"/>
              </a:ext>
            </a:extLst>
          </p:cNvPr>
          <p:cNvCxnSpPr>
            <a:stCxn id="101" idx="4"/>
            <a:endCxn id="102" idx="0"/>
          </p:cNvCxnSpPr>
          <p:nvPr/>
        </p:nvCxnSpPr>
        <p:spPr bwMode="auto">
          <a:xfrm flipH="1">
            <a:off x="6253112" y="3866191"/>
            <a:ext cx="167151" cy="502430"/>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9" name="Connecteur droit 108">
            <a:extLst>
              <a:ext uri="{FF2B5EF4-FFF2-40B4-BE49-F238E27FC236}">
                <a16:creationId xmlns:a16="http://schemas.microsoft.com/office/drawing/2014/main" id="{2576AEF3-3748-4311-B32F-5216DDDF606A}"/>
              </a:ext>
            </a:extLst>
          </p:cNvPr>
          <p:cNvCxnSpPr>
            <a:stCxn id="102" idx="4"/>
            <a:endCxn id="103" idx="0"/>
          </p:cNvCxnSpPr>
          <p:nvPr/>
        </p:nvCxnSpPr>
        <p:spPr bwMode="auto">
          <a:xfrm>
            <a:off x="6253112" y="4449645"/>
            <a:ext cx="360731" cy="442477"/>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35" name="Ellipse 134">
            <a:extLst>
              <a:ext uri="{FF2B5EF4-FFF2-40B4-BE49-F238E27FC236}">
                <a16:creationId xmlns:a16="http://schemas.microsoft.com/office/drawing/2014/main" id="{149A9BA5-47C4-462B-8A13-11C7FE9FAACC}"/>
              </a:ext>
            </a:extLst>
          </p:cNvPr>
          <p:cNvSpPr/>
          <p:nvPr/>
        </p:nvSpPr>
        <p:spPr bwMode="auto">
          <a:xfrm>
            <a:off x="6566551" y="5445599"/>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36" name="Ellipse 135">
            <a:extLst>
              <a:ext uri="{FF2B5EF4-FFF2-40B4-BE49-F238E27FC236}">
                <a16:creationId xmlns:a16="http://schemas.microsoft.com/office/drawing/2014/main" id="{0F89392A-7C98-4626-B2AC-3DC6CD6FB91E}"/>
              </a:ext>
            </a:extLst>
          </p:cNvPr>
          <p:cNvSpPr/>
          <p:nvPr/>
        </p:nvSpPr>
        <p:spPr bwMode="auto">
          <a:xfrm>
            <a:off x="6208226" y="5999077"/>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37" name="Connecteur droit 136">
            <a:extLst>
              <a:ext uri="{FF2B5EF4-FFF2-40B4-BE49-F238E27FC236}">
                <a16:creationId xmlns:a16="http://schemas.microsoft.com/office/drawing/2014/main" id="{CF4F308C-95B7-4A02-923F-FE3BAB41BBBE}"/>
              </a:ext>
            </a:extLst>
          </p:cNvPr>
          <p:cNvCxnSpPr>
            <a:cxnSpLocks/>
            <a:stCxn id="103" idx="4"/>
            <a:endCxn id="135" idx="0"/>
          </p:cNvCxnSpPr>
          <p:nvPr/>
        </p:nvCxnSpPr>
        <p:spPr bwMode="auto">
          <a:xfrm flipH="1">
            <a:off x="6603271" y="4973146"/>
            <a:ext cx="10572" cy="47245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38" name="Connecteur droit 137">
            <a:extLst>
              <a:ext uri="{FF2B5EF4-FFF2-40B4-BE49-F238E27FC236}">
                <a16:creationId xmlns:a16="http://schemas.microsoft.com/office/drawing/2014/main" id="{608E10A4-1877-4116-B5A4-2F6006401C52}"/>
              </a:ext>
            </a:extLst>
          </p:cNvPr>
          <p:cNvCxnSpPr>
            <a:stCxn id="135" idx="4"/>
            <a:endCxn id="136" idx="0"/>
          </p:cNvCxnSpPr>
          <p:nvPr/>
        </p:nvCxnSpPr>
        <p:spPr bwMode="auto">
          <a:xfrm flipH="1">
            <a:off x="6244946" y="5526623"/>
            <a:ext cx="358325"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77" name="Connecteur droit 76">
            <a:extLst>
              <a:ext uri="{FF2B5EF4-FFF2-40B4-BE49-F238E27FC236}">
                <a16:creationId xmlns:a16="http://schemas.microsoft.com/office/drawing/2014/main" id="{12FED54A-6591-4CA0-B4C3-12E4FD0A0F39}"/>
              </a:ext>
            </a:extLst>
          </p:cNvPr>
          <p:cNvCxnSpPr/>
          <p:nvPr/>
        </p:nvCxnSpPr>
        <p:spPr bwMode="auto">
          <a:xfrm>
            <a:off x="4967249" y="1805331"/>
            <a:ext cx="0" cy="4375309"/>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40" name="Connecteur droit 39">
            <a:extLst>
              <a:ext uri="{FF2B5EF4-FFF2-40B4-BE49-F238E27FC236}">
                <a16:creationId xmlns:a16="http://schemas.microsoft.com/office/drawing/2014/main" id="{F4D498A9-41C0-431B-A037-B2B65413E189}"/>
              </a:ext>
            </a:extLst>
          </p:cNvPr>
          <p:cNvCxnSpPr/>
          <p:nvPr/>
        </p:nvCxnSpPr>
        <p:spPr bwMode="auto">
          <a:xfrm>
            <a:off x="4820609" y="1777856"/>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1" name="Connecteur droit 40">
            <a:extLst>
              <a:ext uri="{FF2B5EF4-FFF2-40B4-BE49-F238E27FC236}">
                <a16:creationId xmlns:a16="http://schemas.microsoft.com/office/drawing/2014/main" id="{A7FC4EE2-2B59-4FA8-AB82-BDF8B8E0D9E0}"/>
              </a:ext>
            </a:extLst>
          </p:cNvPr>
          <p:cNvCxnSpPr/>
          <p:nvPr/>
        </p:nvCxnSpPr>
        <p:spPr bwMode="auto">
          <a:xfrm>
            <a:off x="4642362" y="1777856"/>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2" name="Connecteur droit 41">
            <a:extLst>
              <a:ext uri="{FF2B5EF4-FFF2-40B4-BE49-F238E27FC236}">
                <a16:creationId xmlns:a16="http://schemas.microsoft.com/office/drawing/2014/main" id="{9C58B9D8-8D9B-4D6A-8D53-7C4D91281B4B}"/>
              </a:ext>
            </a:extLst>
          </p:cNvPr>
          <p:cNvCxnSpPr/>
          <p:nvPr/>
        </p:nvCxnSpPr>
        <p:spPr bwMode="auto">
          <a:xfrm>
            <a:off x="4464115" y="1777856"/>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sp>
        <p:nvSpPr>
          <p:cNvPr id="46" name="Ellipse 45">
            <a:extLst>
              <a:ext uri="{FF2B5EF4-FFF2-40B4-BE49-F238E27FC236}">
                <a16:creationId xmlns:a16="http://schemas.microsoft.com/office/drawing/2014/main" id="{B935625D-FE85-42D1-9A3B-C3079E1F040B}"/>
              </a:ext>
            </a:extLst>
          </p:cNvPr>
          <p:cNvSpPr/>
          <p:nvPr/>
        </p:nvSpPr>
        <p:spPr bwMode="auto">
          <a:xfrm>
            <a:off x="4783772" y="2124734"/>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47" name="Ellipse 46">
            <a:extLst>
              <a:ext uri="{FF2B5EF4-FFF2-40B4-BE49-F238E27FC236}">
                <a16:creationId xmlns:a16="http://schemas.microsoft.com/office/drawing/2014/main" id="{0BD14BE5-BC74-4326-8F6E-25890BE862E5}"/>
              </a:ext>
            </a:extLst>
          </p:cNvPr>
          <p:cNvSpPr/>
          <p:nvPr/>
        </p:nvSpPr>
        <p:spPr bwMode="auto">
          <a:xfrm>
            <a:off x="4609272" y="3231689"/>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48" name="Ellipse 47">
            <a:extLst>
              <a:ext uri="{FF2B5EF4-FFF2-40B4-BE49-F238E27FC236}">
                <a16:creationId xmlns:a16="http://schemas.microsoft.com/office/drawing/2014/main" id="{86D88E4E-B283-44C6-93E1-26F421A2D467}"/>
              </a:ext>
            </a:extLst>
          </p:cNvPr>
          <p:cNvSpPr/>
          <p:nvPr/>
        </p:nvSpPr>
        <p:spPr bwMode="auto">
          <a:xfrm>
            <a:off x="4431422" y="3785167"/>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49" name="Ellipse 48">
            <a:extLst>
              <a:ext uri="{FF2B5EF4-FFF2-40B4-BE49-F238E27FC236}">
                <a16:creationId xmlns:a16="http://schemas.microsoft.com/office/drawing/2014/main" id="{F5706BF9-E8E1-4F63-8A38-CC3C35E51598}"/>
              </a:ext>
            </a:extLst>
          </p:cNvPr>
          <p:cNvSpPr/>
          <p:nvPr/>
        </p:nvSpPr>
        <p:spPr bwMode="auto">
          <a:xfrm>
            <a:off x="4608232" y="4338644"/>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50" name="Ellipse 49">
            <a:extLst>
              <a:ext uri="{FF2B5EF4-FFF2-40B4-BE49-F238E27FC236}">
                <a16:creationId xmlns:a16="http://schemas.microsoft.com/office/drawing/2014/main" id="{697685FE-79D8-461E-8E63-A407A35EA21A}"/>
              </a:ext>
            </a:extLst>
          </p:cNvPr>
          <p:cNvSpPr/>
          <p:nvPr/>
        </p:nvSpPr>
        <p:spPr bwMode="auto">
          <a:xfrm>
            <a:off x="4612707" y="4892122"/>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51" name="Ellipse 50">
            <a:extLst>
              <a:ext uri="{FF2B5EF4-FFF2-40B4-BE49-F238E27FC236}">
                <a16:creationId xmlns:a16="http://schemas.microsoft.com/office/drawing/2014/main" id="{30F74E7C-0861-4C02-8652-12705BF86CA0}"/>
              </a:ext>
            </a:extLst>
          </p:cNvPr>
          <p:cNvSpPr/>
          <p:nvPr/>
        </p:nvSpPr>
        <p:spPr bwMode="auto">
          <a:xfrm>
            <a:off x="4607688" y="2678211"/>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52" name="Connecteur droit 51">
            <a:extLst>
              <a:ext uri="{FF2B5EF4-FFF2-40B4-BE49-F238E27FC236}">
                <a16:creationId xmlns:a16="http://schemas.microsoft.com/office/drawing/2014/main" id="{9240864B-F682-4AED-B53F-48BDAEED0D62}"/>
              </a:ext>
            </a:extLst>
          </p:cNvPr>
          <p:cNvCxnSpPr>
            <a:stCxn id="46" idx="4"/>
            <a:endCxn id="51" idx="0"/>
          </p:cNvCxnSpPr>
          <p:nvPr/>
        </p:nvCxnSpPr>
        <p:spPr bwMode="auto">
          <a:xfrm flipH="1">
            <a:off x="4644408" y="2205758"/>
            <a:ext cx="176084" cy="472453"/>
          </a:xfrm>
          <a:prstGeom prst="line">
            <a:avLst/>
          </a:prstGeom>
          <a:solidFill>
            <a:srgbClr val="26ACDE"/>
          </a:solidFill>
          <a:ln w="9525" cap="flat" cmpd="sng" algn="ctr">
            <a:solidFill>
              <a:schemeClr val="bg1">
                <a:lumMod val="50000"/>
              </a:schemeClr>
            </a:solidFill>
            <a:prstDash val="solid"/>
            <a:round/>
            <a:headEnd type="none" w="med" len="med"/>
            <a:tailEnd type="none" w="med" len="med"/>
          </a:ln>
          <a:effectLst/>
        </p:spPr>
      </p:cxnSp>
      <p:cxnSp>
        <p:nvCxnSpPr>
          <p:cNvPr id="53" name="Connecteur droit 52">
            <a:extLst>
              <a:ext uri="{FF2B5EF4-FFF2-40B4-BE49-F238E27FC236}">
                <a16:creationId xmlns:a16="http://schemas.microsoft.com/office/drawing/2014/main" id="{0CF208CE-556D-469D-BB10-A219F77362B7}"/>
              </a:ext>
            </a:extLst>
          </p:cNvPr>
          <p:cNvCxnSpPr>
            <a:cxnSpLocks/>
            <a:stCxn id="51" idx="4"/>
            <a:endCxn id="47" idx="0"/>
          </p:cNvCxnSpPr>
          <p:nvPr/>
        </p:nvCxnSpPr>
        <p:spPr bwMode="auto">
          <a:xfrm>
            <a:off x="4644408" y="2759235"/>
            <a:ext cx="1584"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4" name="Connecteur droit 53">
            <a:extLst>
              <a:ext uri="{FF2B5EF4-FFF2-40B4-BE49-F238E27FC236}">
                <a16:creationId xmlns:a16="http://schemas.microsoft.com/office/drawing/2014/main" id="{91F63933-596B-459F-A508-C0C23B5C1001}"/>
              </a:ext>
            </a:extLst>
          </p:cNvPr>
          <p:cNvCxnSpPr>
            <a:stCxn id="47" idx="4"/>
            <a:endCxn id="48" idx="0"/>
          </p:cNvCxnSpPr>
          <p:nvPr/>
        </p:nvCxnSpPr>
        <p:spPr bwMode="auto">
          <a:xfrm flipH="1">
            <a:off x="4468142" y="3312713"/>
            <a:ext cx="177850"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5" name="Connecteur droit 54">
            <a:extLst>
              <a:ext uri="{FF2B5EF4-FFF2-40B4-BE49-F238E27FC236}">
                <a16:creationId xmlns:a16="http://schemas.microsoft.com/office/drawing/2014/main" id="{64DA5714-7199-4D6C-990A-E362EA37314F}"/>
              </a:ext>
            </a:extLst>
          </p:cNvPr>
          <p:cNvCxnSpPr>
            <a:stCxn id="48" idx="4"/>
            <a:endCxn id="49" idx="0"/>
          </p:cNvCxnSpPr>
          <p:nvPr/>
        </p:nvCxnSpPr>
        <p:spPr bwMode="auto">
          <a:xfrm>
            <a:off x="4468142" y="3866191"/>
            <a:ext cx="176810" cy="47245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6" name="Connecteur droit 55">
            <a:extLst>
              <a:ext uri="{FF2B5EF4-FFF2-40B4-BE49-F238E27FC236}">
                <a16:creationId xmlns:a16="http://schemas.microsoft.com/office/drawing/2014/main" id="{22FE5197-1988-4033-896E-652E5053564E}"/>
              </a:ext>
            </a:extLst>
          </p:cNvPr>
          <p:cNvCxnSpPr>
            <a:stCxn id="49" idx="4"/>
            <a:endCxn id="50" idx="0"/>
          </p:cNvCxnSpPr>
          <p:nvPr/>
        </p:nvCxnSpPr>
        <p:spPr bwMode="auto">
          <a:xfrm>
            <a:off x="4644952" y="4419668"/>
            <a:ext cx="4475"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58" name="Ellipse 57">
            <a:extLst>
              <a:ext uri="{FF2B5EF4-FFF2-40B4-BE49-F238E27FC236}">
                <a16:creationId xmlns:a16="http://schemas.microsoft.com/office/drawing/2014/main" id="{0189A3E4-C5DB-45FC-BF23-54B2740D1DA4}"/>
              </a:ext>
            </a:extLst>
          </p:cNvPr>
          <p:cNvSpPr>
            <a:spLocks noChangeAspect="1"/>
          </p:cNvSpPr>
          <p:nvPr/>
        </p:nvSpPr>
        <p:spPr bwMode="auto">
          <a:xfrm>
            <a:off x="4757609" y="1643172"/>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59" name="Ellipse 58">
            <a:extLst>
              <a:ext uri="{FF2B5EF4-FFF2-40B4-BE49-F238E27FC236}">
                <a16:creationId xmlns:a16="http://schemas.microsoft.com/office/drawing/2014/main" id="{A4C97B84-9DFC-49F4-A6DC-736D4376B2A0}"/>
              </a:ext>
            </a:extLst>
          </p:cNvPr>
          <p:cNvSpPr>
            <a:spLocks noChangeAspect="1"/>
          </p:cNvSpPr>
          <p:nvPr/>
        </p:nvSpPr>
        <p:spPr bwMode="auto">
          <a:xfrm>
            <a:off x="4581012" y="1643172"/>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60" name="Ellipse 59">
            <a:extLst>
              <a:ext uri="{FF2B5EF4-FFF2-40B4-BE49-F238E27FC236}">
                <a16:creationId xmlns:a16="http://schemas.microsoft.com/office/drawing/2014/main" id="{24675DD0-0FA3-446C-8DDD-F388B2AF9AFF}"/>
              </a:ext>
            </a:extLst>
          </p:cNvPr>
          <p:cNvSpPr>
            <a:spLocks noChangeAspect="1"/>
          </p:cNvSpPr>
          <p:nvPr/>
        </p:nvSpPr>
        <p:spPr bwMode="auto">
          <a:xfrm>
            <a:off x="4404415" y="1643172"/>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cxnSp>
        <p:nvCxnSpPr>
          <p:cNvPr id="121" name="Connecteur droit 120">
            <a:extLst>
              <a:ext uri="{FF2B5EF4-FFF2-40B4-BE49-F238E27FC236}">
                <a16:creationId xmlns:a16="http://schemas.microsoft.com/office/drawing/2014/main" id="{B7788CA3-11C9-464C-9EDD-C9ADB12CC863}"/>
              </a:ext>
            </a:extLst>
          </p:cNvPr>
          <p:cNvCxnSpPr/>
          <p:nvPr/>
        </p:nvCxnSpPr>
        <p:spPr bwMode="auto">
          <a:xfrm>
            <a:off x="4277919" y="1777856"/>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sp>
        <p:nvSpPr>
          <p:cNvPr id="122" name="Ellipse 121">
            <a:extLst>
              <a:ext uri="{FF2B5EF4-FFF2-40B4-BE49-F238E27FC236}">
                <a16:creationId xmlns:a16="http://schemas.microsoft.com/office/drawing/2014/main" id="{8BAA2B8F-E014-480E-9B73-426ED3CA135D}"/>
              </a:ext>
            </a:extLst>
          </p:cNvPr>
          <p:cNvSpPr>
            <a:spLocks noChangeAspect="1"/>
          </p:cNvSpPr>
          <p:nvPr/>
        </p:nvSpPr>
        <p:spPr bwMode="auto">
          <a:xfrm>
            <a:off x="4223631" y="1643172"/>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123" name="Ellipse 122">
            <a:extLst>
              <a:ext uri="{FF2B5EF4-FFF2-40B4-BE49-F238E27FC236}">
                <a16:creationId xmlns:a16="http://schemas.microsoft.com/office/drawing/2014/main" id="{F94A9885-848E-498F-BCBD-BDF0200BBA6D}"/>
              </a:ext>
            </a:extLst>
          </p:cNvPr>
          <p:cNvSpPr/>
          <p:nvPr/>
        </p:nvSpPr>
        <p:spPr bwMode="auto">
          <a:xfrm>
            <a:off x="4609883" y="5445599"/>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24" name="Ellipse 123">
            <a:extLst>
              <a:ext uri="{FF2B5EF4-FFF2-40B4-BE49-F238E27FC236}">
                <a16:creationId xmlns:a16="http://schemas.microsoft.com/office/drawing/2014/main" id="{50B91558-2667-4F37-AC69-A1E0F1BD0C95}"/>
              </a:ext>
            </a:extLst>
          </p:cNvPr>
          <p:cNvSpPr/>
          <p:nvPr/>
        </p:nvSpPr>
        <p:spPr bwMode="auto">
          <a:xfrm>
            <a:off x="4610423" y="5999077"/>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25" name="Connecteur droit 124">
            <a:extLst>
              <a:ext uri="{FF2B5EF4-FFF2-40B4-BE49-F238E27FC236}">
                <a16:creationId xmlns:a16="http://schemas.microsoft.com/office/drawing/2014/main" id="{2E720AB4-6676-48E5-9A9D-4B9EB5679CE9}"/>
              </a:ext>
            </a:extLst>
          </p:cNvPr>
          <p:cNvCxnSpPr>
            <a:stCxn id="50" idx="4"/>
            <a:endCxn id="123" idx="0"/>
          </p:cNvCxnSpPr>
          <p:nvPr/>
        </p:nvCxnSpPr>
        <p:spPr bwMode="auto">
          <a:xfrm flipH="1">
            <a:off x="4646603" y="4973146"/>
            <a:ext cx="2824" cy="47245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26" name="Connecteur droit 125">
            <a:extLst>
              <a:ext uri="{FF2B5EF4-FFF2-40B4-BE49-F238E27FC236}">
                <a16:creationId xmlns:a16="http://schemas.microsoft.com/office/drawing/2014/main" id="{7E85BDB2-276E-4564-AD5D-A028931FAE6A}"/>
              </a:ext>
            </a:extLst>
          </p:cNvPr>
          <p:cNvCxnSpPr>
            <a:stCxn id="123" idx="4"/>
            <a:endCxn id="124" idx="0"/>
          </p:cNvCxnSpPr>
          <p:nvPr/>
        </p:nvCxnSpPr>
        <p:spPr bwMode="auto">
          <a:xfrm>
            <a:off x="4646603" y="5526623"/>
            <a:ext cx="540"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0" name="TextBox 9">
            <a:extLst>
              <a:ext uri="{FF2B5EF4-FFF2-40B4-BE49-F238E27FC236}">
                <a16:creationId xmlns:a16="http://schemas.microsoft.com/office/drawing/2014/main" id="{4AEACDD4-5756-4928-A607-17B9232073B1}"/>
              </a:ext>
            </a:extLst>
          </p:cNvPr>
          <p:cNvSpPr txBox="1"/>
          <p:nvPr/>
        </p:nvSpPr>
        <p:spPr>
          <a:xfrm>
            <a:off x="6007114" y="1280101"/>
            <a:ext cx="939681" cy="246221"/>
          </a:xfrm>
          <a:prstGeom prst="rect">
            <a:avLst/>
          </a:prstGeom>
          <a:noFill/>
        </p:spPr>
        <p:txBody>
          <a:bodyPr wrap="none" rtlCol="0">
            <a:spAutoFit/>
          </a:bodyPr>
          <a:lstStyle/>
          <a:p>
            <a:r>
              <a:rPr lang="en-GB" sz="1000">
                <a:latin typeface="Trebuchet MS" panose="020B0603020202020204" pitchFamily="34" charset="0"/>
              </a:rPr>
              <a:t>Local players</a:t>
            </a:r>
          </a:p>
        </p:txBody>
      </p:sp>
      <p:grpSp>
        <p:nvGrpSpPr>
          <p:cNvPr id="9" name="Group 8">
            <a:extLst>
              <a:ext uri="{FF2B5EF4-FFF2-40B4-BE49-F238E27FC236}">
                <a16:creationId xmlns:a16="http://schemas.microsoft.com/office/drawing/2014/main" id="{4C4FEC59-5697-41E8-821F-11F301EA8615}"/>
              </a:ext>
            </a:extLst>
          </p:cNvPr>
          <p:cNvGrpSpPr/>
          <p:nvPr/>
        </p:nvGrpSpPr>
        <p:grpSpPr>
          <a:xfrm>
            <a:off x="7286149" y="1533699"/>
            <a:ext cx="2358112" cy="914676"/>
            <a:chOff x="7269094" y="2136883"/>
            <a:chExt cx="2358112" cy="914676"/>
          </a:xfrm>
        </p:grpSpPr>
        <p:sp>
          <p:nvSpPr>
            <p:cNvPr id="238" name="Rectangle 237">
              <a:extLst>
                <a:ext uri="{FF2B5EF4-FFF2-40B4-BE49-F238E27FC236}">
                  <a16:creationId xmlns:a16="http://schemas.microsoft.com/office/drawing/2014/main" id="{F800A041-6AC0-4987-9EEE-4A767AAC531C}"/>
                </a:ext>
              </a:extLst>
            </p:cNvPr>
            <p:cNvSpPr/>
            <p:nvPr/>
          </p:nvSpPr>
          <p:spPr bwMode="auto">
            <a:xfrm>
              <a:off x="7409518" y="2136883"/>
              <a:ext cx="2217688" cy="914676"/>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pPr>
                <a:spcBef>
                  <a:spcPts val="600"/>
                </a:spcBef>
              </a:pPr>
              <a:r>
                <a:rPr kumimoji="0" lang="en-GB" sz="1000" b="0" i="1" u="none" strike="noStrike" cap="none" normalizeH="0" baseline="0">
                  <a:ln>
                    <a:noFill/>
                  </a:ln>
                  <a:effectLst/>
                  <a:latin typeface="Trebuchet MS" pitchFamily="34" charset="0"/>
                </a:rPr>
                <a:t>“Altares has an </a:t>
              </a:r>
              <a:r>
                <a:rPr kumimoji="0" lang="en-GB" sz="1000" b="0" i="1" u="none" strike="noStrike" cap="none" normalizeH="0" baseline="0">
                  <a:ln>
                    <a:noFill/>
                  </a:ln>
                  <a:solidFill>
                    <a:schemeClr val="tx2"/>
                  </a:solidFill>
                  <a:effectLst/>
                  <a:latin typeface="Trebuchet MS" pitchFamily="34" charset="0"/>
                </a:rPr>
                <a:t>international network </a:t>
              </a:r>
              <a:r>
                <a:rPr kumimoji="0" lang="en-GB" sz="1000" b="0" i="1" u="none" strike="noStrike" cap="none" normalizeH="0" baseline="0">
                  <a:ln>
                    <a:noFill/>
                  </a:ln>
                  <a:effectLst/>
                  <a:latin typeface="Trebuchet MS" pitchFamily="34" charset="0"/>
                </a:rPr>
                <a:t>through </a:t>
              </a:r>
              <a:r>
                <a:rPr lang="en-GB" sz="1000" i="1">
                  <a:latin typeface="Trebuchet MS" pitchFamily="34" charset="0"/>
                </a:rPr>
                <a:t>its partnership, it gives them a </a:t>
              </a:r>
              <a:r>
                <a:rPr lang="en-GB" sz="1000" i="1">
                  <a:solidFill>
                    <a:schemeClr val="tx2"/>
                  </a:solidFill>
                  <a:latin typeface="Trebuchet MS" pitchFamily="34" charset="0"/>
                </a:rPr>
                <a:t>strong brand advantage</a:t>
              </a:r>
              <a:r>
                <a:rPr lang="en-GB" sz="1000" i="1">
                  <a:latin typeface="Trebuchet MS" pitchFamily="34" charset="0"/>
                </a:rPr>
                <a:t>”</a:t>
              </a:r>
            </a:p>
            <a:p>
              <a:pPr>
                <a:spcBef>
                  <a:spcPts val="600"/>
                </a:spcBef>
              </a:pPr>
              <a:r>
                <a:rPr lang="en-GB" sz="1000">
                  <a:latin typeface="Trebuchet MS" pitchFamily="34" charset="0"/>
                </a:rPr>
                <a:t>Former MD at </a:t>
              </a:r>
              <a:r>
                <a:rPr lang="en-GB" sz="1000" err="1">
                  <a:latin typeface="Trebuchet MS" pitchFamily="34" charset="0"/>
                </a:rPr>
                <a:t>Creditsafe</a:t>
              </a:r>
              <a:endParaRPr lang="en-GB" sz="1000">
                <a:latin typeface="Trebuchet MS" pitchFamily="34" charset="0"/>
              </a:endParaRPr>
            </a:p>
          </p:txBody>
        </p:sp>
        <p:sp>
          <p:nvSpPr>
            <p:cNvPr id="239" name="Freeform 663">
              <a:extLst>
                <a:ext uri="{FF2B5EF4-FFF2-40B4-BE49-F238E27FC236}">
                  <a16:creationId xmlns:a16="http://schemas.microsoft.com/office/drawing/2014/main" id="{E9609528-E28A-48C3-88F0-F30ED7654F09}"/>
                </a:ext>
              </a:extLst>
            </p:cNvPr>
            <p:cNvSpPr>
              <a:spLocks noChangeAspect="1" noEditPoints="1"/>
            </p:cNvSpPr>
            <p:nvPr/>
          </p:nvSpPr>
          <p:spPr bwMode="auto">
            <a:xfrm>
              <a:off x="7269094" y="2452476"/>
              <a:ext cx="309782" cy="28349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ts val="60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grpSp>
        <p:nvGrpSpPr>
          <p:cNvPr id="11" name="Group 10">
            <a:extLst>
              <a:ext uri="{FF2B5EF4-FFF2-40B4-BE49-F238E27FC236}">
                <a16:creationId xmlns:a16="http://schemas.microsoft.com/office/drawing/2014/main" id="{E56BAD97-5AB0-4A09-A240-8480E8BE6025}"/>
              </a:ext>
            </a:extLst>
          </p:cNvPr>
          <p:cNvGrpSpPr/>
          <p:nvPr/>
        </p:nvGrpSpPr>
        <p:grpSpPr>
          <a:xfrm>
            <a:off x="7281285" y="2649633"/>
            <a:ext cx="2358112" cy="950281"/>
            <a:chOff x="7269094" y="3556160"/>
            <a:chExt cx="2358112" cy="950281"/>
          </a:xfrm>
        </p:grpSpPr>
        <p:sp>
          <p:nvSpPr>
            <p:cNvPr id="176" name="Rectangle 175">
              <a:extLst>
                <a:ext uri="{FF2B5EF4-FFF2-40B4-BE49-F238E27FC236}">
                  <a16:creationId xmlns:a16="http://schemas.microsoft.com/office/drawing/2014/main" id="{00394D19-18FE-418A-83D8-20DEA9A75083}"/>
                </a:ext>
              </a:extLst>
            </p:cNvPr>
            <p:cNvSpPr/>
            <p:nvPr/>
          </p:nvSpPr>
          <p:spPr bwMode="auto">
            <a:xfrm>
              <a:off x="7409518" y="3556160"/>
              <a:ext cx="2217688" cy="950281"/>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pPr>
                <a:spcBef>
                  <a:spcPts val="600"/>
                </a:spcBef>
              </a:pPr>
              <a:r>
                <a:rPr kumimoji="0" lang="en-GB" sz="1000" b="0" i="1" u="none" strike="noStrike" cap="none" normalizeH="0" baseline="0">
                  <a:ln>
                    <a:noFill/>
                  </a:ln>
                  <a:effectLst/>
                  <a:latin typeface="Trebuchet MS" pitchFamily="34" charset="0"/>
                </a:rPr>
                <a:t>“Altares has </a:t>
              </a:r>
              <a:r>
                <a:rPr kumimoji="0" lang="en-GB" sz="1000" b="0" i="1" u="none" strike="noStrike" cap="none" normalizeH="0" baseline="0">
                  <a:ln>
                    <a:noFill/>
                  </a:ln>
                  <a:solidFill>
                    <a:schemeClr val="tx2"/>
                  </a:solidFill>
                  <a:effectLst/>
                  <a:latin typeface="Trebuchet MS" pitchFamily="34" charset="0"/>
                </a:rPr>
                <a:t>teams dedicated to integration</a:t>
              </a:r>
              <a:r>
                <a:rPr kumimoji="0" lang="en-GB" sz="1000" b="0" i="1" u="none" strike="noStrike" cap="none" normalizeH="0" baseline="0">
                  <a:ln>
                    <a:noFill/>
                  </a:ln>
                  <a:effectLst/>
                  <a:latin typeface="Trebuchet MS" pitchFamily="34" charset="0"/>
                </a:rPr>
                <a:t> of its tools in clients’ IT system that allow them to provide </a:t>
              </a:r>
              <a:r>
                <a:rPr kumimoji="0" lang="en-GB" sz="1000" b="0" i="1" u="none" strike="noStrike" cap="none" normalizeH="0" baseline="0">
                  <a:ln>
                    <a:noFill/>
                  </a:ln>
                  <a:solidFill>
                    <a:schemeClr val="tx2"/>
                  </a:solidFill>
                  <a:effectLst/>
                  <a:latin typeface="Trebuchet MS" pitchFamily="34" charset="0"/>
                </a:rPr>
                <a:t>tailor-made services</a:t>
              </a:r>
              <a:r>
                <a:rPr kumimoji="0" lang="en-GB" sz="1000" b="0" i="1" u="none" strike="noStrike" cap="none" normalizeH="0" baseline="0">
                  <a:ln>
                    <a:noFill/>
                  </a:ln>
                  <a:effectLst/>
                  <a:latin typeface="Trebuchet MS" pitchFamily="34" charset="0"/>
                </a:rPr>
                <a:t>”</a:t>
              </a:r>
              <a:endParaRPr lang="en-GB" sz="1000" i="1">
                <a:latin typeface="Trebuchet MS" pitchFamily="34" charset="0"/>
              </a:endParaRPr>
            </a:p>
            <a:p>
              <a:pPr>
                <a:spcBef>
                  <a:spcPts val="600"/>
                </a:spcBef>
              </a:pPr>
              <a:r>
                <a:rPr lang="en-GB" sz="1000">
                  <a:latin typeface="Trebuchet MS" pitchFamily="34" charset="0"/>
                </a:rPr>
                <a:t>Former sales at </a:t>
              </a:r>
              <a:r>
                <a:rPr lang="en-GB" sz="1000" err="1">
                  <a:latin typeface="Trebuchet MS" pitchFamily="34" charset="0"/>
                </a:rPr>
                <a:t>Ellisphère</a:t>
              </a:r>
              <a:endParaRPr lang="en-GB" sz="1000">
                <a:latin typeface="Trebuchet MS" pitchFamily="34" charset="0"/>
              </a:endParaRPr>
            </a:p>
          </p:txBody>
        </p:sp>
        <p:sp>
          <p:nvSpPr>
            <p:cNvPr id="177" name="Freeform 663">
              <a:extLst>
                <a:ext uri="{FF2B5EF4-FFF2-40B4-BE49-F238E27FC236}">
                  <a16:creationId xmlns:a16="http://schemas.microsoft.com/office/drawing/2014/main" id="{B995C5C0-E8E1-4D42-8468-BF4A2106B360}"/>
                </a:ext>
              </a:extLst>
            </p:cNvPr>
            <p:cNvSpPr>
              <a:spLocks noChangeAspect="1" noEditPoints="1"/>
            </p:cNvSpPr>
            <p:nvPr/>
          </p:nvSpPr>
          <p:spPr bwMode="auto">
            <a:xfrm>
              <a:off x="7269094" y="3889555"/>
              <a:ext cx="309782" cy="28349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ts val="60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grpSp>
        <p:nvGrpSpPr>
          <p:cNvPr id="149" name="Groupe 148">
            <a:extLst>
              <a:ext uri="{FF2B5EF4-FFF2-40B4-BE49-F238E27FC236}">
                <a16:creationId xmlns:a16="http://schemas.microsoft.com/office/drawing/2014/main" id="{A934C227-809E-45FD-8281-F499AC77E1CD}"/>
              </a:ext>
            </a:extLst>
          </p:cNvPr>
          <p:cNvGrpSpPr/>
          <p:nvPr/>
        </p:nvGrpSpPr>
        <p:grpSpPr>
          <a:xfrm>
            <a:off x="8384063" y="-11528"/>
            <a:ext cx="1499635" cy="588143"/>
            <a:chOff x="8384063" y="-11528"/>
            <a:chExt cx="1499635" cy="588143"/>
          </a:xfrm>
        </p:grpSpPr>
        <p:sp>
          <p:nvSpPr>
            <p:cNvPr id="150" name="Rectangle : coins arrondis 199">
              <a:extLst>
                <a:ext uri="{FF2B5EF4-FFF2-40B4-BE49-F238E27FC236}">
                  <a16:creationId xmlns:a16="http://schemas.microsoft.com/office/drawing/2014/main" id="{102B905A-837B-41DC-A808-ED64E9A93AA5}"/>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51" name="Rectangle : coins arrondis 200">
              <a:extLst>
                <a:ext uri="{FF2B5EF4-FFF2-40B4-BE49-F238E27FC236}">
                  <a16:creationId xmlns:a16="http://schemas.microsoft.com/office/drawing/2014/main" id="{8D190E54-F3A2-49EF-8A82-4BF752403E03}"/>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56" name="Rectangle : coins arrondis 201">
              <a:extLst>
                <a:ext uri="{FF2B5EF4-FFF2-40B4-BE49-F238E27FC236}">
                  <a16:creationId xmlns:a16="http://schemas.microsoft.com/office/drawing/2014/main" id="{15E63A5D-4FA6-4E4C-8AF6-35FCC3E2E7A5}"/>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64" name="ZoneTexte 18">
              <a:extLst>
                <a:ext uri="{FF2B5EF4-FFF2-40B4-BE49-F238E27FC236}">
                  <a16:creationId xmlns:a16="http://schemas.microsoft.com/office/drawing/2014/main" id="{ADBD6D03-D397-496D-8A6A-225C80221206}"/>
                </a:ext>
              </a:extLst>
            </p:cNvPr>
            <p:cNvSpPr txBox="1"/>
            <p:nvPr/>
          </p:nvSpPr>
          <p:spPr>
            <a:xfrm>
              <a:off x="8384063" y="-11528"/>
              <a:ext cx="1409923"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value proposition</a:t>
              </a:r>
            </a:p>
          </p:txBody>
        </p:sp>
        <p:pic>
          <p:nvPicPr>
            <p:cNvPr id="165" name="Graphique 128" descr="Jauge">
              <a:extLst>
                <a:ext uri="{FF2B5EF4-FFF2-40B4-BE49-F238E27FC236}">
                  <a16:creationId xmlns:a16="http://schemas.microsoft.com/office/drawing/2014/main" id="{32D67BD7-030F-4AE3-8BCE-A184AD4F74D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3764" y="187516"/>
              <a:ext cx="234953" cy="218224"/>
            </a:xfrm>
            <a:prstGeom prst="rect">
              <a:avLst/>
            </a:prstGeom>
            <a:effectLst/>
          </p:spPr>
        </p:pic>
        <p:pic>
          <p:nvPicPr>
            <p:cNvPr id="166" name="Graphique 90" descr="Poignée de main">
              <a:extLst>
                <a:ext uri="{FF2B5EF4-FFF2-40B4-BE49-F238E27FC236}">
                  <a16:creationId xmlns:a16="http://schemas.microsoft.com/office/drawing/2014/main" id="{D248255F-A1ED-4C96-88B3-14C948FFB9B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60868" y="152880"/>
              <a:ext cx="256313" cy="287496"/>
            </a:xfrm>
            <a:prstGeom prst="rect">
              <a:avLst/>
            </a:prstGeom>
            <a:effectLst/>
          </p:spPr>
        </p:pic>
        <p:pic>
          <p:nvPicPr>
            <p:cNvPr id="167" name="Graphique 74" descr="Mégaphone">
              <a:extLst>
                <a:ext uri="{FF2B5EF4-FFF2-40B4-BE49-F238E27FC236}">
                  <a16:creationId xmlns:a16="http://schemas.microsoft.com/office/drawing/2014/main" id="{740429A5-06D3-48A4-A41A-A58BA7BF523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89331" y="181519"/>
              <a:ext cx="233011" cy="216420"/>
            </a:xfrm>
            <a:prstGeom prst="rect">
              <a:avLst/>
            </a:prstGeom>
            <a:effectLst/>
          </p:spPr>
        </p:pic>
        <p:pic>
          <p:nvPicPr>
            <p:cNvPr id="168" name="Picture 2" descr="Drapeau France">
              <a:extLst>
                <a:ext uri="{FF2B5EF4-FFF2-40B4-BE49-F238E27FC236}">
                  <a16:creationId xmlns:a16="http://schemas.microsoft.com/office/drawing/2014/main" id="{DCA01231-833B-4D8B-AD7E-2ECA0BB69045}"/>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69" name="Picture 2" descr="5 ft x 3 ft 150 x 90 cm-DRAPEAU BELGE Belgique 100% Polyester ...">
              <a:extLst>
                <a:ext uri="{FF2B5EF4-FFF2-40B4-BE49-F238E27FC236}">
                  <a16:creationId xmlns:a16="http://schemas.microsoft.com/office/drawing/2014/main" id="{74E85D87-0002-44E3-8490-F4401B2F32C3}"/>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70" name="Picture 2 - 1" descr="Drapeau des Pays-Bas — Wikipédia">
              <a:extLst>
                <a:ext uri="{FF2B5EF4-FFF2-40B4-BE49-F238E27FC236}">
                  <a16:creationId xmlns:a16="http://schemas.microsoft.com/office/drawing/2014/main" id="{FDBB9200-0D6B-466A-BED9-1C4010D92E0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71" name="Picture 2 - 2" descr="Drapeau du Luxembourg">
              <a:extLst>
                <a:ext uri="{FF2B5EF4-FFF2-40B4-BE49-F238E27FC236}">
                  <a16:creationId xmlns:a16="http://schemas.microsoft.com/office/drawing/2014/main" id="{7C671E2F-9513-475E-8DAD-E63395D8CEF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72" name="ZoneTexte 18">
              <a:extLst>
                <a:ext uri="{FF2B5EF4-FFF2-40B4-BE49-F238E27FC236}">
                  <a16:creationId xmlns:a16="http://schemas.microsoft.com/office/drawing/2014/main" id="{B314F272-0D50-4AD7-A487-7D85627525B3}"/>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redit &amp; financial risk</a:t>
              </a:r>
            </a:p>
          </p:txBody>
        </p:sp>
      </p:grpSp>
      <p:cxnSp>
        <p:nvCxnSpPr>
          <p:cNvPr id="173" name="Connecteur droit 4">
            <a:extLst>
              <a:ext uri="{FF2B5EF4-FFF2-40B4-BE49-F238E27FC236}">
                <a16:creationId xmlns:a16="http://schemas.microsoft.com/office/drawing/2014/main" id="{D3B40A43-8BC2-4E52-928C-FBAEB1583657}"/>
              </a:ext>
            </a:extLst>
          </p:cNvPr>
          <p:cNvCxnSpPr>
            <a:cxnSpLocks/>
          </p:cNvCxnSpPr>
          <p:nvPr/>
        </p:nvCxnSpPr>
        <p:spPr bwMode="auto">
          <a:xfrm>
            <a:off x="109668" y="1066876"/>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74" name="ZoneTexte 6">
            <a:extLst>
              <a:ext uri="{FF2B5EF4-FFF2-40B4-BE49-F238E27FC236}">
                <a16:creationId xmlns:a16="http://schemas.microsoft.com/office/drawing/2014/main" id="{BD2EAC60-8BFC-416A-8F45-D269F1B6C5AF}"/>
              </a:ext>
            </a:extLst>
          </p:cNvPr>
          <p:cNvSpPr txBox="1"/>
          <p:nvPr/>
        </p:nvSpPr>
        <p:spPr>
          <a:xfrm>
            <a:off x="2339721" y="940968"/>
            <a:ext cx="5135826" cy="264371"/>
          </a:xfrm>
          <a:prstGeom prst="rect">
            <a:avLst/>
          </a:prstGeom>
          <a:solidFill>
            <a:schemeClr val="bg1"/>
          </a:solidFill>
        </p:spPr>
        <p:txBody>
          <a:bodyPr wrap="square" rtlCol="0">
            <a:noAutofit/>
          </a:bodyPr>
          <a:lstStyle/>
          <a:p>
            <a:pPr algn="ctr"/>
            <a:r>
              <a:rPr lang="en-GB" sz="1100">
                <a:latin typeface="Trebuchet MS" panose="020B0603020202020204" pitchFamily="34" charset="0"/>
              </a:rPr>
              <a:t>Detailed comparison of </a:t>
            </a:r>
            <a:r>
              <a:rPr lang="en-GB" sz="1100" err="1">
                <a:latin typeface="Trebuchet MS" panose="020B0603020202020204" pitchFamily="34" charset="0"/>
              </a:rPr>
              <a:t>Altares</a:t>
            </a:r>
            <a:r>
              <a:rPr lang="en-GB" sz="1100">
                <a:latin typeface="Trebuchet MS" panose="020B0603020202020204" pitchFamily="34" charset="0"/>
              </a:rPr>
              <a:t> with key competitors on Credit risk</a:t>
            </a:r>
          </a:p>
        </p:txBody>
      </p:sp>
      <p:grpSp>
        <p:nvGrpSpPr>
          <p:cNvPr id="178" name="Group 4">
            <a:extLst>
              <a:ext uri="{FF2B5EF4-FFF2-40B4-BE49-F238E27FC236}">
                <a16:creationId xmlns:a16="http://schemas.microsoft.com/office/drawing/2014/main" id="{DB454C2F-E41A-4016-90CA-C428D9442C08}"/>
              </a:ext>
            </a:extLst>
          </p:cNvPr>
          <p:cNvGrpSpPr>
            <a:grpSpLocks noChangeAspect="1"/>
          </p:cNvGrpSpPr>
          <p:nvPr/>
        </p:nvGrpSpPr>
        <p:grpSpPr bwMode="auto">
          <a:xfrm>
            <a:off x="2472665" y="971763"/>
            <a:ext cx="191588" cy="171473"/>
            <a:chOff x="960" y="846"/>
            <a:chExt cx="381" cy="341"/>
          </a:xfrm>
          <a:solidFill>
            <a:schemeClr val="tx1"/>
          </a:solidFill>
        </p:grpSpPr>
        <p:sp>
          <p:nvSpPr>
            <p:cNvPr id="179" name="Freeform 5">
              <a:extLst>
                <a:ext uri="{FF2B5EF4-FFF2-40B4-BE49-F238E27FC236}">
                  <a16:creationId xmlns:a16="http://schemas.microsoft.com/office/drawing/2014/main" id="{961F9B61-F745-49BC-9572-8C9ABB837C4A}"/>
                </a:ext>
              </a:extLst>
            </p:cNvPr>
            <p:cNvSpPr>
              <a:spLocks noEditPoints="1"/>
            </p:cNvSpPr>
            <p:nvPr/>
          </p:nvSpPr>
          <p:spPr bwMode="auto">
            <a:xfrm>
              <a:off x="1071" y="846"/>
              <a:ext cx="159" cy="172"/>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0" name="Freeform 6">
              <a:extLst>
                <a:ext uri="{FF2B5EF4-FFF2-40B4-BE49-F238E27FC236}">
                  <a16:creationId xmlns:a16="http://schemas.microsoft.com/office/drawing/2014/main" id="{3BC78FD7-9F90-4CD3-84A7-E4FBD0829156}"/>
                </a:ext>
              </a:extLst>
            </p:cNvPr>
            <p:cNvSpPr>
              <a:spLocks noEditPoints="1"/>
            </p:cNvSpPr>
            <p:nvPr/>
          </p:nvSpPr>
          <p:spPr bwMode="auto">
            <a:xfrm>
              <a:off x="960" y="1038"/>
              <a:ext cx="116" cy="149"/>
            </a:xfrm>
            <a:custGeom>
              <a:avLst/>
              <a:gdLst>
                <a:gd name="T0" fmla="*/ 11 w 45"/>
                <a:gd name="T1" fmla="*/ 29 h 58"/>
                <a:gd name="T2" fmla="*/ 30 w 45"/>
                <a:gd name="T3" fmla="*/ 29 h 58"/>
                <a:gd name="T4" fmla="*/ 30 w 45"/>
                <a:gd name="T5" fmla="*/ 25 h 58"/>
                <a:gd name="T6" fmla="*/ 11 w 45"/>
                <a:gd name="T7" fmla="*/ 25 h 58"/>
                <a:gd name="T8" fmla="*/ 11 w 45"/>
                <a:gd name="T9" fmla="*/ 29 h 58"/>
                <a:gd name="T10" fmla="*/ 11 w 45"/>
                <a:gd name="T11" fmla="*/ 45 h 58"/>
                <a:gd name="T12" fmla="*/ 34 w 45"/>
                <a:gd name="T13" fmla="*/ 45 h 58"/>
                <a:gd name="T14" fmla="*/ 34 w 45"/>
                <a:gd name="T15" fmla="*/ 41 h 58"/>
                <a:gd name="T16" fmla="*/ 11 w 45"/>
                <a:gd name="T17" fmla="*/ 41 h 58"/>
                <a:gd name="T18" fmla="*/ 11 w 45"/>
                <a:gd name="T19" fmla="*/ 45 h 58"/>
                <a:gd name="T20" fmla="*/ 11 w 45"/>
                <a:gd name="T21" fmla="*/ 37 h 58"/>
                <a:gd name="T22" fmla="*/ 23 w 45"/>
                <a:gd name="T23" fmla="*/ 37 h 58"/>
                <a:gd name="T24" fmla="*/ 23 w 45"/>
                <a:gd name="T25" fmla="*/ 33 h 58"/>
                <a:gd name="T26" fmla="*/ 11 w 45"/>
                <a:gd name="T27" fmla="*/ 33 h 58"/>
                <a:gd name="T28" fmla="*/ 11 w 45"/>
                <a:gd name="T29" fmla="*/ 37 h 58"/>
                <a:gd name="T30" fmla="*/ 0 w 45"/>
                <a:gd name="T31" fmla="*/ 15 h 58"/>
                <a:gd name="T32" fmla="*/ 0 w 45"/>
                <a:gd name="T33" fmla="*/ 54 h 58"/>
                <a:gd name="T34" fmla="*/ 4 w 45"/>
                <a:gd name="T35" fmla="*/ 58 h 58"/>
                <a:gd name="T36" fmla="*/ 41 w 45"/>
                <a:gd name="T37" fmla="*/ 58 h 58"/>
                <a:gd name="T38" fmla="*/ 45 w 45"/>
                <a:gd name="T39" fmla="*/ 54 h 58"/>
                <a:gd name="T40" fmla="*/ 45 w 45"/>
                <a:gd name="T41" fmla="*/ 4 h 58"/>
                <a:gd name="T42" fmla="*/ 41 w 45"/>
                <a:gd name="T43" fmla="*/ 0 h 58"/>
                <a:gd name="T44" fmla="*/ 15 w 45"/>
                <a:gd name="T45" fmla="*/ 0 h 58"/>
                <a:gd name="T46" fmla="*/ 0 w 45"/>
                <a:gd name="T47" fmla="*/ 15 h 58"/>
                <a:gd name="T48" fmla="*/ 17 w 45"/>
                <a:gd name="T49" fmla="*/ 6 h 58"/>
                <a:gd name="T50" fmla="*/ 38 w 45"/>
                <a:gd name="T51" fmla="*/ 6 h 58"/>
                <a:gd name="T52" fmla="*/ 39 w 45"/>
                <a:gd name="T53" fmla="*/ 8 h 58"/>
                <a:gd name="T54" fmla="*/ 39 w 45"/>
                <a:gd name="T55" fmla="*/ 51 h 58"/>
                <a:gd name="T56" fmla="*/ 38 w 45"/>
                <a:gd name="T57" fmla="*/ 52 h 58"/>
                <a:gd name="T58" fmla="*/ 8 w 45"/>
                <a:gd name="T59" fmla="*/ 52 h 58"/>
                <a:gd name="T60" fmla="*/ 6 w 45"/>
                <a:gd name="T61" fmla="*/ 51 h 58"/>
                <a:gd name="T62" fmla="*/ 6 w 45"/>
                <a:gd name="T63" fmla="*/ 17 h 58"/>
                <a:gd name="T64" fmla="*/ 17 w 45"/>
                <a:gd name="T65" fmla="*/ 17 h 58"/>
                <a:gd name="T66" fmla="*/ 17 w 45"/>
                <a:gd name="T6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58">
                  <a:moveTo>
                    <a:pt x="11" y="29"/>
                  </a:moveTo>
                  <a:cubicBezTo>
                    <a:pt x="30" y="29"/>
                    <a:pt x="30" y="29"/>
                    <a:pt x="30" y="29"/>
                  </a:cubicBezTo>
                  <a:cubicBezTo>
                    <a:pt x="30" y="25"/>
                    <a:pt x="30" y="25"/>
                    <a:pt x="30" y="25"/>
                  </a:cubicBezTo>
                  <a:cubicBezTo>
                    <a:pt x="11" y="25"/>
                    <a:pt x="11" y="25"/>
                    <a:pt x="11" y="25"/>
                  </a:cubicBezTo>
                  <a:lnTo>
                    <a:pt x="11" y="29"/>
                  </a:lnTo>
                  <a:close/>
                  <a:moveTo>
                    <a:pt x="11" y="45"/>
                  </a:moveTo>
                  <a:cubicBezTo>
                    <a:pt x="34" y="45"/>
                    <a:pt x="34" y="45"/>
                    <a:pt x="34" y="45"/>
                  </a:cubicBezTo>
                  <a:cubicBezTo>
                    <a:pt x="34" y="41"/>
                    <a:pt x="34" y="41"/>
                    <a:pt x="34" y="41"/>
                  </a:cubicBezTo>
                  <a:cubicBezTo>
                    <a:pt x="11" y="41"/>
                    <a:pt x="11" y="41"/>
                    <a:pt x="11" y="41"/>
                  </a:cubicBezTo>
                  <a:lnTo>
                    <a:pt x="11" y="45"/>
                  </a:lnTo>
                  <a:close/>
                  <a:moveTo>
                    <a:pt x="11" y="37"/>
                  </a:moveTo>
                  <a:cubicBezTo>
                    <a:pt x="23" y="37"/>
                    <a:pt x="23" y="37"/>
                    <a:pt x="23" y="37"/>
                  </a:cubicBezTo>
                  <a:cubicBezTo>
                    <a:pt x="23" y="33"/>
                    <a:pt x="23" y="33"/>
                    <a:pt x="23" y="33"/>
                  </a:cubicBezTo>
                  <a:cubicBezTo>
                    <a:pt x="11" y="33"/>
                    <a:pt x="11" y="33"/>
                    <a:pt x="11" y="33"/>
                  </a:cubicBezTo>
                  <a:lnTo>
                    <a:pt x="11" y="37"/>
                  </a:lnTo>
                  <a:close/>
                  <a:moveTo>
                    <a:pt x="0" y="15"/>
                  </a:moveTo>
                  <a:cubicBezTo>
                    <a:pt x="0" y="54"/>
                    <a:pt x="0" y="54"/>
                    <a:pt x="0" y="54"/>
                  </a:cubicBezTo>
                  <a:cubicBezTo>
                    <a:pt x="0" y="57"/>
                    <a:pt x="2" y="58"/>
                    <a:pt x="4" y="58"/>
                  </a:cubicBezTo>
                  <a:cubicBezTo>
                    <a:pt x="41" y="58"/>
                    <a:pt x="41" y="58"/>
                    <a:pt x="41" y="58"/>
                  </a:cubicBezTo>
                  <a:cubicBezTo>
                    <a:pt x="43" y="58"/>
                    <a:pt x="45" y="57"/>
                    <a:pt x="45" y="54"/>
                  </a:cubicBezTo>
                  <a:cubicBezTo>
                    <a:pt x="45" y="4"/>
                    <a:pt x="45" y="4"/>
                    <a:pt x="45" y="4"/>
                  </a:cubicBezTo>
                  <a:cubicBezTo>
                    <a:pt x="45" y="2"/>
                    <a:pt x="43" y="0"/>
                    <a:pt x="41" y="0"/>
                  </a:cubicBezTo>
                  <a:cubicBezTo>
                    <a:pt x="15" y="0"/>
                    <a:pt x="15" y="0"/>
                    <a:pt x="15" y="0"/>
                  </a:cubicBezTo>
                  <a:lnTo>
                    <a:pt x="0" y="15"/>
                  </a:lnTo>
                  <a:close/>
                  <a:moveTo>
                    <a:pt x="17" y="6"/>
                  </a:moveTo>
                  <a:cubicBezTo>
                    <a:pt x="38" y="6"/>
                    <a:pt x="38" y="6"/>
                    <a:pt x="38" y="6"/>
                  </a:cubicBezTo>
                  <a:cubicBezTo>
                    <a:pt x="39" y="6"/>
                    <a:pt x="39" y="7"/>
                    <a:pt x="39" y="8"/>
                  </a:cubicBezTo>
                  <a:cubicBezTo>
                    <a:pt x="39" y="51"/>
                    <a:pt x="39" y="51"/>
                    <a:pt x="39" y="51"/>
                  </a:cubicBezTo>
                  <a:cubicBezTo>
                    <a:pt x="39" y="52"/>
                    <a:pt x="39" y="52"/>
                    <a:pt x="38" y="52"/>
                  </a:cubicBezTo>
                  <a:cubicBezTo>
                    <a:pt x="8" y="52"/>
                    <a:pt x="8" y="52"/>
                    <a:pt x="8" y="52"/>
                  </a:cubicBezTo>
                  <a:cubicBezTo>
                    <a:pt x="7" y="52"/>
                    <a:pt x="6" y="52"/>
                    <a:pt x="6" y="51"/>
                  </a:cubicBezTo>
                  <a:cubicBezTo>
                    <a:pt x="6" y="17"/>
                    <a:pt x="6" y="17"/>
                    <a:pt x="6" y="17"/>
                  </a:cubicBezTo>
                  <a:cubicBezTo>
                    <a:pt x="17" y="17"/>
                    <a:pt x="17" y="17"/>
                    <a:pt x="17" y="17"/>
                  </a:cubicBezTo>
                  <a:lnTo>
                    <a:pt x="1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1" name="Freeform 7">
              <a:extLst>
                <a:ext uri="{FF2B5EF4-FFF2-40B4-BE49-F238E27FC236}">
                  <a16:creationId xmlns:a16="http://schemas.microsoft.com/office/drawing/2014/main" id="{483D9E79-8FD4-4FD3-8460-835189ECC7EA}"/>
                </a:ext>
              </a:extLst>
            </p:cNvPr>
            <p:cNvSpPr>
              <a:spLocks noEditPoints="1"/>
            </p:cNvSpPr>
            <p:nvPr/>
          </p:nvSpPr>
          <p:spPr bwMode="auto">
            <a:xfrm>
              <a:off x="1094" y="1038"/>
              <a:ext cx="113" cy="149"/>
            </a:xfrm>
            <a:custGeom>
              <a:avLst/>
              <a:gdLst>
                <a:gd name="T0" fmla="*/ 11 w 44"/>
                <a:gd name="T1" fmla="*/ 29 h 58"/>
                <a:gd name="T2" fmla="*/ 29 w 44"/>
                <a:gd name="T3" fmla="*/ 29 h 58"/>
                <a:gd name="T4" fmla="*/ 29 w 44"/>
                <a:gd name="T5" fmla="*/ 25 h 58"/>
                <a:gd name="T6" fmla="*/ 11 w 44"/>
                <a:gd name="T7" fmla="*/ 25 h 58"/>
                <a:gd name="T8" fmla="*/ 11 w 44"/>
                <a:gd name="T9" fmla="*/ 29 h 58"/>
                <a:gd name="T10" fmla="*/ 11 w 44"/>
                <a:gd name="T11" fmla="*/ 45 h 58"/>
                <a:gd name="T12" fmla="*/ 33 w 44"/>
                <a:gd name="T13" fmla="*/ 45 h 58"/>
                <a:gd name="T14" fmla="*/ 33 w 44"/>
                <a:gd name="T15" fmla="*/ 41 h 58"/>
                <a:gd name="T16" fmla="*/ 11 w 44"/>
                <a:gd name="T17" fmla="*/ 41 h 58"/>
                <a:gd name="T18" fmla="*/ 11 w 44"/>
                <a:gd name="T19" fmla="*/ 45 h 58"/>
                <a:gd name="T20" fmla="*/ 11 w 44"/>
                <a:gd name="T21" fmla="*/ 37 h 58"/>
                <a:gd name="T22" fmla="*/ 22 w 44"/>
                <a:gd name="T23" fmla="*/ 37 h 58"/>
                <a:gd name="T24" fmla="*/ 22 w 44"/>
                <a:gd name="T25" fmla="*/ 33 h 58"/>
                <a:gd name="T26" fmla="*/ 11 w 44"/>
                <a:gd name="T27" fmla="*/ 33 h 58"/>
                <a:gd name="T28" fmla="*/ 11 w 44"/>
                <a:gd name="T29" fmla="*/ 37 h 58"/>
                <a:gd name="T30" fmla="*/ 0 w 44"/>
                <a:gd name="T31" fmla="*/ 15 h 58"/>
                <a:gd name="T32" fmla="*/ 0 w 44"/>
                <a:gd name="T33" fmla="*/ 54 h 58"/>
                <a:gd name="T34" fmla="*/ 3 w 44"/>
                <a:gd name="T35" fmla="*/ 58 h 58"/>
                <a:gd name="T36" fmla="*/ 41 w 44"/>
                <a:gd name="T37" fmla="*/ 58 h 58"/>
                <a:gd name="T38" fmla="*/ 44 w 44"/>
                <a:gd name="T39" fmla="*/ 54 h 58"/>
                <a:gd name="T40" fmla="*/ 44 w 44"/>
                <a:gd name="T41" fmla="*/ 4 h 58"/>
                <a:gd name="T42" fmla="*/ 41 w 44"/>
                <a:gd name="T43" fmla="*/ 0 h 58"/>
                <a:gd name="T44" fmla="*/ 15 w 44"/>
                <a:gd name="T45" fmla="*/ 0 h 58"/>
                <a:gd name="T46" fmla="*/ 0 w 44"/>
                <a:gd name="T47" fmla="*/ 15 h 58"/>
                <a:gd name="T48" fmla="*/ 16 w 44"/>
                <a:gd name="T49" fmla="*/ 6 h 58"/>
                <a:gd name="T50" fmla="*/ 37 w 44"/>
                <a:gd name="T51" fmla="*/ 6 h 58"/>
                <a:gd name="T52" fmla="*/ 39 w 44"/>
                <a:gd name="T53" fmla="*/ 8 h 58"/>
                <a:gd name="T54" fmla="*/ 39 w 44"/>
                <a:gd name="T55" fmla="*/ 51 h 58"/>
                <a:gd name="T56" fmla="*/ 37 w 44"/>
                <a:gd name="T57" fmla="*/ 52 h 58"/>
                <a:gd name="T58" fmla="*/ 7 w 44"/>
                <a:gd name="T59" fmla="*/ 52 h 58"/>
                <a:gd name="T60" fmla="*/ 5 w 44"/>
                <a:gd name="T61" fmla="*/ 51 h 58"/>
                <a:gd name="T62" fmla="*/ 5 w 44"/>
                <a:gd name="T63" fmla="*/ 17 h 58"/>
                <a:gd name="T64" fmla="*/ 16 w 44"/>
                <a:gd name="T65" fmla="*/ 17 h 58"/>
                <a:gd name="T66" fmla="*/ 16 w 44"/>
                <a:gd name="T6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 h="58">
                  <a:moveTo>
                    <a:pt x="11" y="29"/>
                  </a:moveTo>
                  <a:cubicBezTo>
                    <a:pt x="29" y="29"/>
                    <a:pt x="29" y="29"/>
                    <a:pt x="29" y="29"/>
                  </a:cubicBezTo>
                  <a:cubicBezTo>
                    <a:pt x="29" y="25"/>
                    <a:pt x="29" y="25"/>
                    <a:pt x="29" y="25"/>
                  </a:cubicBezTo>
                  <a:cubicBezTo>
                    <a:pt x="11" y="25"/>
                    <a:pt x="11" y="25"/>
                    <a:pt x="11" y="25"/>
                  </a:cubicBezTo>
                  <a:lnTo>
                    <a:pt x="11" y="29"/>
                  </a:lnTo>
                  <a:close/>
                  <a:moveTo>
                    <a:pt x="11" y="45"/>
                  </a:moveTo>
                  <a:cubicBezTo>
                    <a:pt x="33" y="45"/>
                    <a:pt x="33" y="45"/>
                    <a:pt x="33" y="45"/>
                  </a:cubicBezTo>
                  <a:cubicBezTo>
                    <a:pt x="33" y="41"/>
                    <a:pt x="33" y="41"/>
                    <a:pt x="33" y="41"/>
                  </a:cubicBezTo>
                  <a:cubicBezTo>
                    <a:pt x="11" y="41"/>
                    <a:pt x="11" y="41"/>
                    <a:pt x="11" y="41"/>
                  </a:cubicBezTo>
                  <a:lnTo>
                    <a:pt x="11" y="45"/>
                  </a:lnTo>
                  <a:close/>
                  <a:moveTo>
                    <a:pt x="11" y="37"/>
                  </a:moveTo>
                  <a:cubicBezTo>
                    <a:pt x="22" y="37"/>
                    <a:pt x="22" y="37"/>
                    <a:pt x="22" y="37"/>
                  </a:cubicBezTo>
                  <a:cubicBezTo>
                    <a:pt x="22" y="33"/>
                    <a:pt x="22" y="33"/>
                    <a:pt x="22" y="33"/>
                  </a:cubicBezTo>
                  <a:cubicBezTo>
                    <a:pt x="11" y="33"/>
                    <a:pt x="11" y="33"/>
                    <a:pt x="11" y="33"/>
                  </a:cubicBezTo>
                  <a:lnTo>
                    <a:pt x="11" y="37"/>
                  </a:lnTo>
                  <a:close/>
                  <a:moveTo>
                    <a:pt x="0" y="15"/>
                  </a:moveTo>
                  <a:cubicBezTo>
                    <a:pt x="0" y="54"/>
                    <a:pt x="0" y="54"/>
                    <a:pt x="0" y="54"/>
                  </a:cubicBezTo>
                  <a:cubicBezTo>
                    <a:pt x="0" y="57"/>
                    <a:pt x="1" y="58"/>
                    <a:pt x="3" y="58"/>
                  </a:cubicBezTo>
                  <a:cubicBezTo>
                    <a:pt x="41" y="58"/>
                    <a:pt x="41" y="58"/>
                    <a:pt x="41" y="58"/>
                  </a:cubicBezTo>
                  <a:cubicBezTo>
                    <a:pt x="43" y="58"/>
                    <a:pt x="44" y="57"/>
                    <a:pt x="44" y="54"/>
                  </a:cubicBezTo>
                  <a:cubicBezTo>
                    <a:pt x="44" y="4"/>
                    <a:pt x="44" y="4"/>
                    <a:pt x="44" y="4"/>
                  </a:cubicBezTo>
                  <a:cubicBezTo>
                    <a:pt x="44" y="2"/>
                    <a:pt x="43" y="0"/>
                    <a:pt x="41" y="0"/>
                  </a:cubicBezTo>
                  <a:cubicBezTo>
                    <a:pt x="15" y="0"/>
                    <a:pt x="15" y="0"/>
                    <a:pt x="15" y="0"/>
                  </a:cubicBezTo>
                  <a:lnTo>
                    <a:pt x="0" y="15"/>
                  </a:lnTo>
                  <a:close/>
                  <a:moveTo>
                    <a:pt x="16" y="6"/>
                  </a:moveTo>
                  <a:cubicBezTo>
                    <a:pt x="37" y="6"/>
                    <a:pt x="37" y="6"/>
                    <a:pt x="37" y="6"/>
                  </a:cubicBezTo>
                  <a:cubicBezTo>
                    <a:pt x="38" y="6"/>
                    <a:pt x="39" y="7"/>
                    <a:pt x="39" y="8"/>
                  </a:cubicBezTo>
                  <a:cubicBezTo>
                    <a:pt x="39" y="51"/>
                    <a:pt x="39" y="51"/>
                    <a:pt x="39" y="51"/>
                  </a:cubicBezTo>
                  <a:cubicBezTo>
                    <a:pt x="39" y="52"/>
                    <a:pt x="38" y="52"/>
                    <a:pt x="37" y="52"/>
                  </a:cubicBezTo>
                  <a:cubicBezTo>
                    <a:pt x="7" y="52"/>
                    <a:pt x="7" y="52"/>
                    <a:pt x="7" y="52"/>
                  </a:cubicBezTo>
                  <a:cubicBezTo>
                    <a:pt x="6" y="52"/>
                    <a:pt x="5" y="52"/>
                    <a:pt x="5" y="51"/>
                  </a:cubicBezTo>
                  <a:cubicBezTo>
                    <a:pt x="5" y="17"/>
                    <a:pt x="5" y="17"/>
                    <a:pt x="5" y="17"/>
                  </a:cubicBezTo>
                  <a:cubicBezTo>
                    <a:pt x="16" y="17"/>
                    <a:pt x="16" y="17"/>
                    <a:pt x="16" y="17"/>
                  </a:cubicBezTo>
                  <a:lnTo>
                    <a:pt x="1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2" name="Freeform 8">
              <a:extLst>
                <a:ext uri="{FF2B5EF4-FFF2-40B4-BE49-F238E27FC236}">
                  <a16:creationId xmlns:a16="http://schemas.microsoft.com/office/drawing/2014/main" id="{2FDD1A34-9BAB-454D-AF92-364F511307BC}"/>
                </a:ext>
              </a:extLst>
            </p:cNvPr>
            <p:cNvSpPr>
              <a:spLocks noEditPoints="1"/>
            </p:cNvSpPr>
            <p:nvPr/>
          </p:nvSpPr>
          <p:spPr bwMode="auto">
            <a:xfrm>
              <a:off x="1225" y="1038"/>
              <a:ext cx="116" cy="149"/>
            </a:xfrm>
            <a:custGeom>
              <a:avLst/>
              <a:gdLst>
                <a:gd name="T0" fmla="*/ 11 w 45"/>
                <a:gd name="T1" fmla="*/ 29 h 58"/>
                <a:gd name="T2" fmla="*/ 30 w 45"/>
                <a:gd name="T3" fmla="*/ 29 h 58"/>
                <a:gd name="T4" fmla="*/ 30 w 45"/>
                <a:gd name="T5" fmla="*/ 25 h 58"/>
                <a:gd name="T6" fmla="*/ 11 w 45"/>
                <a:gd name="T7" fmla="*/ 25 h 58"/>
                <a:gd name="T8" fmla="*/ 11 w 45"/>
                <a:gd name="T9" fmla="*/ 29 h 58"/>
                <a:gd name="T10" fmla="*/ 11 w 45"/>
                <a:gd name="T11" fmla="*/ 45 h 58"/>
                <a:gd name="T12" fmla="*/ 34 w 45"/>
                <a:gd name="T13" fmla="*/ 45 h 58"/>
                <a:gd name="T14" fmla="*/ 34 w 45"/>
                <a:gd name="T15" fmla="*/ 41 h 58"/>
                <a:gd name="T16" fmla="*/ 11 w 45"/>
                <a:gd name="T17" fmla="*/ 41 h 58"/>
                <a:gd name="T18" fmla="*/ 11 w 45"/>
                <a:gd name="T19" fmla="*/ 45 h 58"/>
                <a:gd name="T20" fmla="*/ 11 w 45"/>
                <a:gd name="T21" fmla="*/ 37 h 58"/>
                <a:gd name="T22" fmla="*/ 22 w 45"/>
                <a:gd name="T23" fmla="*/ 37 h 58"/>
                <a:gd name="T24" fmla="*/ 22 w 45"/>
                <a:gd name="T25" fmla="*/ 33 h 58"/>
                <a:gd name="T26" fmla="*/ 11 w 45"/>
                <a:gd name="T27" fmla="*/ 33 h 58"/>
                <a:gd name="T28" fmla="*/ 11 w 45"/>
                <a:gd name="T29" fmla="*/ 37 h 58"/>
                <a:gd name="T30" fmla="*/ 0 w 45"/>
                <a:gd name="T31" fmla="*/ 15 h 58"/>
                <a:gd name="T32" fmla="*/ 0 w 45"/>
                <a:gd name="T33" fmla="*/ 54 h 58"/>
                <a:gd name="T34" fmla="*/ 4 w 45"/>
                <a:gd name="T35" fmla="*/ 58 h 58"/>
                <a:gd name="T36" fmla="*/ 41 w 45"/>
                <a:gd name="T37" fmla="*/ 58 h 58"/>
                <a:gd name="T38" fmla="*/ 45 w 45"/>
                <a:gd name="T39" fmla="*/ 54 h 58"/>
                <a:gd name="T40" fmla="*/ 45 w 45"/>
                <a:gd name="T41" fmla="*/ 4 h 58"/>
                <a:gd name="T42" fmla="*/ 41 w 45"/>
                <a:gd name="T43" fmla="*/ 0 h 58"/>
                <a:gd name="T44" fmla="*/ 15 w 45"/>
                <a:gd name="T45" fmla="*/ 0 h 58"/>
                <a:gd name="T46" fmla="*/ 0 w 45"/>
                <a:gd name="T47" fmla="*/ 15 h 58"/>
                <a:gd name="T48" fmla="*/ 17 w 45"/>
                <a:gd name="T49" fmla="*/ 6 h 58"/>
                <a:gd name="T50" fmla="*/ 37 w 45"/>
                <a:gd name="T51" fmla="*/ 6 h 58"/>
                <a:gd name="T52" fmla="*/ 39 w 45"/>
                <a:gd name="T53" fmla="*/ 8 h 58"/>
                <a:gd name="T54" fmla="*/ 39 w 45"/>
                <a:gd name="T55" fmla="*/ 51 h 58"/>
                <a:gd name="T56" fmla="*/ 37 w 45"/>
                <a:gd name="T57" fmla="*/ 52 h 58"/>
                <a:gd name="T58" fmla="*/ 7 w 45"/>
                <a:gd name="T59" fmla="*/ 52 h 58"/>
                <a:gd name="T60" fmla="*/ 6 w 45"/>
                <a:gd name="T61" fmla="*/ 51 h 58"/>
                <a:gd name="T62" fmla="*/ 6 w 45"/>
                <a:gd name="T63" fmla="*/ 17 h 58"/>
                <a:gd name="T64" fmla="*/ 17 w 45"/>
                <a:gd name="T65" fmla="*/ 17 h 58"/>
                <a:gd name="T66" fmla="*/ 17 w 45"/>
                <a:gd name="T6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58">
                  <a:moveTo>
                    <a:pt x="11" y="29"/>
                  </a:moveTo>
                  <a:cubicBezTo>
                    <a:pt x="30" y="29"/>
                    <a:pt x="30" y="29"/>
                    <a:pt x="30" y="29"/>
                  </a:cubicBezTo>
                  <a:cubicBezTo>
                    <a:pt x="30" y="25"/>
                    <a:pt x="30" y="25"/>
                    <a:pt x="30" y="25"/>
                  </a:cubicBezTo>
                  <a:cubicBezTo>
                    <a:pt x="11" y="25"/>
                    <a:pt x="11" y="25"/>
                    <a:pt x="11" y="25"/>
                  </a:cubicBezTo>
                  <a:lnTo>
                    <a:pt x="11" y="29"/>
                  </a:lnTo>
                  <a:close/>
                  <a:moveTo>
                    <a:pt x="11" y="45"/>
                  </a:moveTo>
                  <a:cubicBezTo>
                    <a:pt x="34" y="45"/>
                    <a:pt x="34" y="45"/>
                    <a:pt x="34" y="45"/>
                  </a:cubicBezTo>
                  <a:cubicBezTo>
                    <a:pt x="34" y="41"/>
                    <a:pt x="34" y="41"/>
                    <a:pt x="34" y="41"/>
                  </a:cubicBezTo>
                  <a:cubicBezTo>
                    <a:pt x="11" y="41"/>
                    <a:pt x="11" y="41"/>
                    <a:pt x="11" y="41"/>
                  </a:cubicBezTo>
                  <a:lnTo>
                    <a:pt x="11" y="45"/>
                  </a:lnTo>
                  <a:close/>
                  <a:moveTo>
                    <a:pt x="11" y="37"/>
                  </a:moveTo>
                  <a:cubicBezTo>
                    <a:pt x="22" y="37"/>
                    <a:pt x="22" y="37"/>
                    <a:pt x="22" y="37"/>
                  </a:cubicBezTo>
                  <a:cubicBezTo>
                    <a:pt x="22" y="33"/>
                    <a:pt x="22" y="33"/>
                    <a:pt x="22" y="33"/>
                  </a:cubicBezTo>
                  <a:cubicBezTo>
                    <a:pt x="11" y="33"/>
                    <a:pt x="11" y="33"/>
                    <a:pt x="11" y="33"/>
                  </a:cubicBezTo>
                  <a:lnTo>
                    <a:pt x="11" y="37"/>
                  </a:lnTo>
                  <a:close/>
                  <a:moveTo>
                    <a:pt x="0" y="15"/>
                  </a:moveTo>
                  <a:cubicBezTo>
                    <a:pt x="0" y="54"/>
                    <a:pt x="0" y="54"/>
                    <a:pt x="0" y="54"/>
                  </a:cubicBezTo>
                  <a:cubicBezTo>
                    <a:pt x="0" y="57"/>
                    <a:pt x="2" y="58"/>
                    <a:pt x="4" y="58"/>
                  </a:cubicBezTo>
                  <a:cubicBezTo>
                    <a:pt x="41" y="58"/>
                    <a:pt x="41" y="58"/>
                    <a:pt x="41" y="58"/>
                  </a:cubicBezTo>
                  <a:cubicBezTo>
                    <a:pt x="43" y="58"/>
                    <a:pt x="45" y="57"/>
                    <a:pt x="45" y="54"/>
                  </a:cubicBezTo>
                  <a:cubicBezTo>
                    <a:pt x="45" y="4"/>
                    <a:pt x="45" y="4"/>
                    <a:pt x="45" y="4"/>
                  </a:cubicBezTo>
                  <a:cubicBezTo>
                    <a:pt x="45" y="2"/>
                    <a:pt x="43" y="0"/>
                    <a:pt x="41" y="0"/>
                  </a:cubicBezTo>
                  <a:cubicBezTo>
                    <a:pt x="15" y="0"/>
                    <a:pt x="15" y="0"/>
                    <a:pt x="15" y="0"/>
                  </a:cubicBezTo>
                  <a:lnTo>
                    <a:pt x="0" y="15"/>
                  </a:lnTo>
                  <a:close/>
                  <a:moveTo>
                    <a:pt x="17" y="6"/>
                  </a:moveTo>
                  <a:cubicBezTo>
                    <a:pt x="37" y="6"/>
                    <a:pt x="37" y="6"/>
                    <a:pt x="37" y="6"/>
                  </a:cubicBezTo>
                  <a:cubicBezTo>
                    <a:pt x="38" y="6"/>
                    <a:pt x="39" y="7"/>
                    <a:pt x="39" y="8"/>
                  </a:cubicBezTo>
                  <a:cubicBezTo>
                    <a:pt x="39" y="51"/>
                    <a:pt x="39" y="51"/>
                    <a:pt x="39" y="51"/>
                  </a:cubicBezTo>
                  <a:cubicBezTo>
                    <a:pt x="39" y="52"/>
                    <a:pt x="38" y="52"/>
                    <a:pt x="37" y="52"/>
                  </a:cubicBezTo>
                  <a:cubicBezTo>
                    <a:pt x="7" y="52"/>
                    <a:pt x="7" y="52"/>
                    <a:pt x="7" y="52"/>
                  </a:cubicBezTo>
                  <a:cubicBezTo>
                    <a:pt x="6" y="52"/>
                    <a:pt x="6" y="52"/>
                    <a:pt x="6" y="51"/>
                  </a:cubicBezTo>
                  <a:cubicBezTo>
                    <a:pt x="6" y="17"/>
                    <a:pt x="6" y="17"/>
                    <a:pt x="6" y="17"/>
                  </a:cubicBezTo>
                  <a:cubicBezTo>
                    <a:pt x="17" y="17"/>
                    <a:pt x="17" y="17"/>
                    <a:pt x="17" y="17"/>
                  </a:cubicBezTo>
                  <a:lnTo>
                    <a:pt x="1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88068" name="Picture 4" descr="Altares">
            <a:extLst>
              <a:ext uri="{FF2B5EF4-FFF2-40B4-BE49-F238E27FC236}">
                <a16:creationId xmlns:a16="http://schemas.microsoft.com/office/drawing/2014/main" id="{C80AFB68-053D-4573-AAB9-2EDA9096B19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397956" y="1278800"/>
            <a:ext cx="416549" cy="248823"/>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C1AF4BD4-38ED-436D-BA6F-228AA3822022}"/>
              </a:ext>
            </a:extLst>
          </p:cNvPr>
          <p:cNvGrpSpPr/>
          <p:nvPr/>
        </p:nvGrpSpPr>
        <p:grpSpPr>
          <a:xfrm>
            <a:off x="7269094" y="4845559"/>
            <a:ext cx="2358112" cy="1438283"/>
            <a:chOff x="7269094" y="4845559"/>
            <a:chExt cx="2358112" cy="1438283"/>
          </a:xfrm>
        </p:grpSpPr>
        <p:sp>
          <p:nvSpPr>
            <p:cNvPr id="148" name="Rectangle 147">
              <a:extLst>
                <a:ext uri="{FF2B5EF4-FFF2-40B4-BE49-F238E27FC236}">
                  <a16:creationId xmlns:a16="http://schemas.microsoft.com/office/drawing/2014/main" id="{7E3B7961-0B6D-4E30-83E2-1EC54419A51E}"/>
                </a:ext>
              </a:extLst>
            </p:cNvPr>
            <p:cNvSpPr/>
            <p:nvPr/>
          </p:nvSpPr>
          <p:spPr bwMode="auto">
            <a:xfrm>
              <a:off x="7409518" y="4845559"/>
              <a:ext cx="2217688" cy="1438283"/>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pPr>
                <a:spcBef>
                  <a:spcPts val="600"/>
                </a:spcBef>
              </a:pPr>
              <a:r>
                <a:rPr lang="en-GB" sz="1000" i="1">
                  <a:latin typeface="Trebuchet MS" pitchFamily="34" charset="0"/>
                </a:rPr>
                <a:t>“Altares provides its client with a </a:t>
              </a:r>
              <a:r>
                <a:rPr lang="en-GB" sz="1000" i="1">
                  <a:solidFill>
                    <a:schemeClr val="tx2"/>
                  </a:solidFill>
                  <a:latin typeface="Trebuchet MS" pitchFamily="34" charset="0"/>
                </a:rPr>
                <a:t>high level of services</a:t>
              </a:r>
              <a:r>
                <a:rPr lang="en-GB" sz="1000" i="1">
                  <a:latin typeface="Trebuchet MS" pitchFamily="34" charset="0"/>
                </a:rPr>
                <a:t>: all the reports were provided to me </a:t>
              </a:r>
              <a:r>
                <a:rPr lang="en-GB" sz="1000" i="1">
                  <a:solidFill>
                    <a:schemeClr val="tx2"/>
                  </a:solidFill>
                  <a:latin typeface="Trebuchet MS" pitchFamily="34" charset="0"/>
                </a:rPr>
                <a:t>quickly</a:t>
              </a:r>
              <a:r>
                <a:rPr lang="en-GB" sz="1000" i="1">
                  <a:latin typeface="Trebuchet MS" pitchFamily="34" charset="0"/>
                </a:rPr>
                <a:t> with the possibility of contacting them directly for </a:t>
              </a:r>
              <a:r>
                <a:rPr lang="en-GB" sz="1000" i="1">
                  <a:solidFill>
                    <a:schemeClr val="tx2"/>
                  </a:solidFill>
                  <a:latin typeface="Trebuchet MS" pitchFamily="34" charset="0"/>
                </a:rPr>
                <a:t>further information</a:t>
              </a:r>
              <a:r>
                <a:rPr lang="en-GB" sz="1000" i="1">
                  <a:latin typeface="Trebuchet MS" pitchFamily="34" charset="0"/>
                </a:rPr>
                <a:t>.”</a:t>
              </a:r>
            </a:p>
            <a:p>
              <a:pPr>
                <a:spcBef>
                  <a:spcPts val="600"/>
                </a:spcBef>
              </a:pPr>
              <a:r>
                <a:rPr lang="en-GB" sz="1000" i="0">
                  <a:effectLst/>
                  <a:latin typeface="+mj-lt"/>
                </a:rPr>
                <a:t>Legal &amp; Compliance Director at ABL Europe SAS</a:t>
              </a:r>
            </a:p>
          </p:txBody>
        </p:sp>
        <p:sp>
          <p:nvSpPr>
            <p:cNvPr id="152" name="Freeform 663">
              <a:extLst>
                <a:ext uri="{FF2B5EF4-FFF2-40B4-BE49-F238E27FC236}">
                  <a16:creationId xmlns:a16="http://schemas.microsoft.com/office/drawing/2014/main" id="{2BBD314E-5D24-403F-BB3D-288D26143D9A}"/>
                </a:ext>
              </a:extLst>
            </p:cNvPr>
            <p:cNvSpPr>
              <a:spLocks noChangeAspect="1" noEditPoints="1"/>
            </p:cNvSpPr>
            <p:nvPr/>
          </p:nvSpPr>
          <p:spPr bwMode="auto">
            <a:xfrm>
              <a:off x="7269094" y="5422955"/>
              <a:ext cx="309782" cy="28349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ts val="60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grpSp>
        <p:nvGrpSpPr>
          <p:cNvPr id="13" name="Group 12">
            <a:extLst>
              <a:ext uri="{FF2B5EF4-FFF2-40B4-BE49-F238E27FC236}">
                <a16:creationId xmlns:a16="http://schemas.microsoft.com/office/drawing/2014/main" id="{63FAA577-A3BE-4E65-A1EC-947AD0813CFF}"/>
              </a:ext>
            </a:extLst>
          </p:cNvPr>
          <p:cNvGrpSpPr/>
          <p:nvPr/>
        </p:nvGrpSpPr>
        <p:grpSpPr>
          <a:xfrm>
            <a:off x="7269094" y="3801172"/>
            <a:ext cx="2358112" cy="843129"/>
            <a:chOff x="7269094" y="3706246"/>
            <a:chExt cx="2358112" cy="843129"/>
          </a:xfrm>
        </p:grpSpPr>
        <p:sp>
          <p:nvSpPr>
            <p:cNvPr id="160" name="Rectangle 159">
              <a:extLst>
                <a:ext uri="{FF2B5EF4-FFF2-40B4-BE49-F238E27FC236}">
                  <a16:creationId xmlns:a16="http://schemas.microsoft.com/office/drawing/2014/main" id="{4DCFCBC1-4269-49E7-B0C6-8D3E7C7D64CE}"/>
                </a:ext>
              </a:extLst>
            </p:cNvPr>
            <p:cNvSpPr/>
            <p:nvPr/>
          </p:nvSpPr>
          <p:spPr bwMode="auto">
            <a:xfrm>
              <a:off x="7409518" y="3706246"/>
              <a:ext cx="2217688" cy="843129"/>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pPr>
                <a:spcBef>
                  <a:spcPts val="600"/>
                </a:spcBef>
              </a:pPr>
              <a:r>
                <a:rPr kumimoji="0" lang="en-GB" sz="1000" b="0" i="1" u="none" strike="noStrike" cap="none" normalizeH="0" baseline="0">
                  <a:ln>
                    <a:noFill/>
                  </a:ln>
                  <a:effectLst/>
                  <a:latin typeface="Trebuchet MS" pitchFamily="34" charset="0"/>
                </a:rPr>
                <a:t>“</a:t>
              </a:r>
              <a:r>
                <a:rPr kumimoji="0" lang="en-GB" sz="1000" b="0" i="1" u="none" strike="noStrike" cap="none" normalizeH="0" baseline="0" err="1">
                  <a:ln>
                    <a:noFill/>
                  </a:ln>
                  <a:effectLst/>
                  <a:latin typeface="Trebuchet MS" pitchFamily="34" charset="0"/>
                </a:rPr>
                <a:t>Altares</a:t>
              </a:r>
              <a:r>
                <a:rPr lang="en-GB" sz="1000" i="1">
                  <a:latin typeface="Trebuchet MS" pitchFamily="34" charset="0"/>
                </a:rPr>
                <a:t>, in contrast to </a:t>
              </a:r>
              <a:r>
                <a:rPr kumimoji="0" lang="en-GB" sz="1000" b="0" i="1" u="none" strike="noStrike" cap="none" normalizeH="0" baseline="0" err="1">
                  <a:ln>
                    <a:noFill/>
                  </a:ln>
                  <a:effectLst/>
                  <a:latin typeface="Trebuchet MS" pitchFamily="34" charset="0"/>
                </a:rPr>
                <a:t>Companyweb</a:t>
              </a:r>
              <a:r>
                <a:rPr lang="en-GB" sz="1000" i="1">
                  <a:latin typeface="Trebuchet MS" pitchFamily="34" charset="0"/>
                </a:rPr>
                <a:t>, is a </a:t>
              </a:r>
              <a:r>
                <a:rPr lang="en-GB" sz="1000" i="1">
                  <a:solidFill>
                    <a:schemeClr val="tx2"/>
                  </a:solidFill>
                  <a:latin typeface="Trebuchet MS" pitchFamily="34" charset="0"/>
                </a:rPr>
                <a:t>data firm </a:t>
              </a:r>
              <a:r>
                <a:rPr lang="en-GB" sz="1000" i="1">
                  <a:latin typeface="Trebuchet MS" pitchFamily="34" charset="0"/>
                </a:rPr>
                <a:t>rather than a tech firm</a:t>
              </a:r>
              <a:r>
                <a:rPr kumimoji="0" lang="en-GB" sz="1000" b="0" i="1" u="none" strike="noStrike" cap="none" normalizeH="0" baseline="0">
                  <a:ln>
                    <a:noFill/>
                  </a:ln>
                  <a:effectLst/>
                  <a:latin typeface="Trebuchet MS" pitchFamily="34" charset="0"/>
                </a:rPr>
                <a:t>”</a:t>
              </a:r>
              <a:endParaRPr lang="en-GB" sz="1000" i="1">
                <a:latin typeface="Trebuchet MS" pitchFamily="34" charset="0"/>
              </a:endParaRPr>
            </a:p>
            <a:p>
              <a:pPr>
                <a:spcBef>
                  <a:spcPts val="600"/>
                </a:spcBef>
              </a:pPr>
              <a:r>
                <a:rPr lang="en-GB" sz="1000">
                  <a:latin typeface="Trebuchet MS" pitchFamily="34" charset="0"/>
                </a:rPr>
                <a:t>Data Advisor at ABN </a:t>
              </a:r>
              <a:r>
                <a:rPr lang="en-GB" sz="1000" err="1">
                  <a:latin typeface="Trebuchet MS" pitchFamily="34" charset="0"/>
                </a:rPr>
                <a:t>Amro</a:t>
              </a:r>
              <a:endParaRPr lang="en-GB" sz="1000">
                <a:latin typeface="Trebuchet MS" pitchFamily="34" charset="0"/>
              </a:endParaRPr>
            </a:p>
          </p:txBody>
        </p:sp>
        <p:sp>
          <p:nvSpPr>
            <p:cNvPr id="161" name="Freeform 663">
              <a:extLst>
                <a:ext uri="{FF2B5EF4-FFF2-40B4-BE49-F238E27FC236}">
                  <a16:creationId xmlns:a16="http://schemas.microsoft.com/office/drawing/2014/main" id="{6BE217FC-531A-45E9-BA9D-CAC77EDB31E8}"/>
                </a:ext>
              </a:extLst>
            </p:cNvPr>
            <p:cNvSpPr>
              <a:spLocks noChangeAspect="1" noEditPoints="1"/>
            </p:cNvSpPr>
            <p:nvPr/>
          </p:nvSpPr>
          <p:spPr bwMode="auto">
            <a:xfrm>
              <a:off x="7269094" y="3986065"/>
              <a:ext cx="309782" cy="28349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ts val="60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grpSp>
        <p:nvGrpSpPr>
          <p:cNvPr id="153" name="Groupe 152">
            <a:extLst>
              <a:ext uri="{FF2B5EF4-FFF2-40B4-BE49-F238E27FC236}">
                <a16:creationId xmlns:a16="http://schemas.microsoft.com/office/drawing/2014/main" id="{6EEA3057-C7FE-4BBD-BC19-A0566AC18E7B}"/>
              </a:ext>
            </a:extLst>
          </p:cNvPr>
          <p:cNvGrpSpPr/>
          <p:nvPr/>
        </p:nvGrpSpPr>
        <p:grpSpPr>
          <a:xfrm>
            <a:off x="3400860" y="6268124"/>
            <a:ext cx="3439480" cy="246221"/>
            <a:chOff x="5094397" y="5884496"/>
            <a:chExt cx="3439480" cy="246221"/>
          </a:xfrm>
        </p:grpSpPr>
        <p:sp>
          <p:nvSpPr>
            <p:cNvPr id="155" name="TextBox 99">
              <a:extLst>
                <a:ext uri="{FF2B5EF4-FFF2-40B4-BE49-F238E27FC236}">
                  <a16:creationId xmlns:a16="http://schemas.microsoft.com/office/drawing/2014/main" id="{6F5F5645-6C8E-4B42-A187-592B84195307}"/>
                </a:ext>
              </a:extLst>
            </p:cNvPr>
            <p:cNvSpPr txBox="1"/>
            <p:nvPr/>
          </p:nvSpPr>
          <p:spPr>
            <a:xfrm>
              <a:off x="5099085"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2.6</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pic>
          <p:nvPicPr>
            <p:cNvPr id="158" name="Graphique 157" descr="Couronne">
              <a:extLst>
                <a:ext uri="{FF2B5EF4-FFF2-40B4-BE49-F238E27FC236}">
                  <a16:creationId xmlns:a16="http://schemas.microsoft.com/office/drawing/2014/main" id="{F3DB66F5-4340-41B1-8A89-B365DF7376B1}"/>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094397" y="5887816"/>
              <a:ext cx="197538" cy="197538"/>
            </a:xfrm>
            <a:prstGeom prst="rect">
              <a:avLst/>
            </a:prstGeom>
          </p:spPr>
        </p:pic>
        <p:sp>
          <p:nvSpPr>
            <p:cNvPr id="163" name="TextBox 99">
              <a:extLst>
                <a:ext uri="{FF2B5EF4-FFF2-40B4-BE49-F238E27FC236}">
                  <a16:creationId xmlns:a16="http://schemas.microsoft.com/office/drawing/2014/main" id="{A6369CCF-6951-41FE-91BE-751C8F89B903}"/>
                </a:ext>
              </a:extLst>
            </p:cNvPr>
            <p:cNvSpPr txBox="1"/>
            <p:nvPr/>
          </p:nvSpPr>
          <p:spPr>
            <a:xfrm>
              <a:off x="5938200"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2.0</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sp>
          <p:nvSpPr>
            <p:cNvPr id="175" name="TextBox 99">
              <a:extLst>
                <a:ext uri="{FF2B5EF4-FFF2-40B4-BE49-F238E27FC236}">
                  <a16:creationId xmlns:a16="http://schemas.microsoft.com/office/drawing/2014/main" id="{893303C1-BBD9-4EE0-AC58-25B5407F21A1}"/>
                </a:ext>
              </a:extLst>
            </p:cNvPr>
            <p:cNvSpPr txBox="1"/>
            <p:nvPr/>
          </p:nvSpPr>
          <p:spPr>
            <a:xfrm>
              <a:off x="6862468"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1.9</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sp>
          <p:nvSpPr>
            <p:cNvPr id="183" name="TextBox 99">
              <a:extLst>
                <a:ext uri="{FF2B5EF4-FFF2-40B4-BE49-F238E27FC236}">
                  <a16:creationId xmlns:a16="http://schemas.microsoft.com/office/drawing/2014/main" id="{20ABB844-E3A4-4F1B-8367-728B71C778EB}"/>
                </a:ext>
              </a:extLst>
            </p:cNvPr>
            <p:cNvSpPr txBox="1"/>
            <p:nvPr/>
          </p:nvSpPr>
          <p:spPr>
            <a:xfrm>
              <a:off x="7873898"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1</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grpSp>
      <p:sp>
        <p:nvSpPr>
          <p:cNvPr id="159" name="TextBox 99">
            <a:extLst>
              <a:ext uri="{FF2B5EF4-FFF2-40B4-BE49-F238E27FC236}">
                <a16:creationId xmlns:a16="http://schemas.microsoft.com/office/drawing/2014/main" id="{D0CA5697-8155-42E6-88A8-96663A0480B1}"/>
              </a:ext>
            </a:extLst>
          </p:cNvPr>
          <p:cNvSpPr txBox="1"/>
          <p:nvPr/>
        </p:nvSpPr>
        <p:spPr>
          <a:xfrm>
            <a:off x="507930" y="6292774"/>
            <a:ext cx="2650082" cy="2308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646464"/>
                </a:solidFill>
                <a:effectLst/>
                <a:uLnTx/>
                <a:uFillTx/>
                <a:latin typeface="Trebuchet MS" panose="020B0603020202020204" pitchFamily="34" charset="0"/>
              </a:rPr>
              <a:t>Weighted average</a:t>
            </a:r>
          </a:p>
        </p:txBody>
      </p:sp>
      <p:cxnSp>
        <p:nvCxnSpPr>
          <p:cNvPr id="162" name="Connecteur droit 161">
            <a:extLst>
              <a:ext uri="{FF2B5EF4-FFF2-40B4-BE49-F238E27FC236}">
                <a16:creationId xmlns:a16="http://schemas.microsoft.com/office/drawing/2014/main" id="{13F9145D-1A7E-4750-9022-26656DF12C24}"/>
              </a:ext>
            </a:extLst>
          </p:cNvPr>
          <p:cNvCxnSpPr>
            <a:cxnSpLocks/>
          </p:cNvCxnSpPr>
          <p:nvPr/>
        </p:nvCxnSpPr>
        <p:spPr bwMode="auto">
          <a:xfrm>
            <a:off x="3198402" y="6263220"/>
            <a:ext cx="3735798" cy="0"/>
          </a:xfrm>
          <a:prstGeom prst="line">
            <a:avLst/>
          </a:prstGeom>
          <a:solidFill>
            <a:srgbClr val="26ACDE"/>
          </a:solidFill>
          <a:ln w="15875" cap="flat" cmpd="sng" algn="ctr">
            <a:solidFill>
              <a:srgbClr val="36964F"/>
            </a:solidFill>
            <a:prstDash val="solid"/>
            <a:round/>
            <a:headEnd type="none" w="med" len="med"/>
            <a:tailEnd type="none" w="med" len="med"/>
          </a:ln>
          <a:effectLst/>
        </p:spPr>
      </p:cxnSp>
    </p:spTree>
    <p:extLst>
      <p:ext uri="{BB962C8B-B14F-4D97-AF65-F5344CB8AC3E}">
        <p14:creationId xmlns:p14="http://schemas.microsoft.com/office/powerpoint/2010/main" val="2560867724"/>
      </p:ext>
    </p:extLst>
  </p:cSld>
  <p:clrMapOvr>
    <a:masterClrMapping/>
  </p:clrMapOv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43120C-7204-46D4-A4FC-A44960F43C2E}"/>
              </a:ext>
            </a:extLst>
          </p:cNvPr>
          <p:cNvGraphicFramePr>
            <a:graphicFrameLocks noChangeAspect="1"/>
          </p:cNvGraphicFramePr>
          <p:nvPr>
            <p:custDataLst>
              <p:tags r:id="rId1"/>
            </p:custDataLst>
            <p:extLst>
              <p:ext uri="{D42A27DB-BD31-4B8C-83A1-F6EECF244321}">
                <p14:modId xmlns:p14="http://schemas.microsoft.com/office/powerpoint/2010/main" val="3396585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7" name="Object 6" hidden="1">
                        <a:extLst>
                          <a:ext uri="{FF2B5EF4-FFF2-40B4-BE49-F238E27FC236}">
                            <a16:creationId xmlns:a16="http://schemas.microsoft.com/office/drawing/2014/main" id="{4F43120C-7204-46D4-A4FC-A44960F43C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175CED-6D9E-48D2-A836-77DED4F0CA0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A7667494-4501-4111-9706-BD4EF61979EB}"/>
              </a:ext>
            </a:extLst>
          </p:cNvPr>
          <p:cNvSpPr>
            <a:spLocks noGrp="1"/>
          </p:cNvSpPr>
          <p:nvPr>
            <p:ph type="title"/>
          </p:nvPr>
        </p:nvSpPr>
        <p:spPr>
          <a:xfrm>
            <a:off x="165600" y="147600"/>
            <a:ext cx="8508034" cy="684000"/>
          </a:xfrm>
        </p:spPr>
        <p:txBody>
          <a:bodyPr/>
          <a:lstStyle/>
          <a:p>
            <a:r>
              <a:rPr lang="en-GB" err="1">
                <a:latin typeface="Trebuchet MS" panose="020B0603020202020204" pitchFamily="34" charset="0"/>
              </a:rPr>
              <a:t>Altares</a:t>
            </a:r>
            <a:r>
              <a:rPr lang="en-GB">
                <a:latin typeface="Trebuchet MS" panose="020B0603020202020204" pitchFamily="34" charset="0"/>
              </a:rPr>
              <a:t> </a:t>
            </a:r>
            <a:r>
              <a:rPr lang="en-GB">
                <a:solidFill>
                  <a:schemeClr val="tx2"/>
                </a:solidFill>
                <a:latin typeface="Trebuchet MS" panose="020B0603020202020204" pitchFamily="34" charset="0"/>
              </a:rPr>
              <a:t>compliance </a:t>
            </a:r>
            <a:r>
              <a:rPr lang="en-GB">
                <a:latin typeface="Trebuchet MS" panose="020B0603020202020204" pitchFamily="34" charset="0"/>
              </a:rPr>
              <a:t>offer enjoys a very </a:t>
            </a:r>
            <a:r>
              <a:rPr lang="en-GB">
                <a:solidFill>
                  <a:schemeClr val="tx2"/>
                </a:solidFill>
                <a:latin typeface="Trebuchet MS" panose="020B0603020202020204" pitchFamily="34" charset="0"/>
              </a:rPr>
              <a:t>high level of customer recognition </a:t>
            </a:r>
            <a:r>
              <a:rPr lang="en-GB">
                <a:latin typeface="Trebuchet MS" panose="020B0603020202020204" pitchFamily="34" charset="0"/>
              </a:rPr>
              <a:t>thanks to </a:t>
            </a:r>
            <a:r>
              <a:rPr lang="en-GB" err="1">
                <a:latin typeface="Trebuchet MS" panose="020B0603020202020204" pitchFamily="34" charset="0"/>
              </a:rPr>
              <a:t>indueD</a:t>
            </a:r>
            <a:r>
              <a:rPr lang="en-GB">
                <a:latin typeface="Trebuchet MS" panose="020B0603020202020204" pitchFamily="34" charset="0"/>
              </a:rPr>
              <a:t>, a </a:t>
            </a:r>
            <a:r>
              <a:rPr lang="en-GB">
                <a:solidFill>
                  <a:schemeClr val="tx2"/>
                </a:solidFill>
                <a:latin typeface="Trebuchet MS" panose="020B0603020202020204" pitchFamily="34" charset="0"/>
              </a:rPr>
              <a:t>quality solution </a:t>
            </a:r>
            <a:r>
              <a:rPr lang="en-GB">
                <a:latin typeface="Trebuchet MS" panose="020B0603020202020204" pitchFamily="34" charset="0"/>
              </a:rPr>
              <a:t>with a </a:t>
            </a:r>
            <a:r>
              <a:rPr lang="en-GB">
                <a:solidFill>
                  <a:schemeClr val="tx2"/>
                </a:solidFill>
                <a:latin typeface="Trebuchet MS" panose="020B0603020202020204" pitchFamily="34" charset="0"/>
              </a:rPr>
              <a:t>friendly interface </a:t>
            </a:r>
            <a:r>
              <a:rPr lang="en-GB">
                <a:latin typeface="Trebuchet MS" panose="020B0603020202020204" pitchFamily="34" charset="0"/>
              </a:rPr>
              <a:t>allowing to </a:t>
            </a:r>
            <a:r>
              <a:rPr lang="en-GB">
                <a:solidFill>
                  <a:schemeClr val="tx2"/>
                </a:solidFill>
                <a:latin typeface="Trebuchet MS" panose="020B0603020202020204" pitchFamily="34" charset="0"/>
              </a:rPr>
              <a:t>efficiently perform </a:t>
            </a:r>
            <a:r>
              <a:rPr lang="en-GB">
                <a:latin typeface="Trebuchet MS" panose="020B0603020202020204" pitchFamily="34" charset="0"/>
              </a:rPr>
              <a:t>time-consuming compliance tasks</a:t>
            </a:r>
            <a:endParaRPr lang="en-GB">
              <a:solidFill>
                <a:schemeClr val="tx2"/>
              </a:solidFill>
              <a:latin typeface="Trebuchet MS" panose="020B0603020202020204" pitchFamily="34" charset="0"/>
            </a:endParaRPr>
          </a:p>
        </p:txBody>
      </p:sp>
      <p:sp>
        <p:nvSpPr>
          <p:cNvPr id="6" name="TextBox 99">
            <a:extLst>
              <a:ext uri="{FF2B5EF4-FFF2-40B4-BE49-F238E27FC236}">
                <a16:creationId xmlns:a16="http://schemas.microsoft.com/office/drawing/2014/main" id="{073CBBBF-3D9B-42D6-9753-7143FCF25F79}"/>
              </a:ext>
            </a:extLst>
          </p:cNvPr>
          <p:cNvSpPr txBox="1"/>
          <p:nvPr/>
        </p:nvSpPr>
        <p:spPr>
          <a:xfrm>
            <a:off x="457461" y="1678172"/>
            <a:ext cx="2685842" cy="2308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646464"/>
                </a:solidFill>
                <a:effectLst/>
                <a:uLnTx/>
                <a:uFillTx/>
                <a:latin typeface="Trebuchet MS" panose="020B0603020202020204" pitchFamily="34" charset="0"/>
              </a:rPr>
              <a:t>Key differentiating elements</a:t>
            </a:r>
          </a:p>
        </p:txBody>
      </p:sp>
      <p:sp>
        <p:nvSpPr>
          <p:cNvPr id="214" name="Rectangle 213">
            <a:extLst>
              <a:ext uri="{FF2B5EF4-FFF2-40B4-BE49-F238E27FC236}">
                <a16:creationId xmlns:a16="http://schemas.microsoft.com/office/drawing/2014/main" id="{A8B7529F-709B-4E9D-B181-9ECA307CB567}"/>
              </a:ext>
            </a:extLst>
          </p:cNvPr>
          <p:cNvSpPr/>
          <p:nvPr/>
        </p:nvSpPr>
        <p:spPr bwMode="auto">
          <a:xfrm>
            <a:off x="8992122" y="975034"/>
            <a:ext cx="322284" cy="23981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accent2">
                  <a:lumMod val="25000"/>
                </a:schemeClr>
              </a:solidFill>
              <a:effectLst/>
              <a:latin typeface="Trebuchet MS" pitchFamily="34" charset="0"/>
            </a:endParaRPr>
          </a:p>
        </p:txBody>
      </p:sp>
      <p:sp>
        <p:nvSpPr>
          <p:cNvPr id="286" name="Espace réservé du texte 3">
            <a:extLst>
              <a:ext uri="{FF2B5EF4-FFF2-40B4-BE49-F238E27FC236}">
                <a16:creationId xmlns:a16="http://schemas.microsoft.com/office/drawing/2014/main" id="{702A4FBF-149D-4A3A-8A6E-8843516745FF}"/>
              </a:ext>
            </a:extLst>
          </p:cNvPr>
          <p:cNvSpPr>
            <a:spLocks noGrp="1"/>
          </p:cNvSpPr>
          <p:nvPr>
            <p:ph type="body" sz="quarter" idx="10"/>
          </p:nvPr>
        </p:nvSpPr>
        <p:spPr>
          <a:xfrm>
            <a:off x="1316038" y="6580188"/>
            <a:ext cx="7131050" cy="244475"/>
          </a:xfrm>
        </p:spPr>
        <p:txBody>
          <a:bodyPr/>
          <a:lstStyle/>
          <a:p>
            <a:pPr marL="0" indent="0">
              <a:spcBef>
                <a:spcPts val="0"/>
              </a:spcBef>
              <a:buNone/>
            </a:pPr>
            <a:r>
              <a:rPr lang="en-GB" sz="800" i="1" kern="0"/>
              <a:t>Sources: eleven research &amp; analysis, expert calls</a:t>
            </a:r>
          </a:p>
        </p:txBody>
      </p:sp>
      <p:cxnSp>
        <p:nvCxnSpPr>
          <p:cNvPr id="5" name="Connecteur droit 4">
            <a:extLst>
              <a:ext uri="{FF2B5EF4-FFF2-40B4-BE49-F238E27FC236}">
                <a16:creationId xmlns:a16="http://schemas.microsoft.com/office/drawing/2014/main" id="{88E4374C-6CD8-4C72-8420-B323C9A3661A}"/>
              </a:ext>
            </a:extLst>
          </p:cNvPr>
          <p:cNvCxnSpPr>
            <a:cxnSpLocks/>
          </p:cNvCxnSpPr>
          <p:nvPr/>
        </p:nvCxnSpPr>
        <p:spPr bwMode="auto">
          <a:xfrm>
            <a:off x="389660" y="1946400"/>
            <a:ext cx="2685842" cy="0"/>
          </a:xfrm>
          <a:prstGeom prst="line">
            <a:avLst/>
          </a:prstGeom>
          <a:solidFill>
            <a:srgbClr val="26ACDE"/>
          </a:solidFill>
          <a:ln w="15875" cap="flat" cmpd="sng" algn="ctr">
            <a:solidFill>
              <a:srgbClr val="36964F"/>
            </a:solidFill>
            <a:prstDash val="solid"/>
            <a:round/>
            <a:headEnd type="none" w="med" len="med"/>
            <a:tailEnd type="none" w="med" len="med"/>
          </a:ln>
          <a:effectLst/>
        </p:spPr>
      </p:cxnSp>
      <p:cxnSp>
        <p:nvCxnSpPr>
          <p:cNvPr id="28" name="Connecteur droit 27">
            <a:extLst>
              <a:ext uri="{FF2B5EF4-FFF2-40B4-BE49-F238E27FC236}">
                <a16:creationId xmlns:a16="http://schemas.microsoft.com/office/drawing/2014/main" id="{51730EFF-FA4F-475D-8176-99E7242E0A28}"/>
              </a:ext>
            </a:extLst>
          </p:cNvPr>
          <p:cNvCxnSpPr/>
          <p:nvPr/>
        </p:nvCxnSpPr>
        <p:spPr bwMode="auto">
          <a:xfrm>
            <a:off x="6500169"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29" name="Connecteur droit 28">
            <a:extLst>
              <a:ext uri="{FF2B5EF4-FFF2-40B4-BE49-F238E27FC236}">
                <a16:creationId xmlns:a16="http://schemas.microsoft.com/office/drawing/2014/main" id="{86AF977D-1555-43B2-9FC6-F6EA53AA0A4C}"/>
              </a:ext>
            </a:extLst>
          </p:cNvPr>
          <p:cNvCxnSpPr/>
          <p:nvPr/>
        </p:nvCxnSpPr>
        <p:spPr bwMode="auto">
          <a:xfrm>
            <a:off x="6321922"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0" name="Connecteur droit 29">
            <a:extLst>
              <a:ext uri="{FF2B5EF4-FFF2-40B4-BE49-F238E27FC236}">
                <a16:creationId xmlns:a16="http://schemas.microsoft.com/office/drawing/2014/main" id="{B0474015-7EEC-4478-A569-6F030A7E99AC}"/>
              </a:ext>
            </a:extLst>
          </p:cNvPr>
          <p:cNvCxnSpPr/>
          <p:nvPr/>
        </p:nvCxnSpPr>
        <p:spPr bwMode="auto">
          <a:xfrm>
            <a:off x="6143675"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1" name="Connecteur droit 30">
            <a:extLst>
              <a:ext uri="{FF2B5EF4-FFF2-40B4-BE49-F238E27FC236}">
                <a16:creationId xmlns:a16="http://schemas.microsoft.com/office/drawing/2014/main" id="{EF4878FB-D18A-49F8-85B4-1BC5B379341F}"/>
              </a:ext>
            </a:extLst>
          </p:cNvPr>
          <p:cNvCxnSpPr/>
          <p:nvPr/>
        </p:nvCxnSpPr>
        <p:spPr bwMode="auto">
          <a:xfrm>
            <a:off x="5965428"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2" name="Connecteur droit 31">
            <a:extLst>
              <a:ext uri="{FF2B5EF4-FFF2-40B4-BE49-F238E27FC236}">
                <a16:creationId xmlns:a16="http://schemas.microsoft.com/office/drawing/2014/main" id="{1A55EB00-A844-4A87-9DA0-DB5428135C90}"/>
              </a:ext>
            </a:extLst>
          </p:cNvPr>
          <p:cNvCxnSpPr/>
          <p:nvPr/>
        </p:nvCxnSpPr>
        <p:spPr bwMode="auto">
          <a:xfrm>
            <a:off x="5548202"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3" name="Connecteur droit 32">
            <a:extLst>
              <a:ext uri="{FF2B5EF4-FFF2-40B4-BE49-F238E27FC236}">
                <a16:creationId xmlns:a16="http://schemas.microsoft.com/office/drawing/2014/main" id="{33D4AAB3-025B-4A99-89E8-3C047DA627EF}"/>
              </a:ext>
            </a:extLst>
          </p:cNvPr>
          <p:cNvCxnSpPr/>
          <p:nvPr/>
        </p:nvCxnSpPr>
        <p:spPr bwMode="auto">
          <a:xfrm>
            <a:off x="5369955"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4" name="Connecteur droit 33">
            <a:extLst>
              <a:ext uri="{FF2B5EF4-FFF2-40B4-BE49-F238E27FC236}">
                <a16:creationId xmlns:a16="http://schemas.microsoft.com/office/drawing/2014/main" id="{B589DCD6-4C50-4890-A054-6156CA821B57}"/>
              </a:ext>
            </a:extLst>
          </p:cNvPr>
          <p:cNvCxnSpPr/>
          <p:nvPr/>
        </p:nvCxnSpPr>
        <p:spPr bwMode="auto">
          <a:xfrm>
            <a:off x="5191708"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5" name="Connecteur droit 34">
            <a:extLst>
              <a:ext uri="{FF2B5EF4-FFF2-40B4-BE49-F238E27FC236}">
                <a16:creationId xmlns:a16="http://schemas.microsoft.com/office/drawing/2014/main" id="{CFB61C36-D4F0-4886-BBCE-5D280AB51441}"/>
              </a:ext>
            </a:extLst>
          </p:cNvPr>
          <p:cNvCxnSpPr/>
          <p:nvPr/>
        </p:nvCxnSpPr>
        <p:spPr bwMode="auto">
          <a:xfrm>
            <a:off x="5013461"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6" name="Connecteur droit 35">
            <a:extLst>
              <a:ext uri="{FF2B5EF4-FFF2-40B4-BE49-F238E27FC236}">
                <a16:creationId xmlns:a16="http://schemas.microsoft.com/office/drawing/2014/main" id="{5242845D-1494-43A9-82D2-6339CF79C5E1}"/>
              </a:ext>
            </a:extLst>
          </p:cNvPr>
          <p:cNvCxnSpPr/>
          <p:nvPr/>
        </p:nvCxnSpPr>
        <p:spPr bwMode="auto">
          <a:xfrm>
            <a:off x="4678006"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8" name="Connecteur droit 37">
            <a:extLst>
              <a:ext uri="{FF2B5EF4-FFF2-40B4-BE49-F238E27FC236}">
                <a16:creationId xmlns:a16="http://schemas.microsoft.com/office/drawing/2014/main" id="{642936CD-4167-4120-9611-1CC2C7BDAD87}"/>
              </a:ext>
            </a:extLst>
          </p:cNvPr>
          <p:cNvCxnSpPr/>
          <p:nvPr/>
        </p:nvCxnSpPr>
        <p:spPr bwMode="auto">
          <a:xfrm>
            <a:off x="4321512"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9" name="Connecteur droit 38">
            <a:extLst>
              <a:ext uri="{FF2B5EF4-FFF2-40B4-BE49-F238E27FC236}">
                <a16:creationId xmlns:a16="http://schemas.microsoft.com/office/drawing/2014/main" id="{F0669377-5DE5-46F0-AA64-05DCC7BED420}"/>
              </a:ext>
            </a:extLst>
          </p:cNvPr>
          <p:cNvCxnSpPr/>
          <p:nvPr/>
        </p:nvCxnSpPr>
        <p:spPr bwMode="auto">
          <a:xfrm>
            <a:off x="4143265"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0" name="Connecteur droit 39">
            <a:extLst>
              <a:ext uri="{FF2B5EF4-FFF2-40B4-BE49-F238E27FC236}">
                <a16:creationId xmlns:a16="http://schemas.microsoft.com/office/drawing/2014/main" id="{F4D498A9-41C0-431B-A037-B2B65413E189}"/>
              </a:ext>
            </a:extLst>
          </p:cNvPr>
          <p:cNvCxnSpPr/>
          <p:nvPr/>
        </p:nvCxnSpPr>
        <p:spPr bwMode="auto">
          <a:xfrm>
            <a:off x="3827471"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1" name="Connecteur droit 40">
            <a:extLst>
              <a:ext uri="{FF2B5EF4-FFF2-40B4-BE49-F238E27FC236}">
                <a16:creationId xmlns:a16="http://schemas.microsoft.com/office/drawing/2014/main" id="{A7FC4EE2-2B59-4FA8-AB82-BDF8B8E0D9E0}"/>
              </a:ext>
            </a:extLst>
          </p:cNvPr>
          <p:cNvCxnSpPr/>
          <p:nvPr/>
        </p:nvCxnSpPr>
        <p:spPr bwMode="auto">
          <a:xfrm>
            <a:off x="3649224"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2" name="Connecteur droit 41">
            <a:extLst>
              <a:ext uri="{FF2B5EF4-FFF2-40B4-BE49-F238E27FC236}">
                <a16:creationId xmlns:a16="http://schemas.microsoft.com/office/drawing/2014/main" id="{9C58B9D8-8D9B-4D6A-8D53-7C4D91281B4B}"/>
              </a:ext>
            </a:extLst>
          </p:cNvPr>
          <p:cNvCxnSpPr/>
          <p:nvPr/>
        </p:nvCxnSpPr>
        <p:spPr bwMode="auto">
          <a:xfrm>
            <a:off x="3470977"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3" name="Connecteur droit 42">
            <a:extLst>
              <a:ext uri="{FF2B5EF4-FFF2-40B4-BE49-F238E27FC236}">
                <a16:creationId xmlns:a16="http://schemas.microsoft.com/office/drawing/2014/main" id="{BDA6E143-3AAB-4CDC-9815-1FE631CE9318}"/>
              </a:ext>
            </a:extLst>
          </p:cNvPr>
          <p:cNvCxnSpPr/>
          <p:nvPr/>
        </p:nvCxnSpPr>
        <p:spPr bwMode="auto">
          <a:xfrm>
            <a:off x="4880891" y="2027067"/>
            <a:ext cx="0" cy="3888000"/>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44" name="Connecteur droit 43">
            <a:extLst>
              <a:ext uri="{FF2B5EF4-FFF2-40B4-BE49-F238E27FC236}">
                <a16:creationId xmlns:a16="http://schemas.microsoft.com/office/drawing/2014/main" id="{86B07622-2DAC-40FA-B075-9EF71CF1080E}"/>
              </a:ext>
            </a:extLst>
          </p:cNvPr>
          <p:cNvCxnSpPr/>
          <p:nvPr/>
        </p:nvCxnSpPr>
        <p:spPr bwMode="auto">
          <a:xfrm>
            <a:off x="5770076" y="2024749"/>
            <a:ext cx="0" cy="3888000"/>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45" name="Connecteur droit 44">
            <a:extLst>
              <a:ext uri="{FF2B5EF4-FFF2-40B4-BE49-F238E27FC236}">
                <a16:creationId xmlns:a16="http://schemas.microsoft.com/office/drawing/2014/main" id="{40487E42-92DF-4B0B-8177-DD67E6ADC2FB}"/>
              </a:ext>
            </a:extLst>
          </p:cNvPr>
          <p:cNvCxnSpPr/>
          <p:nvPr/>
        </p:nvCxnSpPr>
        <p:spPr bwMode="auto">
          <a:xfrm>
            <a:off x="6661940" y="2027067"/>
            <a:ext cx="0" cy="3888000"/>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57" name="Ellipse 56">
            <a:extLst>
              <a:ext uri="{FF2B5EF4-FFF2-40B4-BE49-F238E27FC236}">
                <a16:creationId xmlns:a16="http://schemas.microsoft.com/office/drawing/2014/main" id="{B13DF443-65C5-424C-845A-F58E189D3CA5}"/>
              </a:ext>
            </a:extLst>
          </p:cNvPr>
          <p:cNvSpPr/>
          <p:nvPr/>
        </p:nvSpPr>
        <p:spPr bwMode="auto">
          <a:xfrm>
            <a:off x="5164188" y="267723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58" name="Ellipse 57">
            <a:extLst>
              <a:ext uri="{FF2B5EF4-FFF2-40B4-BE49-F238E27FC236}">
                <a16:creationId xmlns:a16="http://schemas.microsoft.com/office/drawing/2014/main" id="{0189A3E4-C5DB-45FC-BF23-54B2740D1DA4}"/>
              </a:ext>
            </a:extLst>
          </p:cNvPr>
          <p:cNvSpPr>
            <a:spLocks noChangeAspect="1"/>
          </p:cNvSpPr>
          <p:nvPr/>
        </p:nvSpPr>
        <p:spPr bwMode="auto">
          <a:xfrm>
            <a:off x="3764471"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59" name="Ellipse 58">
            <a:extLst>
              <a:ext uri="{FF2B5EF4-FFF2-40B4-BE49-F238E27FC236}">
                <a16:creationId xmlns:a16="http://schemas.microsoft.com/office/drawing/2014/main" id="{A4C97B84-9DFC-49F4-A6DC-736D4376B2A0}"/>
              </a:ext>
            </a:extLst>
          </p:cNvPr>
          <p:cNvSpPr>
            <a:spLocks noChangeAspect="1"/>
          </p:cNvSpPr>
          <p:nvPr/>
        </p:nvSpPr>
        <p:spPr bwMode="auto">
          <a:xfrm>
            <a:off x="3587874"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60" name="Ellipse 59">
            <a:extLst>
              <a:ext uri="{FF2B5EF4-FFF2-40B4-BE49-F238E27FC236}">
                <a16:creationId xmlns:a16="http://schemas.microsoft.com/office/drawing/2014/main" id="{24675DD0-0FA3-446C-8DDD-F388B2AF9AFF}"/>
              </a:ext>
            </a:extLst>
          </p:cNvPr>
          <p:cNvSpPr>
            <a:spLocks noChangeAspect="1"/>
          </p:cNvSpPr>
          <p:nvPr/>
        </p:nvSpPr>
        <p:spPr bwMode="auto">
          <a:xfrm>
            <a:off x="3411277"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sp>
        <p:nvSpPr>
          <p:cNvPr id="61" name="Ellipse 60">
            <a:extLst>
              <a:ext uri="{FF2B5EF4-FFF2-40B4-BE49-F238E27FC236}">
                <a16:creationId xmlns:a16="http://schemas.microsoft.com/office/drawing/2014/main" id="{03281B1E-EB54-405E-B79B-40EAE5F0D201}"/>
              </a:ext>
            </a:extLst>
          </p:cNvPr>
          <p:cNvSpPr>
            <a:spLocks noChangeAspect="1"/>
          </p:cNvSpPr>
          <p:nvPr/>
        </p:nvSpPr>
        <p:spPr bwMode="auto">
          <a:xfrm>
            <a:off x="4088977"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62" name="Ellipse 61">
            <a:extLst>
              <a:ext uri="{FF2B5EF4-FFF2-40B4-BE49-F238E27FC236}">
                <a16:creationId xmlns:a16="http://schemas.microsoft.com/office/drawing/2014/main" id="{3251D41D-E154-406D-831B-ACEDEFB9991A}"/>
              </a:ext>
            </a:extLst>
          </p:cNvPr>
          <p:cNvSpPr>
            <a:spLocks noChangeAspect="1"/>
          </p:cNvSpPr>
          <p:nvPr/>
        </p:nvSpPr>
        <p:spPr bwMode="auto">
          <a:xfrm>
            <a:off x="4615006"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63" name="Ellipse 62">
            <a:extLst>
              <a:ext uri="{FF2B5EF4-FFF2-40B4-BE49-F238E27FC236}">
                <a16:creationId xmlns:a16="http://schemas.microsoft.com/office/drawing/2014/main" id="{FCC44B41-6C4A-42A9-8A83-6D294717C301}"/>
              </a:ext>
            </a:extLst>
          </p:cNvPr>
          <p:cNvSpPr>
            <a:spLocks noChangeAspect="1"/>
          </p:cNvSpPr>
          <p:nvPr/>
        </p:nvSpPr>
        <p:spPr bwMode="auto">
          <a:xfrm>
            <a:off x="4438409"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64" name="Ellipse 63">
            <a:extLst>
              <a:ext uri="{FF2B5EF4-FFF2-40B4-BE49-F238E27FC236}">
                <a16:creationId xmlns:a16="http://schemas.microsoft.com/office/drawing/2014/main" id="{4CD420CE-EFDA-4B03-B9DE-9F42096A5DB7}"/>
              </a:ext>
            </a:extLst>
          </p:cNvPr>
          <p:cNvSpPr>
            <a:spLocks noChangeAspect="1"/>
          </p:cNvSpPr>
          <p:nvPr/>
        </p:nvSpPr>
        <p:spPr bwMode="auto">
          <a:xfrm>
            <a:off x="4261812"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sp>
        <p:nvSpPr>
          <p:cNvPr id="65" name="Ellipse 64">
            <a:extLst>
              <a:ext uri="{FF2B5EF4-FFF2-40B4-BE49-F238E27FC236}">
                <a16:creationId xmlns:a16="http://schemas.microsoft.com/office/drawing/2014/main" id="{33B0F95C-A84B-4878-9481-4E5E183F9A84}"/>
              </a:ext>
            </a:extLst>
          </p:cNvPr>
          <p:cNvSpPr>
            <a:spLocks noChangeAspect="1"/>
          </p:cNvSpPr>
          <p:nvPr/>
        </p:nvSpPr>
        <p:spPr bwMode="auto">
          <a:xfrm>
            <a:off x="4972331"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66" name="Ellipse 65">
            <a:extLst>
              <a:ext uri="{FF2B5EF4-FFF2-40B4-BE49-F238E27FC236}">
                <a16:creationId xmlns:a16="http://schemas.microsoft.com/office/drawing/2014/main" id="{89EFB7A0-EE00-4254-9297-8D630A252B64}"/>
              </a:ext>
            </a:extLst>
          </p:cNvPr>
          <p:cNvSpPr>
            <a:spLocks noChangeAspect="1"/>
          </p:cNvSpPr>
          <p:nvPr/>
        </p:nvSpPr>
        <p:spPr bwMode="auto">
          <a:xfrm>
            <a:off x="5498360"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67" name="Ellipse 66">
            <a:extLst>
              <a:ext uri="{FF2B5EF4-FFF2-40B4-BE49-F238E27FC236}">
                <a16:creationId xmlns:a16="http://schemas.microsoft.com/office/drawing/2014/main" id="{98492036-D0E4-4B53-9660-3D24C8BFCE3E}"/>
              </a:ext>
            </a:extLst>
          </p:cNvPr>
          <p:cNvSpPr>
            <a:spLocks noChangeAspect="1"/>
          </p:cNvSpPr>
          <p:nvPr/>
        </p:nvSpPr>
        <p:spPr bwMode="auto">
          <a:xfrm>
            <a:off x="5321763"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68" name="Ellipse 67">
            <a:extLst>
              <a:ext uri="{FF2B5EF4-FFF2-40B4-BE49-F238E27FC236}">
                <a16:creationId xmlns:a16="http://schemas.microsoft.com/office/drawing/2014/main" id="{D92EFE09-CFD3-4A1C-9905-97DF4210AAE3}"/>
              </a:ext>
            </a:extLst>
          </p:cNvPr>
          <p:cNvSpPr>
            <a:spLocks noChangeAspect="1"/>
          </p:cNvSpPr>
          <p:nvPr/>
        </p:nvSpPr>
        <p:spPr bwMode="auto">
          <a:xfrm>
            <a:off x="5145166"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sp>
        <p:nvSpPr>
          <p:cNvPr id="69" name="Ellipse 68">
            <a:extLst>
              <a:ext uri="{FF2B5EF4-FFF2-40B4-BE49-F238E27FC236}">
                <a16:creationId xmlns:a16="http://schemas.microsoft.com/office/drawing/2014/main" id="{F3A071CD-59E8-4A3A-90E8-CD9DD9245369}"/>
              </a:ext>
            </a:extLst>
          </p:cNvPr>
          <p:cNvSpPr>
            <a:spLocks noChangeAspect="1"/>
          </p:cNvSpPr>
          <p:nvPr/>
        </p:nvSpPr>
        <p:spPr bwMode="auto">
          <a:xfrm>
            <a:off x="5896234"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70" name="Ellipse 69">
            <a:extLst>
              <a:ext uri="{FF2B5EF4-FFF2-40B4-BE49-F238E27FC236}">
                <a16:creationId xmlns:a16="http://schemas.microsoft.com/office/drawing/2014/main" id="{9F09764F-54ED-497C-8BEC-DC7C2290ECB2}"/>
              </a:ext>
            </a:extLst>
          </p:cNvPr>
          <p:cNvSpPr>
            <a:spLocks noChangeAspect="1"/>
          </p:cNvSpPr>
          <p:nvPr/>
        </p:nvSpPr>
        <p:spPr bwMode="auto">
          <a:xfrm>
            <a:off x="6422263"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71" name="Ellipse 70">
            <a:extLst>
              <a:ext uri="{FF2B5EF4-FFF2-40B4-BE49-F238E27FC236}">
                <a16:creationId xmlns:a16="http://schemas.microsoft.com/office/drawing/2014/main" id="{A8D8E0A1-B787-40BC-BBDC-AC4CCD0B8D36}"/>
              </a:ext>
            </a:extLst>
          </p:cNvPr>
          <p:cNvSpPr>
            <a:spLocks noChangeAspect="1"/>
          </p:cNvSpPr>
          <p:nvPr/>
        </p:nvSpPr>
        <p:spPr bwMode="auto">
          <a:xfrm>
            <a:off x="6245666"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72" name="Ellipse 71">
            <a:extLst>
              <a:ext uri="{FF2B5EF4-FFF2-40B4-BE49-F238E27FC236}">
                <a16:creationId xmlns:a16="http://schemas.microsoft.com/office/drawing/2014/main" id="{3EFF76FF-63C4-4E96-9AB6-A27DCBFDA21C}"/>
              </a:ext>
            </a:extLst>
          </p:cNvPr>
          <p:cNvSpPr>
            <a:spLocks noChangeAspect="1"/>
          </p:cNvSpPr>
          <p:nvPr/>
        </p:nvSpPr>
        <p:spPr bwMode="auto">
          <a:xfrm>
            <a:off x="6069069"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cxnSp>
        <p:nvCxnSpPr>
          <p:cNvPr id="77" name="Connecteur droit 76">
            <a:extLst>
              <a:ext uri="{FF2B5EF4-FFF2-40B4-BE49-F238E27FC236}">
                <a16:creationId xmlns:a16="http://schemas.microsoft.com/office/drawing/2014/main" id="{12FED54A-6591-4CA0-B4C3-12E4FD0A0F39}"/>
              </a:ext>
            </a:extLst>
          </p:cNvPr>
          <p:cNvCxnSpPr/>
          <p:nvPr/>
        </p:nvCxnSpPr>
        <p:spPr bwMode="auto">
          <a:xfrm>
            <a:off x="3974111" y="2027067"/>
            <a:ext cx="0" cy="3888000"/>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80" name="Ellipse 79">
            <a:extLst>
              <a:ext uri="{FF2B5EF4-FFF2-40B4-BE49-F238E27FC236}">
                <a16:creationId xmlns:a16="http://schemas.microsoft.com/office/drawing/2014/main" id="{37E14909-97E7-4198-A350-2DB8DD869813}"/>
              </a:ext>
            </a:extLst>
          </p:cNvPr>
          <p:cNvSpPr/>
          <p:nvPr/>
        </p:nvSpPr>
        <p:spPr bwMode="auto">
          <a:xfrm>
            <a:off x="3794452" y="3659952"/>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3" name="Ellipse 82">
            <a:extLst>
              <a:ext uri="{FF2B5EF4-FFF2-40B4-BE49-F238E27FC236}">
                <a16:creationId xmlns:a16="http://schemas.microsoft.com/office/drawing/2014/main" id="{59141F7E-CC81-4CB8-AD2C-3BADA3B1D9E0}"/>
              </a:ext>
            </a:extLst>
          </p:cNvPr>
          <p:cNvSpPr/>
          <p:nvPr/>
        </p:nvSpPr>
        <p:spPr bwMode="auto">
          <a:xfrm>
            <a:off x="3793368" y="2672918"/>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9" name="Ellipse 88">
            <a:extLst>
              <a:ext uri="{FF2B5EF4-FFF2-40B4-BE49-F238E27FC236}">
                <a16:creationId xmlns:a16="http://schemas.microsoft.com/office/drawing/2014/main" id="{6F49BE15-801F-4528-8A54-AAEAB5D7F179}"/>
              </a:ext>
            </a:extLst>
          </p:cNvPr>
          <p:cNvSpPr/>
          <p:nvPr/>
        </p:nvSpPr>
        <p:spPr bwMode="auto">
          <a:xfrm>
            <a:off x="5167425" y="217536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90" name="Ellipse 89">
            <a:extLst>
              <a:ext uri="{FF2B5EF4-FFF2-40B4-BE49-F238E27FC236}">
                <a16:creationId xmlns:a16="http://schemas.microsoft.com/office/drawing/2014/main" id="{63556117-CC35-4D20-8CBD-D9E01848A2D8}"/>
              </a:ext>
            </a:extLst>
          </p:cNvPr>
          <p:cNvSpPr/>
          <p:nvPr/>
        </p:nvSpPr>
        <p:spPr bwMode="auto">
          <a:xfrm>
            <a:off x="5514873" y="3179108"/>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91" name="Ellipse 90">
            <a:extLst>
              <a:ext uri="{FF2B5EF4-FFF2-40B4-BE49-F238E27FC236}">
                <a16:creationId xmlns:a16="http://schemas.microsoft.com/office/drawing/2014/main" id="{B9D88896-C563-4C92-834D-C5B437C9CC72}"/>
              </a:ext>
            </a:extLst>
          </p:cNvPr>
          <p:cNvSpPr/>
          <p:nvPr/>
        </p:nvSpPr>
        <p:spPr bwMode="auto">
          <a:xfrm>
            <a:off x="5331611" y="3680982"/>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92" name="Ellipse 91">
            <a:extLst>
              <a:ext uri="{FF2B5EF4-FFF2-40B4-BE49-F238E27FC236}">
                <a16:creationId xmlns:a16="http://schemas.microsoft.com/office/drawing/2014/main" id="{15C37E8A-C622-478D-BE57-4BB5CB83CAAF}"/>
              </a:ext>
            </a:extLst>
          </p:cNvPr>
          <p:cNvSpPr/>
          <p:nvPr/>
        </p:nvSpPr>
        <p:spPr bwMode="auto">
          <a:xfrm>
            <a:off x="5146383" y="4182856"/>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93" name="Ellipse 92">
            <a:extLst>
              <a:ext uri="{FF2B5EF4-FFF2-40B4-BE49-F238E27FC236}">
                <a16:creationId xmlns:a16="http://schemas.microsoft.com/office/drawing/2014/main" id="{9795EA03-3ADA-4495-8A1E-D99631DF8547}"/>
              </a:ext>
            </a:extLst>
          </p:cNvPr>
          <p:cNvSpPr/>
          <p:nvPr/>
        </p:nvSpPr>
        <p:spPr bwMode="auto">
          <a:xfrm>
            <a:off x="5149123" y="468473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94" name="Connecteur droit 93">
            <a:extLst>
              <a:ext uri="{FF2B5EF4-FFF2-40B4-BE49-F238E27FC236}">
                <a16:creationId xmlns:a16="http://schemas.microsoft.com/office/drawing/2014/main" id="{BE8C3527-E4F3-41F8-AB92-75FD82D9893D}"/>
              </a:ext>
            </a:extLst>
          </p:cNvPr>
          <p:cNvCxnSpPr>
            <a:stCxn id="89" idx="4"/>
            <a:endCxn id="57" idx="0"/>
          </p:cNvCxnSpPr>
          <p:nvPr/>
        </p:nvCxnSpPr>
        <p:spPr bwMode="auto">
          <a:xfrm flipH="1">
            <a:off x="5200908" y="2247360"/>
            <a:ext cx="3237"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95" name="Connecteur droit 94">
            <a:extLst>
              <a:ext uri="{FF2B5EF4-FFF2-40B4-BE49-F238E27FC236}">
                <a16:creationId xmlns:a16="http://schemas.microsoft.com/office/drawing/2014/main" id="{B41D6DDE-4EDF-4891-AEB4-A15E2525AEC0}"/>
              </a:ext>
            </a:extLst>
          </p:cNvPr>
          <p:cNvCxnSpPr>
            <a:stCxn id="57" idx="4"/>
            <a:endCxn id="90" idx="0"/>
          </p:cNvCxnSpPr>
          <p:nvPr/>
        </p:nvCxnSpPr>
        <p:spPr bwMode="auto">
          <a:xfrm>
            <a:off x="5200908" y="2749234"/>
            <a:ext cx="350685"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96" name="Connecteur droit 95">
            <a:extLst>
              <a:ext uri="{FF2B5EF4-FFF2-40B4-BE49-F238E27FC236}">
                <a16:creationId xmlns:a16="http://schemas.microsoft.com/office/drawing/2014/main" id="{63B4E1F0-7D42-4935-9411-5756C54A9E91}"/>
              </a:ext>
            </a:extLst>
          </p:cNvPr>
          <p:cNvCxnSpPr>
            <a:stCxn id="90" idx="4"/>
            <a:endCxn id="91" idx="0"/>
          </p:cNvCxnSpPr>
          <p:nvPr/>
        </p:nvCxnSpPr>
        <p:spPr bwMode="auto">
          <a:xfrm flipH="1">
            <a:off x="5368331" y="3251108"/>
            <a:ext cx="183262"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97" name="Connecteur droit 96">
            <a:extLst>
              <a:ext uri="{FF2B5EF4-FFF2-40B4-BE49-F238E27FC236}">
                <a16:creationId xmlns:a16="http://schemas.microsoft.com/office/drawing/2014/main" id="{EE6F83C9-F4AC-4A22-AB63-CF9069EAC7B5}"/>
              </a:ext>
            </a:extLst>
          </p:cNvPr>
          <p:cNvCxnSpPr>
            <a:stCxn id="91" idx="4"/>
            <a:endCxn id="92" idx="0"/>
          </p:cNvCxnSpPr>
          <p:nvPr/>
        </p:nvCxnSpPr>
        <p:spPr bwMode="auto">
          <a:xfrm flipH="1">
            <a:off x="5183103" y="3752982"/>
            <a:ext cx="185228"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98" name="Connecteur droit 97">
            <a:extLst>
              <a:ext uri="{FF2B5EF4-FFF2-40B4-BE49-F238E27FC236}">
                <a16:creationId xmlns:a16="http://schemas.microsoft.com/office/drawing/2014/main" id="{498AE693-D702-4B62-B1DD-2F1438A2E95C}"/>
              </a:ext>
            </a:extLst>
          </p:cNvPr>
          <p:cNvCxnSpPr>
            <a:stCxn id="92" idx="4"/>
            <a:endCxn id="93" idx="0"/>
          </p:cNvCxnSpPr>
          <p:nvPr/>
        </p:nvCxnSpPr>
        <p:spPr bwMode="auto">
          <a:xfrm>
            <a:off x="5183103" y="4254856"/>
            <a:ext cx="2740"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99" name="Ellipse 98">
            <a:extLst>
              <a:ext uri="{FF2B5EF4-FFF2-40B4-BE49-F238E27FC236}">
                <a16:creationId xmlns:a16="http://schemas.microsoft.com/office/drawing/2014/main" id="{CC579BC9-F06E-40D6-9089-2F29368CE407}"/>
              </a:ext>
            </a:extLst>
          </p:cNvPr>
          <p:cNvSpPr/>
          <p:nvPr/>
        </p:nvSpPr>
        <p:spPr bwMode="auto">
          <a:xfrm>
            <a:off x="6277163" y="219084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0" name="Ellipse 99">
            <a:extLst>
              <a:ext uri="{FF2B5EF4-FFF2-40B4-BE49-F238E27FC236}">
                <a16:creationId xmlns:a16="http://schemas.microsoft.com/office/drawing/2014/main" id="{6B4D98A6-2CC0-4102-B4C1-2574B8461952}"/>
              </a:ext>
            </a:extLst>
          </p:cNvPr>
          <p:cNvSpPr/>
          <p:nvPr/>
        </p:nvSpPr>
        <p:spPr bwMode="auto">
          <a:xfrm>
            <a:off x="5928476" y="3195782"/>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1" name="Ellipse 100">
            <a:extLst>
              <a:ext uri="{FF2B5EF4-FFF2-40B4-BE49-F238E27FC236}">
                <a16:creationId xmlns:a16="http://schemas.microsoft.com/office/drawing/2014/main" id="{47E216FA-5823-4510-A587-08E21D4E5387}"/>
              </a:ext>
            </a:extLst>
          </p:cNvPr>
          <p:cNvSpPr/>
          <p:nvPr/>
        </p:nvSpPr>
        <p:spPr bwMode="auto">
          <a:xfrm>
            <a:off x="6137093" y="3707657"/>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2" name="Ellipse 101">
            <a:extLst>
              <a:ext uri="{FF2B5EF4-FFF2-40B4-BE49-F238E27FC236}">
                <a16:creationId xmlns:a16="http://schemas.microsoft.com/office/drawing/2014/main" id="{241AE8A5-4A68-4CFD-A3B1-955BE47B53AF}"/>
              </a:ext>
            </a:extLst>
          </p:cNvPr>
          <p:cNvSpPr/>
          <p:nvPr/>
        </p:nvSpPr>
        <p:spPr bwMode="auto">
          <a:xfrm>
            <a:off x="6112474" y="4182856"/>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3" name="Ellipse 102">
            <a:extLst>
              <a:ext uri="{FF2B5EF4-FFF2-40B4-BE49-F238E27FC236}">
                <a16:creationId xmlns:a16="http://schemas.microsoft.com/office/drawing/2014/main" id="{6DC8F5F3-B2F0-480A-A6E3-9F4F3BDDDD0D}"/>
              </a:ext>
            </a:extLst>
          </p:cNvPr>
          <p:cNvSpPr/>
          <p:nvPr/>
        </p:nvSpPr>
        <p:spPr bwMode="auto">
          <a:xfrm>
            <a:off x="6261885" y="468473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4" name="Ellipse 103">
            <a:extLst>
              <a:ext uri="{FF2B5EF4-FFF2-40B4-BE49-F238E27FC236}">
                <a16:creationId xmlns:a16="http://schemas.microsoft.com/office/drawing/2014/main" id="{3CD4DABD-4152-4FA7-99EF-0C6D2470D395}"/>
              </a:ext>
            </a:extLst>
          </p:cNvPr>
          <p:cNvSpPr/>
          <p:nvPr/>
        </p:nvSpPr>
        <p:spPr bwMode="auto">
          <a:xfrm>
            <a:off x="6479167" y="267723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05" name="Connecteur droit 104">
            <a:extLst>
              <a:ext uri="{FF2B5EF4-FFF2-40B4-BE49-F238E27FC236}">
                <a16:creationId xmlns:a16="http://schemas.microsoft.com/office/drawing/2014/main" id="{FFC8476D-D83B-4DEF-AFCC-F198C016E69C}"/>
              </a:ext>
            </a:extLst>
          </p:cNvPr>
          <p:cNvCxnSpPr>
            <a:stCxn id="99" idx="4"/>
            <a:endCxn id="104" idx="0"/>
          </p:cNvCxnSpPr>
          <p:nvPr/>
        </p:nvCxnSpPr>
        <p:spPr bwMode="auto">
          <a:xfrm>
            <a:off x="6313883" y="2262840"/>
            <a:ext cx="202004" cy="41439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6" name="Connecteur droit 105">
            <a:extLst>
              <a:ext uri="{FF2B5EF4-FFF2-40B4-BE49-F238E27FC236}">
                <a16:creationId xmlns:a16="http://schemas.microsoft.com/office/drawing/2014/main" id="{48BF003B-3E0F-4A40-BF5F-F644B9081EE4}"/>
              </a:ext>
            </a:extLst>
          </p:cNvPr>
          <p:cNvCxnSpPr>
            <a:cxnSpLocks/>
            <a:stCxn id="104" idx="4"/>
            <a:endCxn id="100" idx="0"/>
          </p:cNvCxnSpPr>
          <p:nvPr/>
        </p:nvCxnSpPr>
        <p:spPr bwMode="auto">
          <a:xfrm flipH="1">
            <a:off x="5965196" y="2749234"/>
            <a:ext cx="550691" cy="446548"/>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7" name="Connecteur droit 106">
            <a:extLst>
              <a:ext uri="{FF2B5EF4-FFF2-40B4-BE49-F238E27FC236}">
                <a16:creationId xmlns:a16="http://schemas.microsoft.com/office/drawing/2014/main" id="{31EB1051-EFD6-46BD-8CF1-203D1CCAE0EA}"/>
              </a:ext>
            </a:extLst>
          </p:cNvPr>
          <p:cNvCxnSpPr>
            <a:stCxn id="100" idx="4"/>
            <a:endCxn id="101" idx="0"/>
          </p:cNvCxnSpPr>
          <p:nvPr/>
        </p:nvCxnSpPr>
        <p:spPr bwMode="auto">
          <a:xfrm>
            <a:off x="5965196" y="3267782"/>
            <a:ext cx="208617" cy="439875"/>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8" name="Connecteur droit 107">
            <a:extLst>
              <a:ext uri="{FF2B5EF4-FFF2-40B4-BE49-F238E27FC236}">
                <a16:creationId xmlns:a16="http://schemas.microsoft.com/office/drawing/2014/main" id="{71B27ED9-299E-4001-8BED-3E5646AE31A8}"/>
              </a:ext>
            </a:extLst>
          </p:cNvPr>
          <p:cNvCxnSpPr>
            <a:stCxn id="101" idx="4"/>
            <a:endCxn id="102" idx="0"/>
          </p:cNvCxnSpPr>
          <p:nvPr/>
        </p:nvCxnSpPr>
        <p:spPr bwMode="auto">
          <a:xfrm flipH="1">
            <a:off x="6149194" y="3779657"/>
            <a:ext cx="24619" cy="403199"/>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9" name="Connecteur droit 108">
            <a:extLst>
              <a:ext uri="{FF2B5EF4-FFF2-40B4-BE49-F238E27FC236}">
                <a16:creationId xmlns:a16="http://schemas.microsoft.com/office/drawing/2014/main" id="{2576AEF3-3748-4311-B32F-5216DDDF606A}"/>
              </a:ext>
            </a:extLst>
          </p:cNvPr>
          <p:cNvCxnSpPr>
            <a:stCxn id="102" idx="4"/>
            <a:endCxn id="103" idx="0"/>
          </p:cNvCxnSpPr>
          <p:nvPr/>
        </p:nvCxnSpPr>
        <p:spPr bwMode="auto">
          <a:xfrm>
            <a:off x="6149194" y="4254856"/>
            <a:ext cx="149411"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21" name="Connecteur droit 120">
            <a:extLst>
              <a:ext uri="{FF2B5EF4-FFF2-40B4-BE49-F238E27FC236}">
                <a16:creationId xmlns:a16="http://schemas.microsoft.com/office/drawing/2014/main" id="{B7788CA3-11C9-464C-9EDD-C9ADB12CC863}"/>
              </a:ext>
            </a:extLst>
          </p:cNvPr>
          <p:cNvCxnSpPr/>
          <p:nvPr/>
        </p:nvCxnSpPr>
        <p:spPr bwMode="auto">
          <a:xfrm>
            <a:off x="3284781"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sp>
        <p:nvSpPr>
          <p:cNvPr id="122" name="Ellipse 121">
            <a:extLst>
              <a:ext uri="{FF2B5EF4-FFF2-40B4-BE49-F238E27FC236}">
                <a16:creationId xmlns:a16="http://schemas.microsoft.com/office/drawing/2014/main" id="{8BAA2B8F-E014-480E-9B73-426ED3CA135D}"/>
              </a:ext>
            </a:extLst>
          </p:cNvPr>
          <p:cNvSpPr>
            <a:spLocks noChangeAspect="1"/>
          </p:cNvSpPr>
          <p:nvPr/>
        </p:nvSpPr>
        <p:spPr bwMode="auto">
          <a:xfrm>
            <a:off x="3230493"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131" name="Ellipse 130">
            <a:extLst>
              <a:ext uri="{FF2B5EF4-FFF2-40B4-BE49-F238E27FC236}">
                <a16:creationId xmlns:a16="http://schemas.microsoft.com/office/drawing/2014/main" id="{E47114D0-8A57-4CB2-9C60-44A7BB8A425A}"/>
              </a:ext>
            </a:extLst>
          </p:cNvPr>
          <p:cNvSpPr/>
          <p:nvPr/>
        </p:nvSpPr>
        <p:spPr bwMode="auto">
          <a:xfrm>
            <a:off x="5506910" y="518660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33" name="Connecteur droit 132">
            <a:extLst>
              <a:ext uri="{FF2B5EF4-FFF2-40B4-BE49-F238E27FC236}">
                <a16:creationId xmlns:a16="http://schemas.microsoft.com/office/drawing/2014/main" id="{116AFC45-2F1E-4F67-B176-DE63C5C7200C}"/>
              </a:ext>
            </a:extLst>
          </p:cNvPr>
          <p:cNvCxnSpPr>
            <a:stCxn id="93" idx="4"/>
            <a:endCxn id="131" idx="0"/>
          </p:cNvCxnSpPr>
          <p:nvPr/>
        </p:nvCxnSpPr>
        <p:spPr bwMode="auto">
          <a:xfrm>
            <a:off x="5185843" y="4756730"/>
            <a:ext cx="357787"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34" name="Connecteur droit 133">
            <a:extLst>
              <a:ext uri="{FF2B5EF4-FFF2-40B4-BE49-F238E27FC236}">
                <a16:creationId xmlns:a16="http://schemas.microsoft.com/office/drawing/2014/main" id="{9FF9B8CA-B09E-42B4-9727-B1C22C754A21}"/>
              </a:ext>
            </a:extLst>
          </p:cNvPr>
          <p:cNvCxnSpPr>
            <a:cxnSpLocks/>
            <a:stCxn id="131" idx="4"/>
            <a:endCxn id="151" idx="7"/>
          </p:cNvCxnSpPr>
          <p:nvPr/>
        </p:nvCxnSpPr>
        <p:spPr bwMode="auto">
          <a:xfrm flipH="1">
            <a:off x="5224748" y="5258604"/>
            <a:ext cx="318882" cy="448330"/>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35" name="Ellipse 134">
            <a:extLst>
              <a:ext uri="{FF2B5EF4-FFF2-40B4-BE49-F238E27FC236}">
                <a16:creationId xmlns:a16="http://schemas.microsoft.com/office/drawing/2014/main" id="{149A9BA5-47C4-462B-8A13-11C7FE9FAACC}"/>
              </a:ext>
            </a:extLst>
          </p:cNvPr>
          <p:cNvSpPr/>
          <p:nvPr/>
        </p:nvSpPr>
        <p:spPr bwMode="auto">
          <a:xfrm>
            <a:off x="6108840" y="518660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37" name="Connecteur droit 136">
            <a:extLst>
              <a:ext uri="{FF2B5EF4-FFF2-40B4-BE49-F238E27FC236}">
                <a16:creationId xmlns:a16="http://schemas.microsoft.com/office/drawing/2014/main" id="{CF4F308C-95B7-4A02-923F-FE3BAB41BBBE}"/>
              </a:ext>
            </a:extLst>
          </p:cNvPr>
          <p:cNvCxnSpPr>
            <a:stCxn id="103" idx="4"/>
            <a:endCxn id="135" idx="0"/>
          </p:cNvCxnSpPr>
          <p:nvPr/>
        </p:nvCxnSpPr>
        <p:spPr bwMode="auto">
          <a:xfrm flipH="1">
            <a:off x="6145560" y="4756730"/>
            <a:ext cx="153045"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38" name="Connecteur droit 137">
            <a:extLst>
              <a:ext uri="{FF2B5EF4-FFF2-40B4-BE49-F238E27FC236}">
                <a16:creationId xmlns:a16="http://schemas.microsoft.com/office/drawing/2014/main" id="{608E10A4-1877-4116-B5A4-2F6006401C52}"/>
              </a:ext>
            </a:extLst>
          </p:cNvPr>
          <p:cNvCxnSpPr>
            <a:cxnSpLocks/>
            <a:stCxn id="135" idx="4"/>
            <a:endCxn id="154" idx="2"/>
          </p:cNvCxnSpPr>
          <p:nvPr/>
        </p:nvCxnSpPr>
        <p:spPr bwMode="auto">
          <a:xfrm>
            <a:off x="6145560" y="5258604"/>
            <a:ext cx="319103" cy="473786"/>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287" name="Rectangle 286">
            <a:extLst>
              <a:ext uri="{FF2B5EF4-FFF2-40B4-BE49-F238E27FC236}">
                <a16:creationId xmlns:a16="http://schemas.microsoft.com/office/drawing/2014/main" id="{27533086-8568-404E-B751-37348D582490}"/>
              </a:ext>
            </a:extLst>
          </p:cNvPr>
          <p:cNvSpPr/>
          <p:nvPr/>
        </p:nvSpPr>
        <p:spPr bwMode="auto">
          <a:xfrm>
            <a:off x="389659" y="2579972"/>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Capacity to integrate into the client’s system</a:t>
            </a:r>
            <a:endParaRPr kumimoji="0" lang="en-GB" sz="900" b="0" i="1" u="none" strike="noStrike" kern="0" cap="none" spc="0" normalizeH="0" baseline="0" noProof="0">
              <a:ln>
                <a:noFill/>
              </a:ln>
              <a:solidFill>
                <a:schemeClr val="bg1"/>
              </a:solidFill>
              <a:effectLst/>
              <a:uLnTx/>
              <a:uFillTx/>
              <a:latin typeface="Trebuchet MS" panose="020B0603020202020204" pitchFamily="34" charset="0"/>
            </a:endParaRPr>
          </a:p>
        </p:txBody>
      </p:sp>
      <p:sp>
        <p:nvSpPr>
          <p:cNvPr id="295" name="Rectangle 294">
            <a:extLst>
              <a:ext uri="{FF2B5EF4-FFF2-40B4-BE49-F238E27FC236}">
                <a16:creationId xmlns:a16="http://schemas.microsoft.com/office/drawing/2014/main" id="{E1CAA2E5-65C6-432D-BE7C-F7E505261921}"/>
              </a:ext>
            </a:extLst>
          </p:cNvPr>
          <p:cNvSpPr/>
          <p:nvPr/>
        </p:nvSpPr>
        <p:spPr bwMode="auto">
          <a:xfrm>
            <a:off x="389659" y="3563638"/>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Availability of international data</a:t>
            </a:r>
          </a:p>
        </p:txBody>
      </p:sp>
      <p:sp>
        <p:nvSpPr>
          <p:cNvPr id="298" name="Rectangle 297">
            <a:extLst>
              <a:ext uri="{FF2B5EF4-FFF2-40B4-BE49-F238E27FC236}">
                <a16:creationId xmlns:a16="http://schemas.microsoft.com/office/drawing/2014/main" id="{7B525590-F87C-44E1-A315-5D105A133BDC}"/>
              </a:ext>
            </a:extLst>
          </p:cNvPr>
          <p:cNvSpPr/>
          <p:nvPr/>
        </p:nvSpPr>
        <p:spPr bwMode="auto">
          <a:xfrm>
            <a:off x="389659" y="3071805"/>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Price competitiveness</a:t>
            </a:r>
          </a:p>
        </p:txBody>
      </p:sp>
      <p:sp>
        <p:nvSpPr>
          <p:cNvPr id="299" name="Rectangle 298">
            <a:extLst>
              <a:ext uri="{FF2B5EF4-FFF2-40B4-BE49-F238E27FC236}">
                <a16:creationId xmlns:a16="http://schemas.microsoft.com/office/drawing/2014/main" id="{75863751-7CC6-4D53-B910-11380515DA84}"/>
              </a:ext>
            </a:extLst>
          </p:cNvPr>
          <p:cNvSpPr/>
          <p:nvPr/>
        </p:nvSpPr>
        <p:spPr bwMode="auto">
          <a:xfrm>
            <a:off x="389659" y="5531272"/>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Brand image</a:t>
            </a:r>
          </a:p>
        </p:txBody>
      </p:sp>
      <p:sp>
        <p:nvSpPr>
          <p:cNvPr id="302" name="Rectangle 301">
            <a:extLst>
              <a:ext uri="{FF2B5EF4-FFF2-40B4-BE49-F238E27FC236}">
                <a16:creationId xmlns:a16="http://schemas.microsoft.com/office/drawing/2014/main" id="{E8707AA9-398A-4782-AC94-46DED9EDE475}"/>
              </a:ext>
            </a:extLst>
          </p:cNvPr>
          <p:cNvSpPr/>
          <p:nvPr/>
        </p:nvSpPr>
        <p:spPr bwMode="auto">
          <a:xfrm>
            <a:off x="389659" y="2088971"/>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Quality of the database</a:t>
            </a:r>
            <a:endParaRPr kumimoji="0" lang="en-GB" sz="900" b="0" i="1" u="none" strike="noStrike" kern="0" cap="none" spc="0" normalizeH="0" baseline="0" noProof="0">
              <a:ln>
                <a:noFill/>
              </a:ln>
              <a:solidFill>
                <a:schemeClr val="bg1"/>
              </a:solidFill>
              <a:effectLst/>
              <a:uLnTx/>
              <a:uFillTx/>
              <a:latin typeface="Trebuchet MS" panose="020B0603020202020204" pitchFamily="34" charset="0"/>
            </a:endParaRPr>
          </a:p>
        </p:txBody>
      </p:sp>
      <p:sp>
        <p:nvSpPr>
          <p:cNvPr id="332" name="Rectangle 331">
            <a:extLst>
              <a:ext uri="{FF2B5EF4-FFF2-40B4-BE49-F238E27FC236}">
                <a16:creationId xmlns:a16="http://schemas.microsoft.com/office/drawing/2014/main" id="{88438399-992A-49A2-8B5C-669D2FDA7310}"/>
              </a:ext>
            </a:extLst>
          </p:cNvPr>
          <p:cNvSpPr/>
          <p:nvPr/>
        </p:nvSpPr>
        <p:spPr bwMode="auto">
          <a:xfrm>
            <a:off x="389659" y="4055471"/>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Reactivity: ability to update databases quickly and to adapt to clients’ needs</a:t>
            </a:r>
          </a:p>
        </p:txBody>
      </p:sp>
      <p:sp>
        <p:nvSpPr>
          <p:cNvPr id="333" name="Rectangle 332">
            <a:extLst>
              <a:ext uri="{FF2B5EF4-FFF2-40B4-BE49-F238E27FC236}">
                <a16:creationId xmlns:a16="http://schemas.microsoft.com/office/drawing/2014/main" id="{FDCFB3E3-9A05-470D-A8AE-472C9104370D}"/>
              </a:ext>
            </a:extLst>
          </p:cNvPr>
          <p:cNvSpPr/>
          <p:nvPr/>
        </p:nvSpPr>
        <p:spPr bwMode="auto">
          <a:xfrm>
            <a:off x="389659" y="4547304"/>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Capacity to integrate enriched data sources</a:t>
            </a:r>
            <a:endParaRPr kumimoji="0" lang="en-GB" sz="900" b="0" i="0" u="none" strike="noStrike" kern="0" cap="none" spc="0" normalizeH="0" baseline="0" noProof="0">
              <a:ln>
                <a:noFill/>
              </a:ln>
              <a:solidFill>
                <a:schemeClr val="bg1"/>
              </a:solidFill>
              <a:effectLst/>
              <a:uLnTx/>
              <a:uFillTx/>
              <a:latin typeface="Trebuchet MS" panose="020B0603020202020204" pitchFamily="34" charset="0"/>
            </a:endParaRPr>
          </a:p>
        </p:txBody>
      </p:sp>
      <p:sp>
        <p:nvSpPr>
          <p:cNvPr id="336" name="Rectangle 335">
            <a:extLst>
              <a:ext uri="{FF2B5EF4-FFF2-40B4-BE49-F238E27FC236}">
                <a16:creationId xmlns:a16="http://schemas.microsoft.com/office/drawing/2014/main" id="{A0E96FDB-4305-4A12-9EB7-1A3742B9E5E8}"/>
              </a:ext>
            </a:extLst>
          </p:cNvPr>
          <p:cNvSpPr/>
          <p:nvPr/>
        </p:nvSpPr>
        <p:spPr bwMode="auto">
          <a:xfrm>
            <a:off x="389659" y="5039137"/>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Ease of use of the solution</a:t>
            </a:r>
          </a:p>
        </p:txBody>
      </p:sp>
      <p:sp>
        <p:nvSpPr>
          <p:cNvPr id="78" name="Ellipse 77">
            <a:extLst>
              <a:ext uri="{FF2B5EF4-FFF2-40B4-BE49-F238E27FC236}">
                <a16:creationId xmlns:a16="http://schemas.microsoft.com/office/drawing/2014/main" id="{F1D2D26B-38C6-43AB-9D1D-7851AD9914F3}"/>
              </a:ext>
            </a:extLst>
          </p:cNvPr>
          <p:cNvSpPr/>
          <p:nvPr/>
        </p:nvSpPr>
        <p:spPr bwMode="auto">
          <a:xfrm>
            <a:off x="3784974" y="216618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79" name="Ellipse 78">
            <a:extLst>
              <a:ext uri="{FF2B5EF4-FFF2-40B4-BE49-F238E27FC236}">
                <a16:creationId xmlns:a16="http://schemas.microsoft.com/office/drawing/2014/main" id="{F17C5DBD-1BF6-4AB3-8C6E-9F593143A76C}"/>
              </a:ext>
            </a:extLst>
          </p:cNvPr>
          <p:cNvSpPr/>
          <p:nvPr/>
        </p:nvSpPr>
        <p:spPr bwMode="auto">
          <a:xfrm>
            <a:off x="3433477" y="3179108"/>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1" name="Ellipse 80">
            <a:extLst>
              <a:ext uri="{FF2B5EF4-FFF2-40B4-BE49-F238E27FC236}">
                <a16:creationId xmlns:a16="http://schemas.microsoft.com/office/drawing/2014/main" id="{88B0D50E-36BF-4FEB-9967-14C2E7241AE8}"/>
              </a:ext>
            </a:extLst>
          </p:cNvPr>
          <p:cNvSpPr/>
          <p:nvPr/>
        </p:nvSpPr>
        <p:spPr bwMode="auto">
          <a:xfrm>
            <a:off x="3610362" y="4182856"/>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2" name="Ellipse 81">
            <a:extLst>
              <a:ext uri="{FF2B5EF4-FFF2-40B4-BE49-F238E27FC236}">
                <a16:creationId xmlns:a16="http://schemas.microsoft.com/office/drawing/2014/main" id="{53BC15A9-4DDF-464D-B838-F8B484086381}"/>
              </a:ext>
            </a:extLst>
          </p:cNvPr>
          <p:cNvSpPr/>
          <p:nvPr/>
        </p:nvSpPr>
        <p:spPr bwMode="auto">
          <a:xfrm>
            <a:off x="3792042" y="4677110"/>
            <a:ext cx="80784"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84" name="Connecteur droit 83">
            <a:extLst>
              <a:ext uri="{FF2B5EF4-FFF2-40B4-BE49-F238E27FC236}">
                <a16:creationId xmlns:a16="http://schemas.microsoft.com/office/drawing/2014/main" id="{B7C793D4-624E-4907-8FF0-EA1CD4EF52F7}"/>
              </a:ext>
            </a:extLst>
          </p:cNvPr>
          <p:cNvCxnSpPr>
            <a:stCxn id="78" idx="4"/>
            <a:endCxn id="83" idx="0"/>
          </p:cNvCxnSpPr>
          <p:nvPr/>
        </p:nvCxnSpPr>
        <p:spPr bwMode="auto">
          <a:xfrm>
            <a:off x="3821694" y="2238184"/>
            <a:ext cx="8394" cy="43473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5" name="Connecteur droit 84">
            <a:extLst>
              <a:ext uri="{FF2B5EF4-FFF2-40B4-BE49-F238E27FC236}">
                <a16:creationId xmlns:a16="http://schemas.microsoft.com/office/drawing/2014/main" id="{625D08B3-B814-4C9A-8627-F8EB0DF77F60}"/>
              </a:ext>
            </a:extLst>
          </p:cNvPr>
          <p:cNvCxnSpPr>
            <a:stCxn id="83" idx="4"/>
            <a:endCxn id="79" idx="0"/>
          </p:cNvCxnSpPr>
          <p:nvPr/>
        </p:nvCxnSpPr>
        <p:spPr bwMode="auto">
          <a:xfrm flipH="1">
            <a:off x="3470197" y="2744918"/>
            <a:ext cx="359891" cy="434190"/>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6" name="Connecteur droit 85">
            <a:extLst>
              <a:ext uri="{FF2B5EF4-FFF2-40B4-BE49-F238E27FC236}">
                <a16:creationId xmlns:a16="http://schemas.microsoft.com/office/drawing/2014/main" id="{6F27B7C1-354E-4018-9938-089F799A0E75}"/>
              </a:ext>
            </a:extLst>
          </p:cNvPr>
          <p:cNvCxnSpPr>
            <a:stCxn id="79" idx="4"/>
            <a:endCxn id="80" idx="0"/>
          </p:cNvCxnSpPr>
          <p:nvPr/>
        </p:nvCxnSpPr>
        <p:spPr bwMode="auto">
          <a:xfrm>
            <a:off x="3470197" y="3251108"/>
            <a:ext cx="360975" cy="40884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7" name="Connecteur droit 86">
            <a:extLst>
              <a:ext uri="{FF2B5EF4-FFF2-40B4-BE49-F238E27FC236}">
                <a16:creationId xmlns:a16="http://schemas.microsoft.com/office/drawing/2014/main" id="{F1D406B1-7BAA-4B30-A58F-43AB3EB26E93}"/>
              </a:ext>
            </a:extLst>
          </p:cNvPr>
          <p:cNvCxnSpPr>
            <a:stCxn id="80" idx="4"/>
            <a:endCxn id="81" idx="0"/>
          </p:cNvCxnSpPr>
          <p:nvPr/>
        </p:nvCxnSpPr>
        <p:spPr bwMode="auto">
          <a:xfrm flipH="1">
            <a:off x="3647082" y="3731952"/>
            <a:ext cx="184090" cy="45090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8" name="Connecteur droit 87">
            <a:extLst>
              <a:ext uri="{FF2B5EF4-FFF2-40B4-BE49-F238E27FC236}">
                <a16:creationId xmlns:a16="http://schemas.microsoft.com/office/drawing/2014/main" id="{E312777C-B68A-4B0E-A5B9-92FBEE388A21}"/>
              </a:ext>
            </a:extLst>
          </p:cNvPr>
          <p:cNvCxnSpPr>
            <a:stCxn id="81" idx="4"/>
            <a:endCxn id="82" idx="0"/>
          </p:cNvCxnSpPr>
          <p:nvPr/>
        </p:nvCxnSpPr>
        <p:spPr bwMode="auto">
          <a:xfrm>
            <a:off x="3647082" y="4254856"/>
            <a:ext cx="185352" cy="422254"/>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27" name="Ellipse 126">
            <a:extLst>
              <a:ext uri="{FF2B5EF4-FFF2-40B4-BE49-F238E27FC236}">
                <a16:creationId xmlns:a16="http://schemas.microsoft.com/office/drawing/2014/main" id="{C448E81C-0C04-445E-B2D5-56A727A77777}"/>
              </a:ext>
            </a:extLst>
          </p:cNvPr>
          <p:cNvSpPr/>
          <p:nvPr/>
        </p:nvSpPr>
        <p:spPr bwMode="auto">
          <a:xfrm>
            <a:off x="3767428" y="518660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28" name="Ellipse 127">
            <a:extLst>
              <a:ext uri="{FF2B5EF4-FFF2-40B4-BE49-F238E27FC236}">
                <a16:creationId xmlns:a16="http://schemas.microsoft.com/office/drawing/2014/main" id="{917FC58C-6148-4C9E-AC3F-76AA30EF4EA0}"/>
              </a:ext>
            </a:extLst>
          </p:cNvPr>
          <p:cNvSpPr/>
          <p:nvPr/>
        </p:nvSpPr>
        <p:spPr bwMode="auto">
          <a:xfrm>
            <a:off x="3761062" y="569639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29" name="Connecteur droit 128">
            <a:extLst>
              <a:ext uri="{FF2B5EF4-FFF2-40B4-BE49-F238E27FC236}">
                <a16:creationId xmlns:a16="http://schemas.microsoft.com/office/drawing/2014/main" id="{0EF30944-E4E5-4F70-B115-4151DAC8AB08}"/>
              </a:ext>
            </a:extLst>
          </p:cNvPr>
          <p:cNvCxnSpPr>
            <a:stCxn id="82" idx="4"/>
            <a:endCxn id="127" idx="0"/>
          </p:cNvCxnSpPr>
          <p:nvPr/>
        </p:nvCxnSpPr>
        <p:spPr bwMode="auto">
          <a:xfrm flipH="1">
            <a:off x="3804148" y="4749110"/>
            <a:ext cx="28286" cy="43749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30" name="Connecteur droit 129">
            <a:extLst>
              <a:ext uri="{FF2B5EF4-FFF2-40B4-BE49-F238E27FC236}">
                <a16:creationId xmlns:a16="http://schemas.microsoft.com/office/drawing/2014/main" id="{627C9755-5704-4143-8D66-969F3B06D884}"/>
              </a:ext>
            </a:extLst>
          </p:cNvPr>
          <p:cNvCxnSpPr>
            <a:stCxn id="127" idx="4"/>
            <a:endCxn id="128" idx="0"/>
          </p:cNvCxnSpPr>
          <p:nvPr/>
        </p:nvCxnSpPr>
        <p:spPr bwMode="auto">
          <a:xfrm flipH="1">
            <a:off x="3797782" y="5258604"/>
            <a:ext cx="6366" cy="437786"/>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37" name="Connecteur droit 36">
            <a:extLst>
              <a:ext uri="{FF2B5EF4-FFF2-40B4-BE49-F238E27FC236}">
                <a16:creationId xmlns:a16="http://schemas.microsoft.com/office/drawing/2014/main" id="{C26D1A79-82BF-4264-970A-282421AB3978}"/>
              </a:ext>
            </a:extLst>
          </p:cNvPr>
          <p:cNvCxnSpPr/>
          <p:nvPr/>
        </p:nvCxnSpPr>
        <p:spPr bwMode="auto">
          <a:xfrm>
            <a:off x="4499759"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sp>
        <p:nvSpPr>
          <p:cNvPr id="46" name="Ellipse 45">
            <a:extLst>
              <a:ext uri="{FF2B5EF4-FFF2-40B4-BE49-F238E27FC236}">
                <a16:creationId xmlns:a16="http://schemas.microsoft.com/office/drawing/2014/main" id="{B935625D-FE85-42D1-9A3B-C3079E1F040B}"/>
              </a:ext>
            </a:extLst>
          </p:cNvPr>
          <p:cNvSpPr/>
          <p:nvPr/>
        </p:nvSpPr>
        <p:spPr bwMode="auto">
          <a:xfrm>
            <a:off x="4493982" y="217536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47" name="Ellipse 46">
            <a:extLst>
              <a:ext uri="{FF2B5EF4-FFF2-40B4-BE49-F238E27FC236}">
                <a16:creationId xmlns:a16="http://schemas.microsoft.com/office/drawing/2014/main" id="{0BD14BE5-BC74-4326-8F6E-25890BE862E5}"/>
              </a:ext>
            </a:extLst>
          </p:cNvPr>
          <p:cNvSpPr/>
          <p:nvPr/>
        </p:nvSpPr>
        <p:spPr bwMode="auto">
          <a:xfrm>
            <a:off x="4291990" y="3179108"/>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48" name="Ellipse 47">
            <a:extLst>
              <a:ext uri="{FF2B5EF4-FFF2-40B4-BE49-F238E27FC236}">
                <a16:creationId xmlns:a16="http://schemas.microsoft.com/office/drawing/2014/main" id="{86D88E4E-B283-44C6-93E1-26F421A2D467}"/>
              </a:ext>
            </a:extLst>
          </p:cNvPr>
          <p:cNvSpPr/>
          <p:nvPr/>
        </p:nvSpPr>
        <p:spPr bwMode="auto">
          <a:xfrm>
            <a:off x="4477385" y="3680982"/>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49" name="Ellipse 48">
            <a:extLst>
              <a:ext uri="{FF2B5EF4-FFF2-40B4-BE49-F238E27FC236}">
                <a16:creationId xmlns:a16="http://schemas.microsoft.com/office/drawing/2014/main" id="{F5706BF9-E8E1-4F63-8A38-CC3C35E51598}"/>
              </a:ext>
            </a:extLst>
          </p:cNvPr>
          <p:cNvSpPr/>
          <p:nvPr/>
        </p:nvSpPr>
        <p:spPr bwMode="auto">
          <a:xfrm>
            <a:off x="4654380" y="4182856"/>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50" name="Ellipse 49">
            <a:extLst>
              <a:ext uri="{FF2B5EF4-FFF2-40B4-BE49-F238E27FC236}">
                <a16:creationId xmlns:a16="http://schemas.microsoft.com/office/drawing/2014/main" id="{697685FE-79D8-461E-8E63-A407A35EA21A}"/>
              </a:ext>
            </a:extLst>
          </p:cNvPr>
          <p:cNvSpPr/>
          <p:nvPr/>
        </p:nvSpPr>
        <p:spPr bwMode="auto">
          <a:xfrm>
            <a:off x="4469749" y="468473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51" name="Ellipse 50">
            <a:extLst>
              <a:ext uri="{FF2B5EF4-FFF2-40B4-BE49-F238E27FC236}">
                <a16:creationId xmlns:a16="http://schemas.microsoft.com/office/drawing/2014/main" id="{30F74E7C-0861-4C02-8652-12705BF86CA0}"/>
              </a:ext>
            </a:extLst>
          </p:cNvPr>
          <p:cNvSpPr/>
          <p:nvPr/>
        </p:nvSpPr>
        <p:spPr bwMode="auto">
          <a:xfrm>
            <a:off x="4649600" y="267723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52" name="Connecteur droit 51">
            <a:extLst>
              <a:ext uri="{FF2B5EF4-FFF2-40B4-BE49-F238E27FC236}">
                <a16:creationId xmlns:a16="http://schemas.microsoft.com/office/drawing/2014/main" id="{9240864B-F682-4AED-B53F-48BDAEED0D62}"/>
              </a:ext>
            </a:extLst>
          </p:cNvPr>
          <p:cNvCxnSpPr>
            <a:stCxn id="46" idx="4"/>
            <a:endCxn id="51" idx="0"/>
          </p:cNvCxnSpPr>
          <p:nvPr/>
        </p:nvCxnSpPr>
        <p:spPr bwMode="auto">
          <a:xfrm>
            <a:off x="4530702" y="2247360"/>
            <a:ext cx="155618"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3" name="Connecteur droit 52">
            <a:extLst>
              <a:ext uri="{FF2B5EF4-FFF2-40B4-BE49-F238E27FC236}">
                <a16:creationId xmlns:a16="http://schemas.microsoft.com/office/drawing/2014/main" id="{0CF208CE-556D-469D-BB10-A219F77362B7}"/>
              </a:ext>
            </a:extLst>
          </p:cNvPr>
          <p:cNvCxnSpPr>
            <a:stCxn id="51" idx="4"/>
            <a:endCxn id="47" idx="0"/>
          </p:cNvCxnSpPr>
          <p:nvPr/>
        </p:nvCxnSpPr>
        <p:spPr bwMode="auto">
          <a:xfrm flipH="1">
            <a:off x="4328710" y="2749234"/>
            <a:ext cx="357610"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4" name="Connecteur droit 53">
            <a:extLst>
              <a:ext uri="{FF2B5EF4-FFF2-40B4-BE49-F238E27FC236}">
                <a16:creationId xmlns:a16="http://schemas.microsoft.com/office/drawing/2014/main" id="{91F63933-596B-459F-A508-C0C23B5C1001}"/>
              </a:ext>
            </a:extLst>
          </p:cNvPr>
          <p:cNvCxnSpPr>
            <a:stCxn id="47" idx="4"/>
            <a:endCxn id="48" idx="0"/>
          </p:cNvCxnSpPr>
          <p:nvPr/>
        </p:nvCxnSpPr>
        <p:spPr bwMode="auto">
          <a:xfrm>
            <a:off x="4328710" y="3251108"/>
            <a:ext cx="185395"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5" name="Connecteur droit 54">
            <a:extLst>
              <a:ext uri="{FF2B5EF4-FFF2-40B4-BE49-F238E27FC236}">
                <a16:creationId xmlns:a16="http://schemas.microsoft.com/office/drawing/2014/main" id="{64DA5714-7199-4D6C-990A-E362EA37314F}"/>
              </a:ext>
            </a:extLst>
          </p:cNvPr>
          <p:cNvCxnSpPr>
            <a:stCxn id="48" idx="4"/>
            <a:endCxn id="49" idx="0"/>
          </p:cNvCxnSpPr>
          <p:nvPr/>
        </p:nvCxnSpPr>
        <p:spPr bwMode="auto">
          <a:xfrm>
            <a:off x="4514105" y="3752982"/>
            <a:ext cx="176995"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6" name="Connecteur droit 55">
            <a:extLst>
              <a:ext uri="{FF2B5EF4-FFF2-40B4-BE49-F238E27FC236}">
                <a16:creationId xmlns:a16="http://schemas.microsoft.com/office/drawing/2014/main" id="{22FE5197-1988-4033-896E-652E5053564E}"/>
              </a:ext>
            </a:extLst>
          </p:cNvPr>
          <p:cNvCxnSpPr>
            <a:stCxn id="49" idx="4"/>
            <a:endCxn id="50" idx="0"/>
          </p:cNvCxnSpPr>
          <p:nvPr/>
        </p:nvCxnSpPr>
        <p:spPr bwMode="auto">
          <a:xfrm flipH="1">
            <a:off x="4506469" y="4254856"/>
            <a:ext cx="184631"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23" name="Ellipse 122">
            <a:extLst>
              <a:ext uri="{FF2B5EF4-FFF2-40B4-BE49-F238E27FC236}">
                <a16:creationId xmlns:a16="http://schemas.microsoft.com/office/drawing/2014/main" id="{F94A9885-848E-498F-BCBD-BDF0200BBA6D}"/>
              </a:ext>
            </a:extLst>
          </p:cNvPr>
          <p:cNvSpPr/>
          <p:nvPr/>
        </p:nvSpPr>
        <p:spPr bwMode="auto">
          <a:xfrm>
            <a:off x="4291955" y="518660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24" name="Ellipse 123">
            <a:extLst>
              <a:ext uri="{FF2B5EF4-FFF2-40B4-BE49-F238E27FC236}">
                <a16:creationId xmlns:a16="http://schemas.microsoft.com/office/drawing/2014/main" id="{50B91558-2667-4F37-AC69-A1E0F1BD0C95}"/>
              </a:ext>
            </a:extLst>
          </p:cNvPr>
          <p:cNvSpPr/>
          <p:nvPr/>
        </p:nvSpPr>
        <p:spPr bwMode="auto">
          <a:xfrm>
            <a:off x="4475248" y="569639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25" name="Connecteur droit 124">
            <a:extLst>
              <a:ext uri="{FF2B5EF4-FFF2-40B4-BE49-F238E27FC236}">
                <a16:creationId xmlns:a16="http://schemas.microsoft.com/office/drawing/2014/main" id="{2E720AB4-6676-48E5-9A9D-4B9EB5679CE9}"/>
              </a:ext>
            </a:extLst>
          </p:cNvPr>
          <p:cNvCxnSpPr>
            <a:stCxn id="50" idx="4"/>
            <a:endCxn id="123" idx="0"/>
          </p:cNvCxnSpPr>
          <p:nvPr/>
        </p:nvCxnSpPr>
        <p:spPr bwMode="auto">
          <a:xfrm flipH="1">
            <a:off x="4328675" y="4756730"/>
            <a:ext cx="177794"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26" name="Connecteur droit 125">
            <a:extLst>
              <a:ext uri="{FF2B5EF4-FFF2-40B4-BE49-F238E27FC236}">
                <a16:creationId xmlns:a16="http://schemas.microsoft.com/office/drawing/2014/main" id="{7E85BDB2-276E-4564-AD5D-A028931FAE6A}"/>
              </a:ext>
            </a:extLst>
          </p:cNvPr>
          <p:cNvCxnSpPr>
            <a:stCxn id="123" idx="4"/>
            <a:endCxn id="124" idx="0"/>
          </p:cNvCxnSpPr>
          <p:nvPr/>
        </p:nvCxnSpPr>
        <p:spPr bwMode="auto">
          <a:xfrm>
            <a:off x="4328675" y="5258604"/>
            <a:ext cx="183293" cy="437786"/>
          </a:xfrm>
          <a:prstGeom prst="line">
            <a:avLst/>
          </a:prstGeom>
          <a:solidFill>
            <a:srgbClr val="26ACDE"/>
          </a:solidFill>
          <a:ln w="9525" cap="flat" cmpd="sng" algn="ctr">
            <a:solidFill>
              <a:srgbClr val="646464"/>
            </a:solidFill>
            <a:prstDash val="solid"/>
            <a:round/>
            <a:headEnd type="none" w="med" len="med"/>
            <a:tailEnd type="none" w="med" len="med"/>
          </a:ln>
          <a:effectLst/>
        </p:spPr>
      </p:cxnSp>
      <p:pic>
        <p:nvPicPr>
          <p:cNvPr id="10" name="Picture 13" descr="Afficher l'image d'origine">
            <a:extLst>
              <a:ext uri="{FF2B5EF4-FFF2-40B4-BE49-F238E27FC236}">
                <a16:creationId xmlns:a16="http://schemas.microsoft.com/office/drawing/2014/main" id="{CB096953-CD77-4932-9D18-29304E79F20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974649" y="1379651"/>
            <a:ext cx="828000" cy="15456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RÃ©sultat de recherche d'images pour &quot;bureau van dijk&quot;">
            <a:extLst>
              <a:ext uri="{FF2B5EF4-FFF2-40B4-BE49-F238E27FC236}">
                <a16:creationId xmlns:a16="http://schemas.microsoft.com/office/drawing/2014/main" id="{23DEA6C6-1CE1-42C0-8844-F3CEA2B02DF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45386" y="1289240"/>
            <a:ext cx="737940" cy="335382"/>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6FF57470-6804-44E9-BB6F-4BAC5AD47C6A}"/>
              </a:ext>
            </a:extLst>
          </p:cNvPr>
          <p:cNvSpPr txBox="1"/>
          <p:nvPr/>
        </p:nvSpPr>
        <p:spPr>
          <a:xfrm>
            <a:off x="5838907" y="1333821"/>
            <a:ext cx="939681" cy="246221"/>
          </a:xfrm>
          <a:prstGeom prst="rect">
            <a:avLst/>
          </a:prstGeom>
          <a:noFill/>
        </p:spPr>
        <p:txBody>
          <a:bodyPr wrap="none" rtlCol="0">
            <a:spAutoFit/>
          </a:bodyPr>
          <a:lstStyle/>
          <a:p>
            <a:r>
              <a:rPr lang="en-GB" sz="1000">
                <a:latin typeface="Trebuchet MS" panose="020B0603020202020204" pitchFamily="34" charset="0"/>
              </a:rPr>
              <a:t>Local players</a:t>
            </a:r>
          </a:p>
        </p:txBody>
      </p:sp>
      <p:sp>
        <p:nvSpPr>
          <p:cNvPr id="159" name="Rectangle 158">
            <a:extLst>
              <a:ext uri="{FF2B5EF4-FFF2-40B4-BE49-F238E27FC236}">
                <a16:creationId xmlns:a16="http://schemas.microsoft.com/office/drawing/2014/main" id="{2CBDAC5D-A9D4-4AC0-8A9A-AC4EDDAD87FA}"/>
              </a:ext>
            </a:extLst>
          </p:cNvPr>
          <p:cNvSpPr/>
          <p:nvPr/>
        </p:nvSpPr>
        <p:spPr bwMode="auto">
          <a:xfrm>
            <a:off x="7090953" y="1181763"/>
            <a:ext cx="2683402" cy="804104"/>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r>
              <a:rPr kumimoji="0" lang="en-GB" sz="1000" b="0" i="1" u="none" strike="noStrike" cap="none" normalizeH="0" baseline="0">
                <a:ln>
                  <a:noFill/>
                </a:ln>
                <a:effectLst/>
                <a:latin typeface="Trebuchet MS" pitchFamily="34" charset="0"/>
              </a:rPr>
              <a:t>“We selected </a:t>
            </a:r>
            <a:r>
              <a:rPr kumimoji="0" lang="en-GB" sz="1000" b="0" i="1" u="none" strike="noStrike" cap="none" normalizeH="0" baseline="0" err="1">
                <a:ln>
                  <a:noFill/>
                </a:ln>
                <a:effectLst/>
                <a:latin typeface="Trebuchet MS" pitchFamily="34" charset="0"/>
              </a:rPr>
              <a:t>indueD</a:t>
            </a:r>
            <a:r>
              <a:rPr kumimoji="0" lang="en-GB" sz="1000" b="0" i="1" u="none" strike="noStrike" cap="none" normalizeH="0" baseline="0">
                <a:ln>
                  <a:noFill/>
                </a:ln>
                <a:effectLst/>
                <a:latin typeface="Trebuchet MS" pitchFamily="34" charset="0"/>
              </a:rPr>
              <a:t> for [...] for the </a:t>
            </a:r>
            <a:r>
              <a:rPr kumimoji="0" lang="en-GB" sz="1000" b="0" i="1" u="none" strike="noStrike" cap="none" normalizeH="0" baseline="0">
                <a:ln>
                  <a:noFill/>
                </a:ln>
                <a:solidFill>
                  <a:schemeClr val="tx2"/>
                </a:solidFill>
                <a:effectLst/>
                <a:latin typeface="Trebuchet MS" pitchFamily="34" charset="0"/>
              </a:rPr>
              <a:t>quality and clarity of summary reports </a:t>
            </a:r>
            <a:r>
              <a:rPr kumimoji="0" lang="en-GB" sz="1000" b="0" i="1" u="none" strike="noStrike" cap="none" normalizeH="0" baseline="0">
                <a:ln>
                  <a:noFill/>
                </a:ln>
                <a:effectLst/>
                <a:latin typeface="Trebuchet MS" pitchFamily="34" charset="0"/>
              </a:rPr>
              <a:t>and the </a:t>
            </a:r>
            <a:r>
              <a:rPr kumimoji="0" lang="en-GB" sz="1000" b="0" i="1" u="none" strike="noStrike" cap="none" normalizeH="0" baseline="0">
                <a:ln>
                  <a:noFill/>
                </a:ln>
                <a:solidFill>
                  <a:schemeClr val="tx2"/>
                </a:solidFill>
                <a:effectLst/>
                <a:latin typeface="Trebuchet MS" pitchFamily="34" charset="0"/>
              </a:rPr>
              <a:t>dynamic data visualization</a:t>
            </a:r>
            <a:r>
              <a:rPr kumimoji="0" lang="en-GB" sz="1000" b="0" i="1" u="none" strike="noStrike" cap="none" normalizeH="0" baseline="0">
                <a:ln>
                  <a:noFill/>
                </a:ln>
                <a:effectLst/>
                <a:latin typeface="Trebuchet MS" pitchFamily="34" charset="0"/>
              </a:rPr>
              <a:t> that make us save precious time”</a:t>
            </a:r>
          </a:p>
          <a:p>
            <a:r>
              <a:rPr lang="en-GB" sz="1000">
                <a:latin typeface="Trebuchet MS" pitchFamily="34" charset="0"/>
              </a:rPr>
              <a:t>CCO at EDF</a:t>
            </a:r>
            <a:endParaRPr kumimoji="0" lang="en-GB" sz="1000" b="0" u="none" strike="noStrike" cap="none" normalizeH="0" baseline="0">
              <a:ln>
                <a:noFill/>
              </a:ln>
              <a:effectLst/>
              <a:latin typeface="Trebuchet MS" pitchFamily="34" charset="0"/>
            </a:endParaRPr>
          </a:p>
        </p:txBody>
      </p:sp>
      <p:sp>
        <p:nvSpPr>
          <p:cNvPr id="152" name="Rectangle 151">
            <a:extLst>
              <a:ext uri="{FF2B5EF4-FFF2-40B4-BE49-F238E27FC236}">
                <a16:creationId xmlns:a16="http://schemas.microsoft.com/office/drawing/2014/main" id="{D94B6BC6-3748-4E85-8BD0-55D9D9E1438A}"/>
              </a:ext>
            </a:extLst>
          </p:cNvPr>
          <p:cNvSpPr/>
          <p:nvPr/>
        </p:nvSpPr>
        <p:spPr bwMode="auto">
          <a:xfrm>
            <a:off x="7100721" y="2103699"/>
            <a:ext cx="2683402" cy="1052065"/>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r>
              <a:rPr lang="en-GB" sz="1000" i="1">
                <a:latin typeface="Trebuchet MS" pitchFamily="34" charset="0"/>
              </a:rPr>
              <a:t>“We can carry out an efficient and </a:t>
            </a:r>
            <a:r>
              <a:rPr lang="en-GB" sz="1000" i="1">
                <a:solidFill>
                  <a:schemeClr val="tx2"/>
                </a:solidFill>
                <a:latin typeface="Trebuchet MS" pitchFamily="34" charset="0"/>
              </a:rPr>
              <a:t>tailor-made screening</a:t>
            </a:r>
            <a:r>
              <a:rPr lang="en-GB" sz="1000" i="1">
                <a:latin typeface="Trebuchet MS" pitchFamily="34" charset="0"/>
              </a:rPr>
              <a:t> which </a:t>
            </a:r>
            <a:r>
              <a:rPr lang="en-GB" sz="1000" i="1">
                <a:solidFill>
                  <a:schemeClr val="tx2"/>
                </a:solidFill>
                <a:latin typeface="Trebuchet MS" pitchFamily="34" charset="0"/>
              </a:rPr>
              <a:t>saves us a lot of time</a:t>
            </a:r>
            <a:r>
              <a:rPr lang="en-GB" sz="1000" i="1">
                <a:latin typeface="Trebuchet MS" pitchFamily="34" charset="0"/>
              </a:rPr>
              <a:t>. This product is now standardized and </a:t>
            </a:r>
            <a:r>
              <a:rPr lang="en-GB" sz="1000" i="1">
                <a:solidFill>
                  <a:schemeClr val="tx2"/>
                </a:solidFill>
                <a:latin typeface="Trebuchet MS" pitchFamily="34" charset="0"/>
              </a:rPr>
              <a:t>responds</a:t>
            </a:r>
            <a:r>
              <a:rPr lang="en-GB" sz="1000" i="1">
                <a:latin typeface="Trebuchet MS" pitchFamily="34" charset="0"/>
              </a:rPr>
              <a:t> as much </a:t>
            </a:r>
            <a:r>
              <a:rPr lang="en-GB" sz="1000" i="1">
                <a:solidFill>
                  <a:schemeClr val="tx2"/>
                </a:solidFill>
                <a:latin typeface="Trebuchet MS" pitchFamily="34" charset="0"/>
              </a:rPr>
              <a:t>to AFA rules</a:t>
            </a:r>
            <a:r>
              <a:rPr lang="en-GB" sz="1000" i="1">
                <a:latin typeface="Trebuchet MS" pitchFamily="34" charset="0"/>
              </a:rPr>
              <a:t> as to those of the Group"</a:t>
            </a:r>
          </a:p>
          <a:p>
            <a:r>
              <a:rPr lang="en-GB" sz="1000">
                <a:latin typeface="Trebuchet MS" pitchFamily="34" charset="0"/>
              </a:rPr>
              <a:t>Anti-Corruption Compliance Project Leader at SKF France </a:t>
            </a:r>
          </a:p>
        </p:txBody>
      </p:sp>
      <p:sp>
        <p:nvSpPr>
          <p:cNvPr id="153" name="Freeform 663">
            <a:extLst>
              <a:ext uri="{FF2B5EF4-FFF2-40B4-BE49-F238E27FC236}">
                <a16:creationId xmlns:a16="http://schemas.microsoft.com/office/drawing/2014/main" id="{83AFB60C-0C46-40B9-A7E9-ADF595775684}"/>
              </a:ext>
            </a:extLst>
          </p:cNvPr>
          <p:cNvSpPr>
            <a:spLocks noChangeAspect="1" noEditPoints="1"/>
          </p:cNvSpPr>
          <p:nvPr/>
        </p:nvSpPr>
        <p:spPr bwMode="auto">
          <a:xfrm>
            <a:off x="6937536" y="2481116"/>
            <a:ext cx="286514" cy="24822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51" name="Ellipse 123">
            <a:extLst>
              <a:ext uri="{FF2B5EF4-FFF2-40B4-BE49-F238E27FC236}">
                <a16:creationId xmlns:a16="http://schemas.microsoft.com/office/drawing/2014/main" id="{D3B4E2D9-7B20-4F7F-9B0B-046B50D14285}"/>
              </a:ext>
            </a:extLst>
          </p:cNvPr>
          <p:cNvSpPr/>
          <p:nvPr/>
        </p:nvSpPr>
        <p:spPr bwMode="auto">
          <a:xfrm>
            <a:off x="5162063" y="569639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54" name="Ellipse 123">
            <a:extLst>
              <a:ext uri="{FF2B5EF4-FFF2-40B4-BE49-F238E27FC236}">
                <a16:creationId xmlns:a16="http://schemas.microsoft.com/office/drawing/2014/main" id="{D1108DDE-E10C-4C2B-8928-054141508F2A}"/>
              </a:ext>
            </a:extLst>
          </p:cNvPr>
          <p:cNvSpPr/>
          <p:nvPr/>
        </p:nvSpPr>
        <p:spPr bwMode="auto">
          <a:xfrm>
            <a:off x="6464663" y="569639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grpSp>
        <p:nvGrpSpPr>
          <p:cNvPr id="136" name="Groupe 135">
            <a:extLst>
              <a:ext uri="{FF2B5EF4-FFF2-40B4-BE49-F238E27FC236}">
                <a16:creationId xmlns:a16="http://schemas.microsoft.com/office/drawing/2014/main" id="{2B1C2585-53F6-4998-9B30-51DDABF45580}"/>
              </a:ext>
            </a:extLst>
          </p:cNvPr>
          <p:cNvGrpSpPr/>
          <p:nvPr/>
        </p:nvGrpSpPr>
        <p:grpSpPr>
          <a:xfrm>
            <a:off x="8384063" y="-11528"/>
            <a:ext cx="1499635" cy="588143"/>
            <a:chOff x="8384063" y="-11528"/>
            <a:chExt cx="1499635" cy="588143"/>
          </a:xfrm>
        </p:grpSpPr>
        <p:sp>
          <p:nvSpPr>
            <p:cNvPr id="139" name="Rectangle : coins arrondis 199">
              <a:extLst>
                <a:ext uri="{FF2B5EF4-FFF2-40B4-BE49-F238E27FC236}">
                  <a16:creationId xmlns:a16="http://schemas.microsoft.com/office/drawing/2014/main" id="{D894205B-C3EF-43B7-B1D8-778883A7BFF1}"/>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0" name="Rectangle : coins arrondis 200">
              <a:extLst>
                <a:ext uri="{FF2B5EF4-FFF2-40B4-BE49-F238E27FC236}">
                  <a16:creationId xmlns:a16="http://schemas.microsoft.com/office/drawing/2014/main" id="{27AF4AD0-BF0D-414C-A015-73BC467508F4}"/>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1" name="Rectangle : coins arrondis 201">
              <a:extLst>
                <a:ext uri="{FF2B5EF4-FFF2-40B4-BE49-F238E27FC236}">
                  <a16:creationId xmlns:a16="http://schemas.microsoft.com/office/drawing/2014/main" id="{5FD840F8-A02B-479F-8622-30E2C07AC927}"/>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2" name="ZoneTexte 18">
              <a:extLst>
                <a:ext uri="{FF2B5EF4-FFF2-40B4-BE49-F238E27FC236}">
                  <a16:creationId xmlns:a16="http://schemas.microsoft.com/office/drawing/2014/main" id="{5BB5FC48-BCB8-44B6-A612-6A6FFDB17122}"/>
                </a:ext>
              </a:extLst>
            </p:cNvPr>
            <p:cNvSpPr txBox="1"/>
            <p:nvPr/>
          </p:nvSpPr>
          <p:spPr>
            <a:xfrm>
              <a:off x="8384063" y="-11528"/>
              <a:ext cx="1409923"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value proposition</a:t>
              </a:r>
            </a:p>
          </p:txBody>
        </p:sp>
        <p:pic>
          <p:nvPicPr>
            <p:cNvPr id="143" name="Graphique 128" descr="Jauge">
              <a:extLst>
                <a:ext uri="{FF2B5EF4-FFF2-40B4-BE49-F238E27FC236}">
                  <a16:creationId xmlns:a16="http://schemas.microsoft.com/office/drawing/2014/main" id="{E0EA5ED9-2EFC-4271-B635-12087A696F3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53764" y="187516"/>
              <a:ext cx="234953" cy="218224"/>
            </a:xfrm>
            <a:prstGeom prst="rect">
              <a:avLst/>
            </a:prstGeom>
            <a:effectLst/>
          </p:spPr>
        </p:pic>
        <p:pic>
          <p:nvPicPr>
            <p:cNvPr id="144" name="Graphique 90" descr="Poignée de main">
              <a:extLst>
                <a:ext uri="{FF2B5EF4-FFF2-40B4-BE49-F238E27FC236}">
                  <a16:creationId xmlns:a16="http://schemas.microsoft.com/office/drawing/2014/main" id="{79B4BD7E-BA42-4FC5-B10A-CF766E09111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60868" y="152880"/>
              <a:ext cx="256313" cy="287496"/>
            </a:xfrm>
            <a:prstGeom prst="rect">
              <a:avLst/>
            </a:prstGeom>
            <a:effectLst/>
          </p:spPr>
        </p:pic>
        <p:pic>
          <p:nvPicPr>
            <p:cNvPr id="145" name="Graphique 74" descr="Mégaphone">
              <a:extLst>
                <a:ext uri="{FF2B5EF4-FFF2-40B4-BE49-F238E27FC236}">
                  <a16:creationId xmlns:a16="http://schemas.microsoft.com/office/drawing/2014/main" id="{B8A802D3-2AA6-4E04-8356-5F0D09CFAB0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389331" y="181519"/>
              <a:ext cx="233011" cy="216420"/>
            </a:xfrm>
            <a:prstGeom prst="rect">
              <a:avLst/>
            </a:prstGeom>
            <a:effectLst/>
          </p:spPr>
        </p:pic>
        <p:pic>
          <p:nvPicPr>
            <p:cNvPr id="146" name="Picture 2" descr="Drapeau France">
              <a:extLst>
                <a:ext uri="{FF2B5EF4-FFF2-40B4-BE49-F238E27FC236}">
                  <a16:creationId xmlns:a16="http://schemas.microsoft.com/office/drawing/2014/main" id="{F9AAF97D-7CAA-43BF-955F-2C23834F29E2}"/>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47" name="Picture 2" descr="5 ft x 3 ft 150 x 90 cm-DRAPEAU BELGE Belgique 100% Polyester ...">
              <a:extLst>
                <a:ext uri="{FF2B5EF4-FFF2-40B4-BE49-F238E27FC236}">
                  <a16:creationId xmlns:a16="http://schemas.microsoft.com/office/drawing/2014/main" id="{8A5F8BB9-FE31-4546-8286-8483FAF97102}"/>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48" name="Picture 2 - 1" descr="Drapeau des Pays-Bas — Wikipédia">
              <a:extLst>
                <a:ext uri="{FF2B5EF4-FFF2-40B4-BE49-F238E27FC236}">
                  <a16:creationId xmlns:a16="http://schemas.microsoft.com/office/drawing/2014/main" id="{D36E0255-BF72-4285-A062-EA307934E85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49" name="Picture 2 - 2" descr="Drapeau du Luxembourg">
              <a:extLst>
                <a:ext uri="{FF2B5EF4-FFF2-40B4-BE49-F238E27FC236}">
                  <a16:creationId xmlns:a16="http://schemas.microsoft.com/office/drawing/2014/main" id="{A44D2A72-FB2A-4B25-9EE6-14574CEA019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50" name="ZoneTexte 18">
              <a:extLst>
                <a:ext uri="{FF2B5EF4-FFF2-40B4-BE49-F238E27FC236}">
                  <a16:creationId xmlns:a16="http://schemas.microsoft.com/office/drawing/2014/main" id="{6EAD433D-84A5-4779-B6D8-99E26DFC32F9}"/>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cxnSp>
        <p:nvCxnSpPr>
          <p:cNvPr id="155" name="Connecteur droit 4">
            <a:extLst>
              <a:ext uri="{FF2B5EF4-FFF2-40B4-BE49-F238E27FC236}">
                <a16:creationId xmlns:a16="http://schemas.microsoft.com/office/drawing/2014/main" id="{32E33894-36DC-40C8-8BCE-66EFA77C9C21}"/>
              </a:ext>
            </a:extLst>
          </p:cNvPr>
          <p:cNvCxnSpPr>
            <a:cxnSpLocks/>
          </p:cNvCxnSpPr>
          <p:nvPr/>
        </p:nvCxnSpPr>
        <p:spPr bwMode="auto">
          <a:xfrm>
            <a:off x="109668" y="1066876"/>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56" name="ZoneTexte 6">
            <a:extLst>
              <a:ext uri="{FF2B5EF4-FFF2-40B4-BE49-F238E27FC236}">
                <a16:creationId xmlns:a16="http://schemas.microsoft.com/office/drawing/2014/main" id="{47BD3D67-D4C5-4D07-A1CC-AC186E91DEB7}"/>
              </a:ext>
            </a:extLst>
          </p:cNvPr>
          <p:cNvSpPr txBox="1"/>
          <p:nvPr/>
        </p:nvSpPr>
        <p:spPr>
          <a:xfrm>
            <a:off x="2308072" y="908604"/>
            <a:ext cx="5230904" cy="276266"/>
          </a:xfrm>
          <a:prstGeom prst="rect">
            <a:avLst/>
          </a:prstGeom>
          <a:solidFill>
            <a:schemeClr val="bg1"/>
          </a:solidFill>
        </p:spPr>
        <p:txBody>
          <a:bodyPr wrap="square" rtlCol="0">
            <a:noAutofit/>
          </a:bodyPr>
          <a:lstStyle/>
          <a:p>
            <a:pPr algn="ctr"/>
            <a:r>
              <a:rPr lang="en-GB" sz="1100">
                <a:latin typeface="Trebuchet MS" panose="020B0603020202020204" pitchFamily="34" charset="0"/>
              </a:rPr>
              <a:t>Detailed comparison of </a:t>
            </a:r>
            <a:r>
              <a:rPr lang="en-GB" sz="1100" err="1">
                <a:latin typeface="Trebuchet MS" panose="020B0603020202020204" pitchFamily="34" charset="0"/>
              </a:rPr>
              <a:t>Altares</a:t>
            </a:r>
            <a:r>
              <a:rPr lang="en-GB" sz="1100">
                <a:latin typeface="Trebuchet MS" panose="020B0603020202020204" pitchFamily="34" charset="0"/>
              </a:rPr>
              <a:t> with key competitors on compliance</a:t>
            </a:r>
          </a:p>
        </p:txBody>
      </p:sp>
      <p:grpSp>
        <p:nvGrpSpPr>
          <p:cNvPr id="162" name="Group 4">
            <a:extLst>
              <a:ext uri="{FF2B5EF4-FFF2-40B4-BE49-F238E27FC236}">
                <a16:creationId xmlns:a16="http://schemas.microsoft.com/office/drawing/2014/main" id="{8C81A792-86AC-4BFA-9018-6DFE9594E88A}"/>
              </a:ext>
            </a:extLst>
          </p:cNvPr>
          <p:cNvGrpSpPr>
            <a:grpSpLocks noChangeAspect="1"/>
          </p:cNvGrpSpPr>
          <p:nvPr/>
        </p:nvGrpSpPr>
        <p:grpSpPr bwMode="auto">
          <a:xfrm>
            <a:off x="2475840" y="961000"/>
            <a:ext cx="191588" cy="171473"/>
            <a:chOff x="960" y="846"/>
            <a:chExt cx="381" cy="341"/>
          </a:xfrm>
          <a:solidFill>
            <a:schemeClr val="tx1"/>
          </a:solidFill>
        </p:grpSpPr>
        <p:sp>
          <p:nvSpPr>
            <p:cNvPr id="163" name="Freeform 5">
              <a:extLst>
                <a:ext uri="{FF2B5EF4-FFF2-40B4-BE49-F238E27FC236}">
                  <a16:creationId xmlns:a16="http://schemas.microsoft.com/office/drawing/2014/main" id="{1ADABDBD-19A0-4D83-B58F-F128790B2730}"/>
                </a:ext>
              </a:extLst>
            </p:cNvPr>
            <p:cNvSpPr>
              <a:spLocks noEditPoints="1"/>
            </p:cNvSpPr>
            <p:nvPr/>
          </p:nvSpPr>
          <p:spPr bwMode="auto">
            <a:xfrm>
              <a:off x="1071" y="846"/>
              <a:ext cx="159" cy="172"/>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5" name="Freeform 6">
              <a:extLst>
                <a:ext uri="{FF2B5EF4-FFF2-40B4-BE49-F238E27FC236}">
                  <a16:creationId xmlns:a16="http://schemas.microsoft.com/office/drawing/2014/main" id="{5E9C6223-6902-4561-80BD-5B75CE6DD518}"/>
                </a:ext>
              </a:extLst>
            </p:cNvPr>
            <p:cNvSpPr>
              <a:spLocks noEditPoints="1"/>
            </p:cNvSpPr>
            <p:nvPr/>
          </p:nvSpPr>
          <p:spPr bwMode="auto">
            <a:xfrm>
              <a:off x="960" y="1038"/>
              <a:ext cx="116" cy="149"/>
            </a:xfrm>
            <a:custGeom>
              <a:avLst/>
              <a:gdLst>
                <a:gd name="T0" fmla="*/ 11 w 45"/>
                <a:gd name="T1" fmla="*/ 29 h 58"/>
                <a:gd name="T2" fmla="*/ 30 w 45"/>
                <a:gd name="T3" fmla="*/ 29 h 58"/>
                <a:gd name="T4" fmla="*/ 30 w 45"/>
                <a:gd name="T5" fmla="*/ 25 h 58"/>
                <a:gd name="T6" fmla="*/ 11 w 45"/>
                <a:gd name="T7" fmla="*/ 25 h 58"/>
                <a:gd name="T8" fmla="*/ 11 w 45"/>
                <a:gd name="T9" fmla="*/ 29 h 58"/>
                <a:gd name="T10" fmla="*/ 11 w 45"/>
                <a:gd name="T11" fmla="*/ 45 h 58"/>
                <a:gd name="T12" fmla="*/ 34 w 45"/>
                <a:gd name="T13" fmla="*/ 45 h 58"/>
                <a:gd name="T14" fmla="*/ 34 w 45"/>
                <a:gd name="T15" fmla="*/ 41 h 58"/>
                <a:gd name="T16" fmla="*/ 11 w 45"/>
                <a:gd name="T17" fmla="*/ 41 h 58"/>
                <a:gd name="T18" fmla="*/ 11 w 45"/>
                <a:gd name="T19" fmla="*/ 45 h 58"/>
                <a:gd name="T20" fmla="*/ 11 w 45"/>
                <a:gd name="T21" fmla="*/ 37 h 58"/>
                <a:gd name="T22" fmla="*/ 23 w 45"/>
                <a:gd name="T23" fmla="*/ 37 h 58"/>
                <a:gd name="T24" fmla="*/ 23 w 45"/>
                <a:gd name="T25" fmla="*/ 33 h 58"/>
                <a:gd name="T26" fmla="*/ 11 w 45"/>
                <a:gd name="T27" fmla="*/ 33 h 58"/>
                <a:gd name="T28" fmla="*/ 11 w 45"/>
                <a:gd name="T29" fmla="*/ 37 h 58"/>
                <a:gd name="T30" fmla="*/ 0 w 45"/>
                <a:gd name="T31" fmla="*/ 15 h 58"/>
                <a:gd name="T32" fmla="*/ 0 w 45"/>
                <a:gd name="T33" fmla="*/ 54 h 58"/>
                <a:gd name="T34" fmla="*/ 4 w 45"/>
                <a:gd name="T35" fmla="*/ 58 h 58"/>
                <a:gd name="T36" fmla="*/ 41 w 45"/>
                <a:gd name="T37" fmla="*/ 58 h 58"/>
                <a:gd name="T38" fmla="*/ 45 w 45"/>
                <a:gd name="T39" fmla="*/ 54 h 58"/>
                <a:gd name="T40" fmla="*/ 45 w 45"/>
                <a:gd name="T41" fmla="*/ 4 h 58"/>
                <a:gd name="T42" fmla="*/ 41 w 45"/>
                <a:gd name="T43" fmla="*/ 0 h 58"/>
                <a:gd name="T44" fmla="*/ 15 w 45"/>
                <a:gd name="T45" fmla="*/ 0 h 58"/>
                <a:gd name="T46" fmla="*/ 0 w 45"/>
                <a:gd name="T47" fmla="*/ 15 h 58"/>
                <a:gd name="T48" fmla="*/ 17 w 45"/>
                <a:gd name="T49" fmla="*/ 6 h 58"/>
                <a:gd name="T50" fmla="*/ 38 w 45"/>
                <a:gd name="T51" fmla="*/ 6 h 58"/>
                <a:gd name="T52" fmla="*/ 39 w 45"/>
                <a:gd name="T53" fmla="*/ 8 h 58"/>
                <a:gd name="T54" fmla="*/ 39 w 45"/>
                <a:gd name="T55" fmla="*/ 51 h 58"/>
                <a:gd name="T56" fmla="*/ 38 w 45"/>
                <a:gd name="T57" fmla="*/ 52 h 58"/>
                <a:gd name="T58" fmla="*/ 8 w 45"/>
                <a:gd name="T59" fmla="*/ 52 h 58"/>
                <a:gd name="T60" fmla="*/ 6 w 45"/>
                <a:gd name="T61" fmla="*/ 51 h 58"/>
                <a:gd name="T62" fmla="*/ 6 w 45"/>
                <a:gd name="T63" fmla="*/ 17 h 58"/>
                <a:gd name="T64" fmla="*/ 17 w 45"/>
                <a:gd name="T65" fmla="*/ 17 h 58"/>
                <a:gd name="T66" fmla="*/ 17 w 45"/>
                <a:gd name="T6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58">
                  <a:moveTo>
                    <a:pt x="11" y="29"/>
                  </a:moveTo>
                  <a:cubicBezTo>
                    <a:pt x="30" y="29"/>
                    <a:pt x="30" y="29"/>
                    <a:pt x="30" y="29"/>
                  </a:cubicBezTo>
                  <a:cubicBezTo>
                    <a:pt x="30" y="25"/>
                    <a:pt x="30" y="25"/>
                    <a:pt x="30" y="25"/>
                  </a:cubicBezTo>
                  <a:cubicBezTo>
                    <a:pt x="11" y="25"/>
                    <a:pt x="11" y="25"/>
                    <a:pt x="11" y="25"/>
                  </a:cubicBezTo>
                  <a:lnTo>
                    <a:pt x="11" y="29"/>
                  </a:lnTo>
                  <a:close/>
                  <a:moveTo>
                    <a:pt x="11" y="45"/>
                  </a:moveTo>
                  <a:cubicBezTo>
                    <a:pt x="34" y="45"/>
                    <a:pt x="34" y="45"/>
                    <a:pt x="34" y="45"/>
                  </a:cubicBezTo>
                  <a:cubicBezTo>
                    <a:pt x="34" y="41"/>
                    <a:pt x="34" y="41"/>
                    <a:pt x="34" y="41"/>
                  </a:cubicBezTo>
                  <a:cubicBezTo>
                    <a:pt x="11" y="41"/>
                    <a:pt x="11" y="41"/>
                    <a:pt x="11" y="41"/>
                  </a:cubicBezTo>
                  <a:lnTo>
                    <a:pt x="11" y="45"/>
                  </a:lnTo>
                  <a:close/>
                  <a:moveTo>
                    <a:pt x="11" y="37"/>
                  </a:moveTo>
                  <a:cubicBezTo>
                    <a:pt x="23" y="37"/>
                    <a:pt x="23" y="37"/>
                    <a:pt x="23" y="37"/>
                  </a:cubicBezTo>
                  <a:cubicBezTo>
                    <a:pt x="23" y="33"/>
                    <a:pt x="23" y="33"/>
                    <a:pt x="23" y="33"/>
                  </a:cubicBezTo>
                  <a:cubicBezTo>
                    <a:pt x="11" y="33"/>
                    <a:pt x="11" y="33"/>
                    <a:pt x="11" y="33"/>
                  </a:cubicBezTo>
                  <a:lnTo>
                    <a:pt x="11" y="37"/>
                  </a:lnTo>
                  <a:close/>
                  <a:moveTo>
                    <a:pt x="0" y="15"/>
                  </a:moveTo>
                  <a:cubicBezTo>
                    <a:pt x="0" y="54"/>
                    <a:pt x="0" y="54"/>
                    <a:pt x="0" y="54"/>
                  </a:cubicBezTo>
                  <a:cubicBezTo>
                    <a:pt x="0" y="57"/>
                    <a:pt x="2" y="58"/>
                    <a:pt x="4" y="58"/>
                  </a:cubicBezTo>
                  <a:cubicBezTo>
                    <a:pt x="41" y="58"/>
                    <a:pt x="41" y="58"/>
                    <a:pt x="41" y="58"/>
                  </a:cubicBezTo>
                  <a:cubicBezTo>
                    <a:pt x="43" y="58"/>
                    <a:pt x="45" y="57"/>
                    <a:pt x="45" y="54"/>
                  </a:cubicBezTo>
                  <a:cubicBezTo>
                    <a:pt x="45" y="4"/>
                    <a:pt x="45" y="4"/>
                    <a:pt x="45" y="4"/>
                  </a:cubicBezTo>
                  <a:cubicBezTo>
                    <a:pt x="45" y="2"/>
                    <a:pt x="43" y="0"/>
                    <a:pt x="41" y="0"/>
                  </a:cubicBezTo>
                  <a:cubicBezTo>
                    <a:pt x="15" y="0"/>
                    <a:pt x="15" y="0"/>
                    <a:pt x="15" y="0"/>
                  </a:cubicBezTo>
                  <a:lnTo>
                    <a:pt x="0" y="15"/>
                  </a:lnTo>
                  <a:close/>
                  <a:moveTo>
                    <a:pt x="17" y="6"/>
                  </a:moveTo>
                  <a:cubicBezTo>
                    <a:pt x="38" y="6"/>
                    <a:pt x="38" y="6"/>
                    <a:pt x="38" y="6"/>
                  </a:cubicBezTo>
                  <a:cubicBezTo>
                    <a:pt x="39" y="6"/>
                    <a:pt x="39" y="7"/>
                    <a:pt x="39" y="8"/>
                  </a:cubicBezTo>
                  <a:cubicBezTo>
                    <a:pt x="39" y="51"/>
                    <a:pt x="39" y="51"/>
                    <a:pt x="39" y="51"/>
                  </a:cubicBezTo>
                  <a:cubicBezTo>
                    <a:pt x="39" y="52"/>
                    <a:pt x="39" y="52"/>
                    <a:pt x="38" y="52"/>
                  </a:cubicBezTo>
                  <a:cubicBezTo>
                    <a:pt x="8" y="52"/>
                    <a:pt x="8" y="52"/>
                    <a:pt x="8" y="52"/>
                  </a:cubicBezTo>
                  <a:cubicBezTo>
                    <a:pt x="7" y="52"/>
                    <a:pt x="6" y="52"/>
                    <a:pt x="6" y="51"/>
                  </a:cubicBezTo>
                  <a:cubicBezTo>
                    <a:pt x="6" y="17"/>
                    <a:pt x="6" y="17"/>
                    <a:pt x="6" y="17"/>
                  </a:cubicBezTo>
                  <a:cubicBezTo>
                    <a:pt x="17" y="17"/>
                    <a:pt x="17" y="17"/>
                    <a:pt x="17" y="17"/>
                  </a:cubicBezTo>
                  <a:lnTo>
                    <a:pt x="1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8" name="Freeform 7">
              <a:extLst>
                <a:ext uri="{FF2B5EF4-FFF2-40B4-BE49-F238E27FC236}">
                  <a16:creationId xmlns:a16="http://schemas.microsoft.com/office/drawing/2014/main" id="{4D0B7D27-6DA4-4382-9667-B5E99A3804FE}"/>
                </a:ext>
              </a:extLst>
            </p:cNvPr>
            <p:cNvSpPr>
              <a:spLocks noEditPoints="1"/>
            </p:cNvSpPr>
            <p:nvPr/>
          </p:nvSpPr>
          <p:spPr bwMode="auto">
            <a:xfrm>
              <a:off x="1094" y="1038"/>
              <a:ext cx="113" cy="149"/>
            </a:xfrm>
            <a:custGeom>
              <a:avLst/>
              <a:gdLst>
                <a:gd name="T0" fmla="*/ 11 w 44"/>
                <a:gd name="T1" fmla="*/ 29 h 58"/>
                <a:gd name="T2" fmla="*/ 29 w 44"/>
                <a:gd name="T3" fmla="*/ 29 h 58"/>
                <a:gd name="T4" fmla="*/ 29 w 44"/>
                <a:gd name="T5" fmla="*/ 25 h 58"/>
                <a:gd name="T6" fmla="*/ 11 w 44"/>
                <a:gd name="T7" fmla="*/ 25 h 58"/>
                <a:gd name="T8" fmla="*/ 11 w 44"/>
                <a:gd name="T9" fmla="*/ 29 h 58"/>
                <a:gd name="T10" fmla="*/ 11 w 44"/>
                <a:gd name="T11" fmla="*/ 45 h 58"/>
                <a:gd name="T12" fmla="*/ 33 w 44"/>
                <a:gd name="T13" fmla="*/ 45 h 58"/>
                <a:gd name="T14" fmla="*/ 33 w 44"/>
                <a:gd name="T15" fmla="*/ 41 h 58"/>
                <a:gd name="T16" fmla="*/ 11 w 44"/>
                <a:gd name="T17" fmla="*/ 41 h 58"/>
                <a:gd name="T18" fmla="*/ 11 w 44"/>
                <a:gd name="T19" fmla="*/ 45 h 58"/>
                <a:gd name="T20" fmla="*/ 11 w 44"/>
                <a:gd name="T21" fmla="*/ 37 h 58"/>
                <a:gd name="T22" fmla="*/ 22 w 44"/>
                <a:gd name="T23" fmla="*/ 37 h 58"/>
                <a:gd name="T24" fmla="*/ 22 w 44"/>
                <a:gd name="T25" fmla="*/ 33 h 58"/>
                <a:gd name="T26" fmla="*/ 11 w 44"/>
                <a:gd name="T27" fmla="*/ 33 h 58"/>
                <a:gd name="T28" fmla="*/ 11 w 44"/>
                <a:gd name="T29" fmla="*/ 37 h 58"/>
                <a:gd name="T30" fmla="*/ 0 w 44"/>
                <a:gd name="T31" fmla="*/ 15 h 58"/>
                <a:gd name="T32" fmla="*/ 0 w 44"/>
                <a:gd name="T33" fmla="*/ 54 h 58"/>
                <a:gd name="T34" fmla="*/ 3 w 44"/>
                <a:gd name="T35" fmla="*/ 58 h 58"/>
                <a:gd name="T36" fmla="*/ 41 w 44"/>
                <a:gd name="T37" fmla="*/ 58 h 58"/>
                <a:gd name="T38" fmla="*/ 44 w 44"/>
                <a:gd name="T39" fmla="*/ 54 h 58"/>
                <a:gd name="T40" fmla="*/ 44 w 44"/>
                <a:gd name="T41" fmla="*/ 4 h 58"/>
                <a:gd name="T42" fmla="*/ 41 w 44"/>
                <a:gd name="T43" fmla="*/ 0 h 58"/>
                <a:gd name="T44" fmla="*/ 15 w 44"/>
                <a:gd name="T45" fmla="*/ 0 h 58"/>
                <a:gd name="T46" fmla="*/ 0 w 44"/>
                <a:gd name="T47" fmla="*/ 15 h 58"/>
                <a:gd name="T48" fmla="*/ 16 w 44"/>
                <a:gd name="T49" fmla="*/ 6 h 58"/>
                <a:gd name="T50" fmla="*/ 37 w 44"/>
                <a:gd name="T51" fmla="*/ 6 h 58"/>
                <a:gd name="T52" fmla="*/ 39 w 44"/>
                <a:gd name="T53" fmla="*/ 8 h 58"/>
                <a:gd name="T54" fmla="*/ 39 w 44"/>
                <a:gd name="T55" fmla="*/ 51 h 58"/>
                <a:gd name="T56" fmla="*/ 37 w 44"/>
                <a:gd name="T57" fmla="*/ 52 h 58"/>
                <a:gd name="T58" fmla="*/ 7 w 44"/>
                <a:gd name="T59" fmla="*/ 52 h 58"/>
                <a:gd name="T60" fmla="*/ 5 w 44"/>
                <a:gd name="T61" fmla="*/ 51 h 58"/>
                <a:gd name="T62" fmla="*/ 5 w 44"/>
                <a:gd name="T63" fmla="*/ 17 h 58"/>
                <a:gd name="T64" fmla="*/ 16 w 44"/>
                <a:gd name="T65" fmla="*/ 17 h 58"/>
                <a:gd name="T66" fmla="*/ 16 w 44"/>
                <a:gd name="T6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 h="58">
                  <a:moveTo>
                    <a:pt x="11" y="29"/>
                  </a:moveTo>
                  <a:cubicBezTo>
                    <a:pt x="29" y="29"/>
                    <a:pt x="29" y="29"/>
                    <a:pt x="29" y="29"/>
                  </a:cubicBezTo>
                  <a:cubicBezTo>
                    <a:pt x="29" y="25"/>
                    <a:pt x="29" y="25"/>
                    <a:pt x="29" y="25"/>
                  </a:cubicBezTo>
                  <a:cubicBezTo>
                    <a:pt x="11" y="25"/>
                    <a:pt x="11" y="25"/>
                    <a:pt x="11" y="25"/>
                  </a:cubicBezTo>
                  <a:lnTo>
                    <a:pt x="11" y="29"/>
                  </a:lnTo>
                  <a:close/>
                  <a:moveTo>
                    <a:pt x="11" y="45"/>
                  </a:moveTo>
                  <a:cubicBezTo>
                    <a:pt x="33" y="45"/>
                    <a:pt x="33" y="45"/>
                    <a:pt x="33" y="45"/>
                  </a:cubicBezTo>
                  <a:cubicBezTo>
                    <a:pt x="33" y="41"/>
                    <a:pt x="33" y="41"/>
                    <a:pt x="33" y="41"/>
                  </a:cubicBezTo>
                  <a:cubicBezTo>
                    <a:pt x="11" y="41"/>
                    <a:pt x="11" y="41"/>
                    <a:pt x="11" y="41"/>
                  </a:cubicBezTo>
                  <a:lnTo>
                    <a:pt x="11" y="45"/>
                  </a:lnTo>
                  <a:close/>
                  <a:moveTo>
                    <a:pt x="11" y="37"/>
                  </a:moveTo>
                  <a:cubicBezTo>
                    <a:pt x="22" y="37"/>
                    <a:pt x="22" y="37"/>
                    <a:pt x="22" y="37"/>
                  </a:cubicBezTo>
                  <a:cubicBezTo>
                    <a:pt x="22" y="33"/>
                    <a:pt x="22" y="33"/>
                    <a:pt x="22" y="33"/>
                  </a:cubicBezTo>
                  <a:cubicBezTo>
                    <a:pt x="11" y="33"/>
                    <a:pt x="11" y="33"/>
                    <a:pt x="11" y="33"/>
                  </a:cubicBezTo>
                  <a:lnTo>
                    <a:pt x="11" y="37"/>
                  </a:lnTo>
                  <a:close/>
                  <a:moveTo>
                    <a:pt x="0" y="15"/>
                  </a:moveTo>
                  <a:cubicBezTo>
                    <a:pt x="0" y="54"/>
                    <a:pt x="0" y="54"/>
                    <a:pt x="0" y="54"/>
                  </a:cubicBezTo>
                  <a:cubicBezTo>
                    <a:pt x="0" y="57"/>
                    <a:pt x="1" y="58"/>
                    <a:pt x="3" y="58"/>
                  </a:cubicBezTo>
                  <a:cubicBezTo>
                    <a:pt x="41" y="58"/>
                    <a:pt x="41" y="58"/>
                    <a:pt x="41" y="58"/>
                  </a:cubicBezTo>
                  <a:cubicBezTo>
                    <a:pt x="43" y="58"/>
                    <a:pt x="44" y="57"/>
                    <a:pt x="44" y="54"/>
                  </a:cubicBezTo>
                  <a:cubicBezTo>
                    <a:pt x="44" y="4"/>
                    <a:pt x="44" y="4"/>
                    <a:pt x="44" y="4"/>
                  </a:cubicBezTo>
                  <a:cubicBezTo>
                    <a:pt x="44" y="2"/>
                    <a:pt x="43" y="0"/>
                    <a:pt x="41" y="0"/>
                  </a:cubicBezTo>
                  <a:cubicBezTo>
                    <a:pt x="15" y="0"/>
                    <a:pt x="15" y="0"/>
                    <a:pt x="15" y="0"/>
                  </a:cubicBezTo>
                  <a:lnTo>
                    <a:pt x="0" y="15"/>
                  </a:lnTo>
                  <a:close/>
                  <a:moveTo>
                    <a:pt x="16" y="6"/>
                  </a:moveTo>
                  <a:cubicBezTo>
                    <a:pt x="37" y="6"/>
                    <a:pt x="37" y="6"/>
                    <a:pt x="37" y="6"/>
                  </a:cubicBezTo>
                  <a:cubicBezTo>
                    <a:pt x="38" y="6"/>
                    <a:pt x="39" y="7"/>
                    <a:pt x="39" y="8"/>
                  </a:cubicBezTo>
                  <a:cubicBezTo>
                    <a:pt x="39" y="51"/>
                    <a:pt x="39" y="51"/>
                    <a:pt x="39" y="51"/>
                  </a:cubicBezTo>
                  <a:cubicBezTo>
                    <a:pt x="39" y="52"/>
                    <a:pt x="38" y="52"/>
                    <a:pt x="37" y="52"/>
                  </a:cubicBezTo>
                  <a:cubicBezTo>
                    <a:pt x="7" y="52"/>
                    <a:pt x="7" y="52"/>
                    <a:pt x="7" y="52"/>
                  </a:cubicBezTo>
                  <a:cubicBezTo>
                    <a:pt x="6" y="52"/>
                    <a:pt x="5" y="52"/>
                    <a:pt x="5" y="51"/>
                  </a:cubicBezTo>
                  <a:cubicBezTo>
                    <a:pt x="5" y="17"/>
                    <a:pt x="5" y="17"/>
                    <a:pt x="5" y="17"/>
                  </a:cubicBezTo>
                  <a:cubicBezTo>
                    <a:pt x="16" y="17"/>
                    <a:pt x="16" y="17"/>
                    <a:pt x="16" y="17"/>
                  </a:cubicBezTo>
                  <a:lnTo>
                    <a:pt x="1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9" name="Freeform 8">
              <a:extLst>
                <a:ext uri="{FF2B5EF4-FFF2-40B4-BE49-F238E27FC236}">
                  <a16:creationId xmlns:a16="http://schemas.microsoft.com/office/drawing/2014/main" id="{FBAEFE6F-51F1-4DEF-B61F-A5A40E026789}"/>
                </a:ext>
              </a:extLst>
            </p:cNvPr>
            <p:cNvSpPr>
              <a:spLocks noEditPoints="1"/>
            </p:cNvSpPr>
            <p:nvPr/>
          </p:nvSpPr>
          <p:spPr bwMode="auto">
            <a:xfrm>
              <a:off x="1225" y="1038"/>
              <a:ext cx="116" cy="149"/>
            </a:xfrm>
            <a:custGeom>
              <a:avLst/>
              <a:gdLst>
                <a:gd name="T0" fmla="*/ 11 w 45"/>
                <a:gd name="T1" fmla="*/ 29 h 58"/>
                <a:gd name="T2" fmla="*/ 30 w 45"/>
                <a:gd name="T3" fmla="*/ 29 h 58"/>
                <a:gd name="T4" fmla="*/ 30 w 45"/>
                <a:gd name="T5" fmla="*/ 25 h 58"/>
                <a:gd name="T6" fmla="*/ 11 w 45"/>
                <a:gd name="T7" fmla="*/ 25 h 58"/>
                <a:gd name="T8" fmla="*/ 11 w 45"/>
                <a:gd name="T9" fmla="*/ 29 h 58"/>
                <a:gd name="T10" fmla="*/ 11 w 45"/>
                <a:gd name="T11" fmla="*/ 45 h 58"/>
                <a:gd name="T12" fmla="*/ 34 w 45"/>
                <a:gd name="T13" fmla="*/ 45 h 58"/>
                <a:gd name="T14" fmla="*/ 34 w 45"/>
                <a:gd name="T15" fmla="*/ 41 h 58"/>
                <a:gd name="T16" fmla="*/ 11 w 45"/>
                <a:gd name="T17" fmla="*/ 41 h 58"/>
                <a:gd name="T18" fmla="*/ 11 w 45"/>
                <a:gd name="T19" fmla="*/ 45 h 58"/>
                <a:gd name="T20" fmla="*/ 11 w 45"/>
                <a:gd name="T21" fmla="*/ 37 h 58"/>
                <a:gd name="T22" fmla="*/ 22 w 45"/>
                <a:gd name="T23" fmla="*/ 37 h 58"/>
                <a:gd name="T24" fmla="*/ 22 w 45"/>
                <a:gd name="T25" fmla="*/ 33 h 58"/>
                <a:gd name="T26" fmla="*/ 11 w 45"/>
                <a:gd name="T27" fmla="*/ 33 h 58"/>
                <a:gd name="T28" fmla="*/ 11 w 45"/>
                <a:gd name="T29" fmla="*/ 37 h 58"/>
                <a:gd name="T30" fmla="*/ 0 w 45"/>
                <a:gd name="T31" fmla="*/ 15 h 58"/>
                <a:gd name="T32" fmla="*/ 0 w 45"/>
                <a:gd name="T33" fmla="*/ 54 h 58"/>
                <a:gd name="T34" fmla="*/ 4 w 45"/>
                <a:gd name="T35" fmla="*/ 58 h 58"/>
                <a:gd name="T36" fmla="*/ 41 w 45"/>
                <a:gd name="T37" fmla="*/ 58 h 58"/>
                <a:gd name="T38" fmla="*/ 45 w 45"/>
                <a:gd name="T39" fmla="*/ 54 h 58"/>
                <a:gd name="T40" fmla="*/ 45 w 45"/>
                <a:gd name="T41" fmla="*/ 4 h 58"/>
                <a:gd name="T42" fmla="*/ 41 w 45"/>
                <a:gd name="T43" fmla="*/ 0 h 58"/>
                <a:gd name="T44" fmla="*/ 15 w 45"/>
                <a:gd name="T45" fmla="*/ 0 h 58"/>
                <a:gd name="T46" fmla="*/ 0 w 45"/>
                <a:gd name="T47" fmla="*/ 15 h 58"/>
                <a:gd name="T48" fmla="*/ 17 w 45"/>
                <a:gd name="T49" fmla="*/ 6 h 58"/>
                <a:gd name="T50" fmla="*/ 37 w 45"/>
                <a:gd name="T51" fmla="*/ 6 h 58"/>
                <a:gd name="T52" fmla="*/ 39 w 45"/>
                <a:gd name="T53" fmla="*/ 8 h 58"/>
                <a:gd name="T54" fmla="*/ 39 w 45"/>
                <a:gd name="T55" fmla="*/ 51 h 58"/>
                <a:gd name="T56" fmla="*/ 37 w 45"/>
                <a:gd name="T57" fmla="*/ 52 h 58"/>
                <a:gd name="T58" fmla="*/ 7 w 45"/>
                <a:gd name="T59" fmla="*/ 52 h 58"/>
                <a:gd name="T60" fmla="*/ 6 w 45"/>
                <a:gd name="T61" fmla="*/ 51 h 58"/>
                <a:gd name="T62" fmla="*/ 6 w 45"/>
                <a:gd name="T63" fmla="*/ 17 h 58"/>
                <a:gd name="T64" fmla="*/ 17 w 45"/>
                <a:gd name="T65" fmla="*/ 17 h 58"/>
                <a:gd name="T66" fmla="*/ 17 w 45"/>
                <a:gd name="T6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58">
                  <a:moveTo>
                    <a:pt x="11" y="29"/>
                  </a:moveTo>
                  <a:cubicBezTo>
                    <a:pt x="30" y="29"/>
                    <a:pt x="30" y="29"/>
                    <a:pt x="30" y="29"/>
                  </a:cubicBezTo>
                  <a:cubicBezTo>
                    <a:pt x="30" y="25"/>
                    <a:pt x="30" y="25"/>
                    <a:pt x="30" y="25"/>
                  </a:cubicBezTo>
                  <a:cubicBezTo>
                    <a:pt x="11" y="25"/>
                    <a:pt x="11" y="25"/>
                    <a:pt x="11" y="25"/>
                  </a:cubicBezTo>
                  <a:lnTo>
                    <a:pt x="11" y="29"/>
                  </a:lnTo>
                  <a:close/>
                  <a:moveTo>
                    <a:pt x="11" y="45"/>
                  </a:moveTo>
                  <a:cubicBezTo>
                    <a:pt x="34" y="45"/>
                    <a:pt x="34" y="45"/>
                    <a:pt x="34" y="45"/>
                  </a:cubicBezTo>
                  <a:cubicBezTo>
                    <a:pt x="34" y="41"/>
                    <a:pt x="34" y="41"/>
                    <a:pt x="34" y="41"/>
                  </a:cubicBezTo>
                  <a:cubicBezTo>
                    <a:pt x="11" y="41"/>
                    <a:pt x="11" y="41"/>
                    <a:pt x="11" y="41"/>
                  </a:cubicBezTo>
                  <a:lnTo>
                    <a:pt x="11" y="45"/>
                  </a:lnTo>
                  <a:close/>
                  <a:moveTo>
                    <a:pt x="11" y="37"/>
                  </a:moveTo>
                  <a:cubicBezTo>
                    <a:pt x="22" y="37"/>
                    <a:pt x="22" y="37"/>
                    <a:pt x="22" y="37"/>
                  </a:cubicBezTo>
                  <a:cubicBezTo>
                    <a:pt x="22" y="33"/>
                    <a:pt x="22" y="33"/>
                    <a:pt x="22" y="33"/>
                  </a:cubicBezTo>
                  <a:cubicBezTo>
                    <a:pt x="11" y="33"/>
                    <a:pt x="11" y="33"/>
                    <a:pt x="11" y="33"/>
                  </a:cubicBezTo>
                  <a:lnTo>
                    <a:pt x="11" y="37"/>
                  </a:lnTo>
                  <a:close/>
                  <a:moveTo>
                    <a:pt x="0" y="15"/>
                  </a:moveTo>
                  <a:cubicBezTo>
                    <a:pt x="0" y="54"/>
                    <a:pt x="0" y="54"/>
                    <a:pt x="0" y="54"/>
                  </a:cubicBezTo>
                  <a:cubicBezTo>
                    <a:pt x="0" y="57"/>
                    <a:pt x="2" y="58"/>
                    <a:pt x="4" y="58"/>
                  </a:cubicBezTo>
                  <a:cubicBezTo>
                    <a:pt x="41" y="58"/>
                    <a:pt x="41" y="58"/>
                    <a:pt x="41" y="58"/>
                  </a:cubicBezTo>
                  <a:cubicBezTo>
                    <a:pt x="43" y="58"/>
                    <a:pt x="45" y="57"/>
                    <a:pt x="45" y="54"/>
                  </a:cubicBezTo>
                  <a:cubicBezTo>
                    <a:pt x="45" y="4"/>
                    <a:pt x="45" y="4"/>
                    <a:pt x="45" y="4"/>
                  </a:cubicBezTo>
                  <a:cubicBezTo>
                    <a:pt x="45" y="2"/>
                    <a:pt x="43" y="0"/>
                    <a:pt x="41" y="0"/>
                  </a:cubicBezTo>
                  <a:cubicBezTo>
                    <a:pt x="15" y="0"/>
                    <a:pt x="15" y="0"/>
                    <a:pt x="15" y="0"/>
                  </a:cubicBezTo>
                  <a:lnTo>
                    <a:pt x="0" y="15"/>
                  </a:lnTo>
                  <a:close/>
                  <a:moveTo>
                    <a:pt x="17" y="6"/>
                  </a:moveTo>
                  <a:cubicBezTo>
                    <a:pt x="37" y="6"/>
                    <a:pt x="37" y="6"/>
                    <a:pt x="37" y="6"/>
                  </a:cubicBezTo>
                  <a:cubicBezTo>
                    <a:pt x="38" y="6"/>
                    <a:pt x="39" y="7"/>
                    <a:pt x="39" y="8"/>
                  </a:cubicBezTo>
                  <a:cubicBezTo>
                    <a:pt x="39" y="51"/>
                    <a:pt x="39" y="51"/>
                    <a:pt x="39" y="51"/>
                  </a:cubicBezTo>
                  <a:cubicBezTo>
                    <a:pt x="39" y="52"/>
                    <a:pt x="38" y="52"/>
                    <a:pt x="37" y="52"/>
                  </a:cubicBezTo>
                  <a:cubicBezTo>
                    <a:pt x="7" y="52"/>
                    <a:pt x="7" y="52"/>
                    <a:pt x="7" y="52"/>
                  </a:cubicBezTo>
                  <a:cubicBezTo>
                    <a:pt x="6" y="52"/>
                    <a:pt x="6" y="52"/>
                    <a:pt x="6" y="51"/>
                  </a:cubicBezTo>
                  <a:cubicBezTo>
                    <a:pt x="6" y="17"/>
                    <a:pt x="6" y="17"/>
                    <a:pt x="6" y="17"/>
                  </a:cubicBezTo>
                  <a:cubicBezTo>
                    <a:pt x="17" y="17"/>
                    <a:pt x="17" y="17"/>
                    <a:pt x="17" y="17"/>
                  </a:cubicBezTo>
                  <a:lnTo>
                    <a:pt x="1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57" name="Picture 4" descr="Altares">
            <a:extLst>
              <a:ext uri="{FF2B5EF4-FFF2-40B4-BE49-F238E27FC236}">
                <a16:creationId xmlns:a16="http://schemas.microsoft.com/office/drawing/2014/main" id="{87EC2AF4-1C7B-477D-9F44-0BA83A36B952}"/>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397956" y="1332520"/>
            <a:ext cx="416549" cy="248823"/>
          </a:xfrm>
          <a:prstGeom prst="rect">
            <a:avLst/>
          </a:prstGeom>
          <a:noFill/>
          <a:extLst>
            <a:ext uri="{909E8E84-426E-40DD-AFC4-6F175D3DCCD1}">
              <a14:hiddenFill xmlns:a14="http://schemas.microsoft.com/office/drawing/2010/main">
                <a:solidFill>
                  <a:srgbClr val="FFFFFF"/>
                </a:solidFill>
              </a14:hiddenFill>
            </a:ext>
          </a:extLst>
        </p:spPr>
      </p:pic>
      <p:sp>
        <p:nvSpPr>
          <p:cNvPr id="161" name="Rectangle 160">
            <a:extLst>
              <a:ext uri="{FF2B5EF4-FFF2-40B4-BE49-F238E27FC236}">
                <a16:creationId xmlns:a16="http://schemas.microsoft.com/office/drawing/2014/main" id="{ADEE468E-CAF1-42F0-82EA-AE61F190D2D8}"/>
              </a:ext>
            </a:extLst>
          </p:cNvPr>
          <p:cNvSpPr/>
          <p:nvPr/>
        </p:nvSpPr>
        <p:spPr bwMode="auto">
          <a:xfrm>
            <a:off x="7100721" y="4054577"/>
            <a:ext cx="2683402" cy="931836"/>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pPr algn="l"/>
            <a:r>
              <a:rPr lang="en-GB" sz="1000" i="1">
                <a:latin typeface="Trebuchet MS" pitchFamily="34" charset="0"/>
              </a:rPr>
              <a:t>“</a:t>
            </a:r>
            <a:r>
              <a:rPr lang="en-GB" sz="1000" i="1" err="1">
                <a:latin typeface="Trebuchet MS" pitchFamily="34" charset="0"/>
              </a:rPr>
              <a:t>Altares</a:t>
            </a:r>
            <a:r>
              <a:rPr lang="en-GB" sz="1000" i="1">
                <a:latin typeface="Trebuchet MS" pitchFamily="34" charset="0"/>
              </a:rPr>
              <a:t> is very efficient in terms of </a:t>
            </a:r>
            <a:r>
              <a:rPr lang="en-GB" sz="1000" i="1">
                <a:solidFill>
                  <a:schemeClr val="tx2"/>
                </a:solidFill>
                <a:latin typeface="Trebuchet MS" pitchFamily="34" charset="0"/>
              </a:rPr>
              <a:t>services and data quality</a:t>
            </a:r>
            <a:r>
              <a:rPr lang="en-GB" sz="1000" i="1">
                <a:latin typeface="Trebuchet MS" pitchFamily="34" charset="0"/>
              </a:rPr>
              <a:t>. It is a </a:t>
            </a:r>
            <a:r>
              <a:rPr lang="en-GB" sz="1000" i="1">
                <a:solidFill>
                  <a:schemeClr val="tx2"/>
                </a:solidFill>
                <a:latin typeface="Trebuchet MS" pitchFamily="34" charset="0"/>
              </a:rPr>
              <a:t>recognized, solid and reliable </a:t>
            </a:r>
            <a:r>
              <a:rPr lang="en-GB" sz="1000" i="1">
                <a:latin typeface="Trebuchet MS" pitchFamily="34" charset="0"/>
              </a:rPr>
              <a:t>company recognized by the authorities.“</a:t>
            </a:r>
          </a:p>
          <a:p>
            <a:r>
              <a:rPr lang="en-GB" sz="1000">
                <a:latin typeface="Trebuchet MS" pitchFamily="34" charset="0"/>
              </a:rPr>
              <a:t>Legal &amp; Compliance Director at ABL Europe SAS</a:t>
            </a:r>
          </a:p>
        </p:txBody>
      </p:sp>
      <p:sp>
        <p:nvSpPr>
          <p:cNvPr id="174" name="Rectangle 173">
            <a:extLst>
              <a:ext uri="{FF2B5EF4-FFF2-40B4-BE49-F238E27FC236}">
                <a16:creationId xmlns:a16="http://schemas.microsoft.com/office/drawing/2014/main" id="{C170F058-0297-4042-B1C2-9092B67F812B}"/>
              </a:ext>
            </a:extLst>
          </p:cNvPr>
          <p:cNvSpPr/>
          <p:nvPr/>
        </p:nvSpPr>
        <p:spPr bwMode="auto">
          <a:xfrm>
            <a:off x="7100721" y="3273596"/>
            <a:ext cx="2683402" cy="663149"/>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pPr algn="l"/>
            <a:r>
              <a:rPr lang="en-GB" sz="1000" i="1">
                <a:latin typeface="Trebuchet MS" pitchFamily="34" charset="0"/>
              </a:rPr>
              <a:t>“The ability of </a:t>
            </a:r>
            <a:r>
              <a:rPr lang="en-GB" sz="1000" i="1" err="1">
                <a:latin typeface="Trebuchet MS" pitchFamily="34" charset="0"/>
              </a:rPr>
              <a:t>Altares</a:t>
            </a:r>
            <a:r>
              <a:rPr lang="en-GB" sz="1000" i="1">
                <a:latin typeface="Trebuchet MS" pitchFamily="34" charset="0"/>
              </a:rPr>
              <a:t> to </a:t>
            </a:r>
            <a:r>
              <a:rPr lang="en-GB" sz="1000" i="1">
                <a:solidFill>
                  <a:schemeClr val="tx2"/>
                </a:solidFill>
                <a:latin typeface="Trebuchet MS" pitchFamily="34" charset="0"/>
              </a:rPr>
              <a:t>connect into our system</a:t>
            </a:r>
            <a:r>
              <a:rPr lang="en-GB" sz="1000" i="1">
                <a:latin typeface="Trebuchet MS" pitchFamily="34" charset="0"/>
              </a:rPr>
              <a:t> through API has been our KPC.“</a:t>
            </a:r>
          </a:p>
          <a:p>
            <a:r>
              <a:rPr lang="en-GB" sz="1000">
                <a:latin typeface="Trebuchet MS" pitchFamily="34" charset="0"/>
              </a:rPr>
              <a:t>Data Advisor at ABN </a:t>
            </a:r>
            <a:r>
              <a:rPr lang="en-GB" sz="1000" err="1">
                <a:latin typeface="Trebuchet MS" pitchFamily="34" charset="0"/>
              </a:rPr>
              <a:t>Amro</a:t>
            </a:r>
            <a:endParaRPr lang="en-GB" sz="1000">
              <a:latin typeface="Trebuchet MS" pitchFamily="34" charset="0"/>
            </a:endParaRPr>
          </a:p>
        </p:txBody>
      </p:sp>
      <p:grpSp>
        <p:nvGrpSpPr>
          <p:cNvPr id="172" name="Groupe 171">
            <a:extLst>
              <a:ext uri="{FF2B5EF4-FFF2-40B4-BE49-F238E27FC236}">
                <a16:creationId xmlns:a16="http://schemas.microsoft.com/office/drawing/2014/main" id="{06D62ADB-E8ED-472F-BAFD-33DB2BC303FA}"/>
              </a:ext>
            </a:extLst>
          </p:cNvPr>
          <p:cNvGrpSpPr/>
          <p:nvPr/>
        </p:nvGrpSpPr>
        <p:grpSpPr>
          <a:xfrm>
            <a:off x="3277762" y="6020244"/>
            <a:ext cx="3439480" cy="246221"/>
            <a:chOff x="5094397" y="5884496"/>
            <a:chExt cx="3439480" cy="246221"/>
          </a:xfrm>
        </p:grpSpPr>
        <p:sp>
          <p:nvSpPr>
            <p:cNvPr id="173" name="TextBox 99">
              <a:extLst>
                <a:ext uri="{FF2B5EF4-FFF2-40B4-BE49-F238E27FC236}">
                  <a16:creationId xmlns:a16="http://schemas.microsoft.com/office/drawing/2014/main" id="{DBA74347-0D03-4127-BF3D-30DC947E184A}"/>
                </a:ext>
              </a:extLst>
            </p:cNvPr>
            <p:cNvSpPr txBox="1"/>
            <p:nvPr/>
          </p:nvSpPr>
          <p:spPr>
            <a:xfrm>
              <a:off x="5099085"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2.6</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pic>
          <p:nvPicPr>
            <p:cNvPr id="176" name="Graphique 175" descr="Couronne">
              <a:extLst>
                <a:ext uri="{FF2B5EF4-FFF2-40B4-BE49-F238E27FC236}">
                  <a16:creationId xmlns:a16="http://schemas.microsoft.com/office/drawing/2014/main" id="{37F6651C-05D3-4143-8419-8F92D86CAFDD}"/>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094397" y="5887816"/>
              <a:ext cx="197538" cy="197538"/>
            </a:xfrm>
            <a:prstGeom prst="rect">
              <a:avLst/>
            </a:prstGeom>
          </p:spPr>
        </p:pic>
        <p:sp>
          <p:nvSpPr>
            <p:cNvPr id="177" name="TextBox 99">
              <a:extLst>
                <a:ext uri="{FF2B5EF4-FFF2-40B4-BE49-F238E27FC236}">
                  <a16:creationId xmlns:a16="http://schemas.microsoft.com/office/drawing/2014/main" id="{60741B3A-F65E-4ED1-BD8E-B7814CC2CF57}"/>
                </a:ext>
              </a:extLst>
            </p:cNvPr>
            <p:cNvSpPr txBox="1"/>
            <p:nvPr/>
          </p:nvSpPr>
          <p:spPr>
            <a:xfrm>
              <a:off x="5938200"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2.1</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sp>
          <p:nvSpPr>
            <p:cNvPr id="178" name="TextBox 99">
              <a:extLst>
                <a:ext uri="{FF2B5EF4-FFF2-40B4-BE49-F238E27FC236}">
                  <a16:creationId xmlns:a16="http://schemas.microsoft.com/office/drawing/2014/main" id="{78801ED6-2E1E-4F04-A8C3-2547C325C275}"/>
                </a:ext>
              </a:extLst>
            </p:cNvPr>
            <p:cNvSpPr txBox="1"/>
            <p:nvPr/>
          </p:nvSpPr>
          <p:spPr>
            <a:xfrm>
              <a:off x="6862468"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1.6</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sp>
          <p:nvSpPr>
            <p:cNvPr id="179" name="TextBox 99">
              <a:extLst>
                <a:ext uri="{FF2B5EF4-FFF2-40B4-BE49-F238E27FC236}">
                  <a16:creationId xmlns:a16="http://schemas.microsoft.com/office/drawing/2014/main" id="{EBEC1396-8ABB-483D-AB1D-F5296B19ED4E}"/>
                </a:ext>
              </a:extLst>
            </p:cNvPr>
            <p:cNvSpPr txBox="1"/>
            <p:nvPr/>
          </p:nvSpPr>
          <p:spPr>
            <a:xfrm>
              <a:off x="7873898"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1.8</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grpSp>
      <p:cxnSp>
        <p:nvCxnSpPr>
          <p:cNvPr id="180" name="Connecteur droit 179">
            <a:extLst>
              <a:ext uri="{FF2B5EF4-FFF2-40B4-BE49-F238E27FC236}">
                <a16:creationId xmlns:a16="http://schemas.microsoft.com/office/drawing/2014/main" id="{AFDD537A-BF5B-49DB-AFF9-239A967FD93D}"/>
              </a:ext>
            </a:extLst>
          </p:cNvPr>
          <p:cNvCxnSpPr>
            <a:cxnSpLocks/>
          </p:cNvCxnSpPr>
          <p:nvPr/>
        </p:nvCxnSpPr>
        <p:spPr bwMode="auto">
          <a:xfrm>
            <a:off x="3093410" y="6006287"/>
            <a:ext cx="3735798" cy="0"/>
          </a:xfrm>
          <a:prstGeom prst="line">
            <a:avLst/>
          </a:prstGeom>
          <a:solidFill>
            <a:srgbClr val="26ACDE"/>
          </a:solidFill>
          <a:ln w="15875" cap="flat" cmpd="sng" algn="ctr">
            <a:solidFill>
              <a:srgbClr val="36964F"/>
            </a:solidFill>
            <a:prstDash val="solid"/>
            <a:round/>
            <a:headEnd type="none" w="med" len="med"/>
            <a:tailEnd type="none" w="med" len="med"/>
          </a:ln>
          <a:effectLst/>
        </p:spPr>
      </p:cxnSp>
      <p:sp>
        <p:nvSpPr>
          <p:cNvPr id="181" name="TextBox 99">
            <a:extLst>
              <a:ext uri="{FF2B5EF4-FFF2-40B4-BE49-F238E27FC236}">
                <a16:creationId xmlns:a16="http://schemas.microsoft.com/office/drawing/2014/main" id="{CA370332-2B47-42C1-9874-260B49B40D23}"/>
              </a:ext>
            </a:extLst>
          </p:cNvPr>
          <p:cNvSpPr txBox="1"/>
          <p:nvPr/>
        </p:nvSpPr>
        <p:spPr>
          <a:xfrm>
            <a:off x="507930" y="6034319"/>
            <a:ext cx="2650082" cy="2308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646464"/>
                </a:solidFill>
                <a:effectLst/>
                <a:uLnTx/>
                <a:uFillTx/>
                <a:latin typeface="Trebuchet MS" panose="020B0603020202020204" pitchFamily="34" charset="0"/>
              </a:rPr>
              <a:t>Weighted average</a:t>
            </a:r>
          </a:p>
        </p:txBody>
      </p:sp>
      <p:sp>
        <p:nvSpPr>
          <p:cNvPr id="182" name="Rectangle 181">
            <a:extLst>
              <a:ext uri="{FF2B5EF4-FFF2-40B4-BE49-F238E27FC236}">
                <a16:creationId xmlns:a16="http://schemas.microsoft.com/office/drawing/2014/main" id="{F2BB713C-4478-4609-BA97-F1237E266F9C}"/>
              </a:ext>
            </a:extLst>
          </p:cNvPr>
          <p:cNvSpPr/>
          <p:nvPr/>
        </p:nvSpPr>
        <p:spPr bwMode="auto">
          <a:xfrm>
            <a:off x="7085055" y="5104245"/>
            <a:ext cx="2693549" cy="713653"/>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pPr algn="l"/>
            <a:r>
              <a:rPr lang="en-GB" sz="1000" i="1">
                <a:latin typeface="Trebuchet MS" pitchFamily="34" charset="0"/>
              </a:rPr>
              <a:t>“We </a:t>
            </a:r>
            <a:r>
              <a:rPr lang="en-GB" sz="1000" i="1">
                <a:solidFill>
                  <a:schemeClr val="tx2"/>
                </a:solidFill>
                <a:latin typeface="Trebuchet MS" pitchFamily="34" charset="0"/>
              </a:rPr>
              <a:t>never see </a:t>
            </a:r>
            <a:r>
              <a:rPr lang="en-GB" sz="1000" i="1" err="1">
                <a:solidFill>
                  <a:schemeClr val="tx2"/>
                </a:solidFill>
                <a:latin typeface="Trebuchet MS" pitchFamily="34" charset="0"/>
              </a:rPr>
              <a:t>Ellisphere</a:t>
            </a:r>
            <a:r>
              <a:rPr lang="en-GB" sz="1000" i="1">
                <a:solidFill>
                  <a:schemeClr val="tx2"/>
                </a:solidFill>
                <a:latin typeface="Trebuchet MS" pitchFamily="34" charset="0"/>
              </a:rPr>
              <a:t> </a:t>
            </a:r>
            <a:r>
              <a:rPr lang="en-GB" sz="1000" i="1">
                <a:latin typeface="Trebuchet MS" pitchFamily="34" charset="0"/>
              </a:rPr>
              <a:t>in the competition to </a:t>
            </a:r>
            <a:r>
              <a:rPr lang="en-GB" sz="1000" i="1">
                <a:solidFill>
                  <a:schemeClr val="tx2"/>
                </a:solidFill>
                <a:latin typeface="Trebuchet MS" pitchFamily="34" charset="0"/>
              </a:rPr>
              <a:t>answer Compliance calls for tender</a:t>
            </a:r>
            <a:r>
              <a:rPr lang="en-GB" sz="1000" i="1">
                <a:latin typeface="Trebuchet MS" pitchFamily="34" charset="0"/>
              </a:rPr>
              <a:t>.”</a:t>
            </a:r>
          </a:p>
          <a:p>
            <a:r>
              <a:rPr lang="en-GB" sz="1000">
                <a:latin typeface="Trebuchet MS" pitchFamily="34" charset="0"/>
              </a:rPr>
              <a:t>CEO at </a:t>
            </a:r>
            <a:r>
              <a:rPr lang="en-GB" sz="1000" err="1">
                <a:latin typeface="Trebuchet MS" pitchFamily="34" charset="0"/>
              </a:rPr>
              <a:t>Altares</a:t>
            </a:r>
            <a:endParaRPr lang="en-GB" sz="1000">
              <a:latin typeface="Trebuchet MS" pitchFamily="34" charset="0"/>
            </a:endParaRPr>
          </a:p>
        </p:txBody>
      </p:sp>
      <p:sp>
        <p:nvSpPr>
          <p:cNvPr id="186" name="Rectangle 185">
            <a:extLst>
              <a:ext uri="{FF2B5EF4-FFF2-40B4-BE49-F238E27FC236}">
                <a16:creationId xmlns:a16="http://schemas.microsoft.com/office/drawing/2014/main" id="{0CC9D074-1D9F-4B2E-98A7-A0A404BCDFE7}"/>
              </a:ext>
            </a:extLst>
          </p:cNvPr>
          <p:cNvSpPr/>
          <p:nvPr/>
        </p:nvSpPr>
        <p:spPr bwMode="auto">
          <a:xfrm>
            <a:off x="7100431" y="5935728"/>
            <a:ext cx="2667096" cy="536177"/>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pPr algn="l"/>
            <a:r>
              <a:rPr lang="en-GB" sz="1000" i="1">
                <a:latin typeface="Trebuchet MS" pitchFamily="34" charset="0"/>
              </a:rPr>
              <a:t>“</a:t>
            </a:r>
            <a:r>
              <a:rPr lang="en-GB" sz="1000" i="1">
                <a:solidFill>
                  <a:schemeClr val="tx2"/>
                </a:solidFill>
                <a:latin typeface="Trebuchet MS" pitchFamily="34" charset="0"/>
              </a:rPr>
              <a:t>BVD</a:t>
            </a:r>
            <a:r>
              <a:rPr lang="en-GB" sz="1000" i="1">
                <a:latin typeface="Trebuchet MS" pitchFamily="34" charset="0"/>
              </a:rPr>
              <a:t> focuses on </a:t>
            </a:r>
            <a:r>
              <a:rPr lang="en-GB" sz="1000" i="1">
                <a:solidFill>
                  <a:schemeClr val="tx2"/>
                </a:solidFill>
                <a:latin typeface="Trebuchet MS" pitchFamily="34" charset="0"/>
              </a:rPr>
              <a:t>large accounts</a:t>
            </a:r>
            <a:r>
              <a:rPr lang="en-GB" sz="1000" i="1">
                <a:latin typeface="Trebuchet MS" pitchFamily="34" charset="0"/>
              </a:rPr>
              <a:t> and its </a:t>
            </a:r>
            <a:r>
              <a:rPr lang="en-GB" sz="1000" i="1">
                <a:solidFill>
                  <a:schemeClr val="tx2"/>
                </a:solidFill>
                <a:latin typeface="Trebuchet MS" pitchFamily="34" charset="0"/>
              </a:rPr>
              <a:t>historical customers</a:t>
            </a:r>
            <a:r>
              <a:rPr lang="en-GB" sz="1000" i="1">
                <a:latin typeface="Trebuchet MS" pitchFamily="34" charset="0"/>
              </a:rPr>
              <a:t>.”</a:t>
            </a:r>
          </a:p>
          <a:p>
            <a:r>
              <a:rPr lang="en-GB" sz="1000">
                <a:latin typeface="Trebuchet MS" pitchFamily="34" charset="0"/>
              </a:rPr>
              <a:t>CEO at </a:t>
            </a:r>
            <a:r>
              <a:rPr lang="en-GB" sz="1000" err="1">
                <a:latin typeface="Trebuchet MS" pitchFamily="34" charset="0"/>
              </a:rPr>
              <a:t>Altares</a:t>
            </a:r>
            <a:endParaRPr lang="en-GB" sz="1000">
              <a:latin typeface="Trebuchet MS" pitchFamily="34" charset="0"/>
            </a:endParaRPr>
          </a:p>
        </p:txBody>
      </p:sp>
      <p:sp>
        <p:nvSpPr>
          <p:cNvPr id="166" name="Freeform 663">
            <a:extLst>
              <a:ext uri="{FF2B5EF4-FFF2-40B4-BE49-F238E27FC236}">
                <a16:creationId xmlns:a16="http://schemas.microsoft.com/office/drawing/2014/main" id="{29B7DAF0-036C-4763-8789-C8570D5F0EB8}"/>
              </a:ext>
            </a:extLst>
          </p:cNvPr>
          <p:cNvSpPr>
            <a:spLocks noChangeAspect="1" noEditPoints="1"/>
          </p:cNvSpPr>
          <p:nvPr/>
        </p:nvSpPr>
        <p:spPr bwMode="auto">
          <a:xfrm>
            <a:off x="6937536" y="1423804"/>
            <a:ext cx="286514" cy="24822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67" name="Freeform 663">
            <a:extLst>
              <a:ext uri="{FF2B5EF4-FFF2-40B4-BE49-F238E27FC236}">
                <a16:creationId xmlns:a16="http://schemas.microsoft.com/office/drawing/2014/main" id="{C75B9FA4-D0E4-4F24-ACC4-092B358819FF}"/>
              </a:ext>
            </a:extLst>
          </p:cNvPr>
          <p:cNvSpPr>
            <a:spLocks noChangeAspect="1" noEditPoints="1"/>
          </p:cNvSpPr>
          <p:nvPr/>
        </p:nvSpPr>
        <p:spPr bwMode="auto">
          <a:xfrm>
            <a:off x="6937536" y="3473340"/>
            <a:ext cx="286514" cy="24822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70" name="Freeform 663">
            <a:extLst>
              <a:ext uri="{FF2B5EF4-FFF2-40B4-BE49-F238E27FC236}">
                <a16:creationId xmlns:a16="http://schemas.microsoft.com/office/drawing/2014/main" id="{29267CE8-0F88-4D93-AFC7-3C66B099EF49}"/>
              </a:ext>
            </a:extLst>
          </p:cNvPr>
          <p:cNvSpPr>
            <a:spLocks noChangeAspect="1" noEditPoints="1"/>
          </p:cNvSpPr>
          <p:nvPr/>
        </p:nvSpPr>
        <p:spPr bwMode="auto">
          <a:xfrm>
            <a:off x="6937536" y="4338880"/>
            <a:ext cx="286514" cy="24822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71" name="Freeform 663">
            <a:extLst>
              <a:ext uri="{FF2B5EF4-FFF2-40B4-BE49-F238E27FC236}">
                <a16:creationId xmlns:a16="http://schemas.microsoft.com/office/drawing/2014/main" id="{348CFF47-1831-495E-B81C-DF9F76285704}"/>
              </a:ext>
            </a:extLst>
          </p:cNvPr>
          <p:cNvSpPr>
            <a:spLocks noChangeAspect="1" noEditPoints="1"/>
          </p:cNvSpPr>
          <p:nvPr/>
        </p:nvSpPr>
        <p:spPr bwMode="auto">
          <a:xfrm>
            <a:off x="6937536" y="5339743"/>
            <a:ext cx="286514" cy="24822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84" name="Freeform 663">
            <a:extLst>
              <a:ext uri="{FF2B5EF4-FFF2-40B4-BE49-F238E27FC236}">
                <a16:creationId xmlns:a16="http://schemas.microsoft.com/office/drawing/2014/main" id="{8A927B9E-AC07-4D79-BFFE-BA94B7B9D6F9}"/>
              </a:ext>
            </a:extLst>
          </p:cNvPr>
          <p:cNvSpPr>
            <a:spLocks noChangeAspect="1" noEditPoints="1"/>
          </p:cNvSpPr>
          <p:nvPr/>
        </p:nvSpPr>
        <p:spPr bwMode="auto">
          <a:xfrm>
            <a:off x="6937536" y="6074932"/>
            <a:ext cx="286514" cy="24822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Tree>
    <p:extLst>
      <p:ext uri="{BB962C8B-B14F-4D97-AF65-F5344CB8AC3E}">
        <p14:creationId xmlns:p14="http://schemas.microsoft.com/office/powerpoint/2010/main" val="4069988287"/>
      </p:ext>
    </p:extLst>
  </p:cSld>
  <p:clrMapOvr>
    <a:masterClrMapping/>
  </p:clrMapOv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6B6FA65-A8AD-45C6-8B83-B0CA1595BC23}"/>
              </a:ext>
            </a:extLst>
          </p:cNvPr>
          <p:cNvGraphicFramePr>
            <a:graphicFrameLocks noChangeAspect="1"/>
          </p:cNvGraphicFramePr>
          <p:nvPr>
            <p:custDataLst>
              <p:tags r:id="rId1"/>
            </p:custDataLst>
            <p:extLst>
              <p:ext uri="{D42A27DB-BD31-4B8C-83A1-F6EECF244321}">
                <p14:modId xmlns:p14="http://schemas.microsoft.com/office/powerpoint/2010/main" val="1334492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C6B6FA65-A8AD-45C6-8B83-B0CA1595BC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12DBA1F-8B84-4ED3-81C9-DC9F7C936064}"/>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A7667494-4501-4111-9706-BD4EF61979EB}"/>
              </a:ext>
            </a:extLst>
          </p:cNvPr>
          <p:cNvSpPr>
            <a:spLocks noGrp="1"/>
          </p:cNvSpPr>
          <p:nvPr>
            <p:ph type="title"/>
          </p:nvPr>
        </p:nvSpPr>
        <p:spPr>
          <a:xfrm>
            <a:off x="165601" y="147600"/>
            <a:ext cx="8357688" cy="684000"/>
          </a:xfrm>
        </p:spPr>
        <p:txBody>
          <a:bodyPr/>
          <a:lstStyle/>
          <a:p>
            <a:r>
              <a:rPr lang="en-GB" err="1">
                <a:latin typeface="Trebuchet MS" panose="020B0603020202020204" pitchFamily="34" charset="0"/>
              </a:rPr>
              <a:t>Altares</a:t>
            </a:r>
            <a:r>
              <a:rPr lang="en-GB">
                <a:latin typeface="Trebuchet MS" panose="020B0603020202020204" pitchFamily="34" charset="0"/>
              </a:rPr>
              <a:t>, </a:t>
            </a:r>
            <a:r>
              <a:rPr lang="en-GB">
                <a:solidFill>
                  <a:schemeClr val="tx2"/>
                </a:solidFill>
                <a:latin typeface="Trebuchet MS" panose="020B0603020202020204" pitchFamily="34" charset="0"/>
              </a:rPr>
              <a:t>along with </a:t>
            </a:r>
            <a:r>
              <a:rPr lang="en-GB" err="1">
                <a:solidFill>
                  <a:schemeClr val="tx2"/>
                </a:solidFill>
                <a:latin typeface="Trebuchet MS" panose="020B0603020202020204" pitchFamily="34" charset="0"/>
              </a:rPr>
              <a:t>Manageo</a:t>
            </a:r>
            <a:r>
              <a:rPr lang="en-GB">
                <a:latin typeface="Trebuchet MS" panose="020B0603020202020204" pitchFamily="34" charset="0"/>
              </a:rPr>
              <a:t>, offer a </a:t>
            </a:r>
            <a:r>
              <a:rPr lang="en-GB">
                <a:solidFill>
                  <a:schemeClr val="tx2"/>
                </a:solidFill>
                <a:latin typeface="Trebuchet MS" panose="020B0603020202020204" pitchFamily="34" charset="0"/>
              </a:rPr>
              <a:t>wide and competitive range of solutions </a:t>
            </a:r>
            <a:r>
              <a:rPr lang="en-GB">
                <a:latin typeface="Trebuchet MS" panose="020B0603020202020204" pitchFamily="34" charset="0"/>
              </a:rPr>
              <a:t>for mid-sized companies as well as for large accounts</a:t>
            </a:r>
          </a:p>
        </p:txBody>
      </p:sp>
      <p:sp>
        <p:nvSpPr>
          <p:cNvPr id="214" name="Rectangle 213">
            <a:extLst>
              <a:ext uri="{FF2B5EF4-FFF2-40B4-BE49-F238E27FC236}">
                <a16:creationId xmlns:a16="http://schemas.microsoft.com/office/drawing/2014/main" id="{A8B7529F-709B-4E9D-B181-9ECA307CB567}"/>
              </a:ext>
            </a:extLst>
          </p:cNvPr>
          <p:cNvSpPr/>
          <p:nvPr/>
        </p:nvSpPr>
        <p:spPr bwMode="auto">
          <a:xfrm>
            <a:off x="8992122" y="975034"/>
            <a:ext cx="322284" cy="23981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accent2">
                  <a:lumMod val="25000"/>
                </a:schemeClr>
              </a:solidFill>
              <a:effectLst/>
              <a:latin typeface="Trebuchet MS" pitchFamily="34" charset="0"/>
            </a:endParaRPr>
          </a:p>
        </p:txBody>
      </p:sp>
      <p:sp>
        <p:nvSpPr>
          <p:cNvPr id="297" name="Espace réservé du texte 3">
            <a:extLst>
              <a:ext uri="{FF2B5EF4-FFF2-40B4-BE49-F238E27FC236}">
                <a16:creationId xmlns:a16="http://schemas.microsoft.com/office/drawing/2014/main" id="{D4669BDD-3925-423C-B911-CEE9D651D2E3}"/>
              </a:ext>
            </a:extLst>
          </p:cNvPr>
          <p:cNvSpPr>
            <a:spLocks noGrp="1"/>
          </p:cNvSpPr>
          <p:nvPr>
            <p:ph type="body" sz="quarter" idx="10"/>
          </p:nvPr>
        </p:nvSpPr>
        <p:spPr>
          <a:xfrm>
            <a:off x="1316038" y="6580188"/>
            <a:ext cx="7131050" cy="244475"/>
          </a:xfrm>
        </p:spPr>
        <p:txBody>
          <a:bodyPr/>
          <a:lstStyle/>
          <a:p>
            <a:pPr marL="0" indent="0">
              <a:spcBef>
                <a:spcPts val="0"/>
              </a:spcBef>
              <a:buNone/>
            </a:pPr>
            <a:r>
              <a:rPr lang="en-GB" sz="800" i="1" kern="0"/>
              <a:t>Sources: eleven research &amp; analysis, expert calls</a:t>
            </a:r>
          </a:p>
        </p:txBody>
      </p:sp>
      <p:sp>
        <p:nvSpPr>
          <p:cNvPr id="6" name="TextBox 99">
            <a:extLst>
              <a:ext uri="{FF2B5EF4-FFF2-40B4-BE49-F238E27FC236}">
                <a16:creationId xmlns:a16="http://schemas.microsoft.com/office/drawing/2014/main" id="{073CBBBF-3D9B-42D6-9753-7143FCF25F79}"/>
              </a:ext>
            </a:extLst>
          </p:cNvPr>
          <p:cNvSpPr txBox="1"/>
          <p:nvPr/>
        </p:nvSpPr>
        <p:spPr>
          <a:xfrm>
            <a:off x="438454" y="1836913"/>
            <a:ext cx="2713155" cy="2308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646464"/>
                </a:solidFill>
                <a:effectLst/>
                <a:uLnTx/>
                <a:uFillTx/>
                <a:latin typeface="Trebuchet MS" panose="020B0603020202020204" pitchFamily="34" charset="0"/>
              </a:rPr>
              <a:t>Key differentiating elements</a:t>
            </a:r>
          </a:p>
        </p:txBody>
      </p:sp>
      <p:cxnSp>
        <p:nvCxnSpPr>
          <p:cNvPr id="5" name="Connecteur droit 4">
            <a:extLst>
              <a:ext uri="{FF2B5EF4-FFF2-40B4-BE49-F238E27FC236}">
                <a16:creationId xmlns:a16="http://schemas.microsoft.com/office/drawing/2014/main" id="{88E4374C-6CD8-4C72-8420-B323C9A3661A}"/>
              </a:ext>
            </a:extLst>
          </p:cNvPr>
          <p:cNvCxnSpPr>
            <a:cxnSpLocks/>
          </p:cNvCxnSpPr>
          <p:nvPr/>
        </p:nvCxnSpPr>
        <p:spPr bwMode="auto">
          <a:xfrm>
            <a:off x="479980" y="2157342"/>
            <a:ext cx="2677625" cy="0"/>
          </a:xfrm>
          <a:prstGeom prst="line">
            <a:avLst/>
          </a:prstGeom>
          <a:solidFill>
            <a:srgbClr val="26ACDE"/>
          </a:solidFill>
          <a:ln w="15875" cap="flat" cmpd="sng" algn="ctr">
            <a:solidFill>
              <a:srgbClr val="36964F"/>
            </a:solidFill>
            <a:prstDash val="solid"/>
            <a:round/>
            <a:headEnd type="none" w="med" len="med"/>
            <a:tailEnd type="none" w="med" len="med"/>
          </a:ln>
          <a:effectLst/>
        </p:spPr>
      </p:cxnSp>
      <p:cxnSp>
        <p:nvCxnSpPr>
          <p:cNvPr id="28" name="Connecteur droit 27">
            <a:extLst>
              <a:ext uri="{FF2B5EF4-FFF2-40B4-BE49-F238E27FC236}">
                <a16:creationId xmlns:a16="http://schemas.microsoft.com/office/drawing/2014/main" id="{51730EFF-FA4F-475D-8176-99E7242E0A28}"/>
              </a:ext>
            </a:extLst>
          </p:cNvPr>
          <p:cNvCxnSpPr/>
          <p:nvPr/>
        </p:nvCxnSpPr>
        <p:spPr bwMode="auto">
          <a:xfrm>
            <a:off x="6590489"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29" name="Connecteur droit 28">
            <a:extLst>
              <a:ext uri="{FF2B5EF4-FFF2-40B4-BE49-F238E27FC236}">
                <a16:creationId xmlns:a16="http://schemas.microsoft.com/office/drawing/2014/main" id="{86AF977D-1555-43B2-9FC6-F6EA53AA0A4C}"/>
              </a:ext>
            </a:extLst>
          </p:cNvPr>
          <p:cNvCxnSpPr/>
          <p:nvPr/>
        </p:nvCxnSpPr>
        <p:spPr bwMode="auto">
          <a:xfrm>
            <a:off x="6412242"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0" name="Connecteur droit 29">
            <a:extLst>
              <a:ext uri="{FF2B5EF4-FFF2-40B4-BE49-F238E27FC236}">
                <a16:creationId xmlns:a16="http://schemas.microsoft.com/office/drawing/2014/main" id="{B0474015-7EEC-4478-A569-6F030A7E99AC}"/>
              </a:ext>
            </a:extLst>
          </p:cNvPr>
          <p:cNvCxnSpPr/>
          <p:nvPr/>
        </p:nvCxnSpPr>
        <p:spPr bwMode="auto">
          <a:xfrm>
            <a:off x="6233995"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1" name="Connecteur droit 30">
            <a:extLst>
              <a:ext uri="{FF2B5EF4-FFF2-40B4-BE49-F238E27FC236}">
                <a16:creationId xmlns:a16="http://schemas.microsoft.com/office/drawing/2014/main" id="{EF4878FB-D18A-49F8-85B4-1BC5B379341F}"/>
              </a:ext>
            </a:extLst>
          </p:cNvPr>
          <p:cNvCxnSpPr/>
          <p:nvPr/>
        </p:nvCxnSpPr>
        <p:spPr bwMode="auto">
          <a:xfrm>
            <a:off x="6055748"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5" name="Connecteur droit 44">
            <a:extLst>
              <a:ext uri="{FF2B5EF4-FFF2-40B4-BE49-F238E27FC236}">
                <a16:creationId xmlns:a16="http://schemas.microsoft.com/office/drawing/2014/main" id="{40487E42-92DF-4B0B-8177-DD67E6ADC2FB}"/>
              </a:ext>
            </a:extLst>
          </p:cNvPr>
          <p:cNvCxnSpPr/>
          <p:nvPr/>
        </p:nvCxnSpPr>
        <p:spPr bwMode="auto">
          <a:xfrm>
            <a:off x="6750332" y="2297830"/>
            <a:ext cx="0" cy="3888000"/>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69" name="Ellipse 68">
            <a:extLst>
              <a:ext uri="{FF2B5EF4-FFF2-40B4-BE49-F238E27FC236}">
                <a16:creationId xmlns:a16="http://schemas.microsoft.com/office/drawing/2014/main" id="{F3A071CD-59E8-4A3A-90E8-CD9DD9245369}"/>
              </a:ext>
            </a:extLst>
          </p:cNvPr>
          <p:cNvSpPr>
            <a:spLocks noChangeAspect="1"/>
          </p:cNvSpPr>
          <p:nvPr/>
        </p:nvSpPr>
        <p:spPr bwMode="auto">
          <a:xfrm>
            <a:off x="5986554"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70" name="Ellipse 69">
            <a:extLst>
              <a:ext uri="{FF2B5EF4-FFF2-40B4-BE49-F238E27FC236}">
                <a16:creationId xmlns:a16="http://schemas.microsoft.com/office/drawing/2014/main" id="{9F09764F-54ED-497C-8BEC-DC7C2290ECB2}"/>
              </a:ext>
            </a:extLst>
          </p:cNvPr>
          <p:cNvSpPr>
            <a:spLocks noChangeAspect="1"/>
          </p:cNvSpPr>
          <p:nvPr/>
        </p:nvSpPr>
        <p:spPr bwMode="auto">
          <a:xfrm>
            <a:off x="6512583"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71" name="Ellipse 70">
            <a:extLst>
              <a:ext uri="{FF2B5EF4-FFF2-40B4-BE49-F238E27FC236}">
                <a16:creationId xmlns:a16="http://schemas.microsoft.com/office/drawing/2014/main" id="{A8D8E0A1-B787-40BC-BBDC-AC4CCD0B8D36}"/>
              </a:ext>
            </a:extLst>
          </p:cNvPr>
          <p:cNvSpPr>
            <a:spLocks noChangeAspect="1"/>
          </p:cNvSpPr>
          <p:nvPr/>
        </p:nvSpPr>
        <p:spPr bwMode="auto">
          <a:xfrm>
            <a:off x="6335986"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72" name="Ellipse 71">
            <a:extLst>
              <a:ext uri="{FF2B5EF4-FFF2-40B4-BE49-F238E27FC236}">
                <a16:creationId xmlns:a16="http://schemas.microsoft.com/office/drawing/2014/main" id="{3EFF76FF-63C4-4E96-9AB6-A27DCBFDA21C}"/>
              </a:ext>
            </a:extLst>
          </p:cNvPr>
          <p:cNvSpPr>
            <a:spLocks noChangeAspect="1"/>
          </p:cNvSpPr>
          <p:nvPr/>
        </p:nvSpPr>
        <p:spPr bwMode="auto">
          <a:xfrm>
            <a:off x="6159389"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sp>
        <p:nvSpPr>
          <p:cNvPr id="99" name="Ellipse 98">
            <a:extLst>
              <a:ext uri="{FF2B5EF4-FFF2-40B4-BE49-F238E27FC236}">
                <a16:creationId xmlns:a16="http://schemas.microsoft.com/office/drawing/2014/main" id="{CC579BC9-F06E-40D6-9089-2F29368CE407}"/>
              </a:ext>
            </a:extLst>
          </p:cNvPr>
          <p:cNvSpPr/>
          <p:nvPr/>
        </p:nvSpPr>
        <p:spPr bwMode="auto">
          <a:xfrm>
            <a:off x="6023652" y="2465031"/>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0" name="Ellipse 99">
            <a:extLst>
              <a:ext uri="{FF2B5EF4-FFF2-40B4-BE49-F238E27FC236}">
                <a16:creationId xmlns:a16="http://schemas.microsoft.com/office/drawing/2014/main" id="{6B4D98A6-2CC0-4102-B4C1-2574B8461952}"/>
              </a:ext>
            </a:extLst>
          </p:cNvPr>
          <p:cNvSpPr/>
          <p:nvPr/>
        </p:nvSpPr>
        <p:spPr bwMode="auto">
          <a:xfrm>
            <a:off x="6559470" y="3448697"/>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1" name="Ellipse 100">
            <a:extLst>
              <a:ext uri="{FF2B5EF4-FFF2-40B4-BE49-F238E27FC236}">
                <a16:creationId xmlns:a16="http://schemas.microsoft.com/office/drawing/2014/main" id="{47E216FA-5823-4510-A587-08E21D4E5387}"/>
              </a:ext>
            </a:extLst>
          </p:cNvPr>
          <p:cNvSpPr/>
          <p:nvPr/>
        </p:nvSpPr>
        <p:spPr bwMode="auto">
          <a:xfrm>
            <a:off x="6019779" y="394053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2" name="Ellipse 101">
            <a:extLst>
              <a:ext uri="{FF2B5EF4-FFF2-40B4-BE49-F238E27FC236}">
                <a16:creationId xmlns:a16="http://schemas.microsoft.com/office/drawing/2014/main" id="{241AE8A5-4A68-4CFD-A3B1-955BE47B53AF}"/>
              </a:ext>
            </a:extLst>
          </p:cNvPr>
          <p:cNvSpPr/>
          <p:nvPr/>
        </p:nvSpPr>
        <p:spPr bwMode="auto">
          <a:xfrm>
            <a:off x="6209334" y="4432363"/>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3" name="Ellipse 102">
            <a:extLst>
              <a:ext uri="{FF2B5EF4-FFF2-40B4-BE49-F238E27FC236}">
                <a16:creationId xmlns:a16="http://schemas.microsoft.com/office/drawing/2014/main" id="{6DC8F5F3-B2F0-480A-A6E3-9F4F3BDDDD0D}"/>
              </a:ext>
            </a:extLst>
          </p:cNvPr>
          <p:cNvSpPr/>
          <p:nvPr/>
        </p:nvSpPr>
        <p:spPr bwMode="auto">
          <a:xfrm>
            <a:off x="6212959" y="4944831"/>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4" name="Ellipse 103">
            <a:extLst>
              <a:ext uri="{FF2B5EF4-FFF2-40B4-BE49-F238E27FC236}">
                <a16:creationId xmlns:a16="http://schemas.microsoft.com/office/drawing/2014/main" id="{3CD4DABD-4152-4FA7-99EF-0C6D2470D395}"/>
              </a:ext>
            </a:extLst>
          </p:cNvPr>
          <p:cNvSpPr/>
          <p:nvPr/>
        </p:nvSpPr>
        <p:spPr bwMode="auto">
          <a:xfrm>
            <a:off x="6385371" y="295686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05" name="Connecteur droit 104">
            <a:extLst>
              <a:ext uri="{FF2B5EF4-FFF2-40B4-BE49-F238E27FC236}">
                <a16:creationId xmlns:a16="http://schemas.microsoft.com/office/drawing/2014/main" id="{FFC8476D-D83B-4DEF-AFCC-F198C016E69C}"/>
              </a:ext>
            </a:extLst>
          </p:cNvPr>
          <p:cNvCxnSpPr>
            <a:stCxn id="99" idx="4"/>
            <a:endCxn id="104" idx="0"/>
          </p:cNvCxnSpPr>
          <p:nvPr/>
        </p:nvCxnSpPr>
        <p:spPr bwMode="auto">
          <a:xfrm>
            <a:off x="6060372" y="2537031"/>
            <a:ext cx="361719"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6" name="Connecteur droit 105">
            <a:extLst>
              <a:ext uri="{FF2B5EF4-FFF2-40B4-BE49-F238E27FC236}">
                <a16:creationId xmlns:a16="http://schemas.microsoft.com/office/drawing/2014/main" id="{48BF003B-3E0F-4A40-BF5F-F644B9081EE4}"/>
              </a:ext>
            </a:extLst>
          </p:cNvPr>
          <p:cNvCxnSpPr>
            <a:cxnSpLocks/>
            <a:stCxn id="104" idx="4"/>
            <a:endCxn id="100" idx="0"/>
          </p:cNvCxnSpPr>
          <p:nvPr/>
        </p:nvCxnSpPr>
        <p:spPr bwMode="auto">
          <a:xfrm>
            <a:off x="6422091" y="3028864"/>
            <a:ext cx="174099"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7" name="Connecteur droit 106">
            <a:extLst>
              <a:ext uri="{FF2B5EF4-FFF2-40B4-BE49-F238E27FC236}">
                <a16:creationId xmlns:a16="http://schemas.microsoft.com/office/drawing/2014/main" id="{31EB1051-EFD6-46BD-8CF1-203D1CCAE0EA}"/>
              </a:ext>
            </a:extLst>
          </p:cNvPr>
          <p:cNvCxnSpPr>
            <a:stCxn id="100" idx="4"/>
            <a:endCxn id="101" idx="0"/>
          </p:cNvCxnSpPr>
          <p:nvPr/>
        </p:nvCxnSpPr>
        <p:spPr bwMode="auto">
          <a:xfrm flipH="1">
            <a:off x="6056499" y="3520697"/>
            <a:ext cx="539691"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8" name="Connecteur droit 107">
            <a:extLst>
              <a:ext uri="{FF2B5EF4-FFF2-40B4-BE49-F238E27FC236}">
                <a16:creationId xmlns:a16="http://schemas.microsoft.com/office/drawing/2014/main" id="{71B27ED9-299E-4001-8BED-3E5646AE31A8}"/>
              </a:ext>
            </a:extLst>
          </p:cNvPr>
          <p:cNvCxnSpPr>
            <a:cxnSpLocks/>
            <a:stCxn id="101" idx="4"/>
            <a:endCxn id="102" idx="0"/>
          </p:cNvCxnSpPr>
          <p:nvPr/>
        </p:nvCxnSpPr>
        <p:spPr bwMode="auto">
          <a:xfrm>
            <a:off x="6056499" y="4012530"/>
            <a:ext cx="189555"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9" name="Connecteur droit 108">
            <a:extLst>
              <a:ext uri="{FF2B5EF4-FFF2-40B4-BE49-F238E27FC236}">
                <a16:creationId xmlns:a16="http://schemas.microsoft.com/office/drawing/2014/main" id="{2576AEF3-3748-4311-B32F-5216DDDF606A}"/>
              </a:ext>
            </a:extLst>
          </p:cNvPr>
          <p:cNvCxnSpPr>
            <a:stCxn id="102" idx="4"/>
            <a:endCxn id="103" idx="0"/>
          </p:cNvCxnSpPr>
          <p:nvPr/>
        </p:nvCxnSpPr>
        <p:spPr bwMode="auto">
          <a:xfrm>
            <a:off x="6246054" y="4504363"/>
            <a:ext cx="3625" cy="440468"/>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35" name="Ellipse 134">
            <a:extLst>
              <a:ext uri="{FF2B5EF4-FFF2-40B4-BE49-F238E27FC236}">
                <a16:creationId xmlns:a16="http://schemas.microsoft.com/office/drawing/2014/main" id="{149A9BA5-47C4-462B-8A13-11C7FE9FAACC}"/>
              </a:ext>
            </a:extLst>
          </p:cNvPr>
          <p:cNvSpPr/>
          <p:nvPr/>
        </p:nvSpPr>
        <p:spPr bwMode="auto">
          <a:xfrm>
            <a:off x="6388546" y="5416029"/>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36" name="Ellipse 135">
            <a:extLst>
              <a:ext uri="{FF2B5EF4-FFF2-40B4-BE49-F238E27FC236}">
                <a16:creationId xmlns:a16="http://schemas.microsoft.com/office/drawing/2014/main" id="{0F89392A-7C98-4626-B2AC-3DC6CD6FB91E}"/>
              </a:ext>
            </a:extLst>
          </p:cNvPr>
          <p:cNvSpPr/>
          <p:nvPr/>
        </p:nvSpPr>
        <p:spPr bwMode="auto">
          <a:xfrm>
            <a:off x="6202933" y="5907862"/>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37" name="Connecteur droit 136">
            <a:extLst>
              <a:ext uri="{FF2B5EF4-FFF2-40B4-BE49-F238E27FC236}">
                <a16:creationId xmlns:a16="http://schemas.microsoft.com/office/drawing/2014/main" id="{CF4F308C-95B7-4A02-923F-FE3BAB41BBBE}"/>
              </a:ext>
            </a:extLst>
          </p:cNvPr>
          <p:cNvCxnSpPr>
            <a:stCxn id="103" idx="4"/>
            <a:endCxn id="135" idx="0"/>
          </p:cNvCxnSpPr>
          <p:nvPr/>
        </p:nvCxnSpPr>
        <p:spPr bwMode="auto">
          <a:xfrm>
            <a:off x="6249679" y="5016831"/>
            <a:ext cx="175587" cy="399198"/>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38" name="Connecteur droit 137">
            <a:extLst>
              <a:ext uri="{FF2B5EF4-FFF2-40B4-BE49-F238E27FC236}">
                <a16:creationId xmlns:a16="http://schemas.microsoft.com/office/drawing/2014/main" id="{608E10A4-1877-4116-B5A4-2F6006401C52}"/>
              </a:ext>
            </a:extLst>
          </p:cNvPr>
          <p:cNvCxnSpPr>
            <a:stCxn id="135" idx="4"/>
            <a:endCxn id="136" idx="0"/>
          </p:cNvCxnSpPr>
          <p:nvPr/>
        </p:nvCxnSpPr>
        <p:spPr bwMode="auto">
          <a:xfrm flipH="1">
            <a:off x="6239653" y="5488029"/>
            <a:ext cx="185613"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287" name="Rectangle 286">
            <a:extLst>
              <a:ext uri="{FF2B5EF4-FFF2-40B4-BE49-F238E27FC236}">
                <a16:creationId xmlns:a16="http://schemas.microsoft.com/office/drawing/2014/main" id="{37324F9E-51FA-42A4-8195-DC80ECBC34C1}"/>
              </a:ext>
            </a:extLst>
          </p:cNvPr>
          <p:cNvSpPr/>
          <p:nvPr/>
        </p:nvSpPr>
        <p:spPr bwMode="auto">
          <a:xfrm>
            <a:off x="479979" y="3775412"/>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fontAlgn="auto">
              <a:spcBef>
                <a:spcPts val="0"/>
              </a:spcBef>
              <a:spcAft>
                <a:spcPts val="0"/>
              </a:spcAft>
              <a:defRPr/>
            </a:pPr>
            <a:r>
              <a:rPr lang="en-GB" sz="900" kern="0">
                <a:solidFill>
                  <a:schemeClr val="bg1"/>
                </a:solidFill>
                <a:latin typeface="Trebuchet MS" panose="020B0603020202020204" pitchFamily="34" charset="0"/>
              </a:rPr>
              <a:t>Availability of international data</a:t>
            </a:r>
          </a:p>
        </p:txBody>
      </p:sp>
      <p:sp>
        <p:nvSpPr>
          <p:cNvPr id="288" name="Rectangle 287">
            <a:extLst>
              <a:ext uri="{FF2B5EF4-FFF2-40B4-BE49-F238E27FC236}">
                <a16:creationId xmlns:a16="http://schemas.microsoft.com/office/drawing/2014/main" id="{5B7F494D-D642-43F8-8322-0BFCBFA05FEF}"/>
              </a:ext>
            </a:extLst>
          </p:cNvPr>
          <p:cNvSpPr/>
          <p:nvPr/>
        </p:nvSpPr>
        <p:spPr bwMode="auto">
          <a:xfrm>
            <a:off x="479979" y="4759078"/>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Quality of the after-sales services</a:t>
            </a:r>
          </a:p>
        </p:txBody>
      </p:sp>
      <p:sp>
        <p:nvSpPr>
          <p:cNvPr id="289" name="Rectangle 288">
            <a:extLst>
              <a:ext uri="{FF2B5EF4-FFF2-40B4-BE49-F238E27FC236}">
                <a16:creationId xmlns:a16="http://schemas.microsoft.com/office/drawing/2014/main" id="{8A94459B-28A4-4343-9FAB-0B85E90BCFF1}"/>
              </a:ext>
            </a:extLst>
          </p:cNvPr>
          <p:cNvSpPr/>
          <p:nvPr/>
        </p:nvSpPr>
        <p:spPr bwMode="auto">
          <a:xfrm>
            <a:off x="479979" y="4267245"/>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Capacity to integrate into the client’s system</a:t>
            </a:r>
            <a:endParaRPr lang="en-GB" sz="900" i="1" kern="0">
              <a:solidFill>
                <a:schemeClr val="bg1"/>
              </a:solidFill>
              <a:latin typeface="Trebuchet MS" panose="020B0603020202020204" pitchFamily="34" charset="0"/>
            </a:endParaRPr>
          </a:p>
        </p:txBody>
      </p:sp>
      <p:sp>
        <p:nvSpPr>
          <p:cNvPr id="290" name="Rectangle 289">
            <a:extLst>
              <a:ext uri="{FF2B5EF4-FFF2-40B4-BE49-F238E27FC236}">
                <a16:creationId xmlns:a16="http://schemas.microsoft.com/office/drawing/2014/main" id="{FAAAA21E-BFF7-4AC5-99F4-C417FC09F7BF}"/>
              </a:ext>
            </a:extLst>
          </p:cNvPr>
          <p:cNvSpPr/>
          <p:nvPr/>
        </p:nvSpPr>
        <p:spPr bwMode="auto">
          <a:xfrm>
            <a:off x="479979" y="3283579"/>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Price competitiveness</a:t>
            </a:r>
            <a:endParaRPr lang="en-GB" sz="900" i="1" kern="0">
              <a:solidFill>
                <a:schemeClr val="bg1"/>
              </a:solidFill>
              <a:latin typeface="Trebuchet MS" panose="020B0603020202020204" pitchFamily="34" charset="0"/>
            </a:endParaRPr>
          </a:p>
        </p:txBody>
      </p:sp>
      <p:sp>
        <p:nvSpPr>
          <p:cNvPr id="291" name="Rectangle 290">
            <a:extLst>
              <a:ext uri="{FF2B5EF4-FFF2-40B4-BE49-F238E27FC236}">
                <a16:creationId xmlns:a16="http://schemas.microsoft.com/office/drawing/2014/main" id="{7C587134-FBEA-4E63-8D36-992A6B1A0B82}"/>
              </a:ext>
            </a:extLst>
          </p:cNvPr>
          <p:cNvSpPr/>
          <p:nvPr/>
        </p:nvSpPr>
        <p:spPr bwMode="auto">
          <a:xfrm>
            <a:off x="479979" y="2299913"/>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Quality of the database</a:t>
            </a:r>
            <a:endParaRPr kumimoji="0" lang="en-GB" sz="900" b="0" i="1" u="none" strike="noStrike" kern="0" cap="none" spc="0" normalizeH="0" baseline="0" noProof="0">
              <a:ln>
                <a:noFill/>
              </a:ln>
              <a:solidFill>
                <a:schemeClr val="bg1"/>
              </a:solidFill>
              <a:effectLst/>
              <a:uLnTx/>
              <a:uFillTx/>
              <a:latin typeface="Trebuchet MS" panose="020B0603020202020204" pitchFamily="34" charset="0"/>
            </a:endParaRPr>
          </a:p>
        </p:txBody>
      </p:sp>
      <p:sp>
        <p:nvSpPr>
          <p:cNvPr id="292" name="Rectangle 291">
            <a:extLst>
              <a:ext uri="{FF2B5EF4-FFF2-40B4-BE49-F238E27FC236}">
                <a16:creationId xmlns:a16="http://schemas.microsoft.com/office/drawing/2014/main" id="{F5FF0E66-83B8-4551-AEB6-77C95161D0BE}"/>
              </a:ext>
            </a:extLst>
          </p:cNvPr>
          <p:cNvSpPr/>
          <p:nvPr/>
        </p:nvSpPr>
        <p:spPr bwMode="auto">
          <a:xfrm>
            <a:off x="479979" y="5250911"/>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Ease of use of the </a:t>
            </a:r>
            <a:r>
              <a:rPr lang="en-GB" sz="900" kern="0">
                <a:solidFill>
                  <a:schemeClr val="bg1"/>
                </a:solidFill>
                <a:latin typeface="Trebuchet MS" panose="020B0603020202020204" pitchFamily="34" charset="0"/>
              </a:rPr>
              <a:t>solution and of contact management</a:t>
            </a:r>
            <a:endParaRPr kumimoji="0" lang="en-GB" sz="900" b="0" i="0" u="none" strike="noStrike" kern="0" cap="none" spc="0" normalizeH="0" baseline="0" noProof="0">
              <a:ln>
                <a:noFill/>
              </a:ln>
              <a:solidFill>
                <a:schemeClr val="bg1"/>
              </a:solidFill>
              <a:effectLst/>
              <a:uLnTx/>
              <a:uFillTx/>
              <a:latin typeface="Trebuchet MS" panose="020B0603020202020204" pitchFamily="34" charset="0"/>
            </a:endParaRPr>
          </a:p>
        </p:txBody>
      </p:sp>
      <p:sp>
        <p:nvSpPr>
          <p:cNvPr id="293" name="Rectangle 292">
            <a:extLst>
              <a:ext uri="{FF2B5EF4-FFF2-40B4-BE49-F238E27FC236}">
                <a16:creationId xmlns:a16="http://schemas.microsoft.com/office/drawing/2014/main" id="{CABC5F1E-8CD3-4129-A49A-DD9298585123}"/>
              </a:ext>
            </a:extLst>
          </p:cNvPr>
          <p:cNvSpPr/>
          <p:nvPr/>
        </p:nvSpPr>
        <p:spPr bwMode="auto">
          <a:xfrm>
            <a:off x="479979" y="5742744"/>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Brand image</a:t>
            </a:r>
          </a:p>
        </p:txBody>
      </p:sp>
      <p:sp>
        <p:nvSpPr>
          <p:cNvPr id="294" name="Rectangle 293">
            <a:extLst>
              <a:ext uri="{FF2B5EF4-FFF2-40B4-BE49-F238E27FC236}">
                <a16:creationId xmlns:a16="http://schemas.microsoft.com/office/drawing/2014/main" id="{52599EE1-7C93-4D42-BD02-9716EAE306D1}"/>
              </a:ext>
            </a:extLst>
          </p:cNvPr>
          <p:cNvSpPr/>
          <p:nvPr/>
        </p:nvSpPr>
        <p:spPr bwMode="auto">
          <a:xfrm>
            <a:off x="479979" y="2791746"/>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ts val="1000"/>
              </a:lnSpc>
              <a:spcBef>
                <a:spcPts val="0"/>
              </a:spcBef>
              <a:spcAft>
                <a:spcPts val="0"/>
              </a:spcAft>
              <a:buClrTx/>
              <a:buSzTx/>
              <a:buFontTx/>
              <a:buNone/>
              <a:tabLst/>
              <a:defRPr/>
            </a:pPr>
            <a:r>
              <a:rPr lang="en-GB" sz="900" kern="0">
                <a:solidFill>
                  <a:schemeClr val="bg1"/>
                </a:solidFill>
                <a:latin typeface="Trebuchet MS" panose="020B0603020202020204" pitchFamily="34" charset="0"/>
              </a:rPr>
              <a:t>Capacity to deliver an end-to-end offer</a:t>
            </a:r>
          </a:p>
        </p:txBody>
      </p:sp>
      <p:cxnSp>
        <p:nvCxnSpPr>
          <p:cNvPr id="307" name="Connecteur droit 306">
            <a:extLst>
              <a:ext uri="{FF2B5EF4-FFF2-40B4-BE49-F238E27FC236}">
                <a16:creationId xmlns:a16="http://schemas.microsoft.com/office/drawing/2014/main" id="{9EBD24A0-B0E3-4F19-BB69-FB40DEC56244}"/>
              </a:ext>
            </a:extLst>
          </p:cNvPr>
          <p:cNvCxnSpPr/>
          <p:nvPr/>
        </p:nvCxnSpPr>
        <p:spPr bwMode="auto">
          <a:xfrm>
            <a:off x="5676154" y="2275733"/>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08" name="Connecteur droit 307">
            <a:extLst>
              <a:ext uri="{FF2B5EF4-FFF2-40B4-BE49-F238E27FC236}">
                <a16:creationId xmlns:a16="http://schemas.microsoft.com/office/drawing/2014/main" id="{C649BE75-63B5-4CF8-819A-CBF4CA5F9888}"/>
              </a:ext>
            </a:extLst>
          </p:cNvPr>
          <p:cNvCxnSpPr/>
          <p:nvPr/>
        </p:nvCxnSpPr>
        <p:spPr bwMode="auto">
          <a:xfrm>
            <a:off x="5497907" y="2275733"/>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09" name="Connecteur droit 308">
            <a:extLst>
              <a:ext uri="{FF2B5EF4-FFF2-40B4-BE49-F238E27FC236}">
                <a16:creationId xmlns:a16="http://schemas.microsoft.com/office/drawing/2014/main" id="{26D98FFC-D8F8-4ECF-82F9-48A0C54AB4DE}"/>
              </a:ext>
            </a:extLst>
          </p:cNvPr>
          <p:cNvCxnSpPr/>
          <p:nvPr/>
        </p:nvCxnSpPr>
        <p:spPr bwMode="auto">
          <a:xfrm>
            <a:off x="5319660" y="2275733"/>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10" name="Connecteur droit 309">
            <a:extLst>
              <a:ext uri="{FF2B5EF4-FFF2-40B4-BE49-F238E27FC236}">
                <a16:creationId xmlns:a16="http://schemas.microsoft.com/office/drawing/2014/main" id="{0177CAD0-82B6-44E5-96CD-235AC127CAF9}"/>
              </a:ext>
            </a:extLst>
          </p:cNvPr>
          <p:cNvCxnSpPr/>
          <p:nvPr/>
        </p:nvCxnSpPr>
        <p:spPr bwMode="auto">
          <a:xfrm>
            <a:off x="5141413" y="2275733"/>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11" name="Connecteur droit 310">
            <a:extLst>
              <a:ext uri="{FF2B5EF4-FFF2-40B4-BE49-F238E27FC236}">
                <a16:creationId xmlns:a16="http://schemas.microsoft.com/office/drawing/2014/main" id="{BD4700F2-72DB-4A51-883C-929A5B13CC37}"/>
              </a:ext>
            </a:extLst>
          </p:cNvPr>
          <p:cNvCxnSpPr/>
          <p:nvPr/>
        </p:nvCxnSpPr>
        <p:spPr bwMode="auto">
          <a:xfrm>
            <a:off x="5855446" y="2297830"/>
            <a:ext cx="0" cy="3888000"/>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312" name="Ellipse 311">
            <a:extLst>
              <a:ext uri="{FF2B5EF4-FFF2-40B4-BE49-F238E27FC236}">
                <a16:creationId xmlns:a16="http://schemas.microsoft.com/office/drawing/2014/main" id="{82380AC1-C71C-459C-A4BC-9F06B43AFEE7}"/>
              </a:ext>
            </a:extLst>
          </p:cNvPr>
          <p:cNvSpPr/>
          <p:nvPr/>
        </p:nvSpPr>
        <p:spPr bwMode="auto">
          <a:xfrm>
            <a:off x="5313924" y="295686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313" name="Ellipse 312">
            <a:extLst>
              <a:ext uri="{FF2B5EF4-FFF2-40B4-BE49-F238E27FC236}">
                <a16:creationId xmlns:a16="http://schemas.microsoft.com/office/drawing/2014/main" id="{E8F773D4-AB2F-427E-BB10-AFE42B07B06E}"/>
              </a:ext>
            </a:extLst>
          </p:cNvPr>
          <p:cNvSpPr>
            <a:spLocks noChangeAspect="1"/>
          </p:cNvSpPr>
          <p:nvPr/>
        </p:nvSpPr>
        <p:spPr bwMode="auto">
          <a:xfrm>
            <a:off x="5100283" y="209622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314" name="Ellipse 313">
            <a:extLst>
              <a:ext uri="{FF2B5EF4-FFF2-40B4-BE49-F238E27FC236}">
                <a16:creationId xmlns:a16="http://schemas.microsoft.com/office/drawing/2014/main" id="{7FD6B7DE-3510-4688-9A78-A3C98AC6A2AC}"/>
              </a:ext>
            </a:extLst>
          </p:cNvPr>
          <p:cNvSpPr>
            <a:spLocks noChangeAspect="1"/>
          </p:cNvSpPr>
          <p:nvPr/>
        </p:nvSpPr>
        <p:spPr bwMode="auto">
          <a:xfrm>
            <a:off x="5626312" y="209622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315" name="Ellipse 314">
            <a:extLst>
              <a:ext uri="{FF2B5EF4-FFF2-40B4-BE49-F238E27FC236}">
                <a16:creationId xmlns:a16="http://schemas.microsoft.com/office/drawing/2014/main" id="{796D524E-1B5D-43FD-A400-5FAA173808C3}"/>
              </a:ext>
            </a:extLst>
          </p:cNvPr>
          <p:cNvSpPr>
            <a:spLocks noChangeAspect="1"/>
          </p:cNvSpPr>
          <p:nvPr/>
        </p:nvSpPr>
        <p:spPr bwMode="auto">
          <a:xfrm>
            <a:off x="5449715" y="209622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316" name="Ellipse 315">
            <a:extLst>
              <a:ext uri="{FF2B5EF4-FFF2-40B4-BE49-F238E27FC236}">
                <a16:creationId xmlns:a16="http://schemas.microsoft.com/office/drawing/2014/main" id="{F066D878-52EC-47CF-918D-2238225C8E83}"/>
              </a:ext>
            </a:extLst>
          </p:cNvPr>
          <p:cNvSpPr>
            <a:spLocks noChangeAspect="1"/>
          </p:cNvSpPr>
          <p:nvPr/>
        </p:nvSpPr>
        <p:spPr bwMode="auto">
          <a:xfrm>
            <a:off x="5273118" y="209622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sp>
        <p:nvSpPr>
          <p:cNvPr id="317" name="Ellipse 316">
            <a:extLst>
              <a:ext uri="{FF2B5EF4-FFF2-40B4-BE49-F238E27FC236}">
                <a16:creationId xmlns:a16="http://schemas.microsoft.com/office/drawing/2014/main" id="{6DB934DC-CD6A-41F1-A479-E4210571138B}"/>
              </a:ext>
            </a:extLst>
          </p:cNvPr>
          <p:cNvSpPr/>
          <p:nvPr/>
        </p:nvSpPr>
        <p:spPr bwMode="auto">
          <a:xfrm>
            <a:off x="5458198" y="2465031"/>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318" name="Ellipse 317">
            <a:extLst>
              <a:ext uri="{FF2B5EF4-FFF2-40B4-BE49-F238E27FC236}">
                <a16:creationId xmlns:a16="http://schemas.microsoft.com/office/drawing/2014/main" id="{E4EFDC80-EF8F-43E8-9D46-D466D2441D6C}"/>
              </a:ext>
            </a:extLst>
          </p:cNvPr>
          <p:cNvSpPr/>
          <p:nvPr/>
        </p:nvSpPr>
        <p:spPr bwMode="auto">
          <a:xfrm>
            <a:off x="5632811" y="3448697"/>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319" name="Ellipse 318">
            <a:extLst>
              <a:ext uri="{FF2B5EF4-FFF2-40B4-BE49-F238E27FC236}">
                <a16:creationId xmlns:a16="http://schemas.microsoft.com/office/drawing/2014/main" id="{18D144E9-D3F3-4AF2-A41F-BF890D476769}"/>
              </a:ext>
            </a:extLst>
          </p:cNvPr>
          <p:cNvSpPr/>
          <p:nvPr/>
        </p:nvSpPr>
        <p:spPr bwMode="auto">
          <a:xfrm>
            <a:off x="5469994" y="394053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320" name="Ellipse 319">
            <a:extLst>
              <a:ext uri="{FF2B5EF4-FFF2-40B4-BE49-F238E27FC236}">
                <a16:creationId xmlns:a16="http://schemas.microsoft.com/office/drawing/2014/main" id="{BDD086E4-DA97-43EF-8A6B-41A6C8AF363C}"/>
              </a:ext>
            </a:extLst>
          </p:cNvPr>
          <p:cNvSpPr/>
          <p:nvPr/>
        </p:nvSpPr>
        <p:spPr bwMode="auto">
          <a:xfrm>
            <a:off x="5469994" y="4432363"/>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321" name="Ellipse 320">
            <a:extLst>
              <a:ext uri="{FF2B5EF4-FFF2-40B4-BE49-F238E27FC236}">
                <a16:creationId xmlns:a16="http://schemas.microsoft.com/office/drawing/2014/main" id="{0D48A485-0AEF-4D0E-BFD6-14545ECCD66C}"/>
              </a:ext>
            </a:extLst>
          </p:cNvPr>
          <p:cNvSpPr/>
          <p:nvPr/>
        </p:nvSpPr>
        <p:spPr bwMode="auto">
          <a:xfrm>
            <a:off x="5469994" y="4924196"/>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322" name="Connecteur droit 321">
            <a:extLst>
              <a:ext uri="{FF2B5EF4-FFF2-40B4-BE49-F238E27FC236}">
                <a16:creationId xmlns:a16="http://schemas.microsoft.com/office/drawing/2014/main" id="{A4A9F56E-DF1F-4F3C-9CF1-E434632D9338}"/>
              </a:ext>
            </a:extLst>
          </p:cNvPr>
          <p:cNvCxnSpPr>
            <a:stCxn id="317" idx="4"/>
            <a:endCxn id="312" idx="0"/>
          </p:cNvCxnSpPr>
          <p:nvPr/>
        </p:nvCxnSpPr>
        <p:spPr bwMode="auto">
          <a:xfrm flipH="1">
            <a:off x="5350644" y="2537031"/>
            <a:ext cx="144274"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323" name="Connecteur droit 322">
            <a:extLst>
              <a:ext uri="{FF2B5EF4-FFF2-40B4-BE49-F238E27FC236}">
                <a16:creationId xmlns:a16="http://schemas.microsoft.com/office/drawing/2014/main" id="{C994C119-BA22-4563-87B9-67CC6028AFBE}"/>
              </a:ext>
            </a:extLst>
          </p:cNvPr>
          <p:cNvCxnSpPr>
            <a:stCxn id="312" idx="4"/>
            <a:endCxn id="318" idx="0"/>
          </p:cNvCxnSpPr>
          <p:nvPr/>
        </p:nvCxnSpPr>
        <p:spPr bwMode="auto">
          <a:xfrm>
            <a:off x="5350644" y="3028864"/>
            <a:ext cx="318887"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324" name="Connecteur droit 323">
            <a:extLst>
              <a:ext uri="{FF2B5EF4-FFF2-40B4-BE49-F238E27FC236}">
                <a16:creationId xmlns:a16="http://schemas.microsoft.com/office/drawing/2014/main" id="{A647A81C-0186-46CB-90D2-94401A1E9240}"/>
              </a:ext>
            </a:extLst>
          </p:cNvPr>
          <p:cNvCxnSpPr>
            <a:stCxn id="318" idx="4"/>
            <a:endCxn id="319" idx="0"/>
          </p:cNvCxnSpPr>
          <p:nvPr/>
        </p:nvCxnSpPr>
        <p:spPr bwMode="auto">
          <a:xfrm flipH="1">
            <a:off x="5506714" y="3520697"/>
            <a:ext cx="162817"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325" name="Connecteur droit 324">
            <a:extLst>
              <a:ext uri="{FF2B5EF4-FFF2-40B4-BE49-F238E27FC236}">
                <a16:creationId xmlns:a16="http://schemas.microsoft.com/office/drawing/2014/main" id="{0E27847B-002C-41EB-AD81-FF4A717B48D9}"/>
              </a:ext>
            </a:extLst>
          </p:cNvPr>
          <p:cNvCxnSpPr>
            <a:cxnSpLocks/>
          </p:cNvCxnSpPr>
          <p:nvPr/>
        </p:nvCxnSpPr>
        <p:spPr bwMode="auto">
          <a:xfrm>
            <a:off x="5506714" y="4012530"/>
            <a:ext cx="0"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326" name="Connecteur droit 325">
            <a:extLst>
              <a:ext uri="{FF2B5EF4-FFF2-40B4-BE49-F238E27FC236}">
                <a16:creationId xmlns:a16="http://schemas.microsoft.com/office/drawing/2014/main" id="{B1B5A008-7912-4853-8786-022A14B42298}"/>
              </a:ext>
            </a:extLst>
          </p:cNvPr>
          <p:cNvCxnSpPr>
            <a:cxnSpLocks/>
          </p:cNvCxnSpPr>
          <p:nvPr/>
        </p:nvCxnSpPr>
        <p:spPr bwMode="auto">
          <a:xfrm>
            <a:off x="5501076" y="4504363"/>
            <a:ext cx="0"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327" name="Ellipse 326">
            <a:extLst>
              <a:ext uri="{FF2B5EF4-FFF2-40B4-BE49-F238E27FC236}">
                <a16:creationId xmlns:a16="http://schemas.microsoft.com/office/drawing/2014/main" id="{9AE9C836-34F0-4180-94B2-A5F3B0A533AB}"/>
              </a:ext>
            </a:extLst>
          </p:cNvPr>
          <p:cNvSpPr/>
          <p:nvPr/>
        </p:nvSpPr>
        <p:spPr bwMode="auto">
          <a:xfrm>
            <a:off x="5469994" y="5416029"/>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328" name="Ellipse 327">
            <a:extLst>
              <a:ext uri="{FF2B5EF4-FFF2-40B4-BE49-F238E27FC236}">
                <a16:creationId xmlns:a16="http://schemas.microsoft.com/office/drawing/2014/main" id="{B528D4E4-F7BA-47FA-9F2C-F5421C2A2603}"/>
              </a:ext>
            </a:extLst>
          </p:cNvPr>
          <p:cNvSpPr/>
          <p:nvPr/>
        </p:nvSpPr>
        <p:spPr bwMode="auto">
          <a:xfrm>
            <a:off x="5287637" y="5907862"/>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329" name="Connecteur droit 328">
            <a:extLst>
              <a:ext uri="{FF2B5EF4-FFF2-40B4-BE49-F238E27FC236}">
                <a16:creationId xmlns:a16="http://schemas.microsoft.com/office/drawing/2014/main" id="{31917770-D4BF-4EC1-93CF-E770B98F585B}"/>
              </a:ext>
            </a:extLst>
          </p:cNvPr>
          <p:cNvCxnSpPr>
            <a:cxnSpLocks/>
          </p:cNvCxnSpPr>
          <p:nvPr/>
        </p:nvCxnSpPr>
        <p:spPr bwMode="auto">
          <a:xfrm>
            <a:off x="5505952" y="4996196"/>
            <a:ext cx="0"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330" name="Connecteur droit 329">
            <a:extLst>
              <a:ext uri="{FF2B5EF4-FFF2-40B4-BE49-F238E27FC236}">
                <a16:creationId xmlns:a16="http://schemas.microsoft.com/office/drawing/2014/main" id="{89DB6D5B-EB63-4F84-AFB0-B869C1DAF0CB}"/>
              </a:ext>
            </a:extLst>
          </p:cNvPr>
          <p:cNvCxnSpPr>
            <a:stCxn id="327" idx="4"/>
            <a:endCxn id="328" idx="0"/>
          </p:cNvCxnSpPr>
          <p:nvPr/>
        </p:nvCxnSpPr>
        <p:spPr bwMode="auto">
          <a:xfrm flipH="1">
            <a:off x="5324357" y="5488029"/>
            <a:ext cx="182357"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36" name="Connecteur droit 35">
            <a:extLst>
              <a:ext uri="{FF2B5EF4-FFF2-40B4-BE49-F238E27FC236}">
                <a16:creationId xmlns:a16="http://schemas.microsoft.com/office/drawing/2014/main" id="{5242845D-1494-43A9-82D2-6339CF79C5E1}"/>
              </a:ext>
            </a:extLst>
          </p:cNvPr>
          <p:cNvCxnSpPr/>
          <p:nvPr/>
        </p:nvCxnSpPr>
        <p:spPr bwMode="auto">
          <a:xfrm>
            <a:off x="3908056"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7" name="Connecteur droit 36">
            <a:extLst>
              <a:ext uri="{FF2B5EF4-FFF2-40B4-BE49-F238E27FC236}">
                <a16:creationId xmlns:a16="http://schemas.microsoft.com/office/drawing/2014/main" id="{C26D1A79-82BF-4264-970A-282421AB3978}"/>
              </a:ext>
            </a:extLst>
          </p:cNvPr>
          <p:cNvCxnSpPr/>
          <p:nvPr/>
        </p:nvCxnSpPr>
        <p:spPr bwMode="auto">
          <a:xfrm>
            <a:off x="3729809"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8" name="Connecteur droit 37">
            <a:extLst>
              <a:ext uri="{FF2B5EF4-FFF2-40B4-BE49-F238E27FC236}">
                <a16:creationId xmlns:a16="http://schemas.microsoft.com/office/drawing/2014/main" id="{642936CD-4167-4120-9611-1CC2C7BDAD87}"/>
              </a:ext>
            </a:extLst>
          </p:cNvPr>
          <p:cNvCxnSpPr/>
          <p:nvPr/>
        </p:nvCxnSpPr>
        <p:spPr bwMode="auto">
          <a:xfrm>
            <a:off x="3551562"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9" name="Connecteur droit 38">
            <a:extLst>
              <a:ext uri="{FF2B5EF4-FFF2-40B4-BE49-F238E27FC236}">
                <a16:creationId xmlns:a16="http://schemas.microsoft.com/office/drawing/2014/main" id="{F0669377-5DE5-46F0-AA64-05DCC7BED420}"/>
              </a:ext>
            </a:extLst>
          </p:cNvPr>
          <p:cNvCxnSpPr/>
          <p:nvPr/>
        </p:nvCxnSpPr>
        <p:spPr bwMode="auto">
          <a:xfrm>
            <a:off x="3373315"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3" name="Connecteur droit 42">
            <a:extLst>
              <a:ext uri="{FF2B5EF4-FFF2-40B4-BE49-F238E27FC236}">
                <a16:creationId xmlns:a16="http://schemas.microsoft.com/office/drawing/2014/main" id="{BDA6E143-3AAB-4CDC-9815-1FE631CE9318}"/>
              </a:ext>
            </a:extLst>
          </p:cNvPr>
          <p:cNvCxnSpPr/>
          <p:nvPr/>
        </p:nvCxnSpPr>
        <p:spPr bwMode="auto">
          <a:xfrm>
            <a:off x="4065676" y="2297830"/>
            <a:ext cx="0" cy="3888000"/>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61" name="Ellipse 60">
            <a:extLst>
              <a:ext uri="{FF2B5EF4-FFF2-40B4-BE49-F238E27FC236}">
                <a16:creationId xmlns:a16="http://schemas.microsoft.com/office/drawing/2014/main" id="{03281B1E-EB54-405E-B79B-40EAE5F0D201}"/>
              </a:ext>
            </a:extLst>
          </p:cNvPr>
          <p:cNvSpPr>
            <a:spLocks noChangeAspect="1"/>
          </p:cNvSpPr>
          <p:nvPr/>
        </p:nvSpPr>
        <p:spPr bwMode="auto">
          <a:xfrm>
            <a:off x="3319027"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62" name="Ellipse 61">
            <a:extLst>
              <a:ext uri="{FF2B5EF4-FFF2-40B4-BE49-F238E27FC236}">
                <a16:creationId xmlns:a16="http://schemas.microsoft.com/office/drawing/2014/main" id="{3251D41D-E154-406D-831B-ACEDEFB9991A}"/>
              </a:ext>
            </a:extLst>
          </p:cNvPr>
          <p:cNvSpPr>
            <a:spLocks noChangeAspect="1"/>
          </p:cNvSpPr>
          <p:nvPr/>
        </p:nvSpPr>
        <p:spPr bwMode="auto">
          <a:xfrm>
            <a:off x="3845056"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63" name="Ellipse 62">
            <a:extLst>
              <a:ext uri="{FF2B5EF4-FFF2-40B4-BE49-F238E27FC236}">
                <a16:creationId xmlns:a16="http://schemas.microsoft.com/office/drawing/2014/main" id="{FCC44B41-6C4A-42A9-8A83-6D294717C301}"/>
              </a:ext>
            </a:extLst>
          </p:cNvPr>
          <p:cNvSpPr>
            <a:spLocks noChangeAspect="1"/>
          </p:cNvSpPr>
          <p:nvPr/>
        </p:nvSpPr>
        <p:spPr bwMode="auto">
          <a:xfrm>
            <a:off x="3668459"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64" name="Ellipse 63">
            <a:extLst>
              <a:ext uri="{FF2B5EF4-FFF2-40B4-BE49-F238E27FC236}">
                <a16:creationId xmlns:a16="http://schemas.microsoft.com/office/drawing/2014/main" id="{4CD420CE-EFDA-4B03-B9DE-9F42096A5DB7}"/>
              </a:ext>
            </a:extLst>
          </p:cNvPr>
          <p:cNvSpPr>
            <a:spLocks noChangeAspect="1"/>
          </p:cNvSpPr>
          <p:nvPr/>
        </p:nvSpPr>
        <p:spPr bwMode="auto">
          <a:xfrm>
            <a:off x="3491862"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sp>
        <p:nvSpPr>
          <p:cNvPr id="78" name="Ellipse 77">
            <a:extLst>
              <a:ext uri="{FF2B5EF4-FFF2-40B4-BE49-F238E27FC236}">
                <a16:creationId xmlns:a16="http://schemas.microsoft.com/office/drawing/2014/main" id="{F1D2D26B-38C6-43AB-9D1D-7851AD9914F3}"/>
              </a:ext>
            </a:extLst>
          </p:cNvPr>
          <p:cNvSpPr/>
          <p:nvPr/>
        </p:nvSpPr>
        <p:spPr bwMode="auto">
          <a:xfrm>
            <a:off x="3862379" y="2465031"/>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79" name="Ellipse 78">
            <a:extLst>
              <a:ext uri="{FF2B5EF4-FFF2-40B4-BE49-F238E27FC236}">
                <a16:creationId xmlns:a16="http://schemas.microsoft.com/office/drawing/2014/main" id="{F17C5DBD-1BF6-4AB3-8C6E-9F593143A76C}"/>
              </a:ext>
            </a:extLst>
          </p:cNvPr>
          <p:cNvSpPr/>
          <p:nvPr/>
        </p:nvSpPr>
        <p:spPr bwMode="auto">
          <a:xfrm>
            <a:off x="3862703" y="3448697"/>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0" name="Ellipse 79">
            <a:extLst>
              <a:ext uri="{FF2B5EF4-FFF2-40B4-BE49-F238E27FC236}">
                <a16:creationId xmlns:a16="http://schemas.microsoft.com/office/drawing/2014/main" id="{37E14909-97E7-4198-A350-2DB8DD869813}"/>
              </a:ext>
            </a:extLst>
          </p:cNvPr>
          <p:cNvSpPr/>
          <p:nvPr/>
        </p:nvSpPr>
        <p:spPr bwMode="auto">
          <a:xfrm>
            <a:off x="3872309" y="394053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1" name="Ellipse 80">
            <a:extLst>
              <a:ext uri="{FF2B5EF4-FFF2-40B4-BE49-F238E27FC236}">
                <a16:creationId xmlns:a16="http://schemas.microsoft.com/office/drawing/2014/main" id="{88B0D50E-36BF-4FEB-9967-14C2E7241AE8}"/>
              </a:ext>
            </a:extLst>
          </p:cNvPr>
          <p:cNvSpPr/>
          <p:nvPr/>
        </p:nvSpPr>
        <p:spPr bwMode="auto">
          <a:xfrm>
            <a:off x="3867051" y="4432363"/>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2" name="Ellipse 81">
            <a:extLst>
              <a:ext uri="{FF2B5EF4-FFF2-40B4-BE49-F238E27FC236}">
                <a16:creationId xmlns:a16="http://schemas.microsoft.com/office/drawing/2014/main" id="{53BC15A9-4DDF-464D-B838-F8B484086381}"/>
              </a:ext>
            </a:extLst>
          </p:cNvPr>
          <p:cNvSpPr/>
          <p:nvPr/>
        </p:nvSpPr>
        <p:spPr bwMode="auto">
          <a:xfrm>
            <a:off x="3689225" y="4924196"/>
            <a:ext cx="80784"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3" name="Ellipse 82">
            <a:extLst>
              <a:ext uri="{FF2B5EF4-FFF2-40B4-BE49-F238E27FC236}">
                <a16:creationId xmlns:a16="http://schemas.microsoft.com/office/drawing/2014/main" id="{59141F7E-CC81-4CB8-AD2C-3BADA3B1D9E0}"/>
              </a:ext>
            </a:extLst>
          </p:cNvPr>
          <p:cNvSpPr/>
          <p:nvPr/>
        </p:nvSpPr>
        <p:spPr bwMode="auto">
          <a:xfrm>
            <a:off x="3868875" y="295686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84" name="Connecteur droit 83">
            <a:extLst>
              <a:ext uri="{FF2B5EF4-FFF2-40B4-BE49-F238E27FC236}">
                <a16:creationId xmlns:a16="http://schemas.microsoft.com/office/drawing/2014/main" id="{B7C793D4-624E-4907-8FF0-EA1CD4EF52F7}"/>
              </a:ext>
            </a:extLst>
          </p:cNvPr>
          <p:cNvCxnSpPr>
            <a:stCxn id="78" idx="4"/>
            <a:endCxn id="83" idx="0"/>
          </p:cNvCxnSpPr>
          <p:nvPr/>
        </p:nvCxnSpPr>
        <p:spPr bwMode="auto">
          <a:xfrm>
            <a:off x="3899099" y="2537031"/>
            <a:ext cx="6496"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5" name="Connecteur droit 84">
            <a:extLst>
              <a:ext uri="{FF2B5EF4-FFF2-40B4-BE49-F238E27FC236}">
                <a16:creationId xmlns:a16="http://schemas.microsoft.com/office/drawing/2014/main" id="{625D08B3-B814-4C9A-8627-F8EB0DF77F60}"/>
              </a:ext>
            </a:extLst>
          </p:cNvPr>
          <p:cNvCxnSpPr>
            <a:stCxn id="83" idx="4"/>
            <a:endCxn id="79" idx="0"/>
          </p:cNvCxnSpPr>
          <p:nvPr/>
        </p:nvCxnSpPr>
        <p:spPr bwMode="auto">
          <a:xfrm flipH="1">
            <a:off x="3899423" y="3028864"/>
            <a:ext cx="6172"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6" name="Connecteur droit 85">
            <a:extLst>
              <a:ext uri="{FF2B5EF4-FFF2-40B4-BE49-F238E27FC236}">
                <a16:creationId xmlns:a16="http://schemas.microsoft.com/office/drawing/2014/main" id="{6F27B7C1-354E-4018-9938-089F799A0E75}"/>
              </a:ext>
            </a:extLst>
          </p:cNvPr>
          <p:cNvCxnSpPr>
            <a:stCxn id="79" idx="4"/>
            <a:endCxn id="80" idx="0"/>
          </p:cNvCxnSpPr>
          <p:nvPr/>
        </p:nvCxnSpPr>
        <p:spPr bwMode="auto">
          <a:xfrm>
            <a:off x="3899423" y="3520697"/>
            <a:ext cx="9606"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7" name="Connecteur droit 86">
            <a:extLst>
              <a:ext uri="{FF2B5EF4-FFF2-40B4-BE49-F238E27FC236}">
                <a16:creationId xmlns:a16="http://schemas.microsoft.com/office/drawing/2014/main" id="{F1D406B1-7BAA-4B30-A58F-43AB3EB26E93}"/>
              </a:ext>
            </a:extLst>
          </p:cNvPr>
          <p:cNvCxnSpPr>
            <a:stCxn id="80" idx="4"/>
            <a:endCxn id="81" idx="0"/>
          </p:cNvCxnSpPr>
          <p:nvPr/>
        </p:nvCxnSpPr>
        <p:spPr bwMode="auto">
          <a:xfrm flipH="1">
            <a:off x="3903771" y="4012530"/>
            <a:ext cx="5258"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8" name="Connecteur droit 87">
            <a:extLst>
              <a:ext uri="{FF2B5EF4-FFF2-40B4-BE49-F238E27FC236}">
                <a16:creationId xmlns:a16="http://schemas.microsoft.com/office/drawing/2014/main" id="{E312777C-B68A-4B0E-A5B9-92FBEE388A21}"/>
              </a:ext>
            </a:extLst>
          </p:cNvPr>
          <p:cNvCxnSpPr>
            <a:stCxn id="81" idx="4"/>
            <a:endCxn id="82" idx="0"/>
          </p:cNvCxnSpPr>
          <p:nvPr/>
        </p:nvCxnSpPr>
        <p:spPr bwMode="auto">
          <a:xfrm flipH="1">
            <a:off x="3729617" y="4504363"/>
            <a:ext cx="174154"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27" name="Ellipse 126">
            <a:extLst>
              <a:ext uri="{FF2B5EF4-FFF2-40B4-BE49-F238E27FC236}">
                <a16:creationId xmlns:a16="http://schemas.microsoft.com/office/drawing/2014/main" id="{C448E81C-0C04-445E-B2D5-56A727A77777}"/>
              </a:ext>
            </a:extLst>
          </p:cNvPr>
          <p:cNvSpPr/>
          <p:nvPr/>
        </p:nvSpPr>
        <p:spPr bwMode="auto">
          <a:xfrm>
            <a:off x="3689720" y="5416029"/>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28" name="Ellipse 127">
            <a:extLst>
              <a:ext uri="{FF2B5EF4-FFF2-40B4-BE49-F238E27FC236}">
                <a16:creationId xmlns:a16="http://schemas.microsoft.com/office/drawing/2014/main" id="{917FC58C-6148-4C9E-AC3F-76AA30EF4EA0}"/>
              </a:ext>
            </a:extLst>
          </p:cNvPr>
          <p:cNvSpPr/>
          <p:nvPr/>
        </p:nvSpPr>
        <p:spPr bwMode="auto">
          <a:xfrm>
            <a:off x="3867382" y="5907862"/>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29" name="Connecteur droit 128">
            <a:extLst>
              <a:ext uri="{FF2B5EF4-FFF2-40B4-BE49-F238E27FC236}">
                <a16:creationId xmlns:a16="http://schemas.microsoft.com/office/drawing/2014/main" id="{0EF30944-E4E5-4F70-B115-4151DAC8AB08}"/>
              </a:ext>
            </a:extLst>
          </p:cNvPr>
          <p:cNvCxnSpPr>
            <a:stCxn id="82" idx="4"/>
            <a:endCxn id="127" idx="0"/>
          </p:cNvCxnSpPr>
          <p:nvPr/>
        </p:nvCxnSpPr>
        <p:spPr bwMode="auto">
          <a:xfrm flipH="1">
            <a:off x="3726440" y="4996196"/>
            <a:ext cx="3177"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30" name="Connecteur droit 129">
            <a:extLst>
              <a:ext uri="{FF2B5EF4-FFF2-40B4-BE49-F238E27FC236}">
                <a16:creationId xmlns:a16="http://schemas.microsoft.com/office/drawing/2014/main" id="{627C9755-5704-4143-8D66-969F3B06D884}"/>
              </a:ext>
            </a:extLst>
          </p:cNvPr>
          <p:cNvCxnSpPr>
            <a:stCxn id="127" idx="4"/>
            <a:endCxn id="128" idx="0"/>
          </p:cNvCxnSpPr>
          <p:nvPr/>
        </p:nvCxnSpPr>
        <p:spPr bwMode="auto">
          <a:xfrm>
            <a:off x="3726440" y="5488029"/>
            <a:ext cx="177662"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21" name="Connecteur droit 120">
            <a:extLst>
              <a:ext uri="{FF2B5EF4-FFF2-40B4-BE49-F238E27FC236}">
                <a16:creationId xmlns:a16="http://schemas.microsoft.com/office/drawing/2014/main" id="{B7788CA3-11C9-464C-9EDD-C9ADB12CC863}"/>
              </a:ext>
            </a:extLst>
          </p:cNvPr>
          <p:cNvCxnSpPr/>
          <p:nvPr/>
        </p:nvCxnSpPr>
        <p:spPr bwMode="auto">
          <a:xfrm>
            <a:off x="4225082"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0" name="Connecteur droit 39">
            <a:extLst>
              <a:ext uri="{FF2B5EF4-FFF2-40B4-BE49-F238E27FC236}">
                <a16:creationId xmlns:a16="http://schemas.microsoft.com/office/drawing/2014/main" id="{F4D498A9-41C0-431B-A037-B2B65413E189}"/>
              </a:ext>
            </a:extLst>
          </p:cNvPr>
          <p:cNvCxnSpPr/>
          <p:nvPr/>
        </p:nvCxnSpPr>
        <p:spPr bwMode="auto">
          <a:xfrm>
            <a:off x="4767772"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1" name="Connecteur droit 40">
            <a:extLst>
              <a:ext uri="{FF2B5EF4-FFF2-40B4-BE49-F238E27FC236}">
                <a16:creationId xmlns:a16="http://schemas.microsoft.com/office/drawing/2014/main" id="{A7FC4EE2-2B59-4FA8-AB82-BDF8B8E0D9E0}"/>
              </a:ext>
            </a:extLst>
          </p:cNvPr>
          <p:cNvCxnSpPr/>
          <p:nvPr/>
        </p:nvCxnSpPr>
        <p:spPr bwMode="auto">
          <a:xfrm>
            <a:off x="4589525"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2" name="Connecteur droit 41">
            <a:extLst>
              <a:ext uri="{FF2B5EF4-FFF2-40B4-BE49-F238E27FC236}">
                <a16:creationId xmlns:a16="http://schemas.microsoft.com/office/drawing/2014/main" id="{9C58B9D8-8D9B-4D6A-8D53-7C4D91281B4B}"/>
              </a:ext>
            </a:extLst>
          </p:cNvPr>
          <p:cNvCxnSpPr/>
          <p:nvPr/>
        </p:nvCxnSpPr>
        <p:spPr bwMode="auto">
          <a:xfrm>
            <a:off x="4411278"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sp>
        <p:nvSpPr>
          <p:cNvPr id="46" name="Ellipse 45">
            <a:extLst>
              <a:ext uri="{FF2B5EF4-FFF2-40B4-BE49-F238E27FC236}">
                <a16:creationId xmlns:a16="http://schemas.microsoft.com/office/drawing/2014/main" id="{B935625D-FE85-42D1-9A3B-C3079E1F040B}"/>
              </a:ext>
            </a:extLst>
          </p:cNvPr>
          <p:cNvSpPr/>
          <p:nvPr/>
        </p:nvSpPr>
        <p:spPr bwMode="auto">
          <a:xfrm>
            <a:off x="4554741" y="2465031"/>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47" name="Ellipse 46">
            <a:extLst>
              <a:ext uri="{FF2B5EF4-FFF2-40B4-BE49-F238E27FC236}">
                <a16:creationId xmlns:a16="http://schemas.microsoft.com/office/drawing/2014/main" id="{0BD14BE5-BC74-4326-8F6E-25890BE862E5}"/>
              </a:ext>
            </a:extLst>
          </p:cNvPr>
          <p:cNvSpPr/>
          <p:nvPr/>
        </p:nvSpPr>
        <p:spPr bwMode="auto">
          <a:xfrm>
            <a:off x="4552743" y="3448697"/>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48" name="Ellipse 47">
            <a:extLst>
              <a:ext uri="{FF2B5EF4-FFF2-40B4-BE49-F238E27FC236}">
                <a16:creationId xmlns:a16="http://schemas.microsoft.com/office/drawing/2014/main" id="{86D88E4E-B283-44C6-93E1-26F421A2D467}"/>
              </a:ext>
            </a:extLst>
          </p:cNvPr>
          <p:cNvSpPr/>
          <p:nvPr/>
        </p:nvSpPr>
        <p:spPr bwMode="auto">
          <a:xfrm>
            <a:off x="4554741" y="394053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50" name="Ellipse 49">
            <a:extLst>
              <a:ext uri="{FF2B5EF4-FFF2-40B4-BE49-F238E27FC236}">
                <a16:creationId xmlns:a16="http://schemas.microsoft.com/office/drawing/2014/main" id="{697685FE-79D8-461E-8E63-A407A35EA21A}"/>
              </a:ext>
            </a:extLst>
          </p:cNvPr>
          <p:cNvSpPr/>
          <p:nvPr/>
        </p:nvSpPr>
        <p:spPr bwMode="auto">
          <a:xfrm>
            <a:off x="4707786" y="4924196"/>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51" name="Ellipse 50">
            <a:extLst>
              <a:ext uri="{FF2B5EF4-FFF2-40B4-BE49-F238E27FC236}">
                <a16:creationId xmlns:a16="http://schemas.microsoft.com/office/drawing/2014/main" id="{30F74E7C-0861-4C02-8652-12705BF86CA0}"/>
              </a:ext>
            </a:extLst>
          </p:cNvPr>
          <p:cNvSpPr/>
          <p:nvPr/>
        </p:nvSpPr>
        <p:spPr bwMode="auto">
          <a:xfrm>
            <a:off x="4554741" y="295686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52" name="Connecteur droit 51">
            <a:extLst>
              <a:ext uri="{FF2B5EF4-FFF2-40B4-BE49-F238E27FC236}">
                <a16:creationId xmlns:a16="http://schemas.microsoft.com/office/drawing/2014/main" id="{9240864B-F682-4AED-B53F-48BDAEED0D62}"/>
              </a:ext>
            </a:extLst>
          </p:cNvPr>
          <p:cNvCxnSpPr>
            <a:cxnSpLocks/>
          </p:cNvCxnSpPr>
          <p:nvPr/>
        </p:nvCxnSpPr>
        <p:spPr bwMode="auto">
          <a:xfrm>
            <a:off x="4585256" y="2537031"/>
            <a:ext cx="0"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3" name="Connecteur droit 52">
            <a:extLst>
              <a:ext uri="{FF2B5EF4-FFF2-40B4-BE49-F238E27FC236}">
                <a16:creationId xmlns:a16="http://schemas.microsoft.com/office/drawing/2014/main" id="{0CF208CE-556D-469D-BB10-A219F77362B7}"/>
              </a:ext>
            </a:extLst>
          </p:cNvPr>
          <p:cNvCxnSpPr>
            <a:cxnSpLocks/>
          </p:cNvCxnSpPr>
          <p:nvPr/>
        </p:nvCxnSpPr>
        <p:spPr bwMode="auto">
          <a:xfrm>
            <a:off x="4590992" y="3028864"/>
            <a:ext cx="0"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4" name="Connecteur droit 53">
            <a:extLst>
              <a:ext uri="{FF2B5EF4-FFF2-40B4-BE49-F238E27FC236}">
                <a16:creationId xmlns:a16="http://schemas.microsoft.com/office/drawing/2014/main" id="{91F63933-596B-459F-A508-C0C23B5C1001}"/>
              </a:ext>
            </a:extLst>
          </p:cNvPr>
          <p:cNvCxnSpPr>
            <a:cxnSpLocks/>
          </p:cNvCxnSpPr>
          <p:nvPr/>
        </p:nvCxnSpPr>
        <p:spPr bwMode="auto">
          <a:xfrm>
            <a:off x="4587724" y="3520697"/>
            <a:ext cx="0"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5" name="Connecteur droit 54">
            <a:extLst>
              <a:ext uri="{FF2B5EF4-FFF2-40B4-BE49-F238E27FC236}">
                <a16:creationId xmlns:a16="http://schemas.microsoft.com/office/drawing/2014/main" id="{64DA5714-7199-4D6C-990A-E362EA37314F}"/>
              </a:ext>
            </a:extLst>
          </p:cNvPr>
          <p:cNvCxnSpPr>
            <a:stCxn id="48" idx="4"/>
            <a:endCxn id="49" idx="0"/>
          </p:cNvCxnSpPr>
          <p:nvPr/>
        </p:nvCxnSpPr>
        <p:spPr bwMode="auto">
          <a:xfrm flipH="1">
            <a:off x="4410170" y="4012530"/>
            <a:ext cx="181291"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6" name="Connecteur droit 55">
            <a:extLst>
              <a:ext uri="{FF2B5EF4-FFF2-40B4-BE49-F238E27FC236}">
                <a16:creationId xmlns:a16="http://schemas.microsoft.com/office/drawing/2014/main" id="{22FE5197-1988-4033-896E-652E5053564E}"/>
              </a:ext>
            </a:extLst>
          </p:cNvPr>
          <p:cNvCxnSpPr>
            <a:stCxn id="49" idx="4"/>
            <a:endCxn id="50" idx="0"/>
          </p:cNvCxnSpPr>
          <p:nvPr/>
        </p:nvCxnSpPr>
        <p:spPr bwMode="auto">
          <a:xfrm>
            <a:off x="4410170" y="4504363"/>
            <a:ext cx="334336"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58" name="Ellipse 57">
            <a:extLst>
              <a:ext uri="{FF2B5EF4-FFF2-40B4-BE49-F238E27FC236}">
                <a16:creationId xmlns:a16="http://schemas.microsoft.com/office/drawing/2014/main" id="{0189A3E4-C5DB-45FC-BF23-54B2740D1DA4}"/>
              </a:ext>
            </a:extLst>
          </p:cNvPr>
          <p:cNvSpPr>
            <a:spLocks noChangeAspect="1"/>
          </p:cNvSpPr>
          <p:nvPr/>
        </p:nvSpPr>
        <p:spPr bwMode="auto">
          <a:xfrm>
            <a:off x="4704772"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59" name="Ellipse 58">
            <a:extLst>
              <a:ext uri="{FF2B5EF4-FFF2-40B4-BE49-F238E27FC236}">
                <a16:creationId xmlns:a16="http://schemas.microsoft.com/office/drawing/2014/main" id="{A4C97B84-9DFC-49F4-A6DC-736D4376B2A0}"/>
              </a:ext>
            </a:extLst>
          </p:cNvPr>
          <p:cNvSpPr>
            <a:spLocks noChangeAspect="1"/>
          </p:cNvSpPr>
          <p:nvPr/>
        </p:nvSpPr>
        <p:spPr bwMode="auto">
          <a:xfrm>
            <a:off x="4528175"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60" name="Ellipse 59">
            <a:extLst>
              <a:ext uri="{FF2B5EF4-FFF2-40B4-BE49-F238E27FC236}">
                <a16:creationId xmlns:a16="http://schemas.microsoft.com/office/drawing/2014/main" id="{24675DD0-0FA3-446C-8DDD-F388B2AF9AFF}"/>
              </a:ext>
            </a:extLst>
          </p:cNvPr>
          <p:cNvSpPr>
            <a:spLocks noChangeAspect="1"/>
          </p:cNvSpPr>
          <p:nvPr/>
        </p:nvSpPr>
        <p:spPr bwMode="auto">
          <a:xfrm>
            <a:off x="4351578"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cxnSp>
        <p:nvCxnSpPr>
          <p:cNvPr id="77" name="Connecteur droit 76">
            <a:extLst>
              <a:ext uri="{FF2B5EF4-FFF2-40B4-BE49-F238E27FC236}">
                <a16:creationId xmlns:a16="http://schemas.microsoft.com/office/drawing/2014/main" id="{12FED54A-6591-4CA0-B4C3-12E4FD0A0F39}"/>
              </a:ext>
            </a:extLst>
          </p:cNvPr>
          <p:cNvCxnSpPr/>
          <p:nvPr/>
        </p:nvCxnSpPr>
        <p:spPr bwMode="auto">
          <a:xfrm>
            <a:off x="4960561" y="2297830"/>
            <a:ext cx="0" cy="3888000"/>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22" name="Ellipse 121">
            <a:extLst>
              <a:ext uri="{FF2B5EF4-FFF2-40B4-BE49-F238E27FC236}">
                <a16:creationId xmlns:a16="http://schemas.microsoft.com/office/drawing/2014/main" id="{8BAA2B8F-E014-480E-9B73-426ED3CA135D}"/>
              </a:ext>
            </a:extLst>
          </p:cNvPr>
          <p:cNvSpPr>
            <a:spLocks noChangeAspect="1"/>
          </p:cNvSpPr>
          <p:nvPr/>
        </p:nvSpPr>
        <p:spPr bwMode="auto">
          <a:xfrm>
            <a:off x="4170794"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123" name="Ellipse 122">
            <a:extLst>
              <a:ext uri="{FF2B5EF4-FFF2-40B4-BE49-F238E27FC236}">
                <a16:creationId xmlns:a16="http://schemas.microsoft.com/office/drawing/2014/main" id="{F94A9885-848E-498F-BCBD-BDF0200BBA6D}"/>
              </a:ext>
            </a:extLst>
          </p:cNvPr>
          <p:cNvSpPr/>
          <p:nvPr/>
        </p:nvSpPr>
        <p:spPr bwMode="auto">
          <a:xfrm>
            <a:off x="4339886" y="5416029"/>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24" name="Ellipse 123">
            <a:extLst>
              <a:ext uri="{FF2B5EF4-FFF2-40B4-BE49-F238E27FC236}">
                <a16:creationId xmlns:a16="http://schemas.microsoft.com/office/drawing/2014/main" id="{50B91558-2667-4F37-AC69-A1E0F1BD0C95}"/>
              </a:ext>
            </a:extLst>
          </p:cNvPr>
          <p:cNvSpPr/>
          <p:nvPr/>
        </p:nvSpPr>
        <p:spPr bwMode="auto">
          <a:xfrm>
            <a:off x="4354527" y="5907862"/>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25" name="Connecteur droit 124">
            <a:extLst>
              <a:ext uri="{FF2B5EF4-FFF2-40B4-BE49-F238E27FC236}">
                <a16:creationId xmlns:a16="http://schemas.microsoft.com/office/drawing/2014/main" id="{2E720AB4-6676-48E5-9A9D-4B9EB5679CE9}"/>
              </a:ext>
            </a:extLst>
          </p:cNvPr>
          <p:cNvCxnSpPr>
            <a:stCxn id="50" idx="4"/>
            <a:endCxn id="123" idx="0"/>
          </p:cNvCxnSpPr>
          <p:nvPr/>
        </p:nvCxnSpPr>
        <p:spPr bwMode="auto">
          <a:xfrm flipH="1">
            <a:off x="4376606" y="4996196"/>
            <a:ext cx="367900"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26" name="Connecteur droit 125">
            <a:extLst>
              <a:ext uri="{FF2B5EF4-FFF2-40B4-BE49-F238E27FC236}">
                <a16:creationId xmlns:a16="http://schemas.microsoft.com/office/drawing/2014/main" id="{7E85BDB2-276E-4564-AD5D-A028931FAE6A}"/>
              </a:ext>
            </a:extLst>
          </p:cNvPr>
          <p:cNvCxnSpPr>
            <a:stCxn id="123" idx="4"/>
            <a:endCxn id="124" idx="0"/>
          </p:cNvCxnSpPr>
          <p:nvPr/>
        </p:nvCxnSpPr>
        <p:spPr bwMode="auto">
          <a:xfrm>
            <a:off x="4376606" y="5488029"/>
            <a:ext cx="14641"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49" name="Ellipse 48">
            <a:extLst>
              <a:ext uri="{FF2B5EF4-FFF2-40B4-BE49-F238E27FC236}">
                <a16:creationId xmlns:a16="http://schemas.microsoft.com/office/drawing/2014/main" id="{F5706BF9-E8E1-4F63-8A38-CC3C35E51598}"/>
              </a:ext>
            </a:extLst>
          </p:cNvPr>
          <p:cNvSpPr/>
          <p:nvPr/>
        </p:nvSpPr>
        <p:spPr bwMode="auto">
          <a:xfrm>
            <a:off x="4373450" y="4432363"/>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299" name="Connecteur droit 4">
            <a:extLst>
              <a:ext uri="{FF2B5EF4-FFF2-40B4-BE49-F238E27FC236}">
                <a16:creationId xmlns:a16="http://schemas.microsoft.com/office/drawing/2014/main" id="{4DE9FFA7-7687-4A3E-A0B9-D77F3F96E065}"/>
              </a:ext>
            </a:extLst>
          </p:cNvPr>
          <p:cNvCxnSpPr>
            <a:cxnSpLocks/>
          </p:cNvCxnSpPr>
          <p:nvPr/>
        </p:nvCxnSpPr>
        <p:spPr bwMode="auto">
          <a:xfrm>
            <a:off x="109668" y="1066876"/>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00" name="ZoneTexte 6">
            <a:extLst>
              <a:ext uri="{FF2B5EF4-FFF2-40B4-BE49-F238E27FC236}">
                <a16:creationId xmlns:a16="http://schemas.microsoft.com/office/drawing/2014/main" id="{EC415B2C-B983-4F97-962F-3A20DA1DBB13}"/>
              </a:ext>
            </a:extLst>
          </p:cNvPr>
          <p:cNvSpPr txBox="1"/>
          <p:nvPr/>
        </p:nvSpPr>
        <p:spPr>
          <a:xfrm>
            <a:off x="2082930" y="940968"/>
            <a:ext cx="5649409" cy="264371"/>
          </a:xfrm>
          <a:prstGeom prst="rect">
            <a:avLst/>
          </a:prstGeom>
          <a:solidFill>
            <a:schemeClr val="bg1"/>
          </a:solidFill>
        </p:spPr>
        <p:txBody>
          <a:bodyPr wrap="square" rtlCol="0">
            <a:noAutofit/>
          </a:bodyPr>
          <a:lstStyle/>
          <a:p>
            <a:pPr algn="ctr"/>
            <a:r>
              <a:rPr lang="en-GB" sz="1100">
                <a:latin typeface="Trebuchet MS" panose="020B0603020202020204" pitchFamily="34" charset="0"/>
              </a:rPr>
              <a:t>Detailed comparison of </a:t>
            </a:r>
            <a:r>
              <a:rPr lang="en-GB" sz="1100" err="1">
                <a:latin typeface="Trebuchet MS" panose="020B0603020202020204" pitchFamily="34" charset="0"/>
              </a:rPr>
              <a:t>Altares</a:t>
            </a:r>
            <a:r>
              <a:rPr lang="en-GB" sz="1100">
                <a:latin typeface="Trebuchet MS" panose="020B0603020202020204" pitchFamily="34" charset="0"/>
              </a:rPr>
              <a:t> with key competitors on B2B marketing</a:t>
            </a:r>
          </a:p>
        </p:txBody>
      </p:sp>
      <p:grpSp>
        <p:nvGrpSpPr>
          <p:cNvPr id="301" name="Group 4">
            <a:extLst>
              <a:ext uri="{FF2B5EF4-FFF2-40B4-BE49-F238E27FC236}">
                <a16:creationId xmlns:a16="http://schemas.microsoft.com/office/drawing/2014/main" id="{8692416E-A3E6-4DC7-8AFA-C59D16E5E262}"/>
              </a:ext>
            </a:extLst>
          </p:cNvPr>
          <p:cNvGrpSpPr>
            <a:grpSpLocks noChangeAspect="1"/>
          </p:cNvGrpSpPr>
          <p:nvPr/>
        </p:nvGrpSpPr>
        <p:grpSpPr bwMode="auto">
          <a:xfrm>
            <a:off x="2332965" y="971763"/>
            <a:ext cx="191588" cy="171473"/>
            <a:chOff x="960" y="846"/>
            <a:chExt cx="381" cy="341"/>
          </a:xfrm>
          <a:solidFill>
            <a:schemeClr val="tx1"/>
          </a:solidFill>
        </p:grpSpPr>
        <p:sp>
          <p:nvSpPr>
            <p:cNvPr id="302" name="Freeform 5">
              <a:extLst>
                <a:ext uri="{FF2B5EF4-FFF2-40B4-BE49-F238E27FC236}">
                  <a16:creationId xmlns:a16="http://schemas.microsoft.com/office/drawing/2014/main" id="{AF6A0356-196D-42CC-9C2F-D3B4D1C41740}"/>
                </a:ext>
              </a:extLst>
            </p:cNvPr>
            <p:cNvSpPr>
              <a:spLocks noEditPoints="1"/>
            </p:cNvSpPr>
            <p:nvPr/>
          </p:nvSpPr>
          <p:spPr bwMode="auto">
            <a:xfrm>
              <a:off x="1071" y="846"/>
              <a:ext cx="159" cy="172"/>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3" name="Freeform 6">
              <a:extLst>
                <a:ext uri="{FF2B5EF4-FFF2-40B4-BE49-F238E27FC236}">
                  <a16:creationId xmlns:a16="http://schemas.microsoft.com/office/drawing/2014/main" id="{FF420C63-6623-41A0-80D5-778353DC4E71}"/>
                </a:ext>
              </a:extLst>
            </p:cNvPr>
            <p:cNvSpPr>
              <a:spLocks noEditPoints="1"/>
            </p:cNvSpPr>
            <p:nvPr/>
          </p:nvSpPr>
          <p:spPr bwMode="auto">
            <a:xfrm>
              <a:off x="960" y="1038"/>
              <a:ext cx="116" cy="149"/>
            </a:xfrm>
            <a:custGeom>
              <a:avLst/>
              <a:gdLst>
                <a:gd name="T0" fmla="*/ 11 w 45"/>
                <a:gd name="T1" fmla="*/ 29 h 58"/>
                <a:gd name="T2" fmla="*/ 30 w 45"/>
                <a:gd name="T3" fmla="*/ 29 h 58"/>
                <a:gd name="T4" fmla="*/ 30 w 45"/>
                <a:gd name="T5" fmla="*/ 25 h 58"/>
                <a:gd name="T6" fmla="*/ 11 w 45"/>
                <a:gd name="T7" fmla="*/ 25 h 58"/>
                <a:gd name="T8" fmla="*/ 11 w 45"/>
                <a:gd name="T9" fmla="*/ 29 h 58"/>
                <a:gd name="T10" fmla="*/ 11 w 45"/>
                <a:gd name="T11" fmla="*/ 45 h 58"/>
                <a:gd name="T12" fmla="*/ 34 w 45"/>
                <a:gd name="T13" fmla="*/ 45 h 58"/>
                <a:gd name="T14" fmla="*/ 34 w 45"/>
                <a:gd name="T15" fmla="*/ 41 h 58"/>
                <a:gd name="T16" fmla="*/ 11 w 45"/>
                <a:gd name="T17" fmla="*/ 41 h 58"/>
                <a:gd name="T18" fmla="*/ 11 w 45"/>
                <a:gd name="T19" fmla="*/ 45 h 58"/>
                <a:gd name="T20" fmla="*/ 11 w 45"/>
                <a:gd name="T21" fmla="*/ 37 h 58"/>
                <a:gd name="T22" fmla="*/ 23 w 45"/>
                <a:gd name="T23" fmla="*/ 37 h 58"/>
                <a:gd name="T24" fmla="*/ 23 w 45"/>
                <a:gd name="T25" fmla="*/ 33 h 58"/>
                <a:gd name="T26" fmla="*/ 11 w 45"/>
                <a:gd name="T27" fmla="*/ 33 h 58"/>
                <a:gd name="T28" fmla="*/ 11 w 45"/>
                <a:gd name="T29" fmla="*/ 37 h 58"/>
                <a:gd name="T30" fmla="*/ 0 w 45"/>
                <a:gd name="T31" fmla="*/ 15 h 58"/>
                <a:gd name="T32" fmla="*/ 0 w 45"/>
                <a:gd name="T33" fmla="*/ 54 h 58"/>
                <a:gd name="T34" fmla="*/ 4 w 45"/>
                <a:gd name="T35" fmla="*/ 58 h 58"/>
                <a:gd name="T36" fmla="*/ 41 w 45"/>
                <a:gd name="T37" fmla="*/ 58 h 58"/>
                <a:gd name="T38" fmla="*/ 45 w 45"/>
                <a:gd name="T39" fmla="*/ 54 h 58"/>
                <a:gd name="T40" fmla="*/ 45 w 45"/>
                <a:gd name="T41" fmla="*/ 4 h 58"/>
                <a:gd name="T42" fmla="*/ 41 w 45"/>
                <a:gd name="T43" fmla="*/ 0 h 58"/>
                <a:gd name="T44" fmla="*/ 15 w 45"/>
                <a:gd name="T45" fmla="*/ 0 h 58"/>
                <a:gd name="T46" fmla="*/ 0 w 45"/>
                <a:gd name="T47" fmla="*/ 15 h 58"/>
                <a:gd name="T48" fmla="*/ 17 w 45"/>
                <a:gd name="T49" fmla="*/ 6 h 58"/>
                <a:gd name="T50" fmla="*/ 38 w 45"/>
                <a:gd name="T51" fmla="*/ 6 h 58"/>
                <a:gd name="T52" fmla="*/ 39 w 45"/>
                <a:gd name="T53" fmla="*/ 8 h 58"/>
                <a:gd name="T54" fmla="*/ 39 w 45"/>
                <a:gd name="T55" fmla="*/ 51 h 58"/>
                <a:gd name="T56" fmla="*/ 38 w 45"/>
                <a:gd name="T57" fmla="*/ 52 h 58"/>
                <a:gd name="T58" fmla="*/ 8 w 45"/>
                <a:gd name="T59" fmla="*/ 52 h 58"/>
                <a:gd name="T60" fmla="*/ 6 w 45"/>
                <a:gd name="T61" fmla="*/ 51 h 58"/>
                <a:gd name="T62" fmla="*/ 6 w 45"/>
                <a:gd name="T63" fmla="*/ 17 h 58"/>
                <a:gd name="T64" fmla="*/ 17 w 45"/>
                <a:gd name="T65" fmla="*/ 17 h 58"/>
                <a:gd name="T66" fmla="*/ 17 w 45"/>
                <a:gd name="T6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58">
                  <a:moveTo>
                    <a:pt x="11" y="29"/>
                  </a:moveTo>
                  <a:cubicBezTo>
                    <a:pt x="30" y="29"/>
                    <a:pt x="30" y="29"/>
                    <a:pt x="30" y="29"/>
                  </a:cubicBezTo>
                  <a:cubicBezTo>
                    <a:pt x="30" y="25"/>
                    <a:pt x="30" y="25"/>
                    <a:pt x="30" y="25"/>
                  </a:cubicBezTo>
                  <a:cubicBezTo>
                    <a:pt x="11" y="25"/>
                    <a:pt x="11" y="25"/>
                    <a:pt x="11" y="25"/>
                  </a:cubicBezTo>
                  <a:lnTo>
                    <a:pt x="11" y="29"/>
                  </a:lnTo>
                  <a:close/>
                  <a:moveTo>
                    <a:pt x="11" y="45"/>
                  </a:moveTo>
                  <a:cubicBezTo>
                    <a:pt x="34" y="45"/>
                    <a:pt x="34" y="45"/>
                    <a:pt x="34" y="45"/>
                  </a:cubicBezTo>
                  <a:cubicBezTo>
                    <a:pt x="34" y="41"/>
                    <a:pt x="34" y="41"/>
                    <a:pt x="34" y="41"/>
                  </a:cubicBezTo>
                  <a:cubicBezTo>
                    <a:pt x="11" y="41"/>
                    <a:pt x="11" y="41"/>
                    <a:pt x="11" y="41"/>
                  </a:cubicBezTo>
                  <a:lnTo>
                    <a:pt x="11" y="45"/>
                  </a:lnTo>
                  <a:close/>
                  <a:moveTo>
                    <a:pt x="11" y="37"/>
                  </a:moveTo>
                  <a:cubicBezTo>
                    <a:pt x="23" y="37"/>
                    <a:pt x="23" y="37"/>
                    <a:pt x="23" y="37"/>
                  </a:cubicBezTo>
                  <a:cubicBezTo>
                    <a:pt x="23" y="33"/>
                    <a:pt x="23" y="33"/>
                    <a:pt x="23" y="33"/>
                  </a:cubicBezTo>
                  <a:cubicBezTo>
                    <a:pt x="11" y="33"/>
                    <a:pt x="11" y="33"/>
                    <a:pt x="11" y="33"/>
                  </a:cubicBezTo>
                  <a:lnTo>
                    <a:pt x="11" y="37"/>
                  </a:lnTo>
                  <a:close/>
                  <a:moveTo>
                    <a:pt x="0" y="15"/>
                  </a:moveTo>
                  <a:cubicBezTo>
                    <a:pt x="0" y="54"/>
                    <a:pt x="0" y="54"/>
                    <a:pt x="0" y="54"/>
                  </a:cubicBezTo>
                  <a:cubicBezTo>
                    <a:pt x="0" y="57"/>
                    <a:pt x="2" y="58"/>
                    <a:pt x="4" y="58"/>
                  </a:cubicBezTo>
                  <a:cubicBezTo>
                    <a:pt x="41" y="58"/>
                    <a:pt x="41" y="58"/>
                    <a:pt x="41" y="58"/>
                  </a:cubicBezTo>
                  <a:cubicBezTo>
                    <a:pt x="43" y="58"/>
                    <a:pt x="45" y="57"/>
                    <a:pt x="45" y="54"/>
                  </a:cubicBezTo>
                  <a:cubicBezTo>
                    <a:pt x="45" y="4"/>
                    <a:pt x="45" y="4"/>
                    <a:pt x="45" y="4"/>
                  </a:cubicBezTo>
                  <a:cubicBezTo>
                    <a:pt x="45" y="2"/>
                    <a:pt x="43" y="0"/>
                    <a:pt x="41" y="0"/>
                  </a:cubicBezTo>
                  <a:cubicBezTo>
                    <a:pt x="15" y="0"/>
                    <a:pt x="15" y="0"/>
                    <a:pt x="15" y="0"/>
                  </a:cubicBezTo>
                  <a:lnTo>
                    <a:pt x="0" y="15"/>
                  </a:lnTo>
                  <a:close/>
                  <a:moveTo>
                    <a:pt x="17" y="6"/>
                  </a:moveTo>
                  <a:cubicBezTo>
                    <a:pt x="38" y="6"/>
                    <a:pt x="38" y="6"/>
                    <a:pt x="38" y="6"/>
                  </a:cubicBezTo>
                  <a:cubicBezTo>
                    <a:pt x="39" y="6"/>
                    <a:pt x="39" y="7"/>
                    <a:pt x="39" y="8"/>
                  </a:cubicBezTo>
                  <a:cubicBezTo>
                    <a:pt x="39" y="51"/>
                    <a:pt x="39" y="51"/>
                    <a:pt x="39" y="51"/>
                  </a:cubicBezTo>
                  <a:cubicBezTo>
                    <a:pt x="39" y="52"/>
                    <a:pt x="39" y="52"/>
                    <a:pt x="38" y="52"/>
                  </a:cubicBezTo>
                  <a:cubicBezTo>
                    <a:pt x="8" y="52"/>
                    <a:pt x="8" y="52"/>
                    <a:pt x="8" y="52"/>
                  </a:cubicBezTo>
                  <a:cubicBezTo>
                    <a:pt x="7" y="52"/>
                    <a:pt x="6" y="52"/>
                    <a:pt x="6" y="51"/>
                  </a:cubicBezTo>
                  <a:cubicBezTo>
                    <a:pt x="6" y="17"/>
                    <a:pt x="6" y="17"/>
                    <a:pt x="6" y="17"/>
                  </a:cubicBezTo>
                  <a:cubicBezTo>
                    <a:pt x="17" y="17"/>
                    <a:pt x="17" y="17"/>
                    <a:pt x="17" y="17"/>
                  </a:cubicBezTo>
                  <a:lnTo>
                    <a:pt x="1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4" name="Freeform 7">
              <a:extLst>
                <a:ext uri="{FF2B5EF4-FFF2-40B4-BE49-F238E27FC236}">
                  <a16:creationId xmlns:a16="http://schemas.microsoft.com/office/drawing/2014/main" id="{AB8CA9D5-C928-4BE8-B54E-23DEC9CD9D5E}"/>
                </a:ext>
              </a:extLst>
            </p:cNvPr>
            <p:cNvSpPr>
              <a:spLocks noEditPoints="1"/>
            </p:cNvSpPr>
            <p:nvPr/>
          </p:nvSpPr>
          <p:spPr bwMode="auto">
            <a:xfrm>
              <a:off x="1094" y="1038"/>
              <a:ext cx="113" cy="149"/>
            </a:xfrm>
            <a:custGeom>
              <a:avLst/>
              <a:gdLst>
                <a:gd name="T0" fmla="*/ 11 w 44"/>
                <a:gd name="T1" fmla="*/ 29 h 58"/>
                <a:gd name="T2" fmla="*/ 29 w 44"/>
                <a:gd name="T3" fmla="*/ 29 h 58"/>
                <a:gd name="T4" fmla="*/ 29 w 44"/>
                <a:gd name="T5" fmla="*/ 25 h 58"/>
                <a:gd name="T6" fmla="*/ 11 w 44"/>
                <a:gd name="T7" fmla="*/ 25 h 58"/>
                <a:gd name="T8" fmla="*/ 11 w 44"/>
                <a:gd name="T9" fmla="*/ 29 h 58"/>
                <a:gd name="T10" fmla="*/ 11 w 44"/>
                <a:gd name="T11" fmla="*/ 45 h 58"/>
                <a:gd name="T12" fmla="*/ 33 w 44"/>
                <a:gd name="T13" fmla="*/ 45 h 58"/>
                <a:gd name="T14" fmla="*/ 33 w 44"/>
                <a:gd name="T15" fmla="*/ 41 h 58"/>
                <a:gd name="T16" fmla="*/ 11 w 44"/>
                <a:gd name="T17" fmla="*/ 41 h 58"/>
                <a:gd name="T18" fmla="*/ 11 w 44"/>
                <a:gd name="T19" fmla="*/ 45 h 58"/>
                <a:gd name="T20" fmla="*/ 11 w 44"/>
                <a:gd name="T21" fmla="*/ 37 h 58"/>
                <a:gd name="T22" fmla="*/ 22 w 44"/>
                <a:gd name="T23" fmla="*/ 37 h 58"/>
                <a:gd name="T24" fmla="*/ 22 w 44"/>
                <a:gd name="T25" fmla="*/ 33 h 58"/>
                <a:gd name="T26" fmla="*/ 11 w 44"/>
                <a:gd name="T27" fmla="*/ 33 h 58"/>
                <a:gd name="T28" fmla="*/ 11 w 44"/>
                <a:gd name="T29" fmla="*/ 37 h 58"/>
                <a:gd name="T30" fmla="*/ 0 w 44"/>
                <a:gd name="T31" fmla="*/ 15 h 58"/>
                <a:gd name="T32" fmla="*/ 0 w 44"/>
                <a:gd name="T33" fmla="*/ 54 h 58"/>
                <a:gd name="T34" fmla="*/ 3 w 44"/>
                <a:gd name="T35" fmla="*/ 58 h 58"/>
                <a:gd name="T36" fmla="*/ 41 w 44"/>
                <a:gd name="T37" fmla="*/ 58 h 58"/>
                <a:gd name="T38" fmla="*/ 44 w 44"/>
                <a:gd name="T39" fmla="*/ 54 h 58"/>
                <a:gd name="T40" fmla="*/ 44 w 44"/>
                <a:gd name="T41" fmla="*/ 4 h 58"/>
                <a:gd name="T42" fmla="*/ 41 w 44"/>
                <a:gd name="T43" fmla="*/ 0 h 58"/>
                <a:gd name="T44" fmla="*/ 15 w 44"/>
                <a:gd name="T45" fmla="*/ 0 h 58"/>
                <a:gd name="T46" fmla="*/ 0 w 44"/>
                <a:gd name="T47" fmla="*/ 15 h 58"/>
                <a:gd name="T48" fmla="*/ 16 w 44"/>
                <a:gd name="T49" fmla="*/ 6 h 58"/>
                <a:gd name="T50" fmla="*/ 37 w 44"/>
                <a:gd name="T51" fmla="*/ 6 h 58"/>
                <a:gd name="T52" fmla="*/ 39 w 44"/>
                <a:gd name="T53" fmla="*/ 8 h 58"/>
                <a:gd name="T54" fmla="*/ 39 w 44"/>
                <a:gd name="T55" fmla="*/ 51 h 58"/>
                <a:gd name="T56" fmla="*/ 37 w 44"/>
                <a:gd name="T57" fmla="*/ 52 h 58"/>
                <a:gd name="T58" fmla="*/ 7 w 44"/>
                <a:gd name="T59" fmla="*/ 52 h 58"/>
                <a:gd name="T60" fmla="*/ 5 w 44"/>
                <a:gd name="T61" fmla="*/ 51 h 58"/>
                <a:gd name="T62" fmla="*/ 5 w 44"/>
                <a:gd name="T63" fmla="*/ 17 h 58"/>
                <a:gd name="T64" fmla="*/ 16 w 44"/>
                <a:gd name="T65" fmla="*/ 17 h 58"/>
                <a:gd name="T66" fmla="*/ 16 w 44"/>
                <a:gd name="T6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 h="58">
                  <a:moveTo>
                    <a:pt x="11" y="29"/>
                  </a:moveTo>
                  <a:cubicBezTo>
                    <a:pt x="29" y="29"/>
                    <a:pt x="29" y="29"/>
                    <a:pt x="29" y="29"/>
                  </a:cubicBezTo>
                  <a:cubicBezTo>
                    <a:pt x="29" y="25"/>
                    <a:pt x="29" y="25"/>
                    <a:pt x="29" y="25"/>
                  </a:cubicBezTo>
                  <a:cubicBezTo>
                    <a:pt x="11" y="25"/>
                    <a:pt x="11" y="25"/>
                    <a:pt x="11" y="25"/>
                  </a:cubicBezTo>
                  <a:lnTo>
                    <a:pt x="11" y="29"/>
                  </a:lnTo>
                  <a:close/>
                  <a:moveTo>
                    <a:pt x="11" y="45"/>
                  </a:moveTo>
                  <a:cubicBezTo>
                    <a:pt x="33" y="45"/>
                    <a:pt x="33" y="45"/>
                    <a:pt x="33" y="45"/>
                  </a:cubicBezTo>
                  <a:cubicBezTo>
                    <a:pt x="33" y="41"/>
                    <a:pt x="33" y="41"/>
                    <a:pt x="33" y="41"/>
                  </a:cubicBezTo>
                  <a:cubicBezTo>
                    <a:pt x="11" y="41"/>
                    <a:pt x="11" y="41"/>
                    <a:pt x="11" y="41"/>
                  </a:cubicBezTo>
                  <a:lnTo>
                    <a:pt x="11" y="45"/>
                  </a:lnTo>
                  <a:close/>
                  <a:moveTo>
                    <a:pt x="11" y="37"/>
                  </a:moveTo>
                  <a:cubicBezTo>
                    <a:pt x="22" y="37"/>
                    <a:pt x="22" y="37"/>
                    <a:pt x="22" y="37"/>
                  </a:cubicBezTo>
                  <a:cubicBezTo>
                    <a:pt x="22" y="33"/>
                    <a:pt x="22" y="33"/>
                    <a:pt x="22" y="33"/>
                  </a:cubicBezTo>
                  <a:cubicBezTo>
                    <a:pt x="11" y="33"/>
                    <a:pt x="11" y="33"/>
                    <a:pt x="11" y="33"/>
                  </a:cubicBezTo>
                  <a:lnTo>
                    <a:pt x="11" y="37"/>
                  </a:lnTo>
                  <a:close/>
                  <a:moveTo>
                    <a:pt x="0" y="15"/>
                  </a:moveTo>
                  <a:cubicBezTo>
                    <a:pt x="0" y="54"/>
                    <a:pt x="0" y="54"/>
                    <a:pt x="0" y="54"/>
                  </a:cubicBezTo>
                  <a:cubicBezTo>
                    <a:pt x="0" y="57"/>
                    <a:pt x="1" y="58"/>
                    <a:pt x="3" y="58"/>
                  </a:cubicBezTo>
                  <a:cubicBezTo>
                    <a:pt x="41" y="58"/>
                    <a:pt x="41" y="58"/>
                    <a:pt x="41" y="58"/>
                  </a:cubicBezTo>
                  <a:cubicBezTo>
                    <a:pt x="43" y="58"/>
                    <a:pt x="44" y="57"/>
                    <a:pt x="44" y="54"/>
                  </a:cubicBezTo>
                  <a:cubicBezTo>
                    <a:pt x="44" y="4"/>
                    <a:pt x="44" y="4"/>
                    <a:pt x="44" y="4"/>
                  </a:cubicBezTo>
                  <a:cubicBezTo>
                    <a:pt x="44" y="2"/>
                    <a:pt x="43" y="0"/>
                    <a:pt x="41" y="0"/>
                  </a:cubicBezTo>
                  <a:cubicBezTo>
                    <a:pt x="15" y="0"/>
                    <a:pt x="15" y="0"/>
                    <a:pt x="15" y="0"/>
                  </a:cubicBezTo>
                  <a:lnTo>
                    <a:pt x="0" y="15"/>
                  </a:lnTo>
                  <a:close/>
                  <a:moveTo>
                    <a:pt x="16" y="6"/>
                  </a:moveTo>
                  <a:cubicBezTo>
                    <a:pt x="37" y="6"/>
                    <a:pt x="37" y="6"/>
                    <a:pt x="37" y="6"/>
                  </a:cubicBezTo>
                  <a:cubicBezTo>
                    <a:pt x="38" y="6"/>
                    <a:pt x="39" y="7"/>
                    <a:pt x="39" y="8"/>
                  </a:cubicBezTo>
                  <a:cubicBezTo>
                    <a:pt x="39" y="51"/>
                    <a:pt x="39" y="51"/>
                    <a:pt x="39" y="51"/>
                  </a:cubicBezTo>
                  <a:cubicBezTo>
                    <a:pt x="39" y="52"/>
                    <a:pt x="38" y="52"/>
                    <a:pt x="37" y="52"/>
                  </a:cubicBezTo>
                  <a:cubicBezTo>
                    <a:pt x="7" y="52"/>
                    <a:pt x="7" y="52"/>
                    <a:pt x="7" y="52"/>
                  </a:cubicBezTo>
                  <a:cubicBezTo>
                    <a:pt x="6" y="52"/>
                    <a:pt x="5" y="52"/>
                    <a:pt x="5" y="51"/>
                  </a:cubicBezTo>
                  <a:cubicBezTo>
                    <a:pt x="5" y="17"/>
                    <a:pt x="5" y="17"/>
                    <a:pt x="5" y="17"/>
                  </a:cubicBezTo>
                  <a:cubicBezTo>
                    <a:pt x="16" y="17"/>
                    <a:pt x="16" y="17"/>
                    <a:pt x="16" y="17"/>
                  </a:cubicBezTo>
                  <a:lnTo>
                    <a:pt x="1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5" name="Freeform 8">
              <a:extLst>
                <a:ext uri="{FF2B5EF4-FFF2-40B4-BE49-F238E27FC236}">
                  <a16:creationId xmlns:a16="http://schemas.microsoft.com/office/drawing/2014/main" id="{CFE2DB29-533A-477A-AE80-182D93CB485E}"/>
                </a:ext>
              </a:extLst>
            </p:cNvPr>
            <p:cNvSpPr>
              <a:spLocks noEditPoints="1"/>
            </p:cNvSpPr>
            <p:nvPr/>
          </p:nvSpPr>
          <p:spPr bwMode="auto">
            <a:xfrm>
              <a:off x="1225" y="1038"/>
              <a:ext cx="116" cy="149"/>
            </a:xfrm>
            <a:custGeom>
              <a:avLst/>
              <a:gdLst>
                <a:gd name="T0" fmla="*/ 11 w 45"/>
                <a:gd name="T1" fmla="*/ 29 h 58"/>
                <a:gd name="T2" fmla="*/ 30 w 45"/>
                <a:gd name="T3" fmla="*/ 29 h 58"/>
                <a:gd name="T4" fmla="*/ 30 w 45"/>
                <a:gd name="T5" fmla="*/ 25 h 58"/>
                <a:gd name="T6" fmla="*/ 11 w 45"/>
                <a:gd name="T7" fmla="*/ 25 h 58"/>
                <a:gd name="T8" fmla="*/ 11 w 45"/>
                <a:gd name="T9" fmla="*/ 29 h 58"/>
                <a:gd name="T10" fmla="*/ 11 w 45"/>
                <a:gd name="T11" fmla="*/ 45 h 58"/>
                <a:gd name="T12" fmla="*/ 34 w 45"/>
                <a:gd name="T13" fmla="*/ 45 h 58"/>
                <a:gd name="T14" fmla="*/ 34 w 45"/>
                <a:gd name="T15" fmla="*/ 41 h 58"/>
                <a:gd name="T16" fmla="*/ 11 w 45"/>
                <a:gd name="T17" fmla="*/ 41 h 58"/>
                <a:gd name="T18" fmla="*/ 11 w 45"/>
                <a:gd name="T19" fmla="*/ 45 h 58"/>
                <a:gd name="T20" fmla="*/ 11 w 45"/>
                <a:gd name="T21" fmla="*/ 37 h 58"/>
                <a:gd name="T22" fmla="*/ 22 w 45"/>
                <a:gd name="T23" fmla="*/ 37 h 58"/>
                <a:gd name="T24" fmla="*/ 22 w 45"/>
                <a:gd name="T25" fmla="*/ 33 h 58"/>
                <a:gd name="T26" fmla="*/ 11 w 45"/>
                <a:gd name="T27" fmla="*/ 33 h 58"/>
                <a:gd name="T28" fmla="*/ 11 w 45"/>
                <a:gd name="T29" fmla="*/ 37 h 58"/>
                <a:gd name="T30" fmla="*/ 0 w 45"/>
                <a:gd name="T31" fmla="*/ 15 h 58"/>
                <a:gd name="T32" fmla="*/ 0 w 45"/>
                <a:gd name="T33" fmla="*/ 54 h 58"/>
                <a:gd name="T34" fmla="*/ 4 w 45"/>
                <a:gd name="T35" fmla="*/ 58 h 58"/>
                <a:gd name="T36" fmla="*/ 41 w 45"/>
                <a:gd name="T37" fmla="*/ 58 h 58"/>
                <a:gd name="T38" fmla="*/ 45 w 45"/>
                <a:gd name="T39" fmla="*/ 54 h 58"/>
                <a:gd name="T40" fmla="*/ 45 w 45"/>
                <a:gd name="T41" fmla="*/ 4 h 58"/>
                <a:gd name="T42" fmla="*/ 41 w 45"/>
                <a:gd name="T43" fmla="*/ 0 h 58"/>
                <a:gd name="T44" fmla="*/ 15 w 45"/>
                <a:gd name="T45" fmla="*/ 0 h 58"/>
                <a:gd name="T46" fmla="*/ 0 w 45"/>
                <a:gd name="T47" fmla="*/ 15 h 58"/>
                <a:gd name="T48" fmla="*/ 17 w 45"/>
                <a:gd name="T49" fmla="*/ 6 h 58"/>
                <a:gd name="T50" fmla="*/ 37 w 45"/>
                <a:gd name="T51" fmla="*/ 6 h 58"/>
                <a:gd name="T52" fmla="*/ 39 w 45"/>
                <a:gd name="T53" fmla="*/ 8 h 58"/>
                <a:gd name="T54" fmla="*/ 39 w 45"/>
                <a:gd name="T55" fmla="*/ 51 h 58"/>
                <a:gd name="T56" fmla="*/ 37 w 45"/>
                <a:gd name="T57" fmla="*/ 52 h 58"/>
                <a:gd name="T58" fmla="*/ 7 w 45"/>
                <a:gd name="T59" fmla="*/ 52 h 58"/>
                <a:gd name="T60" fmla="*/ 6 w 45"/>
                <a:gd name="T61" fmla="*/ 51 h 58"/>
                <a:gd name="T62" fmla="*/ 6 w 45"/>
                <a:gd name="T63" fmla="*/ 17 h 58"/>
                <a:gd name="T64" fmla="*/ 17 w 45"/>
                <a:gd name="T65" fmla="*/ 17 h 58"/>
                <a:gd name="T66" fmla="*/ 17 w 45"/>
                <a:gd name="T6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58">
                  <a:moveTo>
                    <a:pt x="11" y="29"/>
                  </a:moveTo>
                  <a:cubicBezTo>
                    <a:pt x="30" y="29"/>
                    <a:pt x="30" y="29"/>
                    <a:pt x="30" y="29"/>
                  </a:cubicBezTo>
                  <a:cubicBezTo>
                    <a:pt x="30" y="25"/>
                    <a:pt x="30" y="25"/>
                    <a:pt x="30" y="25"/>
                  </a:cubicBezTo>
                  <a:cubicBezTo>
                    <a:pt x="11" y="25"/>
                    <a:pt x="11" y="25"/>
                    <a:pt x="11" y="25"/>
                  </a:cubicBezTo>
                  <a:lnTo>
                    <a:pt x="11" y="29"/>
                  </a:lnTo>
                  <a:close/>
                  <a:moveTo>
                    <a:pt x="11" y="45"/>
                  </a:moveTo>
                  <a:cubicBezTo>
                    <a:pt x="34" y="45"/>
                    <a:pt x="34" y="45"/>
                    <a:pt x="34" y="45"/>
                  </a:cubicBezTo>
                  <a:cubicBezTo>
                    <a:pt x="34" y="41"/>
                    <a:pt x="34" y="41"/>
                    <a:pt x="34" y="41"/>
                  </a:cubicBezTo>
                  <a:cubicBezTo>
                    <a:pt x="11" y="41"/>
                    <a:pt x="11" y="41"/>
                    <a:pt x="11" y="41"/>
                  </a:cubicBezTo>
                  <a:lnTo>
                    <a:pt x="11" y="45"/>
                  </a:lnTo>
                  <a:close/>
                  <a:moveTo>
                    <a:pt x="11" y="37"/>
                  </a:moveTo>
                  <a:cubicBezTo>
                    <a:pt x="22" y="37"/>
                    <a:pt x="22" y="37"/>
                    <a:pt x="22" y="37"/>
                  </a:cubicBezTo>
                  <a:cubicBezTo>
                    <a:pt x="22" y="33"/>
                    <a:pt x="22" y="33"/>
                    <a:pt x="22" y="33"/>
                  </a:cubicBezTo>
                  <a:cubicBezTo>
                    <a:pt x="11" y="33"/>
                    <a:pt x="11" y="33"/>
                    <a:pt x="11" y="33"/>
                  </a:cubicBezTo>
                  <a:lnTo>
                    <a:pt x="11" y="37"/>
                  </a:lnTo>
                  <a:close/>
                  <a:moveTo>
                    <a:pt x="0" y="15"/>
                  </a:moveTo>
                  <a:cubicBezTo>
                    <a:pt x="0" y="54"/>
                    <a:pt x="0" y="54"/>
                    <a:pt x="0" y="54"/>
                  </a:cubicBezTo>
                  <a:cubicBezTo>
                    <a:pt x="0" y="57"/>
                    <a:pt x="2" y="58"/>
                    <a:pt x="4" y="58"/>
                  </a:cubicBezTo>
                  <a:cubicBezTo>
                    <a:pt x="41" y="58"/>
                    <a:pt x="41" y="58"/>
                    <a:pt x="41" y="58"/>
                  </a:cubicBezTo>
                  <a:cubicBezTo>
                    <a:pt x="43" y="58"/>
                    <a:pt x="45" y="57"/>
                    <a:pt x="45" y="54"/>
                  </a:cubicBezTo>
                  <a:cubicBezTo>
                    <a:pt x="45" y="4"/>
                    <a:pt x="45" y="4"/>
                    <a:pt x="45" y="4"/>
                  </a:cubicBezTo>
                  <a:cubicBezTo>
                    <a:pt x="45" y="2"/>
                    <a:pt x="43" y="0"/>
                    <a:pt x="41" y="0"/>
                  </a:cubicBezTo>
                  <a:cubicBezTo>
                    <a:pt x="15" y="0"/>
                    <a:pt x="15" y="0"/>
                    <a:pt x="15" y="0"/>
                  </a:cubicBezTo>
                  <a:lnTo>
                    <a:pt x="0" y="15"/>
                  </a:lnTo>
                  <a:close/>
                  <a:moveTo>
                    <a:pt x="17" y="6"/>
                  </a:moveTo>
                  <a:cubicBezTo>
                    <a:pt x="37" y="6"/>
                    <a:pt x="37" y="6"/>
                    <a:pt x="37" y="6"/>
                  </a:cubicBezTo>
                  <a:cubicBezTo>
                    <a:pt x="38" y="6"/>
                    <a:pt x="39" y="7"/>
                    <a:pt x="39" y="8"/>
                  </a:cubicBezTo>
                  <a:cubicBezTo>
                    <a:pt x="39" y="51"/>
                    <a:pt x="39" y="51"/>
                    <a:pt x="39" y="51"/>
                  </a:cubicBezTo>
                  <a:cubicBezTo>
                    <a:pt x="39" y="52"/>
                    <a:pt x="38" y="52"/>
                    <a:pt x="37" y="52"/>
                  </a:cubicBezTo>
                  <a:cubicBezTo>
                    <a:pt x="7" y="52"/>
                    <a:pt x="7" y="52"/>
                    <a:pt x="7" y="52"/>
                  </a:cubicBezTo>
                  <a:cubicBezTo>
                    <a:pt x="6" y="52"/>
                    <a:pt x="6" y="52"/>
                    <a:pt x="6" y="51"/>
                  </a:cubicBezTo>
                  <a:cubicBezTo>
                    <a:pt x="6" y="17"/>
                    <a:pt x="6" y="17"/>
                    <a:pt x="6" y="17"/>
                  </a:cubicBezTo>
                  <a:cubicBezTo>
                    <a:pt x="17" y="17"/>
                    <a:pt x="17" y="17"/>
                    <a:pt x="17" y="17"/>
                  </a:cubicBezTo>
                  <a:lnTo>
                    <a:pt x="1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1" name="Picture 13" descr="Afficher l'image d'origine">
            <a:extLst>
              <a:ext uri="{FF2B5EF4-FFF2-40B4-BE49-F238E27FC236}">
                <a16:creationId xmlns:a16="http://schemas.microsoft.com/office/drawing/2014/main" id="{8B373D85-3F0D-4999-B8D8-E3A6010F07A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53971" y="1734933"/>
            <a:ext cx="828000" cy="15456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RÃ©sultat de recherche d'images pour &quot;bureau van dijk&quot;">
            <a:extLst>
              <a:ext uri="{FF2B5EF4-FFF2-40B4-BE49-F238E27FC236}">
                <a16:creationId xmlns:a16="http://schemas.microsoft.com/office/drawing/2014/main" id="{21E23008-4ED6-49EF-974F-E8C961C19A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69694" y="1542029"/>
            <a:ext cx="737940" cy="335382"/>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F9F91A28-FE2F-4E36-A61A-ADBDE39508B1}"/>
              </a:ext>
            </a:extLst>
          </p:cNvPr>
          <p:cNvSpPr txBox="1"/>
          <p:nvPr/>
        </p:nvSpPr>
        <p:spPr>
          <a:xfrm>
            <a:off x="5906713" y="1676463"/>
            <a:ext cx="939681" cy="246221"/>
          </a:xfrm>
          <a:prstGeom prst="rect">
            <a:avLst/>
          </a:prstGeom>
          <a:noFill/>
        </p:spPr>
        <p:txBody>
          <a:bodyPr wrap="none" rtlCol="0">
            <a:spAutoFit/>
          </a:bodyPr>
          <a:lstStyle/>
          <a:p>
            <a:r>
              <a:rPr lang="en-GB" sz="1000">
                <a:latin typeface="Trebuchet MS" panose="020B0603020202020204" pitchFamily="34" charset="0"/>
              </a:rPr>
              <a:t>Local players</a:t>
            </a:r>
          </a:p>
        </p:txBody>
      </p:sp>
      <p:grpSp>
        <p:nvGrpSpPr>
          <p:cNvPr id="190" name="Groupe 221">
            <a:extLst>
              <a:ext uri="{FF2B5EF4-FFF2-40B4-BE49-F238E27FC236}">
                <a16:creationId xmlns:a16="http://schemas.microsoft.com/office/drawing/2014/main" id="{C52C25C3-A9D4-4948-BE92-2631C30E4AAC}"/>
              </a:ext>
            </a:extLst>
          </p:cNvPr>
          <p:cNvGrpSpPr/>
          <p:nvPr/>
        </p:nvGrpSpPr>
        <p:grpSpPr>
          <a:xfrm>
            <a:off x="7067908" y="1734933"/>
            <a:ext cx="2564949" cy="2327157"/>
            <a:chOff x="3068100" y="4317981"/>
            <a:chExt cx="2110479" cy="1371894"/>
          </a:xfrm>
        </p:grpSpPr>
        <p:sp>
          <p:nvSpPr>
            <p:cNvPr id="191" name="Rectangle 190">
              <a:extLst>
                <a:ext uri="{FF2B5EF4-FFF2-40B4-BE49-F238E27FC236}">
                  <a16:creationId xmlns:a16="http://schemas.microsoft.com/office/drawing/2014/main" id="{84EA73DA-23CC-4DE4-9658-2A0DD618CDC9}"/>
                </a:ext>
              </a:extLst>
            </p:cNvPr>
            <p:cNvSpPr/>
            <p:nvPr/>
          </p:nvSpPr>
          <p:spPr bwMode="auto">
            <a:xfrm>
              <a:off x="3193778" y="4317981"/>
              <a:ext cx="1984801" cy="1371894"/>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t" anchorCtr="0" compatLnSpc="1">
              <a:prstTxWarp prst="textNoShape">
                <a:avLst/>
              </a:prstTxWarp>
            </a:bodyPr>
            <a:lstStyle/>
            <a:p>
              <a:r>
                <a:rPr lang="en-GB" sz="1000" i="1">
                  <a:latin typeface="Trebuchet MS" pitchFamily="34" charset="0"/>
                </a:rPr>
                <a:t>“Very good experience, fast purchase, good </a:t>
              </a:r>
              <a:r>
                <a:rPr lang="en-GB" sz="1000" i="1">
                  <a:solidFill>
                    <a:schemeClr val="tx2"/>
                  </a:solidFill>
                  <a:latin typeface="Trebuchet MS" pitchFamily="34" charset="0"/>
                </a:rPr>
                <a:t>data quality</a:t>
              </a:r>
              <a:r>
                <a:rPr lang="en-GB" sz="1000" i="1">
                  <a:latin typeface="Trebuchet MS" pitchFamily="34" charset="0"/>
                </a:rPr>
                <a:t>, bounce rate inferior to 1% on my first email campaign on a sample of more than 13,000 lines. My client </a:t>
              </a:r>
              <a:r>
                <a:rPr lang="en-GB" sz="1000" i="1">
                  <a:solidFill>
                    <a:schemeClr val="tx2"/>
                  </a:solidFill>
                  <a:latin typeface="Trebuchet MS" pitchFamily="34" charset="0"/>
                </a:rPr>
                <a:t>obtained several contacts </a:t>
              </a:r>
              <a:r>
                <a:rPr lang="en-GB" sz="1000" i="1">
                  <a:latin typeface="Trebuchet MS" pitchFamily="34" charset="0"/>
                </a:rPr>
                <a:t>following the campaign.”</a:t>
              </a:r>
            </a:p>
            <a:p>
              <a:endParaRPr lang="en-GB" sz="1000" i="1">
                <a:latin typeface="Trebuchet MS" pitchFamily="34" charset="0"/>
              </a:endParaRPr>
            </a:p>
            <a:p>
              <a:r>
                <a:rPr kumimoji="0" lang="en-GB" sz="1000" b="0" i="1" u="none" strike="noStrike" cap="none" normalizeH="0" baseline="0">
                  <a:ln>
                    <a:noFill/>
                  </a:ln>
                  <a:effectLst/>
                  <a:latin typeface="Trebuchet MS" pitchFamily="34" charset="0"/>
                </a:rPr>
                <a:t>ABC Digital Touch (</a:t>
              </a:r>
              <a:r>
                <a:rPr kumimoji="0" lang="en-GB" sz="1000" b="0" i="1" u="none" strike="noStrike" cap="none" normalizeH="0" baseline="0" err="1">
                  <a:ln>
                    <a:noFill/>
                  </a:ln>
                  <a:effectLst/>
                  <a:latin typeface="Trebuchet MS" pitchFamily="34" charset="0"/>
                </a:rPr>
                <a:t>Manageo</a:t>
              </a:r>
              <a:r>
                <a:rPr kumimoji="0" lang="en-GB" sz="1000" b="0" i="1" u="none" strike="noStrike" cap="none" normalizeH="0" baseline="0">
                  <a:ln>
                    <a:noFill/>
                  </a:ln>
                  <a:effectLst/>
                  <a:latin typeface="Trebuchet MS" pitchFamily="34" charset="0"/>
                </a:rPr>
                <a:t> Customer feedback) </a:t>
              </a:r>
            </a:p>
          </p:txBody>
        </p:sp>
        <p:sp>
          <p:nvSpPr>
            <p:cNvPr id="192" name="Freeform 663">
              <a:extLst>
                <a:ext uri="{FF2B5EF4-FFF2-40B4-BE49-F238E27FC236}">
                  <a16:creationId xmlns:a16="http://schemas.microsoft.com/office/drawing/2014/main" id="{96E1325C-0390-4F62-8C93-1D74EB387935}"/>
                </a:ext>
              </a:extLst>
            </p:cNvPr>
            <p:cNvSpPr>
              <a:spLocks noChangeAspect="1" noEditPoints="1"/>
            </p:cNvSpPr>
            <p:nvPr/>
          </p:nvSpPr>
          <p:spPr bwMode="auto">
            <a:xfrm>
              <a:off x="3068100" y="4869351"/>
              <a:ext cx="277250" cy="194694"/>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grpSp>
        <p:nvGrpSpPr>
          <p:cNvPr id="134" name="Groupe 133">
            <a:extLst>
              <a:ext uri="{FF2B5EF4-FFF2-40B4-BE49-F238E27FC236}">
                <a16:creationId xmlns:a16="http://schemas.microsoft.com/office/drawing/2014/main" id="{0C803A0A-CB26-47A7-B009-38C8F3A22318}"/>
              </a:ext>
            </a:extLst>
          </p:cNvPr>
          <p:cNvGrpSpPr/>
          <p:nvPr/>
        </p:nvGrpSpPr>
        <p:grpSpPr>
          <a:xfrm>
            <a:off x="8384063" y="-11528"/>
            <a:ext cx="1499635" cy="588143"/>
            <a:chOff x="8384063" y="-11528"/>
            <a:chExt cx="1499635" cy="588143"/>
          </a:xfrm>
        </p:grpSpPr>
        <p:sp>
          <p:nvSpPr>
            <p:cNvPr id="139" name="Rectangle : coins arrondis 199">
              <a:extLst>
                <a:ext uri="{FF2B5EF4-FFF2-40B4-BE49-F238E27FC236}">
                  <a16:creationId xmlns:a16="http://schemas.microsoft.com/office/drawing/2014/main" id="{A7BE8061-45C8-4AE0-BB3F-8CDE3EB2E19B}"/>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0" name="Rectangle : coins arrondis 200">
              <a:extLst>
                <a:ext uri="{FF2B5EF4-FFF2-40B4-BE49-F238E27FC236}">
                  <a16:creationId xmlns:a16="http://schemas.microsoft.com/office/drawing/2014/main" id="{FD062457-869E-4FEA-A5C8-4418946D58AA}"/>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1" name="Rectangle : coins arrondis 201">
              <a:extLst>
                <a:ext uri="{FF2B5EF4-FFF2-40B4-BE49-F238E27FC236}">
                  <a16:creationId xmlns:a16="http://schemas.microsoft.com/office/drawing/2014/main" id="{1259519B-8257-42D7-9F09-96BFF4423624}"/>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2" name="ZoneTexte 18">
              <a:extLst>
                <a:ext uri="{FF2B5EF4-FFF2-40B4-BE49-F238E27FC236}">
                  <a16:creationId xmlns:a16="http://schemas.microsoft.com/office/drawing/2014/main" id="{B1A5C9A7-F94D-46D6-84A9-8335A306CF0B}"/>
                </a:ext>
              </a:extLst>
            </p:cNvPr>
            <p:cNvSpPr txBox="1"/>
            <p:nvPr/>
          </p:nvSpPr>
          <p:spPr>
            <a:xfrm>
              <a:off x="8384063" y="-11528"/>
              <a:ext cx="1409923"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value proposition</a:t>
              </a:r>
            </a:p>
          </p:txBody>
        </p:sp>
        <p:pic>
          <p:nvPicPr>
            <p:cNvPr id="143" name="Graphique 128" descr="Jauge">
              <a:extLst>
                <a:ext uri="{FF2B5EF4-FFF2-40B4-BE49-F238E27FC236}">
                  <a16:creationId xmlns:a16="http://schemas.microsoft.com/office/drawing/2014/main" id="{AF37E75A-90B5-403F-BDCD-5829BA467FB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3764" y="187516"/>
              <a:ext cx="234953" cy="218224"/>
            </a:xfrm>
            <a:prstGeom prst="rect">
              <a:avLst/>
            </a:prstGeom>
            <a:effectLst/>
          </p:spPr>
        </p:pic>
        <p:pic>
          <p:nvPicPr>
            <p:cNvPr id="144" name="Graphique 90" descr="Poignée de main">
              <a:extLst>
                <a:ext uri="{FF2B5EF4-FFF2-40B4-BE49-F238E27FC236}">
                  <a16:creationId xmlns:a16="http://schemas.microsoft.com/office/drawing/2014/main" id="{9C1D7DBD-9865-412D-89EA-01572834F91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60868" y="152880"/>
              <a:ext cx="256313" cy="287496"/>
            </a:xfrm>
            <a:prstGeom prst="rect">
              <a:avLst/>
            </a:prstGeom>
            <a:effectLst/>
          </p:spPr>
        </p:pic>
        <p:pic>
          <p:nvPicPr>
            <p:cNvPr id="145" name="Graphique 74" descr="Mégaphone">
              <a:extLst>
                <a:ext uri="{FF2B5EF4-FFF2-40B4-BE49-F238E27FC236}">
                  <a16:creationId xmlns:a16="http://schemas.microsoft.com/office/drawing/2014/main" id="{55D74905-CB3A-4306-B17A-258C44EDA3D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89331" y="181519"/>
              <a:ext cx="233011" cy="216420"/>
            </a:xfrm>
            <a:prstGeom prst="rect">
              <a:avLst/>
            </a:prstGeom>
            <a:effectLst/>
          </p:spPr>
        </p:pic>
        <p:pic>
          <p:nvPicPr>
            <p:cNvPr id="146" name="Picture 2" descr="Drapeau France">
              <a:extLst>
                <a:ext uri="{FF2B5EF4-FFF2-40B4-BE49-F238E27FC236}">
                  <a16:creationId xmlns:a16="http://schemas.microsoft.com/office/drawing/2014/main" id="{97C72CFB-A0D1-4192-BD2B-735CF90FFA43}"/>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47" name="Picture 2" descr="5 ft x 3 ft 150 x 90 cm-DRAPEAU BELGE Belgique 100% Polyester ...">
              <a:extLst>
                <a:ext uri="{FF2B5EF4-FFF2-40B4-BE49-F238E27FC236}">
                  <a16:creationId xmlns:a16="http://schemas.microsoft.com/office/drawing/2014/main" id="{EC3CDB18-A014-4C30-BA4D-CE55FEA27B2F}"/>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48" name="Picture 2 - 1" descr="Drapeau des Pays-Bas — Wikipédia">
              <a:extLst>
                <a:ext uri="{FF2B5EF4-FFF2-40B4-BE49-F238E27FC236}">
                  <a16:creationId xmlns:a16="http://schemas.microsoft.com/office/drawing/2014/main" id="{6D4EC336-CB97-40BC-9AAA-6C79771574C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49" name="Picture 2 - 2" descr="Drapeau du Luxembourg">
              <a:extLst>
                <a:ext uri="{FF2B5EF4-FFF2-40B4-BE49-F238E27FC236}">
                  <a16:creationId xmlns:a16="http://schemas.microsoft.com/office/drawing/2014/main" id="{25AB39DF-3B1A-47E4-909B-9B7D22DFFAF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50" name="ZoneTexte 18">
              <a:extLst>
                <a:ext uri="{FF2B5EF4-FFF2-40B4-BE49-F238E27FC236}">
                  <a16:creationId xmlns:a16="http://schemas.microsoft.com/office/drawing/2014/main" id="{DD5621E8-B6F0-4B6E-9774-09049869EBAB}"/>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2B Marketing</a:t>
              </a:r>
            </a:p>
          </p:txBody>
        </p:sp>
      </p:grpSp>
      <p:pic>
        <p:nvPicPr>
          <p:cNvPr id="152" name="Picture 4" descr="Altares">
            <a:extLst>
              <a:ext uri="{FF2B5EF4-FFF2-40B4-BE49-F238E27FC236}">
                <a16:creationId xmlns:a16="http://schemas.microsoft.com/office/drawing/2014/main" id="{65DD4AF1-13EF-44C7-97EC-D6622D26EA7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511979" y="1398869"/>
            <a:ext cx="459515" cy="274490"/>
          </a:xfrm>
          <a:prstGeom prst="rect">
            <a:avLst/>
          </a:prstGeom>
          <a:noFill/>
          <a:extLst>
            <a:ext uri="{909E8E84-426E-40DD-AFC4-6F175D3DCCD1}">
              <a14:hiddenFill xmlns:a14="http://schemas.microsoft.com/office/drawing/2010/main">
                <a:solidFill>
                  <a:srgbClr val="FFFFFF"/>
                </a:solidFill>
              </a14:hiddenFill>
            </a:ext>
          </a:extLst>
        </p:spPr>
      </p:pic>
      <p:pic>
        <p:nvPicPr>
          <p:cNvPr id="90118" name="Picture 6">
            <a:extLst>
              <a:ext uri="{FF2B5EF4-FFF2-40B4-BE49-F238E27FC236}">
                <a16:creationId xmlns:a16="http://schemas.microsoft.com/office/drawing/2014/main" id="{F4BC143E-4AFA-4648-BF4C-D402979895DD}"/>
              </a:ext>
            </a:extLst>
          </p:cNvPr>
          <p:cNvPicPr>
            <a:picLocks noChangeAspect="1" noChangeArrowheads="1"/>
          </p:cNvPicPr>
          <p:nvPr/>
        </p:nvPicPr>
        <p:blipFill>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237164" y="1673359"/>
            <a:ext cx="838982" cy="282559"/>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ABC Digital touch">
            <a:extLst>
              <a:ext uri="{FF2B5EF4-FFF2-40B4-BE49-F238E27FC236}">
                <a16:creationId xmlns:a16="http://schemas.microsoft.com/office/drawing/2014/main" id="{28B3976C-FE12-4F22-9179-3374AD46A83F}"/>
              </a:ext>
            </a:extLst>
          </p:cNvPr>
          <p:cNvPicPr>
            <a:picLocks noChangeAspect="1" noChangeArrowheads="1"/>
          </p:cNvPicPr>
          <p:nvPr/>
        </p:nvPicPr>
        <p:blipFill>
          <a:blip r:embed="rId20">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8289850" y="3350434"/>
            <a:ext cx="1324474" cy="609258"/>
          </a:xfrm>
          <a:prstGeom prst="rect">
            <a:avLst/>
          </a:prstGeom>
          <a:noFill/>
          <a:extLst>
            <a:ext uri="{909E8E84-426E-40DD-AFC4-6F175D3DCCD1}">
              <a14:hiddenFill xmlns:a14="http://schemas.microsoft.com/office/drawing/2010/main">
                <a:solidFill>
                  <a:srgbClr val="FFFFFF"/>
                </a:solidFill>
              </a14:hiddenFill>
            </a:ext>
          </a:extLst>
        </p:spPr>
      </p:pic>
      <p:grpSp>
        <p:nvGrpSpPr>
          <p:cNvPr id="153" name="Groupe 221">
            <a:extLst>
              <a:ext uri="{FF2B5EF4-FFF2-40B4-BE49-F238E27FC236}">
                <a16:creationId xmlns:a16="http://schemas.microsoft.com/office/drawing/2014/main" id="{8C24125F-FB70-4F8A-A171-E957B41C04B6}"/>
              </a:ext>
            </a:extLst>
          </p:cNvPr>
          <p:cNvGrpSpPr/>
          <p:nvPr/>
        </p:nvGrpSpPr>
        <p:grpSpPr>
          <a:xfrm>
            <a:off x="7067908" y="4389527"/>
            <a:ext cx="2564949" cy="1748425"/>
            <a:chOff x="3068100" y="4483229"/>
            <a:chExt cx="2110479" cy="1030723"/>
          </a:xfrm>
        </p:grpSpPr>
        <p:sp>
          <p:nvSpPr>
            <p:cNvPr id="154" name="Rectangle 153">
              <a:extLst>
                <a:ext uri="{FF2B5EF4-FFF2-40B4-BE49-F238E27FC236}">
                  <a16:creationId xmlns:a16="http://schemas.microsoft.com/office/drawing/2014/main" id="{BB60A36A-33B8-4066-8289-2CDC88F5AF3F}"/>
                </a:ext>
              </a:extLst>
            </p:cNvPr>
            <p:cNvSpPr/>
            <p:nvPr/>
          </p:nvSpPr>
          <p:spPr bwMode="auto">
            <a:xfrm>
              <a:off x="3193778" y="4483229"/>
              <a:ext cx="1984801" cy="1030723"/>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t" anchorCtr="0" compatLnSpc="1">
              <a:prstTxWarp prst="textNoShape">
                <a:avLst/>
              </a:prstTxWarp>
            </a:bodyPr>
            <a:lstStyle/>
            <a:p>
              <a:r>
                <a:rPr lang="en-GB" sz="1000" i="1">
                  <a:latin typeface="Trebuchet MS" pitchFamily="34" charset="0"/>
                </a:rPr>
                <a:t>“</a:t>
              </a:r>
              <a:r>
                <a:rPr lang="en-GB" sz="1000" i="1" err="1">
                  <a:latin typeface="Trebuchet MS" pitchFamily="34" charset="0"/>
                </a:rPr>
                <a:t>Manageo</a:t>
              </a:r>
              <a:r>
                <a:rPr lang="en-GB" sz="1000" i="1">
                  <a:latin typeface="Trebuchet MS" pitchFamily="34" charset="0"/>
                </a:rPr>
                <a:t> database is </a:t>
              </a:r>
              <a:r>
                <a:rPr lang="en-GB" sz="1000" i="1">
                  <a:solidFill>
                    <a:schemeClr val="tx2"/>
                  </a:solidFill>
                  <a:latin typeface="Trebuchet MS" pitchFamily="34" charset="0"/>
                </a:rPr>
                <a:t>very rich and comprehensive</a:t>
              </a:r>
              <a:r>
                <a:rPr lang="en-GB" sz="1000" i="1">
                  <a:latin typeface="Trebuchet MS" pitchFamily="34" charset="0"/>
                </a:rPr>
                <a:t>. Working as director of a small business, lead generation is </a:t>
              </a:r>
              <a:r>
                <a:rPr lang="en-GB" sz="1000" i="1">
                  <a:solidFill>
                    <a:schemeClr val="tx2"/>
                  </a:solidFill>
                  <a:latin typeface="Trebuchet MS" pitchFamily="34" charset="0"/>
                </a:rPr>
                <a:t>easily accessible </a:t>
              </a:r>
              <a:r>
                <a:rPr lang="en-GB" sz="1000" i="1">
                  <a:latin typeface="Trebuchet MS" pitchFamily="34" charset="0"/>
                </a:rPr>
                <a:t>for my company. </a:t>
              </a:r>
              <a:r>
                <a:rPr lang="en-GB" sz="1000" i="1" err="1">
                  <a:latin typeface="Trebuchet MS" pitchFamily="34" charset="0"/>
                </a:rPr>
                <a:t>Manageo</a:t>
              </a:r>
              <a:r>
                <a:rPr lang="en-GB" sz="1000" i="1">
                  <a:latin typeface="Trebuchet MS" pitchFamily="34" charset="0"/>
                </a:rPr>
                <a:t> solutions are easy to handle and have a </a:t>
              </a:r>
              <a:r>
                <a:rPr lang="en-GB" sz="1000" i="1">
                  <a:solidFill>
                    <a:schemeClr val="tx2"/>
                  </a:solidFill>
                  <a:latin typeface="Trebuchet MS" pitchFamily="34" charset="0"/>
                </a:rPr>
                <a:t>reasonable price. </a:t>
              </a:r>
              <a:r>
                <a:rPr lang="en-GB" sz="1000" i="1">
                  <a:latin typeface="Trebuchet MS" pitchFamily="34" charset="0"/>
                </a:rPr>
                <a:t>The customer service is easily accessible.” </a:t>
              </a:r>
            </a:p>
            <a:p>
              <a:endParaRPr lang="en-GB" sz="1000" i="1">
                <a:latin typeface="Trebuchet MS" pitchFamily="34" charset="0"/>
              </a:endParaRPr>
            </a:p>
            <a:p>
              <a:r>
                <a:rPr kumimoji="0" lang="en-GB" sz="1000" b="0" i="1" u="none" strike="noStrike" cap="none" normalizeH="0" baseline="0">
                  <a:ln>
                    <a:noFill/>
                  </a:ln>
                  <a:effectLst/>
                  <a:latin typeface="Trebuchet MS" pitchFamily="34" charset="0"/>
                </a:rPr>
                <a:t>Small business director (</a:t>
              </a:r>
              <a:r>
                <a:rPr kumimoji="0" lang="en-GB" sz="1000" b="0" i="1" u="none" strike="noStrike" cap="none" normalizeH="0" baseline="0" err="1">
                  <a:ln>
                    <a:noFill/>
                  </a:ln>
                  <a:effectLst/>
                  <a:latin typeface="Trebuchet MS" pitchFamily="34" charset="0"/>
                </a:rPr>
                <a:t>Manageo</a:t>
              </a:r>
              <a:r>
                <a:rPr kumimoji="0" lang="en-GB" sz="1000" b="0" i="1" u="none" strike="noStrike" cap="none" normalizeH="0" baseline="0">
                  <a:ln>
                    <a:noFill/>
                  </a:ln>
                  <a:effectLst/>
                  <a:latin typeface="Trebuchet MS" pitchFamily="34" charset="0"/>
                </a:rPr>
                <a:t> Customer feedback) </a:t>
              </a:r>
            </a:p>
          </p:txBody>
        </p:sp>
        <p:sp>
          <p:nvSpPr>
            <p:cNvPr id="156" name="Freeform 663">
              <a:extLst>
                <a:ext uri="{FF2B5EF4-FFF2-40B4-BE49-F238E27FC236}">
                  <a16:creationId xmlns:a16="http://schemas.microsoft.com/office/drawing/2014/main" id="{BFAE6B84-32BA-4F1B-9D1F-DDE9F125B538}"/>
                </a:ext>
              </a:extLst>
            </p:cNvPr>
            <p:cNvSpPr>
              <a:spLocks noChangeAspect="1" noEditPoints="1"/>
            </p:cNvSpPr>
            <p:nvPr/>
          </p:nvSpPr>
          <p:spPr bwMode="auto">
            <a:xfrm>
              <a:off x="3068100" y="4869351"/>
              <a:ext cx="277250" cy="194694"/>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grpSp>
        <p:nvGrpSpPr>
          <p:cNvPr id="158" name="Groupe 157">
            <a:extLst>
              <a:ext uri="{FF2B5EF4-FFF2-40B4-BE49-F238E27FC236}">
                <a16:creationId xmlns:a16="http://schemas.microsoft.com/office/drawing/2014/main" id="{652685C7-67F0-4A91-B799-6D0AA211E85A}"/>
              </a:ext>
            </a:extLst>
          </p:cNvPr>
          <p:cNvGrpSpPr/>
          <p:nvPr/>
        </p:nvGrpSpPr>
        <p:grpSpPr>
          <a:xfrm>
            <a:off x="3277762" y="6228383"/>
            <a:ext cx="3439480" cy="246221"/>
            <a:chOff x="5094397" y="5884496"/>
            <a:chExt cx="3439480" cy="246221"/>
          </a:xfrm>
        </p:grpSpPr>
        <p:sp>
          <p:nvSpPr>
            <p:cNvPr id="159" name="TextBox 99">
              <a:extLst>
                <a:ext uri="{FF2B5EF4-FFF2-40B4-BE49-F238E27FC236}">
                  <a16:creationId xmlns:a16="http://schemas.microsoft.com/office/drawing/2014/main" id="{3EBDE634-4401-42DE-8181-2BE19193FEAE}"/>
                </a:ext>
              </a:extLst>
            </p:cNvPr>
            <p:cNvSpPr txBox="1"/>
            <p:nvPr/>
          </p:nvSpPr>
          <p:spPr>
            <a:xfrm>
              <a:off x="5099085"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2.8</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pic>
          <p:nvPicPr>
            <p:cNvPr id="160" name="Graphique 159" descr="Couronne">
              <a:extLst>
                <a:ext uri="{FF2B5EF4-FFF2-40B4-BE49-F238E27FC236}">
                  <a16:creationId xmlns:a16="http://schemas.microsoft.com/office/drawing/2014/main" id="{CE9143CD-AEBC-44B9-9E8A-44604BFF209D}"/>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094397" y="5887816"/>
              <a:ext cx="197538" cy="197538"/>
            </a:xfrm>
            <a:prstGeom prst="rect">
              <a:avLst/>
            </a:prstGeom>
          </p:spPr>
        </p:pic>
        <p:sp>
          <p:nvSpPr>
            <p:cNvPr id="161" name="TextBox 99">
              <a:extLst>
                <a:ext uri="{FF2B5EF4-FFF2-40B4-BE49-F238E27FC236}">
                  <a16:creationId xmlns:a16="http://schemas.microsoft.com/office/drawing/2014/main" id="{91ABD05F-C8D1-4C42-AD7B-B7C2B01A00D8}"/>
                </a:ext>
              </a:extLst>
            </p:cNvPr>
            <p:cNvSpPr txBox="1"/>
            <p:nvPr/>
          </p:nvSpPr>
          <p:spPr>
            <a:xfrm>
              <a:off x="5938200"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1.8</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sp>
          <p:nvSpPr>
            <p:cNvPr id="162" name="TextBox 99">
              <a:extLst>
                <a:ext uri="{FF2B5EF4-FFF2-40B4-BE49-F238E27FC236}">
                  <a16:creationId xmlns:a16="http://schemas.microsoft.com/office/drawing/2014/main" id="{B974EF32-2508-468A-BADD-CAD40944FD8C}"/>
                </a:ext>
              </a:extLst>
            </p:cNvPr>
            <p:cNvSpPr txBox="1"/>
            <p:nvPr/>
          </p:nvSpPr>
          <p:spPr>
            <a:xfrm>
              <a:off x="6862468"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2.0</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sp>
          <p:nvSpPr>
            <p:cNvPr id="163" name="TextBox 99">
              <a:extLst>
                <a:ext uri="{FF2B5EF4-FFF2-40B4-BE49-F238E27FC236}">
                  <a16:creationId xmlns:a16="http://schemas.microsoft.com/office/drawing/2014/main" id="{058D2836-D066-4F68-9986-466BF2B736EB}"/>
                </a:ext>
              </a:extLst>
            </p:cNvPr>
            <p:cNvSpPr txBox="1"/>
            <p:nvPr/>
          </p:nvSpPr>
          <p:spPr>
            <a:xfrm>
              <a:off x="7873898"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1.4</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grpSp>
      <p:cxnSp>
        <p:nvCxnSpPr>
          <p:cNvPr id="164" name="Connecteur droit 163">
            <a:extLst>
              <a:ext uri="{FF2B5EF4-FFF2-40B4-BE49-F238E27FC236}">
                <a16:creationId xmlns:a16="http://schemas.microsoft.com/office/drawing/2014/main" id="{7B9DE1D2-5A91-404F-9074-B5C12A64F915}"/>
              </a:ext>
            </a:extLst>
          </p:cNvPr>
          <p:cNvCxnSpPr>
            <a:cxnSpLocks/>
          </p:cNvCxnSpPr>
          <p:nvPr/>
        </p:nvCxnSpPr>
        <p:spPr bwMode="auto">
          <a:xfrm>
            <a:off x="3093410" y="6214426"/>
            <a:ext cx="3735798" cy="0"/>
          </a:xfrm>
          <a:prstGeom prst="line">
            <a:avLst/>
          </a:prstGeom>
          <a:solidFill>
            <a:srgbClr val="26ACDE"/>
          </a:solidFill>
          <a:ln w="15875" cap="flat" cmpd="sng" algn="ctr">
            <a:solidFill>
              <a:srgbClr val="36964F"/>
            </a:solidFill>
            <a:prstDash val="solid"/>
            <a:round/>
            <a:headEnd type="none" w="med" len="med"/>
            <a:tailEnd type="none" w="med" len="med"/>
          </a:ln>
          <a:effectLst/>
        </p:spPr>
      </p:cxnSp>
      <p:sp>
        <p:nvSpPr>
          <p:cNvPr id="165" name="TextBox 99">
            <a:extLst>
              <a:ext uri="{FF2B5EF4-FFF2-40B4-BE49-F238E27FC236}">
                <a16:creationId xmlns:a16="http://schemas.microsoft.com/office/drawing/2014/main" id="{1EF7BC05-E548-496A-8582-A587E9C86C2B}"/>
              </a:ext>
            </a:extLst>
          </p:cNvPr>
          <p:cNvSpPr txBox="1"/>
          <p:nvPr/>
        </p:nvSpPr>
        <p:spPr>
          <a:xfrm>
            <a:off x="507930" y="6242458"/>
            <a:ext cx="2650082" cy="2308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646464"/>
                </a:solidFill>
                <a:effectLst/>
                <a:uLnTx/>
                <a:uFillTx/>
                <a:latin typeface="Trebuchet MS" panose="020B0603020202020204" pitchFamily="34" charset="0"/>
              </a:rPr>
              <a:t>Weighted average</a:t>
            </a:r>
          </a:p>
        </p:txBody>
      </p:sp>
    </p:spTree>
    <p:extLst>
      <p:ext uri="{BB962C8B-B14F-4D97-AF65-F5344CB8AC3E}">
        <p14:creationId xmlns:p14="http://schemas.microsoft.com/office/powerpoint/2010/main" val="2590481141"/>
      </p:ext>
    </p:extLst>
  </p:cSld>
  <p:clrMapOvr>
    <a:masterClrMapping/>
  </p:clrMapOv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09F05D7A-9F64-4925-B51B-850210540FA8}"/>
              </a:ext>
            </a:extLst>
          </p:cNvPr>
          <p:cNvGraphicFramePr>
            <a:graphicFrameLocks noChangeAspect="1"/>
          </p:cNvGraphicFramePr>
          <p:nvPr>
            <p:custDataLst>
              <p:tags r:id="rId1"/>
            </p:custDataLst>
            <p:extLst>
              <p:ext uri="{D42A27DB-BD31-4B8C-83A1-F6EECF244321}">
                <p14:modId xmlns:p14="http://schemas.microsoft.com/office/powerpoint/2010/main" val="633156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5" name="Objet 14" hidden="1">
                        <a:extLst>
                          <a:ext uri="{FF2B5EF4-FFF2-40B4-BE49-F238E27FC236}">
                            <a16:creationId xmlns:a16="http://schemas.microsoft.com/office/drawing/2014/main" id="{09F05D7A-9F64-4925-B51B-850210540F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CFBA01E7-F206-4AE5-9F9D-58FF33C489AB}"/>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F17304C8-1013-4DB6-A689-61308C875A86}"/>
              </a:ext>
            </a:extLst>
          </p:cNvPr>
          <p:cNvSpPr>
            <a:spLocks noGrp="1"/>
          </p:cNvSpPr>
          <p:nvPr>
            <p:ph type="title"/>
          </p:nvPr>
        </p:nvSpPr>
        <p:spPr>
          <a:xfrm>
            <a:off x="165600" y="147600"/>
            <a:ext cx="8388164" cy="684000"/>
          </a:xfrm>
        </p:spPr>
        <p:txBody>
          <a:bodyPr/>
          <a:lstStyle/>
          <a:p>
            <a:r>
              <a:rPr lang="en-GB" err="1">
                <a:latin typeface="Trebuchet MS" panose="020B0603020202020204" pitchFamily="34" charset="0"/>
              </a:rPr>
              <a:t>Altares</a:t>
            </a:r>
            <a:r>
              <a:rPr lang="en-GB">
                <a:latin typeface="Trebuchet MS" panose="020B0603020202020204" pitchFamily="34" charset="0"/>
              </a:rPr>
              <a:t>’ </a:t>
            </a:r>
            <a:r>
              <a:rPr lang="en-GB">
                <a:solidFill>
                  <a:schemeClr val="tx2"/>
                </a:solidFill>
                <a:latin typeface="Trebuchet MS" panose="020B0603020202020204" pitchFamily="34" charset="0"/>
              </a:rPr>
              <a:t>strong and reliable brand image </a:t>
            </a:r>
            <a:r>
              <a:rPr lang="en-GB">
                <a:latin typeface="Trebuchet MS" panose="020B0603020202020204" pitchFamily="34" charset="0"/>
              </a:rPr>
              <a:t>has been proven over the years, </a:t>
            </a:r>
            <a:r>
              <a:rPr lang="en-GB" sz="1600">
                <a:latin typeface="Trebuchet MS" panose="020B0603020202020204" pitchFamily="34" charset="0"/>
              </a:rPr>
              <a:t>and has been reinforced during the </a:t>
            </a:r>
            <a:r>
              <a:rPr lang="en-GB" sz="1600">
                <a:solidFill>
                  <a:schemeClr val="tx2"/>
                </a:solidFill>
                <a:latin typeface="Trebuchet MS" panose="020B0603020202020204" pitchFamily="34" charset="0"/>
              </a:rPr>
              <a:t>Covid-19 crisis </a:t>
            </a:r>
            <a:r>
              <a:rPr lang="en-GB" sz="1600">
                <a:latin typeface="Trebuchet MS" panose="020B0603020202020204" pitchFamily="34" charset="0"/>
              </a:rPr>
              <a:t>as </a:t>
            </a:r>
            <a:r>
              <a:rPr lang="en-GB" sz="1600" err="1">
                <a:latin typeface="Trebuchet MS" panose="020B0603020202020204" pitchFamily="34" charset="0"/>
              </a:rPr>
              <a:t>Altares</a:t>
            </a:r>
            <a:r>
              <a:rPr lang="en-GB" sz="1600">
                <a:latin typeface="Trebuchet MS" panose="020B0603020202020204" pitchFamily="34" charset="0"/>
              </a:rPr>
              <a:t> has publicly reinforced its position of </a:t>
            </a:r>
            <a:r>
              <a:rPr lang="en-GB" sz="1600">
                <a:solidFill>
                  <a:schemeClr val="tx2"/>
                </a:solidFill>
                <a:latin typeface="Trebuchet MS" panose="020B0603020202020204" pitchFamily="34" charset="0"/>
              </a:rPr>
              <a:t>Credit risk expert</a:t>
            </a:r>
            <a:endParaRPr lang="en-GB">
              <a:solidFill>
                <a:schemeClr val="tx2"/>
              </a:solidFill>
              <a:latin typeface="Trebuchet MS" panose="020B0603020202020204" pitchFamily="34" charset="0"/>
            </a:endParaRPr>
          </a:p>
        </p:txBody>
      </p:sp>
      <p:sp>
        <p:nvSpPr>
          <p:cNvPr id="3" name="Espace réservé du texte 2">
            <a:extLst>
              <a:ext uri="{FF2B5EF4-FFF2-40B4-BE49-F238E27FC236}">
                <a16:creationId xmlns:a16="http://schemas.microsoft.com/office/drawing/2014/main" id="{1ACDE84F-2FAA-4631-99C2-5EC09A6CDDAD}"/>
              </a:ext>
            </a:extLst>
          </p:cNvPr>
          <p:cNvSpPr>
            <a:spLocks noGrp="1"/>
          </p:cNvSpPr>
          <p:nvPr>
            <p:ph type="body" sz="quarter" idx="10"/>
          </p:nvPr>
        </p:nvSpPr>
        <p:spPr/>
        <p:txBody>
          <a:bodyPr/>
          <a:lstStyle/>
          <a:p>
            <a:r>
              <a:rPr lang="en-GB" sz="800" i="1" kern="0"/>
              <a:t>Sources: eleven research &amp; analysis, company data, interviews with management</a:t>
            </a:r>
          </a:p>
          <a:p>
            <a:endParaRPr lang="en-GB"/>
          </a:p>
        </p:txBody>
      </p:sp>
      <p:pic>
        <p:nvPicPr>
          <p:cNvPr id="8" name="Image 7">
            <a:extLst>
              <a:ext uri="{FF2B5EF4-FFF2-40B4-BE49-F238E27FC236}">
                <a16:creationId xmlns:a16="http://schemas.microsoft.com/office/drawing/2014/main" id="{5EE6372C-65D1-4BCC-A8AE-30798D8F6168}"/>
              </a:ext>
            </a:extLst>
          </p:cNvPr>
          <p:cNvPicPr>
            <a:picLocks noChangeAspect="1"/>
          </p:cNvPicPr>
          <p:nvPr/>
        </p:nvPicPr>
        <p:blipFill rotWithShape="1">
          <a:blip r:embed="rId6"/>
          <a:srcRect l="4764"/>
          <a:stretch/>
        </p:blipFill>
        <p:spPr>
          <a:xfrm>
            <a:off x="5287007" y="3775710"/>
            <a:ext cx="2347901" cy="1670708"/>
          </a:xfrm>
          <a:prstGeom prst="rect">
            <a:avLst/>
          </a:prstGeom>
          <a:ln>
            <a:solidFill>
              <a:schemeClr val="bg1">
                <a:lumMod val="75000"/>
              </a:schemeClr>
            </a:solidFill>
          </a:ln>
          <a:effectLst>
            <a:outerShdw blurRad="50800" dist="38100" dir="2700000" algn="tl" rotWithShape="0">
              <a:prstClr val="black">
                <a:alpha val="40000"/>
              </a:prstClr>
            </a:outerShdw>
          </a:effectLst>
        </p:spPr>
      </p:pic>
      <p:cxnSp>
        <p:nvCxnSpPr>
          <p:cNvPr id="9" name="Connecteur droit 208">
            <a:extLst>
              <a:ext uri="{FF2B5EF4-FFF2-40B4-BE49-F238E27FC236}">
                <a16:creationId xmlns:a16="http://schemas.microsoft.com/office/drawing/2014/main" id="{F89FBE37-5835-4F93-8C35-44B8824EA9E8}"/>
              </a:ext>
            </a:extLst>
          </p:cNvPr>
          <p:cNvCxnSpPr>
            <a:cxnSpLocks/>
          </p:cNvCxnSpPr>
          <p:nvPr/>
        </p:nvCxnSpPr>
        <p:spPr bwMode="auto">
          <a:xfrm>
            <a:off x="384975" y="1098941"/>
            <a:ext cx="449609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0" name="Rectangle 84">
            <a:extLst>
              <a:ext uri="{FF2B5EF4-FFF2-40B4-BE49-F238E27FC236}">
                <a16:creationId xmlns:a16="http://schemas.microsoft.com/office/drawing/2014/main" id="{A24ED5A0-1358-4871-B3FE-C1462670F233}"/>
              </a:ext>
            </a:extLst>
          </p:cNvPr>
          <p:cNvSpPr/>
          <p:nvPr/>
        </p:nvSpPr>
        <p:spPr bwMode="auto">
          <a:xfrm>
            <a:off x="1074343" y="943939"/>
            <a:ext cx="2971123" cy="259809"/>
          </a:xfrm>
          <a:prstGeom prst="rect">
            <a:avLst/>
          </a:prstGeom>
          <a:solidFill>
            <a:schemeClr val="bg1"/>
          </a:solidFill>
        </p:spPr>
        <p:txBody>
          <a:bodyPr wrap="square" rtlCol="0">
            <a:noAutofit/>
          </a:bodyPr>
          <a:lstStyle/>
          <a:p>
            <a:pPr algn="ctr"/>
            <a:r>
              <a:rPr lang="en-GB" sz="1100" err="1">
                <a:latin typeface="Trebuchet MS" panose="020B0603020202020204" pitchFamily="34" charset="0"/>
              </a:rPr>
              <a:t>Altares</a:t>
            </a:r>
            <a:r>
              <a:rPr lang="en-GB" sz="1100">
                <a:latin typeface="Trebuchet MS" panose="020B0603020202020204" pitchFamily="34" charset="0"/>
              </a:rPr>
              <a:t> </a:t>
            </a:r>
            <a:r>
              <a:rPr lang="en-GB" sz="1100">
                <a:solidFill>
                  <a:schemeClr val="tx2"/>
                </a:solidFill>
                <a:latin typeface="Trebuchet MS" panose="020B0603020202020204" pitchFamily="34" charset="0"/>
              </a:rPr>
              <a:t>strong brand image </a:t>
            </a:r>
            <a:r>
              <a:rPr lang="en-GB" sz="1100">
                <a:latin typeface="Trebuchet MS" panose="020B0603020202020204" pitchFamily="34" charset="0"/>
              </a:rPr>
              <a:t>has been proven over the years…</a:t>
            </a:r>
          </a:p>
        </p:txBody>
      </p:sp>
      <p:cxnSp>
        <p:nvCxnSpPr>
          <p:cNvPr id="17" name="Connecteur droit 208">
            <a:extLst>
              <a:ext uri="{FF2B5EF4-FFF2-40B4-BE49-F238E27FC236}">
                <a16:creationId xmlns:a16="http://schemas.microsoft.com/office/drawing/2014/main" id="{A18FACF5-0A30-41E0-BFA8-4C66D9BF7950}"/>
              </a:ext>
            </a:extLst>
          </p:cNvPr>
          <p:cNvCxnSpPr>
            <a:cxnSpLocks/>
          </p:cNvCxnSpPr>
          <p:nvPr/>
        </p:nvCxnSpPr>
        <p:spPr bwMode="auto">
          <a:xfrm>
            <a:off x="4953000" y="1098941"/>
            <a:ext cx="449609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3" name="Rectangle 84">
            <a:extLst>
              <a:ext uri="{FF2B5EF4-FFF2-40B4-BE49-F238E27FC236}">
                <a16:creationId xmlns:a16="http://schemas.microsoft.com/office/drawing/2014/main" id="{858E12F6-4DE2-4CC9-9132-62FAD7B8D00A}"/>
              </a:ext>
            </a:extLst>
          </p:cNvPr>
          <p:cNvSpPr/>
          <p:nvPr/>
        </p:nvSpPr>
        <p:spPr bwMode="auto">
          <a:xfrm>
            <a:off x="5349862" y="943939"/>
            <a:ext cx="3595059" cy="259809"/>
          </a:xfrm>
          <a:prstGeom prst="rect">
            <a:avLst/>
          </a:prstGeom>
          <a:solidFill>
            <a:schemeClr val="bg1"/>
          </a:solidFill>
        </p:spPr>
        <p:txBody>
          <a:bodyPr wrap="square" rtlCol="0">
            <a:noAutofit/>
          </a:bodyPr>
          <a:lstStyle/>
          <a:p>
            <a:pPr algn="ctr"/>
            <a:r>
              <a:rPr lang="en-GB" sz="1100">
                <a:latin typeface="Trebuchet MS" panose="020B0603020202020204" pitchFamily="34" charset="0"/>
              </a:rPr>
              <a:t>… and has been </a:t>
            </a:r>
            <a:r>
              <a:rPr lang="en-GB" sz="1100">
                <a:solidFill>
                  <a:schemeClr val="tx2"/>
                </a:solidFill>
                <a:latin typeface="Trebuchet MS" panose="020B0603020202020204" pitchFamily="34" charset="0"/>
              </a:rPr>
              <a:t>reinforced during the Covid-19 </a:t>
            </a:r>
            <a:r>
              <a:rPr lang="en-GB" sz="1100">
                <a:latin typeface="Trebuchet MS" panose="020B0603020202020204" pitchFamily="34" charset="0"/>
              </a:rPr>
              <a:t>crisis as </a:t>
            </a:r>
            <a:r>
              <a:rPr lang="en-GB" sz="1100" err="1">
                <a:latin typeface="Trebuchet MS" panose="020B0603020202020204" pitchFamily="34" charset="0"/>
              </a:rPr>
              <a:t>Altares</a:t>
            </a:r>
            <a:r>
              <a:rPr lang="en-GB" sz="1100">
                <a:latin typeface="Trebuchet MS" panose="020B0603020202020204" pitchFamily="34" charset="0"/>
              </a:rPr>
              <a:t> is recognized as a Credit risk expert</a:t>
            </a:r>
          </a:p>
        </p:txBody>
      </p:sp>
      <p:sp>
        <p:nvSpPr>
          <p:cNvPr id="20" name="Rectangle 19">
            <a:extLst>
              <a:ext uri="{FF2B5EF4-FFF2-40B4-BE49-F238E27FC236}">
                <a16:creationId xmlns:a16="http://schemas.microsoft.com/office/drawing/2014/main" id="{42ECEECB-2DFE-4ECF-A59B-603E67516C89}"/>
              </a:ext>
            </a:extLst>
          </p:cNvPr>
          <p:cNvSpPr/>
          <p:nvPr/>
        </p:nvSpPr>
        <p:spPr bwMode="auto">
          <a:xfrm>
            <a:off x="368674" y="1330094"/>
            <a:ext cx="4496099" cy="2445615"/>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600"/>
              </a:spcBef>
              <a:buClr>
                <a:schemeClr val="tx1"/>
              </a:buClr>
            </a:pPr>
            <a:r>
              <a:rPr lang="en-GB" sz="1000" i="1" err="1">
                <a:solidFill>
                  <a:schemeClr val="tx2"/>
                </a:solidFill>
                <a:latin typeface="Trebuchet MS" pitchFamily="34" charset="0"/>
              </a:rPr>
              <a:t>Altares</a:t>
            </a:r>
            <a:r>
              <a:rPr lang="en-GB" sz="1000" i="1">
                <a:solidFill>
                  <a:schemeClr val="tx2"/>
                </a:solidFill>
                <a:latin typeface="Trebuchet MS" pitchFamily="34" charset="0"/>
              </a:rPr>
              <a:t> marketing performance (S2 2020)</a:t>
            </a:r>
          </a:p>
          <a:p>
            <a:pPr algn="ctr">
              <a:spcBef>
                <a:spcPts val="600"/>
              </a:spcBef>
              <a:buClr>
                <a:schemeClr val="tx1"/>
              </a:buClr>
            </a:pPr>
            <a:endParaRPr lang="en-GB" sz="1000" i="1">
              <a:solidFill>
                <a:schemeClr val="tx2"/>
              </a:solidFill>
              <a:latin typeface="Trebuchet MS" pitchFamily="34" charset="0"/>
            </a:endParaRPr>
          </a:p>
          <a:p>
            <a:pPr algn="ctr">
              <a:spcBef>
                <a:spcPts val="600"/>
              </a:spcBef>
              <a:buClr>
                <a:schemeClr val="tx1"/>
              </a:buClr>
            </a:pPr>
            <a:endParaRPr lang="en-GB" sz="1000" i="1">
              <a:solidFill>
                <a:schemeClr val="tx2"/>
              </a:solidFill>
              <a:latin typeface="Trebuchet MS" pitchFamily="34" charset="0"/>
            </a:endParaRPr>
          </a:p>
          <a:p>
            <a:pPr algn="ctr">
              <a:spcBef>
                <a:spcPts val="600"/>
              </a:spcBef>
              <a:buClr>
                <a:schemeClr val="tx1"/>
              </a:buClr>
            </a:pPr>
            <a:endParaRPr lang="en-GB" sz="1000" i="1">
              <a:solidFill>
                <a:schemeClr val="tx2"/>
              </a:solidFill>
              <a:latin typeface="Trebuchet MS" pitchFamily="34" charset="0"/>
            </a:endParaRPr>
          </a:p>
        </p:txBody>
      </p:sp>
      <p:sp>
        <p:nvSpPr>
          <p:cNvPr id="16" name="ZoneTexte 15">
            <a:extLst>
              <a:ext uri="{FF2B5EF4-FFF2-40B4-BE49-F238E27FC236}">
                <a16:creationId xmlns:a16="http://schemas.microsoft.com/office/drawing/2014/main" id="{8429DA71-98FD-46D1-B42B-05EAFC3EA5B8}"/>
              </a:ext>
            </a:extLst>
          </p:cNvPr>
          <p:cNvSpPr txBox="1"/>
          <p:nvPr/>
        </p:nvSpPr>
        <p:spPr>
          <a:xfrm>
            <a:off x="7825776" y="6062928"/>
            <a:ext cx="1341458" cy="400110"/>
          </a:xfrm>
          <a:prstGeom prst="rect">
            <a:avLst/>
          </a:prstGeom>
          <a:noFill/>
        </p:spPr>
        <p:txBody>
          <a:bodyPr wrap="square" rtlCol="0">
            <a:spAutoFit/>
          </a:bodyPr>
          <a:lstStyle/>
          <a:p>
            <a:pPr algn="ctr"/>
            <a:r>
              <a:rPr lang="en-GB" sz="1000" i="1" err="1">
                <a:latin typeface="Trebuchet MS" panose="020B0603020202020204" pitchFamily="34" charset="0"/>
              </a:rPr>
              <a:t>Altares</a:t>
            </a:r>
            <a:r>
              <a:rPr lang="en-GB" sz="1000" i="1">
                <a:latin typeface="Trebuchet MS" panose="020B0603020202020204" pitchFamily="34" charset="0"/>
              </a:rPr>
              <a:t> </a:t>
            </a:r>
            <a:r>
              <a:rPr lang="en-GB" sz="1000" i="1" err="1">
                <a:latin typeface="Trebuchet MS" panose="020B0603020202020204" pitchFamily="34" charset="0"/>
              </a:rPr>
              <a:t>Youtube</a:t>
            </a:r>
            <a:r>
              <a:rPr lang="en-GB" sz="1000" i="1">
                <a:latin typeface="Trebuchet MS" panose="020B0603020202020204" pitchFamily="34" charset="0"/>
              </a:rPr>
              <a:t> Channel</a:t>
            </a:r>
          </a:p>
        </p:txBody>
      </p:sp>
      <p:sp>
        <p:nvSpPr>
          <p:cNvPr id="23" name="ZoneTexte 22">
            <a:extLst>
              <a:ext uri="{FF2B5EF4-FFF2-40B4-BE49-F238E27FC236}">
                <a16:creationId xmlns:a16="http://schemas.microsoft.com/office/drawing/2014/main" id="{8304201C-B208-4CAE-A862-B6D5E287859F}"/>
              </a:ext>
            </a:extLst>
          </p:cNvPr>
          <p:cNvSpPr txBox="1"/>
          <p:nvPr/>
        </p:nvSpPr>
        <p:spPr>
          <a:xfrm>
            <a:off x="5459939" y="5569470"/>
            <a:ext cx="1709014" cy="707886"/>
          </a:xfrm>
          <a:prstGeom prst="rect">
            <a:avLst/>
          </a:prstGeom>
          <a:noFill/>
        </p:spPr>
        <p:txBody>
          <a:bodyPr wrap="square" rtlCol="0">
            <a:spAutoFit/>
          </a:bodyPr>
          <a:lstStyle/>
          <a:p>
            <a:pPr algn="ctr"/>
            <a:r>
              <a:rPr lang="en-GB" sz="1000" i="1" err="1">
                <a:latin typeface="Trebuchet MS" panose="020B0603020202020204" pitchFamily="34" charset="0"/>
              </a:rPr>
              <a:t>Altares</a:t>
            </a:r>
            <a:r>
              <a:rPr lang="en-GB" sz="1000" i="1">
                <a:latin typeface="Trebuchet MS" panose="020B0603020202020204" pitchFamily="34" charset="0"/>
              </a:rPr>
              <a:t> specialist interviewed on BFM to discuss the impact of the COVID-19 crisis</a:t>
            </a:r>
          </a:p>
        </p:txBody>
      </p:sp>
      <p:sp>
        <p:nvSpPr>
          <p:cNvPr id="24" name="Rectangle 23">
            <a:extLst>
              <a:ext uri="{FF2B5EF4-FFF2-40B4-BE49-F238E27FC236}">
                <a16:creationId xmlns:a16="http://schemas.microsoft.com/office/drawing/2014/main" id="{14E9D539-1CDC-4F34-A99C-20CE1EA9D644}"/>
              </a:ext>
            </a:extLst>
          </p:cNvPr>
          <p:cNvSpPr/>
          <p:nvPr/>
        </p:nvSpPr>
        <p:spPr bwMode="auto">
          <a:xfrm>
            <a:off x="604558" y="1662739"/>
            <a:ext cx="1877921" cy="125892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50">
                <a:solidFill>
                  <a:schemeClr val="tx2"/>
                </a:solidFill>
                <a:latin typeface="Trebuchet MS" pitchFamily="34" charset="0"/>
              </a:rPr>
              <a:t>Press</a:t>
            </a:r>
          </a:p>
          <a:p>
            <a:pPr marL="0" marR="0" indent="0" algn="ctr" defTabSz="914400" rtl="0" eaLnBrk="1" fontAlgn="base" latinLnBrk="0" hangingPunct="1">
              <a:lnSpc>
                <a:spcPct val="100000"/>
              </a:lnSpc>
              <a:spcBef>
                <a:spcPct val="0"/>
              </a:spcBef>
              <a:spcAft>
                <a:spcPct val="0"/>
              </a:spcAft>
              <a:buClrTx/>
              <a:buSzTx/>
              <a:buFontTx/>
              <a:buNone/>
              <a:tabLst/>
            </a:pPr>
            <a:endParaRPr lang="en-GB" sz="1050">
              <a:solidFill>
                <a:schemeClr val="tx2"/>
              </a:solidFill>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lang="en-GB" sz="1050">
                <a:solidFill>
                  <a:schemeClr val="tx2"/>
                </a:solidFill>
                <a:latin typeface="Trebuchet MS" pitchFamily="34" charset="0"/>
              </a:rPr>
              <a:t>226 print in the press</a:t>
            </a:r>
          </a:p>
          <a:p>
            <a:pPr marL="0" marR="0" indent="0" algn="ctr" defTabSz="914400" rtl="0" eaLnBrk="1" fontAlgn="base" latinLnBrk="0" hangingPunct="1">
              <a:lnSpc>
                <a:spcPct val="100000"/>
              </a:lnSpc>
              <a:spcBef>
                <a:spcPct val="0"/>
              </a:spcBef>
              <a:spcAft>
                <a:spcPct val="0"/>
              </a:spcAft>
              <a:buClrTx/>
              <a:buSzTx/>
              <a:buFontTx/>
              <a:buNone/>
              <a:tabLst/>
            </a:pPr>
            <a:r>
              <a:rPr lang="en-GB" sz="1050">
                <a:solidFill>
                  <a:schemeClr val="tx2"/>
                </a:solidFill>
                <a:latin typeface="Trebuchet MS" pitchFamily="34" charset="0"/>
              </a:rPr>
              <a:t>22m of contacts</a:t>
            </a:r>
          </a:p>
          <a:p>
            <a:pPr marL="0" marR="0" indent="0" algn="ctr" defTabSz="914400" rtl="0" eaLnBrk="1" fontAlgn="base" latinLnBrk="0" hangingPunct="1">
              <a:lnSpc>
                <a:spcPct val="100000"/>
              </a:lnSpc>
              <a:spcBef>
                <a:spcPct val="0"/>
              </a:spcBef>
              <a:spcAft>
                <a:spcPct val="0"/>
              </a:spcAft>
              <a:buClrTx/>
              <a:buSzTx/>
              <a:buFontTx/>
              <a:buNone/>
              <a:tabLst/>
            </a:pPr>
            <a:r>
              <a:rPr lang="en-GB" sz="1050">
                <a:solidFill>
                  <a:schemeClr val="tx2"/>
                </a:solidFill>
                <a:latin typeface="Trebuchet MS" pitchFamily="34" charset="0"/>
              </a:rPr>
              <a:t>€1.22m of advertising space purchase </a:t>
            </a:r>
            <a:endParaRPr kumimoji="0" lang="en-GB" sz="1050" b="0" i="0" u="none" strike="noStrike" cap="none" normalizeH="0" baseline="0">
              <a:ln>
                <a:noFill/>
              </a:ln>
              <a:effectLst/>
              <a:latin typeface="Trebuchet MS" panose="020B0603020202020204" pitchFamily="34" charset="0"/>
            </a:endParaRPr>
          </a:p>
        </p:txBody>
      </p:sp>
      <p:sp>
        <p:nvSpPr>
          <p:cNvPr id="25" name="Rectangle 24">
            <a:extLst>
              <a:ext uri="{FF2B5EF4-FFF2-40B4-BE49-F238E27FC236}">
                <a16:creationId xmlns:a16="http://schemas.microsoft.com/office/drawing/2014/main" id="{E9EB2054-F2B0-4DC7-A660-A8D1193386CF}"/>
              </a:ext>
            </a:extLst>
          </p:cNvPr>
          <p:cNvSpPr/>
          <p:nvPr/>
        </p:nvSpPr>
        <p:spPr bwMode="auto">
          <a:xfrm>
            <a:off x="2783569" y="1655434"/>
            <a:ext cx="1877921" cy="125892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2"/>
                </a:solidFill>
                <a:effectLst/>
                <a:latin typeface="Trebuchet MS" pitchFamily="34" charset="0"/>
              </a:rPr>
              <a:t>Marketing Campaigns</a:t>
            </a:r>
          </a:p>
          <a:p>
            <a:pPr marL="0" marR="0" indent="0" algn="ctr" defTabSz="914400" rtl="0" eaLnBrk="1" fontAlgn="base" latinLnBrk="0" hangingPunct="1">
              <a:lnSpc>
                <a:spcPct val="100000"/>
              </a:lnSpc>
              <a:spcBef>
                <a:spcPct val="0"/>
              </a:spcBef>
              <a:spcAft>
                <a:spcPct val="0"/>
              </a:spcAft>
              <a:buClrTx/>
              <a:buSzTx/>
              <a:buFontTx/>
              <a:buNone/>
              <a:tabLst/>
            </a:pPr>
            <a:endParaRPr kumimoji="0" lang="en-GB" sz="1050" b="0" i="0" u="none" strike="noStrike" cap="none" normalizeH="0" baseline="0">
              <a:ln>
                <a:noFill/>
              </a:ln>
              <a:solidFill>
                <a:schemeClr val="tx2"/>
              </a:solidFill>
              <a:effectLst/>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2"/>
                </a:solidFill>
                <a:effectLst/>
                <a:latin typeface="Trebuchet MS" pitchFamily="34" charset="0"/>
              </a:rPr>
              <a:t>140 campaigns</a:t>
            </a:r>
          </a:p>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2"/>
                </a:solidFill>
                <a:effectLst/>
                <a:latin typeface="Trebuchet MS" pitchFamily="34" charset="0"/>
              </a:rPr>
              <a:t>540k contacts</a:t>
            </a:r>
          </a:p>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2"/>
                </a:solidFill>
                <a:effectLst/>
                <a:latin typeface="Trebuchet MS" pitchFamily="34" charset="0"/>
              </a:rPr>
              <a:t>Open rate ~14%</a:t>
            </a:r>
          </a:p>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2"/>
                </a:solidFill>
                <a:effectLst/>
                <a:latin typeface="Trebuchet MS" pitchFamily="34" charset="0"/>
              </a:rPr>
              <a:t>Click rate 21.6%</a:t>
            </a:r>
            <a:endParaRPr lang="en-GB" sz="1050">
              <a:latin typeface="Trebuchet MS" panose="020B0603020202020204" pitchFamily="34" charset="0"/>
            </a:endParaRPr>
          </a:p>
        </p:txBody>
      </p:sp>
      <p:pic>
        <p:nvPicPr>
          <p:cNvPr id="6" name="Image 5">
            <a:extLst>
              <a:ext uri="{FF2B5EF4-FFF2-40B4-BE49-F238E27FC236}">
                <a16:creationId xmlns:a16="http://schemas.microsoft.com/office/drawing/2014/main" id="{3AC45005-9E25-4EF6-A201-859B23E07F94}"/>
              </a:ext>
            </a:extLst>
          </p:cNvPr>
          <p:cNvPicPr>
            <a:picLocks noChangeAspect="1"/>
          </p:cNvPicPr>
          <p:nvPr/>
        </p:nvPicPr>
        <p:blipFill>
          <a:blip r:embed="rId7"/>
          <a:stretch>
            <a:fillRect/>
          </a:stretch>
        </p:blipFill>
        <p:spPr>
          <a:xfrm>
            <a:off x="7358221" y="4330080"/>
            <a:ext cx="2343115" cy="1670708"/>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33" name="ZoneTexte 32">
            <a:extLst>
              <a:ext uri="{FF2B5EF4-FFF2-40B4-BE49-F238E27FC236}">
                <a16:creationId xmlns:a16="http://schemas.microsoft.com/office/drawing/2014/main" id="{51971B81-2486-465C-BA03-7B1864433F5A}"/>
              </a:ext>
            </a:extLst>
          </p:cNvPr>
          <p:cNvSpPr txBox="1"/>
          <p:nvPr/>
        </p:nvSpPr>
        <p:spPr>
          <a:xfrm>
            <a:off x="1406362" y="6184080"/>
            <a:ext cx="2294057" cy="246221"/>
          </a:xfrm>
          <a:prstGeom prst="rect">
            <a:avLst/>
          </a:prstGeom>
          <a:noFill/>
        </p:spPr>
        <p:txBody>
          <a:bodyPr wrap="square" rtlCol="0">
            <a:spAutoFit/>
          </a:bodyPr>
          <a:lstStyle/>
          <a:p>
            <a:pPr algn="ctr"/>
            <a:r>
              <a:rPr lang="en-GB" sz="1000" i="1" err="1">
                <a:latin typeface="Trebuchet MS" panose="020B0603020202020204" pitchFamily="34" charset="0"/>
              </a:rPr>
              <a:t>Altares</a:t>
            </a:r>
            <a:r>
              <a:rPr lang="en-GB" sz="1000" i="1">
                <a:latin typeface="Trebuchet MS" panose="020B0603020202020204" pitchFamily="34" charset="0"/>
              </a:rPr>
              <a:t> article on Les </a:t>
            </a:r>
            <a:r>
              <a:rPr lang="en-GB" sz="1000" i="1" err="1">
                <a:latin typeface="Trebuchet MS" panose="020B0603020202020204" pitchFamily="34" charset="0"/>
              </a:rPr>
              <a:t>Echos</a:t>
            </a:r>
            <a:r>
              <a:rPr lang="en-GB" sz="1000" i="1">
                <a:latin typeface="Trebuchet MS" panose="020B0603020202020204" pitchFamily="34" charset="0"/>
              </a:rPr>
              <a:t> </a:t>
            </a:r>
            <a:r>
              <a:rPr lang="en-GB" sz="1000" i="1" err="1">
                <a:latin typeface="Trebuchet MS" panose="020B0603020202020204" pitchFamily="34" charset="0"/>
              </a:rPr>
              <a:t>investir</a:t>
            </a:r>
            <a:endParaRPr lang="en-GB" sz="1000" i="1">
              <a:latin typeface="Trebuchet MS" panose="020B0603020202020204" pitchFamily="34" charset="0"/>
            </a:endParaRPr>
          </a:p>
        </p:txBody>
      </p:sp>
      <p:sp>
        <p:nvSpPr>
          <p:cNvPr id="27" name="Organigramme : Procédé 26">
            <a:extLst>
              <a:ext uri="{FF2B5EF4-FFF2-40B4-BE49-F238E27FC236}">
                <a16:creationId xmlns:a16="http://schemas.microsoft.com/office/drawing/2014/main" id="{A618EA87-15D6-4F74-B438-8A50AE5B1A0D}"/>
              </a:ext>
            </a:extLst>
          </p:cNvPr>
          <p:cNvSpPr/>
          <p:nvPr/>
        </p:nvSpPr>
        <p:spPr bwMode="auto">
          <a:xfrm>
            <a:off x="604558" y="3022083"/>
            <a:ext cx="4056932" cy="621576"/>
          </a:xfrm>
          <a:prstGeom prst="flowChartProcess">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217099" name="Picture 11">
            <a:extLst>
              <a:ext uri="{FF2B5EF4-FFF2-40B4-BE49-F238E27FC236}">
                <a16:creationId xmlns:a16="http://schemas.microsoft.com/office/drawing/2014/main" id="{46783390-F25A-4F22-BF2C-992EF667DC6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5691" y="3106963"/>
            <a:ext cx="829332" cy="198960"/>
          </a:xfrm>
          <a:prstGeom prst="rect">
            <a:avLst/>
          </a:prstGeom>
          <a:noFill/>
          <a:extLst>
            <a:ext uri="{909E8E84-426E-40DD-AFC4-6F175D3DCCD1}">
              <a14:hiddenFill xmlns:a14="http://schemas.microsoft.com/office/drawing/2010/main">
                <a:solidFill>
                  <a:srgbClr val="FFFFFF"/>
                </a:solidFill>
              </a14:hiddenFill>
            </a:ext>
          </a:extLst>
        </p:spPr>
      </p:pic>
      <p:pic>
        <p:nvPicPr>
          <p:cNvPr id="217091" name="Picture 3">
            <a:extLst>
              <a:ext uri="{FF2B5EF4-FFF2-40B4-BE49-F238E27FC236}">
                <a16:creationId xmlns:a16="http://schemas.microsoft.com/office/drawing/2014/main" id="{15EB34B8-8746-4F26-B22A-38076B23C9A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844371" y="3105796"/>
            <a:ext cx="864955" cy="198913"/>
          </a:xfrm>
          <a:prstGeom prst="rect">
            <a:avLst/>
          </a:prstGeom>
          <a:noFill/>
          <a:extLst>
            <a:ext uri="{909E8E84-426E-40DD-AFC4-6F175D3DCCD1}">
              <a14:hiddenFill xmlns:a14="http://schemas.microsoft.com/office/drawing/2010/main">
                <a:solidFill>
                  <a:srgbClr val="FFFFFF"/>
                </a:solidFill>
              </a14:hiddenFill>
            </a:ext>
          </a:extLst>
        </p:spPr>
      </p:pic>
      <p:pic>
        <p:nvPicPr>
          <p:cNvPr id="217093" name="Picture 5">
            <a:extLst>
              <a:ext uri="{FF2B5EF4-FFF2-40B4-BE49-F238E27FC236}">
                <a16:creationId xmlns:a16="http://schemas.microsoft.com/office/drawing/2014/main" id="{891A462B-9D99-4C4C-816F-4DE4B3A09B6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86145" y="3367545"/>
            <a:ext cx="934490" cy="218348"/>
          </a:xfrm>
          <a:prstGeom prst="rect">
            <a:avLst/>
          </a:prstGeom>
          <a:noFill/>
          <a:extLst>
            <a:ext uri="{909E8E84-426E-40DD-AFC4-6F175D3DCCD1}">
              <a14:hiddenFill xmlns:a14="http://schemas.microsoft.com/office/drawing/2010/main">
                <a:solidFill>
                  <a:srgbClr val="FFFFFF"/>
                </a:solidFill>
              </a14:hiddenFill>
            </a:ext>
          </a:extLst>
        </p:spPr>
      </p:pic>
      <p:pic>
        <p:nvPicPr>
          <p:cNvPr id="217095" name="Picture 7">
            <a:extLst>
              <a:ext uri="{FF2B5EF4-FFF2-40B4-BE49-F238E27FC236}">
                <a16:creationId xmlns:a16="http://schemas.microsoft.com/office/drawing/2014/main" id="{ABDC0343-909D-4623-8185-C17714D9A6F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5134" y="3338253"/>
            <a:ext cx="1010860" cy="255747"/>
          </a:xfrm>
          <a:prstGeom prst="rect">
            <a:avLst/>
          </a:prstGeom>
          <a:noFill/>
          <a:extLst>
            <a:ext uri="{909E8E84-426E-40DD-AFC4-6F175D3DCCD1}">
              <a14:hiddenFill xmlns:a14="http://schemas.microsoft.com/office/drawing/2010/main">
                <a:solidFill>
                  <a:srgbClr val="FFFFFF"/>
                </a:solidFill>
              </a14:hiddenFill>
            </a:ext>
          </a:extLst>
        </p:spPr>
      </p:pic>
      <p:pic>
        <p:nvPicPr>
          <p:cNvPr id="217097" name="Picture 9">
            <a:extLst>
              <a:ext uri="{FF2B5EF4-FFF2-40B4-BE49-F238E27FC236}">
                <a16:creationId xmlns:a16="http://schemas.microsoft.com/office/drawing/2014/main" id="{0DB36159-0D23-4C15-B400-1A1F44C7A1A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277179" y="3341826"/>
            <a:ext cx="1069096" cy="248599"/>
          </a:xfrm>
          <a:prstGeom prst="rect">
            <a:avLst/>
          </a:prstGeom>
          <a:noFill/>
          <a:extLst>
            <a:ext uri="{909E8E84-426E-40DD-AFC4-6F175D3DCCD1}">
              <a14:hiddenFill xmlns:a14="http://schemas.microsoft.com/office/drawing/2010/main">
                <a:solidFill>
                  <a:srgbClr val="FFFFFF"/>
                </a:solidFill>
              </a14:hiddenFill>
            </a:ext>
          </a:extLst>
        </p:spPr>
      </p:pic>
      <p:pic>
        <p:nvPicPr>
          <p:cNvPr id="217101" name="Picture 13" descr="La provence - Le 13 novembre 2017 • La Chance">
            <a:extLst>
              <a:ext uri="{FF2B5EF4-FFF2-40B4-BE49-F238E27FC236}">
                <a16:creationId xmlns:a16="http://schemas.microsoft.com/office/drawing/2014/main" id="{A0B5EB70-E398-4188-B5A1-9801D93442E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903108" y="3132075"/>
            <a:ext cx="1139375" cy="147534"/>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60ED39B1-1FE6-4FBC-B285-24C9714C3EE1}"/>
              </a:ext>
            </a:extLst>
          </p:cNvPr>
          <p:cNvSpPr/>
          <p:nvPr/>
        </p:nvSpPr>
        <p:spPr bwMode="auto">
          <a:xfrm>
            <a:off x="2262268" y="5123357"/>
            <a:ext cx="892700" cy="181579"/>
          </a:xfrm>
          <a:prstGeom prst="rect">
            <a:avLst/>
          </a:prstGeom>
          <a:solidFill>
            <a:schemeClr val="accent4">
              <a:alpha val="44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accent1"/>
              </a:solidFill>
              <a:effectLst/>
              <a:latin typeface="Trebuchet MS" pitchFamily="34" charset="0"/>
            </a:endParaRPr>
          </a:p>
        </p:txBody>
      </p:sp>
      <p:sp>
        <p:nvSpPr>
          <p:cNvPr id="36" name="Rectangle 35">
            <a:extLst>
              <a:ext uri="{FF2B5EF4-FFF2-40B4-BE49-F238E27FC236}">
                <a16:creationId xmlns:a16="http://schemas.microsoft.com/office/drawing/2014/main" id="{1882B496-98D2-4BED-B706-7719E09EB10F}"/>
              </a:ext>
            </a:extLst>
          </p:cNvPr>
          <p:cNvSpPr/>
          <p:nvPr/>
        </p:nvSpPr>
        <p:spPr bwMode="auto">
          <a:xfrm>
            <a:off x="7986674" y="1689797"/>
            <a:ext cx="1714662" cy="174083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600"/>
              </a:spcBef>
              <a:buClr>
                <a:schemeClr val="tx1"/>
              </a:buClr>
            </a:pPr>
            <a:r>
              <a:rPr lang="en-GB" sz="1050" i="1">
                <a:latin typeface="Trebuchet MS" panose="020B0603020202020204" pitchFamily="34" charset="0"/>
              </a:rPr>
              <a:t>During the COVID-19 crisis, </a:t>
            </a:r>
            <a:r>
              <a:rPr lang="en-GB" sz="1050" i="1" err="1">
                <a:latin typeface="Trebuchet MS" panose="020B0603020202020204" pitchFamily="34" charset="0"/>
              </a:rPr>
              <a:t>Altares</a:t>
            </a:r>
            <a:r>
              <a:rPr lang="en-GB" sz="1050" i="1">
                <a:latin typeface="Trebuchet MS" panose="020B0603020202020204" pitchFamily="34" charset="0"/>
              </a:rPr>
              <a:t> has made a special offer </a:t>
            </a:r>
            <a:r>
              <a:rPr lang="en-GB" sz="1050" i="1" err="1">
                <a:latin typeface="Trebuchet MS" panose="020B0603020202020204" pitchFamily="34" charset="0"/>
              </a:rPr>
              <a:t>intuiz</a:t>
            </a:r>
            <a:r>
              <a:rPr lang="en-GB" sz="1050" i="1">
                <a:latin typeface="Trebuchet MS" panose="020B0603020202020204" pitchFamily="34" charset="0"/>
              </a:rPr>
              <a:t>+ (for free during the period) and has been interviewed on BFM to discuss the COVID-19 impacts on the mid and large enterprises solvency risk in France</a:t>
            </a:r>
          </a:p>
        </p:txBody>
      </p:sp>
      <p:pic>
        <p:nvPicPr>
          <p:cNvPr id="29" name="Image 28">
            <a:extLst>
              <a:ext uri="{FF2B5EF4-FFF2-40B4-BE49-F238E27FC236}">
                <a16:creationId xmlns:a16="http://schemas.microsoft.com/office/drawing/2014/main" id="{F43C7EB2-BE99-4B12-93F8-92672226E953}"/>
              </a:ext>
            </a:extLst>
          </p:cNvPr>
          <p:cNvPicPr>
            <a:picLocks noChangeAspect="1"/>
          </p:cNvPicPr>
          <p:nvPr/>
        </p:nvPicPr>
        <p:blipFill>
          <a:blip r:embed="rId14"/>
          <a:stretch>
            <a:fillRect/>
          </a:stretch>
        </p:blipFill>
        <p:spPr>
          <a:xfrm>
            <a:off x="5666457" y="1502034"/>
            <a:ext cx="2278495" cy="2088391"/>
          </a:xfrm>
          <a:prstGeom prst="rect">
            <a:avLst/>
          </a:prstGeom>
          <a:ln>
            <a:solidFill>
              <a:schemeClr val="bg1">
                <a:lumMod val="85000"/>
              </a:schemeClr>
            </a:solidFill>
          </a:ln>
          <a:effectLst>
            <a:outerShdw blurRad="50800" dist="38100" dir="2700000" algn="tl" rotWithShape="0">
              <a:prstClr val="black">
                <a:alpha val="40000"/>
              </a:prstClr>
            </a:outerShdw>
          </a:effectLst>
        </p:spPr>
      </p:pic>
      <p:grpSp>
        <p:nvGrpSpPr>
          <p:cNvPr id="18" name="Groupe 17">
            <a:extLst>
              <a:ext uri="{FF2B5EF4-FFF2-40B4-BE49-F238E27FC236}">
                <a16:creationId xmlns:a16="http://schemas.microsoft.com/office/drawing/2014/main" id="{7544B7F1-B891-49C3-BC32-CFEC0E135EA2}"/>
              </a:ext>
            </a:extLst>
          </p:cNvPr>
          <p:cNvGrpSpPr/>
          <p:nvPr/>
        </p:nvGrpSpPr>
        <p:grpSpPr>
          <a:xfrm>
            <a:off x="786142" y="3924269"/>
            <a:ext cx="3418277" cy="2234362"/>
            <a:chOff x="786142" y="3857594"/>
            <a:chExt cx="3418277" cy="2234362"/>
          </a:xfrm>
        </p:grpSpPr>
        <p:pic>
          <p:nvPicPr>
            <p:cNvPr id="26" name="Image 25">
              <a:extLst>
                <a:ext uri="{FF2B5EF4-FFF2-40B4-BE49-F238E27FC236}">
                  <a16:creationId xmlns:a16="http://schemas.microsoft.com/office/drawing/2014/main" id="{D37B6B1E-9248-4791-9FE6-90336004B175}"/>
                </a:ext>
              </a:extLst>
            </p:cNvPr>
            <p:cNvPicPr>
              <a:picLocks noChangeAspect="1"/>
            </p:cNvPicPr>
            <p:nvPr/>
          </p:nvPicPr>
          <p:blipFill>
            <a:blip r:embed="rId15"/>
            <a:stretch>
              <a:fillRect/>
            </a:stretch>
          </p:blipFill>
          <p:spPr>
            <a:xfrm>
              <a:off x="786142" y="3857594"/>
              <a:ext cx="3418277" cy="2234362"/>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14" name="Rectangle 13">
              <a:extLst>
                <a:ext uri="{FF2B5EF4-FFF2-40B4-BE49-F238E27FC236}">
                  <a16:creationId xmlns:a16="http://schemas.microsoft.com/office/drawing/2014/main" id="{958C3AD3-5ABD-4974-B6D2-0758937B86F5}"/>
                </a:ext>
              </a:extLst>
            </p:cNvPr>
            <p:cNvSpPr/>
            <p:nvPr/>
          </p:nvSpPr>
          <p:spPr bwMode="auto">
            <a:xfrm>
              <a:off x="2903108" y="5238261"/>
              <a:ext cx="797311" cy="85259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9" name="Rectangle 18">
            <a:extLst>
              <a:ext uri="{FF2B5EF4-FFF2-40B4-BE49-F238E27FC236}">
                <a16:creationId xmlns:a16="http://schemas.microsoft.com/office/drawing/2014/main" id="{1ECCCA65-9CAC-42EA-B44B-1B819C58183E}"/>
              </a:ext>
            </a:extLst>
          </p:cNvPr>
          <p:cNvSpPr/>
          <p:nvPr/>
        </p:nvSpPr>
        <p:spPr bwMode="auto">
          <a:xfrm>
            <a:off x="2595156" y="5123357"/>
            <a:ext cx="559812" cy="181579"/>
          </a:xfrm>
          <a:prstGeom prst="rect">
            <a:avLst/>
          </a:prstGeom>
          <a:solidFill>
            <a:schemeClr val="tx2">
              <a:alpha val="23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32" name="Groupe 31">
            <a:extLst>
              <a:ext uri="{FF2B5EF4-FFF2-40B4-BE49-F238E27FC236}">
                <a16:creationId xmlns:a16="http://schemas.microsoft.com/office/drawing/2014/main" id="{E6563576-16DB-4344-AF55-2076619CF1E0}"/>
              </a:ext>
            </a:extLst>
          </p:cNvPr>
          <p:cNvGrpSpPr/>
          <p:nvPr/>
        </p:nvGrpSpPr>
        <p:grpSpPr>
          <a:xfrm>
            <a:off x="8384063" y="-11528"/>
            <a:ext cx="1499635" cy="588143"/>
            <a:chOff x="8384063" y="-11528"/>
            <a:chExt cx="1499635" cy="588143"/>
          </a:xfrm>
        </p:grpSpPr>
        <p:sp>
          <p:nvSpPr>
            <p:cNvPr id="34" name="Rectangle : coins arrondis 199">
              <a:extLst>
                <a:ext uri="{FF2B5EF4-FFF2-40B4-BE49-F238E27FC236}">
                  <a16:creationId xmlns:a16="http://schemas.microsoft.com/office/drawing/2014/main" id="{698E9C52-3ADD-4E58-AAD8-AB42D044C4AD}"/>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5" name="Rectangle : coins arrondis 200">
              <a:extLst>
                <a:ext uri="{FF2B5EF4-FFF2-40B4-BE49-F238E27FC236}">
                  <a16:creationId xmlns:a16="http://schemas.microsoft.com/office/drawing/2014/main" id="{B158BEF3-11CA-4894-B057-46C4D472CB6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7" name="Rectangle : coins arrondis 201">
              <a:extLst>
                <a:ext uri="{FF2B5EF4-FFF2-40B4-BE49-F238E27FC236}">
                  <a16:creationId xmlns:a16="http://schemas.microsoft.com/office/drawing/2014/main" id="{2C79EB06-8C2B-49BF-A1B5-CE0AC51204C1}"/>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ZoneTexte 18">
              <a:extLst>
                <a:ext uri="{FF2B5EF4-FFF2-40B4-BE49-F238E27FC236}">
                  <a16:creationId xmlns:a16="http://schemas.microsoft.com/office/drawing/2014/main" id="{ECAB0AF3-9814-456F-A2A5-0F9C2824A4F2}"/>
                </a:ext>
              </a:extLst>
            </p:cNvPr>
            <p:cNvSpPr txBox="1"/>
            <p:nvPr/>
          </p:nvSpPr>
          <p:spPr>
            <a:xfrm>
              <a:off x="8384063" y="-11528"/>
              <a:ext cx="1409923"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value proposition</a:t>
              </a:r>
            </a:p>
          </p:txBody>
        </p:sp>
        <p:pic>
          <p:nvPicPr>
            <p:cNvPr id="39" name="Graphique 128" descr="Jauge">
              <a:extLst>
                <a:ext uri="{FF2B5EF4-FFF2-40B4-BE49-F238E27FC236}">
                  <a16:creationId xmlns:a16="http://schemas.microsoft.com/office/drawing/2014/main" id="{85E84C99-C520-4922-96E6-68EB3F68054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553764" y="187516"/>
              <a:ext cx="234953" cy="218224"/>
            </a:xfrm>
            <a:prstGeom prst="rect">
              <a:avLst/>
            </a:prstGeom>
            <a:effectLst/>
          </p:spPr>
        </p:pic>
        <p:pic>
          <p:nvPicPr>
            <p:cNvPr id="40" name="Graphique 90" descr="Poignée de main">
              <a:extLst>
                <a:ext uri="{FF2B5EF4-FFF2-40B4-BE49-F238E27FC236}">
                  <a16:creationId xmlns:a16="http://schemas.microsoft.com/office/drawing/2014/main" id="{2789FDA8-D212-4BF6-8CE4-07526F5CAD3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960868" y="152880"/>
              <a:ext cx="256313" cy="287496"/>
            </a:xfrm>
            <a:prstGeom prst="rect">
              <a:avLst/>
            </a:prstGeom>
            <a:effectLst/>
          </p:spPr>
        </p:pic>
        <p:pic>
          <p:nvPicPr>
            <p:cNvPr id="41" name="Graphique 74" descr="Mégaphone">
              <a:extLst>
                <a:ext uri="{FF2B5EF4-FFF2-40B4-BE49-F238E27FC236}">
                  <a16:creationId xmlns:a16="http://schemas.microsoft.com/office/drawing/2014/main" id="{3C253BAD-222B-46B2-99CA-069B343A3E99}"/>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389331" y="181519"/>
              <a:ext cx="233011" cy="216420"/>
            </a:xfrm>
            <a:prstGeom prst="rect">
              <a:avLst/>
            </a:prstGeom>
            <a:effectLst/>
          </p:spPr>
        </p:pic>
        <p:pic>
          <p:nvPicPr>
            <p:cNvPr id="42" name="Picture 2" descr="Drapeau France">
              <a:extLst>
                <a:ext uri="{FF2B5EF4-FFF2-40B4-BE49-F238E27FC236}">
                  <a16:creationId xmlns:a16="http://schemas.microsoft.com/office/drawing/2014/main" id="{1F303DAE-F008-4935-9D10-92D56DC712AE}"/>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43" name="Picture 2" descr="5 ft x 3 ft 150 x 90 cm-DRAPEAU BELGE Belgique 100% Polyester ...">
              <a:extLst>
                <a:ext uri="{FF2B5EF4-FFF2-40B4-BE49-F238E27FC236}">
                  <a16:creationId xmlns:a16="http://schemas.microsoft.com/office/drawing/2014/main" id="{1B95556A-4C6C-4884-A873-2124B3361E10}"/>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4" name="Picture 2 - 1" descr="Drapeau des Pays-Bas — Wikipédia">
              <a:extLst>
                <a:ext uri="{FF2B5EF4-FFF2-40B4-BE49-F238E27FC236}">
                  <a16:creationId xmlns:a16="http://schemas.microsoft.com/office/drawing/2014/main" id="{5100E1F0-54E4-4C9C-A48D-7E681BED13FA}"/>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45" name="Picture 2 - 2" descr="Drapeau du Luxembourg">
              <a:extLst>
                <a:ext uri="{FF2B5EF4-FFF2-40B4-BE49-F238E27FC236}">
                  <a16:creationId xmlns:a16="http://schemas.microsoft.com/office/drawing/2014/main" id="{EE7513E7-3EE8-4FED-B0F0-1E7E90448365}"/>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46" name="ZoneTexte 18">
              <a:extLst>
                <a:ext uri="{FF2B5EF4-FFF2-40B4-BE49-F238E27FC236}">
                  <a16:creationId xmlns:a16="http://schemas.microsoft.com/office/drawing/2014/main" id="{E647F434-70C0-4D6B-AE09-6FF60AA5430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rand image</a:t>
              </a:r>
            </a:p>
          </p:txBody>
        </p:sp>
      </p:grpSp>
    </p:spTree>
    <p:extLst>
      <p:ext uri="{BB962C8B-B14F-4D97-AF65-F5344CB8AC3E}">
        <p14:creationId xmlns:p14="http://schemas.microsoft.com/office/powerpoint/2010/main" val="2949308883"/>
      </p:ext>
    </p:extLst>
  </p:cSld>
  <p:clrMapOvr>
    <a:masterClrMapping/>
  </p:clrMapOv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E96EA93-E714-4D0F-A1A8-2AAA5188B475}"/>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4E9DE99D-BD68-42FE-9B3C-2293D0C1089E}"/>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BC317995-D852-4549-AC70-AA5A11CAFAFC}"/>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indent="-228600">
              <a:spcBef>
                <a:spcPts val="600"/>
              </a:spcBef>
              <a:buAutoNum type="arabicPeriod"/>
            </a:pPr>
            <a:r>
              <a:rPr lang="en-GB" sz="1200">
                <a:latin typeface="Trebuchet MS" panose="020B0603020202020204" pitchFamily="34" charset="0"/>
              </a:rPr>
              <a:t>Overview of </a:t>
            </a:r>
            <a:r>
              <a:rPr lang="en-GB" sz="1200" err="1">
                <a:latin typeface="Trebuchet MS" panose="020B0603020202020204" pitchFamily="34" charset="0"/>
              </a:rPr>
              <a:t>Altares</a:t>
            </a:r>
            <a:r>
              <a:rPr lang="en-GB" sz="1200">
                <a:latin typeface="Trebuchet MS" panose="020B0603020202020204" pitchFamily="34" charset="0"/>
              </a:rPr>
              <a:t>’ core assets</a:t>
            </a:r>
          </a:p>
          <a:p>
            <a:pPr marL="228600" indent="-228600">
              <a:spcBef>
                <a:spcPts val="600"/>
              </a:spcBef>
              <a:buAutoNum type="arabicPeriod"/>
            </a:pPr>
            <a:r>
              <a:rPr lang="en-GB" sz="1200" err="1">
                <a:latin typeface="Trebuchet MS" panose="020B0603020202020204" pitchFamily="34" charset="0"/>
              </a:rPr>
              <a:t>Altares</a:t>
            </a:r>
            <a:r>
              <a:rPr lang="en-GB" sz="1200">
                <a:latin typeface="Trebuchet MS" panose="020B0603020202020204" pitchFamily="34" charset="0"/>
              </a:rPr>
              <a:t>' offer and value proposition</a:t>
            </a:r>
          </a:p>
          <a:p>
            <a:pPr marL="685800" lvl="1" indent="-228600">
              <a:spcBef>
                <a:spcPts val="600"/>
              </a:spcBef>
              <a:buAutoNum type="romanLcPeriod"/>
            </a:pPr>
            <a:r>
              <a:rPr lang="en-GB" sz="1200" err="1">
                <a:latin typeface="Trebuchet MS" panose="020B0603020202020204" pitchFamily="34" charset="0"/>
              </a:rPr>
              <a:t>Altares</a:t>
            </a:r>
            <a:r>
              <a:rPr lang="en-GB" sz="1200">
                <a:latin typeface="Trebuchet MS" panose="020B0603020202020204" pitchFamily="34" charset="0"/>
              </a:rPr>
              <a:t>’ comprehensive offer</a:t>
            </a:r>
          </a:p>
          <a:p>
            <a:pPr marL="685800" lvl="1" indent="-228600">
              <a:spcBef>
                <a:spcPts val="600"/>
              </a:spcBef>
              <a:buAutoNum type="romanLcPeriod"/>
            </a:pPr>
            <a:r>
              <a:rPr lang="en-GB" sz="1200" err="1">
                <a:latin typeface="Trebuchet MS" panose="020B0603020202020204" pitchFamily="34" charset="0"/>
              </a:rPr>
              <a:t>Altares</a:t>
            </a:r>
            <a:r>
              <a:rPr lang="en-GB" sz="1200">
                <a:latin typeface="Trebuchet MS" panose="020B0603020202020204" pitchFamily="34" charset="0"/>
              </a:rPr>
              <a:t>’ premium value proposition </a:t>
            </a:r>
          </a:p>
          <a:p>
            <a:pPr marL="285750" indent="-285750">
              <a:spcBef>
                <a:spcPts val="600"/>
              </a:spcBef>
              <a:buFont typeface="+mj-lt"/>
              <a:buAutoNum type="arabicPeriod"/>
            </a:pPr>
            <a:r>
              <a:rPr lang="en-GB" sz="1200" err="1">
                <a:solidFill>
                  <a:schemeClr val="tx2"/>
                </a:solidFill>
                <a:latin typeface="Trebuchet MS" panose="020B0603020202020204" pitchFamily="34" charset="0"/>
              </a:rPr>
              <a:t>Altares</a:t>
            </a:r>
            <a:r>
              <a:rPr lang="en-GB" sz="1200">
                <a:solidFill>
                  <a:schemeClr val="tx2"/>
                </a:solidFill>
                <a:latin typeface="Trebuchet MS" panose="020B0603020202020204" pitchFamily="34" charset="0"/>
              </a:rPr>
              <a:t>’ loyal, resilient and diversified client base</a:t>
            </a:r>
          </a:p>
          <a:p>
            <a:pPr marL="285750" indent="-285750">
              <a:spcBef>
                <a:spcPts val="600"/>
              </a:spcBef>
              <a:buFont typeface="+mj-lt"/>
              <a:buAutoNum type="arabicPeriod"/>
            </a:pPr>
            <a:r>
              <a:rPr kumimoji="0" lang="en-GB" sz="1200" b="0" i="0" u="none" strike="noStrike" kern="1200" cap="none" spc="0" normalizeH="0" baseline="0" noProof="0" err="1">
                <a:ln>
                  <a:noFill/>
                </a:ln>
                <a:effectLst/>
                <a:uLnTx/>
                <a:uFillTx/>
                <a:latin typeface="Trebuchet MS" panose="020B0603020202020204" pitchFamily="34" charset="0"/>
                <a:ea typeface="+mn-ea"/>
                <a:cs typeface="Arial" pitchFamily="34" charset="0"/>
              </a:rPr>
              <a:t>Altares</a:t>
            </a:r>
            <a:r>
              <a:rPr kumimoji="0" lang="en-GB" sz="1200" b="0" i="0" u="none" strike="noStrike" kern="1200" cap="none" spc="0" normalizeH="0" baseline="0" noProof="0">
                <a:ln>
                  <a:noFill/>
                </a:ln>
                <a:effectLst/>
                <a:uLnTx/>
                <a:uFillTx/>
                <a:latin typeface="Trebuchet MS" panose="020B0603020202020204" pitchFamily="34" charset="0"/>
                <a:ea typeface="+mn-ea"/>
                <a:cs typeface="Arial" pitchFamily="34" charset="0"/>
              </a:rPr>
              <a:t>’ structuring partnership with Dun &amp; Bradstreet</a:t>
            </a: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high-quality comprehensive data collection</a:t>
            </a:r>
            <a:endParaRPr kumimoji="0" lang="en-GB" sz="1200" b="0" i="0" u="none" strike="noStrike" kern="1200" cap="none" spc="0" normalizeH="0" baseline="0" noProof="0">
              <a:ln>
                <a:noFill/>
              </a:ln>
              <a:effectLst/>
              <a:uLnTx/>
              <a:uFillTx/>
              <a:latin typeface="Trebuchet MS" panose="020B0603020202020204" pitchFamily="34" charset="0"/>
              <a:ea typeface="+mn-ea"/>
              <a:cs typeface="Arial" pitchFamily="34" charset="0"/>
            </a:endParaRP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fine-tuned operating model</a:t>
            </a:r>
          </a:p>
          <a:p>
            <a:pPr marL="742950" lvl="1" indent="-285750">
              <a:buFont typeface="+mj-lt"/>
              <a:buAutoNum type="arabicPeriod"/>
            </a:pPr>
            <a:endParaRPr lang="en-GB" sz="1200">
              <a:solidFill>
                <a:srgbClr val="6C6C6C"/>
              </a:solidFill>
              <a:latin typeface="Trebuchet MS" panose="020B0603020202020204" pitchFamily="34" charset="0"/>
            </a:endParaRPr>
          </a:p>
        </p:txBody>
      </p:sp>
      <p:sp>
        <p:nvSpPr>
          <p:cNvPr id="5" name="Chevron">
            <a:extLst>
              <a:ext uri="{FF2B5EF4-FFF2-40B4-BE49-F238E27FC236}">
                <a16:creationId xmlns:a16="http://schemas.microsoft.com/office/drawing/2014/main" id="{19C7AF68-ADEF-46DC-A209-2CDD74387B37}"/>
              </a:ext>
            </a:extLst>
          </p:cNvPr>
          <p:cNvSpPr/>
          <p:nvPr/>
        </p:nvSpPr>
        <p:spPr bwMode="auto">
          <a:xfrm>
            <a:off x="1418399" y="2685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 name="Section">
            <a:extLst>
              <a:ext uri="{FF2B5EF4-FFF2-40B4-BE49-F238E27FC236}">
                <a16:creationId xmlns:a16="http://schemas.microsoft.com/office/drawing/2014/main" id="{636E6D9A-2F3C-453B-9C0F-03B146337E4D}"/>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3</a:t>
            </a:r>
          </a:p>
        </p:txBody>
      </p:sp>
      <p:sp>
        <p:nvSpPr>
          <p:cNvPr id="7" name="Isosceles Triangle">
            <a:extLst>
              <a:ext uri="{FF2B5EF4-FFF2-40B4-BE49-F238E27FC236}">
                <a16:creationId xmlns:a16="http://schemas.microsoft.com/office/drawing/2014/main" id="{3908BB94-E3D6-4C40-A8C4-A6802B7363DE}"/>
              </a:ext>
            </a:extLst>
          </p:cNvPr>
          <p:cNvSpPr/>
          <p:nvPr/>
        </p:nvSpPr>
        <p:spPr bwMode="auto">
          <a:xfrm rot="5400000">
            <a:off x="5731200" y="2791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 name="Arrow: Pentagon">
            <a:extLst>
              <a:ext uri="{FF2B5EF4-FFF2-40B4-BE49-F238E27FC236}">
                <a16:creationId xmlns:a16="http://schemas.microsoft.com/office/drawing/2014/main" id="{AAA89B96-4A5D-4B09-9C22-E94E1748204D}"/>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9" name="Oval">
            <a:extLst>
              <a:ext uri="{FF2B5EF4-FFF2-40B4-BE49-F238E27FC236}">
                <a16:creationId xmlns:a16="http://schemas.microsoft.com/office/drawing/2014/main" id="{BC953947-8B39-436A-BB0A-0427BE750363}"/>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10" name="Arrow: Pentagon">
            <a:extLst>
              <a:ext uri="{FF2B5EF4-FFF2-40B4-BE49-F238E27FC236}">
                <a16:creationId xmlns:a16="http://schemas.microsoft.com/office/drawing/2014/main" id="{5B65EB5B-C98E-4EE8-B46F-FAFAE3777E64}"/>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11" name="Oval">
            <a:extLst>
              <a:ext uri="{FF2B5EF4-FFF2-40B4-BE49-F238E27FC236}">
                <a16:creationId xmlns:a16="http://schemas.microsoft.com/office/drawing/2014/main" id="{A9E5757F-D3EE-45BA-97F4-A74AA2140AEA}"/>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13" name="Arrow: Pentagon">
            <a:extLst>
              <a:ext uri="{FF2B5EF4-FFF2-40B4-BE49-F238E27FC236}">
                <a16:creationId xmlns:a16="http://schemas.microsoft.com/office/drawing/2014/main" id="{48554520-C6F8-46BA-9CB4-893EBB7B22BC}"/>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14" name="Arrow: Pentagon">
            <a:extLst>
              <a:ext uri="{FF2B5EF4-FFF2-40B4-BE49-F238E27FC236}">
                <a16:creationId xmlns:a16="http://schemas.microsoft.com/office/drawing/2014/main" id="{E4AD936D-B787-484A-AA49-F3132F3A3C07}"/>
              </a:ext>
            </a:extLst>
          </p:cNvPr>
          <p:cNvSpPr/>
          <p:nvPr/>
        </p:nvSpPr>
        <p:spPr bwMode="auto">
          <a:xfrm>
            <a:off x="1641598" y="2685599"/>
            <a:ext cx="4319993"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value proposition &amp; core assets</a:t>
            </a:r>
          </a:p>
        </p:txBody>
      </p:sp>
      <p:sp>
        <p:nvSpPr>
          <p:cNvPr id="15" name="Oval">
            <a:extLst>
              <a:ext uri="{FF2B5EF4-FFF2-40B4-BE49-F238E27FC236}">
                <a16:creationId xmlns:a16="http://schemas.microsoft.com/office/drawing/2014/main" id="{68A87AEA-FD69-47CE-940A-D9B53B0ADEE9}"/>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16" name="Arrow: Pentagon">
            <a:extLst>
              <a:ext uri="{FF2B5EF4-FFF2-40B4-BE49-F238E27FC236}">
                <a16:creationId xmlns:a16="http://schemas.microsoft.com/office/drawing/2014/main" id="{2E414F2E-C925-432A-8769-B24B18CFA93B}"/>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17" name="Oval">
            <a:extLst>
              <a:ext uri="{FF2B5EF4-FFF2-40B4-BE49-F238E27FC236}">
                <a16:creationId xmlns:a16="http://schemas.microsoft.com/office/drawing/2014/main" id="{218A649A-A4EA-4150-9C1F-2E4E0B7C4113}"/>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39" name="Oval">
            <a:extLst>
              <a:ext uri="{FF2B5EF4-FFF2-40B4-BE49-F238E27FC236}">
                <a16:creationId xmlns:a16="http://schemas.microsoft.com/office/drawing/2014/main" id="{715C0A0C-0A7B-4667-A667-8B044469F887}"/>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2866209410"/>
      </p:ext>
    </p:extLst>
  </p:cSld>
  <p:clrMapOvr>
    <a:masterClrMapping/>
  </p:clrMapOv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42687E5-FCCC-49AA-A961-9AEF49983F42}"/>
              </a:ext>
            </a:extLst>
          </p:cNvPr>
          <p:cNvGraphicFramePr>
            <a:graphicFrameLocks noChangeAspect="1"/>
          </p:cNvGraphicFramePr>
          <p:nvPr>
            <p:custDataLst>
              <p:tags r:id="rId1"/>
            </p:custDataLst>
            <p:extLst>
              <p:ext uri="{D42A27DB-BD31-4B8C-83A1-F6EECF244321}">
                <p14:modId xmlns:p14="http://schemas.microsoft.com/office/powerpoint/2010/main" val="3925023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8" name="Object 7" hidden="1">
                        <a:extLst>
                          <a:ext uri="{FF2B5EF4-FFF2-40B4-BE49-F238E27FC236}">
                            <a16:creationId xmlns:a16="http://schemas.microsoft.com/office/drawing/2014/main" id="{842687E5-FCCC-49AA-A961-9AEF49983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894300E-10F9-4861-A901-94E478A1902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1CC19FCF-67F6-4BA2-99E9-989ECA689114}"/>
              </a:ext>
            </a:extLst>
          </p:cNvPr>
          <p:cNvSpPr>
            <a:spLocks noGrp="1"/>
          </p:cNvSpPr>
          <p:nvPr>
            <p:ph type="title"/>
          </p:nvPr>
        </p:nvSpPr>
        <p:spPr>
          <a:xfrm>
            <a:off x="165600" y="147600"/>
            <a:ext cx="8388164" cy="684000"/>
          </a:xfrm>
        </p:spPr>
        <p:txBody>
          <a:bodyPr/>
          <a:lstStyle/>
          <a:p>
            <a:r>
              <a:rPr lang="en-GB" err="1">
                <a:latin typeface="Trebuchet MS" panose="020B0603020202020204" pitchFamily="34" charset="0"/>
              </a:rPr>
              <a:t>Altares</a:t>
            </a:r>
            <a:r>
              <a:rPr lang="en-GB">
                <a:latin typeface="Trebuchet MS" panose="020B0603020202020204" pitchFamily="34" charset="0"/>
              </a:rPr>
              <a:t>' customers are split into </a:t>
            </a:r>
            <a:r>
              <a:rPr lang="en-GB">
                <a:solidFill>
                  <a:schemeClr val="tx2"/>
                </a:solidFill>
                <a:latin typeface="Trebuchet MS" panose="020B0603020202020204" pitchFamily="34" charset="0"/>
              </a:rPr>
              <a:t>three distinct customers’ segments </a:t>
            </a:r>
            <a:r>
              <a:rPr lang="en-GB">
                <a:latin typeface="Trebuchet MS" panose="020B0603020202020204" pitchFamily="34" charset="0"/>
              </a:rPr>
              <a:t>with </a:t>
            </a:r>
            <a:r>
              <a:rPr lang="en-GB">
                <a:solidFill>
                  <a:schemeClr val="tx2"/>
                </a:solidFill>
                <a:latin typeface="Trebuchet MS" panose="020B0603020202020204" pitchFamily="34" charset="0"/>
              </a:rPr>
              <a:t>different dynamics </a:t>
            </a:r>
            <a:r>
              <a:rPr lang="en-GB">
                <a:latin typeface="Trebuchet MS" panose="020B0603020202020204" pitchFamily="34" charset="0"/>
              </a:rPr>
              <a:t>but also </a:t>
            </a:r>
            <a:r>
              <a:rPr lang="en-GB">
                <a:solidFill>
                  <a:schemeClr val="tx2"/>
                </a:solidFill>
                <a:latin typeface="Trebuchet MS" panose="020B0603020202020204" pitchFamily="34" charset="0"/>
              </a:rPr>
              <a:t>different characteristics </a:t>
            </a:r>
            <a:r>
              <a:rPr lang="en-GB">
                <a:latin typeface="Trebuchet MS" panose="020B0603020202020204" pitchFamily="34" charset="0"/>
              </a:rPr>
              <a:t>and have been analysed with different </a:t>
            </a:r>
            <a:r>
              <a:rPr lang="en-GB">
                <a:solidFill>
                  <a:schemeClr val="tx2"/>
                </a:solidFill>
                <a:latin typeface="Trebuchet MS" panose="020B0603020202020204" pitchFamily="34" charset="0"/>
              </a:rPr>
              <a:t>methodologies</a:t>
            </a:r>
          </a:p>
        </p:txBody>
      </p:sp>
      <p:sp>
        <p:nvSpPr>
          <p:cNvPr id="3" name="Espace réservé du texte 2">
            <a:extLst>
              <a:ext uri="{FF2B5EF4-FFF2-40B4-BE49-F238E27FC236}">
                <a16:creationId xmlns:a16="http://schemas.microsoft.com/office/drawing/2014/main" id="{2A97A41F-2CC4-4366-AFFC-8A5AF678FEB8}"/>
              </a:ext>
            </a:extLst>
          </p:cNvPr>
          <p:cNvSpPr>
            <a:spLocks noGrp="1"/>
          </p:cNvSpPr>
          <p:nvPr>
            <p:ph type="body" sz="quarter" idx="10"/>
          </p:nvPr>
        </p:nvSpPr>
        <p:spPr/>
        <p:txBody>
          <a:bodyPr/>
          <a:lstStyle/>
          <a:p>
            <a:pPr marL="0" indent="0">
              <a:spcBef>
                <a:spcPts val="0"/>
              </a:spcBef>
              <a:buNone/>
            </a:pPr>
            <a:r>
              <a:rPr lang="en-GB" sz="800" i="1" kern="0"/>
              <a:t>Sources: eleven research &amp; analysis, company data</a:t>
            </a:r>
          </a:p>
        </p:txBody>
      </p:sp>
      <p:cxnSp>
        <p:nvCxnSpPr>
          <p:cNvPr id="10" name="Connecteur droit 208">
            <a:extLst>
              <a:ext uri="{FF2B5EF4-FFF2-40B4-BE49-F238E27FC236}">
                <a16:creationId xmlns:a16="http://schemas.microsoft.com/office/drawing/2014/main" id="{236303E5-0D61-4672-9F6C-1FFA431E58CE}"/>
              </a:ext>
            </a:extLst>
          </p:cNvPr>
          <p:cNvCxnSpPr>
            <a:cxnSpLocks/>
          </p:cNvCxnSpPr>
          <p:nvPr/>
        </p:nvCxnSpPr>
        <p:spPr bwMode="auto">
          <a:xfrm>
            <a:off x="384975" y="935802"/>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1" name="Rectangle 84">
            <a:extLst>
              <a:ext uri="{FF2B5EF4-FFF2-40B4-BE49-F238E27FC236}">
                <a16:creationId xmlns:a16="http://schemas.microsoft.com/office/drawing/2014/main" id="{9CF18410-6B44-41DC-A66D-C89D28D0B509}"/>
              </a:ext>
            </a:extLst>
          </p:cNvPr>
          <p:cNvSpPr/>
          <p:nvPr/>
        </p:nvSpPr>
        <p:spPr bwMode="auto">
          <a:xfrm>
            <a:off x="2728691" y="850587"/>
            <a:ext cx="4350022" cy="259809"/>
          </a:xfrm>
          <a:prstGeom prst="rect">
            <a:avLst/>
          </a:prstGeom>
          <a:solidFill>
            <a:schemeClr val="bg1"/>
          </a:solidFill>
        </p:spPr>
        <p:txBody>
          <a:bodyPr wrap="square" rtlCol="0">
            <a:noAutofit/>
          </a:bodyPr>
          <a:lstStyle/>
          <a:p>
            <a:pPr algn="ctr"/>
            <a:r>
              <a:rPr lang="en-GB" sz="1100" err="1">
                <a:latin typeface="Trebuchet MS" panose="020B0603020202020204" pitchFamily="34" charset="0"/>
              </a:rPr>
              <a:t>Altares</a:t>
            </a:r>
            <a:r>
              <a:rPr lang="en-GB" sz="1100">
                <a:latin typeface="Trebuchet MS" panose="020B0603020202020204" pitchFamily="34" charset="0"/>
              </a:rPr>
              <a:t>’ three customer bases analysis methodologies</a:t>
            </a:r>
          </a:p>
        </p:txBody>
      </p:sp>
      <p:sp>
        <p:nvSpPr>
          <p:cNvPr id="13" name="Rectangle 12">
            <a:extLst>
              <a:ext uri="{FF2B5EF4-FFF2-40B4-BE49-F238E27FC236}">
                <a16:creationId xmlns:a16="http://schemas.microsoft.com/office/drawing/2014/main" id="{73CBFE9A-D810-4EA0-935D-2E8BBEC0D1CF}"/>
              </a:ext>
            </a:extLst>
          </p:cNvPr>
          <p:cNvSpPr/>
          <p:nvPr/>
        </p:nvSpPr>
        <p:spPr bwMode="auto">
          <a:xfrm>
            <a:off x="3725907" y="1248620"/>
            <a:ext cx="2682857" cy="377778"/>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sp>
        <p:nvSpPr>
          <p:cNvPr id="14" name="Rectangle 13">
            <a:extLst>
              <a:ext uri="{FF2B5EF4-FFF2-40B4-BE49-F238E27FC236}">
                <a16:creationId xmlns:a16="http://schemas.microsoft.com/office/drawing/2014/main" id="{5B153C6B-A7B2-45BA-819E-B23707B40BC5}"/>
              </a:ext>
            </a:extLst>
          </p:cNvPr>
          <p:cNvSpPr/>
          <p:nvPr/>
        </p:nvSpPr>
        <p:spPr bwMode="auto">
          <a:xfrm>
            <a:off x="6694509" y="1248620"/>
            <a:ext cx="2682857" cy="377778"/>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16" name="Picture 2 - 1" descr="Drapeau des Pays-Bas — Wikipédia">
            <a:extLst>
              <a:ext uri="{FF2B5EF4-FFF2-40B4-BE49-F238E27FC236}">
                <a16:creationId xmlns:a16="http://schemas.microsoft.com/office/drawing/2014/main" id="{110AC6D1-5AA5-4067-A38F-764B952EE13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55096" y="1314568"/>
            <a:ext cx="407918"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17" name="Picture 2" descr="5 ft x 3 ft 150 x 90 cm-DRAPEAU BELGE Belgique 100% Polyester ...">
            <a:extLst>
              <a:ext uri="{FF2B5EF4-FFF2-40B4-BE49-F238E27FC236}">
                <a16:creationId xmlns:a16="http://schemas.microsoft.com/office/drawing/2014/main" id="{3CEB26AD-DF5D-4012-A533-F1799594EEB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973"/>
          <a:stretch/>
        </p:blipFill>
        <p:spPr bwMode="auto">
          <a:xfrm>
            <a:off x="5492160" y="1314568"/>
            <a:ext cx="407923"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18" name="Picture 5" descr="A picture containing bird&#10;&#10;Description automatically generated">
            <a:extLst>
              <a:ext uri="{FF2B5EF4-FFF2-40B4-BE49-F238E27FC236}">
                <a16:creationId xmlns:a16="http://schemas.microsoft.com/office/drawing/2014/main" id="{EA7D3064-DE98-46C5-BBDF-7670EDA0C44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873626" y="1314568"/>
            <a:ext cx="407923" cy="245391"/>
          </a:xfrm>
          <a:prstGeom prst="roundRect">
            <a:avLst/>
          </a:prstGeom>
          <a:noFill/>
        </p:spPr>
      </p:pic>
      <p:pic>
        <p:nvPicPr>
          <p:cNvPr id="19" name="Picture 2">
            <a:extLst>
              <a:ext uri="{FF2B5EF4-FFF2-40B4-BE49-F238E27FC236}">
                <a16:creationId xmlns:a16="http://schemas.microsoft.com/office/drawing/2014/main" id="{9482FC1D-97BB-46E8-9D3A-1A7223E9600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500785" y="1279813"/>
            <a:ext cx="931277" cy="315392"/>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F18540B5-AF48-4E00-A11D-ECFFF75F52D6}"/>
              </a:ext>
            </a:extLst>
          </p:cNvPr>
          <p:cNvSpPr/>
          <p:nvPr/>
        </p:nvSpPr>
        <p:spPr bwMode="auto">
          <a:xfrm>
            <a:off x="757306" y="5542067"/>
            <a:ext cx="2682857" cy="840415"/>
          </a:xfrm>
          <a:prstGeom prst="rect">
            <a:avLst/>
          </a:prstGeom>
          <a:solidFill>
            <a:srgbClr val="F2F2F2"/>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Aft>
                <a:spcPts val="600"/>
              </a:spcAft>
              <a:buClr>
                <a:schemeClr val="tx1"/>
              </a:buClr>
              <a:buFont typeface="Arial" panose="020B0604020202020204" pitchFamily="34" charset="0"/>
              <a:buChar char="•"/>
            </a:pPr>
            <a:r>
              <a:rPr lang="en-GB" sz="1000">
                <a:latin typeface="Trebuchet MS" panose="020B0603020202020204" pitchFamily="34" charset="0"/>
              </a:rPr>
              <a:t>Client = </a:t>
            </a:r>
            <a:r>
              <a:rPr lang="en-GB" sz="1000">
                <a:solidFill>
                  <a:schemeClr val="tx2"/>
                </a:solidFill>
                <a:latin typeface="Trebuchet MS" panose="020B0603020202020204" pitchFamily="34" charset="0"/>
              </a:rPr>
              <a:t>group,</a:t>
            </a:r>
            <a:r>
              <a:rPr lang="en-GB" sz="1000">
                <a:latin typeface="Trebuchet MS" panose="020B0603020202020204" pitchFamily="34" charset="0"/>
              </a:rPr>
              <a:t> i.e. a sum of entities that can individually subscribe contracts with </a:t>
            </a:r>
            <a:r>
              <a:rPr lang="en-GB" sz="1000" err="1">
                <a:latin typeface="Trebuchet MS" panose="020B0603020202020204" pitchFamily="34" charset="0"/>
              </a:rPr>
              <a:t>Altares</a:t>
            </a:r>
            <a:endParaRPr lang="en-GB" sz="1000">
              <a:latin typeface="Trebuchet MS" panose="020B0603020202020204" pitchFamily="34" charset="0"/>
            </a:endParaRPr>
          </a:p>
          <a:p>
            <a:pPr marL="171450" indent="-171450">
              <a:spcAft>
                <a:spcPts val="60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2 400 groups</a:t>
            </a:r>
            <a:r>
              <a:rPr lang="en-GB" sz="1000">
                <a:latin typeface="Trebuchet MS" panose="020B0603020202020204" pitchFamily="34" charset="0"/>
              </a:rPr>
              <a:t> </a:t>
            </a:r>
            <a:r>
              <a:rPr lang="en-GB" sz="1000" err="1">
                <a:latin typeface="Trebuchet MS" panose="020B0603020202020204" pitchFamily="34" charset="0"/>
              </a:rPr>
              <a:t>analyzed</a:t>
            </a:r>
            <a:r>
              <a:rPr lang="en-GB" sz="1000">
                <a:latin typeface="Trebuchet MS" panose="020B0603020202020204" pitchFamily="34" charset="0"/>
              </a:rPr>
              <a:t> from </a:t>
            </a:r>
            <a:r>
              <a:rPr lang="en-GB" sz="1000">
                <a:solidFill>
                  <a:schemeClr val="tx2"/>
                </a:solidFill>
                <a:latin typeface="Trebuchet MS" panose="020B0603020202020204" pitchFamily="34" charset="0"/>
              </a:rPr>
              <a:t>2016 to 2019</a:t>
            </a:r>
          </a:p>
        </p:txBody>
      </p:sp>
      <p:grpSp>
        <p:nvGrpSpPr>
          <p:cNvPr id="23" name="Group 22">
            <a:extLst>
              <a:ext uri="{FF2B5EF4-FFF2-40B4-BE49-F238E27FC236}">
                <a16:creationId xmlns:a16="http://schemas.microsoft.com/office/drawing/2014/main" id="{13869AC7-8941-4F1C-BB2B-AFC74B157568}"/>
              </a:ext>
            </a:extLst>
          </p:cNvPr>
          <p:cNvGrpSpPr/>
          <p:nvPr/>
        </p:nvGrpSpPr>
        <p:grpSpPr>
          <a:xfrm>
            <a:off x="582712" y="1094684"/>
            <a:ext cx="2857451" cy="531716"/>
            <a:chOff x="582712" y="1094684"/>
            <a:chExt cx="2857451" cy="531716"/>
          </a:xfrm>
        </p:grpSpPr>
        <p:sp>
          <p:nvSpPr>
            <p:cNvPr id="12" name="Rectangle 11">
              <a:extLst>
                <a:ext uri="{FF2B5EF4-FFF2-40B4-BE49-F238E27FC236}">
                  <a16:creationId xmlns:a16="http://schemas.microsoft.com/office/drawing/2014/main" id="{F85FB1B6-9C0F-45F8-AF88-485F185D137F}"/>
                </a:ext>
              </a:extLst>
            </p:cNvPr>
            <p:cNvSpPr/>
            <p:nvPr/>
          </p:nvSpPr>
          <p:spPr bwMode="auto">
            <a:xfrm>
              <a:off x="757306" y="1248620"/>
              <a:ext cx="2682857" cy="377780"/>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15" name="Picture 2" descr="Drapeau France">
              <a:extLst>
                <a:ext uri="{FF2B5EF4-FFF2-40B4-BE49-F238E27FC236}">
                  <a16:creationId xmlns:a16="http://schemas.microsoft.com/office/drawing/2014/main" id="{759BF6B6-0C56-4009-83DB-4B243321788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17006" b="16757"/>
            <a:stretch/>
          </p:blipFill>
          <p:spPr bwMode="auto">
            <a:xfrm>
              <a:off x="1894775" y="1314568"/>
              <a:ext cx="407919" cy="245885"/>
            </a:xfrm>
            <a:prstGeom prst="roundRect">
              <a:avLst/>
            </a:prstGeom>
            <a:noFill/>
            <a:extLst>
              <a:ext uri="{909E8E84-426E-40DD-AFC4-6F175D3DCCD1}">
                <a14:hiddenFill xmlns:a14="http://schemas.microsoft.com/office/drawing/2010/main">
                  <a:solidFill>
                    <a:srgbClr val="FFFFFF"/>
                  </a:solidFill>
                </a14:hiddenFill>
              </a:ext>
            </a:extLst>
          </p:spPr>
        </p:pic>
        <p:sp>
          <p:nvSpPr>
            <p:cNvPr id="4" name="Ellipse 3">
              <a:extLst>
                <a:ext uri="{FF2B5EF4-FFF2-40B4-BE49-F238E27FC236}">
                  <a16:creationId xmlns:a16="http://schemas.microsoft.com/office/drawing/2014/main" id="{A53CE249-CA87-48AE-8026-4FB6487E8088}"/>
                </a:ext>
              </a:extLst>
            </p:cNvPr>
            <p:cNvSpPr/>
            <p:nvPr/>
          </p:nvSpPr>
          <p:spPr bwMode="auto">
            <a:xfrm>
              <a:off x="582712" y="1094684"/>
              <a:ext cx="349188" cy="33417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1</a:t>
              </a:r>
            </a:p>
          </p:txBody>
        </p:sp>
      </p:grpSp>
      <p:sp>
        <p:nvSpPr>
          <p:cNvPr id="38" name="Ellipse 37">
            <a:extLst>
              <a:ext uri="{FF2B5EF4-FFF2-40B4-BE49-F238E27FC236}">
                <a16:creationId xmlns:a16="http://schemas.microsoft.com/office/drawing/2014/main" id="{B82E3964-B351-42FE-8A49-411A4604EC02}"/>
              </a:ext>
            </a:extLst>
          </p:cNvPr>
          <p:cNvSpPr/>
          <p:nvPr/>
        </p:nvSpPr>
        <p:spPr bwMode="auto">
          <a:xfrm>
            <a:off x="3551313" y="1094684"/>
            <a:ext cx="349188" cy="33417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2</a:t>
            </a:r>
          </a:p>
        </p:txBody>
      </p:sp>
      <p:sp>
        <p:nvSpPr>
          <p:cNvPr id="39" name="Ellipse 38">
            <a:extLst>
              <a:ext uri="{FF2B5EF4-FFF2-40B4-BE49-F238E27FC236}">
                <a16:creationId xmlns:a16="http://schemas.microsoft.com/office/drawing/2014/main" id="{CB2D7823-67EF-45E3-ACF2-467F3CC021EE}"/>
              </a:ext>
            </a:extLst>
          </p:cNvPr>
          <p:cNvSpPr/>
          <p:nvPr/>
        </p:nvSpPr>
        <p:spPr bwMode="auto">
          <a:xfrm>
            <a:off x="6519914" y="1094684"/>
            <a:ext cx="349188" cy="33417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3</a:t>
            </a:r>
          </a:p>
        </p:txBody>
      </p:sp>
      <p:sp>
        <p:nvSpPr>
          <p:cNvPr id="6" name="Triangle isocèle 5">
            <a:extLst>
              <a:ext uri="{FF2B5EF4-FFF2-40B4-BE49-F238E27FC236}">
                <a16:creationId xmlns:a16="http://schemas.microsoft.com/office/drawing/2014/main" id="{9874D83B-2690-4976-AEE0-06E8D29EDF40}"/>
              </a:ext>
            </a:extLst>
          </p:cNvPr>
          <p:cNvSpPr/>
          <p:nvPr/>
        </p:nvSpPr>
        <p:spPr bwMode="auto">
          <a:xfrm flipV="1">
            <a:off x="757306" y="1674753"/>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5" name="Rectangle 24">
            <a:extLst>
              <a:ext uri="{FF2B5EF4-FFF2-40B4-BE49-F238E27FC236}">
                <a16:creationId xmlns:a16="http://schemas.microsoft.com/office/drawing/2014/main" id="{19EA180B-5A11-4563-9446-1F4DFF0AE3EE}"/>
              </a:ext>
            </a:extLst>
          </p:cNvPr>
          <p:cNvSpPr/>
          <p:nvPr/>
        </p:nvSpPr>
        <p:spPr bwMode="auto">
          <a:xfrm>
            <a:off x="757306" y="2559155"/>
            <a:ext cx="2682856" cy="2882796"/>
          </a:xfrm>
          <a:prstGeom prst="rect">
            <a:avLst/>
          </a:prstGeom>
          <a:solidFill>
            <a:srgbClr val="F2F2F2"/>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latin typeface="Trebuchet MS" panose="020B0603020202020204" pitchFamily="34" charset="0"/>
              </a:rPr>
              <a:t>Years studied: </a:t>
            </a:r>
            <a:r>
              <a:rPr lang="en-GB" sz="1000">
                <a:solidFill>
                  <a:schemeClr val="tx2"/>
                </a:solidFill>
                <a:latin typeface="Trebuchet MS" panose="020B0603020202020204" pitchFamily="34" charset="0"/>
              </a:rPr>
              <a:t>2016 to 2019</a:t>
            </a:r>
          </a:p>
          <a:p>
            <a:pPr marL="0" marR="0" indent="0" algn="ctr" defTabSz="914400" rtl="0" eaLnBrk="1" fontAlgn="base" latinLnBrk="0" hangingPunct="1">
              <a:lnSpc>
                <a:spcPct val="100000"/>
              </a:lnSpc>
              <a:spcBef>
                <a:spcPct val="0"/>
              </a:spcBef>
              <a:spcAft>
                <a:spcPct val="0"/>
              </a:spcAft>
              <a:buClrTx/>
              <a:buSzTx/>
              <a:buFontTx/>
              <a:buNone/>
              <a:tabLst/>
            </a:pPr>
            <a:r>
              <a:rPr lang="en-GB" sz="1000" b="1">
                <a:latin typeface="Trebuchet MS" panose="020B0603020202020204" pitchFamily="34" charset="0"/>
              </a:rPr>
              <a:t>Quantity followed: </a:t>
            </a:r>
            <a:r>
              <a:rPr lang="en-GB" sz="1000">
                <a:solidFill>
                  <a:schemeClr val="tx2"/>
                </a:solidFill>
                <a:latin typeface="Trebuchet MS" panose="020B0603020202020204" pitchFamily="34" charset="0"/>
              </a:rPr>
              <a:t>billing values </a:t>
            </a:r>
          </a:p>
        </p:txBody>
      </p:sp>
      <p:grpSp>
        <p:nvGrpSpPr>
          <p:cNvPr id="7" name="Group 6">
            <a:extLst>
              <a:ext uri="{FF2B5EF4-FFF2-40B4-BE49-F238E27FC236}">
                <a16:creationId xmlns:a16="http://schemas.microsoft.com/office/drawing/2014/main" id="{5524EE16-1286-4EA2-B490-FDE9F33720E1}"/>
              </a:ext>
            </a:extLst>
          </p:cNvPr>
          <p:cNvGrpSpPr/>
          <p:nvPr/>
        </p:nvGrpSpPr>
        <p:grpSpPr>
          <a:xfrm>
            <a:off x="845372" y="2632910"/>
            <a:ext cx="2009775" cy="679490"/>
            <a:chOff x="828674" y="2607735"/>
            <a:chExt cx="2009775" cy="679490"/>
          </a:xfrm>
        </p:grpSpPr>
        <p:sp>
          <p:nvSpPr>
            <p:cNvPr id="52" name="Trapèze 123">
              <a:extLst>
                <a:ext uri="{FF2B5EF4-FFF2-40B4-BE49-F238E27FC236}">
                  <a16:creationId xmlns:a16="http://schemas.microsoft.com/office/drawing/2014/main" id="{509824F6-A7F0-449E-8536-452E7D1D2232}"/>
                </a:ext>
              </a:extLst>
            </p:cNvPr>
            <p:cNvSpPr/>
            <p:nvPr/>
          </p:nvSpPr>
          <p:spPr bwMode="auto">
            <a:xfrm rot="10800000">
              <a:off x="828674" y="2607735"/>
              <a:ext cx="2009775" cy="679490"/>
            </a:xfrm>
            <a:prstGeom prst="trapezoid">
              <a:avLst>
                <a:gd name="adj" fmla="val 47556"/>
              </a:avLst>
            </a:prstGeom>
            <a:solidFill>
              <a:srgbClr val="36964F">
                <a:lumMod val="20000"/>
                <a:lumOff val="8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646464"/>
                </a:solidFill>
                <a:effectLst/>
                <a:uLnTx/>
                <a:uFillTx/>
                <a:latin typeface="Trebuchet MS" pitchFamily="34" charset="0"/>
                <a:ea typeface="+mn-ea"/>
                <a:cs typeface="Arial" pitchFamily="34" charset="0"/>
              </a:endParaRPr>
            </a:p>
          </p:txBody>
        </p:sp>
        <p:sp>
          <p:nvSpPr>
            <p:cNvPr id="54" name="TextBox 53">
              <a:extLst>
                <a:ext uri="{FF2B5EF4-FFF2-40B4-BE49-F238E27FC236}">
                  <a16:creationId xmlns:a16="http://schemas.microsoft.com/office/drawing/2014/main" id="{37D2D071-C05C-4471-911D-E7F09D694F8F}"/>
                </a:ext>
              </a:extLst>
            </p:cNvPr>
            <p:cNvSpPr txBox="1"/>
            <p:nvPr/>
          </p:nvSpPr>
          <p:spPr>
            <a:xfrm>
              <a:off x="1158429" y="2678176"/>
              <a:ext cx="1350264" cy="584775"/>
            </a:xfrm>
            <a:prstGeom prst="rect">
              <a:avLst/>
            </a:prstGeom>
            <a:noFill/>
          </p:spPr>
          <p:txBody>
            <a:bodyPr wrap="square" rtlCol="0">
              <a:spAutoFit/>
            </a:bodyPr>
            <a:lstStyle/>
            <a:p>
              <a:pPr algn="ctr">
                <a:spcBef>
                  <a:spcPts val="600"/>
                </a:spcBef>
              </a:pPr>
              <a:r>
                <a:rPr lang="en-GB" sz="900" b="1">
                  <a:latin typeface="+mj-lt"/>
                </a:rPr>
                <a:t>Whole sales database</a:t>
              </a:r>
            </a:p>
            <a:p>
              <a:pPr algn="ctr">
                <a:spcBef>
                  <a:spcPts val="600"/>
                </a:spcBef>
              </a:pPr>
              <a:r>
                <a:rPr lang="en-GB" sz="900" i="1">
                  <a:latin typeface="+mj-lt"/>
                </a:rPr>
                <a:t>Each line represent a deal </a:t>
              </a:r>
            </a:p>
          </p:txBody>
        </p:sp>
      </p:grpSp>
      <p:grpSp>
        <p:nvGrpSpPr>
          <p:cNvPr id="9" name="Group 8">
            <a:extLst>
              <a:ext uri="{FF2B5EF4-FFF2-40B4-BE49-F238E27FC236}">
                <a16:creationId xmlns:a16="http://schemas.microsoft.com/office/drawing/2014/main" id="{BA543026-2740-434E-BA5B-E604AE536D26}"/>
              </a:ext>
            </a:extLst>
          </p:cNvPr>
          <p:cNvGrpSpPr/>
          <p:nvPr/>
        </p:nvGrpSpPr>
        <p:grpSpPr>
          <a:xfrm>
            <a:off x="1180834" y="3407171"/>
            <a:ext cx="1318537" cy="679490"/>
            <a:chOff x="1180834" y="3422359"/>
            <a:chExt cx="1318537" cy="679490"/>
          </a:xfrm>
        </p:grpSpPr>
        <p:sp>
          <p:nvSpPr>
            <p:cNvPr id="53" name="Trapèze 149">
              <a:extLst>
                <a:ext uri="{FF2B5EF4-FFF2-40B4-BE49-F238E27FC236}">
                  <a16:creationId xmlns:a16="http://schemas.microsoft.com/office/drawing/2014/main" id="{810CB554-BE35-4F5C-881B-B630D0847B01}"/>
                </a:ext>
              </a:extLst>
            </p:cNvPr>
            <p:cNvSpPr/>
            <p:nvPr/>
          </p:nvSpPr>
          <p:spPr bwMode="auto">
            <a:xfrm rot="10800000">
              <a:off x="1180834" y="3422359"/>
              <a:ext cx="1318537" cy="679490"/>
            </a:xfrm>
            <a:prstGeom prst="trapezoid">
              <a:avLst>
                <a:gd name="adj" fmla="val 33463"/>
              </a:avLst>
            </a:prstGeom>
            <a:solidFill>
              <a:srgbClr val="36964F">
                <a:lumMod val="40000"/>
                <a:lumOff val="6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646464"/>
                </a:solidFill>
                <a:effectLst/>
                <a:uLnTx/>
                <a:uFillTx/>
                <a:latin typeface="Trebuchet MS" pitchFamily="34" charset="0"/>
                <a:ea typeface="+mn-ea"/>
                <a:cs typeface="Arial" pitchFamily="34" charset="0"/>
              </a:endParaRPr>
            </a:p>
          </p:txBody>
        </p:sp>
        <p:sp>
          <p:nvSpPr>
            <p:cNvPr id="55" name="TextBox 54">
              <a:extLst>
                <a:ext uri="{FF2B5EF4-FFF2-40B4-BE49-F238E27FC236}">
                  <a16:creationId xmlns:a16="http://schemas.microsoft.com/office/drawing/2014/main" id="{D14A3D29-7105-4348-B9CB-B8E500B90A67}"/>
                </a:ext>
              </a:extLst>
            </p:cNvPr>
            <p:cNvSpPr txBox="1"/>
            <p:nvPr/>
          </p:nvSpPr>
          <p:spPr>
            <a:xfrm>
              <a:off x="1466548" y="3508189"/>
              <a:ext cx="767423" cy="507831"/>
            </a:xfrm>
            <a:prstGeom prst="rect">
              <a:avLst/>
            </a:prstGeom>
            <a:noFill/>
          </p:spPr>
          <p:txBody>
            <a:bodyPr wrap="square" rtlCol="0">
              <a:spAutoFit/>
            </a:bodyPr>
            <a:lstStyle/>
            <a:p>
              <a:pPr algn="ctr"/>
              <a:r>
                <a:rPr lang="en-GB" sz="900" b="1">
                  <a:latin typeface="+mj-lt"/>
                </a:rPr>
                <a:t>Recuring contracts database</a:t>
              </a:r>
            </a:p>
          </p:txBody>
        </p:sp>
      </p:grpSp>
      <p:sp>
        <p:nvSpPr>
          <p:cNvPr id="51" name="Rectangle 50">
            <a:extLst>
              <a:ext uri="{FF2B5EF4-FFF2-40B4-BE49-F238E27FC236}">
                <a16:creationId xmlns:a16="http://schemas.microsoft.com/office/drawing/2014/main" id="{5B537737-0E1F-4FBD-BCF6-39954506E46A}"/>
              </a:ext>
            </a:extLst>
          </p:cNvPr>
          <p:cNvSpPr/>
          <p:nvPr/>
        </p:nvSpPr>
        <p:spPr bwMode="auto">
          <a:xfrm>
            <a:off x="1317328" y="4181431"/>
            <a:ext cx="1045551" cy="851397"/>
          </a:xfrm>
          <a:prstGeom prst="rect">
            <a:avLst/>
          </a:prstGeom>
          <a:solidFill>
            <a:schemeClr val="bg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Aft>
                <a:spcPts val="600"/>
              </a:spcAft>
            </a:pPr>
            <a:r>
              <a:rPr lang="en-GB" sz="900" b="1">
                <a:solidFill>
                  <a:schemeClr val="bg1"/>
                </a:solidFill>
                <a:latin typeface="Trebuchet MS" panose="020B0603020202020204" pitchFamily="34" charset="0"/>
              </a:rPr>
              <a:t>Scope of the analysis</a:t>
            </a:r>
          </a:p>
          <a:p>
            <a:pPr algn="ctr">
              <a:spcAft>
                <a:spcPts val="600"/>
              </a:spcAft>
            </a:pPr>
            <a:r>
              <a:rPr lang="en-GB" sz="900" i="1">
                <a:solidFill>
                  <a:schemeClr val="bg1"/>
                </a:solidFill>
                <a:latin typeface="Trebuchet MS" panose="020B0603020202020204" pitchFamily="34" charset="0"/>
              </a:rPr>
              <a:t>Only recurring contracts with </a:t>
            </a:r>
            <a:r>
              <a:rPr lang="en-GB" sz="900" i="1" err="1">
                <a:solidFill>
                  <a:schemeClr val="bg1"/>
                </a:solidFill>
                <a:latin typeface="Trebuchet MS" panose="020B0603020202020204" pitchFamily="34" charset="0"/>
              </a:rPr>
              <a:t>Altares</a:t>
            </a:r>
            <a:r>
              <a:rPr lang="en-GB" sz="900" i="1">
                <a:solidFill>
                  <a:schemeClr val="bg1"/>
                </a:solidFill>
                <a:latin typeface="Trebuchet MS" panose="020B0603020202020204" pitchFamily="34" charset="0"/>
              </a:rPr>
              <a:t>’ clients </a:t>
            </a:r>
          </a:p>
        </p:txBody>
      </p:sp>
      <p:sp>
        <p:nvSpPr>
          <p:cNvPr id="57" name="TextBox 56">
            <a:extLst>
              <a:ext uri="{FF2B5EF4-FFF2-40B4-BE49-F238E27FC236}">
                <a16:creationId xmlns:a16="http://schemas.microsoft.com/office/drawing/2014/main" id="{4F74728F-E608-4246-A1A6-B32D3E3DD913}"/>
              </a:ext>
            </a:extLst>
          </p:cNvPr>
          <p:cNvSpPr txBox="1"/>
          <p:nvPr/>
        </p:nvSpPr>
        <p:spPr>
          <a:xfrm>
            <a:off x="2821814" y="4086758"/>
            <a:ext cx="629637" cy="646331"/>
          </a:xfrm>
          <a:prstGeom prst="rect">
            <a:avLst/>
          </a:prstGeom>
          <a:noFill/>
        </p:spPr>
        <p:txBody>
          <a:bodyPr wrap="square" lIns="0" rIns="0" rtlCol="0">
            <a:spAutoFit/>
          </a:bodyPr>
          <a:lstStyle/>
          <a:p>
            <a:r>
              <a:rPr lang="en-GB" sz="900" b="1" dirty="0">
                <a:latin typeface="Trebuchet MS" panose="020B0603020202020204" pitchFamily="34" charset="0"/>
              </a:rPr>
              <a:t>revenue coming from D&amp;B partnership</a:t>
            </a:r>
          </a:p>
        </p:txBody>
      </p:sp>
      <p:sp>
        <p:nvSpPr>
          <p:cNvPr id="58" name="Minus Sign 57">
            <a:extLst>
              <a:ext uri="{FF2B5EF4-FFF2-40B4-BE49-F238E27FC236}">
                <a16:creationId xmlns:a16="http://schemas.microsoft.com/office/drawing/2014/main" id="{5A1B86A4-AD88-4BF7-AA60-0EF8F7DB1C78}"/>
              </a:ext>
            </a:extLst>
          </p:cNvPr>
          <p:cNvSpPr/>
          <p:nvPr/>
        </p:nvSpPr>
        <p:spPr bwMode="auto">
          <a:xfrm>
            <a:off x="2635185" y="4270871"/>
            <a:ext cx="136310" cy="162421"/>
          </a:xfrm>
          <a:prstGeom prst="mathMinus">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700" b="0" i="0" u="none" strike="noStrike" cap="none" normalizeH="0" baseline="0">
              <a:ln>
                <a:noFill/>
              </a:ln>
              <a:solidFill>
                <a:schemeClr val="tx1"/>
              </a:solidFill>
              <a:effectLst/>
              <a:latin typeface="Trebuchet MS" pitchFamily="34" charset="0"/>
            </a:endParaRPr>
          </a:p>
        </p:txBody>
      </p:sp>
      <p:sp>
        <p:nvSpPr>
          <p:cNvPr id="59" name="TextBox 58">
            <a:extLst>
              <a:ext uri="{FF2B5EF4-FFF2-40B4-BE49-F238E27FC236}">
                <a16:creationId xmlns:a16="http://schemas.microsoft.com/office/drawing/2014/main" id="{D9BFBB26-E00C-4586-AF26-199BD60B579C}"/>
              </a:ext>
            </a:extLst>
          </p:cNvPr>
          <p:cNvSpPr txBox="1"/>
          <p:nvPr/>
        </p:nvSpPr>
        <p:spPr>
          <a:xfrm>
            <a:off x="2932809" y="3334919"/>
            <a:ext cx="509452" cy="369332"/>
          </a:xfrm>
          <a:prstGeom prst="rect">
            <a:avLst/>
          </a:prstGeom>
          <a:noFill/>
        </p:spPr>
        <p:txBody>
          <a:bodyPr wrap="square" lIns="0" rIns="0" rtlCol="0">
            <a:spAutoFit/>
          </a:bodyPr>
          <a:lstStyle/>
          <a:p>
            <a:r>
              <a:rPr lang="en-GB" sz="900" b="1">
                <a:latin typeface="Trebuchet MS" panose="020B0603020202020204" pitchFamily="34" charset="0"/>
              </a:rPr>
              <a:t>One-off contracts </a:t>
            </a:r>
          </a:p>
        </p:txBody>
      </p:sp>
      <p:sp>
        <p:nvSpPr>
          <p:cNvPr id="60" name="Minus Sign 59">
            <a:extLst>
              <a:ext uri="{FF2B5EF4-FFF2-40B4-BE49-F238E27FC236}">
                <a16:creationId xmlns:a16="http://schemas.microsoft.com/office/drawing/2014/main" id="{B205C86D-ADE0-4376-A350-74C77837526F}"/>
              </a:ext>
            </a:extLst>
          </p:cNvPr>
          <p:cNvSpPr/>
          <p:nvPr/>
        </p:nvSpPr>
        <p:spPr bwMode="auto">
          <a:xfrm>
            <a:off x="2765067" y="3416589"/>
            <a:ext cx="136310" cy="162421"/>
          </a:xfrm>
          <a:prstGeom prst="mathMinus">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700" b="0" i="0" u="none" strike="noStrike" cap="none" normalizeH="0" baseline="0">
              <a:ln>
                <a:noFill/>
              </a:ln>
              <a:solidFill>
                <a:schemeClr val="tx1"/>
              </a:solidFill>
              <a:effectLst/>
              <a:latin typeface="Trebuchet MS" pitchFamily="34" charset="0"/>
            </a:endParaRPr>
          </a:p>
        </p:txBody>
      </p:sp>
      <p:sp>
        <p:nvSpPr>
          <p:cNvPr id="61" name="Forme 51">
            <a:extLst>
              <a:ext uri="{FF2B5EF4-FFF2-40B4-BE49-F238E27FC236}">
                <a16:creationId xmlns:a16="http://schemas.microsoft.com/office/drawing/2014/main" id="{B0B1C6DB-B260-4DCA-872C-A071E25DB88F}"/>
              </a:ext>
            </a:extLst>
          </p:cNvPr>
          <p:cNvSpPr/>
          <p:nvPr/>
        </p:nvSpPr>
        <p:spPr>
          <a:xfrm rot="8034146">
            <a:off x="2398244" y="3302840"/>
            <a:ext cx="474202" cy="369315"/>
          </a:xfrm>
          <a:prstGeom prst="swooshArrow">
            <a:avLst>
              <a:gd name="adj1" fmla="val 25000"/>
              <a:gd name="adj2" fmla="val 25000"/>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defTabSz="422041" fontAlgn="base">
              <a:spcBef>
                <a:spcPct val="0"/>
              </a:spcBef>
              <a:spcAft>
                <a:spcPct val="0"/>
              </a:spcAft>
            </a:pPr>
            <a:endParaRPr lang="en-GB" sz="800">
              <a:solidFill>
                <a:prstClr val="black">
                  <a:hueOff val="0"/>
                  <a:satOff val="0"/>
                  <a:lumOff val="0"/>
                  <a:alphaOff val="0"/>
                </a:prstClr>
              </a:solidFill>
              <a:latin typeface="Trebuchet MS"/>
            </a:endParaRPr>
          </a:p>
        </p:txBody>
      </p:sp>
      <p:sp>
        <p:nvSpPr>
          <p:cNvPr id="62" name="Forme 51">
            <a:extLst>
              <a:ext uri="{FF2B5EF4-FFF2-40B4-BE49-F238E27FC236}">
                <a16:creationId xmlns:a16="http://schemas.microsoft.com/office/drawing/2014/main" id="{58E4236D-2DDB-4006-A2DA-727C2BA2D92E}"/>
              </a:ext>
            </a:extLst>
          </p:cNvPr>
          <p:cNvSpPr/>
          <p:nvPr/>
        </p:nvSpPr>
        <p:spPr>
          <a:xfrm rot="8034146">
            <a:off x="2286493" y="4167424"/>
            <a:ext cx="474202" cy="369315"/>
          </a:xfrm>
          <a:prstGeom prst="swooshArrow">
            <a:avLst>
              <a:gd name="adj1" fmla="val 25000"/>
              <a:gd name="adj2" fmla="val 25000"/>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defTabSz="422041" fontAlgn="base">
              <a:spcBef>
                <a:spcPct val="0"/>
              </a:spcBef>
              <a:spcAft>
                <a:spcPct val="0"/>
              </a:spcAft>
            </a:pPr>
            <a:endParaRPr lang="en-GB" sz="800">
              <a:solidFill>
                <a:prstClr val="black">
                  <a:hueOff val="0"/>
                  <a:satOff val="0"/>
                  <a:lumOff val="0"/>
                  <a:alphaOff val="0"/>
                </a:prstClr>
              </a:solidFill>
              <a:latin typeface="Trebuchet MS"/>
            </a:endParaRPr>
          </a:p>
        </p:txBody>
      </p:sp>
      <p:sp>
        <p:nvSpPr>
          <p:cNvPr id="46" name="Triangle isocèle 5">
            <a:extLst>
              <a:ext uri="{FF2B5EF4-FFF2-40B4-BE49-F238E27FC236}">
                <a16:creationId xmlns:a16="http://schemas.microsoft.com/office/drawing/2014/main" id="{0A74E75D-04D2-4D91-BD31-6FD5533182B3}"/>
              </a:ext>
            </a:extLst>
          </p:cNvPr>
          <p:cNvSpPr/>
          <p:nvPr/>
        </p:nvSpPr>
        <p:spPr bwMode="auto">
          <a:xfrm flipV="1">
            <a:off x="3719666" y="1674753"/>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8" name="Rectangle 47">
            <a:extLst>
              <a:ext uri="{FF2B5EF4-FFF2-40B4-BE49-F238E27FC236}">
                <a16:creationId xmlns:a16="http://schemas.microsoft.com/office/drawing/2014/main" id="{6496788F-8CF6-494B-A502-6FF3765A9EEC}"/>
              </a:ext>
            </a:extLst>
          </p:cNvPr>
          <p:cNvSpPr/>
          <p:nvPr/>
        </p:nvSpPr>
        <p:spPr bwMode="auto">
          <a:xfrm>
            <a:off x="3745624" y="2559155"/>
            <a:ext cx="2656898" cy="2882796"/>
          </a:xfrm>
          <a:prstGeom prst="rect">
            <a:avLst/>
          </a:prstGeom>
          <a:solidFill>
            <a:srgbClr val="F2F2F2"/>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algn="ctr"/>
            <a:r>
              <a:rPr lang="en-GB" sz="1000" b="1">
                <a:latin typeface="Trebuchet MS" panose="020B0603020202020204" pitchFamily="34" charset="0"/>
              </a:rPr>
              <a:t>Years studied: </a:t>
            </a:r>
            <a:r>
              <a:rPr lang="en-GB" sz="1000">
                <a:solidFill>
                  <a:schemeClr val="tx2"/>
                </a:solidFill>
                <a:latin typeface="Trebuchet MS" panose="020B0603020202020204" pitchFamily="34" charset="0"/>
              </a:rPr>
              <a:t>2017 to 2019</a:t>
            </a:r>
          </a:p>
          <a:p>
            <a:pPr algn="ctr"/>
            <a:r>
              <a:rPr lang="en-GB" sz="1000" b="1">
                <a:latin typeface="Trebuchet MS" panose="020B0603020202020204" pitchFamily="34" charset="0"/>
              </a:rPr>
              <a:t>Quantity followed: </a:t>
            </a:r>
            <a:r>
              <a:rPr lang="en-GB" sz="1000">
                <a:solidFill>
                  <a:schemeClr val="tx2"/>
                </a:solidFill>
                <a:latin typeface="Trebuchet MS" panose="020B0603020202020204" pitchFamily="34" charset="0"/>
              </a:rPr>
              <a:t>booking values </a:t>
            </a:r>
          </a:p>
        </p:txBody>
      </p:sp>
      <p:grpSp>
        <p:nvGrpSpPr>
          <p:cNvPr id="21" name="Group 20">
            <a:extLst>
              <a:ext uri="{FF2B5EF4-FFF2-40B4-BE49-F238E27FC236}">
                <a16:creationId xmlns:a16="http://schemas.microsoft.com/office/drawing/2014/main" id="{9060F7AD-A71B-4C1D-A5F4-AFE65734ABAA}"/>
              </a:ext>
            </a:extLst>
          </p:cNvPr>
          <p:cNvGrpSpPr/>
          <p:nvPr/>
        </p:nvGrpSpPr>
        <p:grpSpPr>
          <a:xfrm>
            <a:off x="3816161" y="2632910"/>
            <a:ext cx="1717259" cy="1080000"/>
            <a:chOff x="3816161" y="2683710"/>
            <a:chExt cx="1717259" cy="1080000"/>
          </a:xfrm>
        </p:grpSpPr>
        <p:sp>
          <p:nvSpPr>
            <p:cNvPr id="70" name="Trapèze 123">
              <a:extLst>
                <a:ext uri="{FF2B5EF4-FFF2-40B4-BE49-F238E27FC236}">
                  <a16:creationId xmlns:a16="http://schemas.microsoft.com/office/drawing/2014/main" id="{AB3FE57B-CF45-4F54-8617-772F90169151}"/>
                </a:ext>
              </a:extLst>
            </p:cNvPr>
            <p:cNvSpPr/>
            <p:nvPr/>
          </p:nvSpPr>
          <p:spPr bwMode="auto">
            <a:xfrm rot="10800000">
              <a:off x="3816161" y="2683710"/>
              <a:ext cx="1717259" cy="1080000"/>
            </a:xfrm>
            <a:prstGeom prst="trapezoid">
              <a:avLst>
                <a:gd name="adj" fmla="val 25013"/>
              </a:avLst>
            </a:prstGeom>
            <a:solidFill>
              <a:srgbClr val="36964F">
                <a:lumMod val="20000"/>
                <a:lumOff val="8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646464"/>
                </a:solidFill>
                <a:effectLst/>
                <a:uLnTx/>
                <a:uFillTx/>
                <a:latin typeface="Trebuchet MS" pitchFamily="34" charset="0"/>
                <a:ea typeface="+mn-ea"/>
                <a:cs typeface="Arial" pitchFamily="34" charset="0"/>
              </a:endParaRPr>
            </a:p>
          </p:txBody>
        </p:sp>
        <p:sp>
          <p:nvSpPr>
            <p:cNvPr id="71" name="TextBox 70">
              <a:extLst>
                <a:ext uri="{FF2B5EF4-FFF2-40B4-BE49-F238E27FC236}">
                  <a16:creationId xmlns:a16="http://schemas.microsoft.com/office/drawing/2014/main" id="{06BBEC3B-C902-4EE0-807D-5F71CCAF55F5}"/>
                </a:ext>
              </a:extLst>
            </p:cNvPr>
            <p:cNvSpPr txBox="1"/>
            <p:nvPr/>
          </p:nvSpPr>
          <p:spPr>
            <a:xfrm>
              <a:off x="4167553" y="2792823"/>
              <a:ext cx="1014474" cy="861774"/>
            </a:xfrm>
            <a:prstGeom prst="rect">
              <a:avLst/>
            </a:prstGeom>
            <a:noFill/>
          </p:spPr>
          <p:txBody>
            <a:bodyPr wrap="square" rtlCol="0">
              <a:spAutoFit/>
            </a:bodyPr>
            <a:lstStyle/>
            <a:p>
              <a:pPr algn="ctr">
                <a:spcBef>
                  <a:spcPts val="600"/>
                </a:spcBef>
              </a:pPr>
              <a:r>
                <a:rPr lang="en-GB" sz="900" b="1">
                  <a:latin typeface="+mj-lt"/>
                </a:rPr>
                <a:t>Whole sales database</a:t>
              </a:r>
            </a:p>
            <a:p>
              <a:pPr algn="ctr">
                <a:spcBef>
                  <a:spcPts val="600"/>
                </a:spcBef>
              </a:pPr>
              <a:r>
                <a:rPr lang="en-GB" sz="900" i="1">
                  <a:latin typeface="+mj-lt"/>
                </a:rPr>
                <a:t>Each line represent a deal </a:t>
              </a:r>
            </a:p>
          </p:txBody>
        </p:sp>
      </p:grpSp>
      <p:sp>
        <p:nvSpPr>
          <p:cNvPr id="66" name="Rectangle 65">
            <a:extLst>
              <a:ext uri="{FF2B5EF4-FFF2-40B4-BE49-F238E27FC236}">
                <a16:creationId xmlns:a16="http://schemas.microsoft.com/office/drawing/2014/main" id="{116C9D3F-63C8-47C5-9F5C-85EF8D59EA85}"/>
              </a:ext>
            </a:extLst>
          </p:cNvPr>
          <p:cNvSpPr/>
          <p:nvPr/>
        </p:nvSpPr>
        <p:spPr bwMode="auto">
          <a:xfrm>
            <a:off x="3964091" y="3788164"/>
            <a:ext cx="1397845" cy="1258862"/>
          </a:xfrm>
          <a:prstGeom prst="rect">
            <a:avLst/>
          </a:prstGeom>
          <a:solidFill>
            <a:schemeClr val="bg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Aft>
                <a:spcPts val="600"/>
              </a:spcAft>
            </a:pPr>
            <a:r>
              <a:rPr lang="en-GB" sz="900" b="1">
                <a:solidFill>
                  <a:schemeClr val="bg1"/>
                </a:solidFill>
                <a:latin typeface="Trebuchet MS" panose="020B0603020202020204" pitchFamily="34" charset="0"/>
              </a:rPr>
              <a:t>Scope of the analysis</a:t>
            </a:r>
          </a:p>
          <a:p>
            <a:pPr algn="ctr">
              <a:spcAft>
                <a:spcPts val="600"/>
              </a:spcAft>
            </a:pPr>
            <a:r>
              <a:rPr lang="en-GB" sz="900" i="1">
                <a:solidFill>
                  <a:schemeClr val="bg1"/>
                </a:solidFill>
                <a:latin typeface="Trebuchet MS" panose="020B0603020202020204" pitchFamily="34" charset="0"/>
              </a:rPr>
              <a:t>Due to an evolution of contracts identification, analysed database contains both recurring and one-shot contracts with </a:t>
            </a:r>
            <a:r>
              <a:rPr lang="en-GB" sz="900" i="1" err="1">
                <a:solidFill>
                  <a:schemeClr val="bg1"/>
                </a:solidFill>
                <a:latin typeface="Trebuchet MS" panose="020B0603020202020204" pitchFamily="34" charset="0"/>
              </a:rPr>
              <a:t>Altares</a:t>
            </a:r>
            <a:r>
              <a:rPr lang="en-GB" sz="900" i="1">
                <a:solidFill>
                  <a:schemeClr val="bg1"/>
                </a:solidFill>
                <a:latin typeface="Trebuchet MS" panose="020B0603020202020204" pitchFamily="34" charset="0"/>
              </a:rPr>
              <a:t>’ clients</a:t>
            </a:r>
          </a:p>
        </p:txBody>
      </p:sp>
      <p:sp>
        <p:nvSpPr>
          <p:cNvPr id="79" name="Triangle isocèle 5">
            <a:extLst>
              <a:ext uri="{FF2B5EF4-FFF2-40B4-BE49-F238E27FC236}">
                <a16:creationId xmlns:a16="http://schemas.microsoft.com/office/drawing/2014/main" id="{FEFCECD2-7049-402F-B6E9-5BBB1918C74E}"/>
              </a:ext>
            </a:extLst>
          </p:cNvPr>
          <p:cNvSpPr/>
          <p:nvPr/>
        </p:nvSpPr>
        <p:spPr bwMode="auto">
          <a:xfrm flipV="1">
            <a:off x="6691251" y="1674753"/>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8" name="Minus Sign 97">
            <a:extLst>
              <a:ext uri="{FF2B5EF4-FFF2-40B4-BE49-F238E27FC236}">
                <a16:creationId xmlns:a16="http://schemas.microsoft.com/office/drawing/2014/main" id="{98F5973E-E3C6-489E-85A7-872DB8D9D669}"/>
              </a:ext>
            </a:extLst>
          </p:cNvPr>
          <p:cNvSpPr/>
          <p:nvPr/>
        </p:nvSpPr>
        <p:spPr bwMode="auto">
          <a:xfrm>
            <a:off x="5556081" y="3519512"/>
            <a:ext cx="136310" cy="162421"/>
          </a:xfrm>
          <a:prstGeom prst="mathMinus">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700" b="0" i="0" u="none" strike="noStrike" cap="none" normalizeH="0" baseline="0">
              <a:ln>
                <a:noFill/>
              </a:ln>
              <a:solidFill>
                <a:schemeClr val="tx1"/>
              </a:solidFill>
              <a:effectLst/>
              <a:latin typeface="Trebuchet MS" pitchFamily="34" charset="0"/>
            </a:endParaRPr>
          </a:p>
        </p:txBody>
      </p:sp>
      <p:sp>
        <p:nvSpPr>
          <p:cNvPr id="99" name="Forme 51">
            <a:extLst>
              <a:ext uri="{FF2B5EF4-FFF2-40B4-BE49-F238E27FC236}">
                <a16:creationId xmlns:a16="http://schemas.microsoft.com/office/drawing/2014/main" id="{E4757D49-F72B-4DF7-8988-2090BF8F9ED3}"/>
              </a:ext>
            </a:extLst>
          </p:cNvPr>
          <p:cNvSpPr/>
          <p:nvPr/>
        </p:nvSpPr>
        <p:spPr>
          <a:xfrm rot="8034146">
            <a:off x="5220380" y="3365263"/>
            <a:ext cx="474202" cy="369315"/>
          </a:xfrm>
          <a:prstGeom prst="swooshArrow">
            <a:avLst>
              <a:gd name="adj1" fmla="val 25000"/>
              <a:gd name="adj2" fmla="val 25000"/>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defTabSz="422041" fontAlgn="base">
              <a:spcBef>
                <a:spcPct val="0"/>
              </a:spcBef>
              <a:spcAft>
                <a:spcPct val="0"/>
              </a:spcAft>
            </a:pPr>
            <a:endParaRPr lang="en-GB" sz="800">
              <a:solidFill>
                <a:prstClr val="black">
                  <a:hueOff val="0"/>
                  <a:satOff val="0"/>
                  <a:lumOff val="0"/>
                  <a:alphaOff val="0"/>
                </a:prstClr>
              </a:solidFill>
              <a:latin typeface="Trebuchet MS"/>
            </a:endParaRPr>
          </a:p>
        </p:txBody>
      </p:sp>
      <p:sp>
        <p:nvSpPr>
          <p:cNvPr id="35" name="TextBox 34">
            <a:extLst>
              <a:ext uri="{FF2B5EF4-FFF2-40B4-BE49-F238E27FC236}">
                <a16:creationId xmlns:a16="http://schemas.microsoft.com/office/drawing/2014/main" id="{F348A758-9B42-456A-9A4D-38EFFD560145}"/>
              </a:ext>
            </a:extLst>
          </p:cNvPr>
          <p:cNvSpPr txBox="1"/>
          <p:nvPr/>
        </p:nvSpPr>
        <p:spPr>
          <a:xfrm rot="5400000">
            <a:off x="143488" y="5820425"/>
            <a:ext cx="492443" cy="622265"/>
          </a:xfrm>
          <a:prstGeom prst="rect">
            <a:avLst/>
          </a:prstGeom>
          <a:noFill/>
        </p:spPr>
        <p:txBody>
          <a:bodyPr vert="vert270" wrap="square" tIns="0" bIns="0" rtlCol="0">
            <a:spAutoFit/>
          </a:bodyPr>
          <a:lstStyle/>
          <a:p>
            <a:pPr algn="ctr"/>
            <a:r>
              <a:rPr lang="en-GB" sz="1000" b="1">
                <a:solidFill>
                  <a:schemeClr val="tx2"/>
                </a:solidFill>
                <a:latin typeface="Trebuchet MS" panose="020B0603020202020204" pitchFamily="34" charset="0"/>
              </a:rPr>
              <a:t>Client definition</a:t>
            </a:r>
          </a:p>
        </p:txBody>
      </p:sp>
      <p:pic>
        <p:nvPicPr>
          <p:cNvPr id="37" name="Graphic 36" descr="Group of men">
            <a:extLst>
              <a:ext uri="{FF2B5EF4-FFF2-40B4-BE49-F238E27FC236}">
                <a16:creationId xmlns:a16="http://schemas.microsoft.com/office/drawing/2014/main" id="{469C4D9C-D9E5-4E23-943E-F367287B6B0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44031" y="5593980"/>
            <a:ext cx="291356" cy="291356"/>
          </a:xfrm>
          <a:prstGeom prst="rect">
            <a:avLst/>
          </a:prstGeom>
        </p:spPr>
      </p:pic>
      <p:sp>
        <p:nvSpPr>
          <p:cNvPr id="31" name="TextBox 30">
            <a:extLst>
              <a:ext uri="{FF2B5EF4-FFF2-40B4-BE49-F238E27FC236}">
                <a16:creationId xmlns:a16="http://schemas.microsoft.com/office/drawing/2014/main" id="{104B5B84-8BA7-48B7-86B5-E42E53CD4206}"/>
              </a:ext>
            </a:extLst>
          </p:cNvPr>
          <p:cNvSpPr txBox="1"/>
          <p:nvPr/>
        </p:nvSpPr>
        <p:spPr>
          <a:xfrm rot="5400000">
            <a:off x="216585" y="3745212"/>
            <a:ext cx="346249" cy="564437"/>
          </a:xfrm>
          <a:prstGeom prst="rect">
            <a:avLst/>
          </a:prstGeom>
          <a:noFill/>
        </p:spPr>
        <p:txBody>
          <a:bodyPr vert="vert270" wrap="square" rtlCol="0">
            <a:spAutoFit/>
          </a:bodyPr>
          <a:lstStyle/>
          <a:p>
            <a:pPr algn="ctr"/>
            <a:r>
              <a:rPr lang="en-GB" sz="1050" b="1">
                <a:solidFill>
                  <a:schemeClr val="tx2"/>
                </a:solidFill>
                <a:latin typeface="Trebuchet MS" panose="020B0603020202020204" pitchFamily="34" charset="0"/>
              </a:rPr>
              <a:t>Scope</a:t>
            </a:r>
          </a:p>
        </p:txBody>
      </p:sp>
      <p:pic>
        <p:nvPicPr>
          <p:cNvPr id="43" name="Graphic 42" descr="Target">
            <a:extLst>
              <a:ext uri="{FF2B5EF4-FFF2-40B4-BE49-F238E27FC236}">
                <a16:creationId xmlns:a16="http://schemas.microsoft.com/office/drawing/2014/main" id="{D062E333-970B-41E1-A3A0-DD932699B5F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44031" y="3633926"/>
            <a:ext cx="291356" cy="291356"/>
          </a:xfrm>
          <a:prstGeom prst="rect">
            <a:avLst/>
          </a:prstGeom>
        </p:spPr>
      </p:pic>
      <p:sp>
        <p:nvSpPr>
          <p:cNvPr id="107" name="Rectangle 106">
            <a:extLst>
              <a:ext uri="{FF2B5EF4-FFF2-40B4-BE49-F238E27FC236}">
                <a16:creationId xmlns:a16="http://schemas.microsoft.com/office/drawing/2014/main" id="{CBAC6596-52C9-4949-967A-F64781F3DA29}"/>
              </a:ext>
            </a:extLst>
          </p:cNvPr>
          <p:cNvSpPr/>
          <p:nvPr/>
        </p:nvSpPr>
        <p:spPr bwMode="auto">
          <a:xfrm>
            <a:off x="3719665" y="5542067"/>
            <a:ext cx="2682857" cy="840416"/>
          </a:xfrm>
          <a:prstGeom prst="rect">
            <a:avLst/>
          </a:prstGeom>
          <a:solidFill>
            <a:srgbClr val="F2F2F2"/>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Aft>
                <a:spcPts val="600"/>
              </a:spcAft>
              <a:buFont typeface="Arial" panose="020B0604020202020204" pitchFamily="34" charset="0"/>
              <a:buChar char="•"/>
            </a:pPr>
            <a:r>
              <a:rPr lang="en-GB" sz="1000">
                <a:latin typeface="Trebuchet MS" panose="020B0603020202020204" pitchFamily="34" charset="0"/>
              </a:rPr>
              <a:t>Client = </a:t>
            </a:r>
            <a:r>
              <a:rPr lang="en-GB" sz="1000">
                <a:solidFill>
                  <a:schemeClr val="tx2"/>
                </a:solidFill>
                <a:latin typeface="Trebuchet MS" panose="020B0603020202020204" pitchFamily="34" charset="0"/>
              </a:rPr>
              <a:t>group,</a:t>
            </a:r>
            <a:r>
              <a:rPr lang="en-GB" sz="1000">
                <a:latin typeface="Trebuchet MS" panose="020B0603020202020204" pitchFamily="34" charset="0"/>
              </a:rPr>
              <a:t> i.e. a sum of entities that can individually subscribe contracts with </a:t>
            </a:r>
            <a:r>
              <a:rPr lang="en-GB" sz="1000" err="1">
                <a:latin typeface="Trebuchet MS" panose="020B0603020202020204" pitchFamily="34" charset="0"/>
              </a:rPr>
              <a:t>Altares</a:t>
            </a:r>
            <a:endParaRPr lang="en-GB" sz="1000">
              <a:latin typeface="Trebuchet MS" panose="020B0603020202020204" pitchFamily="34" charset="0"/>
            </a:endParaRPr>
          </a:p>
          <a:p>
            <a:pPr marL="171450" indent="-171450">
              <a:spcAft>
                <a:spcPts val="60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3 120 groups </a:t>
            </a:r>
            <a:r>
              <a:rPr lang="en-GB" sz="1000" err="1">
                <a:latin typeface="Trebuchet MS" panose="020B0603020202020204" pitchFamily="34" charset="0"/>
              </a:rPr>
              <a:t>analyzed</a:t>
            </a:r>
            <a:r>
              <a:rPr lang="en-GB" sz="1000">
                <a:latin typeface="Trebuchet MS" panose="020B0603020202020204" pitchFamily="34" charset="0"/>
              </a:rPr>
              <a:t> from </a:t>
            </a:r>
            <a:r>
              <a:rPr lang="en-GB" sz="1000">
                <a:solidFill>
                  <a:schemeClr val="tx2"/>
                </a:solidFill>
                <a:latin typeface="Trebuchet MS" panose="020B0603020202020204" pitchFamily="34" charset="0"/>
              </a:rPr>
              <a:t>2017 to 2019</a:t>
            </a:r>
          </a:p>
        </p:txBody>
      </p:sp>
      <p:sp>
        <p:nvSpPr>
          <p:cNvPr id="108" name="Rectangle 107">
            <a:extLst>
              <a:ext uri="{FF2B5EF4-FFF2-40B4-BE49-F238E27FC236}">
                <a16:creationId xmlns:a16="http://schemas.microsoft.com/office/drawing/2014/main" id="{413C00FE-BA09-4CFD-A9A2-8A277DDD24D0}"/>
              </a:ext>
            </a:extLst>
          </p:cNvPr>
          <p:cNvSpPr/>
          <p:nvPr/>
        </p:nvSpPr>
        <p:spPr bwMode="auto">
          <a:xfrm>
            <a:off x="6691251" y="5542067"/>
            <a:ext cx="2682857" cy="840416"/>
          </a:xfrm>
          <a:prstGeom prst="rect">
            <a:avLst/>
          </a:prstGeom>
          <a:solidFill>
            <a:srgbClr val="F2F2F2"/>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Aft>
                <a:spcPts val="600"/>
              </a:spcAft>
              <a:buFont typeface="Arial" panose="020B0604020202020204" pitchFamily="34" charset="0"/>
              <a:buChar char="•"/>
            </a:pPr>
            <a:r>
              <a:rPr lang="en-GB" sz="1000">
                <a:latin typeface="Trebuchet MS" panose="020B0603020202020204" pitchFamily="34" charset="0"/>
              </a:rPr>
              <a:t>Client = </a:t>
            </a:r>
            <a:r>
              <a:rPr lang="en-GB" sz="1000">
                <a:solidFill>
                  <a:schemeClr val="tx2"/>
                </a:solidFill>
                <a:latin typeface="Trebuchet MS" panose="020B0603020202020204" pitchFamily="34" charset="0"/>
              </a:rPr>
              <a:t>group,</a:t>
            </a:r>
            <a:r>
              <a:rPr lang="en-GB" sz="1000">
                <a:latin typeface="Trebuchet MS" pitchFamily="34" charset="0"/>
              </a:rPr>
              <a:t> i.e. the company that has bought that contract</a:t>
            </a:r>
          </a:p>
          <a:p>
            <a:pPr marL="171450" indent="-171450">
              <a:spcAft>
                <a:spcPts val="600"/>
              </a:spcAft>
              <a:buFont typeface="Arial" panose="020B0604020202020204" pitchFamily="34" charset="0"/>
              <a:buChar char="•"/>
            </a:pPr>
            <a:r>
              <a:rPr lang="en-GB" sz="1000">
                <a:latin typeface="Trebuchet MS" pitchFamily="34" charset="0"/>
              </a:rPr>
              <a:t> </a:t>
            </a:r>
            <a:r>
              <a:rPr lang="en-GB" sz="1000">
                <a:solidFill>
                  <a:schemeClr val="tx2"/>
                </a:solidFill>
                <a:latin typeface="Trebuchet MS" panose="020B0603020202020204" pitchFamily="34" charset="0"/>
              </a:rPr>
              <a:t>4676 groups</a:t>
            </a:r>
            <a:r>
              <a:rPr lang="en-GB" sz="1000">
                <a:latin typeface="Trebuchet MS" panose="020B0603020202020204" pitchFamily="34" charset="0"/>
              </a:rPr>
              <a:t> </a:t>
            </a:r>
            <a:r>
              <a:rPr lang="en-GB" sz="1000" err="1">
                <a:latin typeface="Trebuchet MS" panose="020B0603020202020204" pitchFamily="34" charset="0"/>
              </a:rPr>
              <a:t>analyzed</a:t>
            </a:r>
            <a:r>
              <a:rPr lang="en-GB" sz="1000">
                <a:latin typeface="Trebuchet MS" panose="020B0603020202020204" pitchFamily="34" charset="0"/>
              </a:rPr>
              <a:t> from </a:t>
            </a:r>
            <a:r>
              <a:rPr lang="en-GB" sz="1000">
                <a:solidFill>
                  <a:schemeClr val="tx2"/>
                </a:solidFill>
                <a:latin typeface="Trebuchet MS" panose="020B0603020202020204" pitchFamily="34" charset="0"/>
              </a:rPr>
              <a:t>2017 to 2019</a:t>
            </a:r>
          </a:p>
        </p:txBody>
      </p:sp>
      <p:pic>
        <p:nvPicPr>
          <p:cNvPr id="24" name="Graphic 23" descr="Warning">
            <a:extLst>
              <a:ext uri="{FF2B5EF4-FFF2-40B4-BE49-F238E27FC236}">
                <a16:creationId xmlns:a16="http://schemas.microsoft.com/office/drawing/2014/main" id="{FED54C6B-E2F2-4ED4-9F9E-1C1E1CE3A26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44031" y="2034087"/>
            <a:ext cx="291356" cy="291356"/>
          </a:xfrm>
          <a:prstGeom prst="rect">
            <a:avLst/>
          </a:prstGeom>
        </p:spPr>
      </p:pic>
      <p:sp>
        <p:nvSpPr>
          <p:cNvPr id="63" name="Rectangle 62">
            <a:extLst>
              <a:ext uri="{FF2B5EF4-FFF2-40B4-BE49-F238E27FC236}">
                <a16:creationId xmlns:a16="http://schemas.microsoft.com/office/drawing/2014/main" id="{15F6F7AA-F855-4DE9-993C-27876583ADBB}"/>
              </a:ext>
            </a:extLst>
          </p:cNvPr>
          <p:cNvSpPr/>
          <p:nvPr/>
        </p:nvSpPr>
        <p:spPr bwMode="auto">
          <a:xfrm>
            <a:off x="6691251" y="2559155"/>
            <a:ext cx="2682856" cy="2882796"/>
          </a:xfrm>
          <a:prstGeom prst="rect">
            <a:avLst/>
          </a:prstGeom>
          <a:solidFill>
            <a:srgbClr val="F2F2F2"/>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algn="ctr"/>
            <a:r>
              <a:rPr lang="en-GB" sz="1000" b="1" dirty="0">
                <a:latin typeface="Trebuchet MS" panose="020B0603020202020204" pitchFamily="34" charset="0"/>
              </a:rPr>
              <a:t>Years studied: </a:t>
            </a:r>
            <a:r>
              <a:rPr lang="en-GB" sz="1000" dirty="0">
                <a:solidFill>
                  <a:schemeClr val="tx2"/>
                </a:solidFill>
                <a:latin typeface="Trebuchet MS" panose="020B0603020202020204" pitchFamily="34" charset="0"/>
              </a:rPr>
              <a:t>2017 to 2019</a:t>
            </a:r>
          </a:p>
          <a:p>
            <a:pPr algn="ctr"/>
            <a:r>
              <a:rPr lang="en-GB" sz="1000" b="1" dirty="0">
                <a:latin typeface="Trebuchet MS" panose="020B0603020202020204" pitchFamily="34" charset="0"/>
              </a:rPr>
              <a:t>Quantity followed: </a:t>
            </a:r>
            <a:r>
              <a:rPr lang="en-GB" sz="1000" dirty="0">
                <a:solidFill>
                  <a:schemeClr val="tx2"/>
                </a:solidFill>
                <a:latin typeface="Trebuchet MS" panose="020B0603020202020204" pitchFamily="34" charset="0"/>
              </a:rPr>
              <a:t>revenue</a:t>
            </a:r>
          </a:p>
        </p:txBody>
      </p:sp>
      <p:sp>
        <p:nvSpPr>
          <p:cNvPr id="64" name="Rectangle 63">
            <a:extLst>
              <a:ext uri="{FF2B5EF4-FFF2-40B4-BE49-F238E27FC236}">
                <a16:creationId xmlns:a16="http://schemas.microsoft.com/office/drawing/2014/main" id="{6EDE0DF3-3366-407D-9281-2FF99F3044FA}"/>
              </a:ext>
            </a:extLst>
          </p:cNvPr>
          <p:cNvSpPr/>
          <p:nvPr/>
        </p:nvSpPr>
        <p:spPr bwMode="auto">
          <a:xfrm>
            <a:off x="6994487" y="2766291"/>
            <a:ext cx="2111406" cy="2248509"/>
          </a:xfrm>
          <a:prstGeom prst="rect">
            <a:avLst/>
          </a:prstGeom>
          <a:solidFill>
            <a:schemeClr val="bg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600"/>
              </a:spcAft>
            </a:pPr>
            <a:r>
              <a:rPr lang="en-GB" sz="900" b="1">
                <a:solidFill>
                  <a:schemeClr val="bg1"/>
                </a:solidFill>
                <a:latin typeface="Trebuchet MS" panose="020B0603020202020204" pitchFamily="34" charset="0"/>
              </a:rPr>
              <a:t>Scope of the analysis</a:t>
            </a:r>
          </a:p>
          <a:p>
            <a:pPr algn="ctr">
              <a:spcAft>
                <a:spcPts val="600"/>
              </a:spcAft>
            </a:pPr>
            <a:r>
              <a:rPr lang="en-GB" sz="900" i="1" err="1">
                <a:solidFill>
                  <a:schemeClr val="bg1"/>
                </a:solidFill>
                <a:latin typeface="Trebuchet MS" panose="020B0603020202020204" pitchFamily="34" charset="0"/>
              </a:rPr>
              <a:t>Manageo</a:t>
            </a:r>
            <a:r>
              <a:rPr lang="en-GB" sz="900" i="1">
                <a:solidFill>
                  <a:schemeClr val="bg1"/>
                </a:solidFill>
                <a:latin typeface="Trebuchet MS" panose="020B0603020202020204" pitchFamily="34" charset="0"/>
              </a:rPr>
              <a:t> products being mainly one-shot services with a recurrence depending on the size of clients, the whole database has been analysed</a:t>
            </a:r>
          </a:p>
        </p:txBody>
      </p:sp>
      <p:grpSp>
        <p:nvGrpSpPr>
          <p:cNvPr id="56" name="Groupe 55">
            <a:extLst>
              <a:ext uri="{FF2B5EF4-FFF2-40B4-BE49-F238E27FC236}">
                <a16:creationId xmlns:a16="http://schemas.microsoft.com/office/drawing/2014/main" id="{5604802C-AF87-40E4-B8C0-AFEE01A30A23}"/>
              </a:ext>
            </a:extLst>
          </p:cNvPr>
          <p:cNvGrpSpPr/>
          <p:nvPr/>
        </p:nvGrpSpPr>
        <p:grpSpPr>
          <a:xfrm>
            <a:off x="8448150" y="-11528"/>
            <a:ext cx="1435548" cy="588143"/>
            <a:chOff x="8448150" y="-11528"/>
            <a:chExt cx="1435548" cy="588143"/>
          </a:xfrm>
        </p:grpSpPr>
        <p:sp>
          <p:nvSpPr>
            <p:cNvPr id="65" name="Rectangle : coins arrondis 199">
              <a:extLst>
                <a:ext uri="{FF2B5EF4-FFF2-40B4-BE49-F238E27FC236}">
                  <a16:creationId xmlns:a16="http://schemas.microsoft.com/office/drawing/2014/main" id="{E4C3A9EA-D421-45DC-A513-17FF60886B5B}"/>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8" name="Rectangle : coins arrondis 200">
              <a:extLst>
                <a:ext uri="{FF2B5EF4-FFF2-40B4-BE49-F238E27FC236}">
                  <a16:creationId xmlns:a16="http://schemas.microsoft.com/office/drawing/2014/main" id="{00CB8AE5-D08E-409E-8FD0-E5751152629B}"/>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9" name="Rectangle : coins arrondis 201">
              <a:extLst>
                <a:ext uri="{FF2B5EF4-FFF2-40B4-BE49-F238E27FC236}">
                  <a16:creationId xmlns:a16="http://schemas.microsoft.com/office/drawing/2014/main" id="{AF09512F-0E56-4916-A303-A1B5D1E1370B}"/>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2" name="ZoneTexte 18">
              <a:extLst>
                <a:ext uri="{FF2B5EF4-FFF2-40B4-BE49-F238E27FC236}">
                  <a16:creationId xmlns:a16="http://schemas.microsoft.com/office/drawing/2014/main" id="{494FE0F2-378B-4582-9ACB-58C9BAF9DE0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73" name="Graphique 128" descr="Jauge">
              <a:extLst>
                <a:ext uri="{FF2B5EF4-FFF2-40B4-BE49-F238E27FC236}">
                  <a16:creationId xmlns:a16="http://schemas.microsoft.com/office/drawing/2014/main" id="{67AA7102-ED81-4C58-ACF2-A30249B6922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553764" y="187516"/>
              <a:ext cx="234953" cy="218224"/>
            </a:xfrm>
            <a:prstGeom prst="rect">
              <a:avLst/>
            </a:prstGeom>
            <a:effectLst/>
          </p:spPr>
        </p:pic>
        <p:pic>
          <p:nvPicPr>
            <p:cNvPr id="74" name="Graphique 90" descr="Poignée de main">
              <a:extLst>
                <a:ext uri="{FF2B5EF4-FFF2-40B4-BE49-F238E27FC236}">
                  <a16:creationId xmlns:a16="http://schemas.microsoft.com/office/drawing/2014/main" id="{6930F083-4541-4075-96DE-286FFA265C7F}"/>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960868" y="152880"/>
              <a:ext cx="256313" cy="287496"/>
            </a:xfrm>
            <a:prstGeom prst="rect">
              <a:avLst/>
            </a:prstGeom>
            <a:effectLst/>
          </p:spPr>
        </p:pic>
        <p:pic>
          <p:nvPicPr>
            <p:cNvPr id="75" name="Graphique 74" descr="Mégaphone">
              <a:extLst>
                <a:ext uri="{FF2B5EF4-FFF2-40B4-BE49-F238E27FC236}">
                  <a16:creationId xmlns:a16="http://schemas.microsoft.com/office/drawing/2014/main" id="{1F1EB1C7-AD40-4441-80BD-3DC59CE5B2F0}"/>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389331" y="181519"/>
              <a:ext cx="233011" cy="216420"/>
            </a:xfrm>
            <a:prstGeom prst="rect">
              <a:avLst/>
            </a:prstGeom>
            <a:effectLst/>
          </p:spPr>
        </p:pic>
        <p:pic>
          <p:nvPicPr>
            <p:cNvPr id="76" name="Picture 2" descr="Drapeau France">
              <a:extLst>
                <a:ext uri="{FF2B5EF4-FFF2-40B4-BE49-F238E27FC236}">
                  <a16:creationId xmlns:a16="http://schemas.microsoft.com/office/drawing/2014/main" id="{621072D1-6ACA-4EED-95E9-0A6D7A3D5401}"/>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77" name="Picture 2" descr="5 ft x 3 ft 150 x 90 cm-DRAPEAU BELGE Belgique 100% Polyester ...">
              <a:extLst>
                <a:ext uri="{FF2B5EF4-FFF2-40B4-BE49-F238E27FC236}">
                  <a16:creationId xmlns:a16="http://schemas.microsoft.com/office/drawing/2014/main" id="{61671472-C4F0-43FF-AD2F-3EDA552AE9B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78" name="Picture 2 - 1" descr="Drapeau des Pays-Bas — Wikipédia">
              <a:extLst>
                <a:ext uri="{FF2B5EF4-FFF2-40B4-BE49-F238E27FC236}">
                  <a16:creationId xmlns:a16="http://schemas.microsoft.com/office/drawing/2014/main" id="{8D13DC5D-E461-42AB-BA99-162E7B6FEAE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0" name="Picture 2 - 2" descr="Drapeau du Luxembourg">
              <a:extLst>
                <a:ext uri="{FF2B5EF4-FFF2-40B4-BE49-F238E27FC236}">
                  <a16:creationId xmlns:a16="http://schemas.microsoft.com/office/drawing/2014/main" id="{D188DD27-0F66-409D-AE20-755AD5A131FB}"/>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81" name="ZoneTexte 18">
              <a:extLst>
                <a:ext uri="{FF2B5EF4-FFF2-40B4-BE49-F238E27FC236}">
                  <a16:creationId xmlns:a16="http://schemas.microsoft.com/office/drawing/2014/main" id="{4A95B493-53A4-4589-AB5A-69D6DCD64FEE}"/>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sp>
        <p:nvSpPr>
          <p:cNvPr id="67" name="TextBox 66">
            <a:extLst>
              <a:ext uri="{FF2B5EF4-FFF2-40B4-BE49-F238E27FC236}">
                <a16:creationId xmlns:a16="http://schemas.microsoft.com/office/drawing/2014/main" id="{7ABF8075-9C7D-4EAA-88C6-EFF392413CC9}"/>
              </a:ext>
            </a:extLst>
          </p:cNvPr>
          <p:cNvSpPr txBox="1"/>
          <p:nvPr/>
        </p:nvSpPr>
        <p:spPr>
          <a:xfrm>
            <a:off x="5714459" y="3277557"/>
            <a:ext cx="701450" cy="646331"/>
          </a:xfrm>
          <a:prstGeom prst="rect">
            <a:avLst/>
          </a:prstGeom>
          <a:noFill/>
        </p:spPr>
        <p:txBody>
          <a:bodyPr wrap="square" lIns="0" rIns="0" rtlCol="0">
            <a:spAutoFit/>
          </a:bodyPr>
          <a:lstStyle/>
          <a:p>
            <a:r>
              <a:rPr lang="en-GB" sz="900" b="1" dirty="0">
                <a:latin typeface="Trebuchet MS" panose="020B0603020202020204" pitchFamily="34" charset="0"/>
              </a:rPr>
              <a:t>revenue coming from D&amp;B partnership</a:t>
            </a:r>
          </a:p>
        </p:txBody>
      </p:sp>
      <p:sp>
        <p:nvSpPr>
          <p:cNvPr id="83" name="Rectangle 82">
            <a:extLst>
              <a:ext uri="{FF2B5EF4-FFF2-40B4-BE49-F238E27FC236}">
                <a16:creationId xmlns:a16="http://schemas.microsoft.com/office/drawing/2014/main" id="{2FE5A9DF-FB29-439E-85E2-4C391FD2B41F}"/>
              </a:ext>
            </a:extLst>
          </p:cNvPr>
          <p:cNvSpPr/>
          <p:nvPr/>
        </p:nvSpPr>
        <p:spPr bwMode="auto">
          <a:xfrm>
            <a:off x="757306" y="1858502"/>
            <a:ext cx="8604614" cy="642526"/>
          </a:xfrm>
          <a:prstGeom prst="rect">
            <a:avLst/>
          </a:prstGeom>
          <a:solidFill>
            <a:srgbClr val="F2F2F2"/>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0"/>
              </a:spcAft>
            </a:pPr>
            <a:r>
              <a:rPr lang="en-GB" sz="1000" dirty="0">
                <a:latin typeface="Trebuchet MS" panose="020B0603020202020204" pitchFamily="34" charset="0"/>
              </a:rPr>
              <a:t>Three quantities must be distinguished: </a:t>
            </a:r>
          </a:p>
          <a:p>
            <a:pPr marL="171450" indent="-171450">
              <a:spcAft>
                <a:spcPts val="0"/>
              </a:spcAft>
              <a:buClr>
                <a:schemeClr val="tx1"/>
              </a:buClr>
              <a:buFont typeface="Arial" panose="020B0604020202020204" pitchFamily="34" charset="0"/>
              <a:buChar char="•"/>
            </a:pPr>
            <a:r>
              <a:rPr lang="en-GB" sz="1000" dirty="0">
                <a:solidFill>
                  <a:schemeClr val="tx2"/>
                </a:solidFill>
                <a:latin typeface="Trebuchet MS" panose="020B0603020202020204" pitchFamily="34" charset="0"/>
              </a:rPr>
              <a:t>Booking values</a:t>
            </a:r>
            <a:r>
              <a:rPr lang="en-GB" sz="1000" dirty="0">
                <a:latin typeface="Trebuchet MS" panose="020B0603020202020204" pitchFamily="34" charset="0"/>
              </a:rPr>
              <a:t>,</a:t>
            </a:r>
            <a:r>
              <a:rPr lang="en-GB" sz="1000" dirty="0">
                <a:solidFill>
                  <a:schemeClr val="tx2"/>
                </a:solidFill>
                <a:latin typeface="Trebuchet MS" panose="020B0603020202020204" pitchFamily="34" charset="0"/>
              </a:rPr>
              <a:t> </a:t>
            </a:r>
            <a:r>
              <a:rPr lang="en-GB" sz="1000" dirty="0">
                <a:latin typeface="Trebuchet MS" panose="020B0603020202020204" pitchFamily="34" charset="0"/>
              </a:rPr>
              <a:t>i.e. the amount of money customer contractually are </a:t>
            </a:r>
            <a:r>
              <a:rPr lang="en-GB" sz="1000" dirty="0">
                <a:solidFill>
                  <a:schemeClr val="tx2"/>
                </a:solidFill>
                <a:latin typeface="Trebuchet MS" panose="020B0603020202020204" pitchFamily="34" charset="0"/>
              </a:rPr>
              <a:t>committed to pay</a:t>
            </a:r>
            <a:endParaRPr lang="en-GB" sz="1000" dirty="0">
              <a:latin typeface="Trebuchet MS" panose="020B0603020202020204" pitchFamily="34" charset="0"/>
            </a:endParaRPr>
          </a:p>
          <a:p>
            <a:pPr marL="171450" indent="-171450">
              <a:spcAft>
                <a:spcPts val="0"/>
              </a:spcAft>
              <a:buClr>
                <a:schemeClr val="tx1"/>
              </a:buClr>
              <a:buFont typeface="Arial" panose="020B0604020202020204" pitchFamily="34" charset="0"/>
              <a:buChar char="•"/>
            </a:pPr>
            <a:r>
              <a:rPr lang="en-GB" sz="1000" dirty="0">
                <a:solidFill>
                  <a:schemeClr val="tx2"/>
                </a:solidFill>
                <a:latin typeface="Trebuchet MS" panose="020B0603020202020204" pitchFamily="34" charset="0"/>
              </a:rPr>
              <a:t>Billing values</a:t>
            </a:r>
            <a:r>
              <a:rPr lang="en-GB" sz="1000" dirty="0">
                <a:latin typeface="Trebuchet MS" panose="020B0603020202020204" pitchFamily="34" charset="0"/>
              </a:rPr>
              <a:t>,</a:t>
            </a:r>
            <a:r>
              <a:rPr lang="en-GB" sz="1000" dirty="0">
                <a:solidFill>
                  <a:schemeClr val="tx2"/>
                </a:solidFill>
                <a:latin typeface="Trebuchet MS" panose="020B0603020202020204" pitchFamily="34" charset="0"/>
              </a:rPr>
              <a:t> </a:t>
            </a:r>
            <a:r>
              <a:rPr lang="en-GB" sz="1000" dirty="0">
                <a:latin typeface="Trebuchet MS" panose="020B0603020202020204" pitchFamily="34" charset="0"/>
              </a:rPr>
              <a:t>i.e. the amount of money </a:t>
            </a:r>
            <a:r>
              <a:rPr lang="en-GB" sz="1000" dirty="0">
                <a:solidFill>
                  <a:schemeClr val="tx2"/>
                </a:solidFill>
                <a:latin typeface="Trebuchet MS" panose="020B0603020202020204" pitchFamily="34" charset="0"/>
              </a:rPr>
              <a:t>actually billed </a:t>
            </a:r>
            <a:r>
              <a:rPr lang="en-GB" sz="1000" dirty="0">
                <a:latin typeface="Trebuchet MS" panose="020B0603020202020204" pitchFamily="34" charset="0"/>
              </a:rPr>
              <a:t>to the client</a:t>
            </a:r>
          </a:p>
          <a:p>
            <a:pPr marL="171450" indent="-171450">
              <a:spcAft>
                <a:spcPts val="0"/>
              </a:spcAft>
              <a:buClr>
                <a:schemeClr val="tx1"/>
              </a:buClr>
              <a:buFont typeface="Arial" panose="020B0604020202020204" pitchFamily="34" charset="0"/>
              <a:buChar char="•"/>
            </a:pPr>
            <a:r>
              <a:rPr lang="en-GB" sz="1000" dirty="0">
                <a:solidFill>
                  <a:schemeClr val="tx2"/>
                </a:solidFill>
                <a:latin typeface="Trebuchet MS" panose="020B0603020202020204" pitchFamily="34" charset="0"/>
              </a:rPr>
              <a:t>revenue</a:t>
            </a:r>
            <a:r>
              <a:rPr lang="en-GB" sz="1000" dirty="0">
                <a:latin typeface="Trebuchet MS" panose="020B0603020202020204" pitchFamily="34" charset="0"/>
              </a:rPr>
              <a:t>, i.e. the amount of money customers </a:t>
            </a:r>
            <a:r>
              <a:rPr lang="en-GB" sz="1000" dirty="0">
                <a:solidFill>
                  <a:schemeClr val="tx2"/>
                </a:solidFill>
                <a:latin typeface="Trebuchet MS" panose="020B0603020202020204" pitchFamily="34" charset="0"/>
              </a:rPr>
              <a:t>actually pay </a:t>
            </a:r>
            <a:r>
              <a:rPr lang="en-GB" sz="1000" dirty="0">
                <a:latin typeface="Trebuchet MS" panose="020B0603020202020204" pitchFamily="34" charset="0"/>
              </a:rPr>
              <a:t>at a given moment</a:t>
            </a:r>
          </a:p>
        </p:txBody>
      </p:sp>
    </p:spTree>
    <p:extLst>
      <p:ext uri="{BB962C8B-B14F-4D97-AF65-F5344CB8AC3E}">
        <p14:creationId xmlns:p14="http://schemas.microsoft.com/office/powerpoint/2010/main" val="2845273452"/>
      </p:ext>
    </p:extLst>
  </p:cSld>
  <p:clrMapOvr>
    <a:masterClrMapping/>
  </p:clrMapOv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t 32" hidden="1">
            <a:extLst>
              <a:ext uri="{FF2B5EF4-FFF2-40B4-BE49-F238E27FC236}">
                <a16:creationId xmlns:a16="http://schemas.microsoft.com/office/drawing/2014/main" id="{86158E79-F997-40AF-B834-92852138EB03}"/>
              </a:ext>
            </a:extLst>
          </p:cNvPr>
          <p:cNvGraphicFramePr>
            <a:graphicFrameLocks noChangeAspect="1"/>
          </p:cNvGraphicFramePr>
          <p:nvPr>
            <p:custDataLst>
              <p:tags r:id="rId1"/>
            </p:custDataLst>
            <p:extLst>
              <p:ext uri="{D42A27DB-BD31-4B8C-83A1-F6EECF244321}">
                <p14:modId xmlns:p14="http://schemas.microsoft.com/office/powerpoint/2010/main" val="3777663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3" name="Objet 32" hidden="1">
                        <a:extLst>
                          <a:ext uri="{FF2B5EF4-FFF2-40B4-BE49-F238E27FC236}">
                            <a16:creationId xmlns:a16="http://schemas.microsoft.com/office/drawing/2014/main" id="{86158E79-F997-40AF-B834-92852138EB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Rectangle 54" hidden="1">
            <a:extLst>
              <a:ext uri="{FF2B5EF4-FFF2-40B4-BE49-F238E27FC236}">
                <a16:creationId xmlns:a16="http://schemas.microsoft.com/office/drawing/2014/main" id="{8EE86343-74BC-4E2D-BB6A-24861BB9D9B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3D5F3CBF-1CC1-410B-9384-ECBE8A2E4680}"/>
              </a:ext>
            </a:extLst>
          </p:cNvPr>
          <p:cNvSpPr>
            <a:spLocks noGrp="1"/>
          </p:cNvSpPr>
          <p:nvPr>
            <p:ph type="title"/>
          </p:nvPr>
        </p:nvSpPr>
        <p:spPr>
          <a:xfrm>
            <a:off x="165600" y="147600"/>
            <a:ext cx="8388164" cy="684000"/>
          </a:xfrm>
        </p:spPr>
        <p:txBody>
          <a:bodyPr/>
          <a:lstStyle/>
          <a:p>
            <a:r>
              <a:rPr lang="en-GB" dirty="0"/>
              <a:t>In terms of figures, </a:t>
            </a:r>
            <a:r>
              <a:rPr lang="en-GB" dirty="0">
                <a:solidFill>
                  <a:schemeClr val="tx2"/>
                </a:solidFill>
              </a:rPr>
              <a:t>scopes of the customer cohorts’ analysis </a:t>
            </a:r>
            <a:r>
              <a:rPr lang="en-GB" dirty="0"/>
              <a:t>are smaller than the total revenue generated in France, Benelux and by </a:t>
            </a:r>
            <a:r>
              <a:rPr lang="en-GB" dirty="0" err="1"/>
              <a:t>Manageo</a:t>
            </a:r>
            <a:r>
              <a:rPr lang="en-GB" dirty="0"/>
              <a:t> due to </a:t>
            </a:r>
            <a:r>
              <a:rPr lang="en-GB" dirty="0">
                <a:solidFill>
                  <a:schemeClr val="tx2"/>
                </a:solidFill>
              </a:rPr>
              <a:t>removals of some products</a:t>
            </a:r>
          </a:p>
        </p:txBody>
      </p:sp>
      <p:sp>
        <p:nvSpPr>
          <p:cNvPr id="3" name="Espace réservé du texte 2">
            <a:extLst>
              <a:ext uri="{FF2B5EF4-FFF2-40B4-BE49-F238E27FC236}">
                <a16:creationId xmlns:a16="http://schemas.microsoft.com/office/drawing/2014/main" id="{0EADEC9E-8B58-4FDB-816D-44CF2E7658E8}"/>
              </a:ext>
            </a:extLst>
          </p:cNvPr>
          <p:cNvSpPr>
            <a:spLocks noGrp="1"/>
          </p:cNvSpPr>
          <p:nvPr>
            <p:ph type="body" sz="quarter" idx="10"/>
          </p:nvPr>
        </p:nvSpPr>
        <p:spPr/>
        <p:txBody>
          <a:bodyPr/>
          <a:lstStyle/>
          <a:p>
            <a:r>
              <a:rPr lang="en-GB" sz="800" i="1" kern="0"/>
              <a:t>Sources: eleven research &amp; analysis, company data</a:t>
            </a:r>
          </a:p>
          <a:p>
            <a:endParaRPr lang="fr-FR"/>
          </a:p>
        </p:txBody>
      </p:sp>
      <p:sp>
        <p:nvSpPr>
          <p:cNvPr id="5" name="Rectangle 4">
            <a:extLst>
              <a:ext uri="{FF2B5EF4-FFF2-40B4-BE49-F238E27FC236}">
                <a16:creationId xmlns:a16="http://schemas.microsoft.com/office/drawing/2014/main" id="{7862FBB5-2491-45A5-B615-728AC543C6CD}"/>
              </a:ext>
            </a:extLst>
          </p:cNvPr>
          <p:cNvSpPr/>
          <p:nvPr/>
        </p:nvSpPr>
        <p:spPr bwMode="auto">
          <a:xfrm>
            <a:off x="6694509" y="1248620"/>
            <a:ext cx="2682857" cy="377778"/>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9" name="Picture 2">
            <a:extLst>
              <a:ext uri="{FF2B5EF4-FFF2-40B4-BE49-F238E27FC236}">
                <a16:creationId xmlns:a16="http://schemas.microsoft.com/office/drawing/2014/main" id="{6143312A-11EF-4B09-9935-3CD6F1048F5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00785" y="1279813"/>
            <a:ext cx="931277" cy="315392"/>
          </a:xfrm>
          <a:prstGeom prst="rect">
            <a:avLst/>
          </a:prstGeom>
          <a:noFill/>
          <a:extLst>
            <a:ext uri="{909E8E84-426E-40DD-AFC4-6F175D3DCCD1}">
              <a14:hiddenFill xmlns:a14="http://schemas.microsoft.com/office/drawing/2010/main">
                <a:solidFill>
                  <a:srgbClr val="FFFFFF"/>
                </a:solidFill>
              </a14:hiddenFill>
            </a:ext>
          </a:extLst>
        </p:spPr>
      </p:pic>
      <p:sp>
        <p:nvSpPr>
          <p:cNvPr id="10" name="Triangle isocèle 9">
            <a:extLst>
              <a:ext uri="{FF2B5EF4-FFF2-40B4-BE49-F238E27FC236}">
                <a16:creationId xmlns:a16="http://schemas.microsoft.com/office/drawing/2014/main" id="{82F0D1E7-8588-4E06-91E2-27F61B1B3261}"/>
              </a:ext>
            </a:extLst>
          </p:cNvPr>
          <p:cNvSpPr/>
          <p:nvPr/>
        </p:nvSpPr>
        <p:spPr bwMode="auto">
          <a:xfrm flipV="1">
            <a:off x="757306" y="1674753"/>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 name="Triangle isocèle 5">
            <a:extLst>
              <a:ext uri="{FF2B5EF4-FFF2-40B4-BE49-F238E27FC236}">
                <a16:creationId xmlns:a16="http://schemas.microsoft.com/office/drawing/2014/main" id="{3A123160-D0CC-416C-8A3E-38BB0E32A10E}"/>
              </a:ext>
            </a:extLst>
          </p:cNvPr>
          <p:cNvSpPr/>
          <p:nvPr/>
        </p:nvSpPr>
        <p:spPr bwMode="auto">
          <a:xfrm flipV="1">
            <a:off x="6691251" y="1674753"/>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3" name="Group 22">
            <a:extLst>
              <a:ext uri="{FF2B5EF4-FFF2-40B4-BE49-F238E27FC236}">
                <a16:creationId xmlns:a16="http://schemas.microsoft.com/office/drawing/2014/main" id="{F49C5392-FEB0-4C61-B035-528986B87053}"/>
              </a:ext>
            </a:extLst>
          </p:cNvPr>
          <p:cNvGrpSpPr/>
          <p:nvPr/>
        </p:nvGrpSpPr>
        <p:grpSpPr>
          <a:xfrm>
            <a:off x="582712" y="1094684"/>
            <a:ext cx="2857451" cy="531716"/>
            <a:chOff x="582712" y="1094684"/>
            <a:chExt cx="2857451" cy="531716"/>
          </a:xfrm>
        </p:grpSpPr>
        <p:sp>
          <p:nvSpPr>
            <p:cNvPr id="14" name="Rectangle 13">
              <a:extLst>
                <a:ext uri="{FF2B5EF4-FFF2-40B4-BE49-F238E27FC236}">
                  <a16:creationId xmlns:a16="http://schemas.microsoft.com/office/drawing/2014/main" id="{8D24C510-A00E-42BE-9A94-62CFDEAB9B48}"/>
                </a:ext>
              </a:extLst>
            </p:cNvPr>
            <p:cNvSpPr/>
            <p:nvPr/>
          </p:nvSpPr>
          <p:spPr bwMode="auto">
            <a:xfrm>
              <a:off x="757306" y="1248620"/>
              <a:ext cx="2682857" cy="377780"/>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15" name="Picture 2" descr="Drapeau France">
              <a:extLst>
                <a:ext uri="{FF2B5EF4-FFF2-40B4-BE49-F238E27FC236}">
                  <a16:creationId xmlns:a16="http://schemas.microsoft.com/office/drawing/2014/main" id="{C330A7FE-1FA5-49B1-A3CD-76047CEA371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7006" b="16757"/>
            <a:stretch/>
          </p:blipFill>
          <p:spPr bwMode="auto">
            <a:xfrm>
              <a:off x="1894775" y="1314568"/>
              <a:ext cx="407919" cy="245885"/>
            </a:xfrm>
            <a:prstGeom prst="roundRect">
              <a:avLst/>
            </a:prstGeom>
            <a:noFill/>
            <a:extLst>
              <a:ext uri="{909E8E84-426E-40DD-AFC4-6F175D3DCCD1}">
                <a14:hiddenFill xmlns:a14="http://schemas.microsoft.com/office/drawing/2010/main">
                  <a:solidFill>
                    <a:srgbClr val="FFFFFF"/>
                  </a:solidFill>
                </a14:hiddenFill>
              </a:ext>
            </a:extLst>
          </p:spPr>
        </p:pic>
        <p:sp>
          <p:nvSpPr>
            <p:cNvPr id="16" name="Ellipse 15">
              <a:extLst>
                <a:ext uri="{FF2B5EF4-FFF2-40B4-BE49-F238E27FC236}">
                  <a16:creationId xmlns:a16="http://schemas.microsoft.com/office/drawing/2014/main" id="{7081FF1D-794B-4B1B-B5CC-3653D67EE346}"/>
                </a:ext>
              </a:extLst>
            </p:cNvPr>
            <p:cNvSpPr/>
            <p:nvPr/>
          </p:nvSpPr>
          <p:spPr bwMode="auto">
            <a:xfrm>
              <a:off x="582712" y="1094684"/>
              <a:ext cx="349188" cy="33417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1</a:t>
              </a:r>
            </a:p>
          </p:txBody>
        </p:sp>
      </p:grpSp>
      <p:sp>
        <p:nvSpPr>
          <p:cNvPr id="18" name="Ellipse 17">
            <a:extLst>
              <a:ext uri="{FF2B5EF4-FFF2-40B4-BE49-F238E27FC236}">
                <a16:creationId xmlns:a16="http://schemas.microsoft.com/office/drawing/2014/main" id="{0F241C85-DC5F-4517-BF35-7FA82021049B}"/>
              </a:ext>
            </a:extLst>
          </p:cNvPr>
          <p:cNvSpPr/>
          <p:nvPr/>
        </p:nvSpPr>
        <p:spPr bwMode="auto">
          <a:xfrm>
            <a:off x="6519914" y="1094684"/>
            <a:ext cx="349188" cy="33417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3</a:t>
            </a:r>
          </a:p>
        </p:txBody>
      </p:sp>
      <p:sp>
        <p:nvSpPr>
          <p:cNvPr id="22" name="Rectangle 21">
            <a:extLst>
              <a:ext uri="{FF2B5EF4-FFF2-40B4-BE49-F238E27FC236}">
                <a16:creationId xmlns:a16="http://schemas.microsoft.com/office/drawing/2014/main" id="{6058E5A1-E0A7-4329-B80D-A6A32CA32EFE}"/>
              </a:ext>
            </a:extLst>
          </p:cNvPr>
          <p:cNvSpPr/>
          <p:nvPr/>
        </p:nvSpPr>
        <p:spPr bwMode="auto">
          <a:xfrm>
            <a:off x="1229502" y="3718291"/>
            <a:ext cx="1832426" cy="487502"/>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One-shot products</a:t>
            </a:r>
            <a:endParaRPr lang="en-GB" sz="11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4.07 €m</a:t>
            </a:r>
          </a:p>
        </p:txBody>
      </p:sp>
      <p:sp>
        <p:nvSpPr>
          <p:cNvPr id="24" name="Rectangle 23">
            <a:extLst>
              <a:ext uri="{FF2B5EF4-FFF2-40B4-BE49-F238E27FC236}">
                <a16:creationId xmlns:a16="http://schemas.microsoft.com/office/drawing/2014/main" id="{D54CEFE5-0D81-406D-9ACB-85E83C71D147}"/>
              </a:ext>
            </a:extLst>
          </p:cNvPr>
          <p:cNvSpPr/>
          <p:nvPr/>
        </p:nvSpPr>
        <p:spPr bwMode="auto">
          <a:xfrm>
            <a:off x="6682026" y="2664012"/>
            <a:ext cx="2682856" cy="2945367"/>
          </a:xfrm>
          <a:prstGeom prst="rect">
            <a:avLst/>
          </a:prstGeom>
          <a:solidFill>
            <a:schemeClr val="bg2">
              <a:lumMod val="20000"/>
              <a:lumOff val="80000"/>
            </a:schemeClr>
          </a:solidFill>
          <a:ln w="38100" cap="flat" cmpd="sng" algn="ctr">
            <a:solidFill>
              <a:srgbClr val="289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100">
                <a:latin typeface="Trebuchet MS" pitchFamily="34" charset="0"/>
              </a:rPr>
              <a:t>Sales: </a:t>
            </a:r>
            <a:r>
              <a:rPr lang="en-GB" sz="1050" b="1">
                <a:solidFill>
                  <a:schemeClr val="tx2"/>
                </a:solidFill>
                <a:latin typeface="Trebuchet MS" pitchFamily="34" charset="0"/>
              </a:rPr>
              <a:t>9.45 €m</a:t>
            </a:r>
          </a:p>
        </p:txBody>
      </p:sp>
      <p:sp>
        <p:nvSpPr>
          <p:cNvPr id="25" name="Triangle isocèle 24">
            <a:extLst>
              <a:ext uri="{FF2B5EF4-FFF2-40B4-BE49-F238E27FC236}">
                <a16:creationId xmlns:a16="http://schemas.microsoft.com/office/drawing/2014/main" id="{6B141F1D-ACB8-496B-A1CD-B9E2CAD970EE}"/>
              </a:ext>
            </a:extLst>
          </p:cNvPr>
          <p:cNvSpPr/>
          <p:nvPr/>
        </p:nvSpPr>
        <p:spPr bwMode="auto">
          <a:xfrm flipV="1">
            <a:off x="757306" y="2396032"/>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27" name="Rectangle 26">
            <a:extLst>
              <a:ext uri="{FF2B5EF4-FFF2-40B4-BE49-F238E27FC236}">
                <a16:creationId xmlns:a16="http://schemas.microsoft.com/office/drawing/2014/main" id="{08E87702-44A4-47CA-B477-AAFC9C4B0366}"/>
              </a:ext>
            </a:extLst>
          </p:cNvPr>
          <p:cNvSpPr/>
          <p:nvPr/>
        </p:nvSpPr>
        <p:spPr bwMode="auto">
          <a:xfrm>
            <a:off x="757306" y="2664013"/>
            <a:ext cx="2682856" cy="3710842"/>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Billing: 55.48 €m </a:t>
            </a:r>
          </a:p>
        </p:txBody>
      </p:sp>
      <p:sp>
        <p:nvSpPr>
          <p:cNvPr id="30" name="Rectangle 29">
            <a:extLst>
              <a:ext uri="{FF2B5EF4-FFF2-40B4-BE49-F238E27FC236}">
                <a16:creationId xmlns:a16="http://schemas.microsoft.com/office/drawing/2014/main" id="{4A0CBEAD-F285-4B34-BA46-D51708742C4C}"/>
              </a:ext>
            </a:extLst>
          </p:cNvPr>
          <p:cNvSpPr/>
          <p:nvPr/>
        </p:nvSpPr>
        <p:spPr bwMode="auto">
          <a:xfrm>
            <a:off x="757306" y="1893455"/>
            <a:ext cx="2682856" cy="360218"/>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0" i="0" u="none" strike="noStrike" cap="none" normalizeH="0" baseline="0" dirty="0">
                <a:ln>
                  <a:noFill/>
                </a:ln>
                <a:solidFill>
                  <a:schemeClr val="tx1"/>
                </a:solidFill>
                <a:effectLst/>
                <a:latin typeface="Trebuchet MS" pitchFamily="34" charset="0"/>
              </a:rPr>
              <a:t>Total revenue 2019 (from BP): </a:t>
            </a:r>
            <a:r>
              <a:rPr kumimoji="0" lang="en-GB" sz="1050" b="1" i="0" u="none" strike="noStrike" cap="none" normalizeH="0" baseline="0" dirty="0">
                <a:ln>
                  <a:noFill/>
                </a:ln>
                <a:solidFill>
                  <a:schemeClr val="tx2"/>
                </a:solidFill>
                <a:effectLst/>
                <a:latin typeface="Trebuchet MS" pitchFamily="34" charset="0"/>
              </a:rPr>
              <a:t>52.9 €m</a:t>
            </a:r>
          </a:p>
        </p:txBody>
      </p:sp>
      <p:sp>
        <p:nvSpPr>
          <p:cNvPr id="31" name="Rectangle 30">
            <a:extLst>
              <a:ext uri="{FF2B5EF4-FFF2-40B4-BE49-F238E27FC236}">
                <a16:creationId xmlns:a16="http://schemas.microsoft.com/office/drawing/2014/main" id="{FAE19A6B-A4C0-4A15-91FA-FEC643581FB2}"/>
              </a:ext>
            </a:extLst>
          </p:cNvPr>
          <p:cNvSpPr/>
          <p:nvPr/>
        </p:nvSpPr>
        <p:spPr bwMode="auto">
          <a:xfrm>
            <a:off x="1229502" y="3043720"/>
            <a:ext cx="1832426" cy="46338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err="1">
                <a:ln>
                  <a:noFill/>
                </a:ln>
                <a:solidFill>
                  <a:schemeClr val="tx1"/>
                </a:solidFill>
                <a:effectLst/>
                <a:latin typeface="Trebuchet MS" pitchFamily="34" charset="0"/>
              </a:rPr>
              <a:t>D&amp;Bi</a:t>
            </a:r>
            <a:endParaRPr kumimoji="0" lang="en-GB" sz="11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12.21 €m</a:t>
            </a:r>
          </a:p>
        </p:txBody>
      </p:sp>
      <p:sp>
        <p:nvSpPr>
          <p:cNvPr id="32" name="Rectangle 31">
            <a:extLst>
              <a:ext uri="{FF2B5EF4-FFF2-40B4-BE49-F238E27FC236}">
                <a16:creationId xmlns:a16="http://schemas.microsoft.com/office/drawing/2014/main" id="{C059FB14-23A6-488B-892B-3EBA3ECF9E44}"/>
              </a:ext>
            </a:extLst>
          </p:cNvPr>
          <p:cNvSpPr/>
          <p:nvPr/>
        </p:nvSpPr>
        <p:spPr bwMode="auto">
          <a:xfrm>
            <a:off x="1229502" y="4464819"/>
            <a:ext cx="1832426" cy="1144561"/>
          </a:xfrm>
          <a:prstGeom prst="rect">
            <a:avLst/>
          </a:prstGeom>
          <a:solidFill>
            <a:schemeClr val="bg2">
              <a:lumMod val="20000"/>
              <a:lumOff val="80000"/>
            </a:schemeClr>
          </a:solidFill>
          <a:ln w="38100" cap="flat" cmpd="sng" algn="ctr">
            <a:solidFill>
              <a:srgbClr val="289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effectLst/>
                <a:latin typeface="Trebuchet MS" pitchFamily="34" charset="0"/>
              </a:rPr>
              <a:t>Recurring products</a:t>
            </a:r>
          </a:p>
          <a:p>
            <a:pPr marL="0" marR="0" indent="0" algn="ctr" defTabSz="914400" eaLnBrk="1" fontAlgn="base" latinLnBrk="0" hangingPunct="1">
              <a:lnSpc>
                <a:spcPct val="100000"/>
              </a:lnSpc>
              <a:spcBef>
                <a:spcPct val="0"/>
              </a:spcBef>
              <a:spcAft>
                <a:spcPct val="0"/>
              </a:spcAft>
              <a:buClrTx/>
              <a:buSzTx/>
              <a:buFontTx/>
              <a:buNone/>
              <a:tabLst/>
            </a:pPr>
            <a:endParaRPr lang="en-GB" sz="11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1050" b="1">
                <a:solidFill>
                  <a:schemeClr val="tx2"/>
                </a:solidFill>
                <a:latin typeface="Trebuchet MS" pitchFamily="34" charset="0"/>
              </a:rPr>
              <a:t>39.19 €m</a:t>
            </a:r>
          </a:p>
        </p:txBody>
      </p:sp>
      <p:sp>
        <p:nvSpPr>
          <p:cNvPr id="34" name="Triangle isocèle 33">
            <a:extLst>
              <a:ext uri="{FF2B5EF4-FFF2-40B4-BE49-F238E27FC236}">
                <a16:creationId xmlns:a16="http://schemas.microsoft.com/office/drawing/2014/main" id="{9536977F-D7AE-42AC-94B3-A45E868D3DA9}"/>
              </a:ext>
            </a:extLst>
          </p:cNvPr>
          <p:cNvSpPr/>
          <p:nvPr/>
        </p:nvSpPr>
        <p:spPr bwMode="auto">
          <a:xfrm flipV="1">
            <a:off x="1229503" y="5681634"/>
            <a:ext cx="1874782" cy="13291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2"/>
              </a:solidFill>
              <a:effectLst/>
              <a:latin typeface="Trebuchet MS" pitchFamily="34" charset="0"/>
            </a:endParaRPr>
          </a:p>
        </p:txBody>
      </p:sp>
      <p:sp>
        <p:nvSpPr>
          <p:cNvPr id="35" name="Rectangle 34">
            <a:extLst>
              <a:ext uri="{FF2B5EF4-FFF2-40B4-BE49-F238E27FC236}">
                <a16:creationId xmlns:a16="http://schemas.microsoft.com/office/drawing/2014/main" id="{0947BE11-5938-4BD3-871D-DD63940F95BB}"/>
              </a:ext>
            </a:extLst>
          </p:cNvPr>
          <p:cNvSpPr/>
          <p:nvPr/>
        </p:nvSpPr>
        <p:spPr bwMode="auto">
          <a:xfrm>
            <a:off x="1253459" y="5886805"/>
            <a:ext cx="1850825" cy="385281"/>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solidFill>
                  <a:schemeClr val="bg1"/>
                </a:solidFill>
                <a:latin typeface="Trebuchet MS" pitchFamily="34" charset="0"/>
              </a:rPr>
              <a:t>Scope of the customer cohorts’ analysis</a:t>
            </a:r>
            <a:endParaRPr kumimoji="0" lang="en-GB" sz="1100" b="0" i="0" u="none" strike="noStrike" cap="none" normalizeH="0" baseline="0">
              <a:ln>
                <a:noFill/>
              </a:ln>
              <a:solidFill>
                <a:schemeClr val="bg1"/>
              </a:solidFill>
              <a:effectLst/>
              <a:latin typeface="Trebuchet MS" pitchFamily="34" charset="0"/>
            </a:endParaRPr>
          </a:p>
        </p:txBody>
      </p:sp>
      <p:sp>
        <p:nvSpPr>
          <p:cNvPr id="40" name="Triangle isocèle 39">
            <a:extLst>
              <a:ext uri="{FF2B5EF4-FFF2-40B4-BE49-F238E27FC236}">
                <a16:creationId xmlns:a16="http://schemas.microsoft.com/office/drawing/2014/main" id="{0C1048C5-AAF6-4EAC-923B-5C4BE75D4301}"/>
              </a:ext>
            </a:extLst>
          </p:cNvPr>
          <p:cNvSpPr/>
          <p:nvPr/>
        </p:nvSpPr>
        <p:spPr bwMode="auto">
          <a:xfrm flipV="1">
            <a:off x="7120038" y="5681634"/>
            <a:ext cx="1874782" cy="13291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2"/>
              </a:solidFill>
              <a:effectLst/>
              <a:latin typeface="Trebuchet MS" pitchFamily="34" charset="0"/>
            </a:endParaRPr>
          </a:p>
        </p:txBody>
      </p:sp>
      <p:sp>
        <p:nvSpPr>
          <p:cNvPr id="41" name="Rectangle 40">
            <a:extLst>
              <a:ext uri="{FF2B5EF4-FFF2-40B4-BE49-F238E27FC236}">
                <a16:creationId xmlns:a16="http://schemas.microsoft.com/office/drawing/2014/main" id="{5C3FC11A-FD68-4771-A1AD-30AA1557095E}"/>
              </a:ext>
            </a:extLst>
          </p:cNvPr>
          <p:cNvSpPr/>
          <p:nvPr/>
        </p:nvSpPr>
        <p:spPr bwMode="auto">
          <a:xfrm>
            <a:off x="7143994" y="5886805"/>
            <a:ext cx="1850825" cy="385281"/>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solidFill>
                  <a:schemeClr val="bg1"/>
                </a:solidFill>
                <a:latin typeface="Trebuchet MS" pitchFamily="34" charset="0"/>
              </a:rPr>
              <a:t>Scope of the customer cohorts’ analysis</a:t>
            </a:r>
            <a:endParaRPr kumimoji="0" lang="en-GB" sz="1100" b="0" i="0" u="none" strike="noStrike" cap="none" normalizeH="0" baseline="0">
              <a:ln>
                <a:noFill/>
              </a:ln>
              <a:solidFill>
                <a:schemeClr val="bg1"/>
              </a:solidFill>
              <a:effectLst/>
              <a:latin typeface="Trebuchet MS" pitchFamily="34" charset="0"/>
            </a:endParaRPr>
          </a:p>
        </p:txBody>
      </p:sp>
      <p:sp>
        <p:nvSpPr>
          <p:cNvPr id="42" name="Rectangle 41">
            <a:extLst>
              <a:ext uri="{FF2B5EF4-FFF2-40B4-BE49-F238E27FC236}">
                <a16:creationId xmlns:a16="http://schemas.microsoft.com/office/drawing/2014/main" id="{AF9B5A75-943B-4E0A-8576-543C28562AC4}"/>
              </a:ext>
            </a:extLst>
          </p:cNvPr>
          <p:cNvSpPr/>
          <p:nvPr/>
        </p:nvSpPr>
        <p:spPr bwMode="auto">
          <a:xfrm>
            <a:off x="6691251" y="1902844"/>
            <a:ext cx="2682856" cy="360218"/>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0" i="0" u="none" strike="noStrike" cap="none" normalizeH="0" baseline="0" dirty="0">
                <a:ln>
                  <a:noFill/>
                </a:ln>
                <a:solidFill>
                  <a:schemeClr val="tx1"/>
                </a:solidFill>
                <a:effectLst/>
                <a:latin typeface="Trebuchet MS" pitchFamily="34" charset="0"/>
              </a:rPr>
              <a:t>Total revenue 2019 (from BP): </a:t>
            </a:r>
            <a:r>
              <a:rPr lang="en-GB" sz="1050" b="1" dirty="0">
                <a:solidFill>
                  <a:schemeClr val="tx2"/>
                </a:solidFill>
                <a:latin typeface="Trebuchet MS" pitchFamily="34" charset="0"/>
              </a:rPr>
              <a:t>9.7€m</a:t>
            </a:r>
          </a:p>
        </p:txBody>
      </p:sp>
      <p:sp>
        <p:nvSpPr>
          <p:cNvPr id="43" name="Triangle isocèle 5">
            <a:extLst>
              <a:ext uri="{FF2B5EF4-FFF2-40B4-BE49-F238E27FC236}">
                <a16:creationId xmlns:a16="http://schemas.microsoft.com/office/drawing/2014/main" id="{7667A308-00B6-4C0D-9D92-B88460720212}"/>
              </a:ext>
            </a:extLst>
          </p:cNvPr>
          <p:cNvSpPr/>
          <p:nvPr/>
        </p:nvSpPr>
        <p:spPr bwMode="auto">
          <a:xfrm flipV="1">
            <a:off x="6691251" y="2405421"/>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grpSp>
        <p:nvGrpSpPr>
          <p:cNvPr id="46" name="Groupe 45">
            <a:extLst>
              <a:ext uri="{FF2B5EF4-FFF2-40B4-BE49-F238E27FC236}">
                <a16:creationId xmlns:a16="http://schemas.microsoft.com/office/drawing/2014/main" id="{DA62729A-0678-4634-A444-4904DE04235B}"/>
              </a:ext>
            </a:extLst>
          </p:cNvPr>
          <p:cNvGrpSpPr/>
          <p:nvPr/>
        </p:nvGrpSpPr>
        <p:grpSpPr>
          <a:xfrm>
            <a:off x="1984050" y="3406614"/>
            <a:ext cx="229368" cy="303244"/>
            <a:chOff x="-892666" y="2362520"/>
            <a:chExt cx="417347" cy="523744"/>
          </a:xfrm>
        </p:grpSpPr>
        <p:sp>
          <p:nvSpPr>
            <p:cNvPr id="44" name="Ellipse 43">
              <a:extLst>
                <a:ext uri="{FF2B5EF4-FFF2-40B4-BE49-F238E27FC236}">
                  <a16:creationId xmlns:a16="http://schemas.microsoft.com/office/drawing/2014/main" id="{B7909257-EB26-4946-8295-099F5B41A24B}"/>
                </a:ext>
              </a:extLst>
            </p:cNvPr>
            <p:cNvSpPr/>
            <p:nvPr/>
          </p:nvSpPr>
          <p:spPr bwMode="auto">
            <a:xfrm>
              <a:off x="-766617" y="2581564"/>
              <a:ext cx="291298" cy="304700"/>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bg1"/>
                </a:solidFill>
                <a:effectLst/>
                <a:latin typeface="Trebuchet MS" pitchFamily="34" charset="0"/>
              </a:endParaRPr>
            </a:p>
          </p:txBody>
        </p:sp>
        <p:sp>
          <p:nvSpPr>
            <p:cNvPr id="45" name="ZoneTexte 44">
              <a:extLst>
                <a:ext uri="{FF2B5EF4-FFF2-40B4-BE49-F238E27FC236}">
                  <a16:creationId xmlns:a16="http://schemas.microsoft.com/office/drawing/2014/main" id="{8F0C2293-16A8-4DD0-9F54-6194D33AF8F0}"/>
                </a:ext>
              </a:extLst>
            </p:cNvPr>
            <p:cNvSpPr txBox="1"/>
            <p:nvPr/>
          </p:nvSpPr>
          <p:spPr>
            <a:xfrm>
              <a:off x="-892666" y="2362520"/>
              <a:ext cx="319319" cy="400110"/>
            </a:xfrm>
            <a:prstGeom prst="rect">
              <a:avLst/>
            </a:prstGeom>
            <a:noFill/>
          </p:spPr>
          <p:txBody>
            <a:bodyPr wrap="none" rtlCol="0">
              <a:spAutoFit/>
            </a:bodyPr>
            <a:lstStyle/>
            <a:p>
              <a:r>
                <a:rPr lang="fr-FR" sz="2000">
                  <a:solidFill>
                    <a:schemeClr val="bg1"/>
                  </a:solidFill>
                  <a:latin typeface="+mj-lt"/>
                </a:rPr>
                <a:t>+</a:t>
              </a:r>
            </a:p>
          </p:txBody>
        </p:sp>
      </p:grpSp>
      <p:grpSp>
        <p:nvGrpSpPr>
          <p:cNvPr id="47" name="Groupe 46">
            <a:extLst>
              <a:ext uri="{FF2B5EF4-FFF2-40B4-BE49-F238E27FC236}">
                <a16:creationId xmlns:a16="http://schemas.microsoft.com/office/drawing/2014/main" id="{5CABC536-AF37-4858-A956-211634D9A32E}"/>
              </a:ext>
            </a:extLst>
          </p:cNvPr>
          <p:cNvGrpSpPr/>
          <p:nvPr/>
        </p:nvGrpSpPr>
        <p:grpSpPr>
          <a:xfrm>
            <a:off x="1984050" y="4090805"/>
            <a:ext cx="229368" cy="303244"/>
            <a:chOff x="-892666" y="2362520"/>
            <a:chExt cx="417347" cy="523744"/>
          </a:xfrm>
        </p:grpSpPr>
        <p:sp>
          <p:nvSpPr>
            <p:cNvPr id="48" name="Ellipse 47">
              <a:extLst>
                <a:ext uri="{FF2B5EF4-FFF2-40B4-BE49-F238E27FC236}">
                  <a16:creationId xmlns:a16="http://schemas.microsoft.com/office/drawing/2014/main" id="{40646507-A123-4DF6-90A8-384E88AB13D5}"/>
                </a:ext>
              </a:extLst>
            </p:cNvPr>
            <p:cNvSpPr/>
            <p:nvPr/>
          </p:nvSpPr>
          <p:spPr bwMode="auto">
            <a:xfrm>
              <a:off x="-766617" y="2581564"/>
              <a:ext cx="291298" cy="304700"/>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bg1"/>
                </a:solidFill>
                <a:effectLst/>
                <a:latin typeface="Trebuchet MS" pitchFamily="34" charset="0"/>
              </a:endParaRPr>
            </a:p>
          </p:txBody>
        </p:sp>
        <p:sp>
          <p:nvSpPr>
            <p:cNvPr id="49" name="ZoneTexte 48">
              <a:extLst>
                <a:ext uri="{FF2B5EF4-FFF2-40B4-BE49-F238E27FC236}">
                  <a16:creationId xmlns:a16="http://schemas.microsoft.com/office/drawing/2014/main" id="{938E0F87-3013-47EC-8566-AA2DFB2AF57B}"/>
                </a:ext>
              </a:extLst>
            </p:cNvPr>
            <p:cNvSpPr txBox="1"/>
            <p:nvPr/>
          </p:nvSpPr>
          <p:spPr>
            <a:xfrm>
              <a:off x="-892666" y="2362520"/>
              <a:ext cx="319319" cy="400110"/>
            </a:xfrm>
            <a:prstGeom prst="rect">
              <a:avLst/>
            </a:prstGeom>
            <a:noFill/>
          </p:spPr>
          <p:txBody>
            <a:bodyPr wrap="none" rtlCol="0">
              <a:spAutoFit/>
            </a:bodyPr>
            <a:lstStyle/>
            <a:p>
              <a:r>
                <a:rPr lang="fr-FR" sz="2000">
                  <a:solidFill>
                    <a:schemeClr val="bg1"/>
                  </a:solidFill>
                  <a:latin typeface="+mj-lt"/>
                </a:rPr>
                <a:t>+</a:t>
              </a:r>
            </a:p>
          </p:txBody>
        </p:sp>
      </p:grpSp>
      <p:grpSp>
        <p:nvGrpSpPr>
          <p:cNvPr id="21" name="Group 20">
            <a:extLst>
              <a:ext uri="{FF2B5EF4-FFF2-40B4-BE49-F238E27FC236}">
                <a16:creationId xmlns:a16="http://schemas.microsoft.com/office/drawing/2014/main" id="{02D60B71-C031-43F5-91F6-58B49B396B4A}"/>
              </a:ext>
            </a:extLst>
          </p:cNvPr>
          <p:cNvGrpSpPr/>
          <p:nvPr/>
        </p:nvGrpSpPr>
        <p:grpSpPr>
          <a:xfrm>
            <a:off x="3551313" y="1094684"/>
            <a:ext cx="2857451" cy="5280171"/>
            <a:chOff x="3551313" y="1094684"/>
            <a:chExt cx="2857451" cy="5280171"/>
          </a:xfrm>
        </p:grpSpPr>
        <p:sp>
          <p:nvSpPr>
            <p:cNvPr id="4" name="Rectangle 3">
              <a:extLst>
                <a:ext uri="{FF2B5EF4-FFF2-40B4-BE49-F238E27FC236}">
                  <a16:creationId xmlns:a16="http://schemas.microsoft.com/office/drawing/2014/main" id="{56B55C2F-845E-43DA-80C8-007588EAA529}"/>
                </a:ext>
              </a:extLst>
            </p:cNvPr>
            <p:cNvSpPr/>
            <p:nvPr/>
          </p:nvSpPr>
          <p:spPr bwMode="auto">
            <a:xfrm>
              <a:off x="3725907" y="1248620"/>
              <a:ext cx="2682857" cy="377778"/>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6" name="Picture 2 - 1" descr="Drapeau des Pays-Bas — Wikipédia">
              <a:extLst>
                <a:ext uri="{FF2B5EF4-FFF2-40B4-BE49-F238E27FC236}">
                  <a16:creationId xmlns:a16="http://schemas.microsoft.com/office/drawing/2014/main" id="{D86A4923-DDB0-4224-8031-0F43552BF49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55096" y="1314568"/>
              <a:ext cx="407918"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7" name="Picture 2" descr="5 ft x 3 ft 150 x 90 cm-DRAPEAU BELGE Belgique 100% Polyester ...">
              <a:extLst>
                <a:ext uri="{FF2B5EF4-FFF2-40B4-BE49-F238E27FC236}">
                  <a16:creationId xmlns:a16="http://schemas.microsoft.com/office/drawing/2014/main" id="{997B053A-EC5A-457A-B893-9F72342CED03}"/>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5492160" y="1314568"/>
              <a:ext cx="407923"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8" name="Picture 5" descr="A picture containing bird&#10;&#10;Description automatically generated">
              <a:extLst>
                <a:ext uri="{FF2B5EF4-FFF2-40B4-BE49-F238E27FC236}">
                  <a16:creationId xmlns:a16="http://schemas.microsoft.com/office/drawing/2014/main" id="{F788D890-CF7F-4AA1-8049-2A497DFFCAD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873626" y="1314568"/>
              <a:ext cx="407923" cy="245391"/>
            </a:xfrm>
            <a:prstGeom prst="roundRect">
              <a:avLst/>
            </a:prstGeom>
            <a:noFill/>
          </p:spPr>
        </p:pic>
        <p:sp>
          <p:nvSpPr>
            <p:cNvPr id="11" name="Triangle isocèle 5">
              <a:extLst>
                <a:ext uri="{FF2B5EF4-FFF2-40B4-BE49-F238E27FC236}">
                  <a16:creationId xmlns:a16="http://schemas.microsoft.com/office/drawing/2014/main" id="{AE8E3B16-29B5-449F-9443-6AB2F57AE481}"/>
                </a:ext>
              </a:extLst>
            </p:cNvPr>
            <p:cNvSpPr/>
            <p:nvPr/>
          </p:nvSpPr>
          <p:spPr bwMode="auto">
            <a:xfrm flipV="1">
              <a:off x="3719666" y="1674753"/>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 name="Ellipse 16">
              <a:extLst>
                <a:ext uri="{FF2B5EF4-FFF2-40B4-BE49-F238E27FC236}">
                  <a16:creationId xmlns:a16="http://schemas.microsoft.com/office/drawing/2014/main" id="{8A6D249B-FA1C-4667-8EE6-55E29493B6AC}"/>
                </a:ext>
              </a:extLst>
            </p:cNvPr>
            <p:cNvSpPr/>
            <p:nvPr/>
          </p:nvSpPr>
          <p:spPr bwMode="auto">
            <a:xfrm>
              <a:off x="3551313" y="1094684"/>
              <a:ext cx="349188" cy="33417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2</a:t>
              </a:r>
            </a:p>
          </p:txBody>
        </p:sp>
        <p:sp>
          <p:nvSpPr>
            <p:cNvPr id="23" name="Rectangle 22">
              <a:extLst>
                <a:ext uri="{FF2B5EF4-FFF2-40B4-BE49-F238E27FC236}">
                  <a16:creationId xmlns:a16="http://schemas.microsoft.com/office/drawing/2014/main" id="{C34033B3-BAF3-4B98-912B-4132825CB19E}"/>
                </a:ext>
              </a:extLst>
            </p:cNvPr>
            <p:cNvSpPr/>
            <p:nvPr/>
          </p:nvSpPr>
          <p:spPr bwMode="auto">
            <a:xfrm>
              <a:off x="3719666" y="1893455"/>
              <a:ext cx="2682856" cy="360218"/>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0" i="0" u="none" strike="noStrike" cap="none" normalizeH="0" baseline="0" dirty="0">
                  <a:ln>
                    <a:noFill/>
                  </a:ln>
                  <a:solidFill>
                    <a:schemeClr val="tx1"/>
                  </a:solidFill>
                  <a:effectLst/>
                  <a:latin typeface="Trebuchet MS" pitchFamily="34" charset="0"/>
                </a:rPr>
                <a:t>Total revenue 2019 (from BP): </a:t>
              </a:r>
              <a:r>
                <a:rPr lang="en-GB" sz="1050" b="1" dirty="0">
                  <a:solidFill>
                    <a:schemeClr val="tx2"/>
                  </a:solidFill>
                  <a:latin typeface="Trebuchet MS" pitchFamily="34" charset="0"/>
                </a:rPr>
                <a:t>53.9 €m</a:t>
              </a:r>
            </a:p>
          </p:txBody>
        </p:sp>
        <p:sp>
          <p:nvSpPr>
            <p:cNvPr id="26" name="Triangle isocèle 5">
              <a:extLst>
                <a:ext uri="{FF2B5EF4-FFF2-40B4-BE49-F238E27FC236}">
                  <a16:creationId xmlns:a16="http://schemas.microsoft.com/office/drawing/2014/main" id="{E3BD8E88-ADFB-4B62-8034-9AFBE1ECE189}"/>
                </a:ext>
              </a:extLst>
            </p:cNvPr>
            <p:cNvSpPr/>
            <p:nvPr/>
          </p:nvSpPr>
          <p:spPr bwMode="auto">
            <a:xfrm flipV="1">
              <a:off x="3719666" y="2396032"/>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28" name="Rectangle 27">
              <a:extLst>
                <a:ext uri="{FF2B5EF4-FFF2-40B4-BE49-F238E27FC236}">
                  <a16:creationId xmlns:a16="http://schemas.microsoft.com/office/drawing/2014/main" id="{56A8E3DA-E143-4532-9137-0ECA11D33D47}"/>
                </a:ext>
              </a:extLst>
            </p:cNvPr>
            <p:cNvSpPr/>
            <p:nvPr/>
          </p:nvSpPr>
          <p:spPr bwMode="auto">
            <a:xfrm>
              <a:off x="3719666" y="2664013"/>
              <a:ext cx="2682856" cy="3710842"/>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Booking: </a:t>
              </a:r>
              <a:r>
                <a:rPr lang="en-GB" sz="1100">
                  <a:latin typeface="Trebuchet MS" pitchFamily="34" charset="0"/>
                </a:rPr>
                <a:t>54.11 </a:t>
              </a:r>
              <a:r>
                <a:rPr kumimoji="0" lang="en-GB" sz="1100" b="0" i="0" u="none" strike="noStrike" cap="none" normalizeH="0" baseline="0">
                  <a:ln>
                    <a:noFill/>
                  </a:ln>
                  <a:solidFill>
                    <a:schemeClr val="tx1"/>
                  </a:solidFill>
                  <a:effectLst/>
                  <a:latin typeface="Trebuchet MS" pitchFamily="34" charset="0"/>
                </a:rPr>
                <a:t>€m</a:t>
              </a:r>
            </a:p>
          </p:txBody>
        </p:sp>
        <p:sp>
          <p:nvSpPr>
            <p:cNvPr id="36" name="Rectangle 35">
              <a:extLst>
                <a:ext uri="{FF2B5EF4-FFF2-40B4-BE49-F238E27FC236}">
                  <a16:creationId xmlns:a16="http://schemas.microsoft.com/office/drawing/2014/main" id="{F334DB69-DC33-4FFD-A774-EA950D16EA1B}"/>
                </a:ext>
              </a:extLst>
            </p:cNvPr>
            <p:cNvSpPr/>
            <p:nvPr/>
          </p:nvSpPr>
          <p:spPr bwMode="auto">
            <a:xfrm>
              <a:off x="4144881" y="3043720"/>
              <a:ext cx="1832426" cy="632935"/>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err="1">
                  <a:ln>
                    <a:noFill/>
                  </a:ln>
                  <a:solidFill>
                    <a:schemeClr val="tx1"/>
                  </a:solidFill>
                  <a:effectLst/>
                  <a:latin typeface="Trebuchet MS" pitchFamily="34" charset="0"/>
                </a:rPr>
                <a:t>D&amp;Bi</a:t>
              </a:r>
              <a:endParaRPr kumimoji="0" lang="en-GB" sz="11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lang="en-GB" sz="11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1100">
                  <a:latin typeface="Trebuchet MS" pitchFamily="34" charset="0"/>
                </a:rPr>
                <a:t>7.81</a:t>
              </a:r>
              <a:r>
                <a:rPr kumimoji="0" lang="en-GB" sz="1100" b="0" i="0" u="none" strike="noStrike" cap="none" normalizeH="0" baseline="0">
                  <a:ln>
                    <a:noFill/>
                  </a:ln>
                  <a:solidFill>
                    <a:schemeClr val="tx1"/>
                  </a:solidFill>
                  <a:effectLst/>
                  <a:latin typeface="Trebuchet MS" pitchFamily="34" charset="0"/>
                </a:rPr>
                <a:t> €m</a:t>
              </a:r>
            </a:p>
          </p:txBody>
        </p:sp>
        <p:sp>
          <p:nvSpPr>
            <p:cNvPr id="37" name="Rectangle 36">
              <a:extLst>
                <a:ext uri="{FF2B5EF4-FFF2-40B4-BE49-F238E27FC236}">
                  <a16:creationId xmlns:a16="http://schemas.microsoft.com/office/drawing/2014/main" id="{3F08D013-6796-47D1-BB9B-937272FCBAA7}"/>
                </a:ext>
              </a:extLst>
            </p:cNvPr>
            <p:cNvSpPr/>
            <p:nvPr/>
          </p:nvSpPr>
          <p:spPr bwMode="auto">
            <a:xfrm>
              <a:off x="4144881" y="3819014"/>
              <a:ext cx="1832426" cy="1790366"/>
            </a:xfrm>
            <a:prstGeom prst="rect">
              <a:avLst/>
            </a:prstGeom>
            <a:solidFill>
              <a:schemeClr val="bg2">
                <a:lumMod val="20000"/>
                <a:lumOff val="80000"/>
              </a:schemeClr>
            </a:solidFill>
            <a:ln w="38100" cap="flat" cmpd="sng" algn="ctr">
              <a:solidFill>
                <a:srgbClr val="289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err="1">
                  <a:ln>
                    <a:noFill/>
                  </a:ln>
                  <a:effectLst/>
                  <a:latin typeface="Trebuchet MS" pitchFamily="34" charset="0"/>
                </a:rPr>
                <a:t>Non-D&amp;Bi</a:t>
              </a:r>
              <a:endParaRPr kumimoji="0" lang="en-GB" sz="1100" b="0" i="0" u="none" strike="noStrike" cap="none" normalizeH="0" baseline="0">
                <a:ln>
                  <a:noFill/>
                </a:ln>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lang="en-GB" sz="11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1050" b="1">
                  <a:solidFill>
                    <a:schemeClr val="tx2"/>
                  </a:solidFill>
                  <a:latin typeface="Trebuchet MS" pitchFamily="34" charset="0"/>
                </a:rPr>
                <a:t>46.30 €m</a:t>
              </a:r>
            </a:p>
          </p:txBody>
        </p:sp>
        <p:sp>
          <p:nvSpPr>
            <p:cNvPr id="38" name="Triangle isocèle 37">
              <a:extLst>
                <a:ext uri="{FF2B5EF4-FFF2-40B4-BE49-F238E27FC236}">
                  <a16:creationId xmlns:a16="http://schemas.microsoft.com/office/drawing/2014/main" id="{BB39225B-9F96-4151-B5A1-DA7E28D15F0C}"/>
                </a:ext>
              </a:extLst>
            </p:cNvPr>
            <p:cNvSpPr/>
            <p:nvPr/>
          </p:nvSpPr>
          <p:spPr bwMode="auto">
            <a:xfrm flipV="1">
              <a:off x="4099747" y="5681634"/>
              <a:ext cx="1874782" cy="13291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2"/>
                </a:solidFill>
                <a:effectLst/>
                <a:latin typeface="Trebuchet MS" pitchFamily="34" charset="0"/>
              </a:endParaRPr>
            </a:p>
          </p:txBody>
        </p:sp>
        <p:sp>
          <p:nvSpPr>
            <p:cNvPr id="39" name="Rectangle 38">
              <a:extLst>
                <a:ext uri="{FF2B5EF4-FFF2-40B4-BE49-F238E27FC236}">
                  <a16:creationId xmlns:a16="http://schemas.microsoft.com/office/drawing/2014/main" id="{C71269A9-1619-4DE0-8966-CEA4E9A3E25E}"/>
                </a:ext>
              </a:extLst>
            </p:cNvPr>
            <p:cNvSpPr/>
            <p:nvPr/>
          </p:nvSpPr>
          <p:spPr bwMode="auto">
            <a:xfrm>
              <a:off x="4123703" y="5886805"/>
              <a:ext cx="1850825" cy="385281"/>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solidFill>
                    <a:schemeClr val="bg1"/>
                  </a:solidFill>
                  <a:latin typeface="Trebuchet MS" pitchFamily="34" charset="0"/>
                </a:rPr>
                <a:t>Scope of the customer cohorts’ analysis</a:t>
              </a:r>
              <a:endParaRPr kumimoji="0" lang="en-GB" sz="1100" b="0" i="0" u="none" strike="noStrike" cap="none" normalizeH="0" baseline="0">
                <a:ln>
                  <a:noFill/>
                </a:ln>
                <a:solidFill>
                  <a:schemeClr val="bg1"/>
                </a:solidFill>
                <a:effectLst/>
                <a:latin typeface="Trebuchet MS" pitchFamily="34" charset="0"/>
              </a:endParaRPr>
            </a:p>
          </p:txBody>
        </p:sp>
        <p:grpSp>
          <p:nvGrpSpPr>
            <p:cNvPr id="50" name="Groupe 49">
              <a:extLst>
                <a:ext uri="{FF2B5EF4-FFF2-40B4-BE49-F238E27FC236}">
                  <a16:creationId xmlns:a16="http://schemas.microsoft.com/office/drawing/2014/main" id="{7679F174-D7B7-47DD-B8B2-EB9F6EA0CBE1}"/>
                </a:ext>
              </a:extLst>
            </p:cNvPr>
            <p:cNvGrpSpPr/>
            <p:nvPr/>
          </p:nvGrpSpPr>
          <p:grpSpPr>
            <a:xfrm>
              <a:off x="4934431" y="3525038"/>
              <a:ext cx="229368" cy="303244"/>
              <a:chOff x="-892666" y="2362520"/>
              <a:chExt cx="417347" cy="523744"/>
            </a:xfrm>
          </p:grpSpPr>
          <p:sp>
            <p:nvSpPr>
              <p:cNvPr id="51" name="Ellipse 50">
                <a:extLst>
                  <a:ext uri="{FF2B5EF4-FFF2-40B4-BE49-F238E27FC236}">
                    <a16:creationId xmlns:a16="http://schemas.microsoft.com/office/drawing/2014/main" id="{5BAAAABD-5889-40F6-B7BE-E4E39B1D6004}"/>
                  </a:ext>
                </a:extLst>
              </p:cNvPr>
              <p:cNvSpPr/>
              <p:nvPr/>
            </p:nvSpPr>
            <p:spPr bwMode="auto">
              <a:xfrm>
                <a:off x="-766617" y="2581564"/>
                <a:ext cx="291298" cy="304700"/>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bg1"/>
                  </a:solidFill>
                  <a:effectLst/>
                  <a:latin typeface="Trebuchet MS" pitchFamily="34" charset="0"/>
                </a:endParaRPr>
              </a:p>
            </p:txBody>
          </p:sp>
          <p:sp>
            <p:nvSpPr>
              <p:cNvPr id="52" name="ZoneTexte 51">
                <a:extLst>
                  <a:ext uri="{FF2B5EF4-FFF2-40B4-BE49-F238E27FC236}">
                    <a16:creationId xmlns:a16="http://schemas.microsoft.com/office/drawing/2014/main" id="{DAD92677-3505-497E-AAB6-392135E6485B}"/>
                  </a:ext>
                </a:extLst>
              </p:cNvPr>
              <p:cNvSpPr txBox="1"/>
              <p:nvPr/>
            </p:nvSpPr>
            <p:spPr>
              <a:xfrm>
                <a:off x="-892666" y="2362520"/>
                <a:ext cx="319319" cy="400110"/>
              </a:xfrm>
              <a:prstGeom prst="rect">
                <a:avLst/>
              </a:prstGeom>
              <a:noFill/>
            </p:spPr>
            <p:txBody>
              <a:bodyPr wrap="none" rtlCol="0">
                <a:spAutoFit/>
              </a:bodyPr>
              <a:lstStyle/>
              <a:p>
                <a:r>
                  <a:rPr lang="fr-FR" sz="2000">
                    <a:solidFill>
                      <a:schemeClr val="bg1"/>
                    </a:solidFill>
                    <a:latin typeface="+mj-lt"/>
                  </a:rPr>
                  <a:t>+</a:t>
                </a:r>
              </a:p>
            </p:txBody>
          </p:sp>
        </p:grpSp>
      </p:grpSp>
      <p:cxnSp>
        <p:nvCxnSpPr>
          <p:cNvPr id="53" name="Connecteur droit 208">
            <a:extLst>
              <a:ext uri="{FF2B5EF4-FFF2-40B4-BE49-F238E27FC236}">
                <a16:creationId xmlns:a16="http://schemas.microsoft.com/office/drawing/2014/main" id="{7064E67F-8CA0-4DE8-89A6-084606DAA156}"/>
              </a:ext>
            </a:extLst>
          </p:cNvPr>
          <p:cNvCxnSpPr>
            <a:cxnSpLocks/>
          </p:cNvCxnSpPr>
          <p:nvPr/>
        </p:nvCxnSpPr>
        <p:spPr bwMode="auto">
          <a:xfrm>
            <a:off x="384975" y="935802"/>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4" name="Rectangle 84">
            <a:extLst>
              <a:ext uri="{FF2B5EF4-FFF2-40B4-BE49-F238E27FC236}">
                <a16:creationId xmlns:a16="http://schemas.microsoft.com/office/drawing/2014/main" id="{19F7BDCC-CEC3-4F50-AB75-508E290E9040}"/>
              </a:ext>
            </a:extLst>
          </p:cNvPr>
          <p:cNvSpPr/>
          <p:nvPr/>
        </p:nvSpPr>
        <p:spPr bwMode="auto">
          <a:xfrm>
            <a:off x="2728691" y="809491"/>
            <a:ext cx="4350022" cy="259809"/>
          </a:xfrm>
          <a:prstGeom prst="rect">
            <a:avLst/>
          </a:prstGeom>
          <a:solidFill>
            <a:schemeClr val="bg1"/>
          </a:solidFill>
        </p:spPr>
        <p:txBody>
          <a:bodyPr wrap="square" rtlCol="0">
            <a:noAutofit/>
          </a:bodyPr>
          <a:lstStyle/>
          <a:p>
            <a:pPr algn="ctr"/>
            <a:r>
              <a:rPr lang="en-GB" sz="1100" err="1">
                <a:latin typeface="Trebuchet MS" panose="020B0603020202020204" pitchFamily="34" charset="0"/>
              </a:rPr>
              <a:t>Altares</a:t>
            </a:r>
            <a:r>
              <a:rPr lang="en-GB" sz="1100">
                <a:latin typeface="Trebuchet MS" panose="020B0603020202020204" pitchFamily="34" charset="0"/>
              </a:rPr>
              <a:t>’ three customer bases analysis methodologies</a:t>
            </a:r>
          </a:p>
        </p:txBody>
      </p:sp>
      <p:grpSp>
        <p:nvGrpSpPr>
          <p:cNvPr id="56" name="Groupe 55">
            <a:extLst>
              <a:ext uri="{FF2B5EF4-FFF2-40B4-BE49-F238E27FC236}">
                <a16:creationId xmlns:a16="http://schemas.microsoft.com/office/drawing/2014/main" id="{6E396C7C-7339-4ABB-943C-1195E0F3990D}"/>
              </a:ext>
            </a:extLst>
          </p:cNvPr>
          <p:cNvGrpSpPr/>
          <p:nvPr/>
        </p:nvGrpSpPr>
        <p:grpSpPr>
          <a:xfrm>
            <a:off x="8448150" y="-11528"/>
            <a:ext cx="1435548" cy="588143"/>
            <a:chOff x="8448150" y="-11528"/>
            <a:chExt cx="1435548" cy="588143"/>
          </a:xfrm>
        </p:grpSpPr>
        <p:sp>
          <p:nvSpPr>
            <p:cNvPr id="57" name="Rectangle : coins arrondis 199">
              <a:extLst>
                <a:ext uri="{FF2B5EF4-FFF2-40B4-BE49-F238E27FC236}">
                  <a16:creationId xmlns:a16="http://schemas.microsoft.com/office/drawing/2014/main" id="{A869933F-94AC-46D2-964C-917227BFFA77}"/>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8" name="Rectangle : coins arrondis 200">
              <a:extLst>
                <a:ext uri="{FF2B5EF4-FFF2-40B4-BE49-F238E27FC236}">
                  <a16:creationId xmlns:a16="http://schemas.microsoft.com/office/drawing/2014/main" id="{B1ABD5EE-E8FF-4523-A81C-663E6F5071B1}"/>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9" name="Rectangle : coins arrondis 201">
              <a:extLst>
                <a:ext uri="{FF2B5EF4-FFF2-40B4-BE49-F238E27FC236}">
                  <a16:creationId xmlns:a16="http://schemas.microsoft.com/office/drawing/2014/main" id="{6A39A781-2533-438E-B804-AE108B0A3FD2}"/>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0" name="ZoneTexte 18">
              <a:extLst>
                <a:ext uri="{FF2B5EF4-FFF2-40B4-BE49-F238E27FC236}">
                  <a16:creationId xmlns:a16="http://schemas.microsoft.com/office/drawing/2014/main" id="{FCB8AE78-2225-4A97-BCAB-6C417FD99E9B}"/>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61" name="Graphique 128" descr="Jauge">
              <a:extLst>
                <a:ext uri="{FF2B5EF4-FFF2-40B4-BE49-F238E27FC236}">
                  <a16:creationId xmlns:a16="http://schemas.microsoft.com/office/drawing/2014/main" id="{B776669D-40D5-4CF6-8BB6-D31217A537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553764" y="187516"/>
              <a:ext cx="234953" cy="218224"/>
            </a:xfrm>
            <a:prstGeom prst="rect">
              <a:avLst/>
            </a:prstGeom>
            <a:effectLst/>
          </p:spPr>
        </p:pic>
        <p:pic>
          <p:nvPicPr>
            <p:cNvPr id="62" name="Graphique 90" descr="Poignée de main">
              <a:extLst>
                <a:ext uri="{FF2B5EF4-FFF2-40B4-BE49-F238E27FC236}">
                  <a16:creationId xmlns:a16="http://schemas.microsoft.com/office/drawing/2014/main" id="{23B1925D-FD5C-4B45-A7F1-B4866911D0F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960868" y="152880"/>
              <a:ext cx="256313" cy="287496"/>
            </a:xfrm>
            <a:prstGeom prst="rect">
              <a:avLst/>
            </a:prstGeom>
            <a:effectLst/>
          </p:spPr>
        </p:pic>
        <p:pic>
          <p:nvPicPr>
            <p:cNvPr id="63" name="Graphique 62" descr="Mégaphone">
              <a:extLst>
                <a:ext uri="{FF2B5EF4-FFF2-40B4-BE49-F238E27FC236}">
                  <a16:creationId xmlns:a16="http://schemas.microsoft.com/office/drawing/2014/main" id="{60ED14AF-10BA-4BA4-9BF6-21F825699F6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89331" y="181519"/>
              <a:ext cx="233011" cy="216420"/>
            </a:xfrm>
            <a:prstGeom prst="rect">
              <a:avLst/>
            </a:prstGeom>
            <a:effectLst/>
          </p:spPr>
        </p:pic>
        <p:pic>
          <p:nvPicPr>
            <p:cNvPr id="64" name="Picture 2" descr="Drapeau France">
              <a:extLst>
                <a:ext uri="{FF2B5EF4-FFF2-40B4-BE49-F238E27FC236}">
                  <a16:creationId xmlns:a16="http://schemas.microsoft.com/office/drawing/2014/main" id="{50942A9A-7F25-421B-98D5-2FE522D6EFD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5" name="Picture 2" descr="5 ft x 3 ft 150 x 90 cm-DRAPEAU BELGE Belgique 100% Polyester ...">
              <a:extLst>
                <a:ext uri="{FF2B5EF4-FFF2-40B4-BE49-F238E27FC236}">
                  <a16:creationId xmlns:a16="http://schemas.microsoft.com/office/drawing/2014/main" id="{B844C581-F181-4DA6-ACB7-2A3AD74BCC7C}"/>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6" name="Picture 2 - 1" descr="Drapeau des Pays-Bas — Wikipédia">
              <a:extLst>
                <a:ext uri="{FF2B5EF4-FFF2-40B4-BE49-F238E27FC236}">
                  <a16:creationId xmlns:a16="http://schemas.microsoft.com/office/drawing/2014/main" id="{FCD5FF77-AF2D-4E5D-9FCA-74D89180E25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7" name="Picture 2 - 2" descr="Drapeau du Luxembourg">
              <a:extLst>
                <a:ext uri="{FF2B5EF4-FFF2-40B4-BE49-F238E27FC236}">
                  <a16:creationId xmlns:a16="http://schemas.microsoft.com/office/drawing/2014/main" id="{83DC89C9-8158-4B53-BF2D-FD10E094777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8" name="ZoneTexte 18">
              <a:extLst>
                <a:ext uri="{FF2B5EF4-FFF2-40B4-BE49-F238E27FC236}">
                  <a16:creationId xmlns:a16="http://schemas.microsoft.com/office/drawing/2014/main" id="{F98AAD54-52D6-40A9-A7A0-28A8B5970722}"/>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spTree>
    <p:extLst>
      <p:ext uri="{BB962C8B-B14F-4D97-AF65-F5344CB8AC3E}">
        <p14:creationId xmlns:p14="http://schemas.microsoft.com/office/powerpoint/2010/main" val="376755772"/>
      </p:ext>
    </p:extLst>
  </p:cSld>
  <p:clrMapOvr>
    <a:masterClrMapping/>
  </p:clrMapOv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t 31" hidden="1"/>
          <p:cNvGraphicFramePr>
            <a:graphicFrameLocks noChangeAspect="1"/>
          </p:cNvGraphicFramePr>
          <p:nvPr>
            <p:custDataLst>
              <p:tags r:id="rId1"/>
            </p:custDataLst>
            <p:extLst>
              <p:ext uri="{D42A27DB-BD31-4B8C-83A1-F6EECF244321}">
                <p14:modId xmlns:p14="http://schemas.microsoft.com/office/powerpoint/2010/main" val="14523797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32" name="Objet 3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E4FDB76-96B2-4D7B-9438-FA0D003F401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cxnSp>
        <p:nvCxnSpPr>
          <p:cNvPr id="5" name="Connecteur droit 208">
            <a:extLst>
              <a:ext uri="{FF2B5EF4-FFF2-40B4-BE49-F238E27FC236}">
                <a16:creationId xmlns:a16="http://schemas.microsoft.com/office/drawing/2014/main" id="{517AA792-2CE9-4776-A370-00661617D626}"/>
              </a:ext>
            </a:extLst>
          </p:cNvPr>
          <p:cNvCxnSpPr>
            <a:cxnSpLocks/>
          </p:cNvCxnSpPr>
          <p:nvPr/>
        </p:nvCxnSpPr>
        <p:spPr bwMode="auto">
          <a:xfrm>
            <a:off x="384975" y="986602"/>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7" name="Rectangle 84">
            <a:extLst>
              <a:ext uri="{FF2B5EF4-FFF2-40B4-BE49-F238E27FC236}">
                <a16:creationId xmlns:a16="http://schemas.microsoft.com/office/drawing/2014/main" id="{DA7EB334-4E23-4A52-9B24-501C78E807EB}"/>
              </a:ext>
            </a:extLst>
          </p:cNvPr>
          <p:cNvSpPr/>
          <p:nvPr/>
        </p:nvSpPr>
        <p:spPr bwMode="auto">
          <a:xfrm>
            <a:off x="3418141" y="850587"/>
            <a:ext cx="2971123" cy="259809"/>
          </a:xfrm>
          <a:prstGeom prst="rect">
            <a:avLst/>
          </a:prstGeom>
          <a:solidFill>
            <a:schemeClr val="bg1"/>
          </a:solidFill>
        </p:spPr>
        <p:txBody>
          <a:bodyPr wrap="square" rtlCol="0">
            <a:noAutofit/>
          </a:bodyPr>
          <a:lstStyle/>
          <a:p>
            <a:pPr algn="ctr"/>
            <a:r>
              <a:rPr lang="en-GB" sz="1100">
                <a:latin typeface="Trebuchet MS" panose="020B0603020202020204" pitchFamily="34" charset="0"/>
              </a:rPr>
              <a:t>Overview of </a:t>
            </a:r>
            <a:r>
              <a:rPr lang="en-GB" sz="1100" err="1">
                <a:latin typeface="Trebuchet MS" panose="020B0603020202020204" pitchFamily="34" charset="0"/>
              </a:rPr>
              <a:t>Altares</a:t>
            </a:r>
            <a:r>
              <a:rPr lang="en-GB" sz="1100">
                <a:latin typeface="Trebuchet MS" panose="020B0603020202020204" pitchFamily="34" charset="0"/>
              </a:rPr>
              <a:t>' top client in 2019 </a:t>
            </a:r>
          </a:p>
        </p:txBody>
      </p:sp>
      <p:sp>
        <p:nvSpPr>
          <p:cNvPr id="37" name="Espace réservé du texte 3">
            <a:extLst>
              <a:ext uri="{FF2B5EF4-FFF2-40B4-BE49-F238E27FC236}">
                <a16:creationId xmlns:a16="http://schemas.microsoft.com/office/drawing/2014/main" id="{68ADE3A2-A098-4350-8C54-7492519B587D}"/>
              </a:ext>
            </a:extLst>
          </p:cNvPr>
          <p:cNvSpPr txBox="1">
            <a:spLocks/>
          </p:cNvSpPr>
          <p:nvPr/>
        </p:nvSpPr>
        <p:spPr>
          <a:xfrm>
            <a:off x="1315274" y="6580025"/>
            <a:ext cx="7131600" cy="244800"/>
          </a:xfrm>
          <a:prstGeom prst="rect">
            <a:avLst/>
          </a:prstGeom>
        </p:spPr>
        <p:txBody>
          <a:bodyPr lIns="0" tIns="0" rIns="0" bIns="0"/>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ts val="0"/>
              </a:spcBef>
              <a:buNone/>
            </a:pPr>
            <a:r>
              <a:rPr lang="en-GB" sz="800" i="1" kern="0">
                <a:latin typeface="Trebuchet MS" panose="020B0603020202020204" pitchFamily="34" charset="0"/>
              </a:rPr>
              <a:t>Sources: eleven research &amp; analysis, company data</a:t>
            </a:r>
          </a:p>
          <a:p>
            <a:pPr marL="0" indent="0">
              <a:spcBef>
                <a:spcPts val="0"/>
              </a:spcBef>
              <a:buNone/>
            </a:pPr>
            <a:r>
              <a:rPr lang="en-GB" sz="800" b="1" i="1" u="sng" kern="0">
                <a:latin typeface="Trebuchet MS" panose="020B0603020202020204" pitchFamily="34" charset="0"/>
              </a:rPr>
              <a:t>1: </a:t>
            </a:r>
            <a:r>
              <a:rPr lang="en-GB" sz="800" i="1" kern="0">
                <a:latin typeface="Trebuchet MS" panose="020B0603020202020204" pitchFamily="34" charset="0"/>
              </a:rPr>
              <a:t>Only on direct booking i.e. excluding D&amp;B partnership incomes</a:t>
            </a:r>
          </a:p>
        </p:txBody>
      </p:sp>
      <p:sp>
        <p:nvSpPr>
          <p:cNvPr id="60" name="Titre 1">
            <a:extLst>
              <a:ext uri="{FF2B5EF4-FFF2-40B4-BE49-F238E27FC236}">
                <a16:creationId xmlns:a16="http://schemas.microsoft.com/office/drawing/2014/main" id="{ECA532A6-9551-45B1-9166-8989F6767722}"/>
              </a:ext>
            </a:extLst>
          </p:cNvPr>
          <p:cNvSpPr>
            <a:spLocks noGrp="1"/>
          </p:cNvSpPr>
          <p:nvPr>
            <p:ph type="title"/>
          </p:nvPr>
        </p:nvSpPr>
        <p:spPr>
          <a:xfrm>
            <a:off x="165599" y="147600"/>
            <a:ext cx="8388165" cy="684000"/>
          </a:xfrm>
        </p:spPr>
        <p:txBody>
          <a:bodyPr/>
          <a:lstStyle/>
          <a:p>
            <a:r>
              <a:rPr lang="en-GB" b="0" dirty="0" err="1">
                <a:latin typeface="Trebuchet MS" panose="020B0603020202020204" pitchFamily="34" charset="0"/>
              </a:rPr>
              <a:t>Altares</a:t>
            </a:r>
            <a:r>
              <a:rPr lang="en-GB" b="0" dirty="0">
                <a:latin typeface="Trebuchet MS" panose="020B0603020202020204" pitchFamily="34" charset="0"/>
              </a:rPr>
              <a:t> revenue are mainly generated by </a:t>
            </a:r>
            <a:r>
              <a:rPr lang="en-GB" b="0" dirty="0">
                <a:solidFill>
                  <a:schemeClr val="tx2"/>
                </a:solidFill>
                <a:latin typeface="Trebuchet MS" panose="020B0603020202020204" pitchFamily="34" charset="0"/>
              </a:rPr>
              <a:t>large customers</a:t>
            </a:r>
            <a:r>
              <a:rPr lang="en-GB" b="0" dirty="0">
                <a:latin typeface="Trebuchet MS" panose="020B0603020202020204" pitchFamily="34" charset="0"/>
              </a:rPr>
              <a:t>, with top </a:t>
            </a:r>
            <a:r>
              <a:rPr lang="en-GB" b="0" dirty="0">
                <a:solidFill>
                  <a:schemeClr val="tx2"/>
                </a:solidFill>
                <a:latin typeface="Trebuchet MS" panose="020B0603020202020204" pitchFamily="34" charset="0"/>
              </a:rPr>
              <a:t>10 clients </a:t>
            </a:r>
            <a:r>
              <a:rPr lang="en-GB" b="0" dirty="0">
                <a:latin typeface="Trebuchet MS" panose="020B0603020202020204" pitchFamily="34" charset="0"/>
              </a:rPr>
              <a:t>being</a:t>
            </a:r>
            <a:r>
              <a:rPr lang="en-GB" b="0" dirty="0">
                <a:solidFill>
                  <a:schemeClr val="tx2"/>
                </a:solidFill>
                <a:latin typeface="Trebuchet MS" panose="020B0603020202020204" pitchFamily="34" charset="0"/>
              </a:rPr>
              <a:t> listed companies </a:t>
            </a:r>
            <a:r>
              <a:rPr lang="en-GB" b="0" dirty="0">
                <a:latin typeface="Trebuchet MS" panose="020B0603020202020204" pitchFamily="34" charset="0"/>
              </a:rPr>
              <a:t>in France and Benelux</a:t>
            </a:r>
          </a:p>
        </p:txBody>
      </p:sp>
      <mc:AlternateContent xmlns:mc="http://schemas.openxmlformats.org/markup-compatibility/2006" xmlns:cx2="http://schemas.microsoft.com/office/drawing/2015/10/21/chartex">
        <mc:Choice Requires="cx2">
          <p:graphicFrame>
            <p:nvGraphicFramePr>
              <p:cNvPr id="7" name="Chart 6">
                <a:extLst>
                  <a:ext uri="{FF2B5EF4-FFF2-40B4-BE49-F238E27FC236}">
                    <a16:creationId xmlns:a16="http://schemas.microsoft.com/office/drawing/2014/main" id="{8AEFC321-FEBB-4636-BAAC-2381BF71E0E1}"/>
                  </a:ext>
                </a:extLst>
              </p:cNvPr>
              <p:cNvGraphicFramePr/>
              <p:nvPr>
                <p:extLst>
                  <p:ext uri="{D42A27DB-BD31-4B8C-83A1-F6EECF244321}">
                    <p14:modId xmlns:p14="http://schemas.microsoft.com/office/powerpoint/2010/main" val="3834399058"/>
                  </p:ext>
                </p:extLst>
              </p:nvPr>
            </p:nvGraphicFramePr>
            <p:xfrm>
              <a:off x="851264" y="3648965"/>
              <a:ext cx="2363755" cy="2401204"/>
            </p:xfrm>
            <a:graphic>
              <a:graphicData uri="http://schemas.microsoft.com/office/drawing/2014/chartex">
                <cx:chart xmlns:cx="http://schemas.microsoft.com/office/drawing/2014/chartex" xmlns:r="http://schemas.openxmlformats.org/officeDocument/2006/relationships" r:id="rId7"/>
              </a:graphicData>
            </a:graphic>
          </p:graphicFrame>
        </mc:Choice>
        <mc:Fallback xmlns="">
          <p:pic>
            <p:nvPicPr>
              <p:cNvPr id="7" name="Chart 6">
                <a:extLst>
                  <a:ext uri="{FF2B5EF4-FFF2-40B4-BE49-F238E27FC236}">
                    <a16:creationId xmlns:a16="http://schemas.microsoft.com/office/drawing/2014/main" id="{8AEFC321-FEBB-4636-BAAC-2381BF71E0E1}"/>
                  </a:ext>
                </a:extLst>
              </p:cNvPr>
              <p:cNvPicPr>
                <a:picLocks noGrp="1" noRot="1" noChangeAspect="1" noMove="1" noResize="1" noEditPoints="1" noAdjustHandles="1" noChangeArrowheads="1" noChangeShapeType="1"/>
              </p:cNvPicPr>
              <p:nvPr/>
            </p:nvPicPr>
            <p:blipFill>
              <a:blip r:embed="rId9"/>
              <a:stretch>
                <a:fillRect/>
              </a:stretch>
            </p:blipFill>
            <p:spPr>
              <a:xfrm>
                <a:off x="851264" y="3648965"/>
                <a:ext cx="2363755" cy="2401204"/>
              </a:xfrm>
              <a:prstGeom prst="rect">
                <a:avLst/>
              </a:prstGeom>
            </p:spPr>
          </p:pic>
        </mc:Fallback>
      </mc:AlternateContent>
      <p:sp>
        <p:nvSpPr>
          <p:cNvPr id="13" name="Rectangle 12">
            <a:extLst>
              <a:ext uri="{FF2B5EF4-FFF2-40B4-BE49-F238E27FC236}">
                <a16:creationId xmlns:a16="http://schemas.microsoft.com/office/drawing/2014/main" id="{8B42516F-2F32-49F7-87A6-5517623875D9}"/>
              </a:ext>
            </a:extLst>
          </p:cNvPr>
          <p:cNvSpPr/>
          <p:nvPr/>
        </p:nvSpPr>
        <p:spPr bwMode="auto">
          <a:xfrm rot="16200000">
            <a:off x="-67644" y="2713435"/>
            <a:ext cx="976508" cy="349189"/>
          </a:xfrm>
          <a:prstGeom prst="rect">
            <a:avLst/>
          </a:prstGeom>
          <a:solidFill>
            <a:schemeClr val="bg1"/>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effectLst/>
                <a:latin typeface="Trebuchet MS" panose="020B0603020202020204" pitchFamily="34" charset="0"/>
              </a:rPr>
              <a:t>TOP 10 clients </a:t>
            </a:r>
          </a:p>
        </p:txBody>
      </p:sp>
      <p:sp>
        <p:nvSpPr>
          <p:cNvPr id="61" name="Rectangle 60">
            <a:extLst>
              <a:ext uri="{FF2B5EF4-FFF2-40B4-BE49-F238E27FC236}">
                <a16:creationId xmlns:a16="http://schemas.microsoft.com/office/drawing/2014/main" id="{71394C2D-6D59-4237-A19B-A41C2AF96069}"/>
              </a:ext>
            </a:extLst>
          </p:cNvPr>
          <p:cNvSpPr/>
          <p:nvPr/>
        </p:nvSpPr>
        <p:spPr bwMode="auto">
          <a:xfrm rot="16200000">
            <a:off x="-207042" y="4768208"/>
            <a:ext cx="1255304" cy="510020"/>
          </a:xfrm>
          <a:prstGeom prst="rect">
            <a:avLst/>
          </a:prstGeom>
          <a:solidFill>
            <a:schemeClr val="bg1"/>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B</a:t>
            </a:r>
            <a:r>
              <a:rPr kumimoji="0" lang="en-GB" sz="1000" b="0" i="0" u="none" strike="noStrike" cap="none" normalizeH="0" baseline="0">
                <a:ln>
                  <a:noFill/>
                </a:ln>
                <a:effectLst/>
                <a:latin typeface="Trebuchet MS" panose="020B0603020202020204" pitchFamily="34" charset="0"/>
              </a:rPr>
              <a:t>reakdown of sales on client base (in %)</a:t>
            </a:r>
          </a:p>
        </p:txBody>
      </p:sp>
      <p:grpSp>
        <p:nvGrpSpPr>
          <p:cNvPr id="6" name="Group 5">
            <a:extLst>
              <a:ext uri="{FF2B5EF4-FFF2-40B4-BE49-F238E27FC236}">
                <a16:creationId xmlns:a16="http://schemas.microsoft.com/office/drawing/2014/main" id="{AA0A0100-50FC-4561-9944-3979EBC2CF29}"/>
              </a:ext>
            </a:extLst>
          </p:cNvPr>
          <p:cNvGrpSpPr/>
          <p:nvPr/>
        </p:nvGrpSpPr>
        <p:grpSpPr>
          <a:xfrm>
            <a:off x="549821" y="1094400"/>
            <a:ext cx="2857451" cy="970830"/>
            <a:chOff x="549821" y="1133811"/>
            <a:chExt cx="2857451" cy="970830"/>
          </a:xfrm>
        </p:grpSpPr>
        <p:sp>
          <p:nvSpPr>
            <p:cNvPr id="59" name="Rectangle 58">
              <a:extLst>
                <a:ext uri="{FF2B5EF4-FFF2-40B4-BE49-F238E27FC236}">
                  <a16:creationId xmlns:a16="http://schemas.microsoft.com/office/drawing/2014/main" id="{38BEDF64-6976-49A4-86EF-4BC84627E963}"/>
                </a:ext>
              </a:extLst>
            </p:cNvPr>
            <p:cNvSpPr/>
            <p:nvPr/>
          </p:nvSpPr>
          <p:spPr bwMode="auto">
            <a:xfrm>
              <a:off x="724415" y="1287746"/>
              <a:ext cx="2682857" cy="816895"/>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64" name="Picture 2" descr="Drapeau France">
              <a:extLst>
                <a:ext uri="{FF2B5EF4-FFF2-40B4-BE49-F238E27FC236}">
                  <a16:creationId xmlns:a16="http://schemas.microsoft.com/office/drawing/2014/main" id="{93C46DF6-D0C1-4690-AEC3-E9B8B22C61F0}"/>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17006" b="16757"/>
            <a:stretch/>
          </p:blipFill>
          <p:spPr bwMode="auto">
            <a:xfrm>
              <a:off x="1917161" y="1626225"/>
              <a:ext cx="407919" cy="245885"/>
            </a:xfrm>
            <a:prstGeom prst="roundRect">
              <a:avLst/>
            </a:prstGeom>
            <a:noFill/>
            <a:extLst>
              <a:ext uri="{909E8E84-426E-40DD-AFC4-6F175D3DCCD1}">
                <a14:hiddenFill xmlns:a14="http://schemas.microsoft.com/office/drawing/2010/main">
                  <a:solidFill>
                    <a:srgbClr val="FFFFFF"/>
                  </a:solidFill>
                </a14:hiddenFill>
              </a:ext>
            </a:extLst>
          </p:spPr>
        </p:pic>
        <p:sp>
          <p:nvSpPr>
            <p:cNvPr id="78" name="Ellipse 77">
              <a:extLst>
                <a:ext uri="{FF2B5EF4-FFF2-40B4-BE49-F238E27FC236}">
                  <a16:creationId xmlns:a16="http://schemas.microsoft.com/office/drawing/2014/main" id="{46829F03-300B-44E3-A821-80002E83A25A}"/>
                </a:ext>
              </a:extLst>
            </p:cNvPr>
            <p:cNvSpPr/>
            <p:nvPr/>
          </p:nvSpPr>
          <p:spPr bwMode="auto">
            <a:xfrm>
              <a:off x="549821" y="1133811"/>
              <a:ext cx="349188" cy="33417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1</a:t>
              </a:r>
            </a:p>
          </p:txBody>
        </p:sp>
      </p:grpSp>
      <p:grpSp>
        <p:nvGrpSpPr>
          <p:cNvPr id="10" name="Group 9">
            <a:extLst>
              <a:ext uri="{FF2B5EF4-FFF2-40B4-BE49-F238E27FC236}">
                <a16:creationId xmlns:a16="http://schemas.microsoft.com/office/drawing/2014/main" id="{FBB5C172-4C7E-437E-B517-A99A5475E8C3}"/>
              </a:ext>
            </a:extLst>
          </p:cNvPr>
          <p:cNvGrpSpPr/>
          <p:nvPr/>
        </p:nvGrpSpPr>
        <p:grpSpPr>
          <a:xfrm>
            <a:off x="6487023" y="1094400"/>
            <a:ext cx="2857452" cy="970830"/>
            <a:chOff x="6487023" y="1133811"/>
            <a:chExt cx="2857452" cy="970830"/>
          </a:xfrm>
        </p:grpSpPr>
        <p:sp>
          <p:nvSpPr>
            <p:cNvPr id="63" name="Rectangle 62">
              <a:extLst>
                <a:ext uri="{FF2B5EF4-FFF2-40B4-BE49-F238E27FC236}">
                  <a16:creationId xmlns:a16="http://schemas.microsoft.com/office/drawing/2014/main" id="{5EC73E46-A95F-4A18-A76F-315C27B3959B}"/>
                </a:ext>
              </a:extLst>
            </p:cNvPr>
            <p:cNvSpPr/>
            <p:nvPr/>
          </p:nvSpPr>
          <p:spPr bwMode="auto">
            <a:xfrm>
              <a:off x="6661618" y="1287746"/>
              <a:ext cx="2682857" cy="816895"/>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77" name="Picture 2">
              <a:extLst>
                <a:ext uri="{FF2B5EF4-FFF2-40B4-BE49-F238E27FC236}">
                  <a16:creationId xmlns:a16="http://schemas.microsoft.com/office/drawing/2014/main" id="{A76683DF-48AC-4E86-B43C-43D362EF111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416952" y="1574086"/>
              <a:ext cx="1024405" cy="346931"/>
            </a:xfrm>
            <a:prstGeom prst="rect">
              <a:avLst/>
            </a:prstGeom>
            <a:noFill/>
            <a:extLst>
              <a:ext uri="{909E8E84-426E-40DD-AFC4-6F175D3DCCD1}">
                <a14:hiddenFill xmlns:a14="http://schemas.microsoft.com/office/drawing/2010/main">
                  <a:solidFill>
                    <a:srgbClr val="FFFFFF"/>
                  </a:solidFill>
                </a14:hiddenFill>
              </a:ext>
            </a:extLst>
          </p:spPr>
        </p:pic>
        <p:sp>
          <p:nvSpPr>
            <p:cNvPr id="80" name="Ellipse 79">
              <a:extLst>
                <a:ext uri="{FF2B5EF4-FFF2-40B4-BE49-F238E27FC236}">
                  <a16:creationId xmlns:a16="http://schemas.microsoft.com/office/drawing/2014/main" id="{A2587242-4317-4754-9BC7-66808F913AEF}"/>
                </a:ext>
              </a:extLst>
            </p:cNvPr>
            <p:cNvSpPr/>
            <p:nvPr/>
          </p:nvSpPr>
          <p:spPr bwMode="auto">
            <a:xfrm>
              <a:off x="6487023" y="1133811"/>
              <a:ext cx="349188" cy="33417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3</a:t>
              </a:r>
            </a:p>
          </p:txBody>
        </p:sp>
      </p:grpSp>
      <p:sp>
        <p:nvSpPr>
          <p:cNvPr id="81" name="Rectangle 80">
            <a:extLst>
              <a:ext uri="{FF2B5EF4-FFF2-40B4-BE49-F238E27FC236}">
                <a16:creationId xmlns:a16="http://schemas.microsoft.com/office/drawing/2014/main" id="{1377438F-BDD9-443A-8546-BBB5E47DA7A4}"/>
              </a:ext>
            </a:extLst>
          </p:cNvPr>
          <p:cNvSpPr/>
          <p:nvPr/>
        </p:nvSpPr>
        <p:spPr bwMode="auto">
          <a:xfrm>
            <a:off x="724417" y="2195120"/>
            <a:ext cx="2682856" cy="1385818"/>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82" name="Rectangle 81">
            <a:extLst>
              <a:ext uri="{FF2B5EF4-FFF2-40B4-BE49-F238E27FC236}">
                <a16:creationId xmlns:a16="http://schemas.microsoft.com/office/drawing/2014/main" id="{EAABF3E0-7630-4FD3-97AE-447EA1453D1C}"/>
              </a:ext>
            </a:extLst>
          </p:cNvPr>
          <p:cNvSpPr/>
          <p:nvPr/>
        </p:nvSpPr>
        <p:spPr bwMode="auto">
          <a:xfrm>
            <a:off x="3695100" y="2195120"/>
            <a:ext cx="2682856" cy="1385818"/>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83" name="Rectangle 82">
            <a:extLst>
              <a:ext uri="{FF2B5EF4-FFF2-40B4-BE49-F238E27FC236}">
                <a16:creationId xmlns:a16="http://schemas.microsoft.com/office/drawing/2014/main" id="{4C8283B1-4453-48FC-9827-5CD7A26C58C1}"/>
              </a:ext>
            </a:extLst>
          </p:cNvPr>
          <p:cNvSpPr/>
          <p:nvPr/>
        </p:nvSpPr>
        <p:spPr bwMode="auto">
          <a:xfrm>
            <a:off x="6661618" y="2195120"/>
            <a:ext cx="2682856" cy="1385818"/>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2"/>
              </a:solidFill>
              <a:effectLst/>
              <a:latin typeface="Trebuchet MS" panose="020B0603020202020204" pitchFamily="34" charset="0"/>
            </a:endParaRPr>
          </a:p>
        </p:txBody>
      </p:sp>
      <p:pic>
        <p:nvPicPr>
          <p:cNvPr id="85" name="Picture 18" descr="Afficher l'image d'origine">
            <a:extLst>
              <a:ext uri="{FF2B5EF4-FFF2-40B4-BE49-F238E27FC236}">
                <a16:creationId xmlns:a16="http://schemas.microsoft.com/office/drawing/2014/main" id="{9AA596C0-0032-4C0F-941C-55BFD2A8222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271811" y="3146965"/>
            <a:ext cx="377665" cy="283082"/>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 descr="Groupe SNCF — Wikipédia">
            <a:extLst>
              <a:ext uri="{FF2B5EF4-FFF2-40B4-BE49-F238E27FC236}">
                <a16:creationId xmlns:a16="http://schemas.microsoft.com/office/drawing/2014/main" id="{16918966-9DB8-4F5D-AEB2-22632DA6918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828852" y="3156171"/>
            <a:ext cx="503365" cy="264670"/>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45" descr="Afficher l'image d'origine">
            <a:extLst>
              <a:ext uri="{FF2B5EF4-FFF2-40B4-BE49-F238E27FC236}">
                <a16:creationId xmlns:a16="http://schemas.microsoft.com/office/drawing/2014/main" id="{9FF9599D-6754-4ADC-8627-D44C3A23977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715114" y="3140062"/>
            <a:ext cx="268407" cy="264045"/>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2" descr="Crédit Mutuel Arkéa : nouveau bénéfice net record en 2018">
            <a:extLst>
              <a:ext uri="{FF2B5EF4-FFF2-40B4-BE49-F238E27FC236}">
                <a16:creationId xmlns:a16="http://schemas.microsoft.com/office/drawing/2014/main" id="{F4604923-2207-4BA1-A4D3-3ADE04904B78}"/>
              </a:ext>
            </a:extLst>
          </p:cNvPr>
          <p:cNvPicPr>
            <a:picLocks noChangeAspect="1" noChangeArrowheads="1"/>
          </p:cNvPicPr>
          <p:nvPr/>
        </p:nvPicPr>
        <p:blipFill rotWithShape="1">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t="16200" b="20146"/>
          <a:stretch/>
        </p:blipFill>
        <p:spPr bwMode="auto">
          <a:xfrm>
            <a:off x="2624179" y="2360763"/>
            <a:ext cx="590840" cy="21142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40" descr="Afficher l'image d'origine">
            <a:extLst>
              <a:ext uri="{FF2B5EF4-FFF2-40B4-BE49-F238E27FC236}">
                <a16:creationId xmlns:a16="http://schemas.microsoft.com/office/drawing/2014/main" id="{73D26A87-436A-4B3F-86AE-D7926EE1462F}"/>
              </a:ext>
            </a:extLst>
          </p:cNvPr>
          <p:cNvPicPr>
            <a:picLocks noChangeAspect="1" noChangeArrowheads="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85684" y="2707007"/>
            <a:ext cx="722661" cy="292172"/>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49" descr="logo Credit agricole 1 1024x446">
            <a:extLst>
              <a:ext uri="{FF2B5EF4-FFF2-40B4-BE49-F238E27FC236}">
                <a16:creationId xmlns:a16="http://schemas.microsoft.com/office/drawing/2014/main" id="{BDEBEEE0-75B4-4C3B-88F1-7E074C6B6B07}"/>
              </a:ext>
            </a:extLst>
          </p:cNvPr>
          <p:cNvPicPr>
            <a:picLocks noChangeAspect="1" noChangeArrowheads="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48803" y="2728234"/>
            <a:ext cx="614952" cy="267840"/>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 descr="Payment Gateways : CMCIC Paiement">
            <a:extLst>
              <a:ext uri="{FF2B5EF4-FFF2-40B4-BE49-F238E27FC236}">
                <a16:creationId xmlns:a16="http://schemas.microsoft.com/office/drawing/2014/main" id="{21E1E82C-3FEB-4877-8563-0072389541A4}"/>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84247" y="2351665"/>
            <a:ext cx="630698" cy="299932"/>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51" descr="Afficher l'image d'origine">
            <a:extLst>
              <a:ext uri="{FF2B5EF4-FFF2-40B4-BE49-F238E27FC236}">
                <a16:creationId xmlns:a16="http://schemas.microsoft.com/office/drawing/2014/main" id="{22E220DF-9223-4EE4-90E3-8DC8FE458AAB}"/>
              </a:ext>
            </a:extLst>
          </p:cNvPr>
          <p:cNvPicPr>
            <a:picLocks noChangeAspect="1" noChangeArrowheads="1"/>
          </p:cNvPicPr>
          <p:nvPr/>
        </p:nvPicPr>
        <p:blipFill rotWithShape="1">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t="35471" b="33222"/>
          <a:stretch/>
        </p:blipFill>
        <p:spPr bwMode="auto">
          <a:xfrm>
            <a:off x="1933064" y="2402905"/>
            <a:ext cx="630698" cy="19745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ENGIE | IndustriALL">
            <a:extLst>
              <a:ext uri="{FF2B5EF4-FFF2-40B4-BE49-F238E27FC236}">
                <a16:creationId xmlns:a16="http://schemas.microsoft.com/office/drawing/2014/main" id="{17ECB7D3-105B-4DD2-AF7F-95F24C2FFFDD}"/>
              </a:ext>
            </a:extLst>
          </p:cNvPr>
          <p:cNvPicPr>
            <a:picLocks noChangeAspect="1" noChangeArrowheads="1"/>
          </p:cNvPicPr>
          <p:nvPr/>
        </p:nvPicPr>
        <p:blipFill rotWithShape="1">
          <a:blip r:embed="rId20">
            <a:clrChange>
              <a:clrFrom>
                <a:srgbClr val="FFFFFF"/>
              </a:clrFrom>
              <a:clrTo>
                <a:srgbClr val="FFFFFF">
                  <a:alpha val="0"/>
                </a:srgbClr>
              </a:clrTo>
            </a:clrChange>
            <a:extLst>
              <a:ext uri="{28A0092B-C50C-407E-A947-70E740481C1C}">
                <a14:useLocalDpi xmlns:a14="http://schemas.microsoft.com/office/drawing/2010/main" val="0"/>
              </a:ext>
            </a:extLst>
          </a:blip>
          <a:srcRect l="9545" t="24777" r="9073" b="30278"/>
          <a:stretch/>
        </p:blipFill>
        <p:spPr bwMode="auto">
          <a:xfrm>
            <a:off x="925107" y="3180457"/>
            <a:ext cx="590839" cy="233635"/>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4" descr="Afficher l'image d'origine">
            <a:extLst>
              <a:ext uri="{FF2B5EF4-FFF2-40B4-BE49-F238E27FC236}">
                <a16:creationId xmlns:a16="http://schemas.microsoft.com/office/drawing/2014/main" id="{2F72280B-15F1-4FC0-A783-42D58D6E40DB}"/>
              </a:ext>
            </a:extLst>
          </p:cNvPr>
          <p:cNvPicPr>
            <a:picLocks noChangeAspect="1" noChangeArrowheads="1"/>
          </p:cNvPicPr>
          <p:nvPr/>
        </p:nvPicPr>
        <p:blipFill rotWithShape="1">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l="-262" t="18771" r="262" b="24509"/>
          <a:stretch/>
        </p:blipFill>
        <p:spPr bwMode="auto">
          <a:xfrm>
            <a:off x="2563762" y="2764620"/>
            <a:ext cx="503365" cy="28646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ABN AMRO Innovation Meetup #1 - Java 11 is here! - ABN AMRO | NLJUG -  Nederlandse Java User Group">
            <a:extLst>
              <a:ext uri="{FF2B5EF4-FFF2-40B4-BE49-F238E27FC236}">
                <a16:creationId xmlns:a16="http://schemas.microsoft.com/office/drawing/2014/main" id="{87DE3B79-ADF1-44D6-9E33-76D636AA81BF}"/>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717643" y="2391963"/>
            <a:ext cx="763765" cy="239389"/>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LexisNexis | Nexis Solutions – France | LinkedIn">
            <a:extLst>
              <a:ext uri="{FF2B5EF4-FFF2-40B4-BE49-F238E27FC236}">
                <a16:creationId xmlns:a16="http://schemas.microsoft.com/office/drawing/2014/main" id="{B1D0C42B-22AD-4CDA-B2AB-8874A249D404}"/>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744223" y="2355938"/>
            <a:ext cx="343773" cy="343773"/>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Graydon: weet u de kredietwaardigheid van uw klant? Check het nu!">
            <a:extLst>
              <a:ext uri="{FF2B5EF4-FFF2-40B4-BE49-F238E27FC236}">
                <a16:creationId xmlns:a16="http://schemas.microsoft.com/office/drawing/2014/main" id="{DFB3BC36-9788-4FC9-95C7-3392B18BCE29}"/>
              </a:ext>
            </a:extLst>
          </p:cNvPr>
          <p:cNvPicPr>
            <a:picLocks noChangeAspect="1" noChangeArrowheads="1"/>
          </p:cNvPicPr>
          <p:nvPr/>
        </p:nvPicPr>
        <p:blipFill>
          <a:blip r:embed="rId2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81196" y="2501631"/>
            <a:ext cx="694332" cy="196615"/>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CCV Pay ‒ Applications sur Google Play">
            <a:extLst>
              <a:ext uri="{FF2B5EF4-FFF2-40B4-BE49-F238E27FC236}">
                <a16:creationId xmlns:a16="http://schemas.microsoft.com/office/drawing/2014/main" id="{CFC09FBF-4175-469D-B447-1110715DC32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64494" y="2727887"/>
            <a:ext cx="312521" cy="312521"/>
          </a:xfrm>
          <a:prstGeom prst="rect">
            <a:avLst/>
          </a:prstGeom>
          <a:noFill/>
          <a:extLst>
            <a:ext uri="{909E8E84-426E-40DD-AFC4-6F175D3DCCD1}">
              <a14:hiddenFill xmlns:a14="http://schemas.microsoft.com/office/drawing/2010/main">
                <a:solidFill>
                  <a:srgbClr val="FFFFFF"/>
                </a:solidFill>
              </a14:hiddenFill>
            </a:ext>
          </a:extLst>
        </p:spPr>
      </p:pic>
      <p:pic>
        <p:nvPicPr>
          <p:cNvPr id="7170" name="Picture 2" descr="AkzoNobel | LinkedIn">
            <a:extLst>
              <a:ext uri="{FF2B5EF4-FFF2-40B4-BE49-F238E27FC236}">
                <a16:creationId xmlns:a16="http://schemas.microsoft.com/office/drawing/2014/main" id="{501AFB9B-D3C7-441A-9616-C55D633CF605}"/>
              </a:ext>
            </a:extLst>
          </p:cNvPr>
          <p:cNvPicPr>
            <a:picLocks noChangeAspect="1" noChangeArrowheads="1"/>
          </p:cNvPicPr>
          <p:nvPr/>
        </p:nvPicPr>
        <p:blipFill rotWithShape="1">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t="16886" b="20284"/>
          <a:stretch/>
        </p:blipFill>
        <p:spPr bwMode="auto">
          <a:xfrm>
            <a:off x="3793050" y="3106467"/>
            <a:ext cx="497398" cy="312521"/>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descr="Epargner chez Rabobank.be - Guide-Epargne.be">
            <a:extLst>
              <a:ext uri="{FF2B5EF4-FFF2-40B4-BE49-F238E27FC236}">
                <a16:creationId xmlns:a16="http://schemas.microsoft.com/office/drawing/2014/main" id="{6A4689AE-BBC5-45C3-B005-DFED3BA6B1F3}"/>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t="24358" b="33726"/>
          <a:stretch/>
        </p:blipFill>
        <p:spPr bwMode="auto">
          <a:xfrm>
            <a:off x="4871228" y="2754274"/>
            <a:ext cx="840142" cy="234768"/>
          </a:xfrm>
          <a:prstGeom prst="rect">
            <a:avLst/>
          </a:prstGeom>
          <a:noFill/>
          <a:extLst>
            <a:ext uri="{909E8E84-426E-40DD-AFC4-6F175D3DCCD1}">
              <a14:hiddenFill xmlns:a14="http://schemas.microsoft.com/office/drawing/2010/main">
                <a:solidFill>
                  <a:srgbClr val="FFFFFF"/>
                </a:solidFill>
              </a14:hiddenFill>
            </a:ext>
          </a:extLst>
        </p:spPr>
      </p:pic>
      <p:pic>
        <p:nvPicPr>
          <p:cNvPr id="9218" name="Picture 2" descr="Credendo - Short-Term Non-EU Risks Recrutement et Informations | Monster">
            <a:extLst>
              <a:ext uri="{FF2B5EF4-FFF2-40B4-BE49-F238E27FC236}">
                <a16:creationId xmlns:a16="http://schemas.microsoft.com/office/drawing/2014/main" id="{36A9135B-C65F-465D-848A-7B435AE5783C}"/>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l="15270" t="34260" r="12944" b="38988"/>
          <a:stretch/>
        </p:blipFill>
        <p:spPr bwMode="auto">
          <a:xfrm>
            <a:off x="4574110" y="3288506"/>
            <a:ext cx="841672" cy="154934"/>
          </a:xfrm>
          <a:prstGeom prst="rect">
            <a:avLst/>
          </a:prstGeom>
          <a:noFill/>
          <a:extLst>
            <a:ext uri="{909E8E84-426E-40DD-AFC4-6F175D3DCCD1}">
              <a14:hiddenFill xmlns:a14="http://schemas.microsoft.com/office/drawing/2010/main">
                <a:solidFill>
                  <a:srgbClr val="FFFFFF"/>
                </a:solidFill>
              </a14:hiddenFill>
            </a:ext>
          </a:extLst>
        </p:spPr>
      </p:pic>
      <p:pic>
        <p:nvPicPr>
          <p:cNvPr id="11266" name="Picture 2" descr="Fleet Management Company | Vehicle Fleet Leasing Solutions | LeasePlan">
            <a:extLst>
              <a:ext uri="{FF2B5EF4-FFF2-40B4-BE49-F238E27FC236}">
                <a16:creationId xmlns:a16="http://schemas.microsoft.com/office/drawing/2014/main" id="{52752DC5-07D6-432A-B75A-2055B6CB1FE8}"/>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622360" y="3201038"/>
            <a:ext cx="609485" cy="30262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Vodafone — Wikipédia">
            <a:extLst>
              <a:ext uri="{FF2B5EF4-FFF2-40B4-BE49-F238E27FC236}">
                <a16:creationId xmlns:a16="http://schemas.microsoft.com/office/drawing/2014/main" id="{835EF6D0-8534-46EB-8A24-226E0379C98B}"/>
              </a:ext>
            </a:extLst>
          </p:cNvPr>
          <p:cNvPicPr>
            <a:picLocks noChangeAspect="1" noChangeArrowheads="1"/>
          </p:cNvPicPr>
          <p:nvPr/>
        </p:nvPicPr>
        <p:blipFill>
          <a:blip r:embed="rId3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919182" y="2635761"/>
            <a:ext cx="343773" cy="34521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Exact Software Belgium - Crunchbase Company Profile &amp; Funding">
            <a:extLst>
              <a:ext uri="{FF2B5EF4-FFF2-40B4-BE49-F238E27FC236}">
                <a16:creationId xmlns:a16="http://schemas.microsoft.com/office/drawing/2014/main" id="{8A2CC68A-FBE1-4A3E-82B5-126E9AB132B5}"/>
              </a:ext>
            </a:extLst>
          </p:cNvPr>
          <p:cNvPicPr>
            <a:picLocks noChangeAspect="1" noChangeArrowheads="1"/>
          </p:cNvPicPr>
          <p:nvPr/>
        </p:nvPicPr>
        <p:blipFill rotWithShape="1">
          <a:blip r:embed="rId31">
            <a:clrChange>
              <a:clrFrom>
                <a:srgbClr val="FFFFFF"/>
              </a:clrFrom>
              <a:clrTo>
                <a:srgbClr val="FFFFFF">
                  <a:alpha val="0"/>
                </a:srgbClr>
              </a:clrTo>
            </a:clrChange>
            <a:extLst>
              <a:ext uri="{28A0092B-C50C-407E-A947-70E740481C1C}">
                <a14:useLocalDpi xmlns:a14="http://schemas.microsoft.com/office/drawing/2010/main" val="0"/>
              </a:ext>
            </a:extLst>
          </a:blip>
          <a:srcRect t="38826" b="31035"/>
          <a:stretch/>
        </p:blipFill>
        <p:spPr bwMode="auto">
          <a:xfrm>
            <a:off x="5564049" y="2958536"/>
            <a:ext cx="727728" cy="219329"/>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cx2="http://schemas.microsoft.com/office/drawing/2015/10/21/chartex">
        <mc:Choice Requires="cx2">
          <p:graphicFrame>
            <p:nvGraphicFramePr>
              <p:cNvPr id="87" name="Chart 86">
                <a:extLst>
                  <a:ext uri="{FF2B5EF4-FFF2-40B4-BE49-F238E27FC236}">
                    <a16:creationId xmlns:a16="http://schemas.microsoft.com/office/drawing/2014/main" id="{54961D52-3E25-4BC5-90A6-9B9B61BC54FD}"/>
                  </a:ext>
                </a:extLst>
              </p:cNvPr>
              <p:cNvGraphicFramePr/>
              <p:nvPr>
                <p:extLst>
                  <p:ext uri="{D42A27DB-BD31-4B8C-83A1-F6EECF244321}">
                    <p14:modId xmlns:p14="http://schemas.microsoft.com/office/powerpoint/2010/main" val="2752401160"/>
                  </p:ext>
                </p:extLst>
              </p:nvPr>
            </p:nvGraphicFramePr>
            <p:xfrm>
              <a:off x="3852566" y="3648965"/>
              <a:ext cx="2363755" cy="2401204"/>
            </p:xfrm>
            <a:graphic>
              <a:graphicData uri="http://schemas.microsoft.com/office/drawing/2014/chartex">
                <cx:chart xmlns:cx="http://schemas.microsoft.com/office/drawing/2014/chartex" xmlns:r="http://schemas.openxmlformats.org/officeDocument/2006/relationships" r:id="rId32"/>
              </a:graphicData>
            </a:graphic>
          </p:graphicFrame>
        </mc:Choice>
        <mc:Fallback xmlns="">
          <p:pic>
            <p:nvPicPr>
              <p:cNvPr id="87" name="Chart 86">
                <a:extLst>
                  <a:ext uri="{FF2B5EF4-FFF2-40B4-BE49-F238E27FC236}">
                    <a16:creationId xmlns:a16="http://schemas.microsoft.com/office/drawing/2014/main" id="{54961D52-3E25-4BC5-90A6-9B9B61BC54FD}"/>
                  </a:ext>
                </a:extLst>
              </p:cNvPr>
              <p:cNvPicPr>
                <a:picLocks noGrp="1" noRot="1" noChangeAspect="1" noMove="1" noResize="1" noEditPoints="1" noAdjustHandles="1" noChangeArrowheads="1" noChangeShapeType="1"/>
              </p:cNvPicPr>
              <p:nvPr/>
            </p:nvPicPr>
            <p:blipFill>
              <a:blip r:embed="rId33"/>
              <a:stretch>
                <a:fillRect/>
              </a:stretch>
            </p:blipFill>
            <p:spPr>
              <a:xfrm>
                <a:off x="3852566" y="3648965"/>
                <a:ext cx="2363755" cy="2401204"/>
              </a:xfrm>
              <a:prstGeom prst="rect">
                <a:avLst/>
              </a:prstGeom>
            </p:spPr>
          </p:pic>
        </mc:Fallback>
      </mc:AlternateContent>
      <p:sp>
        <p:nvSpPr>
          <p:cNvPr id="91" name="Rectangle 84">
            <a:extLst>
              <a:ext uri="{FF2B5EF4-FFF2-40B4-BE49-F238E27FC236}">
                <a16:creationId xmlns:a16="http://schemas.microsoft.com/office/drawing/2014/main" id="{061A5CD9-62AE-451C-8B74-4F542EC789D7}"/>
              </a:ext>
            </a:extLst>
          </p:cNvPr>
          <p:cNvSpPr/>
          <p:nvPr/>
        </p:nvSpPr>
        <p:spPr bwMode="auto">
          <a:xfrm>
            <a:off x="1552253" y="6068795"/>
            <a:ext cx="1415765" cy="131531"/>
          </a:xfrm>
          <a:prstGeom prst="rect">
            <a:avLst/>
          </a:prstGeom>
          <a:noFill/>
        </p:spPr>
        <p:txBody>
          <a:bodyPr wrap="square" rtlCol="0" anchor="ctr">
            <a:noAutofit/>
          </a:bodyPr>
          <a:lstStyle/>
          <a:p>
            <a:pPr algn="ctr"/>
            <a:r>
              <a:rPr lang="en-GB" sz="1100" i="1">
                <a:solidFill>
                  <a:schemeClr val="tx2"/>
                </a:solidFill>
                <a:latin typeface="Trebuchet MS" panose="020B0603020202020204" pitchFamily="34" charset="0"/>
              </a:rPr>
              <a:t>Total ~ 42m€</a:t>
            </a:r>
            <a:r>
              <a:rPr lang="en-GB" sz="1100" i="1" baseline="30000">
                <a:solidFill>
                  <a:schemeClr val="tx2"/>
                </a:solidFill>
                <a:latin typeface="Trebuchet MS" panose="020B0603020202020204" pitchFamily="34" charset="0"/>
              </a:rPr>
              <a:t>1</a:t>
            </a:r>
          </a:p>
        </p:txBody>
      </p:sp>
      <p:sp>
        <p:nvSpPr>
          <p:cNvPr id="94" name="Rectangle 84">
            <a:extLst>
              <a:ext uri="{FF2B5EF4-FFF2-40B4-BE49-F238E27FC236}">
                <a16:creationId xmlns:a16="http://schemas.microsoft.com/office/drawing/2014/main" id="{D0F62733-9CE6-4C6F-96CE-CDDF1C0703D6}"/>
              </a:ext>
            </a:extLst>
          </p:cNvPr>
          <p:cNvSpPr/>
          <p:nvPr/>
        </p:nvSpPr>
        <p:spPr bwMode="auto">
          <a:xfrm>
            <a:off x="4580900" y="6068795"/>
            <a:ext cx="1415765" cy="131531"/>
          </a:xfrm>
          <a:prstGeom prst="rect">
            <a:avLst/>
          </a:prstGeom>
          <a:noFill/>
        </p:spPr>
        <p:txBody>
          <a:bodyPr wrap="square" rtlCol="0" anchor="ctr">
            <a:noAutofit/>
          </a:bodyPr>
          <a:lstStyle/>
          <a:p>
            <a:pPr algn="ctr"/>
            <a:r>
              <a:rPr lang="en-GB" sz="1100" i="1">
                <a:solidFill>
                  <a:schemeClr val="tx2"/>
                </a:solidFill>
                <a:latin typeface="Trebuchet MS" panose="020B0603020202020204" pitchFamily="34" charset="0"/>
              </a:rPr>
              <a:t>Total ~ 42m€</a:t>
            </a:r>
            <a:r>
              <a:rPr lang="en-GB" sz="1100" i="1" baseline="30000">
                <a:solidFill>
                  <a:schemeClr val="tx2"/>
                </a:solidFill>
                <a:latin typeface="Trebuchet MS" panose="020B0603020202020204" pitchFamily="34" charset="0"/>
              </a:rPr>
              <a:t>1</a:t>
            </a:r>
          </a:p>
        </p:txBody>
      </p:sp>
      <p:sp>
        <p:nvSpPr>
          <p:cNvPr id="52" name="Rectangle 51">
            <a:extLst>
              <a:ext uri="{FF2B5EF4-FFF2-40B4-BE49-F238E27FC236}">
                <a16:creationId xmlns:a16="http://schemas.microsoft.com/office/drawing/2014/main" id="{75909ACF-7330-41EF-95C1-413FB0C18307}"/>
              </a:ext>
            </a:extLst>
          </p:cNvPr>
          <p:cNvSpPr/>
          <p:nvPr/>
        </p:nvSpPr>
        <p:spPr bwMode="auto">
          <a:xfrm>
            <a:off x="6711263" y="2287117"/>
            <a:ext cx="1227008" cy="932044"/>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53" name="Rectangle 52">
            <a:extLst>
              <a:ext uri="{FF2B5EF4-FFF2-40B4-BE49-F238E27FC236}">
                <a16:creationId xmlns:a16="http://schemas.microsoft.com/office/drawing/2014/main" id="{FB45F596-2944-470E-9873-81B0F53910DF}"/>
              </a:ext>
            </a:extLst>
          </p:cNvPr>
          <p:cNvSpPr/>
          <p:nvPr/>
        </p:nvSpPr>
        <p:spPr bwMode="auto">
          <a:xfrm>
            <a:off x="8061553" y="2287117"/>
            <a:ext cx="1206233" cy="932044"/>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pic>
        <p:nvPicPr>
          <p:cNvPr id="132099" name="Picture 3" descr="Omnicom Media Group | Omnicom Group">
            <a:extLst>
              <a:ext uri="{FF2B5EF4-FFF2-40B4-BE49-F238E27FC236}">
                <a16:creationId xmlns:a16="http://schemas.microsoft.com/office/drawing/2014/main" id="{3FCBFACD-2BD0-48B3-93BE-B4F9A330B0EF}"/>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8294351" y="2374636"/>
            <a:ext cx="713567" cy="126818"/>
          </a:xfrm>
          <a:prstGeom prst="rect">
            <a:avLst/>
          </a:prstGeom>
          <a:noFill/>
          <a:extLst>
            <a:ext uri="{909E8E84-426E-40DD-AFC4-6F175D3DCCD1}">
              <a14:hiddenFill xmlns:a14="http://schemas.microsoft.com/office/drawing/2010/main">
                <a:solidFill>
                  <a:srgbClr val="FFFFFF"/>
                </a:solidFill>
              </a14:hiddenFill>
            </a:ext>
          </a:extLst>
        </p:spPr>
      </p:pic>
      <p:pic>
        <p:nvPicPr>
          <p:cNvPr id="132101" name="Picture 5">
            <a:extLst>
              <a:ext uri="{FF2B5EF4-FFF2-40B4-BE49-F238E27FC236}">
                <a16:creationId xmlns:a16="http://schemas.microsoft.com/office/drawing/2014/main" id="{3A30B97D-B220-4F91-B529-241237A507D7}"/>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8228532" y="2549612"/>
            <a:ext cx="366468" cy="220822"/>
          </a:xfrm>
          <a:prstGeom prst="rect">
            <a:avLst/>
          </a:prstGeom>
          <a:noFill/>
          <a:extLst>
            <a:ext uri="{909E8E84-426E-40DD-AFC4-6F175D3DCCD1}">
              <a14:hiddenFill xmlns:a14="http://schemas.microsoft.com/office/drawing/2010/main">
                <a:solidFill>
                  <a:srgbClr val="FFFFFF"/>
                </a:solidFill>
              </a14:hiddenFill>
            </a:ext>
          </a:extLst>
        </p:spPr>
      </p:pic>
      <p:pic>
        <p:nvPicPr>
          <p:cNvPr id="132103" name="Picture 7">
            <a:extLst>
              <a:ext uri="{FF2B5EF4-FFF2-40B4-BE49-F238E27FC236}">
                <a16:creationId xmlns:a16="http://schemas.microsoft.com/office/drawing/2014/main" id="{074FE00B-BB45-4396-AA7A-22DC1DCA08E5}"/>
              </a:ext>
            </a:extLst>
          </p:cNvPr>
          <p:cNvPicPr>
            <a:picLocks noChangeAspect="1" noChangeArrowheads="1"/>
          </p:cNvPicPr>
          <p:nvPr/>
        </p:nvPicPr>
        <p:blipFill rotWithShape="1">
          <a:blip r:embed="rId36">
            <a:extLst>
              <a:ext uri="{28A0092B-C50C-407E-A947-70E740481C1C}">
                <a14:useLocalDpi xmlns:a14="http://schemas.microsoft.com/office/drawing/2010/main" val="0"/>
              </a:ext>
            </a:extLst>
          </a:blip>
          <a:srcRect l="10917" t="9742" r="10745" b="11660"/>
          <a:stretch/>
        </p:blipFill>
        <p:spPr bwMode="auto">
          <a:xfrm>
            <a:off x="8756196" y="2561158"/>
            <a:ext cx="258513" cy="22824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6E20E56-8E21-45E5-9FDC-86B657DE6502}"/>
              </a:ext>
            </a:extLst>
          </p:cNvPr>
          <p:cNvSpPr txBox="1"/>
          <p:nvPr/>
        </p:nvSpPr>
        <p:spPr>
          <a:xfrm>
            <a:off x="6880006" y="2305639"/>
            <a:ext cx="701355" cy="230832"/>
          </a:xfrm>
          <a:prstGeom prst="rect">
            <a:avLst/>
          </a:prstGeom>
          <a:noFill/>
        </p:spPr>
        <p:txBody>
          <a:bodyPr wrap="square" lIns="0" rIns="0" rtlCol="0">
            <a:spAutoFit/>
          </a:bodyPr>
          <a:lstStyle/>
          <a:p>
            <a:r>
              <a:rPr lang="en-GB" sz="900" b="1" i="1" err="1">
                <a:latin typeface="Trebuchet MS" panose="020B0603020202020204" pitchFamily="34" charset="0"/>
              </a:rPr>
              <a:t>CapDecision</a:t>
            </a:r>
            <a:endParaRPr lang="en-GB" sz="1050" b="1" i="1">
              <a:latin typeface="Trebuchet MS" panose="020B0603020202020204" pitchFamily="34" charset="0"/>
            </a:endParaRPr>
          </a:p>
        </p:txBody>
      </p:sp>
      <p:pic>
        <p:nvPicPr>
          <p:cNvPr id="132105" name="Picture 9" descr="Vizeum">
            <a:extLst>
              <a:ext uri="{FF2B5EF4-FFF2-40B4-BE49-F238E27FC236}">
                <a16:creationId xmlns:a16="http://schemas.microsoft.com/office/drawing/2014/main" id="{2F984E8A-554F-418F-B05D-D1F050BB9566}"/>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6862760" y="2677454"/>
            <a:ext cx="367923" cy="169949"/>
          </a:xfrm>
          <a:prstGeom prst="rect">
            <a:avLst/>
          </a:prstGeom>
          <a:noFill/>
          <a:extLst>
            <a:ext uri="{909E8E84-426E-40DD-AFC4-6F175D3DCCD1}">
              <a14:hiddenFill xmlns:a14="http://schemas.microsoft.com/office/drawing/2010/main">
                <a:solidFill>
                  <a:srgbClr val="FFFFFF"/>
                </a:solidFill>
              </a14:hiddenFill>
            </a:ext>
          </a:extLst>
        </p:spPr>
      </p:pic>
      <p:pic>
        <p:nvPicPr>
          <p:cNvPr id="132107" name="Picture 11" descr="KR Wavemaker">
            <a:extLst>
              <a:ext uri="{FF2B5EF4-FFF2-40B4-BE49-F238E27FC236}">
                <a16:creationId xmlns:a16="http://schemas.microsoft.com/office/drawing/2014/main" id="{F4469E53-D6EA-48DF-8B5E-5780A5844BE9}"/>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7114442" y="2601451"/>
            <a:ext cx="640516" cy="96328"/>
          </a:xfrm>
          <a:prstGeom prst="rect">
            <a:avLst/>
          </a:prstGeom>
          <a:noFill/>
          <a:extLst>
            <a:ext uri="{909E8E84-426E-40DD-AFC4-6F175D3DCCD1}">
              <a14:hiddenFill xmlns:a14="http://schemas.microsoft.com/office/drawing/2010/main">
                <a:solidFill>
                  <a:srgbClr val="FFFFFF"/>
                </a:solidFill>
              </a14:hiddenFill>
            </a:ext>
          </a:extLst>
        </p:spPr>
      </p:pic>
      <p:pic>
        <p:nvPicPr>
          <p:cNvPr id="132109" name="Picture 13" descr="amazon-logo-preview – Maydomotique">
            <a:extLst>
              <a:ext uri="{FF2B5EF4-FFF2-40B4-BE49-F238E27FC236}">
                <a16:creationId xmlns:a16="http://schemas.microsoft.com/office/drawing/2014/main" id="{883FCC86-870E-4F7B-A113-97B9F865CC06}"/>
              </a:ext>
            </a:extLst>
          </p:cNvPr>
          <p:cNvPicPr>
            <a:picLocks noChangeAspect="1" noChangeArrowheads="1"/>
          </p:cNvPicPr>
          <p:nvPr/>
        </p:nvPicPr>
        <p:blipFill rotWithShape="1">
          <a:blip r:embed="rId39">
            <a:extLst>
              <a:ext uri="{28A0092B-C50C-407E-A947-70E740481C1C}">
                <a14:useLocalDpi xmlns:a14="http://schemas.microsoft.com/office/drawing/2010/main" val="0"/>
              </a:ext>
            </a:extLst>
          </a:blip>
          <a:srcRect l="4731" t="35828" r="4731" b="35510"/>
          <a:stretch/>
        </p:blipFill>
        <p:spPr bwMode="auto">
          <a:xfrm>
            <a:off x="8228532" y="2982401"/>
            <a:ext cx="366468" cy="116014"/>
          </a:xfrm>
          <a:prstGeom prst="rect">
            <a:avLst/>
          </a:prstGeom>
          <a:noFill/>
          <a:extLst>
            <a:ext uri="{909E8E84-426E-40DD-AFC4-6F175D3DCCD1}">
              <a14:hiddenFill xmlns:a14="http://schemas.microsoft.com/office/drawing/2010/main">
                <a:solidFill>
                  <a:srgbClr val="FFFFFF"/>
                </a:solidFill>
              </a14:hiddenFill>
            </a:ext>
          </a:extLst>
        </p:spPr>
      </p:pic>
      <p:pic>
        <p:nvPicPr>
          <p:cNvPr id="132111" name="Picture 15" descr="Réparation voiture - Entretien auto chez AD">
            <a:extLst>
              <a:ext uri="{FF2B5EF4-FFF2-40B4-BE49-F238E27FC236}">
                <a16:creationId xmlns:a16="http://schemas.microsoft.com/office/drawing/2014/main" id="{9C085FAD-151D-4230-87C7-B480348536E7}"/>
              </a:ext>
            </a:extLst>
          </p:cNvPr>
          <p:cNvPicPr>
            <a:picLocks noChangeAspect="1" noChangeArrowheads="1"/>
          </p:cNvPicPr>
          <p:nvPr/>
        </p:nvPicPr>
        <p:blipFill rotWithShape="1">
          <a:blip r:embed="rId40">
            <a:clrChange>
              <a:clrFrom>
                <a:srgbClr val="FFFFFF"/>
              </a:clrFrom>
              <a:clrTo>
                <a:srgbClr val="FFFFFF">
                  <a:alpha val="0"/>
                </a:srgbClr>
              </a:clrTo>
            </a:clrChange>
            <a:extLst>
              <a:ext uri="{28A0092B-C50C-407E-A947-70E740481C1C}">
                <a14:useLocalDpi xmlns:a14="http://schemas.microsoft.com/office/drawing/2010/main" val="0"/>
              </a:ext>
            </a:extLst>
          </a:blip>
          <a:srcRect l="10561" t="14563" r="9776" b="17166"/>
          <a:stretch/>
        </p:blipFill>
        <p:spPr bwMode="auto">
          <a:xfrm>
            <a:off x="7397415" y="2835773"/>
            <a:ext cx="367923" cy="198321"/>
          </a:xfrm>
          <a:prstGeom prst="rect">
            <a:avLst/>
          </a:prstGeom>
          <a:noFill/>
          <a:extLst>
            <a:ext uri="{909E8E84-426E-40DD-AFC4-6F175D3DCCD1}">
              <a14:hiddenFill xmlns:a14="http://schemas.microsoft.com/office/drawing/2010/main">
                <a:solidFill>
                  <a:srgbClr val="FFFFFF"/>
                </a:solidFill>
              </a14:hiddenFill>
            </a:ext>
          </a:extLst>
        </p:spPr>
      </p:pic>
      <p:pic>
        <p:nvPicPr>
          <p:cNvPr id="132115" name="Picture 19">
            <a:extLst>
              <a:ext uri="{FF2B5EF4-FFF2-40B4-BE49-F238E27FC236}">
                <a16:creationId xmlns:a16="http://schemas.microsoft.com/office/drawing/2014/main" id="{D7154F66-73B6-4597-9DC3-084367719E52}"/>
              </a:ext>
            </a:extLst>
          </p:cNvPr>
          <p:cNvPicPr>
            <a:picLocks noChangeAspect="1" noChangeArrowheads="1"/>
          </p:cNvPicPr>
          <p:nvPr/>
        </p:nvPicPr>
        <p:blipFill>
          <a:blip r:embed="rId4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09466" y="2935823"/>
            <a:ext cx="510020" cy="165675"/>
          </a:xfrm>
          <a:prstGeom prst="rect">
            <a:avLst/>
          </a:prstGeom>
          <a:noFill/>
          <a:extLst>
            <a:ext uri="{909E8E84-426E-40DD-AFC4-6F175D3DCCD1}">
              <a14:hiddenFill xmlns:a14="http://schemas.microsoft.com/office/drawing/2010/main">
                <a:solidFill>
                  <a:srgbClr val="FFFFFF"/>
                </a:solidFill>
              </a14:hiddenFill>
            </a:ext>
          </a:extLst>
        </p:spPr>
      </p:pic>
      <p:pic>
        <p:nvPicPr>
          <p:cNvPr id="132117" name="Picture 21" descr="Edenred — Wikipédia">
            <a:extLst>
              <a:ext uri="{FF2B5EF4-FFF2-40B4-BE49-F238E27FC236}">
                <a16:creationId xmlns:a16="http://schemas.microsoft.com/office/drawing/2014/main" id="{C6EEBA2B-C498-452A-9F98-9B3711C0FA4C}"/>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8738266" y="2944491"/>
            <a:ext cx="381031" cy="24480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Arrow Connector 13">
            <a:extLst>
              <a:ext uri="{FF2B5EF4-FFF2-40B4-BE49-F238E27FC236}">
                <a16:creationId xmlns:a16="http://schemas.microsoft.com/office/drawing/2014/main" id="{B3CC54B7-88C0-49C0-9101-94D7389134AD}"/>
              </a:ext>
            </a:extLst>
          </p:cNvPr>
          <p:cNvCxnSpPr/>
          <p:nvPr/>
        </p:nvCxnSpPr>
        <p:spPr bwMode="auto">
          <a:xfrm>
            <a:off x="6722444" y="3316318"/>
            <a:ext cx="2510989" cy="0"/>
          </a:xfrm>
          <a:prstGeom prst="straightConnector1">
            <a:avLst/>
          </a:prstGeom>
          <a:solidFill>
            <a:schemeClr val="accent1"/>
          </a:solidFill>
          <a:ln w="9525" cap="flat" cmpd="sng" algn="ctr">
            <a:solidFill>
              <a:schemeClr val="tx1"/>
            </a:solidFill>
            <a:prstDash val="solid"/>
            <a:round/>
            <a:headEnd type="triangle"/>
            <a:tailEnd type="triangle"/>
          </a:ln>
          <a:effectLst/>
        </p:spPr>
      </p:cxnSp>
      <p:sp>
        <p:nvSpPr>
          <p:cNvPr id="70" name="Rectangle 84">
            <a:extLst>
              <a:ext uri="{FF2B5EF4-FFF2-40B4-BE49-F238E27FC236}">
                <a16:creationId xmlns:a16="http://schemas.microsoft.com/office/drawing/2014/main" id="{A3A63D91-18A3-487E-ACA1-73EBCAFF971B}"/>
              </a:ext>
            </a:extLst>
          </p:cNvPr>
          <p:cNvSpPr/>
          <p:nvPr/>
        </p:nvSpPr>
        <p:spPr bwMode="auto">
          <a:xfrm>
            <a:off x="7295164" y="6068795"/>
            <a:ext cx="1415765" cy="131531"/>
          </a:xfrm>
          <a:prstGeom prst="rect">
            <a:avLst/>
          </a:prstGeom>
          <a:noFill/>
        </p:spPr>
        <p:txBody>
          <a:bodyPr wrap="square" rtlCol="0" anchor="ctr">
            <a:noAutofit/>
          </a:bodyPr>
          <a:lstStyle/>
          <a:p>
            <a:pPr algn="ctr"/>
            <a:r>
              <a:rPr lang="en-GB" sz="1100" i="1">
                <a:solidFill>
                  <a:schemeClr val="tx2"/>
                </a:solidFill>
                <a:latin typeface="Trebuchet MS" panose="020B0603020202020204" pitchFamily="34" charset="0"/>
              </a:rPr>
              <a:t>Total ~ 9.5m€</a:t>
            </a:r>
            <a:endParaRPr lang="en-GB" sz="1100" i="1" baseline="30000">
              <a:solidFill>
                <a:schemeClr val="tx2"/>
              </a:solidFill>
              <a:latin typeface="Trebuchet MS" panose="020B0603020202020204" pitchFamily="34" charset="0"/>
            </a:endParaRPr>
          </a:p>
        </p:txBody>
      </p:sp>
      <p:sp>
        <p:nvSpPr>
          <p:cNvPr id="15" name="TextBox 14">
            <a:extLst>
              <a:ext uri="{FF2B5EF4-FFF2-40B4-BE49-F238E27FC236}">
                <a16:creationId xmlns:a16="http://schemas.microsoft.com/office/drawing/2014/main" id="{83AD9294-4994-4A98-BCC4-928852A67358}"/>
              </a:ext>
            </a:extLst>
          </p:cNvPr>
          <p:cNvSpPr txBox="1"/>
          <p:nvPr/>
        </p:nvSpPr>
        <p:spPr>
          <a:xfrm>
            <a:off x="6663490" y="3314504"/>
            <a:ext cx="1262882" cy="246221"/>
          </a:xfrm>
          <a:prstGeom prst="rect">
            <a:avLst/>
          </a:prstGeom>
          <a:noFill/>
        </p:spPr>
        <p:txBody>
          <a:bodyPr wrap="square" rtlCol="0">
            <a:spAutoFit/>
          </a:bodyPr>
          <a:lstStyle/>
          <a:p>
            <a:r>
              <a:rPr lang="en-GB" sz="1000" i="1">
                <a:latin typeface="Trebuchet MS" panose="020B0603020202020204" pitchFamily="34" charset="0"/>
              </a:rPr>
              <a:t>Small local players</a:t>
            </a:r>
          </a:p>
        </p:txBody>
      </p:sp>
      <p:sp>
        <p:nvSpPr>
          <p:cNvPr id="66" name="TextBox 14">
            <a:extLst>
              <a:ext uri="{FF2B5EF4-FFF2-40B4-BE49-F238E27FC236}">
                <a16:creationId xmlns:a16="http://schemas.microsoft.com/office/drawing/2014/main" id="{99389CE3-923F-4328-947B-2FD093040232}"/>
              </a:ext>
            </a:extLst>
          </p:cNvPr>
          <p:cNvSpPr txBox="1"/>
          <p:nvPr/>
        </p:nvSpPr>
        <p:spPr>
          <a:xfrm>
            <a:off x="8096972" y="3314504"/>
            <a:ext cx="1262882" cy="246221"/>
          </a:xfrm>
          <a:prstGeom prst="rect">
            <a:avLst/>
          </a:prstGeom>
          <a:noFill/>
        </p:spPr>
        <p:txBody>
          <a:bodyPr wrap="square" rtlCol="0">
            <a:spAutoFit/>
          </a:bodyPr>
          <a:lstStyle/>
          <a:p>
            <a:pPr algn="r"/>
            <a:r>
              <a:rPr lang="en-GB" sz="1000" i="1">
                <a:latin typeface="Trebuchet MS" panose="020B0603020202020204" pitchFamily="34" charset="0"/>
              </a:rPr>
              <a:t>Major players</a:t>
            </a:r>
          </a:p>
        </p:txBody>
      </p:sp>
      <p:grpSp>
        <p:nvGrpSpPr>
          <p:cNvPr id="8" name="Group 7">
            <a:extLst>
              <a:ext uri="{FF2B5EF4-FFF2-40B4-BE49-F238E27FC236}">
                <a16:creationId xmlns:a16="http://schemas.microsoft.com/office/drawing/2014/main" id="{2BC7E1D4-F6A3-4C0C-8930-1BD8F13E261E}"/>
              </a:ext>
            </a:extLst>
          </p:cNvPr>
          <p:cNvGrpSpPr/>
          <p:nvPr/>
        </p:nvGrpSpPr>
        <p:grpSpPr>
          <a:xfrm>
            <a:off x="3518422" y="1094400"/>
            <a:ext cx="2857451" cy="970830"/>
            <a:chOff x="3518422" y="1133811"/>
            <a:chExt cx="2857451" cy="970830"/>
          </a:xfrm>
        </p:grpSpPr>
        <p:sp>
          <p:nvSpPr>
            <p:cNvPr id="62" name="Rectangle 61">
              <a:extLst>
                <a:ext uri="{FF2B5EF4-FFF2-40B4-BE49-F238E27FC236}">
                  <a16:creationId xmlns:a16="http://schemas.microsoft.com/office/drawing/2014/main" id="{26563643-05D6-49FC-AB73-20317CED2306}"/>
                </a:ext>
              </a:extLst>
            </p:cNvPr>
            <p:cNvSpPr/>
            <p:nvPr/>
          </p:nvSpPr>
          <p:spPr bwMode="auto">
            <a:xfrm>
              <a:off x="3693016" y="1287746"/>
              <a:ext cx="2682857" cy="816895"/>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sp>
          <p:nvSpPr>
            <p:cNvPr id="79" name="Ellipse 78">
              <a:extLst>
                <a:ext uri="{FF2B5EF4-FFF2-40B4-BE49-F238E27FC236}">
                  <a16:creationId xmlns:a16="http://schemas.microsoft.com/office/drawing/2014/main" id="{54011B9E-6677-4A06-8EC5-3EDA81FA19CC}"/>
                </a:ext>
              </a:extLst>
            </p:cNvPr>
            <p:cNvSpPr/>
            <p:nvPr/>
          </p:nvSpPr>
          <p:spPr bwMode="auto">
            <a:xfrm>
              <a:off x="3518422" y="1133811"/>
              <a:ext cx="349188" cy="33417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2</a:t>
              </a:r>
            </a:p>
          </p:txBody>
        </p:sp>
        <p:pic>
          <p:nvPicPr>
            <p:cNvPr id="68" name="Picture 2 - 1" descr="Drapeau des Pays-Bas — Wikipédia">
              <a:extLst>
                <a:ext uri="{FF2B5EF4-FFF2-40B4-BE49-F238E27FC236}">
                  <a16:creationId xmlns:a16="http://schemas.microsoft.com/office/drawing/2014/main" id="{50097BF4-7DCB-477D-BD86-6758A22B849A}"/>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4270344" y="1554182"/>
              <a:ext cx="407918"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69" name="Picture 2" descr="5 ft x 3 ft 150 x 90 cm-DRAPEAU BELGE Belgique 100% Polyester ...">
              <a:extLst>
                <a:ext uri="{FF2B5EF4-FFF2-40B4-BE49-F238E27FC236}">
                  <a16:creationId xmlns:a16="http://schemas.microsoft.com/office/drawing/2014/main" id="{7007BBE6-2366-4D28-B21D-C74DB4EDFC6C}"/>
                </a:ext>
              </a:extLst>
            </p:cNvPr>
            <p:cNvPicPr>
              <a:picLocks noChangeAspect="1" noChangeArrowheads="1"/>
            </p:cNvPicPr>
            <p:nvPr/>
          </p:nvPicPr>
          <p:blipFill rotWithShape="1">
            <a:blip r:embed="rId44">
              <a:extLst>
                <a:ext uri="{28A0092B-C50C-407E-A947-70E740481C1C}">
                  <a14:useLocalDpi xmlns:a14="http://schemas.microsoft.com/office/drawing/2010/main" val="0"/>
                </a:ext>
              </a:extLst>
            </a:blip>
            <a:srcRect l="3973"/>
            <a:stretch/>
          </p:blipFill>
          <p:spPr bwMode="auto">
            <a:xfrm>
              <a:off x="5507408" y="1554182"/>
              <a:ext cx="407923"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71" name="Picture 5" descr="A picture containing bird&#10;&#10;Description automatically generated">
              <a:extLst>
                <a:ext uri="{FF2B5EF4-FFF2-40B4-BE49-F238E27FC236}">
                  <a16:creationId xmlns:a16="http://schemas.microsoft.com/office/drawing/2014/main" id="{1C12EFF3-77F0-4457-8265-73434BC50DDB}"/>
                </a:ext>
              </a:extLst>
            </p:cNvPr>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4888874" y="1554182"/>
              <a:ext cx="407923" cy="245391"/>
            </a:xfrm>
            <a:prstGeom prst="roundRect">
              <a:avLst/>
            </a:prstGeom>
            <a:noFill/>
          </p:spPr>
        </p:pic>
      </p:grpSp>
      <p:grpSp>
        <p:nvGrpSpPr>
          <p:cNvPr id="67" name="Groupe 66">
            <a:extLst>
              <a:ext uri="{FF2B5EF4-FFF2-40B4-BE49-F238E27FC236}">
                <a16:creationId xmlns:a16="http://schemas.microsoft.com/office/drawing/2014/main" id="{07030FBE-2416-4D8F-811B-5E2836BFA31C}"/>
              </a:ext>
            </a:extLst>
          </p:cNvPr>
          <p:cNvGrpSpPr/>
          <p:nvPr/>
        </p:nvGrpSpPr>
        <p:grpSpPr>
          <a:xfrm>
            <a:off x="8448150" y="-11528"/>
            <a:ext cx="1435548" cy="588143"/>
            <a:chOff x="8448150" y="-11528"/>
            <a:chExt cx="1435548" cy="588143"/>
          </a:xfrm>
        </p:grpSpPr>
        <p:sp>
          <p:nvSpPr>
            <p:cNvPr id="72" name="Rectangle : coins arrondis 199">
              <a:extLst>
                <a:ext uri="{FF2B5EF4-FFF2-40B4-BE49-F238E27FC236}">
                  <a16:creationId xmlns:a16="http://schemas.microsoft.com/office/drawing/2014/main" id="{1F216F53-B0E6-430E-B3E1-D1AD12E7E86B}"/>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3" name="Rectangle : coins arrondis 200">
              <a:extLst>
                <a:ext uri="{FF2B5EF4-FFF2-40B4-BE49-F238E27FC236}">
                  <a16:creationId xmlns:a16="http://schemas.microsoft.com/office/drawing/2014/main" id="{65F0DB8F-A647-4E0A-809F-8E7D2D69DCFD}"/>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4" name="Rectangle : coins arrondis 201">
              <a:extLst>
                <a:ext uri="{FF2B5EF4-FFF2-40B4-BE49-F238E27FC236}">
                  <a16:creationId xmlns:a16="http://schemas.microsoft.com/office/drawing/2014/main" id="{E4B7964B-A26C-4CBD-96D3-0D0DC486F0A8}"/>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5" name="ZoneTexte 18">
              <a:extLst>
                <a:ext uri="{FF2B5EF4-FFF2-40B4-BE49-F238E27FC236}">
                  <a16:creationId xmlns:a16="http://schemas.microsoft.com/office/drawing/2014/main" id="{0F9D7677-4575-411D-80E4-1196D461DF1E}"/>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76" name="Graphique 128" descr="Jauge">
              <a:extLst>
                <a:ext uri="{FF2B5EF4-FFF2-40B4-BE49-F238E27FC236}">
                  <a16:creationId xmlns:a16="http://schemas.microsoft.com/office/drawing/2014/main" id="{7B34A69F-1686-481E-866F-996CCBCF3145}"/>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8553764" y="187516"/>
              <a:ext cx="234953" cy="218224"/>
            </a:xfrm>
            <a:prstGeom prst="rect">
              <a:avLst/>
            </a:prstGeom>
            <a:effectLst/>
          </p:spPr>
        </p:pic>
        <p:pic>
          <p:nvPicPr>
            <p:cNvPr id="84" name="Graphique 90" descr="Poignée de main">
              <a:extLst>
                <a:ext uri="{FF2B5EF4-FFF2-40B4-BE49-F238E27FC236}">
                  <a16:creationId xmlns:a16="http://schemas.microsoft.com/office/drawing/2014/main" id="{8CC4FF44-47BF-4017-BC93-5D953EFE4C24}"/>
                </a:ext>
              </a:extLst>
            </p:cNvPr>
            <p:cNvPicPr>
              <a:picLocks noChangeAspect="1"/>
            </p:cNvPicPr>
            <p:nvPr/>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8960868" y="152880"/>
              <a:ext cx="256313" cy="287496"/>
            </a:xfrm>
            <a:prstGeom prst="rect">
              <a:avLst/>
            </a:prstGeom>
            <a:effectLst/>
          </p:spPr>
        </p:pic>
        <p:pic>
          <p:nvPicPr>
            <p:cNvPr id="97" name="Graphique 96" descr="Mégaphone">
              <a:extLst>
                <a:ext uri="{FF2B5EF4-FFF2-40B4-BE49-F238E27FC236}">
                  <a16:creationId xmlns:a16="http://schemas.microsoft.com/office/drawing/2014/main" id="{02094632-80CA-4926-B2FD-2236E831C5F5}"/>
                </a:ext>
              </a:extLst>
            </p:cNvPr>
            <p:cNvPicPr>
              <a:picLocks noChangeAspect="1"/>
            </p:cNvPicPr>
            <p:nvPr/>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9389331" y="181519"/>
              <a:ext cx="233011" cy="216420"/>
            </a:xfrm>
            <a:prstGeom prst="rect">
              <a:avLst/>
            </a:prstGeom>
            <a:effectLst/>
          </p:spPr>
        </p:pic>
        <p:pic>
          <p:nvPicPr>
            <p:cNvPr id="100" name="Picture 2" descr="Drapeau France">
              <a:extLst>
                <a:ext uri="{FF2B5EF4-FFF2-40B4-BE49-F238E27FC236}">
                  <a16:creationId xmlns:a16="http://schemas.microsoft.com/office/drawing/2014/main" id="{893111D8-7B36-4AB7-9B59-B096CBB6AAE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01" name="Picture 2" descr="5 ft x 3 ft 150 x 90 cm-DRAPEAU BELGE Belgique 100% Polyester ...">
              <a:extLst>
                <a:ext uri="{FF2B5EF4-FFF2-40B4-BE49-F238E27FC236}">
                  <a16:creationId xmlns:a16="http://schemas.microsoft.com/office/drawing/2014/main" id="{6E51FE38-E1BB-43E9-AC04-2938E7BC22C7}"/>
                </a:ext>
              </a:extLst>
            </p:cNvPr>
            <p:cNvPicPr>
              <a:picLocks noChangeAspect="1" noChangeArrowheads="1"/>
            </p:cNvPicPr>
            <p:nvPr/>
          </p:nvPicPr>
          <p:blipFill rotWithShape="1">
            <a:blip r:embed="rId4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02" name="Picture 2 - 1" descr="Drapeau des Pays-Bas — Wikipédia">
              <a:extLst>
                <a:ext uri="{FF2B5EF4-FFF2-40B4-BE49-F238E27FC236}">
                  <a16:creationId xmlns:a16="http://schemas.microsoft.com/office/drawing/2014/main" id="{7BF6F185-E5F3-40FA-86D3-58566F6FAB8E}"/>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03" name="Picture 2 - 2" descr="Drapeau du Luxembourg">
              <a:extLst>
                <a:ext uri="{FF2B5EF4-FFF2-40B4-BE49-F238E27FC236}">
                  <a16:creationId xmlns:a16="http://schemas.microsoft.com/office/drawing/2014/main" id="{ACB533C6-819D-46F2-B21C-2B2D66085913}"/>
                </a:ext>
              </a:extLst>
            </p:cNvPr>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04" name="ZoneTexte 18">
              <a:extLst>
                <a:ext uri="{FF2B5EF4-FFF2-40B4-BE49-F238E27FC236}">
                  <a16:creationId xmlns:a16="http://schemas.microsoft.com/office/drawing/2014/main" id="{179E9B90-F9F3-4AC1-87A4-873016EE6E84}"/>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mc:AlternateContent xmlns:mc="http://schemas.openxmlformats.org/markup-compatibility/2006" xmlns:cx2="http://schemas.microsoft.com/office/drawing/2015/10/21/chartex">
        <mc:Choice Requires="cx2">
          <p:graphicFrame>
            <p:nvGraphicFramePr>
              <p:cNvPr id="105" name="Chart 104">
                <a:extLst>
                  <a:ext uri="{FF2B5EF4-FFF2-40B4-BE49-F238E27FC236}">
                    <a16:creationId xmlns:a16="http://schemas.microsoft.com/office/drawing/2014/main" id="{530DC861-ACAF-436C-BC81-2C417284B102}"/>
                  </a:ext>
                </a:extLst>
              </p:cNvPr>
              <p:cNvGraphicFramePr/>
              <p:nvPr>
                <p:extLst>
                  <p:ext uri="{D42A27DB-BD31-4B8C-83A1-F6EECF244321}">
                    <p14:modId xmlns:p14="http://schemas.microsoft.com/office/powerpoint/2010/main" val="3766109090"/>
                  </p:ext>
                </p:extLst>
              </p:nvPr>
            </p:nvGraphicFramePr>
            <p:xfrm>
              <a:off x="6821169" y="3648965"/>
              <a:ext cx="2363755" cy="2401204"/>
            </p:xfrm>
            <a:graphic>
              <a:graphicData uri="http://schemas.microsoft.com/office/drawing/2014/chartex">
                <cx:chart xmlns:cx="http://schemas.microsoft.com/office/drawing/2014/chartex" xmlns:r="http://schemas.openxmlformats.org/officeDocument/2006/relationships" r:id="rId53"/>
              </a:graphicData>
            </a:graphic>
          </p:graphicFrame>
        </mc:Choice>
        <mc:Fallback xmlns="">
          <p:pic>
            <p:nvPicPr>
              <p:cNvPr id="105" name="Chart 104">
                <a:extLst>
                  <a:ext uri="{FF2B5EF4-FFF2-40B4-BE49-F238E27FC236}">
                    <a16:creationId xmlns:a16="http://schemas.microsoft.com/office/drawing/2014/main" id="{530DC861-ACAF-436C-BC81-2C417284B102}"/>
                  </a:ext>
                </a:extLst>
              </p:cNvPr>
              <p:cNvPicPr>
                <a:picLocks noGrp="1" noRot="1" noChangeAspect="1" noMove="1" noResize="1" noEditPoints="1" noAdjustHandles="1" noChangeArrowheads="1" noChangeShapeType="1"/>
              </p:cNvPicPr>
              <p:nvPr/>
            </p:nvPicPr>
            <p:blipFill>
              <a:blip r:embed="rId54"/>
              <a:stretch>
                <a:fillRect/>
              </a:stretch>
            </p:blipFill>
            <p:spPr>
              <a:xfrm>
                <a:off x="6821169" y="3648965"/>
                <a:ext cx="2363755" cy="2401204"/>
              </a:xfrm>
              <a:prstGeom prst="rect">
                <a:avLst/>
              </a:prstGeom>
            </p:spPr>
          </p:pic>
        </mc:Fallback>
      </mc:AlternateContent>
    </p:spTree>
    <p:extLst>
      <p:ext uri="{BB962C8B-B14F-4D97-AF65-F5344CB8AC3E}">
        <p14:creationId xmlns:p14="http://schemas.microsoft.com/office/powerpoint/2010/main" val="1525157620"/>
      </p:ext>
    </p:extLst>
  </p:cSld>
  <p:clrMapOvr>
    <a:masterClrMapping/>
  </p:clrMapOv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t 31" hidden="1"/>
          <p:cNvGraphicFramePr>
            <a:graphicFrameLocks noChangeAspect="1"/>
          </p:cNvGraphicFramePr>
          <p:nvPr>
            <p:custDataLst>
              <p:tags r:id="rId1"/>
            </p:custDataLst>
            <p:extLst>
              <p:ext uri="{D42A27DB-BD31-4B8C-83A1-F6EECF244321}">
                <p14:modId xmlns:p14="http://schemas.microsoft.com/office/powerpoint/2010/main" val="815516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2" name="Objet 31" hidden="1"/>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34" name="Connecteur droit 33"/>
          <p:cNvCxnSpPr/>
          <p:nvPr/>
        </p:nvCxnSpPr>
        <p:spPr bwMode="auto">
          <a:xfrm flipH="1">
            <a:off x="4976997" y="1438878"/>
            <a:ext cx="0" cy="487872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7" name="ZoneTexte 26"/>
          <p:cNvSpPr txBox="1"/>
          <p:nvPr/>
        </p:nvSpPr>
        <p:spPr>
          <a:xfrm>
            <a:off x="5353602" y="1210415"/>
            <a:ext cx="4316532" cy="430887"/>
          </a:xfrm>
          <a:prstGeom prst="rect">
            <a:avLst/>
          </a:prstGeom>
          <a:noFill/>
        </p:spPr>
        <p:txBody>
          <a:bodyPr wrap="square" rtlCol="0">
            <a:spAutoFit/>
          </a:bodyPr>
          <a:lstStyle/>
          <a:p>
            <a:r>
              <a:rPr lang="en-GB" sz="1100">
                <a:latin typeface="Trebuchet MS" panose="020B0603020202020204" pitchFamily="34" charset="0"/>
              </a:rPr>
              <a:t>… among that customer base </a:t>
            </a:r>
            <a:r>
              <a:rPr lang="en-GB" sz="1100" err="1">
                <a:latin typeface="Trebuchet MS" panose="020B0603020202020204" pitchFamily="34" charset="0"/>
              </a:rPr>
              <a:t>Altares</a:t>
            </a:r>
            <a:r>
              <a:rPr lang="en-GB" sz="1100">
                <a:latin typeface="Trebuchet MS" panose="020B0603020202020204" pitchFamily="34" charset="0"/>
              </a:rPr>
              <a:t> has developed a diversified customer base of </a:t>
            </a:r>
            <a:r>
              <a:rPr lang="en-GB" sz="1100">
                <a:solidFill>
                  <a:schemeClr val="tx2"/>
                </a:solidFill>
                <a:latin typeface="Trebuchet MS" panose="020B0603020202020204" pitchFamily="34" charset="0"/>
              </a:rPr>
              <a:t>~4000 clients </a:t>
            </a:r>
            <a:r>
              <a:rPr lang="en-GB" sz="1100">
                <a:latin typeface="Trebuchet MS" panose="020B0603020202020204" pitchFamily="34" charset="0"/>
              </a:rPr>
              <a:t>within 2100 companies</a:t>
            </a:r>
          </a:p>
        </p:txBody>
      </p:sp>
      <p:sp>
        <p:nvSpPr>
          <p:cNvPr id="31" name="Rectangle 30"/>
          <p:cNvSpPr/>
          <p:nvPr/>
        </p:nvSpPr>
        <p:spPr bwMode="auto">
          <a:xfrm>
            <a:off x="5410966" y="1649714"/>
            <a:ext cx="4188392" cy="3002398"/>
          </a:xfrm>
          <a:prstGeom prst="rect">
            <a:avLst/>
          </a:prstGeom>
          <a:solidFill>
            <a:schemeClr val="bg2">
              <a:lumMod val="20000"/>
              <a:lumOff val="80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cxnSp>
        <p:nvCxnSpPr>
          <p:cNvPr id="5" name="Connecteur droit 208">
            <a:extLst>
              <a:ext uri="{FF2B5EF4-FFF2-40B4-BE49-F238E27FC236}">
                <a16:creationId xmlns:a16="http://schemas.microsoft.com/office/drawing/2014/main" id="{517AA792-2CE9-4776-A370-00661617D626}"/>
              </a:ext>
            </a:extLst>
          </p:cNvPr>
          <p:cNvCxnSpPr>
            <a:cxnSpLocks/>
          </p:cNvCxnSpPr>
          <p:nvPr/>
        </p:nvCxnSpPr>
        <p:spPr bwMode="auto">
          <a:xfrm>
            <a:off x="5359870" y="1015628"/>
            <a:ext cx="43165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grpSp>
        <p:nvGrpSpPr>
          <p:cNvPr id="9" name="Group 8">
            <a:extLst>
              <a:ext uri="{FF2B5EF4-FFF2-40B4-BE49-F238E27FC236}">
                <a16:creationId xmlns:a16="http://schemas.microsoft.com/office/drawing/2014/main" id="{4FFB9B51-F14A-415C-BA99-4B8EE1D7683F}"/>
              </a:ext>
            </a:extLst>
          </p:cNvPr>
          <p:cNvGrpSpPr/>
          <p:nvPr/>
        </p:nvGrpSpPr>
        <p:grpSpPr>
          <a:xfrm>
            <a:off x="5537662" y="1738150"/>
            <a:ext cx="585276" cy="669163"/>
            <a:chOff x="5422701" y="2197171"/>
            <a:chExt cx="585276" cy="669163"/>
          </a:xfrm>
        </p:grpSpPr>
        <p:pic>
          <p:nvPicPr>
            <p:cNvPr id="10" name="Graphic 9" descr="Bank">
              <a:extLst>
                <a:ext uri="{FF2B5EF4-FFF2-40B4-BE49-F238E27FC236}">
                  <a16:creationId xmlns:a16="http://schemas.microsoft.com/office/drawing/2014/main" id="{55C526AB-F5D0-4CCC-A4D6-D7C5F723DE1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02052" y="2197171"/>
              <a:ext cx="426575" cy="426575"/>
            </a:xfrm>
            <a:prstGeom prst="rect">
              <a:avLst/>
            </a:prstGeom>
          </p:spPr>
        </p:pic>
        <p:sp>
          <p:nvSpPr>
            <p:cNvPr id="47" name="TextBox 46">
              <a:extLst>
                <a:ext uri="{FF2B5EF4-FFF2-40B4-BE49-F238E27FC236}">
                  <a16:creationId xmlns:a16="http://schemas.microsoft.com/office/drawing/2014/main" id="{B40DE67A-2BED-4B3F-A826-66D1D656A0B6}"/>
                </a:ext>
              </a:extLst>
            </p:cNvPr>
            <p:cNvSpPr txBox="1"/>
            <p:nvPr/>
          </p:nvSpPr>
          <p:spPr>
            <a:xfrm>
              <a:off x="5422701" y="2589335"/>
              <a:ext cx="585276" cy="276999"/>
            </a:xfrm>
            <a:prstGeom prst="rect">
              <a:avLst/>
            </a:prstGeom>
            <a:noFill/>
          </p:spPr>
          <p:txBody>
            <a:bodyPr wrap="square" lIns="0" tIns="0" rIns="0" bIns="0" rtlCol="0">
              <a:spAutoFit/>
            </a:bodyPr>
            <a:lstStyle/>
            <a:p>
              <a:pPr algn="ctr"/>
              <a:r>
                <a:rPr lang="en-GB" sz="900">
                  <a:latin typeface="+mj-lt"/>
                </a:rPr>
                <a:t>Financials institutions</a:t>
              </a:r>
            </a:p>
          </p:txBody>
        </p:sp>
      </p:grpSp>
      <p:pic>
        <p:nvPicPr>
          <p:cNvPr id="1026066" name="Picture 18" descr="Afficher l'image d'origin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43642" y="4163429"/>
            <a:ext cx="415432" cy="248694"/>
          </a:xfrm>
          <a:prstGeom prst="rect">
            <a:avLst/>
          </a:prstGeom>
          <a:noFill/>
          <a:extLst>
            <a:ext uri="{909E8E84-426E-40DD-AFC4-6F175D3DCCD1}">
              <a14:hiddenFill xmlns:a14="http://schemas.microsoft.com/office/drawing/2010/main">
                <a:solidFill>
                  <a:srgbClr val="FFFFFF"/>
                </a:solidFill>
              </a14:hiddenFill>
            </a:ext>
          </a:extLst>
        </p:spPr>
      </p:pic>
      <p:pic>
        <p:nvPicPr>
          <p:cNvPr id="54274" name="Picture 2" descr="Groupe SNCF — Wikipédia">
            <a:extLst>
              <a:ext uri="{FF2B5EF4-FFF2-40B4-BE49-F238E27FC236}">
                <a16:creationId xmlns:a16="http://schemas.microsoft.com/office/drawing/2014/main" id="{CB1AFCC2-06EE-4A98-96F7-6D819535921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94579" y="4142208"/>
            <a:ext cx="553702" cy="291137"/>
          </a:xfrm>
          <a:prstGeom prst="rect">
            <a:avLst/>
          </a:prstGeom>
          <a:noFill/>
          <a:extLst>
            <a:ext uri="{909E8E84-426E-40DD-AFC4-6F175D3DCCD1}">
              <a14:hiddenFill xmlns:a14="http://schemas.microsoft.com/office/drawing/2010/main">
                <a:solidFill>
                  <a:srgbClr val="FFFFFF"/>
                </a:solidFill>
              </a14:hiddenFill>
            </a:ext>
          </a:extLst>
        </p:spPr>
      </p:pic>
      <p:pic>
        <p:nvPicPr>
          <p:cNvPr id="61442" name="Picture 2" descr="KPMG — Wikipédia">
            <a:extLst>
              <a:ext uri="{FF2B5EF4-FFF2-40B4-BE49-F238E27FC236}">
                <a16:creationId xmlns:a16="http://schemas.microsoft.com/office/drawing/2014/main" id="{168F3DCC-C6F6-46A8-9F17-AF072C6C247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426708" y="4206994"/>
            <a:ext cx="488296" cy="161564"/>
          </a:xfrm>
          <a:prstGeom prst="rect">
            <a:avLst/>
          </a:prstGeom>
          <a:noFill/>
          <a:extLst>
            <a:ext uri="{909E8E84-426E-40DD-AFC4-6F175D3DCCD1}">
              <a14:hiddenFill xmlns:a14="http://schemas.microsoft.com/office/drawing/2010/main">
                <a:solidFill>
                  <a:srgbClr val="FFFFFF"/>
                </a:solidFill>
              </a14:hiddenFill>
            </a:ext>
          </a:extLst>
        </p:spPr>
      </p:pic>
      <p:pic>
        <p:nvPicPr>
          <p:cNvPr id="56322" name="Picture 2" descr="Veolia — Wikipédia">
            <a:extLst>
              <a:ext uri="{FF2B5EF4-FFF2-40B4-BE49-F238E27FC236}">
                <a16:creationId xmlns:a16="http://schemas.microsoft.com/office/drawing/2014/main" id="{5EF3A81F-B82E-47C2-AE3C-37EF4744D5C6}"/>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9350" t="23614" r="8819" b="23812"/>
          <a:stretch/>
        </p:blipFill>
        <p:spPr bwMode="auto">
          <a:xfrm>
            <a:off x="8593190" y="2761481"/>
            <a:ext cx="590839" cy="154935"/>
          </a:xfrm>
          <a:prstGeom prst="rect">
            <a:avLst/>
          </a:prstGeom>
          <a:noFill/>
          <a:extLst>
            <a:ext uri="{909E8E84-426E-40DD-AFC4-6F175D3DCCD1}">
              <a14:hiddenFill xmlns:a14="http://schemas.microsoft.com/office/drawing/2010/main">
                <a:solidFill>
                  <a:srgbClr val="FFFFFF"/>
                </a:solidFill>
              </a14:hiddenFill>
            </a:ext>
          </a:extLst>
        </p:spPr>
      </p:pic>
      <p:grpSp>
        <p:nvGrpSpPr>
          <p:cNvPr id="36" name="Group 35">
            <a:extLst>
              <a:ext uri="{FF2B5EF4-FFF2-40B4-BE49-F238E27FC236}">
                <a16:creationId xmlns:a16="http://schemas.microsoft.com/office/drawing/2014/main" id="{741EC6A5-6777-4BC5-B40D-FE597F5760B2}"/>
              </a:ext>
            </a:extLst>
          </p:cNvPr>
          <p:cNvGrpSpPr>
            <a:grpSpLocks noChangeAspect="1"/>
          </p:cNvGrpSpPr>
          <p:nvPr/>
        </p:nvGrpSpPr>
        <p:grpSpPr>
          <a:xfrm>
            <a:off x="7430922" y="1785616"/>
            <a:ext cx="722660" cy="574231"/>
            <a:chOff x="2490115" y="1975513"/>
            <a:chExt cx="961861" cy="764301"/>
          </a:xfrm>
        </p:grpSpPr>
        <p:pic>
          <p:nvPicPr>
            <p:cNvPr id="1026088" name="Picture 40" descr="Afficher l'image d'origine"/>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490115" y="2350933"/>
              <a:ext cx="961861" cy="388881"/>
            </a:xfrm>
            <a:prstGeom prst="rect">
              <a:avLst/>
            </a:prstGeom>
            <a:noFill/>
            <a:extLst>
              <a:ext uri="{909E8E84-426E-40DD-AFC4-6F175D3DCCD1}">
                <a14:hiddenFill xmlns:a14="http://schemas.microsoft.com/office/drawing/2010/main">
                  <a:solidFill>
                    <a:srgbClr val="FFFFFF"/>
                  </a:solidFill>
                </a14:hiddenFill>
              </a:ext>
            </a:extLst>
          </p:spPr>
        </p:pic>
        <p:pic>
          <p:nvPicPr>
            <p:cNvPr id="51202" name="Picture 2" descr="Payment Gateways : CMCIC Paiement">
              <a:extLst>
                <a:ext uri="{FF2B5EF4-FFF2-40B4-BE49-F238E27FC236}">
                  <a16:creationId xmlns:a16="http://schemas.microsoft.com/office/drawing/2014/main" id="{AC95B83E-DE7E-4F19-B211-D5268DA83A9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551316" y="1975513"/>
              <a:ext cx="839459" cy="399209"/>
            </a:xfrm>
            <a:prstGeom prst="rect">
              <a:avLst/>
            </a:prstGeom>
            <a:noFill/>
            <a:extLst>
              <a:ext uri="{909E8E84-426E-40DD-AFC4-6F175D3DCCD1}">
                <a14:hiddenFill xmlns:a14="http://schemas.microsoft.com/office/drawing/2010/main">
                  <a:solidFill>
                    <a:srgbClr val="FFFFFF"/>
                  </a:solidFill>
                </a14:hiddenFill>
              </a:ext>
            </a:extLst>
          </p:spPr>
        </p:pic>
      </p:grpSp>
      <p:pic>
        <p:nvPicPr>
          <p:cNvPr id="53250" name="Picture 2" descr="ENGIE | IndustriALL">
            <a:extLst>
              <a:ext uri="{FF2B5EF4-FFF2-40B4-BE49-F238E27FC236}">
                <a16:creationId xmlns:a16="http://schemas.microsoft.com/office/drawing/2014/main" id="{B42DDF32-C86E-4610-B853-4E36FF0E793E}"/>
              </a:ext>
            </a:extLst>
          </p:cNvPr>
          <p:cNvPicPr>
            <a:picLocks noChangeAspect="1" noChangeArrowheads="1"/>
          </p:cNvPicPr>
          <p:nvPr/>
        </p:nvPicPr>
        <p:blipFill rotWithShape="1">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l="9545" t="24777" r="9073" b="30278"/>
          <a:stretch/>
        </p:blipFill>
        <p:spPr bwMode="auto">
          <a:xfrm>
            <a:off x="6513496" y="2722131"/>
            <a:ext cx="590839" cy="233635"/>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A15EC57C-EB59-4347-A214-E202E4E0AB52}"/>
              </a:ext>
            </a:extLst>
          </p:cNvPr>
          <p:cNvGrpSpPr>
            <a:grpSpLocks noChangeAspect="1"/>
          </p:cNvGrpSpPr>
          <p:nvPr/>
        </p:nvGrpSpPr>
        <p:grpSpPr>
          <a:xfrm>
            <a:off x="8532764" y="1767995"/>
            <a:ext cx="614952" cy="609473"/>
            <a:chOff x="3469069" y="2005527"/>
            <a:chExt cx="818501" cy="811208"/>
          </a:xfrm>
        </p:grpSpPr>
        <p:pic>
          <p:nvPicPr>
            <p:cNvPr id="57346" name="Picture 2" descr="Crédit Mutuel Arkéa : nouveau bénéfice net record en 2018">
              <a:extLst>
                <a:ext uri="{FF2B5EF4-FFF2-40B4-BE49-F238E27FC236}">
                  <a16:creationId xmlns:a16="http://schemas.microsoft.com/office/drawing/2014/main" id="{391B4CE1-1451-4B8E-AFFB-8033171FACB3}"/>
                </a:ext>
              </a:extLst>
            </p:cNvPr>
            <p:cNvPicPr>
              <a:picLocks noChangeAspect="1" noChangeArrowheads="1"/>
            </p:cNvPicPr>
            <p:nvPr/>
          </p:nvPicPr>
          <p:blipFill rotWithShape="1">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t="16200" b="20146"/>
            <a:stretch/>
          </p:blipFill>
          <p:spPr bwMode="auto">
            <a:xfrm>
              <a:off x="3485116" y="2005527"/>
              <a:ext cx="786407" cy="281405"/>
            </a:xfrm>
            <a:prstGeom prst="rect">
              <a:avLst/>
            </a:prstGeom>
            <a:noFill/>
            <a:extLst>
              <a:ext uri="{909E8E84-426E-40DD-AFC4-6F175D3DCCD1}">
                <a14:hiddenFill xmlns:a14="http://schemas.microsoft.com/office/drawing/2010/main">
                  <a:solidFill>
                    <a:srgbClr val="FFFFFF"/>
                  </a:solidFill>
                </a14:hiddenFill>
              </a:ext>
            </a:extLst>
          </p:spPr>
        </p:pic>
        <p:pic>
          <p:nvPicPr>
            <p:cNvPr id="1026097" name="Picture 49" descr="logo Credit agricole 1 1024x446"/>
            <p:cNvPicPr>
              <a:picLocks noChangeAspect="1" noChangeArrowheads="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69069" y="2460240"/>
              <a:ext cx="818501" cy="35649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a:extLst>
              <a:ext uri="{FF2B5EF4-FFF2-40B4-BE49-F238E27FC236}">
                <a16:creationId xmlns:a16="http://schemas.microsoft.com/office/drawing/2014/main" id="{A7527224-5908-4E4B-86C1-AE75276CD08B}"/>
              </a:ext>
            </a:extLst>
          </p:cNvPr>
          <p:cNvGrpSpPr>
            <a:grpSpLocks noChangeAspect="1"/>
          </p:cNvGrpSpPr>
          <p:nvPr/>
        </p:nvGrpSpPr>
        <p:grpSpPr>
          <a:xfrm>
            <a:off x="6418437" y="1813777"/>
            <a:ext cx="630698" cy="517908"/>
            <a:chOff x="1439462" y="2043713"/>
            <a:chExt cx="839459" cy="689336"/>
          </a:xfrm>
        </p:grpSpPr>
        <p:pic>
          <p:nvPicPr>
            <p:cNvPr id="1026093" name="Picture 45" descr="Afficher l'image d'origin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680566" y="2381604"/>
              <a:ext cx="357250" cy="351445"/>
            </a:xfrm>
            <a:prstGeom prst="rect">
              <a:avLst/>
            </a:prstGeom>
            <a:noFill/>
            <a:extLst>
              <a:ext uri="{909E8E84-426E-40DD-AFC4-6F175D3DCCD1}">
                <a14:hiddenFill xmlns:a14="http://schemas.microsoft.com/office/drawing/2010/main">
                  <a:solidFill>
                    <a:srgbClr val="FFFFFF"/>
                  </a:solidFill>
                </a14:hiddenFill>
              </a:ext>
            </a:extLst>
          </p:spPr>
        </p:pic>
        <p:pic>
          <p:nvPicPr>
            <p:cNvPr id="1026099" name="Picture 51" descr="Afficher l'image d'origine"/>
            <p:cNvPicPr>
              <a:picLocks noChangeAspect="1" noChangeArrowheads="1"/>
            </p:cNvPicPr>
            <p:nvPr/>
          </p:nvPicPr>
          <p:blipFill rotWithShape="1">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t="35471" b="33222"/>
            <a:stretch/>
          </p:blipFill>
          <p:spPr bwMode="auto">
            <a:xfrm>
              <a:off x="1439462" y="2043713"/>
              <a:ext cx="839459" cy="26280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 name="Group 38">
            <a:extLst>
              <a:ext uri="{FF2B5EF4-FFF2-40B4-BE49-F238E27FC236}">
                <a16:creationId xmlns:a16="http://schemas.microsoft.com/office/drawing/2014/main" id="{BFBED856-EFE9-4FE9-A5AA-B8F4041F3887}"/>
              </a:ext>
            </a:extLst>
          </p:cNvPr>
          <p:cNvGrpSpPr>
            <a:grpSpLocks noChangeAspect="1"/>
          </p:cNvGrpSpPr>
          <p:nvPr/>
        </p:nvGrpSpPr>
        <p:grpSpPr>
          <a:xfrm>
            <a:off x="7553343" y="2579824"/>
            <a:ext cx="590839" cy="518249"/>
            <a:chOff x="2503866" y="3090630"/>
            <a:chExt cx="786407" cy="689789"/>
          </a:xfrm>
        </p:grpSpPr>
        <p:pic>
          <p:nvPicPr>
            <p:cNvPr id="59394" name="Picture 2" descr="Schneider Electric soutient les cours d'électricité de Lilibricole ...">
              <a:extLst>
                <a:ext uri="{FF2B5EF4-FFF2-40B4-BE49-F238E27FC236}">
                  <a16:creationId xmlns:a16="http://schemas.microsoft.com/office/drawing/2014/main" id="{67C81E24-7A8F-45B8-A7C7-1A11BA82D9AC}"/>
                </a:ext>
              </a:extLst>
            </p:cNvPr>
            <p:cNvPicPr>
              <a:picLocks noChangeAspect="1" noChangeArrowheads="1"/>
            </p:cNvPicPr>
            <p:nvPr/>
          </p:nvPicPr>
          <p:blipFill rotWithShape="1">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l="11149" t="27868" r="9640" b="28282"/>
            <a:stretch/>
          </p:blipFill>
          <p:spPr bwMode="auto">
            <a:xfrm>
              <a:off x="2503866" y="3535539"/>
              <a:ext cx="786407" cy="244880"/>
            </a:xfrm>
            <a:prstGeom prst="rect">
              <a:avLst/>
            </a:prstGeom>
            <a:noFill/>
            <a:extLst>
              <a:ext uri="{909E8E84-426E-40DD-AFC4-6F175D3DCCD1}">
                <a14:hiddenFill xmlns:a14="http://schemas.microsoft.com/office/drawing/2010/main">
                  <a:solidFill>
                    <a:srgbClr val="FFFFFF"/>
                  </a:solidFill>
                </a14:hiddenFill>
              </a:ext>
            </a:extLst>
          </p:spPr>
        </p:pic>
        <p:pic>
          <p:nvPicPr>
            <p:cNvPr id="1026062" name="Picture 14" descr="Afficher l'image d'origine"/>
            <p:cNvPicPr>
              <a:picLocks noChangeAspect="1" noChangeArrowheads="1"/>
            </p:cNvPicPr>
            <p:nvPr/>
          </p:nvPicPr>
          <p:blipFill rotWithShape="1">
            <a:blip r:embed="rId20">
              <a:clrChange>
                <a:clrFrom>
                  <a:srgbClr val="FFFFFF"/>
                </a:clrFrom>
                <a:clrTo>
                  <a:srgbClr val="FFFFFF">
                    <a:alpha val="0"/>
                  </a:srgbClr>
                </a:clrTo>
              </a:clrChange>
              <a:extLst>
                <a:ext uri="{28A0092B-C50C-407E-A947-70E740481C1C}">
                  <a14:useLocalDpi xmlns:a14="http://schemas.microsoft.com/office/drawing/2010/main" val="0"/>
                </a:ext>
              </a:extLst>
            </a:blip>
            <a:srcRect l="-262" t="18771" r="262" b="24509"/>
            <a:stretch/>
          </p:blipFill>
          <p:spPr bwMode="auto">
            <a:xfrm>
              <a:off x="2562080" y="3090630"/>
              <a:ext cx="669979" cy="3812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Group 28">
            <a:extLst>
              <a:ext uri="{FF2B5EF4-FFF2-40B4-BE49-F238E27FC236}">
                <a16:creationId xmlns:a16="http://schemas.microsoft.com/office/drawing/2014/main" id="{D6D254B0-3271-4728-98C4-869625A780D0}"/>
              </a:ext>
            </a:extLst>
          </p:cNvPr>
          <p:cNvGrpSpPr>
            <a:grpSpLocks noChangeAspect="1"/>
          </p:cNvGrpSpPr>
          <p:nvPr/>
        </p:nvGrpSpPr>
        <p:grpSpPr>
          <a:xfrm>
            <a:off x="6608799" y="3368868"/>
            <a:ext cx="590839" cy="485965"/>
            <a:chOff x="6511015" y="3640265"/>
            <a:chExt cx="786407" cy="646819"/>
          </a:xfrm>
        </p:grpSpPr>
        <p:pic>
          <p:nvPicPr>
            <p:cNvPr id="1026080" name="Picture 32" descr="Afficher l'image d'origine"/>
            <p:cNvPicPr>
              <a:picLocks noChangeAspect="1" noChangeArrowheads="1"/>
            </p:cNvPicPr>
            <p:nvPr/>
          </p:nvPicPr>
          <p:blipFill>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02188" y="3640265"/>
              <a:ext cx="604060" cy="483130"/>
            </a:xfrm>
            <a:prstGeom prst="rect">
              <a:avLst/>
            </a:prstGeom>
            <a:noFill/>
            <a:extLst>
              <a:ext uri="{909E8E84-426E-40DD-AFC4-6F175D3DCCD1}">
                <a14:hiddenFill xmlns:a14="http://schemas.microsoft.com/office/drawing/2010/main">
                  <a:solidFill>
                    <a:srgbClr val="FFFFFF"/>
                  </a:solidFill>
                </a14:hiddenFill>
              </a:ext>
            </a:extLst>
          </p:spPr>
        </p:pic>
        <p:pic>
          <p:nvPicPr>
            <p:cNvPr id="62466" name="Picture 2" descr="Grève sur un site d'Eiffage Construction en Midi-Pyrénées">
              <a:extLst>
                <a:ext uri="{FF2B5EF4-FFF2-40B4-BE49-F238E27FC236}">
                  <a16:creationId xmlns:a16="http://schemas.microsoft.com/office/drawing/2014/main" id="{3DE5F8E0-1C6D-4A65-882D-6C04975389B4}"/>
                </a:ext>
              </a:extLst>
            </p:cNvPr>
            <p:cNvPicPr>
              <a:picLocks noChangeAspect="1" noChangeArrowheads="1"/>
            </p:cNvPicPr>
            <p:nvPr/>
          </p:nvPicPr>
          <p:blipFill rotWithShape="1">
            <a:blip r:embed="rId22">
              <a:clrChange>
                <a:clrFrom>
                  <a:srgbClr val="FFFFFF"/>
                </a:clrFrom>
                <a:clrTo>
                  <a:srgbClr val="FFFFFF">
                    <a:alpha val="0"/>
                  </a:srgbClr>
                </a:clrTo>
              </a:clrChange>
              <a:extLst>
                <a:ext uri="{28A0092B-C50C-407E-A947-70E740481C1C}">
                  <a14:useLocalDpi xmlns:a14="http://schemas.microsoft.com/office/drawing/2010/main" val="0"/>
                </a:ext>
              </a:extLst>
            </a:blip>
            <a:srcRect t="35146" r="3241" b="39649"/>
            <a:stretch/>
          </p:blipFill>
          <p:spPr bwMode="auto">
            <a:xfrm>
              <a:off x="6511015" y="4133443"/>
              <a:ext cx="786407" cy="15364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oup 39">
            <a:extLst>
              <a:ext uri="{FF2B5EF4-FFF2-40B4-BE49-F238E27FC236}">
                <a16:creationId xmlns:a16="http://schemas.microsoft.com/office/drawing/2014/main" id="{44DD4EE1-520E-4B77-A817-5F0FB58C665B}"/>
              </a:ext>
            </a:extLst>
          </p:cNvPr>
          <p:cNvGrpSpPr>
            <a:grpSpLocks noChangeAspect="1"/>
          </p:cNvGrpSpPr>
          <p:nvPr/>
        </p:nvGrpSpPr>
        <p:grpSpPr>
          <a:xfrm>
            <a:off x="8560868" y="3371227"/>
            <a:ext cx="590839" cy="481247"/>
            <a:chOff x="8463084" y="3693292"/>
            <a:chExt cx="786407" cy="640540"/>
          </a:xfrm>
        </p:grpSpPr>
        <p:pic>
          <p:nvPicPr>
            <p:cNvPr id="60418" name="Picture 2">
              <a:extLst>
                <a:ext uri="{FF2B5EF4-FFF2-40B4-BE49-F238E27FC236}">
                  <a16:creationId xmlns:a16="http://schemas.microsoft.com/office/drawing/2014/main" id="{CA23CB80-B21B-4C1A-83B5-9EDBA7C66465}"/>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8463084" y="4086694"/>
              <a:ext cx="786407" cy="247138"/>
            </a:xfrm>
            <a:prstGeom prst="rect">
              <a:avLst/>
            </a:prstGeom>
            <a:noFill/>
            <a:extLst>
              <a:ext uri="{909E8E84-426E-40DD-AFC4-6F175D3DCCD1}">
                <a14:hiddenFill xmlns:a14="http://schemas.microsoft.com/office/drawing/2010/main">
                  <a:solidFill>
                    <a:srgbClr val="FFFFFF"/>
                  </a:solidFill>
                </a14:hiddenFill>
              </a:ext>
            </a:extLst>
          </p:spPr>
        </p:pic>
        <p:pic>
          <p:nvPicPr>
            <p:cNvPr id="1026082" name="Picture 34" descr="Afficher l'image d'origin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8684890" y="3693292"/>
              <a:ext cx="342795" cy="342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 name="Group 36">
            <a:extLst>
              <a:ext uri="{FF2B5EF4-FFF2-40B4-BE49-F238E27FC236}">
                <a16:creationId xmlns:a16="http://schemas.microsoft.com/office/drawing/2014/main" id="{F0E2DB9E-4147-4B4D-9879-4A93DBDC54BD}"/>
              </a:ext>
            </a:extLst>
          </p:cNvPr>
          <p:cNvGrpSpPr>
            <a:grpSpLocks noChangeAspect="1"/>
          </p:cNvGrpSpPr>
          <p:nvPr/>
        </p:nvGrpSpPr>
        <p:grpSpPr>
          <a:xfrm>
            <a:off x="7694026" y="3367228"/>
            <a:ext cx="443905" cy="489245"/>
            <a:chOff x="7620559" y="3710718"/>
            <a:chExt cx="590839" cy="651185"/>
          </a:xfrm>
        </p:grpSpPr>
        <p:pic>
          <p:nvPicPr>
            <p:cNvPr id="58370" name="Picture 2" descr="Saint-Gobain — Wikipédia">
              <a:extLst>
                <a:ext uri="{FF2B5EF4-FFF2-40B4-BE49-F238E27FC236}">
                  <a16:creationId xmlns:a16="http://schemas.microsoft.com/office/drawing/2014/main" id="{DCEC91AA-DFCE-4E24-887E-62456386A91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7646845" y="3710718"/>
              <a:ext cx="538266" cy="226841"/>
            </a:xfrm>
            <a:prstGeom prst="rect">
              <a:avLst/>
            </a:prstGeom>
            <a:noFill/>
            <a:extLst>
              <a:ext uri="{909E8E84-426E-40DD-AFC4-6F175D3DCCD1}">
                <a14:hiddenFill xmlns:a14="http://schemas.microsoft.com/office/drawing/2010/main">
                  <a:solidFill>
                    <a:srgbClr val="FFFFFF"/>
                  </a:solidFill>
                </a14:hiddenFill>
              </a:ext>
            </a:extLst>
          </p:spPr>
        </p:pic>
        <p:pic>
          <p:nvPicPr>
            <p:cNvPr id="63490" name="Picture 2">
              <a:extLst>
                <a:ext uri="{FF2B5EF4-FFF2-40B4-BE49-F238E27FC236}">
                  <a16:creationId xmlns:a16="http://schemas.microsoft.com/office/drawing/2014/main" id="{5B6DF29A-C4A9-4F34-8F01-1AA85DD9C209}"/>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7620559" y="4058624"/>
              <a:ext cx="590839" cy="303279"/>
            </a:xfrm>
            <a:prstGeom prst="rect">
              <a:avLst/>
            </a:prstGeom>
            <a:noFill/>
            <a:extLst>
              <a:ext uri="{909E8E84-426E-40DD-AFC4-6F175D3DCCD1}">
                <a14:hiddenFill xmlns:a14="http://schemas.microsoft.com/office/drawing/2010/main">
                  <a:solidFill>
                    <a:srgbClr val="FFFFFF"/>
                  </a:solidFill>
                </a14:hiddenFill>
              </a:ext>
            </a:extLst>
          </p:spPr>
        </p:pic>
      </p:grpSp>
      <p:sp>
        <p:nvSpPr>
          <p:cNvPr id="30" name="Rectangle: Rounded Corners 29">
            <a:extLst>
              <a:ext uri="{FF2B5EF4-FFF2-40B4-BE49-F238E27FC236}">
                <a16:creationId xmlns:a16="http://schemas.microsoft.com/office/drawing/2014/main" id="{AB98553C-E1F1-41C7-A531-119ED6D613A1}"/>
              </a:ext>
            </a:extLst>
          </p:cNvPr>
          <p:cNvSpPr/>
          <p:nvPr/>
        </p:nvSpPr>
        <p:spPr bwMode="auto">
          <a:xfrm>
            <a:off x="6213874" y="2496948"/>
            <a:ext cx="3214438" cy="684000"/>
          </a:xfrm>
          <a:prstGeom prst="roundRect">
            <a:avLst/>
          </a:prstGeom>
          <a:noFill/>
          <a:ln w="63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4" name="Rectangle: Rounded Corners 73">
            <a:extLst>
              <a:ext uri="{FF2B5EF4-FFF2-40B4-BE49-F238E27FC236}">
                <a16:creationId xmlns:a16="http://schemas.microsoft.com/office/drawing/2014/main" id="{7D9B6838-17EF-4B72-94EF-4E412F402F76}"/>
              </a:ext>
            </a:extLst>
          </p:cNvPr>
          <p:cNvSpPr/>
          <p:nvPr/>
        </p:nvSpPr>
        <p:spPr bwMode="auto">
          <a:xfrm>
            <a:off x="6213874" y="3269850"/>
            <a:ext cx="3214438" cy="684000"/>
          </a:xfrm>
          <a:prstGeom prst="roundRect">
            <a:avLst/>
          </a:prstGeom>
          <a:noFill/>
          <a:ln w="63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5" name="Rectangle: Rounded Corners 74">
            <a:extLst>
              <a:ext uri="{FF2B5EF4-FFF2-40B4-BE49-F238E27FC236}">
                <a16:creationId xmlns:a16="http://schemas.microsoft.com/office/drawing/2014/main" id="{3A034E55-A38F-45F5-A56F-619AA7220458}"/>
              </a:ext>
            </a:extLst>
          </p:cNvPr>
          <p:cNvSpPr/>
          <p:nvPr/>
        </p:nvSpPr>
        <p:spPr bwMode="auto">
          <a:xfrm>
            <a:off x="6213874" y="4051228"/>
            <a:ext cx="3214438" cy="473097"/>
          </a:xfrm>
          <a:prstGeom prst="roundRect">
            <a:avLst/>
          </a:prstGeom>
          <a:noFill/>
          <a:ln w="63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6" name="Rectangle: Rounded Corners 75">
            <a:extLst>
              <a:ext uri="{FF2B5EF4-FFF2-40B4-BE49-F238E27FC236}">
                <a16:creationId xmlns:a16="http://schemas.microsoft.com/office/drawing/2014/main" id="{C1788870-4C4F-42C9-83E0-E57ECBC800FD}"/>
              </a:ext>
            </a:extLst>
          </p:cNvPr>
          <p:cNvSpPr/>
          <p:nvPr/>
        </p:nvSpPr>
        <p:spPr bwMode="auto">
          <a:xfrm>
            <a:off x="6213874" y="1731259"/>
            <a:ext cx="3214438" cy="682944"/>
          </a:xfrm>
          <a:prstGeom prst="roundRect">
            <a:avLst/>
          </a:prstGeom>
          <a:noFill/>
          <a:ln w="63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7" name="Group 16">
            <a:extLst>
              <a:ext uri="{FF2B5EF4-FFF2-40B4-BE49-F238E27FC236}">
                <a16:creationId xmlns:a16="http://schemas.microsoft.com/office/drawing/2014/main" id="{33E24659-3544-4669-AAD1-7B10A5C8B1CF}"/>
              </a:ext>
            </a:extLst>
          </p:cNvPr>
          <p:cNvGrpSpPr/>
          <p:nvPr/>
        </p:nvGrpSpPr>
        <p:grpSpPr>
          <a:xfrm>
            <a:off x="5576836" y="3348562"/>
            <a:ext cx="506928" cy="526577"/>
            <a:chOff x="10233639" y="3157971"/>
            <a:chExt cx="506928" cy="526577"/>
          </a:xfrm>
        </p:grpSpPr>
        <p:sp>
          <p:nvSpPr>
            <p:cNvPr id="91" name="TextBox 90">
              <a:extLst>
                <a:ext uri="{FF2B5EF4-FFF2-40B4-BE49-F238E27FC236}">
                  <a16:creationId xmlns:a16="http://schemas.microsoft.com/office/drawing/2014/main" id="{07CFBB94-A5E2-4305-A685-1318FAB64BA4}"/>
                </a:ext>
              </a:extLst>
            </p:cNvPr>
            <p:cNvSpPr txBox="1"/>
            <p:nvPr/>
          </p:nvSpPr>
          <p:spPr>
            <a:xfrm>
              <a:off x="10233639" y="3546049"/>
              <a:ext cx="506928" cy="138499"/>
            </a:xfrm>
            <a:prstGeom prst="rect">
              <a:avLst/>
            </a:prstGeom>
            <a:noFill/>
          </p:spPr>
          <p:txBody>
            <a:bodyPr wrap="square" lIns="0" tIns="0" rIns="0" bIns="0" rtlCol="0">
              <a:spAutoFit/>
            </a:bodyPr>
            <a:lstStyle>
              <a:defPPr>
                <a:defRPr lang="en-US"/>
              </a:defPPr>
              <a:lvl1pPr algn="ctr">
                <a:defRPr sz="900">
                  <a:latin typeface="+mj-lt"/>
                </a:defRPr>
              </a:lvl1pPr>
            </a:lstStyle>
            <a:p>
              <a:r>
                <a:rPr lang="en-GB"/>
                <a:t>Industry</a:t>
              </a:r>
            </a:p>
          </p:txBody>
        </p:sp>
        <p:pic>
          <p:nvPicPr>
            <p:cNvPr id="8" name="Graphic 7" descr="Factory">
              <a:extLst>
                <a:ext uri="{FF2B5EF4-FFF2-40B4-BE49-F238E27FC236}">
                  <a16:creationId xmlns:a16="http://schemas.microsoft.com/office/drawing/2014/main" id="{93F55D2C-B129-4267-AD05-D3F9446AFEC5}"/>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0273816" y="3157971"/>
              <a:ext cx="426575" cy="426575"/>
            </a:xfrm>
            <a:prstGeom prst="rect">
              <a:avLst/>
            </a:prstGeom>
          </p:spPr>
        </p:pic>
      </p:grpSp>
      <p:grpSp>
        <p:nvGrpSpPr>
          <p:cNvPr id="3" name="Group 2">
            <a:extLst>
              <a:ext uri="{FF2B5EF4-FFF2-40B4-BE49-F238E27FC236}">
                <a16:creationId xmlns:a16="http://schemas.microsoft.com/office/drawing/2014/main" id="{F0B36613-622D-4977-A718-923A218F3CE1}"/>
              </a:ext>
            </a:extLst>
          </p:cNvPr>
          <p:cNvGrpSpPr/>
          <p:nvPr/>
        </p:nvGrpSpPr>
        <p:grpSpPr>
          <a:xfrm>
            <a:off x="5617013" y="2594176"/>
            <a:ext cx="426575" cy="489545"/>
            <a:chOff x="10273816" y="4241446"/>
            <a:chExt cx="426575" cy="489545"/>
          </a:xfrm>
        </p:grpSpPr>
        <p:pic>
          <p:nvPicPr>
            <p:cNvPr id="21" name="Graphic 20" descr="Battery charging">
              <a:extLst>
                <a:ext uri="{FF2B5EF4-FFF2-40B4-BE49-F238E27FC236}">
                  <a16:creationId xmlns:a16="http://schemas.microsoft.com/office/drawing/2014/main" id="{E5340A0C-8DA9-4998-8769-870691C20821}"/>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0273816" y="4241446"/>
              <a:ext cx="426575" cy="426575"/>
            </a:xfrm>
            <a:prstGeom prst="rect">
              <a:avLst/>
            </a:prstGeom>
          </p:spPr>
        </p:pic>
        <p:sp>
          <p:nvSpPr>
            <p:cNvPr id="92" name="TextBox 91">
              <a:extLst>
                <a:ext uri="{FF2B5EF4-FFF2-40B4-BE49-F238E27FC236}">
                  <a16:creationId xmlns:a16="http://schemas.microsoft.com/office/drawing/2014/main" id="{37F1DE7A-2EE2-4DEB-9C2A-AE1BF2F1C04E}"/>
                </a:ext>
              </a:extLst>
            </p:cNvPr>
            <p:cNvSpPr txBox="1"/>
            <p:nvPr/>
          </p:nvSpPr>
          <p:spPr>
            <a:xfrm>
              <a:off x="10273816" y="4592492"/>
              <a:ext cx="426575" cy="138499"/>
            </a:xfrm>
            <a:prstGeom prst="rect">
              <a:avLst/>
            </a:prstGeom>
            <a:noFill/>
          </p:spPr>
          <p:txBody>
            <a:bodyPr wrap="square" lIns="0" tIns="0" rIns="0" bIns="0" rtlCol="0">
              <a:spAutoFit/>
            </a:bodyPr>
            <a:lstStyle>
              <a:defPPr>
                <a:defRPr lang="en-US"/>
              </a:defPPr>
              <a:lvl1pPr algn="ctr">
                <a:defRPr sz="900">
                  <a:latin typeface="+mj-lt"/>
                </a:defRPr>
              </a:lvl1pPr>
            </a:lstStyle>
            <a:p>
              <a:r>
                <a:rPr lang="en-GB"/>
                <a:t>Energy</a:t>
              </a:r>
            </a:p>
          </p:txBody>
        </p:sp>
      </p:grpSp>
      <p:grpSp>
        <p:nvGrpSpPr>
          <p:cNvPr id="16" name="Group 15">
            <a:extLst>
              <a:ext uri="{FF2B5EF4-FFF2-40B4-BE49-F238E27FC236}">
                <a16:creationId xmlns:a16="http://schemas.microsoft.com/office/drawing/2014/main" id="{721C8BA3-552C-4FE2-B201-ED10A5091DA7}"/>
              </a:ext>
            </a:extLst>
          </p:cNvPr>
          <p:cNvGrpSpPr/>
          <p:nvPr/>
        </p:nvGrpSpPr>
        <p:grpSpPr>
          <a:xfrm>
            <a:off x="5576836" y="4008248"/>
            <a:ext cx="506928" cy="559055"/>
            <a:chOff x="5520029" y="5352566"/>
            <a:chExt cx="506928" cy="559055"/>
          </a:xfrm>
        </p:grpSpPr>
        <p:sp>
          <p:nvSpPr>
            <p:cNvPr id="14" name="Freeform: Shape 13">
              <a:extLst>
                <a:ext uri="{FF2B5EF4-FFF2-40B4-BE49-F238E27FC236}">
                  <a16:creationId xmlns:a16="http://schemas.microsoft.com/office/drawing/2014/main" id="{CCC6A747-055F-4B14-8B46-ED7F4FC081AD}"/>
                </a:ext>
              </a:extLst>
            </p:cNvPr>
            <p:cNvSpPr>
              <a:spLocks noChangeAspect="1"/>
            </p:cNvSpPr>
            <p:nvPr/>
          </p:nvSpPr>
          <p:spPr>
            <a:xfrm>
              <a:off x="5579596" y="5352566"/>
              <a:ext cx="387795" cy="387795"/>
            </a:xfrm>
            <a:custGeom>
              <a:avLst/>
              <a:gdLst>
                <a:gd name="connsiteX0" fmla="*/ 615685 w 857250"/>
                <a:gd name="connsiteY0" fmla="*/ 321997 h 857250"/>
                <a:gd name="connsiteX1" fmla="*/ 680568 w 857250"/>
                <a:gd name="connsiteY1" fmla="*/ 311821 h 857250"/>
                <a:gd name="connsiteX2" fmla="*/ 686916 w 857250"/>
                <a:gd name="connsiteY2" fmla="*/ 305615 h 857250"/>
                <a:gd name="connsiteX3" fmla="*/ 686916 w 857250"/>
                <a:gd name="connsiteY3" fmla="*/ 218260 h 857250"/>
                <a:gd name="connsiteX4" fmla="*/ 680568 w 857250"/>
                <a:gd name="connsiteY4" fmla="*/ 212053 h 857250"/>
                <a:gd name="connsiteX5" fmla="*/ 615685 w 857250"/>
                <a:gd name="connsiteY5" fmla="*/ 201878 h 857250"/>
                <a:gd name="connsiteX6" fmla="*/ 599968 w 857250"/>
                <a:gd name="connsiteY6" fmla="*/ 180312 h 857250"/>
                <a:gd name="connsiteX7" fmla="*/ 603366 w 857250"/>
                <a:gd name="connsiteY7" fmla="*/ 172115 h 857250"/>
                <a:gd name="connsiteX8" fmla="*/ 642046 w 857250"/>
                <a:gd name="connsiteY8" fmla="*/ 119096 h 857250"/>
                <a:gd name="connsiteX9" fmla="*/ 642146 w 857250"/>
                <a:gd name="connsiteY9" fmla="*/ 110207 h 857250"/>
                <a:gd name="connsiteX10" fmla="*/ 580355 w 857250"/>
                <a:gd name="connsiteY10" fmla="*/ 48418 h 857250"/>
                <a:gd name="connsiteX11" fmla="*/ 571467 w 857250"/>
                <a:gd name="connsiteY11" fmla="*/ 48518 h 857250"/>
                <a:gd name="connsiteX12" fmla="*/ 518448 w 857250"/>
                <a:gd name="connsiteY12" fmla="*/ 87198 h 857250"/>
                <a:gd name="connsiteX13" fmla="*/ 492083 w 857250"/>
                <a:gd name="connsiteY13" fmla="*/ 83075 h 857250"/>
                <a:gd name="connsiteX14" fmla="*/ 488686 w 857250"/>
                <a:gd name="connsiteY14" fmla="*/ 74878 h 857250"/>
                <a:gd name="connsiteX15" fmla="*/ 478510 w 857250"/>
                <a:gd name="connsiteY15" fmla="*/ 9995 h 857250"/>
                <a:gd name="connsiteX16" fmla="*/ 472303 w 857250"/>
                <a:gd name="connsiteY16" fmla="*/ 3647 h 857250"/>
                <a:gd name="connsiteX17" fmla="*/ 384948 w 857250"/>
                <a:gd name="connsiteY17" fmla="*/ 3647 h 857250"/>
                <a:gd name="connsiteX18" fmla="*/ 378741 w 857250"/>
                <a:gd name="connsiteY18" fmla="*/ 9995 h 857250"/>
                <a:gd name="connsiteX19" fmla="*/ 368566 w 857250"/>
                <a:gd name="connsiteY19" fmla="*/ 74878 h 857250"/>
                <a:gd name="connsiteX20" fmla="*/ 347000 w 857250"/>
                <a:gd name="connsiteY20" fmla="*/ 90595 h 857250"/>
                <a:gd name="connsiteX21" fmla="*/ 338803 w 857250"/>
                <a:gd name="connsiteY21" fmla="*/ 87198 h 857250"/>
                <a:gd name="connsiteX22" fmla="*/ 285784 w 857250"/>
                <a:gd name="connsiteY22" fmla="*/ 48518 h 857250"/>
                <a:gd name="connsiteX23" fmla="*/ 276896 w 857250"/>
                <a:gd name="connsiteY23" fmla="*/ 48418 h 857250"/>
                <a:gd name="connsiteX24" fmla="*/ 215106 w 857250"/>
                <a:gd name="connsiteY24" fmla="*/ 110207 h 857250"/>
                <a:gd name="connsiteX25" fmla="*/ 215206 w 857250"/>
                <a:gd name="connsiteY25" fmla="*/ 119096 h 857250"/>
                <a:gd name="connsiteX26" fmla="*/ 253886 w 857250"/>
                <a:gd name="connsiteY26" fmla="*/ 172115 h 857250"/>
                <a:gd name="connsiteX27" fmla="*/ 249763 w 857250"/>
                <a:gd name="connsiteY27" fmla="*/ 198479 h 857250"/>
                <a:gd name="connsiteX28" fmla="*/ 241566 w 857250"/>
                <a:gd name="connsiteY28" fmla="*/ 201878 h 857250"/>
                <a:gd name="connsiteX29" fmla="*/ 176683 w 857250"/>
                <a:gd name="connsiteY29" fmla="*/ 212053 h 857250"/>
                <a:gd name="connsiteX30" fmla="*/ 170335 w 857250"/>
                <a:gd name="connsiteY30" fmla="*/ 218260 h 857250"/>
                <a:gd name="connsiteX31" fmla="*/ 170335 w 857250"/>
                <a:gd name="connsiteY31" fmla="*/ 305615 h 857250"/>
                <a:gd name="connsiteX32" fmla="*/ 176683 w 857250"/>
                <a:gd name="connsiteY32" fmla="*/ 311822 h 857250"/>
                <a:gd name="connsiteX33" fmla="*/ 241566 w 857250"/>
                <a:gd name="connsiteY33" fmla="*/ 321997 h 857250"/>
                <a:gd name="connsiteX34" fmla="*/ 257283 w 857250"/>
                <a:gd name="connsiteY34" fmla="*/ 343562 h 857250"/>
                <a:gd name="connsiteX35" fmla="*/ 253886 w 857250"/>
                <a:gd name="connsiteY35" fmla="*/ 351760 h 857250"/>
                <a:gd name="connsiteX36" fmla="*/ 215206 w 857250"/>
                <a:gd name="connsiteY36" fmla="*/ 404779 h 857250"/>
                <a:gd name="connsiteX37" fmla="*/ 215106 w 857250"/>
                <a:gd name="connsiteY37" fmla="*/ 413668 h 857250"/>
                <a:gd name="connsiteX38" fmla="*/ 276896 w 857250"/>
                <a:gd name="connsiteY38" fmla="*/ 475458 h 857250"/>
                <a:gd name="connsiteX39" fmla="*/ 285784 w 857250"/>
                <a:gd name="connsiteY39" fmla="*/ 475358 h 857250"/>
                <a:gd name="connsiteX40" fmla="*/ 338804 w 857250"/>
                <a:gd name="connsiteY40" fmla="*/ 436677 h 857250"/>
                <a:gd name="connsiteX41" fmla="*/ 365168 w 857250"/>
                <a:gd name="connsiteY41" fmla="*/ 440800 h 857250"/>
                <a:gd name="connsiteX42" fmla="*/ 368566 w 857250"/>
                <a:gd name="connsiteY42" fmla="*/ 448997 h 857250"/>
                <a:gd name="connsiteX43" fmla="*/ 378742 w 857250"/>
                <a:gd name="connsiteY43" fmla="*/ 513880 h 857250"/>
                <a:gd name="connsiteX44" fmla="*/ 384948 w 857250"/>
                <a:gd name="connsiteY44" fmla="*/ 520228 h 857250"/>
                <a:gd name="connsiteX45" fmla="*/ 472303 w 857250"/>
                <a:gd name="connsiteY45" fmla="*/ 520228 h 857250"/>
                <a:gd name="connsiteX46" fmla="*/ 478510 w 857250"/>
                <a:gd name="connsiteY46" fmla="*/ 513880 h 857250"/>
                <a:gd name="connsiteX47" fmla="*/ 488686 w 857250"/>
                <a:gd name="connsiteY47" fmla="*/ 448997 h 857250"/>
                <a:gd name="connsiteX48" fmla="*/ 510251 w 857250"/>
                <a:gd name="connsiteY48" fmla="*/ 433280 h 857250"/>
                <a:gd name="connsiteX49" fmla="*/ 518448 w 857250"/>
                <a:gd name="connsiteY49" fmla="*/ 436677 h 857250"/>
                <a:gd name="connsiteX50" fmla="*/ 571467 w 857250"/>
                <a:gd name="connsiteY50" fmla="*/ 475358 h 857250"/>
                <a:gd name="connsiteX51" fmla="*/ 580355 w 857250"/>
                <a:gd name="connsiteY51" fmla="*/ 475458 h 857250"/>
                <a:gd name="connsiteX52" fmla="*/ 642146 w 857250"/>
                <a:gd name="connsiteY52" fmla="*/ 413668 h 857250"/>
                <a:gd name="connsiteX53" fmla="*/ 642047 w 857250"/>
                <a:gd name="connsiteY53" fmla="*/ 404779 h 857250"/>
                <a:gd name="connsiteX54" fmla="*/ 603366 w 857250"/>
                <a:gd name="connsiteY54" fmla="*/ 351760 h 857250"/>
                <a:gd name="connsiteX55" fmla="*/ 607488 w 857250"/>
                <a:gd name="connsiteY55" fmla="*/ 325396 h 857250"/>
                <a:gd name="connsiteX56" fmla="*/ 615685 w 857250"/>
                <a:gd name="connsiteY56" fmla="*/ 321997 h 857250"/>
                <a:gd name="connsiteX57" fmla="*/ 428626 w 857250"/>
                <a:gd name="connsiteY57" fmla="*/ 363803 h 857250"/>
                <a:gd name="connsiteX58" fmla="*/ 326760 w 857250"/>
                <a:gd name="connsiteY58" fmla="*/ 261938 h 857250"/>
                <a:gd name="connsiteX59" fmla="*/ 428626 w 857250"/>
                <a:gd name="connsiteY59" fmla="*/ 160072 h 857250"/>
                <a:gd name="connsiteX60" fmla="*/ 530491 w 857250"/>
                <a:gd name="connsiteY60" fmla="*/ 261938 h 857250"/>
                <a:gd name="connsiteX61" fmla="*/ 428626 w 857250"/>
                <a:gd name="connsiteY61" fmla="*/ 363803 h 857250"/>
                <a:gd name="connsiteX62" fmla="*/ 856485 w 857250"/>
                <a:gd name="connsiteY62" fmla="*/ 626470 h 857250"/>
                <a:gd name="connsiteX63" fmla="*/ 826328 w 857250"/>
                <a:gd name="connsiteY63" fmla="*/ 649342 h 857250"/>
                <a:gd name="connsiteX64" fmla="*/ 750720 w 857250"/>
                <a:gd name="connsiteY64" fmla="*/ 713710 h 857250"/>
                <a:gd name="connsiteX65" fmla="*/ 648584 w 857250"/>
                <a:gd name="connsiteY65" fmla="*/ 782076 h 857250"/>
                <a:gd name="connsiteX66" fmla="*/ 432152 w 857250"/>
                <a:gd name="connsiteY66" fmla="*/ 850992 h 857250"/>
                <a:gd name="connsiteX67" fmla="*/ 173979 w 857250"/>
                <a:gd name="connsiteY67" fmla="*/ 825503 h 857250"/>
                <a:gd name="connsiteX68" fmla="*/ 97482 w 857250"/>
                <a:gd name="connsiteY68" fmla="*/ 824982 h 857250"/>
                <a:gd name="connsiteX69" fmla="*/ 97482 w 857250"/>
                <a:gd name="connsiteY69" fmla="*/ 630185 h 857250"/>
                <a:gd name="connsiteX70" fmla="*/ 97362 w 857250"/>
                <a:gd name="connsiteY70" fmla="*/ 628923 h 857250"/>
                <a:gd name="connsiteX71" fmla="*/ 177649 w 857250"/>
                <a:gd name="connsiteY71" fmla="*/ 591451 h 857250"/>
                <a:gd name="connsiteX72" fmla="*/ 312437 w 857250"/>
                <a:gd name="connsiteY72" fmla="*/ 591982 h 857250"/>
                <a:gd name="connsiteX73" fmla="*/ 421700 w 857250"/>
                <a:gd name="connsiteY73" fmla="*/ 592623 h 857250"/>
                <a:gd name="connsiteX74" fmla="*/ 510408 w 857250"/>
                <a:gd name="connsiteY74" fmla="*/ 577403 h 857250"/>
                <a:gd name="connsiteX75" fmla="*/ 571611 w 857250"/>
                <a:gd name="connsiteY75" fmla="*/ 588868 h 857250"/>
                <a:gd name="connsiteX76" fmla="*/ 558618 w 857250"/>
                <a:gd name="connsiteY76" fmla="*/ 630503 h 857250"/>
                <a:gd name="connsiteX77" fmla="*/ 484905 w 857250"/>
                <a:gd name="connsiteY77" fmla="*/ 670391 h 857250"/>
                <a:gd name="connsiteX78" fmla="*/ 366296 w 857250"/>
                <a:gd name="connsiteY78" fmla="*/ 695149 h 857250"/>
                <a:gd name="connsiteX79" fmla="*/ 442892 w 857250"/>
                <a:gd name="connsiteY79" fmla="*/ 714263 h 857250"/>
                <a:gd name="connsiteX80" fmla="*/ 604285 w 857250"/>
                <a:gd name="connsiteY80" fmla="*/ 705834 h 857250"/>
                <a:gd name="connsiteX81" fmla="*/ 782388 w 857250"/>
                <a:gd name="connsiteY81" fmla="*/ 605555 h 857250"/>
                <a:gd name="connsiteX82" fmla="*/ 842383 w 857250"/>
                <a:gd name="connsiteY82" fmla="*/ 600700 h 857250"/>
                <a:gd name="connsiteX83" fmla="*/ 856485 w 857250"/>
                <a:gd name="connsiteY83" fmla="*/ 626470 h 857250"/>
                <a:gd name="connsiteX84" fmla="*/ 48521 w 857250"/>
                <a:gd name="connsiteY84" fmla="*/ 857250 h 857250"/>
                <a:gd name="connsiteX85" fmla="*/ 10787 w 857250"/>
                <a:gd name="connsiteY85" fmla="*/ 857250 h 857250"/>
                <a:gd name="connsiteX86" fmla="*/ 0 w 857250"/>
                <a:gd name="connsiteY86" fmla="*/ 846464 h 857250"/>
                <a:gd name="connsiteX87" fmla="*/ 0 w 857250"/>
                <a:gd name="connsiteY87" fmla="*/ 622455 h 857250"/>
                <a:gd name="connsiteX88" fmla="*/ 10787 w 857250"/>
                <a:gd name="connsiteY88" fmla="*/ 611669 h 857250"/>
                <a:gd name="connsiteX89" fmla="*/ 48521 w 857250"/>
                <a:gd name="connsiteY89" fmla="*/ 611669 h 857250"/>
                <a:gd name="connsiteX90" fmla="*/ 59307 w 857250"/>
                <a:gd name="connsiteY90" fmla="*/ 622455 h 857250"/>
                <a:gd name="connsiteX91" fmla="*/ 59308 w 857250"/>
                <a:gd name="connsiteY91" fmla="*/ 846464 h 857250"/>
                <a:gd name="connsiteX92" fmla="*/ 48521 w 857250"/>
                <a:gd name="connsiteY92" fmla="*/ 85725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857250" h="857250">
                  <a:moveTo>
                    <a:pt x="615685" y="321997"/>
                  </a:moveTo>
                  <a:lnTo>
                    <a:pt x="680568" y="311821"/>
                  </a:lnTo>
                  <a:cubicBezTo>
                    <a:pt x="683797" y="311328"/>
                    <a:pt x="686351" y="308832"/>
                    <a:pt x="686916" y="305615"/>
                  </a:cubicBezTo>
                  <a:cubicBezTo>
                    <a:pt x="691779" y="276700"/>
                    <a:pt x="691779" y="247175"/>
                    <a:pt x="686916" y="218260"/>
                  </a:cubicBezTo>
                  <a:cubicBezTo>
                    <a:pt x="686351" y="215043"/>
                    <a:pt x="683797" y="212547"/>
                    <a:pt x="680568" y="212053"/>
                  </a:cubicBezTo>
                  <a:lnTo>
                    <a:pt x="615685" y="201878"/>
                  </a:lnTo>
                  <a:cubicBezTo>
                    <a:pt x="605390" y="200262"/>
                    <a:pt x="598354" y="190608"/>
                    <a:pt x="599968" y="180312"/>
                  </a:cubicBezTo>
                  <a:cubicBezTo>
                    <a:pt x="600433" y="177349"/>
                    <a:pt x="601598" y="174539"/>
                    <a:pt x="603366" y="172115"/>
                  </a:cubicBezTo>
                  <a:lnTo>
                    <a:pt x="642046" y="119096"/>
                  </a:lnTo>
                  <a:cubicBezTo>
                    <a:pt x="643978" y="116459"/>
                    <a:pt x="644018" y="112886"/>
                    <a:pt x="642146" y="110207"/>
                  </a:cubicBezTo>
                  <a:cubicBezTo>
                    <a:pt x="625153" y="86297"/>
                    <a:pt x="604266" y="65410"/>
                    <a:pt x="580355" y="48418"/>
                  </a:cubicBezTo>
                  <a:cubicBezTo>
                    <a:pt x="577677" y="46545"/>
                    <a:pt x="574103" y="46585"/>
                    <a:pt x="571467" y="48518"/>
                  </a:cubicBezTo>
                  <a:lnTo>
                    <a:pt x="518448" y="87198"/>
                  </a:lnTo>
                  <a:cubicBezTo>
                    <a:pt x="510029" y="93339"/>
                    <a:pt x="498226" y="91493"/>
                    <a:pt x="492083" y="83075"/>
                  </a:cubicBezTo>
                  <a:cubicBezTo>
                    <a:pt x="490315" y="80652"/>
                    <a:pt x="489151" y="77841"/>
                    <a:pt x="488686" y="74878"/>
                  </a:cubicBezTo>
                  <a:lnTo>
                    <a:pt x="478510" y="9995"/>
                  </a:lnTo>
                  <a:cubicBezTo>
                    <a:pt x="478017" y="6766"/>
                    <a:pt x="475520" y="4212"/>
                    <a:pt x="472303" y="3647"/>
                  </a:cubicBezTo>
                  <a:cubicBezTo>
                    <a:pt x="443388" y="-1216"/>
                    <a:pt x="413864" y="-1216"/>
                    <a:pt x="384948" y="3647"/>
                  </a:cubicBezTo>
                  <a:cubicBezTo>
                    <a:pt x="381731" y="4212"/>
                    <a:pt x="379235" y="6766"/>
                    <a:pt x="378741" y="9995"/>
                  </a:cubicBezTo>
                  <a:lnTo>
                    <a:pt x="368566" y="74878"/>
                  </a:lnTo>
                  <a:cubicBezTo>
                    <a:pt x="366950" y="85174"/>
                    <a:pt x="357296" y="92210"/>
                    <a:pt x="347000" y="90595"/>
                  </a:cubicBezTo>
                  <a:cubicBezTo>
                    <a:pt x="344037" y="90130"/>
                    <a:pt x="341227" y="88965"/>
                    <a:pt x="338803" y="87198"/>
                  </a:cubicBezTo>
                  <a:lnTo>
                    <a:pt x="285784" y="48518"/>
                  </a:lnTo>
                  <a:cubicBezTo>
                    <a:pt x="283148" y="46585"/>
                    <a:pt x="279575" y="46545"/>
                    <a:pt x="276896" y="48418"/>
                  </a:cubicBezTo>
                  <a:cubicBezTo>
                    <a:pt x="252986" y="65410"/>
                    <a:pt x="232098" y="86297"/>
                    <a:pt x="215106" y="110207"/>
                  </a:cubicBezTo>
                  <a:cubicBezTo>
                    <a:pt x="213233" y="112886"/>
                    <a:pt x="213273" y="116459"/>
                    <a:pt x="215206" y="119096"/>
                  </a:cubicBezTo>
                  <a:lnTo>
                    <a:pt x="253886" y="172115"/>
                  </a:lnTo>
                  <a:cubicBezTo>
                    <a:pt x="260027" y="180534"/>
                    <a:pt x="258182" y="192337"/>
                    <a:pt x="249763" y="198479"/>
                  </a:cubicBezTo>
                  <a:cubicBezTo>
                    <a:pt x="247340" y="200248"/>
                    <a:pt x="244529" y="201413"/>
                    <a:pt x="241566" y="201878"/>
                  </a:cubicBezTo>
                  <a:lnTo>
                    <a:pt x="176683" y="212053"/>
                  </a:lnTo>
                  <a:cubicBezTo>
                    <a:pt x="173455" y="212547"/>
                    <a:pt x="170901" y="215043"/>
                    <a:pt x="170335" y="218260"/>
                  </a:cubicBezTo>
                  <a:cubicBezTo>
                    <a:pt x="165473" y="247175"/>
                    <a:pt x="165473" y="276700"/>
                    <a:pt x="170335" y="305615"/>
                  </a:cubicBezTo>
                  <a:cubicBezTo>
                    <a:pt x="170901" y="308832"/>
                    <a:pt x="173455" y="311328"/>
                    <a:pt x="176683" y="311822"/>
                  </a:cubicBezTo>
                  <a:lnTo>
                    <a:pt x="241566" y="321997"/>
                  </a:lnTo>
                  <a:cubicBezTo>
                    <a:pt x="251861" y="323613"/>
                    <a:pt x="258898" y="333267"/>
                    <a:pt x="257283" y="343562"/>
                  </a:cubicBezTo>
                  <a:cubicBezTo>
                    <a:pt x="256818" y="346526"/>
                    <a:pt x="255653" y="349336"/>
                    <a:pt x="253886" y="351760"/>
                  </a:cubicBezTo>
                  <a:lnTo>
                    <a:pt x="215206" y="404779"/>
                  </a:lnTo>
                  <a:cubicBezTo>
                    <a:pt x="213273" y="407416"/>
                    <a:pt x="213233" y="410989"/>
                    <a:pt x="215106" y="413668"/>
                  </a:cubicBezTo>
                  <a:cubicBezTo>
                    <a:pt x="232098" y="437578"/>
                    <a:pt x="252986" y="458465"/>
                    <a:pt x="276896" y="475458"/>
                  </a:cubicBezTo>
                  <a:cubicBezTo>
                    <a:pt x="279575" y="477330"/>
                    <a:pt x="283148" y="477290"/>
                    <a:pt x="285784" y="475358"/>
                  </a:cubicBezTo>
                  <a:lnTo>
                    <a:pt x="338804" y="436677"/>
                  </a:lnTo>
                  <a:cubicBezTo>
                    <a:pt x="347222" y="430536"/>
                    <a:pt x="359026" y="432382"/>
                    <a:pt x="365168" y="440800"/>
                  </a:cubicBezTo>
                  <a:cubicBezTo>
                    <a:pt x="366936" y="443223"/>
                    <a:pt x="368101" y="446034"/>
                    <a:pt x="368566" y="448997"/>
                  </a:cubicBezTo>
                  <a:lnTo>
                    <a:pt x="378742" y="513880"/>
                  </a:lnTo>
                  <a:cubicBezTo>
                    <a:pt x="379235" y="517108"/>
                    <a:pt x="381732" y="519663"/>
                    <a:pt x="384948" y="520228"/>
                  </a:cubicBezTo>
                  <a:cubicBezTo>
                    <a:pt x="413864" y="525090"/>
                    <a:pt x="443388" y="525090"/>
                    <a:pt x="472303" y="520228"/>
                  </a:cubicBezTo>
                  <a:cubicBezTo>
                    <a:pt x="475520" y="519663"/>
                    <a:pt x="478017" y="517108"/>
                    <a:pt x="478510" y="513880"/>
                  </a:cubicBezTo>
                  <a:lnTo>
                    <a:pt x="488686" y="448997"/>
                  </a:lnTo>
                  <a:cubicBezTo>
                    <a:pt x="490301" y="438702"/>
                    <a:pt x="499955" y="431665"/>
                    <a:pt x="510251" y="433280"/>
                  </a:cubicBezTo>
                  <a:cubicBezTo>
                    <a:pt x="513214" y="433745"/>
                    <a:pt x="516025" y="434910"/>
                    <a:pt x="518448" y="436677"/>
                  </a:cubicBezTo>
                  <a:lnTo>
                    <a:pt x="571467" y="475358"/>
                  </a:lnTo>
                  <a:cubicBezTo>
                    <a:pt x="574103" y="477290"/>
                    <a:pt x="577677" y="477330"/>
                    <a:pt x="580355" y="475458"/>
                  </a:cubicBezTo>
                  <a:cubicBezTo>
                    <a:pt x="604266" y="458465"/>
                    <a:pt x="625153" y="437578"/>
                    <a:pt x="642146" y="413668"/>
                  </a:cubicBezTo>
                  <a:cubicBezTo>
                    <a:pt x="644018" y="410989"/>
                    <a:pt x="643978" y="407416"/>
                    <a:pt x="642047" y="404779"/>
                  </a:cubicBezTo>
                  <a:lnTo>
                    <a:pt x="603366" y="351760"/>
                  </a:lnTo>
                  <a:cubicBezTo>
                    <a:pt x="597224" y="343341"/>
                    <a:pt x="599069" y="331538"/>
                    <a:pt x="607488" y="325396"/>
                  </a:cubicBezTo>
                  <a:cubicBezTo>
                    <a:pt x="609911" y="323627"/>
                    <a:pt x="612722" y="322462"/>
                    <a:pt x="615685" y="321997"/>
                  </a:cubicBezTo>
                  <a:close/>
                  <a:moveTo>
                    <a:pt x="428626" y="363803"/>
                  </a:moveTo>
                  <a:cubicBezTo>
                    <a:pt x="372367" y="363803"/>
                    <a:pt x="326760" y="318196"/>
                    <a:pt x="326760" y="261938"/>
                  </a:cubicBezTo>
                  <a:cubicBezTo>
                    <a:pt x="326760" y="205679"/>
                    <a:pt x="372367" y="160072"/>
                    <a:pt x="428626" y="160072"/>
                  </a:cubicBezTo>
                  <a:cubicBezTo>
                    <a:pt x="484884" y="160072"/>
                    <a:pt x="530491" y="205679"/>
                    <a:pt x="530491" y="261938"/>
                  </a:cubicBezTo>
                  <a:cubicBezTo>
                    <a:pt x="530490" y="318196"/>
                    <a:pt x="484884" y="363802"/>
                    <a:pt x="428626" y="363803"/>
                  </a:cubicBezTo>
                  <a:close/>
                  <a:moveTo>
                    <a:pt x="856485" y="626470"/>
                  </a:moveTo>
                  <a:cubicBezTo>
                    <a:pt x="846950" y="634754"/>
                    <a:pt x="836876" y="642396"/>
                    <a:pt x="826328" y="649342"/>
                  </a:cubicBezTo>
                  <a:cubicBezTo>
                    <a:pt x="826265" y="660709"/>
                    <a:pt x="760480" y="706300"/>
                    <a:pt x="750720" y="713710"/>
                  </a:cubicBezTo>
                  <a:cubicBezTo>
                    <a:pt x="718283" y="738814"/>
                    <a:pt x="684157" y="761656"/>
                    <a:pt x="648584" y="782076"/>
                  </a:cubicBezTo>
                  <a:cubicBezTo>
                    <a:pt x="579571" y="813920"/>
                    <a:pt x="506871" y="837069"/>
                    <a:pt x="432152" y="850992"/>
                  </a:cubicBezTo>
                  <a:cubicBezTo>
                    <a:pt x="401584" y="855645"/>
                    <a:pt x="260940" y="842920"/>
                    <a:pt x="173979" y="825503"/>
                  </a:cubicBezTo>
                  <a:cubicBezTo>
                    <a:pt x="148610" y="822023"/>
                    <a:pt x="122897" y="821848"/>
                    <a:pt x="97482" y="824982"/>
                  </a:cubicBezTo>
                  <a:lnTo>
                    <a:pt x="97482" y="630185"/>
                  </a:lnTo>
                  <a:cubicBezTo>
                    <a:pt x="97482" y="629752"/>
                    <a:pt x="97373" y="629353"/>
                    <a:pt x="97362" y="628923"/>
                  </a:cubicBezTo>
                  <a:cubicBezTo>
                    <a:pt x="121405" y="611283"/>
                    <a:pt x="148687" y="598550"/>
                    <a:pt x="177649" y="591451"/>
                  </a:cubicBezTo>
                  <a:cubicBezTo>
                    <a:pt x="222231" y="583372"/>
                    <a:pt x="267919" y="583552"/>
                    <a:pt x="312437" y="591982"/>
                  </a:cubicBezTo>
                  <a:cubicBezTo>
                    <a:pt x="348593" y="597991"/>
                    <a:pt x="385475" y="598207"/>
                    <a:pt x="421700" y="592623"/>
                  </a:cubicBezTo>
                  <a:cubicBezTo>
                    <a:pt x="451578" y="589550"/>
                    <a:pt x="481214" y="584465"/>
                    <a:pt x="510408" y="577403"/>
                  </a:cubicBezTo>
                  <a:cubicBezTo>
                    <a:pt x="540932" y="567472"/>
                    <a:pt x="560454" y="568839"/>
                    <a:pt x="571611" y="588868"/>
                  </a:cubicBezTo>
                  <a:cubicBezTo>
                    <a:pt x="580949" y="605592"/>
                    <a:pt x="571895" y="620065"/>
                    <a:pt x="558618" y="630503"/>
                  </a:cubicBezTo>
                  <a:cubicBezTo>
                    <a:pt x="536339" y="647657"/>
                    <a:pt x="511452" y="661125"/>
                    <a:pt x="484905" y="670391"/>
                  </a:cubicBezTo>
                  <a:cubicBezTo>
                    <a:pt x="455433" y="681501"/>
                    <a:pt x="371553" y="694397"/>
                    <a:pt x="366296" y="695149"/>
                  </a:cubicBezTo>
                  <a:cubicBezTo>
                    <a:pt x="391490" y="702805"/>
                    <a:pt x="417055" y="709185"/>
                    <a:pt x="442892" y="714263"/>
                  </a:cubicBezTo>
                  <a:cubicBezTo>
                    <a:pt x="496817" y="719133"/>
                    <a:pt x="551161" y="716295"/>
                    <a:pt x="604285" y="705834"/>
                  </a:cubicBezTo>
                  <a:cubicBezTo>
                    <a:pt x="661204" y="692262"/>
                    <a:pt x="746525" y="618536"/>
                    <a:pt x="782388" y="605555"/>
                  </a:cubicBezTo>
                  <a:cubicBezTo>
                    <a:pt x="804199" y="597788"/>
                    <a:pt x="823780" y="591115"/>
                    <a:pt x="842383" y="600700"/>
                  </a:cubicBezTo>
                  <a:cubicBezTo>
                    <a:pt x="851085" y="605193"/>
                    <a:pt x="859939" y="621958"/>
                    <a:pt x="856485" y="626470"/>
                  </a:cubicBezTo>
                  <a:close/>
                  <a:moveTo>
                    <a:pt x="48521" y="857250"/>
                  </a:moveTo>
                  <a:lnTo>
                    <a:pt x="10787" y="857250"/>
                  </a:lnTo>
                  <a:cubicBezTo>
                    <a:pt x="4829" y="857250"/>
                    <a:pt x="0" y="852421"/>
                    <a:pt x="0" y="846464"/>
                  </a:cubicBezTo>
                  <a:lnTo>
                    <a:pt x="0" y="622455"/>
                  </a:lnTo>
                  <a:cubicBezTo>
                    <a:pt x="0" y="616498"/>
                    <a:pt x="4829" y="611669"/>
                    <a:pt x="10787" y="611669"/>
                  </a:cubicBezTo>
                  <a:lnTo>
                    <a:pt x="48521" y="611669"/>
                  </a:lnTo>
                  <a:cubicBezTo>
                    <a:pt x="54478" y="611669"/>
                    <a:pt x="59307" y="616498"/>
                    <a:pt x="59307" y="622455"/>
                  </a:cubicBezTo>
                  <a:lnTo>
                    <a:pt x="59308" y="846464"/>
                  </a:lnTo>
                  <a:cubicBezTo>
                    <a:pt x="59307" y="852421"/>
                    <a:pt x="54478" y="857250"/>
                    <a:pt x="48521" y="857250"/>
                  </a:cubicBezTo>
                  <a:close/>
                </a:path>
              </a:pathLst>
            </a:custGeom>
            <a:solidFill>
              <a:schemeClr val="tx2"/>
            </a:solidFill>
            <a:ln w="9525" cap="flat">
              <a:noFill/>
              <a:prstDash val="solid"/>
              <a:miter/>
            </a:ln>
          </p:spPr>
          <p:txBody>
            <a:bodyPr rtlCol="0" anchor="ctr"/>
            <a:lstStyle/>
            <a:p>
              <a:endParaRPr lang="en-GB"/>
            </a:p>
          </p:txBody>
        </p:sp>
        <p:sp>
          <p:nvSpPr>
            <p:cNvPr id="93" name="TextBox 92">
              <a:extLst>
                <a:ext uri="{FF2B5EF4-FFF2-40B4-BE49-F238E27FC236}">
                  <a16:creationId xmlns:a16="http://schemas.microsoft.com/office/drawing/2014/main" id="{A03A96D0-7C12-4A4F-83CC-07CF14AD023E}"/>
                </a:ext>
              </a:extLst>
            </p:cNvPr>
            <p:cNvSpPr txBox="1"/>
            <p:nvPr/>
          </p:nvSpPr>
          <p:spPr>
            <a:xfrm>
              <a:off x="5520029" y="5773122"/>
              <a:ext cx="506928" cy="138499"/>
            </a:xfrm>
            <a:prstGeom prst="rect">
              <a:avLst/>
            </a:prstGeom>
            <a:noFill/>
          </p:spPr>
          <p:txBody>
            <a:bodyPr wrap="square" lIns="0" tIns="0" rIns="0" bIns="0" rtlCol="0">
              <a:spAutoFit/>
            </a:bodyPr>
            <a:lstStyle>
              <a:defPPr>
                <a:defRPr lang="en-US"/>
              </a:defPPr>
              <a:lvl1pPr algn="ctr">
                <a:defRPr sz="900">
                  <a:latin typeface="+mj-lt"/>
                </a:defRPr>
              </a:lvl1pPr>
            </a:lstStyle>
            <a:p>
              <a:r>
                <a:rPr lang="en-GB"/>
                <a:t>Services</a:t>
              </a:r>
            </a:p>
          </p:txBody>
        </p:sp>
      </p:grpSp>
      <p:sp>
        <p:nvSpPr>
          <p:cNvPr id="59" name="Rectangle 58">
            <a:extLst>
              <a:ext uri="{FF2B5EF4-FFF2-40B4-BE49-F238E27FC236}">
                <a16:creationId xmlns:a16="http://schemas.microsoft.com/office/drawing/2014/main" id="{08A39C34-831C-4C72-BD60-1D82C4BB5792}"/>
              </a:ext>
            </a:extLst>
          </p:cNvPr>
          <p:cNvSpPr/>
          <p:nvPr/>
        </p:nvSpPr>
        <p:spPr bwMode="auto">
          <a:xfrm>
            <a:off x="351267" y="1833134"/>
            <a:ext cx="4188392" cy="4300995"/>
          </a:xfrm>
          <a:prstGeom prst="rect">
            <a:avLst/>
          </a:prstGeom>
          <a:solidFill>
            <a:schemeClr val="bg2">
              <a:lumMod val="20000"/>
              <a:lumOff val="80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graphicFrame>
        <p:nvGraphicFramePr>
          <p:cNvPr id="51" name="Chart 50">
            <a:extLst>
              <a:ext uri="{FF2B5EF4-FFF2-40B4-BE49-F238E27FC236}">
                <a16:creationId xmlns:a16="http://schemas.microsoft.com/office/drawing/2014/main" id="{494DE428-535E-4838-9607-BB7E9822E624}"/>
              </a:ext>
            </a:extLst>
          </p:cNvPr>
          <p:cNvGraphicFramePr/>
          <p:nvPr>
            <p:extLst>
              <p:ext uri="{D42A27DB-BD31-4B8C-83A1-F6EECF244321}">
                <p14:modId xmlns:p14="http://schemas.microsoft.com/office/powerpoint/2010/main" val="2178564589"/>
              </p:ext>
            </p:extLst>
          </p:nvPr>
        </p:nvGraphicFramePr>
        <p:xfrm>
          <a:off x="616375" y="2106139"/>
          <a:ext cx="3684548" cy="3001240"/>
        </p:xfrm>
        <a:graphic>
          <a:graphicData uri="http://schemas.openxmlformats.org/drawingml/2006/chart">
            <c:chart xmlns:c="http://schemas.openxmlformats.org/drawingml/2006/chart" xmlns:r="http://schemas.openxmlformats.org/officeDocument/2006/relationships" r:id="rId31"/>
          </a:graphicData>
        </a:graphic>
      </p:graphicFrame>
      <p:sp>
        <p:nvSpPr>
          <p:cNvPr id="18" name="ZoneTexte 17"/>
          <p:cNvSpPr txBox="1"/>
          <p:nvPr/>
        </p:nvSpPr>
        <p:spPr>
          <a:xfrm>
            <a:off x="1830288" y="3494781"/>
            <a:ext cx="1349958" cy="738664"/>
          </a:xfrm>
          <a:prstGeom prst="rect">
            <a:avLst/>
          </a:prstGeom>
          <a:noFill/>
        </p:spPr>
        <p:txBody>
          <a:bodyPr wrap="square" rtlCol="0">
            <a:spAutoFit/>
          </a:bodyPr>
          <a:lstStyle/>
          <a:p>
            <a:pPr algn="ctr"/>
            <a:r>
              <a:rPr lang="en-GB" sz="1050" dirty="0">
                <a:latin typeface="Trebuchet MS" panose="020B0603020202020204" pitchFamily="34" charset="0"/>
              </a:rPr>
              <a:t>37.5m€ revenue of </a:t>
            </a:r>
            <a:r>
              <a:rPr lang="en-GB" sz="1050" dirty="0" err="1">
                <a:latin typeface="Trebuchet MS" panose="020B0603020202020204" pitchFamily="34" charset="0"/>
              </a:rPr>
              <a:t>Altares</a:t>
            </a:r>
            <a:r>
              <a:rPr lang="en-GB" sz="1050" dirty="0">
                <a:latin typeface="Trebuchet MS" panose="020B0603020202020204" pitchFamily="34" charset="0"/>
              </a:rPr>
              <a:t> in France in 2019 (DPB</a:t>
            </a:r>
            <a:r>
              <a:rPr lang="en-GB" sz="1050" baseline="30000" dirty="0">
                <a:latin typeface="Trebuchet MS" panose="020B0603020202020204" pitchFamily="34" charset="0"/>
              </a:rPr>
              <a:t>1</a:t>
            </a:r>
            <a:r>
              <a:rPr lang="en-GB" sz="1050" dirty="0">
                <a:latin typeface="Trebuchet MS" panose="020B0603020202020204" pitchFamily="34" charset="0"/>
              </a:rPr>
              <a:t> excluded)</a:t>
            </a:r>
          </a:p>
        </p:txBody>
      </p:sp>
      <p:grpSp>
        <p:nvGrpSpPr>
          <p:cNvPr id="20" name="Group 4"/>
          <p:cNvGrpSpPr>
            <a:grpSpLocks noChangeAspect="1"/>
          </p:cNvGrpSpPr>
          <p:nvPr/>
        </p:nvGrpSpPr>
        <p:grpSpPr bwMode="auto">
          <a:xfrm>
            <a:off x="2383995" y="3099772"/>
            <a:ext cx="242545" cy="279311"/>
            <a:chOff x="-16" y="15"/>
            <a:chExt cx="72" cy="77"/>
          </a:xfrm>
          <a:solidFill>
            <a:schemeClr val="tx1"/>
          </a:solidFill>
        </p:grpSpPr>
        <p:sp>
          <p:nvSpPr>
            <p:cNvPr id="22" name="Rectangle 5"/>
            <p:cNvSpPr>
              <a:spLocks noChangeArrowheads="1"/>
            </p:cNvSpPr>
            <p:nvPr/>
          </p:nvSpPr>
          <p:spPr bwMode="auto">
            <a:xfrm>
              <a:off x="-16" y="78"/>
              <a:ext cx="15" cy="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Rectangle 6"/>
            <p:cNvSpPr>
              <a:spLocks noChangeArrowheads="1"/>
            </p:cNvSpPr>
            <p:nvPr/>
          </p:nvSpPr>
          <p:spPr bwMode="auto">
            <a:xfrm>
              <a:off x="3" y="68"/>
              <a:ext cx="15"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Rectangle 7"/>
            <p:cNvSpPr>
              <a:spLocks noChangeArrowheads="1"/>
            </p:cNvSpPr>
            <p:nvPr/>
          </p:nvSpPr>
          <p:spPr bwMode="auto">
            <a:xfrm>
              <a:off x="23" y="58"/>
              <a:ext cx="14"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Rectangle 8"/>
            <p:cNvSpPr>
              <a:spLocks noChangeArrowheads="1"/>
            </p:cNvSpPr>
            <p:nvPr/>
          </p:nvSpPr>
          <p:spPr bwMode="auto">
            <a:xfrm>
              <a:off x="42" y="49"/>
              <a:ext cx="14" cy="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9"/>
            <p:cNvSpPr>
              <a:spLocks/>
            </p:cNvSpPr>
            <p:nvPr/>
          </p:nvSpPr>
          <p:spPr bwMode="auto">
            <a:xfrm>
              <a:off x="-11" y="15"/>
              <a:ext cx="58" cy="48"/>
            </a:xfrm>
            <a:custGeom>
              <a:avLst/>
              <a:gdLst>
                <a:gd name="T0" fmla="*/ 58 w 58"/>
                <a:gd name="T1" fmla="*/ 0 h 48"/>
                <a:gd name="T2" fmla="*/ 34 w 58"/>
                <a:gd name="T3" fmla="*/ 0 h 48"/>
                <a:gd name="T4" fmla="*/ 41 w 58"/>
                <a:gd name="T5" fmla="*/ 7 h 48"/>
                <a:gd name="T6" fmla="*/ 0 w 58"/>
                <a:gd name="T7" fmla="*/ 48 h 48"/>
                <a:gd name="T8" fmla="*/ 50 w 58"/>
                <a:gd name="T9" fmla="*/ 17 h 48"/>
                <a:gd name="T10" fmla="*/ 58 w 58"/>
                <a:gd name="T11" fmla="*/ 24 h 48"/>
                <a:gd name="T12" fmla="*/ 58 w 58"/>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58" h="48">
                  <a:moveTo>
                    <a:pt x="58" y="0"/>
                  </a:moveTo>
                  <a:lnTo>
                    <a:pt x="34" y="0"/>
                  </a:lnTo>
                  <a:lnTo>
                    <a:pt x="41" y="7"/>
                  </a:lnTo>
                  <a:lnTo>
                    <a:pt x="0" y="48"/>
                  </a:lnTo>
                  <a:lnTo>
                    <a:pt x="50" y="17"/>
                  </a:lnTo>
                  <a:lnTo>
                    <a:pt x="58" y="24"/>
                  </a:lnTo>
                  <a:lnTo>
                    <a:pt x="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 name="ZoneTexte 27"/>
          <p:cNvSpPr txBox="1"/>
          <p:nvPr/>
        </p:nvSpPr>
        <p:spPr>
          <a:xfrm>
            <a:off x="340584" y="1210415"/>
            <a:ext cx="4263145" cy="600164"/>
          </a:xfrm>
          <a:prstGeom prst="rect">
            <a:avLst/>
          </a:prstGeom>
          <a:noFill/>
        </p:spPr>
        <p:txBody>
          <a:bodyPr wrap="square" rtlCol="0">
            <a:spAutoFit/>
          </a:bodyPr>
          <a:lstStyle/>
          <a:p>
            <a:r>
              <a:rPr lang="en-GB" sz="1100" dirty="0" err="1">
                <a:latin typeface="Trebuchet MS" panose="020B0603020202020204" pitchFamily="34" charset="0"/>
              </a:rPr>
              <a:t>Altares</a:t>
            </a:r>
            <a:r>
              <a:rPr lang="en-GB" sz="1100" dirty="0">
                <a:latin typeface="Trebuchet MS" panose="020B0603020202020204" pitchFamily="34" charset="0"/>
              </a:rPr>
              <a:t> revenue are </a:t>
            </a:r>
            <a:r>
              <a:rPr lang="en-GB" sz="1100" dirty="0">
                <a:solidFill>
                  <a:schemeClr val="tx2"/>
                </a:solidFill>
                <a:latin typeface="Trebuchet MS" panose="020B0603020202020204" pitchFamily="34" charset="0"/>
              </a:rPr>
              <a:t>focused on key accounts</a:t>
            </a:r>
            <a:r>
              <a:rPr lang="en-GB" sz="1100" dirty="0">
                <a:latin typeface="Trebuchet MS" panose="020B0603020202020204" pitchFamily="34" charset="0"/>
              </a:rPr>
              <a:t>, including </a:t>
            </a:r>
            <a:r>
              <a:rPr lang="en-GB" sz="1100" dirty="0">
                <a:solidFill>
                  <a:schemeClr val="tx2"/>
                </a:solidFill>
                <a:latin typeface="Trebuchet MS" panose="020B0603020202020204" pitchFamily="34" charset="0"/>
              </a:rPr>
              <a:t>90% of CAC40 companies </a:t>
            </a:r>
            <a:r>
              <a:rPr lang="en-GB" sz="1100" dirty="0">
                <a:latin typeface="Trebuchet MS" panose="020B0603020202020204" pitchFamily="34" charset="0"/>
              </a:rPr>
              <a:t>which allows a</a:t>
            </a:r>
            <a:r>
              <a:rPr lang="en-GB" sz="1100" dirty="0">
                <a:solidFill>
                  <a:schemeClr val="tx2"/>
                </a:solidFill>
                <a:latin typeface="Trebuchet MS" panose="020B0603020202020204" pitchFamily="34" charset="0"/>
              </a:rPr>
              <a:t> strong resilience </a:t>
            </a:r>
            <a:r>
              <a:rPr lang="en-GB" sz="1100" dirty="0">
                <a:latin typeface="Trebuchet MS" panose="020B0603020202020204" pitchFamily="34" charset="0"/>
              </a:rPr>
              <a:t>thanks to their </a:t>
            </a:r>
            <a:r>
              <a:rPr lang="en-GB" sz="1100" dirty="0">
                <a:solidFill>
                  <a:schemeClr val="tx2"/>
                </a:solidFill>
                <a:latin typeface="Trebuchet MS" panose="020B0603020202020204" pitchFamily="34" charset="0"/>
              </a:rPr>
              <a:t>aversion</a:t>
            </a:r>
            <a:r>
              <a:rPr lang="en-GB" sz="1100" dirty="0">
                <a:latin typeface="Trebuchet MS" panose="020B0603020202020204" pitchFamily="34" charset="0"/>
              </a:rPr>
              <a:t> </a:t>
            </a:r>
            <a:r>
              <a:rPr lang="en-GB" sz="1100" dirty="0">
                <a:solidFill>
                  <a:schemeClr val="tx2"/>
                </a:solidFill>
                <a:latin typeface="Trebuchet MS" panose="020B0603020202020204" pitchFamily="34" charset="0"/>
              </a:rPr>
              <a:t>change</a:t>
            </a:r>
            <a:r>
              <a:rPr lang="en-GB" sz="1100" dirty="0">
                <a:latin typeface="Trebuchet MS" panose="020B0603020202020204" pitchFamily="34" charset="0"/>
              </a:rPr>
              <a:t>…</a:t>
            </a:r>
          </a:p>
        </p:txBody>
      </p:sp>
      <p:cxnSp>
        <p:nvCxnSpPr>
          <p:cNvPr id="57" name="Connecteur droit 208">
            <a:extLst>
              <a:ext uri="{FF2B5EF4-FFF2-40B4-BE49-F238E27FC236}">
                <a16:creationId xmlns:a16="http://schemas.microsoft.com/office/drawing/2014/main" id="{48699BEA-6F6A-469B-9D5B-5BF15083593B}"/>
              </a:ext>
            </a:extLst>
          </p:cNvPr>
          <p:cNvCxnSpPr>
            <a:cxnSpLocks/>
          </p:cNvCxnSpPr>
          <p:nvPr/>
        </p:nvCxnSpPr>
        <p:spPr bwMode="auto">
          <a:xfrm>
            <a:off x="287197" y="1015628"/>
            <a:ext cx="43165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8" name="Rectangle 84">
            <a:extLst>
              <a:ext uri="{FF2B5EF4-FFF2-40B4-BE49-F238E27FC236}">
                <a16:creationId xmlns:a16="http://schemas.microsoft.com/office/drawing/2014/main" id="{55A4685E-E8BA-4E91-A20B-7A3A53BBD80C}"/>
              </a:ext>
            </a:extLst>
          </p:cNvPr>
          <p:cNvSpPr/>
          <p:nvPr/>
        </p:nvSpPr>
        <p:spPr bwMode="auto">
          <a:xfrm>
            <a:off x="1137097" y="815523"/>
            <a:ext cx="2616733" cy="379683"/>
          </a:xfrm>
          <a:prstGeom prst="rect">
            <a:avLst/>
          </a:prstGeom>
          <a:solidFill>
            <a:schemeClr val="bg1"/>
          </a:solidFill>
        </p:spPr>
        <p:txBody>
          <a:bodyPr wrap="square" rtlCol="0">
            <a:noAutofit/>
          </a:bodyPr>
          <a:lstStyle/>
          <a:p>
            <a:pPr algn="ctr"/>
            <a:r>
              <a:rPr lang="en-GB" sz="1100" dirty="0" err="1">
                <a:latin typeface="Trebuchet MS" panose="020B0603020202020204" pitchFamily="34" charset="0"/>
              </a:rPr>
              <a:t>Altares</a:t>
            </a:r>
            <a:r>
              <a:rPr lang="en-GB" sz="1100" dirty="0">
                <a:latin typeface="Trebuchet MS" panose="020B0603020202020204" pitchFamily="34" charset="0"/>
              </a:rPr>
              <a:t>' revenue split per customer size, France (2019)</a:t>
            </a:r>
          </a:p>
        </p:txBody>
      </p:sp>
      <p:sp>
        <p:nvSpPr>
          <p:cNvPr id="52" name="ZoneTexte 11">
            <a:extLst>
              <a:ext uri="{FF2B5EF4-FFF2-40B4-BE49-F238E27FC236}">
                <a16:creationId xmlns:a16="http://schemas.microsoft.com/office/drawing/2014/main" id="{FC5E987C-8836-40C4-8EE3-839993E6D91B}"/>
              </a:ext>
            </a:extLst>
          </p:cNvPr>
          <p:cNvSpPr txBox="1"/>
          <p:nvPr/>
        </p:nvSpPr>
        <p:spPr>
          <a:xfrm>
            <a:off x="3575345" y="3722204"/>
            <a:ext cx="735811" cy="415498"/>
          </a:xfrm>
          <a:prstGeom prst="rect">
            <a:avLst/>
          </a:prstGeom>
          <a:noFill/>
        </p:spPr>
        <p:txBody>
          <a:bodyPr wrap="square" rtlCol="0">
            <a:spAutoFit/>
          </a:bodyPr>
          <a:lstStyle/>
          <a:p>
            <a:pPr algn="ctr"/>
            <a:r>
              <a:rPr lang="en-GB" sz="1050">
                <a:latin typeface="Trebuchet MS" panose="020B0603020202020204" pitchFamily="34" charset="0"/>
              </a:rPr>
              <a:t>Key accounts</a:t>
            </a:r>
          </a:p>
        </p:txBody>
      </p:sp>
      <p:sp>
        <p:nvSpPr>
          <p:cNvPr id="53" name="ZoneTexte 11">
            <a:extLst>
              <a:ext uri="{FF2B5EF4-FFF2-40B4-BE49-F238E27FC236}">
                <a16:creationId xmlns:a16="http://schemas.microsoft.com/office/drawing/2014/main" id="{58A3AFCF-848A-4253-9920-71B15E016D4B}"/>
              </a:ext>
            </a:extLst>
          </p:cNvPr>
          <p:cNvSpPr txBox="1"/>
          <p:nvPr/>
        </p:nvSpPr>
        <p:spPr>
          <a:xfrm>
            <a:off x="923655" y="2435123"/>
            <a:ext cx="735811" cy="415498"/>
          </a:xfrm>
          <a:prstGeom prst="rect">
            <a:avLst/>
          </a:prstGeom>
          <a:noFill/>
        </p:spPr>
        <p:txBody>
          <a:bodyPr wrap="square" rtlCol="0">
            <a:spAutoFit/>
          </a:bodyPr>
          <a:lstStyle/>
          <a:p>
            <a:pPr algn="ctr"/>
            <a:r>
              <a:rPr lang="en-GB" sz="1050">
                <a:latin typeface="Trebuchet MS" panose="020B0603020202020204" pitchFamily="34" charset="0"/>
              </a:rPr>
              <a:t>Mid market</a:t>
            </a:r>
          </a:p>
        </p:txBody>
      </p:sp>
      <p:sp>
        <p:nvSpPr>
          <p:cNvPr id="54" name="ZoneTexte 11">
            <a:extLst>
              <a:ext uri="{FF2B5EF4-FFF2-40B4-BE49-F238E27FC236}">
                <a16:creationId xmlns:a16="http://schemas.microsoft.com/office/drawing/2014/main" id="{15EE320F-4848-4AB1-B006-C9C88D583C91}"/>
              </a:ext>
            </a:extLst>
          </p:cNvPr>
          <p:cNvSpPr txBox="1"/>
          <p:nvPr/>
        </p:nvSpPr>
        <p:spPr>
          <a:xfrm>
            <a:off x="2029745" y="2022598"/>
            <a:ext cx="735811" cy="415498"/>
          </a:xfrm>
          <a:prstGeom prst="rect">
            <a:avLst/>
          </a:prstGeom>
          <a:noFill/>
        </p:spPr>
        <p:txBody>
          <a:bodyPr wrap="square" rtlCol="0">
            <a:spAutoFit/>
          </a:bodyPr>
          <a:lstStyle/>
          <a:p>
            <a:pPr algn="ctr"/>
            <a:r>
              <a:rPr lang="en-GB" sz="1050">
                <a:latin typeface="Trebuchet MS" panose="020B0603020202020204" pitchFamily="34" charset="0"/>
              </a:rPr>
              <a:t>Mass market</a:t>
            </a:r>
          </a:p>
        </p:txBody>
      </p:sp>
      <p:sp>
        <p:nvSpPr>
          <p:cNvPr id="4" name="Rectangle 3">
            <a:extLst>
              <a:ext uri="{FF2B5EF4-FFF2-40B4-BE49-F238E27FC236}">
                <a16:creationId xmlns:a16="http://schemas.microsoft.com/office/drawing/2014/main" id="{39B90EC0-A383-4BBB-BE7C-28BF25BE224A}"/>
              </a:ext>
            </a:extLst>
          </p:cNvPr>
          <p:cNvSpPr/>
          <p:nvPr/>
        </p:nvSpPr>
        <p:spPr bwMode="auto">
          <a:xfrm>
            <a:off x="1182205" y="4898606"/>
            <a:ext cx="2632647" cy="936486"/>
          </a:xfrm>
          <a:prstGeom prst="rect">
            <a:avLst/>
          </a:prstGeom>
          <a:solidFill>
            <a:schemeClr val="bg1"/>
          </a:solidFill>
          <a:ln w="9525" cap="flat" cmpd="sng" algn="ctr">
            <a:solidFill>
              <a:schemeClr val="bg2">
                <a:lumMod val="40000"/>
                <a:lumOff val="60000"/>
              </a:schemeClr>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216000" tIns="45720" rIns="36000" bIns="45720" numCol="1" rtlCol="0" anchor="ctr" anchorCtr="0" compatLnSpc="1">
            <a:prstTxWarp prst="textNoShape">
              <a:avLst/>
            </a:prstTxWarp>
          </a:bodyPr>
          <a:lstStyle/>
          <a:p>
            <a:r>
              <a:rPr lang="en-GB" sz="1000" i="1">
                <a:latin typeface="Trebuchet MS" panose="020B0603020202020204" pitchFamily="34" charset="0"/>
              </a:rPr>
              <a:t>“For </a:t>
            </a:r>
            <a:r>
              <a:rPr lang="en-GB" sz="1000" i="1">
                <a:solidFill>
                  <a:schemeClr val="tx2"/>
                </a:solidFill>
                <a:latin typeface="Trebuchet MS" panose="020B0603020202020204" pitchFamily="34" charset="0"/>
              </a:rPr>
              <a:t>big companies </a:t>
            </a:r>
            <a:r>
              <a:rPr lang="en-GB" sz="1000" i="1">
                <a:latin typeface="Trebuchet MS" panose="020B0603020202020204" pitchFamily="34" charset="0"/>
              </a:rPr>
              <a:t>change </a:t>
            </a:r>
            <a:r>
              <a:rPr lang="en-GB" sz="1000" i="1">
                <a:solidFill>
                  <a:schemeClr val="tx2"/>
                </a:solidFill>
                <a:latin typeface="Trebuchet MS" panose="020B0603020202020204" pitchFamily="34" charset="0"/>
              </a:rPr>
              <a:t>are very expensive </a:t>
            </a:r>
            <a:r>
              <a:rPr lang="en-GB" sz="1000" i="1">
                <a:latin typeface="Trebuchet MS" panose="020B0603020202020204" pitchFamily="34" charset="0"/>
              </a:rPr>
              <a:t>because of data infiltration all along their system: they renew their contracts”</a:t>
            </a:r>
          </a:p>
          <a:p>
            <a:r>
              <a:rPr lang="en-GB" sz="1000">
                <a:latin typeface="Trebuchet MS" panose="020B0603020202020204" pitchFamily="34" charset="0"/>
              </a:rPr>
              <a:t>Managing Director France, Italy &amp; Benelux </a:t>
            </a:r>
            <a:r>
              <a:rPr kumimoji="0" lang="en-GB" sz="1000" b="0" i="0" u="none" strike="noStrike" cap="none" normalizeH="0" baseline="0">
                <a:ln>
                  <a:noFill/>
                </a:ln>
                <a:effectLst/>
                <a:latin typeface="Trebuchet MS" panose="020B0603020202020204" pitchFamily="34" charset="0"/>
              </a:rPr>
              <a:t>at </a:t>
            </a:r>
            <a:r>
              <a:rPr kumimoji="0" lang="en-GB" sz="1000" b="0" i="0" u="none" strike="noStrike" cap="none" normalizeH="0" baseline="0" err="1">
                <a:ln>
                  <a:noFill/>
                </a:ln>
                <a:effectLst/>
                <a:latin typeface="Trebuchet MS" panose="020B0603020202020204" pitchFamily="34" charset="0"/>
              </a:rPr>
              <a:t>Creditsafe</a:t>
            </a:r>
            <a:endParaRPr kumimoji="0" lang="en-GB" sz="1000" b="0" i="0" u="none" strike="noStrike" cap="none" normalizeH="0" baseline="0">
              <a:ln>
                <a:noFill/>
              </a:ln>
              <a:effectLst/>
              <a:latin typeface="Trebuchet MS" panose="020B0603020202020204" pitchFamily="34" charset="0"/>
            </a:endParaRPr>
          </a:p>
        </p:txBody>
      </p:sp>
      <p:sp>
        <p:nvSpPr>
          <p:cNvPr id="6" name="Freeform 663">
            <a:extLst>
              <a:ext uri="{FF2B5EF4-FFF2-40B4-BE49-F238E27FC236}">
                <a16:creationId xmlns:a16="http://schemas.microsoft.com/office/drawing/2014/main" id="{DCF1CFB1-0F64-4A53-B39E-03E018A31A72}"/>
              </a:ext>
            </a:extLst>
          </p:cNvPr>
          <p:cNvSpPr>
            <a:spLocks noChangeAspect="1" noEditPoints="1"/>
          </p:cNvSpPr>
          <p:nvPr/>
        </p:nvSpPr>
        <p:spPr bwMode="auto">
          <a:xfrm>
            <a:off x="1043579" y="5232272"/>
            <a:ext cx="277251" cy="269155"/>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2" name="ZoneTexte 11">
            <a:extLst>
              <a:ext uri="{FF2B5EF4-FFF2-40B4-BE49-F238E27FC236}">
                <a16:creationId xmlns:a16="http://schemas.microsoft.com/office/drawing/2014/main" id="{CA2BB59F-4E04-4200-8B3F-DBDB7F14DE48}"/>
              </a:ext>
            </a:extLst>
          </p:cNvPr>
          <p:cNvSpPr txBox="1"/>
          <p:nvPr/>
        </p:nvSpPr>
        <p:spPr>
          <a:xfrm>
            <a:off x="701876" y="3850406"/>
            <a:ext cx="735811" cy="253916"/>
          </a:xfrm>
          <a:prstGeom prst="rect">
            <a:avLst/>
          </a:prstGeom>
          <a:noFill/>
        </p:spPr>
        <p:txBody>
          <a:bodyPr wrap="square" rtlCol="0">
            <a:spAutoFit/>
          </a:bodyPr>
          <a:lstStyle/>
          <a:p>
            <a:pPr algn="ctr"/>
            <a:r>
              <a:rPr lang="en-GB" sz="1050">
                <a:latin typeface="Trebuchet MS" panose="020B0603020202020204" pitchFamily="34" charset="0"/>
              </a:rPr>
              <a:t>Public</a:t>
            </a:r>
          </a:p>
        </p:txBody>
      </p:sp>
      <p:sp>
        <p:nvSpPr>
          <p:cNvPr id="35" name="Triangle isocèle 34">
            <a:extLst>
              <a:ext uri="{FF2B5EF4-FFF2-40B4-BE49-F238E27FC236}">
                <a16:creationId xmlns:a16="http://schemas.microsoft.com/office/drawing/2014/main" id="{889C8651-EFD3-4CD0-98E6-81A6445CCCC2}"/>
              </a:ext>
            </a:extLst>
          </p:cNvPr>
          <p:cNvSpPr/>
          <p:nvPr/>
        </p:nvSpPr>
        <p:spPr bwMode="auto">
          <a:xfrm rot="5400000">
            <a:off x="4769288" y="3880409"/>
            <a:ext cx="545903" cy="12318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aphicFrame>
        <p:nvGraphicFramePr>
          <p:cNvPr id="44" name="Chart 43">
            <a:extLst>
              <a:ext uri="{FF2B5EF4-FFF2-40B4-BE49-F238E27FC236}">
                <a16:creationId xmlns:a16="http://schemas.microsoft.com/office/drawing/2014/main" id="{E88B5E8E-9EBC-411F-A802-C6D759EAC366}"/>
              </a:ext>
            </a:extLst>
          </p:cNvPr>
          <p:cNvGraphicFramePr/>
          <p:nvPr>
            <p:extLst>
              <p:ext uri="{D42A27DB-BD31-4B8C-83A1-F6EECF244321}">
                <p14:modId xmlns:p14="http://schemas.microsoft.com/office/powerpoint/2010/main" val="1922471642"/>
              </p:ext>
            </p:extLst>
          </p:nvPr>
        </p:nvGraphicFramePr>
        <p:xfrm>
          <a:off x="5574892" y="4597162"/>
          <a:ext cx="4885025" cy="1986428"/>
        </p:xfrm>
        <a:graphic>
          <a:graphicData uri="http://schemas.openxmlformats.org/drawingml/2006/chart">
            <c:chart xmlns:c="http://schemas.openxmlformats.org/drawingml/2006/chart" xmlns:r="http://schemas.openxmlformats.org/officeDocument/2006/relationships" r:id="rId32"/>
          </a:graphicData>
        </a:graphic>
      </p:graphicFrame>
      <p:sp>
        <p:nvSpPr>
          <p:cNvPr id="45" name="Rectangle 44">
            <a:extLst>
              <a:ext uri="{FF2B5EF4-FFF2-40B4-BE49-F238E27FC236}">
                <a16:creationId xmlns:a16="http://schemas.microsoft.com/office/drawing/2014/main" id="{E5148C1C-263F-46D4-8FF8-628F14DC88BA}"/>
              </a:ext>
            </a:extLst>
          </p:cNvPr>
          <p:cNvSpPr/>
          <p:nvPr/>
        </p:nvSpPr>
        <p:spPr bwMode="auto">
          <a:xfrm>
            <a:off x="5430254" y="5104715"/>
            <a:ext cx="996454" cy="97132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rPr>
              <a:t>Sectorial repartition of 2019 90% billings: </a:t>
            </a:r>
          </a:p>
        </p:txBody>
      </p:sp>
      <p:sp>
        <p:nvSpPr>
          <p:cNvPr id="129" name="Rectangle 84">
            <a:extLst>
              <a:ext uri="{FF2B5EF4-FFF2-40B4-BE49-F238E27FC236}">
                <a16:creationId xmlns:a16="http://schemas.microsoft.com/office/drawing/2014/main" id="{837A178A-58DE-412E-AED3-8A2590F16DD6}"/>
              </a:ext>
            </a:extLst>
          </p:cNvPr>
          <p:cNvSpPr/>
          <p:nvPr/>
        </p:nvSpPr>
        <p:spPr bwMode="auto">
          <a:xfrm>
            <a:off x="6209770" y="815523"/>
            <a:ext cx="2616733" cy="379683"/>
          </a:xfrm>
          <a:prstGeom prst="rect">
            <a:avLst/>
          </a:prstGeom>
          <a:solidFill>
            <a:schemeClr val="bg1"/>
          </a:solidFill>
        </p:spPr>
        <p:txBody>
          <a:bodyPr wrap="square" rtlCol="0">
            <a:noAutofit/>
          </a:bodyPr>
          <a:lstStyle/>
          <a:p>
            <a:pPr algn="ctr"/>
            <a:r>
              <a:rPr lang="en-GB" sz="1100" dirty="0" err="1">
                <a:latin typeface="Trebuchet MS" panose="020B0603020202020204" pitchFamily="34" charset="0"/>
              </a:rPr>
              <a:t>Altares</a:t>
            </a:r>
            <a:r>
              <a:rPr lang="en-GB" sz="1100" dirty="0">
                <a:latin typeface="Trebuchet MS" panose="020B0603020202020204" pitchFamily="34" charset="0"/>
              </a:rPr>
              <a:t>’ billing split per customers segmentation, France (2019)</a:t>
            </a:r>
          </a:p>
        </p:txBody>
      </p:sp>
      <p:sp>
        <p:nvSpPr>
          <p:cNvPr id="53249" name="Espace réservé du texte 53248">
            <a:extLst>
              <a:ext uri="{FF2B5EF4-FFF2-40B4-BE49-F238E27FC236}">
                <a16:creationId xmlns:a16="http://schemas.microsoft.com/office/drawing/2014/main" id="{DA3848B2-E478-4EA4-87DB-CE87034C475D}"/>
              </a:ext>
            </a:extLst>
          </p:cNvPr>
          <p:cNvSpPr>
            <a:spLocks noGrp="1"/>
          </p:cNvSpPr>
          <p:nvPr>
            <p:ph type="body" sz="quarter" idx="10"/>
          </p:nvPr>
        </p:nvSpPr>
        <p:spPr/>
        <p:txBody>
          <a:bodyPr/>
          <a:lstStyle/>
          <a:p>
            <a:r>
              <a:rPr lang="en-GB" sz="800" i="1" kern="0" dirty="0"/>
              <a:t>Sources: eleven research &amp; analysis, company data</a:t>
            </a:r>
          </a:p>
          <a:p>
            <a:r>
              <a:rPr lang="en-GB" sz="800" i="1" dirty="0"/>
              <a:t>1. “Division </a:t>
            </a:r>
            <a:r>
              <a:rPr lang="en-GB" sz="800" i="1" dirty="0" err="1"/>
              <a:t>Partenariats</a:t>
            </a:r>
            <a:r>
              <a:rPr lang="en-GB" sz="800" i="1" dirty="0"/>
              <a:t> </a:t>
            </a:r>
            <a:r>
              <a:rPr lang="en-GB" sz="800" i="1" dirty="0" err="1"/>
              <a:t>Bancaires</a:t>
            </a:r>
            <a:r>
              <a:rPr lang="en-GB" sz="800" i="1" dirty="0"/>
              <a:t>”: indirect distribution channel through banking partnership</a:t>
            </a:r>
          </a:p>
          <a:p>
            <a:endParaRPr lang="en-GB" sz="800" i="1" kern="0" dirty="0"/>
          </a:p>
        </p:txBody>
      </p:sp>
      <p:sp>
        <p:nvSpPr>
          <p:cNvPr id="11" name="Titre 2">
            <a:extLst>
              <a:ext uri="{FF2B5EF4-FFF2-40B4-BE49-F238E27FC236}">
                <a16:creationId xmlns:a16="http://schemas.microsoft.com/office/drawing/2014/main" id="{2929FFB8-8EC7-4093-A784-61F4B2D4FA7D}"/>
              </a:ext>
            </a:extLst>
          </p:cNvPr>
          <p:cNvSpPr txBox="1">
            <a:spLocks/>
          </p:cNvSpPr>
          <p:nvPr/>
        </p:nvSpPr>
        <p:spPr bwMode="auto">
          <a:xfrm>
            <a:off x="232364" y="147600"/>
            <a:ext cx="8335574" cy="68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1">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b="0">
                <a:latin typeface="Trebuchet MS" panose="020B0603020202020204" pitchFamily="34" charset="0"/>
              </a:rPr>
              <a:t>In</a:t>
            </a:r>
            <a:r>
              <a:rPr lang="en-GB" b="0">
                <a:solidFill>
                  <a:schemeClr val="tx2"/>
                </a:solidFill>
                <a:latin typeface="Trebuchet MS" panose="020B0603020202020204" pitchFamily="34" charset="0"/>
              </a:rPr>
              <a:t> France, </a:t>
            </a:r>
            <a:r>
              <a:rPr lang="en-GB" b="0" err="1">
                <a:latin typeface="Trebuchet MS" panose="020B0603020202020204" pitchFamily="34" charset="0"/>
              </a:rPr>
              <a:t>Altares</a:t>
            </a:r>
            <a:r>
              <a:rPr lang="en-GB" b="0">
                <a:latin typeface="Trebuchet MS" panose="020B0603020202020204" pitchFamily="34" charset="0"/>
              </a:rPr>
              <a:t> has built a </a:t>
            </a:r>
            <a:r>
              <a:rPr lang="en-GB" b="0">
                <a:solidFill>
                  <a:schemeClr val="tx2"/>
                </a:solidFill>
                <a:latin typeface="Trebuchet MS" panose="020B0603020202020204" pitchFamily="34" charset="0"/>
              </a:rPr>
              <a:t>resilient customer base</a:t>
            </a:r>
            <a:r>
              <a:rPr lang="en-GB" b="0">
                <a:latin typeface="Trebuchet MS" panose="020B0603020202020204" pitchFamily="34" charset="0"/>
              </a:rPr>
              <a:t> </a:t>
            </a:r>
            <a:r>
              <a:rPr lang="en-GB" sz="1600" b="0">
                <a:latin typeface="Trebuchet MS" panose="020B0603020202020204" pitchFamily="34" charset="0"/>
              </a:rPr>
              <a:t>including </a:t>
            </a:r>
            <a:r>
              <a:rPr lang="en-GB" sz="1600" b="0">
                <a:solidFill>
                  <a:schemeClr val="tx2"/>
                </a:solidFill>
                <a:latin typeface="Trebuchet MS" panose="020B0603020202020204" pitchFamily="34" charset="0"/>
              </a:rPr>
              <a:t>90% of CAC40 companies </a:t>
            </a:r>
            <a:r>
              <a:rPr lang="en-GB" sz="1600" b="0">
                <a:latin typeface="Trebuchet MS" panose="020B0603020202020204" pitchFamily="34" charset="0"/>
              </a:rPr>
              <a:t>from </a:t>
            </a:r>
            <a:r>
              <a:rPr lang="en-GB" sz="1600" b="0">
                <a:solidFill>
                  <a:schemeClr val="tx2"/>
                </a:solidFill>
                <a:latin typeface="Trebuchet MS" panose="020B0603020202020204" pitchFamily="34" charset="0"/>
              </a:rPr>
              <a:t>diversified economical sectors</a:t>
            </a:r>
            <a:br>
              <a:rPr lang="en-GB" b="0" kern="0">
                <a:solidFill>
                  <a:schemeClr val="tx2"/>
                </a:solidFill>
                <a:latin typeface="Trebuchet MS" panose="020B0603020202020204" pitchFamily="34" charset="0"/>
              </a:rPr>
            </a:br>
            <a:endParaRPr lang="en-GB" b="0" kern="0">
              <a:solidFill>
                <a:schemeClr val="tx2"/>
              </a:solidFill>
              <a:latin typeface="Trebuchet MS" panose="020B0603020202020204" pitchFamily="34" charset="0"/>
            </a:endParaRPr>
          </a:p>
        </p:txBody>
      </p:sp>
      <p:grpSp>
        <p:nvGrpSpPr>
          <p:cNvPr id="86" name="Groupe 85">
            <a:extLst>
              <a:ext uri="{FF2B5EF4-FFF2-40B4-BE49-F238E27FC236}">
                <a16:creationId xmlns:a16="http://schemas.microsoft.com/office/drawing/2014/main" id="{FFBB0F21-EB71-42FB-9F90-E8B9D8037253}"/>
              </a:ext>
            </a:extLst>
          </p:cNvPr>
          <p:cNvGrpSpPr/>
          <p:nvPr/>
        </p:nvGrpSpPr>
        <p:grpSpPr>
          <a:xfrm>
            <a:off x="8448150" y="-11528"/>
            <a:ext cx="1435548" cy="588143"/>
            <a:chOff x="8448150" y="-11528"/>
            <a:chExt cx="1435548" cy="588143"/>
          </a:xfrm>
        </p:grpSpPr>
        <p:sp>
          <p:nvSpPr>
            <p:cNvPr id="87" name="Rectangle : coins arrondis 199">
              <a:extLst>
                <a:ext uri="{FF2B5EF4-FFF2-40B4-BE49-F238E27FC236}">
                  <a16:creationId xmlns:a16="http://schemas.microsoft.com/office/drawing/2014/main" id="{C91FFAEF-D61B-454C-8524-49F069FAD0F7}"/>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8" name="Rectangle : coins arrondis 200">
              <a:extLst>
                <a:ext uri="{FF2B5EF4-FFF2-40B4-BE49-F238E27FC236}">
                  <a16:creationId xmlns:a16="http://schemas.microsoft.com/office/drawing/2014/main" id="{88D4EA9B-120D-4D2F-A6AD-481B071E1E37}"/>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9" name="Rectangle : coins arrondis 201">
              <a:extLst>
                <a:ext uri="{FF2B5EF4-FFF2-40B4-BE49-F238E27FC236}">
                  <a16:creationId xmlns:a16="http://schemas.microsoft.com/office/drawing/2014/main" id="{586D6ED0-CA16-4860-A40E-5912CE231ACD}"/>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0" name="ZoneTexte 18">
              <a:extLst>
                <a:ext uri="{FF2B5EF4-FFF2-40B4-BE49-F238E27FC236}">
                  <a16:creationId xmlns:a16="http://schemas.microsoft.com/office/drawing/2014/main" id="{2E1553DE-F670-4C83-8A4E-3D05BA7A92DD}"/>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94" name="Graphique 128" descr="Jauge">
              <a:extLst>
                <a:ext uri="{FF2B5EF4-FFF2-40B4-BE49-F238E27FC236}">
                  <a16:creationId xmlns:a16="http://schemas.microsoft.com/office/drawing/2014/main" id="{2A1A883A-B57D-4B29-A557-3987CB231067}"/>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8553764" y="187516"/>
              <a:ext cx="234953" cy="218224"/>
            </a:xfrm>
            <a:prstGeom prst="rect">
              <a:avLst/>
            </a:prstGeom>
            <a:effectLst/>
          </p:spPr>
        </p:pic>
        <p:pic>
          <p:nvPicPr>
            <p:cNvPr id="95" name="Graphique 90" descr="Poignée de main">
              <a:extLst>
                <a:ext uri="{FF2B5EF4-FFF2-40B4-BE49-F238E27FC236}">
                  <a16:creationId xmlns:a16="http://schemas.microsoft.com/office/drawing/2014/main" id="{A641B5D7-C3B1-429E-BECB-88840655EEA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8960868" y="152880"/>
              <a:ext cx="256313" cy="287496"/>
            </a:xfrm>
            <a:prstGeom prst="rect">
              <a:avLst/>
            </a:prstGeom>
            <a:effectLst/>
          </p:spPr>
        </p:pic>
        <p:pic>
          <p:nvPicPr>
            <p:cNvPr id="96" name="Graphique 95" descr="Mégaphone">
              <a:extLst>
                <a:ext uri="{FF2B5EF4-FFF2-40B4-BE49-F238E27FC236}">
                  <a16:creationId xmlns:a16="http://schemas.microsoft.com/office/drawing/2014/main" id="{42AA05AC-D698-49C3-AE90-5DF0B532F532}"/>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9389331" y="181519"/>
              <a:ext cx="233011" cy="216420"/>
            </a:xfrm>
            <a:prstGeom prst="rect">
              <a:avLst/>
            </a:prstGeom>
            <a:effectLst/>
          </p:spPr>
        </p:pic>
        <p:pic>
          <p:nvPicPr>
            <p:cNvPr id="97" name="Picture 2" descr="Drapeau France">
              <a:extLst>
                <a:ext uri="{FF2B5EF4-FFF2-40B4-BE49-F238E27FC236}">
                  <a16:creationId xmlns:a16="http://schemas.microsoft.com/office/drawing/2014/main" id="{3B64EF00-F21B-4F0A-AA2E-C03F38914F25}"/>
                </a:ext>
              </a:extLst>
            </p:cNvPr>
            <p:cNvPicPr>
              <a:picLocks noChangeAspect="1" noChangeArrowheads="1"/>
            </p:cNvPicPr>
            <p:nvPr/>
          </p:nvPicPr>
          <p:blipFill rotWithShape="1">
            <a:blip r:embed="rId39">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01" name="ZoneTexte 18">
              <a:extLst>
                <a:ext uri="{FF2B5EF4-FFF2-40B4-BE49-F238E27FC236}">
                  <a16:creationId xmlns:a16="http://schemas.microsoft.com/office/drawing/2014/main" id="{6C080EA2-C612-4FFC-84D5-8F8B4FC4728D}"/>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France</a:t>
              </a:r>
            </a:p>
          </p:txBody>
        </p:sp>
      </p:grpSp>
    </p:spTree>
    <p:extLst>
      <p:ext uri="{BB962C8B-B14F-4D97-AF65-F5344CB8AC3E}">
        <p14:creationId xmlns:p14="http://schemas.microsoft.com/office/powerpoint/2010/main" val="33923800"/>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2" name="Object 181" hidden="1">
            <a:extLst>
              <a:ext uri="{FF2B5EF4-FFF2-40B4-BE49-F238E27FC236}">
                <a16:creationId xmlns:a16="http://schemas.microsoft.com/office/drawing/2014/main" id="{4BCD6174-49C6-4E20-A514-156BE221CE48}"/>
              </a:ext>
            </a:extLst>
          </p:cNvPr>
          <p:cNvGraphicFramePr>
            <a:graphicFrameLocks noChangeAspect="1"/>
          </p:cNvGraphicFramePr>
          <p:nvPr>
            <p:custDataLst>
              <p:tags r:id="rId1"/>
            </p:custDataLst>
            <p:extLst>
              <p:ext uri="{D42A27DB-BD31-4B8C-83A1-F6EECF244321}">
                <p14:modId xmlns:p14="http://schemas.microsoft.com/office/powerpoint/2010/main" val="3610018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6" imgH="416" progId="TCLayout.ActiveDocument.1">
                  <p:embed/>
                </p:oleObj>
              </mc:Choice>
              <mc:Fallback>
                <p:oleObj name="think-cell Slide" r:id="rId9" imgW="416" imgH="416" progId="TCLayout.ActiveDocument.1">
                  <p:embed/>
                  <p:pic>
                    <p:nvPicPr>
                      <p:cNvPr id="182" name="Object 181" hidden="1">
                        <a:extLst>
                          <a:ext uri="{FF2B5EF4-FFF2-40B4-BE49-F238E27FC236}">
                            <a16:creationId xmlns:a16="http://schemas.microsoft.com/office/drawing/2014/main" id="{4BCD6174-49C6-4E20-A514-156BE221CE4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74" name="Rectangle 173" hidden="1">
            <a:extLst>
              <a:ext uri="{FF2B5EF4-FFF2-40B4-BE49-F238E27FC236}">
                <a16:creationId xmlns:a16="http://schemas.microsoft.com/office/drawing/2014/main" id="{80A0A4CD-BD07-4148-BB78-4601BC315E2E}"/>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graphicFrame>
        <p:nvGraphicFramePr>
          <p:cNvPr id="19" name="Chart 18">
            <a:extLst>
              <a:ext uri="{FF2B5EF4-FFF2-40B4-BE49-F238E27FC236}">
                <a16:creationId xmlns:a16="http://schemas.microsoft.com/office/drawing/2014/main" id="{AA514909-D31F-464C-8377-48EF05B2EABE}"/>
              </a:ext>
            </a:extLst>
          </p:cNvPr>
          <p:cNvGraphicFramePr/>
          <p:nvPr>
            <p:extLst>
              <p:ext uri="{D42A27DB-BD31-4B8C-83A1-F6EECF244321}">
                <p14:modId xmlns:p14="http://schemas.microsoft.com/office/powerpoint/2010/main" val="4288977594"/>
              </p:ext>
            </p:extLst>
          </p:nvPr>
        </p:nvGraphicFramePr>
        <p:xfrm>
          <a:off x="142126" y="2795725"/>
          <a:ext cx="4790049" cy="1587875"/>
        </p:xfrm>
        <a:graphic>
          <a:graphicData uri="http://schemas.openxmlformats.org/drawingml/2006/chart">
            <c:chart xmlns:c="http://schemas.openxmlformats.org/drawingml/2006/chart" xmlns:r="http://schemas.openxmlformats.org/officeDocument/2006/relationships" r:id="rId11"/>
          </a:graphicData>
        </a:graphic>
      </p:graphicFrame>
      <p:sp>
        <p:nvSpPr>
          <p:cNvPr id="7" name="Rectangle 6">
            <a:extLst>
              <a:ext uri="{FF2B5EF4-FFF2-40B4-BE49-F238E27FC236}">
                <a16:creationId xmlns:a16="http://schemas.microsoft.com/office/drawing/2014/main" id="{79009321-FBE3-482C-9BDD-6A358F09992B}"/>
              </a:ext>
            </a:extLst>
          </p:cNvPr>
          <p:cNvSpPr/>
          <p:nvPr/>
        </p:nvSpPr>
        <p:spPr bwMode="auto">
          <a:xfrm>
            <a:off x="5057369" y="1244431"/>
            <a:ext cx="4680000" cy="5527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spcBef>
                <a:spcPts val="600"/>
              </a:spcBef>
            </a:pPr>
            <a:r>
              <a:rPr lang="en-GB" sz="1000">
                <a:latin typeface="Trebuchet MS" panose="020B0603020202020204" pitchFamily="34" charset="0"/>
              </a:rPr>
              <a:t>By being positioned on more added-value services, both in terms of data quality and level of service,</a:t>
            </a:r>
            <a:r>
              <a:rPr lang="en-GB" sz="1000">
                <a:solidFill>
                  <a:schemeClr val="tx2"/>
                </a:solidFill>
                <a:latin typeface="Trebuchet MS" panose="020B0603020202020204" pitchFamily="34" charset="0"/>
              </a:rPr>
              <a:t> premium BD&amp;A players</a:t>
            </a:r>
            <a:r>
              <a:rPr lang="en-GB" sz="1000">
                <a:latin typeface="Trebuchet MS" panose="020B0603020202020204" pitchFamily="34" charset="0"/>
              </a:rPr>
              <a:t> can </a:t>
            </a:r>
            <a:r>
              <a:rPr lang="en-GB" sz="1000">
                <a:solidFill>
                  <a:schemeClr val="tx2"/>
                </a:solidFill>
                <a:latin typeface="Trebuchet MS" panose="020B0603020202020204" pitchFamily="34" charset="0"/>
              </a:rPr>
              <a:t>maintain higher-priced services </a:t>
            </a:r>
            <a:r>
              <a:rPr lang="en-GB" sz="1000">
                <a:latin typeface="Trebuchet MS" panose="020B0603020202020204" pitchFamily="34" charset="0"/>
              </a:rPr>
              <a:t>and thus address more </a:t>
            </a:r>
            <a:r>
              <a:rPr lang="en-GB" sz="1000">
                <a:solidFill>
                  <a:schemeClr val="tx2"/>
                </a:solidFill>
                <a:latin typeface="Trebuchet MS" panose="020B0603020202020204" pitchFamily="34" charset="0"/>
              </a:rPr>
              <a:t>valuable</a:t>
            </a:r>
            <a:r>
              <a:rPr lang="en-GB" sz="1000">
                <a:latin typeface="Trebuchet MS" panose="020B0603020202020204" pitchFamily="34" charset="0"/>
              </a:rPr>
              <a:t> </a:t>
            </a:r>
            <a:r>
              <a:rPr lang="en-GB" sz="1000">
                <a:solidFill>
                  <a:schemeClr val="tx2"/>
                </a:solidFill>
                <a:latin typeface="Trebuchet MS" panose="020B0603020202020204" pitchFamily="34" charset="0"/>
              </a:rPr>
              <a:t>customers</a:t>
            </a:r>
          </a:p>
        </p:txBody>
      </p:sp>
      <p:sp>
        <p:nvSpPr>
          <p:cNvPr id="2" name="Titre 1">
            <a:extLst>
              <a:ext uri="{FF2B5EF4-FFF2-40B4-BE49-F238E27FC236}">
                <a16:creationId xmlns:a16="http://schemas.microsoft.com/office/drawing/2014/main" id="{431E21A3-8E05-48D9-9A90-0ADD5759005D}"/>
              </a:ext>
            </a:extLst>
          </p:cNvPr>
          <p:cNvSpPr>
            <a:spLocks noGrp="1"/>
          </p:cNvSpPr>
          <p:nvPr>
            <p:ph type="title"/>
          </p:nvPr>
        </p:nvSpPr>
        <p:spPr>
          <a:xfrm>
            <a:off x="165600" y="147600"/>
            <a:ext cx="8435879" cy="684000"/>
          </a:xfrm>
        </p:spPr>
        <p:txBody>
          <a:bodyPr/>
          <a:lstStyle/>
          <a:p>
            <a:r>
              <a:rPr lang="en-GB">
                <a:latin typeface="Trebuchet MS" panose="020B0603020202020204" pitchFamily="34" charset="0"/>
              </a:rPr>
              <a:t>The </a:t>
            </a:r>
            <a:r>
              <a:rPr lang="en-GB">
                <a:solidFill>
                  <a:schemeClr val="tx2"/>
                </a:solidFill>
                <a:latin typeface="Trebuchet MS" panose="020B0603020202020204" pitchFamily="34" charset="0"/>
              </a:rPr>
              <a:t>Credit &amp; financial risk information market </a:t>
            </a:r>
            <a:r>
              <a:rPr lang="en-GB">
                <a:latin typeface="Trebuchet MS" panose="020B0603020202020204" pitchFamily="34" charset="0"/>
              </a:rPr>
              <a:t>is stable with </a:t>
            </a:r>
            <a:r>
              <a:rPr lang="en-GB">
                <a:solidFill>
                  <a:schemeClr val="tx2"/>
                </a:solidFill>
                <a:latin typeface="Trebuchet MS" panose="020B0603020202020204" pitchFamily="34" charset="0"/>
              </a:rPr>
              <a:t>different dynamics in France and Benelux</a:t>
            </a:r>
            <a:r>
              <a:rPr lang="en-GB">
                <a:latin typeface="Trebuchet MS" panose="020B0603020202020204" pitchFamily="34" charset="0"/>
              </a:rPr>
              <a:t>, showing growth </a:t>
            </a:r>
            <a:r>
              <a:rPr lang="en-GB">
                <a:solidFill>
                  <a:schemeClr val="tx2"/>
                </a:solidFill>
                <a:latin typeface="Trebuchet MS" panose="020B0603020202020204" pitchFamily="34" charset="0"/>
              </a:rPr>
              <a:t>opportunities for premium BD&amp;A players </a:t>
            </a:r>
            <a:r>
              <a:rPr lang="en-GB">
                <a:latin typeface="Trebuchet MS" panose="020B0603020202020204" pitchFamily="34" charset="0"/>
              </a:rPr>
              <a:t>positioned on more qualitative services</a:t>
            </a:r>
          </a:p>
        </p:txBody>
      </p:sp>
      <p:sp>
        <p:nvSpPr>
          <p:cNvPr id="3" name="Espace réservé du texte 2">
            <a:extLst>
              <a:ext uri="{FF2B5EF4-FFF2-40B4-BE49-F238E27FC236}">
                <a16:creationId xmlns:a16="http://schemas.microsoft.com/office/drawing/2014/main" id="{0E7E639B-E180-46D2-8552-671F76C36EAA}"/>
              </a:ext>
            </a:extLst>
          </p:cNvPr>
          <p:cNvSpPr>
            <a:spLocks noGrp="1"/>
          </p:cNvSpPr>
          <p:nvPr>
            <p:ph type="body" sz="quarter" idx="10"/>
          </p:nvPr>
        </p:nvSpPr>
        <p:spPr/>
        <p:txBody>
          <a:bodyPr/>
          <a:lstStyle/>
          <a:p>
            <a:r>
              <a:rPr lang="en-GB"/>
              <a:t>Sources: eleven research &amp; analysis, expert calls</a:t>
            </a:r>
          </a:p>
        </p:txBody>
      </p:sp>
      <p:cxnSp>
        <p:nvCxnSpPr>
          <p:cNvPr id="17" name="Connecteur droit 16">
            <a:extLst>
              <a:ext uri="{FF2B5EF4-FFF2-40B4-BE49-F238E27FC236}">
                <a16:creationId xmlns:a16="http://schemas.microsoft.com/office/drawing/2014/main" id="{87454048-DDDB-44D1-BBB6-B39593FAC712}"/>
              </a:ext>
            </a:extLst>
          </p:cNvPr>
          <p:cNvCxnSpPr>
            <a:cxnSpLocks/>
          </p:cNvCxnSpPr>
          <p:nvPr/>
        </p:nvCxnSpPr>
        <p:spPr bwMode="auto">
          <a:xfrm>
            <a:off x="4961700" y="1246012"/>
            <a:ext cx="0" cy="504000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cxnSp>
        <p:nvCxnSpPr>
          <p:cNvPr id="20" name="Connecteur droit 19">
            <a:extLst>
              <a:ext uri="{FF2B5EF4-FFF2-40B4-BE49-F238E27FC236}">
                <a16:creationId xmlns:a16="http://schemas.microsoft.com/office/drawing/2014/main" id="{C3AC6658-AC9C-48D4-980D-582309FFF2EE}"/>
              </a:ext>
            </a:extLst>
          </p:cNvPr>
          <p:cNvCxnSpPr>
            <a:cxnSpLocks/>
          </p:cNvCxnSpPr>
          <p:nvPr/>
        </p:nvCxnSpPr>
        <p:spPr bwMode="auto">
          <a:xfrm>
            <a:off x="191700" y="1079433"/>
            <a:ext cx="4680000"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cxnSp>
        <p:nvCxnSpPr>
          <p:cNvPr id="22" name="Connecteur droit 21">
            <a:extLst>
              <a:ext uri="{FF2B5EF4-FFF2-40B4-BE49-F238E27FC236}">
                <a16:creationId xmlns:a16="http://schemas.microsoft.com/office/drawing/2014/main" id="{F7C0A642-0267-4188-8B47-A682E429BB43}"/>
              </a:ext>
            </a:extLst>
          </p:cNvPr>
          <p:cNvCxnSpPr>
            <a:cxnSpLocks/>
          </p:cNvCxnSpPr>
          <p:nvPr/>
        </p:nvCxnSpPr>
        <p:spPr bwMode="auto">
          <a:xfrm>
            <a:off x="5034300" y="1079433"/>
            <a:ext cx="4680000"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24" name="Rectangle 84">
            <a:extLst>
              <a:ext uri="{FF2B5EF4-FFF2-40B4-BE49-F238E27FC236}">
                <a16:creationId xmlns:a16="http://schemas.microsoft.com/office/drawing/2014/main" id="{A0FAB058-12DE-4118-91FF-4B92AED06C71}"/>
              </a:ext>
            </a:extLst>
          </p:cNvPr>
          <p:cNvSpPr/>
          <p:nvPr/>
        </p:nvSpPr>
        <p:spPr bwMode="auto">
          <a:xfrm>
            <a:off x="1607143" y="928767"/>
            <a:ext cx="1831714"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a:solidFill>
                  <a:schemeClr val="accent1">
                    <a:lumMod val="75000"/>
                  </a:schemeClr>
                </a:solidFill>
                <a:latin typeface="Trebuchet MS" panose="020B0603020202020204" pitchFamily="34" charset="0"/>
              </a:rPr>
              <a:t>Market overview</a:t>
            </a:r>
          </a:p>
        </p:txBody>
      </p:sp>
      <p:sp>
        <p:nvSpPr>
          <p:cNvPr id="26" name="Rectangle 84">
            <a:extLst>
              <a:ext uri="{FF2B5EF4-FFF2-40B4-BE49-F238E27FC236}">
                <a16:creationId xmlns:a16="http://schemas.microsoft.com/office/drawing/2014/main" id="{DCB1806E-A4D5-470E-85D9-A10B27933A32}"/>
              </a:ext>
            </a:extLst>
          </p:cNvPr>
          <p:cNvSpPr/>
          <p:nvPr/>
        </p:nvSpPr>
        <p:spPr bwMode="auto">
          <a:xfrm>
            <a:off x="6449743" y="928767"/>
            <a:ext cx="1831714"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a:solidFill>
                  <a:schemeClr val="accent1">
                    <a:lumMod val="75000"/>
                  </a:schemeClr>
                </a:solidFill>
                <a:latin typeface="Trebuchet MS" panose="020B0603020202020204" pitchFamily="34" charset="0"/>
              </a:rPr>
              <a:t>Ecosystem overview</a:t>
            </a:r>
          </a:p>
        </p:txBody>
      </p:sp>
      <p:sp>
        <p:nvSpPr>
          <p:cNvPr id="53" name="Rectangle 52">
            <a:extLst>
              <a:ext uri="{FF2B5EF4-FFF2-40B4-BE49-F238E27FC236}">
                <a16:creationId xmlns:a16="http://schemas.microsoft.com/office/drawing/2014/main" id="{5A30EB42-9286-402F-89F5-A8322318FBE9}"/>
              </a:ext>
            </a:extLst>
          </p:cNvPr>
          <p:cNvSpPr/>
          <p:nvPr/>
        </p:nvSpPr>
        <p:spPr bwMode="auto">
          <a:xfrm>
            <a:off x="5068007" y="1878745"/>
            <a:ext cx="4680000" cy="452782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r>
              <a:rPr lang="en-GB" sz="1000" b="1" i="1">
                <a:latin typeface="Trebuchet MS" panose="020B0603020202020204" pitchFamily="34" charset="0"/>
              </a:rPr>
              <a:t>Competitive landscape based on service quality and added-value </a:t>
            </a:r>
          </a:p>
        </p:txBody>
      </p:sp>
      <p:sp>
        <p:nvSpPr>
          <p:cNvPr id="113" name="Rectangle 112">
            <a:extLst>
              <a:ext uri="{FF2B5EF4-FFF2-40B4-BE49-F238E27FC236}">
                <a16:creationId xmlns:a16="http://schemas.microsoft.com/office/drawing/2014/main" id="{9B45092B-2336-423F-9E3D-9F247E2504CA}"/>
              </a:ext>
            </a:extLst>
          </p:cNvPr>
          <p:cNvSpPr/>
          <p:nvPr/>
        </p:nvSpPr>
        <p:spPr bwMode="auto">
          <a:xfrm>
            <a:off x="76205" y="4376175"/>
            <a:ext cx="4809414" cy="21412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r>
              <a:rPr lang="en-GB" sz="1000" b="1" i="1">
                <a:latin typeface="Trebuchet MS" panose="020B0603020202020204" pitchFamily="34" charset="0"/>
              </a:rPr>
              <a:t>Key Credit &amp; financial risk market trends</a:t>
            </a:r>
          </a:p>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anose="020B0603020202020204" pitchFamily="34" charset="0"/>
            </a:endParaRPr>
          </a:p>
        </p:txBody>
      </p:sp>
      <p:sp>
        <p:nvSpPr>
          <p:cNvPr id="117" name="Flèche : bas 5">
            <a:extLst>
              <a:ext uri="{FF2B5EF4-FFF2-40B4-BE49-F238E27FC236}">
                <a16:creationId xmlns:a16="http://schemas.microsoft.com/office/drawing/2014/main" id="{75485324-9662-4121-92F1-959604AABB27}"/>
              </a:ext>
            </a:extLst>
          </p:cNvPr>
          <p:cNvSpPr/>
          <p:nvPr/>
        </p:nvSpPr>
        <p:spPr bwMode="auto">
          <a:xfrm>
            <a:off x="481590" y="4638896"/>
            <a:ext cx="318385" cy="1849006"/>
          </a:xfrm>
          <a:prstGeom prst="downArrow">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8" name="Rectangle 117">
            <a:extLst>
              <a:ext uri="{FF2B5EF4-FFF2-40B4-BE49-F238E27FC236}">
                <a16:creationId xmlns:a16="http://schemas.microsoft.com/office/drawing/2014/main" id="{2A296AEA-A875-497C-92D0-4515738423F6}"/>
              </a:ext>
            </a:extLst>
          </p:cNvPr>
          <p:cNvSpPr/>
          <p:nvPr/>
        </p:nvSpPr>
        <p:spPr bwMode="auto">
          <a:xfrm>
            <a:off x="259107" y="4642838"/>
            <a:ext cx="763350" cy="2820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gn="ctr"/>
            <a:r>
              <a:rPr lang="en-GB" sz="900" i="1">
                <a:latin typeface="Trebuchet MS" panose="020B0603020202020204" pitchFamily="34" charset="0"/>
              </a:rPr>
              <a:t>Drivers of the market</a:t>
            </a:r>
            <a:endParaRPr lang="en-GB" sz="900" i="1" spc="-30">
              <a:solidFill>
                <a:srgbClr val="6C6C6C"/>
              </a:solidFill>
              <a:highlight>
                <a:srgbClr val="FFFF00"/>
              </a:highlight>
              <a:latin typeface="Trebuchet MS" panose="020B0603020202020204" pitchFamily="34" charset="0"/>
            </a:endParaRPr>
          </a:p>
        </p:txBody>
      </p:sp>
      <p:sp>
        <p:nvSpPr>
          <p:cNvPr id="119" name="Rectangle 118">
            <a:extLst>
              <a:ext uri="{FF2B5EF4-FFF2-40B4-BE49-F238E27FC236}">
                <a16:creationId xmlns:a16="http://schemas.microsoft.com/office/drawing/2014/main" id="{B035B64D-8F84-492A-8956-171F53D34CE9}"/>
              </a:ext>
            </a:extLst>
          </p:cNvPr>
          <p:cNvSpPr/>
          <p:nvPr/>
        </p:nvSpPr>
        <p:spPr bwMode="auto">
          <a:xfrm>
            <a:off x="197669" y="6109113"/>
            <a:ext cx="886227" cy="2820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gn="ctr"/>
            <a:r>
              <a:rPr lang="en-GB" sz="900" i="1">
                <a:latin typeface="Trebuchet MS" panose="020B0603020202020204" pitchFamily="34" charset="0"/>
              </a:rPr>
              <a:t>Average market trend</a:t>
            </a:r>
            <a:endParaRPr lang="en-GB" sz="900" i="1" spc="-30">
              <a:solidFill>
                <a:srgbClr val="6C6C6C"/>
              </a:solidFill>
              <a:highlight>
                <a:srgbClr val="FFFF00"/>
              </a:highlight>
              <a:latin typeface="Trebuchet MS" panose="020B0603020202020204" pitchFamily="34" charset="0"/>
            </a:endParaRPr>
          </a:p>
        </p:txBody>
      </p:sp>
      <p:sp>
        <p:nvSpPr>
          <p:cNvPr id="120" name="Rectangle 119">
            <a:extLst>
              <a:ext uri="{FF2B5EF4-FFF2-40B4-BE49-F238E27FC236}">
                <a16:creationId xmlns:a16="http://schemas.microsoft.com/office/drawing/2014/main" id="{9F18F933-782A-4D05-A281-92BC3F04E954}"/>
              </a:ext>
            </a:extLst>
          </p:cNvPr>
          <p:cNvSpPr/>
          <p:nvPr/>
        </p:nvSpPr>
        <p:spPr bwMode="auto">
          <a:xfrm>
            <a:off x="259107" y="5294432"/>
            <a:ext cx="763350" cy="2820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gn="ctr"/>
            <a:r>
              <a:rPr lang="en-GB" sz="900" i="1">
                <a:latin typeface="Trebuchet MS" panose="020B0603020202020204" pitchFamily="34" charset="0"/>
              </a:rPr>
              <a:t>Rationale</a:t>
            </a:r>
            <a:endParaRPr lang="en-GB" sz="900" i="1" spc="-30">
              <a:solidFill>
                <a:srgbClr val="6C6C6C"/>
              </a:solidFill>
              <a:highlight>
                <a:srgbClr val="FFFF00"/>
              </a:highlight>
              <a:latin typeface="Trebuchet MS" panose="020B0603020202020204" pitchFamily="34" charset="0"/>
            </a:endParaRPr>
          </a:p>
        </p:txBody>
      </p:sp>
      <p:sp>
        <p:nvSpPr>
          <p:cNvPr id="121" name="Rectangle : coins arrondis 181">
            <a:extLst>
              <a:ext uri="{FF2B5EF4-FFF2-40B4-BE49-F238E27FC236}">
                <a16:creationId xmlns:a16="http://schemas.microsoft.com/office/drawing/2014/main" id="{73821A4B-7B9B-48CF-927A-6CCF31739937}"/>
              </a:ext>
            </a:extLst>
          </p:cNvPr>
          <p:cNvSpPr/>
          <p:nvPr/>
        </p:nvSpPr>
        <p:spPr bwMode="auto">
          <a:xfrm>
            <a:off x="1044026" y="4613136"/>
            <a:ext cx="1124821" cy="452260"/>
          </a:xfrm>
          <a:prstGeom prst="roundRect">
            <a:avLst>
              <a:gd name="adj" fmla="val 0"/>
            </a:avLst>
          </a:prstGeom>
          <a:solidFill>
            <a:schemeClr val="bg1"/>
          </a:solidFill>
          <a:ln w="9525" cap="flat" cmpd="sng" algn="ctr">
            <a:solidFill>
              <a:schemeClr val="bg2"/>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lnSpc>
                <a:spcPts val="900"/>
              </a:lnSpc>
              <a:buClr>
                <a:schemeClr val="tx2"/>
              </a:buClr>
              <a:buSzPct val="90000"/>
            </a:pPr>
            <a:r>
              <a:rPr lang="en-GB" sz="1000" b="1" spc="-10">
                <a:solidFill>
                  <a:schemeClr val="tx2"/>
                </a:solidFill>
                <a:latin typeface="Trebuchet MS" panose="020B0603020202020204" pitchFamily="34" charset="0"/>
              </a:rPr>
              <a:t>Clients’ need for hedging solutions</a:t>
            </a:r>
          </a:p>
        </p:txBody>
      </p:sp>
      <p:sp>
        <p:nvSpPr>
          <p:cNvPr id="134" name="ZoneTexte 183">
            <a:extLst>
              <a:ext uri="{FF2B5EF4-FFF2-40B4-BE49-F238E27FC236}">
                <a16:creationId xmlns:a16="http://schemas.microsoft.com/office/drawing/2014/main" id="{1E4422B7-2430-4137-A708-8DA3C02B74BF}"/>
              </a:ext>
            </a:extLst>
          </p:cNvPr>
          <p:cNvSpPr txBox="1"/>
          <p:nvPr/>
        </p:nvSpPr>
        <p:spPr>
          <a:xfrm>
            <a:off x="2108395" y="4661690"/>
            <a:ext cx="248786" cy="230832"/>
          </a:xfrm>
          <a:prstGeom prst="rect">
            <a:avLst/>
          </a:prstGeom>
          <a:noFill/>
        </p:spPr>
        <p:txBody>
          <a:bodyPr wrap="none" rtlCol="0">
            <a:spAutoFit/>
          </a:bodyPr>
          <a:lstStyle/>
          <a:p>
            <a:r>
              <a:rPr lang="en-GB" sz="900" b="1">
                <a:solidFill>
                  <a:schemeClr val="tx2"/>
                </a:solidFill>
                <a:latin typeface="Trebuchet MS" panose="020B0603020202020204" pitchFamily="34" charset="0"/>
              </a:rPr>
              <a:t>x</a:t>
            </a:r>
          </a:p>
        </p:txBody>
      </p:sp>
      <p:sp>
        <p:nvSpPr>
          <p:cNvPr id="143" name="ZoneTexte 201">
            <a:extLst>
              <a:ext uri="{FF2B5EF4-FFF2-40B4-BE49-F238E27FC236}">
                <a16:creationId xmlns:a16="http://schemas.microsoft.com/office/drawing/2014/main" id="{B0F7FF3F-2C8B-46E8-BC48-CB915F697983}"/>
              </a:ext>
            </a:extLst>
          </p:cNvPr>
          <p:cNvSpPr txBox="1"/>
          <p:nvPr/>
        </p:nvSpPr>
        <p:spPr>
          <a:xfrm>
            <a:off x="3361099" y="4661690"/>
            <a:ext cx="248786" cy="230832"/>
          </a:xfrm>
          <a:prstGeom prst="rect">
            <a:avLst/>
          </a:prstGeom>
          <a:noFill/>
        </p:spPr>
        <p:txBody>
          <a:bodyPr wrap="none" rtlCol="0">
            <a:spAutoFit/>
          </a:bodyPr>
          <a:lstStyle/>
          <a:p>
            <a:r>
              <a:rPr lang="en-GB" sz="900" b="1">
                <a:solidFill>
                  <a:schemeClr val="tx2"/>
                </a:solidFill>
                <a:latin typeface="Trebuchet MS" panose="020B0603020202020204" pitchFamily="34" charset="0"/>
              </a:rPr>
              <a:t>x</a:t>
            </a:r>
          </a:p>
        </p:txBody>
      </p:sp>
      <p:sp>
        <p:nvSpPr>
          <p:cNvPr id="144" name="Rectangle : coins arrondis 181">
            <a:extLst>
              <a:ext uri="{FF2B5EF4-FFF2-40B4-BE49-F238E27FC236}">
                <a16:creationId xmlns:a16="http://schemas.microsoft.com/office/drawing/2014/main" id="{C3C320CF-A1BD-49AC-A695-C4766BEC38B5}"/>
              </a:ext>
            </a:extLst>
          </p:cNvPr>
          <p:cNvSpPr/>
          <p:nvPr/>
        </p:nvSpPr>
        <p:spPr bwMode="auto">
          <a:xfrm>
            <a:off x="2295152" y="4613136"/>
            <a:ext cx="1124821" cy="452260"/>
          </a:xfrm>
          <a:prstGeom prst="roundRect">
            <a:avLst>
              <a:gd name="adj" fmla="val 0"/>
            </a:avLst>
          </a:prstGeom>
          <a:solidFill>
            <a:schemeClr val="bg1"/>
          </a:solidFill>
          <a:ln w="9525" cap="flat" cmpd="sng" algn="ctr">
            <a:solidFill>
              <a:schemeClr val="bg2"/>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lnSpc>
                <a:spcPts val="900"/>
              </a:lnSpc>
              <a:buClr>
                <a:schemeClr val="tx2"/>
              </a:buClr>
              <a:buSzPct val="90000"/>
            </a:pPr>
            <a:r>
              <a:rPr lang="en-GB" sz="1000" b="1" spc="-10">
                <a:solidFill>
                  <a:schemeClr val="tx2"/>
                </a:solidFill>
                <a:latin typeface="Trebuchet MS" panose="020B0603020202020204" pitchFamily="34" charset="0"/>
              </a:rPr>
              <a:t>Adoption rate of Credit risk information</a:t>
            </a:r>
          </a:p>
        </p:txBody>
      </p:sp>
      <p:sp>
        <p:nvSpPr>
          <p:cNvPr id="145" name="Rectangle : coins arrondis 181">
            <a:extLst>
              <a:ext uri="{FF2B5EF4-FFF2-40B4-BE49-F238E27FC236}">
                <a16:creationId xmlns:a16="http://schemas.microsoft.com/office/drawing/2014/main" id="{AA7AAA13-CF10-4A0C-ADB0-9421D49A4BAE}"/>
              </a:ext>
            </a:extLst>
          </p:cNvPr>
          <p:cNvSpPr/>
          <p:nvPr/>
        </p:nvSpPr>
        <p:spPr bwMode="auto">
          <a:xfrm>
            <a:off x="3544297" y="4613136"/>
            <a:ext cx="1124821" cy="452260"/>
          </a:xfrm>
          <a:prstGeom prst="roundRect">
            <a:avLst>
              <a:gd name="adj" fmla="val 0"/>
            </a:avLst>
          </a:prstGeom>
          <a:solidFill>
            <a:schemeClr val="bg1"/>
          </a:solidFill>
          <a:ln w="9525" cap="flat" cmpd="sng" algn="ctr">
            <a:solidFill>
              <a:schemeClr val="bg2"/>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lnSpc>
                <a:spcPts val="900"/>
              </a:lnSpc>
              <a:buClr>
                <a:schemeClr val="tx2"/>
              </a:buClr>
              <a:buSzPct val="90000"/>
            </a:pPr>
            <a:r>
              <a:rPr lang="en-GB" sz="1000" b="1" spc="-10">
                <a:solidFill>
                  <a:schemeClr val="tx2"/>
                </a:solidFill>
                <a:latin typeface="Trebuchet MS" panose="020B0603020202020204" pitchFamily="34" charset="0"/>
              </a:rPr>
              <a:t>Clients’ willingness to pay</a:t>
            </a:r>
          </a:p>
        </p:txBody>
      </p:sp>
      <p:sp>
        <p:nvSpPr>
          <p:cNvPr id="146" name="Rectangle 145">
            <a:extLst>
              <a:ext uri="{FF2B5EF4-FFF2-40B4-BE49-F238E27FC236}">
                <a16:creationId xmlns:a16="http://schemas.microsoft.com/office/drawing/2014/main" id="{E502959E-D7E1-466F-AB2C-924AF488E9D6}"/>
              </a:ext>
            </a:extLst>
          </p:cNvPr>
          <p:cNvSpPr/>
          <p:nvPr/>
        </p:nvSpPr>
        <p:spPr bwMode="auto">
          <a:xfrm>
            <a:off x="1011617" y="5093057"/>
            <a:ext cx="1188000" cy="1008000"/>
          </a:xfrm>
          <a:prstGeom prst="rect">
            <a:avLst/>
          </a:prstGeom>
          <a:solidFill>
            <a:schemeClr val="bg2">
              <a:lumMod val="20000"/>
              <a:lumOff val="80000"/>
            </a:schemeClr>
          </a:solidFill>
          <a:ln w="9525" cap="flat" cmpd="sng" algn="ctr">
            <a:solidFill>
              <a:schemeClr val="bg1"/>
            </a:solidFill>
            <a:prstDash val="solid"/>
            <a:round/>
            <a:headEnd type="none" w="med" len="med"/>
            <a:tailEnd type="none" w="med" len="med"/>
          </a:ln>
          <a:effectLst/>
        </p:spPr>
        <p:txBody>
          <a:bodyPr vert="horz" wrap="square" lIns="18000" tIns="36000" rIns="18000" bIns="36000" numCol="1" rtlCol="0" anchor="t" anchorCtr="0" compatLnSpc="1">
            <a:prstTxWarp prst="textNoShape">
              <a:avLst/>
            </a:prstTxWarp>
          </a:bodyPr>
          <a:lstStyle/>
          <a:p>
            <a:pPr lvl="0" algn="ctr"/>
            <a:r>
              <a:rPr lang="en-GB" sz="1000">
                <a:latin typeface="Trebuchet MS" panose="020B0603020202020204" pitchFamily="34" charset="0"/>
              </a:rPr>
              <a:t>The need for Credit risk solutions is positively driven by the accounts receivable and exports volume</a:t>
            </a:r>
            <a:endParaRPr lang="en-GB" sz="1000" spc="-30">
              <a:solidFill>
                <a:srgbClr val="6C6C6C"/>
              </a:solidFill>
              <a:highlight>
                <a:srgbClr val="FFFF00"/>
              </a:highlight>
              <a:latin typeface="Trebuchet MS" panose="020B0603020202020204" pitchFamily="34" charset="0"/>
            </a:endParaRPr>
          </a:p>
        </p:txBody>
      </p:sp>
      <p:sp>
        <p:nvSpPr>
          <p:cNvPr id="147" name="Rectangle 146">
            <a:extLst>
              <a:ext uri="{FF2B5EF4-FFF2-40B4-BE49-F238E27FC236}">
                <a16:creationId xmlns:a16="http://schemas.microsoft.com/office/drawing/2014/main" id="{26FE57EB-CEAA-417D-B751-B68F9F0C89E5}"/>
              </a:ext>
            </a:extLst>
          </p:cNvPr>
          <p:cNvSpPr/>
          <p:nvPr/>
        </p:nvSpPr>
        <p:spPr bwMode="auto">
          <a:xfrm>
            <a:off x="2255921" y="5093057"/>
            <a:ext cx="1188000" cy="1008000"/>
          </a:xfrm>
          <a:prstGeom prst="rect">
            <a:avLst/>
          </a:prstGeom>
          <a:solidFill>
            <a:schemeClr val="bg2">
              <a:lumMod val="20000"/>
              <a:lumOff val="80000"/>
            </a:schemeClr>
          </a:solidFill>
          <a:ln w="9525" cap="flat" cmpd="sng" algn="ctr">
            <a:solidFill>
              <a:schemeClr val="bg1"/>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lvl="0" algn="ctr"/>
            <a:r>
              <a:rPr lang="en-GB" sz="1000">
                <a:latin typeface="Trebuchet MS" panose="020B0603020202020204" pitchFamily="34" charset="0"/>
              </a:rPr>
              <a:t>Credit risk penetration rate is influenced by the company risk management strategy</a:t>
            </a:r>
            <a:endParaRPr lang="en-GB" sz="1000" spc="-30">
              <a:solidFill>
                <a:srgbClr val="6C6C6C"/>
              </a:solidFill>
              <a:highlight>
                <a:srgbClr val="FFFF00"/>
              </a:highlight>
              <a:latin typeface="Trebuchet MS" panose="020B0603020202020204" pitchFamily="34" charset="0"/>
            </a:endParaRPr>
          </a:p>
        </p:txBody>
      </p:sp>
      <p:sp>
        <p:nvSpPr>
          <p:cNvPr id="148" name="Rectangle 147">
            <a:extLst>
              <a:ext uri="{FF2B5EF4-FFF2-40B4-BE49-F238E27FC236}">
                <a16:creationId xmlns:a16="http://schemas.microsoft.com/office/drawing/2014/main" id="{498CD73A-1B38-4869-B835-0A72A3B64222}"/>
              </a:ext>
            </a:extLst>
          </p:cNvPr>
          <p:cNvSpPr/>
          <p:nvPr/>
        </p:nvSpPr>
        <p:spPr bwMode="auto">
          <a:xfrm>
            <a:off x="3531556" y="5093057"/>
            <a:ext cx="1188000" cy="1008000"/>
          </a:xfrm>
          <a:prstGeom prst="rect">
            <a:avLst/>
          </a:prstGeom>
          <a:solidFill>
            <a:schemeClr val="bg2">
              <a:lumMod val="20000"/>
              <a:lumOff val="80000"/>
            </a:schemeClr>
          </a:solidFill>
          <a:ln w="9525" cap="flat" cmpd="sng" algn="ctr">
            <a:solidFill>
              <a:schemeClr val="bg1"/>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lvl="0" algn="ctr"/>
            <a:r>
              <a:rPr lang="en-GB" sz="1000">
                <a:latin typeface="Trebuchet MS" panose="020B0603020202020204" pitchFamily="34" charset="0"/>
              </a:rPr>
              <a:t>Clients’ willingness to pay is driven by </a:t>
            </a:r>
            <a:r>
              <a:rPr lang="en-GB" sz="1000" err="1">
                <a:latin typeface="Trebuchet MS" panose="020B0603020202020204" pitchFamily="34" charset="0"/>
              </a:rPr>
              <a:t>by</a:t>
            </a:r>
            <a:r>
              <a:rPr lang="en-GB" sz="1000">
                <a:latin typeface="Trebuchet MS" panose="020B0603020202020204" pitchFamily="34" charset="0"/>
              </a:rPr>
              <a:t> the need for data quality and adjacent innovative services</a:t>
            </a:r>
            <a:endParaRPr lang="en-GB" sz="1000" spc="-30">
              <a:solidFill>
                <a:srgbClr val="6C6C6C"/>
              </a:solidFill>
              <a:highlight>
                <a:srgbClr val="FFFF00"/>
              </a:highlight>
              <a:latin typeface="Trebuchet MS" panose="020B0603020202020204" pitchFamily="34" charset="0"/>
            </a:endParaRPr>
          </a:p>
        </p:txBody>
      </p:sp>
      <p:sp>
        <p:nvSpPr>
          <p:cNvPr id="151" name="Plus Sign 269">
            <a:extLst>
              <a:ext uri="{FF2B5EF4-FFF2-40B4-BE49-F238E27FC236}">
                <a16:creationId xmlns:a16="http://schemas.microsoft.com/office/drawing/2014/main" id="{C21D2283-CE83-43E0-A14D-60CB652679C1}"/>
              </a:ext>
            </a:extLst>
          </p:cNvPr>
          <p:cNvSpPr/>
          <p:nvPr/>
        </p:nvSpPr>
        <p:spPr bwMode="auto">
          <a:xfrm>
            <a:off x="4482608" y="6338390"/>
            <a:ext cx="146624" cy="149512"/>
          </a:xfrm>
          <a:prstGeom prst="mathPlus">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90" name="Group 189">
            <a:extLst>
              <a:ext uri="{FF2B5EF4-FFF2-40B4-BE49-F238E27FC236}">
                <a16:creationId xmlns:a16="http://schemas.microsoft.com/office/drawing/2014/main" id="{0901A2BE-1629-4204-BC8E-D7794385D753}"/>
              </a:ext>
            </a:extLst>
          </p:cNvPr>
          <p:cNvGrpSpPr/>
          <p:nvPr/>
        </p:nvGrpSpPr>
        <p:grpSpPr>
          <a:xfrm>
            <a:off x="2820185" y="6318352"/>
            <a:ext cx="146624" cy="199822"/>
            <a:chOff x="2807290" y="6024495"/>
            <a:chExt cx="146624" cy="199822"/>
          </a:xfrm>
        </p:grpSpPr>
        <p:sp>
          <p:nvSpPr>
            <p:cNvPr id="152" name="Minus Sign 279">
              <a:extLst>
                <a:ext uri="{FF2B5EF4-FFF2-40B4-BE49-F238E27FC236}">
                  <a16:creationId xmlns:a16="http://schemas.microsoft.com/office/drawing/2014/main" id="{EFCD84EE-B496-499B-B154-A7D7AAEADA5D}"/>
                </a:ext>
              </a:extLst>
            </p:cNvPr>
            <p:cNvSpPr/>
            <p:nvPr/>
          </p:nvSpPr>
          <p:spPr bwMode="auto">
            <a:xfrm>
              <a:off x="2807290" y="6074805"/>
              <a:ext cx="146624" cy="149512"/>
            </a:xfrm>
            <a:prstGeom prst="mathMinus">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3" name="Minus Sign 279">
              <a:extLst>
                <a:ext uri="{FF2B5EF4-FFF2-40B4-BE49-F238E27FC236}">
                  <a16:creationId xmlns:a16="http://schemas.microsoft.com/office/drawing/2014/main" id="{A06BCC61-C41D-4F9C-B27A-A7E55D6001EA}"/>
                </a:ext>
              </a:extLst>
            </p:cNvPr>
            <p:cNvSpPr/>
            <p:nvPr/>
          </p:nvSpPr>
          <p:spPr bwMode="auto">
            <a:xfrm>
              <a:off x="2807290" y="6024495"/>
              <a:ext cx="146624" cy="149512"/>
            </a:xfrm>
            <a:prstGeom prst="mathMinus">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54" name="Plus Sign 269">
            <a:extLst>
              <a:ext uri="{FF2B5EF4-FFF2-40B4-BE49-F238E27FC236}">
                <a16:creationId xmlns:a16="http://schemas.microsoft.com/office/drawing/2014/main" id="{15EB860A-C6C9-4F10-9B00-6684B9325E4A}"/>
              </a:ext>
            </a:extLst>
          </p:cNvPr>
          <p:cNvSpPr/>
          <p:nvPr/>
        </p:nvSpPr>
        <p:spPr bwMode="auto">
          <a:xfrm>
            <a:off x="1511894" y="6338390"/>
            <a:ext cx="146624" cy="149512"/>
          </a:xfrm>
          <a:prstGeom prst="mathPlus">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 name="Rectangle 9">
            <a:extLst>
              <a:ext uri="{FF2B5EF4-FFF2-40B4-BE49-F238E27FC236}">
                <a16:creationId xmlns:a16="http://schemas.microsoft.com/office/drawing/2014/main" id="{D6FD555F-DC62-4966-822A-52A5E7ABE1D6}"/>
              </a:ext>
            </a:extLst>
          </p:cNvPr>
          <p:cNvSpPr/>
          <p:nvPr/>
        </p:nvSpPr>
        <p:spPr bwMode="auto">
          <a:xfrm>
            <a:off x="150967" y="2537532"/>
            <a:ext cx="4679996" cy="252449"/>
          </a:xfrm>
          <a:prstGeom prst="rect">
            <a:avLst/>
          </a:prstGeom>
        </p:spPr>
        <p:txBody>
          <a:bodyPr wrap="square" anchor="ctr">
            <a:noAutofit/>
          </a:bodyPr>
          <a:lstStyle/>
          <a:p>
            <a:r>
              <a:rPr lang="en-GB" sz="1000" b="1" dirty="0">
                <a:latin typeface="Trebuchet MS" panose="020B0603020202020204" pitchFamily="34" charset="0"/>
              </a:rPr>
              <a:t>Credit risk estimated revenue in France &amp; Benelux</a:t>
            </a:r>
            <a:r>
              <a:rPr lang="en-GB" sz="1000" b="1" baseline="30000" dirty="0">
                <a:latin typeface="Trebuchet MS" panose="020B0603020202020204" pitchFamily="34" charset="0"/>
              </a:rPr>
              <a:t>, </a:t>
            </a:r>
            <a:r>
              <a:rPr lang="en-GB" sz="1000" b="1" dirty="0">
                <a:latin typeface="Trebuchet MS" panose="020B0603020202020204" pitchFamily="34" charset="0"/>
              </a:rPr>
              <a:t>€m, 2017-2023F</a:t>
            </a:r>
            <a:endParaRPr lang="en-GB" sz="1000" b="1" baseline="30000" dirty="0">
              <a:latin typeface="Trebuchet MS" panose="020B0603020202020204" pitchFamily="34" charset="0"/>
            </a:endParaRPr>
          </a:p>
        </p:txBody>
      </p:sp>
      <p:sp>
        <p:nvSpPr>
          <p:cNvPr id="188" name="Rectangle 187">
            <a:extLst>
              <a:ext uri="{FF2B5EF4-FFF2-40B4-BE49-F238E27FC236}">
                <a16:creationId xmlns:a16="http://schemas.microsoft.com/office/drawing/2014/main" id="{9CFCF654-AC70-452A-9A40-1A03CA433DE0}"/>
              </a:ext>
            </a:extLst>
          </p:cNvPr>
          <p:cNvSpPr/>
          <p:nvPr/>
        </p:nvSpPr>
        <p:spPr bwMode="auto">
          <a:xfrm>
            <a:off x="5396000" y="5550240"/>
            <a:ext cx="4250893" cy="776747"/>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defRPr/>
            </a:pPr>
            <a:r>
              <a:rPr lang="en-GB" sz="1000" i="1" spc="-30" dirty="0">
                <a:latin typeface="Trebuchet MS" panose="020B0603020202020204" pitchFamily="34" charset="0"/>
              </a:rPr>
              <a:t>“The Credit &amp; financial risk market is a market with little growth. Players must now reinvent themselves by </a:t>
            </a:r>
            <a:r>
              <a:rPr lang="en-GB" sz="1000" i="1" spc="-30" dirty="0">
                <a:solidFill>
                  <a:schemeClr val="tx2"/>
                </a:solidFill>
                <a:latin typeface="Trebuchet MS" panose="020B0603020202020204" pitchFamily="34" charset="0"/>
              </a:rPr>
              <a:t>creating more intelligence and value for their customers</a:t>
            </a:r>
            <a:r>
              <a:rPr lang="en-GB" sz="1000" i="1" spc="-30" dirty="0">
                <a:latin typeface="Trebuchet MS" panose="020B0603020202020204" pitchFamily="34" charset="0"/>
              </a:rPr>
              <a:t> and by </a:t>
            </a:r>
            <a:r>
              <a:rPr lang="en-GB" sz="1000" i="1" spc="-30" dirty="0">
                <a:solidFill>
                  <a:schemeClr val="tx2"/>
                </a:solidFill>
                <a:latin typeface="Trebuchet MS" panose="020B0603020202020204" pitchFamily="34" charset="0"/>
              </a:rPr>
              <a:t>better tailoring their offerings </a:t>
            </a:r>
            <a:r>
              <a:rPr lang="en-GB" sz="1000" i="1" spc="-30" dirty="0">
                <a:latin typeface="Trebuchet MS" panose="020B0603020202020204" pitchFamily="34" charset="0"/>
              </a:rPr>
              <a:t>to each customer segment to generate new revenue streams”</a:t>
            </a:r>
          </a:p>
          <a:p>
            <a:pPr>
              <a:defRPr/>
            </a:pPr>
            <a:r>
              <a:rPr lang="en-GB" sz="1000" spc="-30" dirty="0">
                <a:latin typeface="Trebuchet MS" panose="020B0603020202020204" pitchFamily="34" charset="0"/>
              </a:rPr>
              <a:t>Former Managing Director at Graydon</a:t>
            </a:r>
            <a:endParaRPr lang="en-GB" sz="1000" dirty="0">
              <a:latin typeface="Trebuchet MS" panose="020B0603020202020204" pitchFamily="34" charset="0"/>
            </a:endParaRPr>
          </a:p>
        </p:txBody>
      </p:sp>
      <p:sp>
        <p:nvSpPr>
          <p:cNvPr id="189" name="Freeform 663">
            <a:extLst>
              <a:ext uri="{FF2B5EF4-FFF2-40B4-BE49-F238E27FC236}">
                <a16:creationId xmlns:a16="http://schemas.microsoft.com/office/drawing/2014/main" id="{D314A6BA-230D-4252-80B3-B3365FC9DD73}"/>
              </a:ext>
            </a:extLst>
          </p:cNvPr>
          <p:cNvSpPr>
            <a:spLocks noEditPoints="1"/>
          </p:cNvSpPr>
          <p:nvPr/>
        </p:nvSpPr>
        <p:spPr bwMode="auto">
          <a:xfrm>
            <a:off x="5309985" y="5784744"/>
            <a:ext cx="189332" cy="189332"/>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92" name="Rectangle 191">
            <a:extLst>
              <a:ext uri="{FF2B5EF4-FFF2-40B4-BE49-F238E27FC236}">
                <a16:creationId xmlns:a16="http://schemas.microsoft.com/office/drawing/2014/main" id="{28DD411E-BF3B-4889-8D11-FBF2074C569B}"/>
              </a:ext>
            </a:extLst>
          </p:cNvPr>
          <p:cNvSpPr/>
          <p:nvPr/>
        </p:nvSpPr>
        <p:spPr bwMode="auto">
          <a:xfrm>
            <a:off x="425491" y="2837097"/>
            <a:ext cx="100652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17-19</a:t>
            </a:r>
            <a:r>
              <a:rPr lang="en-GB" sz="900">
                <a:latin typeface="Trebuchet MS" panose="020B0603020202020204" pitchFamily="34" charset="0"/>
              </a:rPr>
              <a:t>: +0.16% </a:t>
            </a:r>
            <a:endParaRPr kumimoji="0" lang="en-GB" sz="900" b="0" i="0" u="none" strike="noStrike" cap="none" normalizeH="0" baseline="0">
              <a:ln>
                <a:noFill/>
              </a:ln>
              <a:effectLst/>
              <a:latin typeface="Trebuchet MS" panose="020B0603020202020204" pitchFamily="34" charset="0"/>
            </a:endParaRPr>
          </a:p>
        </p:txBody>
      </p:sp>
      <p:sp>
        <p:nvSpPr>
          <p:cNvPr id="160" name="Rectangle 159">
            <a:extLst>
              <a:ext uri="{FF2B5EF4-FFF2-40B4-BE49-F238E27FC236}">
                <a16:creationId xmlns:a16="http://schemas.microsoft.com/office/drawing/2014/main" id="{AC3E107D-C4DE-4856-B201-73032A5F1163}"/>
              </a:ext>
            </a:extLst>
          </p:cNvPr>
          <p:cNvSpPr/>
          <p:nvPr/>
        </p:nvSpPr>
        <p:spPr bwMode="auto">
          <a:xfrm>
            <a:off x="76205" y="1244429"/>
            <a:ext cx="4799086" cy="1296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Bef>
                <a:spcPts val="300"/>
              </a:spcBef>
              <a:buFont typeface="Arial" panose="020B0604020202020204" pitchFamily="34" charset="0"/>
              <a:buChar char="•"/>
            </a:pPr>
            <a:r>
              <a:rPr lang="en-GB" sz="1000">
                <a:latin typeface="Trebuchet MS" panose="020B0603020202020204" pitchFamily="34" charset="0"/>
              </a:rPr>
              <a:t>The market will experience a </a:t>
            </a:r>
            <a:r>
              <a:rPr lang="en-GB" sz="1000">
                <a:solidFill>
                  <a:schemeClr val="tx2"/>
                </a:solidFill>
                <a:latin typeface="Trebuchet MS" panose="020B0603020202020204" pitchFamily="34" charset="0"/>
              </a:rPr>
              <a:t>moderate growth estimated at 0.5% per year </a:t>
            </a:r>
            <a:r>
              <a:rPr lang="en-GB" sz="1000">
                <a:latin typeface="Trebuchet MS" panose="020B0603020202020204" pitchFamily="34" charset="0"/>
              </a:rPr>
              <a:t>over the coming years (CAGR</a:t>
            </a:r>
            <a:r>
              <a:rPr lang="en-GB" sz="1000" baseline="-25000">
                <a:latin typeface="Trebuchet MS" panose="020B0603020202020204" pitchFamily="34" charset="0"/>
              </a:rPr>
              <a:t>20-25</a:t>
            </a:r>
            <a:r>
              <a:rPr lang="en-GB" sz="1000">
                <a:latin typeface="Trebuchet MS" panose="020B0603020202020204" pitchFamily="34" charset="0"/>
              </a:rPr>
              <a:t>)</a:t>
            </a:r>
          </a:p>
          <a:p>
            <a:pPr marL="171450" indent="-171450">
              <a:spcBef>
                <a:spcPts val="300"/>
              </a:spcBef>
              <a:buFont typeface="Arial" panose="020B0604020202020204" pitchFamily="34" charset="0"/>
              <a:buChar char="•"/>
            </a:pPr>
            <a:r>
              <a:rPr lang="en-GB" sz="1000">
                <a:latin typeface="Trebuchet MS" panose="020B0603020202020204" pitchFamily="34" charset="0"/>
              </a:rPr>
              <a:t>The slight decline in the </a:t>
            </a:r>
            <a:r>
              <a:rPr lang="en-GB" sz="1000">
                <a:solidFill>
                  <a:schemeClr val="tx2"/>
                </a:solidFill>
                <a:latin typeface="Trebuchet MS" panose="020B0603020202020204" pitchFamily="34" charset="0"/>
              </a:rPr>
              <a:t>French</a:t>
            </a:r>
            <a:r>
              <a:rPr lang="en-GB" sz="1000">
                <a:latin typeface="Trebuchet MS" panose="020B0603020202020204" pitchFamily="34" charset="0"/>
              </a:rPr>
              <a:t> market (i.e. CAGR</a:t>
            </a:r>
            <a:r>
              <a:rPr lang="en-GB" sz="1000" baseline="-25000">
                <a:latin typeface="Trebuchet MS" panose="020B0603020202020204" pitchFamily="34" charset="0"/>
              </a:rPr>
              <a:t>17-25</a:t>
            </a:r>
            <a:r>
              <a:rPr lang="en-GB" sz="1000">
                <a:latin typeface="Trebuchet MS" panose="020B0603020202020204" pitchFamily="34" charset="0"/>
              </a:rPr>
              <a:t>: -1.3%) is offset by growth in the </a:t>
            </a:r>
            <a:r>
              <a:rPr lang="en-GB" sz="1000">
                <a:solidFill>
                  <a:schemeClr val="tx2"/>
                </a:solidFill>
                <a:latin typeface="Trebuchet MS" panose="020B0603020202020204" pitchFamily="34" charset="0"/>
              </a:rPr>
              <a:t>Benelux</a:t>
            </a:r>
            <a:r>
              <a:rPr lang="en-GB" sz="1000">
                <a:latin typeface="Trebuchet MS" panose="020B0603020202020204" pitchFamily="34" charset="0"/>
              </a:rPr>
              <a:t> countries (i.e. CAGR</a:t>
            </a:r>
            <a:r>
              <a:rPr lang="en-GB" sz="900" baseline="-25000">
                <a:latin typeface="Trebuchet MS" panose="020B0603020202020204" pitchFamily="34" charset="0"/>
              </a:rPr>
              <a:t>17-25</a:t>
            </a:r>
            <a:r>
              <a:rPr lang="en-GB" sz="1000">
                <a:latin typeface="Trebuchet MS" panose="020B0603020202020204" pitchFamily="34" charset="0"/>
              </a:rPr>
              <a:t>: +1.5%), which can be explained by the structure of these markets</a:t>
            </a:r>
          </a:p>
          <a:p>
            <a:pPr marL="171450" indent="-171450">
              <a:spcBef>
                <a:spcPts val="300"/>
              </a:spcBef>
              <a:buFont typeface="Arial" panose="020B0604020202020204" pitchFamily="34" charset="0"/>
              <a:buChar char="•"/>
            </a:pPr>
            <a:r>
              <a:rPr lang="en-GB" sz="1000">
                <a:latin typeface="Trebuchet MS" panose="020B0603020202020204" pitchFamily="34" charset="0"/>
              </a:rPr>
              <a:t>The market growth in the </a:t>
            </a:r>
            <a:r>
              <a:rPr lang="en-GB" sz="1000">
                <a:solidFill>
                  <a:schemeClr val="tx2"/>
                </a:solidFill>
                <a:latin typeface="Trebuchet MS" panose="020B0603020202020204" pitchFamily="34" charset="0"/>
              </a:rPr>
              <a:t>Netherlands</a:t>
            </a:r>
            <a:r>
              <a:rPr lang="en-GB" sz="1000">
                <a:latin typeface="Trebuchet MS" panose="020B0603020202020204" pitchFamily="34" charset="0"/>
              </a:rPr>
              <a:t> is notably linked due to a more complex and costly data access (e.g. there is no freemium players on the NL market), and a higher volume of B2B sales made on credit</a:t>
            </a:r>
          </a:p>
        </p:txBody>
      </p:sp>
      <p:cxnSp>
        <p:nvCxnSpPr>
          <p:cNvPr id="161" name="Straight Connector 190">
            <a:extLst>
              <a:ext uri="{FF2B5EF4-FFF2-40B4-BE49-F238E27FC236}">
                <a16:creationId xmlns:a16="http://schemas.microsoft.com/office/drawing/2014/main" id="{0367C104-FD13-4F65-9689-2604FEB6B181}"/>
              </a:ext>
            </a:extLst>
          </p:cNvPr>
          <p:cNvCxnSpPr>
            <a:cxnSpLocks/>
          </p:cNvCxnSpPr>
          <p:nvPr>
            <p:custDataLst>
              <p:tags r:id="rId3"/>
            </p:custDataLst>
          </p:nvPr>
        </p:nvCxnSpPr>
        <p:spPr bwMode="auto">
          <a:xfrm flipV="1">
            <a:off x="437764" y="3043559"/>
            <a:ext cx="1004256" cy="27586"/>
          </a:xfrm>
          <a:prstGeom prst="line">
            <a:avLst/>
          </a:prstGeom>
          <a:solidFill>
            <a:schemeClr val="accent1"/>
          </a:solidFill>
          <a:ln w="9525" cap="flat" cmpd="sng" algn="ctr">
            <a:solidFill>
              <a:schemeClr val="tx1"/>
            </a:solidFill>
            <a:prstDash val="dash"/>
            <a:round/>
            <a:headEnd type="none" w="med" len="med"/>
            <a:tailEnd type="triangle"/>
          </a:ln>
          <a:effectLst/>
        </p:spPr>
      </p:cxnSp>
      <p:cxnSp>
        <p:nvCxnSpPr>
          <p:cNvPr id="162" name="Straight Connector 190">
            <a:extLst>
              <a:ext uri="{FF2B5EF4-FFF2-40B4-BE49-F238E27FC236}">
                <a16:creationId xmlns:a16="http://schemas.microsoft.com/office/drawing/2014/main" id="{5722E804-88DD-473B-9B3C-E471AACFB920}"/>
              </a:ext>
            </a:extLst>
          </p:cNvPr>
          <p:cNvCxnSpPr>
            <a:cxnSpLocks/>
          </p:cNvCxnSpPr>
          <p:nvPr>
            <p:custDataLst>
              <p:tags r:id="rId4"/>
            </p:custDataLst>
          </p:nvPr>
        </p:nvCxnSpPr>
        <p:spPr bwMode="auto">
          <a:xfrm>
            <a:off x="1465902" y="2998294"/>
            <a:ext cx="327708" cy="70019"/>
          </a:xfrm>
          <a:prstGeom prst="line">
            <a:avLst/>
          </a:prstGeom>
          <a:solidFill>
            <a:schemeClr val="accent1"/>
          </a:solidFill>
          <a:ln w="9525" cap="flat" cmpd="sng" algn="ctr">
            <a:solidFill>
              <a:schemeClr val="tx1"/>
            </a:solidFill>
            <a:prstDash val="dash"/>
            <a:round/>
            <a:headEnd type="none" w="med" len="med"/>
            <a:tailEnd type="triangle"/>
          </a:ln>
          <a:effectLst/>
        </p:spPr>
      </p:cxnSp>
      <p:cxnSp>
        <p:nvCxnSpPr>
          <p:cNvPr id="163" name="Straight Connector 190">
            <a:extLst>
              <a:ext uri="{FF2B5EF4-FFF2-40B4-BE49-F238E27FC236}">
                <a16:creationId xmlns:a16="http://schemas.microsoft.com/office/drawing/2014/main" id="{066F8890-8282-49E3-BBBA-3C190CA2B6CD}"/>
              </a:ext>
            </a:extLst>
          </p:cNvPr>
          <p:cNvCxnSpPr>
            <a:cxnSpLocks/>
          </p:cNvCxnSpPr>
          <p:nvPr>
            <p:custDataLst>
              <p:tags r:id="rId5"/>
            </p:custDataLst>
          </p:nvPr>
        </p:nvCxnSpPr>
        <p:spPr bwMode="auto">
          <a:xfrm flipV="1">
            <a:off x="2341270" y="3057352"/>
            <a:ext cx="1731975" cy="26436"/>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64" name="Rectangle 163">
            <a:extLst>
              <a:ext uri="{FF2B5EF4-FFF2-40B4-BE49-F238E27FC236}">
                <a16:creationId xmlns:a16="http://schemas.microsoft.com/office/drawing/2014/main" id="{50365DB7-FF9F-4209-A4A5-68C7DDDD7D06}"/>
              </a:ext>
            </a:extLst>
          </p:cNvPr>
          <p:cNvSpPr/>
          <p:nvPr/>
        </p:nvSpPr>
        <p:spPr bwMode="auto">
          <a:xfrm>
            <a:off x="3117529" y="2866809"/>
            <a:ext cx="100652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21-25</a:t>
            </a:r>
            <a:r>
              <a:rPr lang="en-GB" sz="900">
                <a:latin typeface="Trebuchet MS" panose="020B0603020202020204" pitchFamily="34" charset="0"/>
              </a:rPr>
              <a:t>: +0.01% </a:t>
            </a:r>
            <a:endParaRPr kumimoji="0" lang="en-GB" sz="900" b="0" i="0" u="none" strike="noStrike" cap="none" normalizeH="0" baseline="0">
              <a:ln>
                <a:noFill/>
              </a:ln>
              <a:effectLst/>
              <a:latin typeface="Trebuchet MS" panose="020B0603020202020204" pitchFamily="34" charset="0"/>
            </a:endParaRPr>
          </a:p>
        </p:txBody>
      </p:sp>
      <p:sp>
        <p:nvSpPr>
          <p:cNvPr id="165" name="Rectangle 164">
            <a:extLst>
              <a:ext uri="{FF2B5EF4-FFF2-40B4-BE49-F238E27FC236}">
                <a16:creationId xmlns:a16="http://schemas.microsoft.com/office/drawing/2014/main" id="{152478D7-F0C7-40B5-9C58-08A491D3E77B}"/>
              </a:ext>
            </a:extLst>
          </p:cNvPr>
          <p:cNvSpPr/>
          <p:nvPr/>
        </p:nvSpPr>
        <p:spPr bwMode="auto">
          <a:xfrm>
            <a:off x="1389946" y="2857486"/>
            <a:ext cx="537144"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1.1%</a:t>
            </a:r>
            <a:endParaRPr kumimoji="0" lang="en-GB" sz="900" b="0" i="0" u="none" strike="noStrike" cap="none" normalizeH="0" baseline="0">
              <a:ln>
                <a:noFill/>
              </a:ln>
              <a:effectLst/>
              <a:latin typeface="Trebuchet MS" panose="020B0603020202020204" pitchFamily="34" charset="0"/>
            </a:endParaRPr>
          </a:p>
        </p:txBody>
      </p:sp>
      <p:grpSp>
        <p:nvGrpSpPr>
          <p:cNvPr id="29" name="Groupe 28">
            <a:extLst>
              <a:ext uri="{FF2B5EF4-FFF2-40B4-BE49-F238E27FC236}">
                <a16:creationId xmlns:a16="http://schemas.microsoft.com/office/drawing/2014/main" id="{2BCA1C8C-89C1-41F4-8189-0BD36854A7B7}"/>
              </a:ext>
            </a:extLst>
          </p:cNvPr>
          <p:cNvGrpSpPr/>
          <p:nvPr/>
        </p:nvGrpSpPr>
        <p:grpSpPr>
          <a:xfrm>
            <a:off x="1401224" y="2691149"/>
            <a:ext cx="940046" cy="242031"/>
            <a:chOff x="1832839" y="2513265"/>
            <a:chExt cx="940046" cy="242031"/>
          </a:xfrm>
        </p:grpSpPr>
        <p:pic>
          <p:nvPicPr>
            <p:cNvPr id="27" name="Graphique 26">
              <a:extLst>
                <a:ext uri="{FF2B5EF4-FFF2-40B4-BE49-F238E27FC236}">
                  <a16:creationId xmlns:a16="http://schemas.microsoft.com/office/drawing/2014/main" id="{46626441-7958-464F-9CEB-4D8773B3FBF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832839" y="2513265"/>
              <a:ext cx="195930" cy="242031"/>
            </a:xfrm>
            <a:prstGeom prst="rect">
              <a:avLst/>
            </a:prstGeom>
          </p:spPr>
        </p:pic>
        <p:sp>
          <p:nvSpPr>
            <p:cNvPr id="166" name="Rectangle 165">
              <a:extLst>
                <a:ext uri="{FF2B5EF4-FFF2-40B4-BE49-F238E27FC236}">
                  <a16:creationId xmlns:a16="http://schemas.microsoft.com/office/drawing/2014/main" id="{B9377A29-B54E-4A64-B698-CE7E5D40AADD}"/>
                </a:ext>
              </a:extLst>
            </p:cNvPr>
            <p:cNvSpPr/>
            <p:nvPr/>
          </p:nvSpPr>
          <p:spPr bwMode="auto">
            <a:xfrm>
              <a:off x="1976449" y="2551261"/>
              <a:ext cx="79643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err="1">
                  <a:solidFill>
                    <a:schemeClr val="tx2"/>
                  </a:solidFill>
                  <a:latin typeface="Trebuchet MS" panose="020B0603020202020204" pitchFamily="34" charset="0"/>
                </a:rPr>
                <a:t>Covid</a:t>
              </a:r>
              <a:r>
                <a:rPr lang="en-GB" sz="900" i="1">
                  <a:solidFill>
                    <a:schemeClr val="tx2"/>
                  </a:solidFill>
                  <a:latin typeface="Trebuchet MS" panose="020B0603020202020204" pitchFamily="34" charset="0"/>
                </a:rPr>
                <a:t> impact</a:t>
              </a:r>
              <a:endParaRPr kumimoji="0" lang="en-GB" sz="900" b="0" i="1" u="none" strike="noStrike" cap="none" normalizeH="0" baseline="0">
                <a:ln>
                  <a:noFill/>
                </a:ln>
                <a:solidFill>
                  <a:schemeClr val="tx2"/>
                </a:solidFill>
                <a:effectLst/>
                <a:latin typeface="Trebuchet MS" panose="020B0603020202020204" pitchFamily="34" charset="0"/>
              </a:endParaRPr>
            </a:p>
          </p:txBody>
        </p:sp>
      </p:grpSp>
      <p:pic>
        <p:nvPicPr>
          <p:cNvPr id="431" name="Picture 2" descr="Drapeau France">
            <a:extLst>
              <a:ext uri="{FF2B5EF4-FFF2-40B4-BE49-F238E27FC236}">
                <a16:creationId xmlns:a16="http://schemas.microsoft.com/office/drawing/2014/main" id="{9E4F7978-4BDF-4DCF-8327-78B79F68E84E}"/>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1135726" y="6128958"/>
            <a:ext cx="166602" cy="110353"/>
          </a:xfrm>
          <a:prstGeom prst="rect">
            <a:avLst/>
          </a:prstGeom>
          <a:solidFill>
            <a:schemeClr val="bg1"/>
          </a:solidFill>
          <a:ln w="9525" cap="flat" cmpd="sng" algn="ctr">
            <a:noFill/>
            <a:prstDash val="solid"/>
            <a:round/>
            <a:headEnd type="none" w="med" len="med"/>
            <a:tailEnd type="none" w="med" len="med"/>
          </a:ln>
          <a:effectLst/>
        </p:spPr>
      </p:pic>
      <p:pic>
        <p:nvPicPr>
          <p:cNvPr id="432" name="Picture 2" descr="5 ft x 3 ft 150 x 90 cm-DRAPEAU BELGE Belgique 100% Polyester ...">
            <a:extLst>
              <a:ext uri="{FF2B5EF4-FFF2-40B4-BE49-F238E27FC236}">
                <a16:creationId xmlns:a16="http://schemas.microsoft.com/office/drawing/2014/main" id="{BB12921D-FA57-4AEF-9FBC-B509945B3DDE}"/>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973"/>
          <a:stretch/>
        </p:blipFill>
        <p:spPr bwMode="auto">
          <a:xfrm>
            <a:off x="1524188" y="6131621"/>
            <a:ext cx="174240" cy="105027"/>
          </a:xfrm>
          <a:prstGeom prst="rect">
            <a:avLst/>
          </a:prstGeom>
          <a:solidFill>
            <a:schemeClr val="bg1"/>
          </a:solidFill>
          <a:ln w="9525" cap="flat" cmpd="sng" algn="ctr">
            <a:noFill/>
            <a:prstDash val="solid"/>
            <a:round/>
            <a:headEnd type="none" w="med" len="med"/>
            <a:tailEnd type="none" w="med" len="med"/>
          </a:ln>
          <a:effectLst/>
        </p:spPr>
      </p:pic>
      <p:pic>
        <p:nvPicPr>
          <p:cNvPr id="433" name="Picture 2 - 1" descr="Drapeau des Pays-Bas — Wikipédia">
            <a:extLst>
              <a:ext uri="{FF2B5EF4-FFF2-40B4-BE49-F238E27FC236}">
                <a16:creationId xmlns:a16="http://schemas.microsoft.com/office/drawing/2014/main" id="{FA291A37-6593-4823-B79A-118274B416D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25963" y="6131620"/>
            <a:ext cx="174240" cy="105028"/>
          </a:xfrm>
          <a:prstGeom prst="rect">
            <a:avLst/>
          </a:prstGeom>
          <a:solidFill>
            <a:schemeClr val="bg1"/>
          </a:solidFill>
          <a:ln w="9525" cap="flat" cmpd="sng" algn="ctr">
            <a:noFill/>
            <a:prstDash val="solid"/>
            <a:round/>
            <a:headEnd type="none" w="med" len="med"/>
            <a:tailEnd type="none" w="med" len="med"/>
          </a:ln>
          <a:effectLst/>
        </p:spPr>
      </p:pic>
      <p:pic>
        <p:nvPicPr>
          <p:cNvPr id="437" name="Picture 2" descr="Drapeau France">
            <a:extLst>
              <a:ext uri="{FF2B5EF4-FFF2-40B4-BE49-F238E27FC236}">
                <a16:creationId xmlns:a16="http://schemas.microsoft.com/office/drawing/2014/main" id="{BC77B19B-F22C-4F75-A664-68A1FF9251E7}"/>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3682568" y="6128958"/>
            <a:ext cx="166602" cy="110353"/>
          </a:xfrm>
          <a:prstGeom prst="rect">
            <a:avLst/>
          </a:prstGeom>
          <a:solidFill>
            <a:schemeClr val="bg1"/>
          </a:solidFill>
          <a:ln w="9525" cap="flat" cmpd="sng" algn="ctr">
            <a:noFill/>
            <a:prstDash val="solid"/>
            <a:round/>
            <a:headEnd type="none" w="med" len="med"/>
            <a:tailEnd type="none" w="med" len="med"/>
          </a:ln>
          <a:effectLst/>
        </p:spPr>
      </p:pic>
      <p:pic>
        <p:nvPicPr>
          <p:cNvPr id="438" name="Picture 2" descr="5 ft x 3 ft 150 x 90 cm-DRAPEAU BELGE Belgique 100% Polyester ...">
            <a:extLst>
              <a:ext uri="{FF2B5EF4-FFF2-40B4-BE49-F238E27FC236}">
                <a16:creationId xmlns:a16="http://schemas.microsoft.com/office/drawing/2014/main" id="{45C6412D-FD5B-41FC-B226-9AE95FC77565}"/>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973"/>
          <a:stretch/>
        </p:blipFill>
        <p:spPr bwMode="auto">
          <a:xfrm>
            <a:off x="4073245" y="6131621"/>
            <a:ext cx="174240" cy="105027"/>
          </a:xfrm>
          <a:prstGeom prst="rect">
            <a:avLst/>
          </a:prstGeom>
          <a:solidFill>
            <a:schemeClr val="bg1"/>
          </a:solidFill>
          <a:ln w="9525" cap="flat" cmpd="sng" algn="ctr">
            <a:noFill/>
            <a:prstDash val="solid"/>
            <a:round/>
            <a:headEnd type="none" w="med" len="med"/>
            <a:tailEnd type="none" w="med" len="med"/>
          </a:ln>
          <a:effectLst/>
        </p:spPr>
      </p:pic>
      <p:pic>
        <p:nvPicPr>
          <p:cNvPr id="439" name="Picture 2 - 1" descr="Drapeau des Pays-Bas — Wikipédia">
            <a:extLst>
              <a:ext uri="{FF2B5EF4-FFF2-40B4-BE49-F238E27FC236}">
                <a16:creationId xmlns:a16="http://schemas.microsoft.com/office/drawing/2014/main" id="{A149F406-C905-497E-B195-A8B0A5AB96E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472805" y="6131620"/>
            <a:ext cx="174240" cy="105028"/>
          </a:xfrm>
          <a:prstGeom prst="rect">
            <a:avLst/>
          </a:prstGeom>
          <a:solidFill>
            <a:schemeClr val="bg1"/>
          </a:solidFill>
          <a:ln w="9525" cap="flat" cmpd="sng" algn="ctr">
            <a:noFill/>
            <a:prstDash val="solid"/>
            <a:round/>
            <a:headEnd type="none" w="med" len="med"/>
            <a:tailEnd type="none" w="med" len="med"/>
          </a:ln>
          <a:effectLst/>
        </p:spPr>
      </p:pic>
      <p:grpSp>
        <p:nvGrpSpPr>
          <p:cNvPr id="30" name="Groupe 29">
            <a:extLst>
              <a:ext uri="{FF2B5EF4-FFF2-40B4-BE49-F238E27FC236}">
                <a16:creationId xmlns:a16="http://schemas.microsoft.com/office/drawing/2014/main" id="{11CD536F-133D-4EFE-B510-6708430101F6}"/>
              </a:ext>
            </a:extLst>
          </p:cNvPr>
          <p:cNvGrpSpPr/>
          <p:nvPr/>
        </p:nvGrpSpPr>
        <p:grpSpPr>
          <a:xfrm>
            <a:off x="2421419" y="6128958"/>
            <a:ext cx="964477" cy="110353"/>
            <a:chOff x="2433680" y="6018126"/>
            <a:chExt cx="964477" cy="110353"/>
          </a:xfrm>
        </p:grpSpPr>
        <p:pic>
          <p:nvPicPr>
            <p:cNvPr id="440" name="Picture 2" descr="Drapeau France">
              <a:extLst>
                <a:ext uri="{FF2B5EF4-FFF2-40B4-BE49-F238E27FC236}">
                  <a16:creationId xmlns:a16="http://schemas.microsoft.com/office/drawing/2014/main" id="{23AE3923-AE2F-4ECB-AA47-77CFE228D815}"/>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2433680" y="6018126"/>
              <a:ext cx="166602" cy="110353"/>
            </a:xfrm>
            <a:prstGeom prst="rect">
              <a:avLst/>
            </a:prstGeom>
            <a:solidFill>
              <a:schemeClr val="bg1"/>
            </a:solidFill>
            <a:ln w="9525" cap="flat" cmpd="sng" algn="ctr">
              <a:noFill/>
              <a:prstDash val="solid"/>
              <a:round/>
              <a:headEnd type="none" w="med" len="med"/>
              <a:tailEnd type="none" w="med" len="med"/>
            </a:ln>
            <a:effectLst/>
          </p:spPr>
        </p:pic>
        <p:pic>
          <p:nvPicPr>
            <p:cNvPr id="441" name="Picture 2" descr="5 ft x 3 ft 150 x 90 cm-DRAPEAU BELGE Belgique 100% Polyester ...">
              <a:extLst>
                <a:ext uri="{FF2B5EF4-FFF2-40B4-BE49-F238E27FC236}">
                  <a16:creationId xmlns:a16="http://schemas.microsoft.com/office/drawing/2014/main" id="{394B3543-857B-4247-9AE7-8C357F7D2DD1}"/>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973"/>
            <a:stretch/>
          </p:blipFill>
          <p:spPr bwMode="auto">
            <a:xfrm>
              <a:off x="2822142" y="6020789"/>
              <a:ext cx="174240" cy="105027"/>
            </a:xfrm>
            <a:prstGeom prst="rect">
              <a:avLst/>
            </a:prstGeom>
            <a:solidFill>
              <a:schemeClr val="bg1"/>
            </a:solidFill>
            <a:ln w="9525" cap="flat" cmpd="sng" algn="ctr">
              <a:noFill/>
              <a:prstDash val="solid"/>
              <a:round/>
              <a:headEnd type="none" w="med" len="med"/>
              <a:tailEnd type="none" w="med" len="med"/>
            </a:ln>
            <a:effectLst/>
          </p:spPr>
        </p:pic>
        <p:pic>
          <p:nvPicPr>
            <p:cNvPr id="442" name="Picture 2 - 1" descr="Drapeau des Pays-Bas — Wikipédia">
              <a:extLst>
                <a:ext uri="{FF2B5EF4-FFF2-40B4-BE49-F238E27FC236}">
                  <a16:creationId xmlns:a16="http://schemas.microsoft.com/office/drawing/2014/main" id="{B7DF9023-543B-4E0D-B158-818C11AF04BC}"/>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223917" y="6020788"/>
              <a:ext cx="174240" cy="105028"/>
            </a:xfrm>
            <a:prstGeom prst="rect">
              <a:avLst/>
            </a:prstGeom>
            <a:solidFill>
              <a:schemeClr val="bg1"/>
            </a:solidFill>
            <a:ln w="9525" cap="flat" cmpd="sng" algn="ctr">
              <a:noFill/>
              <a:prstDash val="solid"/>
              <a:round/>
              <a:headEnd type="none" w="med" len="med"/>
              <a:tailEnd type="none" w="med" len="med"/>
            </a:ln>
            <a:effectLst/>
          </p:spPr>
        </p:pic>
      </p:grpSp>
      <p:sp>
        <p:nvSpPr>
          <p:cNvPr id="443" name="Plus Sign 269">
            <a:extLst>
              <a:ext uri="{FF2B5EF4-FFF2-40B4-BE49-F238E27FC236}">
                <a16:creationId xmlns:a16="http://schemas.microsoft.com/office/drawing/2014/main" id="{A58BF45F-4182-4A7B-AC23-0D7D1E916610}"/>
              </a:ext>
            </a:extLst>
          </p:cNvPr>
          <p:cNvSpPr/>
          <p:nvPr/>
        </p:nvSpPr>
        <p:spPr bwMode="auto">
          <a:xfrm>
            <a:off x="1145715" y="6338390"/>
            <a:ext cx="146624" cy="149512"/>
          </a:xfrm>
          <a:prstGeom prst="mathPlus">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44" name="Plus Sign 269">
            <a:extLst>
              <a:ext uri="{FF2B5EF4-FFF2-40B4-BE49-F238E27FC236}">
                <a16:creationId xmlns:a16="http://schemas.microsoft.com/office/drawing/2014/main" id="{B9B5FE13-A2C9-49E1-957F-AF354F3D5EA5}"/>
              </a:ext>
            </a:extLst>
          </p:cNvPr>
          <p:cNvSpPr/>
          <p:nvPr/>
        </p:nvSpPr>
        <p:spPr bwMode="auto">
          <a:xfrm>
            <a:off x="1939771" y="6338390"/>
            <a:ext cx="146624" cy="149512"/>
          </a:xfrm>
          <a:prstGeom prst="mathPlus">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445" name="Group 189">
            <a:extLst>
              <a:ext uri="{FF2B5EF4-FFF2-40B4-BE49-F238E27FC236}">
                <a16:creationId xmlns:a16="http://schemas.microsoft.com/office/drawing/2014/main" id="{7EE86FCE-8234-41FC-A5C8-25017BAF69EE}"/>
              </a:ext>
            </a:extLst>
          </p:cNvPr>
          <p:cNvGrpSpPr/>
          <p:nvPr/>
        </p:nvGrpSpPr>
        <p:grpSpPr>
          <a:xfrm>
            <a:off x="2421419" y="6318352"/>
            <a:ext cx="146624" cy="199822"/>
            <a:chOff x="2807290" y="6024495"/>
            <a:chExt cx="146624" cy="199822"/>
          </a:xfrm>
        </p:grpSpPr>
        <p:sp>
          <p:nvSpPr>
            <p:cNvPr id="446" name="Minus Sign 279">
              <a:extLst>
                <a:ext uri="{FF2B5EF4-FFF2-40B4-BE49-F238E27FC236}">
                  <a16:creationId xmlns:a16="http://schemas.microsoft.com/office/drawing/2014/main" id="{C9390BD2-930E-456B-A1B9-44AC344D6BA3}"/>
                </a:ext>
              </a:extLst>
            </p:cNvPr>
            <p:cNvSpPr/>
            <p:nvPr/>
          </p:nvSpPr>
          <p:spPr bwMode="auto">
            <a:xfrm>
              <a:off x="2807290" y="6074805"/>
              <a:ext cx="146624" cy="149512"/>
            </a:xfrm>
            <a:prstGeom prst="mathMinus">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47" name="Minus Sign 279">
              <a:extLst>
                <a:ext uri="{FF2B5EF4-FFF2-40B4-BE49-F238E27FC236}">
                  <a16:creationId xmlns:a16="http://schemas.microsoft.com/office/drawing/2014/main" id="{A9A760CE-7197-4ED5-A643-4C9953297246}"/>
                </a:ext>
              </a:extLst>
            </p:cNvPr>
            <p:cNvSpPr/>
            <p:nvPr/>
          </p:nvSpPr>
          <p:spPr bwMode="auto">
            <a:xfrm>
              <a:off x="2807290" y="6024495"/>
              <a:ext cx="146624" cy="149512"/>
            </a:xfrm>
            <a:prstGeom prst="mathMinus">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448" name="Group 189">
            <a:extLst>
              <a:ext uri="{FF2B5EF4-FFF2-40B4-BE49-F238E27FC236}">
                <a16:creationId xmlns:a16="http://schemas.microsoft.com/office/drawing/2014/main" id="{37CC1C76-D10B-4B94-82EB-2E91C5FC1A84}"/>
              </a:ext>
            </a:extLst>
          </p:cNvPr>
          <p:cNvGrpSpPr/>
          <p:nvPr/>
        </p:nvGrpSpPr>
        <p:grpSpPr>
          <a:xfrm>
            <a:off x="3221732" y="6318352"/>
            <a:ext cx="146624" cy="199822"/>
            <a:chOff x="2807290" y="6024495"/>
            <a:chExt cx="146624" cy="199822"/>
          </a:xfrm>
        </p:grpSpPr>
        <p:sp>
          <p:nvSpPr>
            <p:cNvPr id="449" name="Minus Sign 279">
              <a:extLst>
                <a:ext uri="{FF2B5EF4-FFF2-40B4-BE49-F238E27FC236}">
                  <a16:creationId xmlns:a16="http://schemas.microsoft.com/office/drawing/2014/main" id="{9636A487-562F-4A8A-962F-0E863C193095}"/>
                </a:ext>
              </a:extLst>
            </p:cNvPr>
            <p:cNvSpPr/>
            <p:nvPr/>
          </p:nvSpPr>
          <p:spPr bwMode="auto">
            <a:xfrm>
              <a:off x="2807290" y="6074805"/>
              <a:ext cx="146624" cy="149512"/>
            </a:xfrm>
            <a:prstGeom prst="mathMinus">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50" name="Minus Sign 279">
              <a:extLst>
                <a:ext uri="{FF2B5EF4-FFF2-40B4-BE49-F238E27FC236}">
                  <a16:creationId xmlns:a16="http://schemas.microsoft.com/office/drawing/2014/main" id="{97A3BE59-6B30-4519-ABE6-BBD357E8DC09}"/>
                </a:ext>
              </a:extLst>
            </p:cNvPr>
            <p:cNvSpPr/>
            <p:nvPr/>
          </p:nvSpPr>
          <p:spPr bwMode="auto">
            <a:xfrm>
              <a:off x="2807290" y="6024495"/>
              <a:ext cx="146624" cy="149512"/>
            </a:xfrm>
            <a:prstGeom prst="mathMinus">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451" name="Group 189">
            <a:extLst>
              <a:ext uri="{FF2B5EF4-FFF2-40B4-BE49-F238E27FC236}">
                <a16:creationId xmlns:a16="http://schemas.microsoft.com/office/drawing/2014/main" id="{53C17C77-52C4-400A-B042-519E285EC48A}"/>
              </a:ext>
            </a:extLst>
          </p:cNvPr>
          <p:cNvGrpSpPr/>
          <p:nvPr/>
        </p:nvGrpSpPr>
        <p:grpSpPr>
          <a:xfrm>
            <a:off x="4086043" y="6318352"/>
            <a:ext cx="146624" cy="199822"/>
            <a:chOff x="2807290" y="6024495"/>
            <a:chExt cx="146624" cy="199822"/>
          </a:xfrm>
        </p:grpSpPr>
        <p:sp>
          <p:nvSpPr>
            <p:cNvPr id="452" name="Minus Sign 279">
              <a:extLst>
                <a:ext uri="{FF2B5EF4-FFF2-40B4-BE49-F238E27FC236}">
                  <a16:creationId xmlns:a16="http://schemas.microsoft.com/office/drawing/2014/main" id="{FD51F47D-D27E-4C53-86C0-CC2FD8FB6A36}"/>
                </a:ext>
              </a:extLst>
            </p:cNvPr>
            <p:cNvSpPr/>
            <p:nvPr/>
          </p:nvSpPr>
          <p:spPr bwMode="auto">
            <a:xfrm>
              <a:off x="2807290" y="6074805"/>
              <a:ext cx="146624" cy="149512"/>
            </a:xfrm>
            <a:prstGeom prst="mathMinus">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53" name="Minus Sign 279">
              <a:extLst>
                <a:ext uri="{FF2B5EF4-FFF2-40B4-BE49-F238E27FC236}">
                  <a16:creationId xmlns:a16="http://schemas.microsoft.com/office/drawing/2014/main" id="{17070B7E-6B74-4703-A7DE-4BC0800C21CF}"/>
                </a:ext>
              </a:extLst>
            </p:cNvPr>
            <p:cNvSpPr/>
            <p:nvPr/>
          </p:nvSpPr>
          <p:spPr bwMode="auto">
            <a:xfrm>
              <a:off x="2807290" y="6024495"/>
              <a:ext cx="146624" cy="149512"/>
            </a:xfrm>
            <a:prstGeom prst="mathMinus">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454" name="Group 189">
            <a:extLst>
              <a:ext uri="{FF2B5EF4-FFF2-40B4-BE49-F238E27FC236}">
                <a16:creationId xmlns:a16="http://schemas.microsoft.com/office/drawing/2014/main" id="{5E29D96D-847E-45C6-AFB4-C1FDED56F7E5}"/>
              </a:ext>
            </a:extLst>
          </p:cNvPr>
          <p:cNvGrpSpPr/>
          <p:nvPr/>
        </p:nvGrpSpPr>
        <p:grpSpPr>
          <a:xfrm>
            <a:off x="3687277" y="6318352"/>
            <a:ext cx="146624" cy="199822"/>
            <a:chOff x="2807290" y="6024495"/>
            <a:chExt cx="146624" cy="199822"/>
          </a:xfrm>
        </p:grpSpPr>
        <p:sp>
          <p:nvSpPr>
            <p:cNvPr id="455" name="Minus Sign 279">
              <a:extLst>
                <a:ext uri="{FF2B5EF4-FFF2-40B4-BE49-F238E27FC236}">
                  <a16:creationId xmlns:a16="http://schemas.microsoft.com/office/drawing/2014/main" id="{AE04C259-FABB-456D-840F-595C3D410083}"/>
                </a:ext>
              </a:extLst>
            </p:cNvPr>
            <p:cNvSpPr/>
            <p:nvPr/>
          </p:nvSpPr>
          <p:spPr bwMode="auto">
            <a:xfrm>
              <a:off x="2807290" y="6074805"/>
              <a:ext cx="146624" cy="149512"/>
            </a:xfrm>
            <a:prstGeom prst="mathMinus">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56" name="Minus Sign 279">
              <a:extLst>
                <a:ext uri="{FF2B5EF4-FFF2-40B4-BE49-F238E27FC236}">
                  <a16:creationId xmlns:a16="http://schemas.microsoft.com/office/drawing/2014/main" id="{B952E7C2-9501-4F2E-8215-1FFB738A0596}"/>
                </a:ext>
              </a:extLst>
            </p:cNvPr>
            <p:cNvSpPr/>
            <p:nvPr/>
          </p:nvSpPr>
          <p:spPr bwMode="auto">
            <a:xfrm>
              <a:off x="2807290" y="6024495"/>
              <a:ext cx="146624" cy="149512"/>
            </a:xfrm>
            <a:prstGeom prst="mathMinus">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24" name="Groupe 123">
            <a:extLst>
              <a:ext uri="{FF2B5EF4-FFF2-40B4-BE49-F238E27FC236}">
                <a16:creationId xmlns:a16="http://schemas.microsoft.com/office/drawing/2014/main" id="{A30EA0EF-8131-4275-AE99-1FC344BB68EC}"/>
              </a:ext>
            </a:extLst>
          </p:cNvPr>
          <p:cNvGrpSpPr/>
          <p:nvPr/>
        </p:nvGrpSpPr>
        <p:grpSpPr>
          <a:xfrm>
            <a:off x="8448150" y="-11528"/>
            <a:ext cx="1435548" cy="588143"/>
            <a:chOff x="8448150" y="-11528"/>
            <a:chExt cx="1435548" cy="588143"/>
          </a:xfrm>
        </p:grpSpPr>
        <p:sp>
          <p:nvSpPr>
            <p:cNvPr id="125" name="Rectangle : coins arrondis 199">
              <a:extLst>
                <a:ext uri="{FF2B5EF4-FFF2-40B4-BE49-F238E27FC236}">
                  <a16:creationId xmlns:a16="http://schemas.microsoft.com/office/drawing/2014/main" id="{78BBAB91-88B5-4631-AA32-7CB12E013A8A}"/>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6" name="Rectangle : coins arrondis 200">
              <a:extLst>
                <a:ext uri="{FF2B5EF4-FFF2-40B4-BE49-F238E27FC236}">
                  <a16:creationId xmlns:a16="http://schemas.microsoft.com/office/drawing/2014/main" id="{450A356D-29B6-453B-819D-AD0ADC90CDA9}"/>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7" name="Rectangle : coins arrondis 201">
              <a:extLst>
                <a:ext uri="{FF2B5EF4-FFF2-40B4-BE49-F238E27FC236}">
                  <a16:creationId xmlns:a16="http://schemas.microsoft.com/office/drawing/2014/main" id="{1FEFA3C6-A22F-4A98-874A-8EABA6806097}"/>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8" name="ZoneTexte 18">
              <a:extLst>
                <a:ext uri="{FF2B5EF4-FFF2-40B4-BE49-F238E27FC236}">
                  <a16:creationId xmlns:a16="http://schemas.microsoft.com/office/drawing/2014/main" id="{61CEAB22-35C2-43D1-954B-D0B6CDDF0BB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32" name="Graphique 128" descr="Jauge">
              <a:extLst>
                <a:ext uri="{FF2B5EF4-FFF2-40B4-BE49-F238E27FC236}">
                  <a16:creationId xmlns:a16="http://schemas.microsoft.com/office/drawing/2014/main" id="{4E202FC9-FD11-4DF4-8C6D-CF147AB5683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553764" y="187516"/>
              <a:ext cx="234953" cy="218224"/>
            </a:xfrm>
            <a:prstGeom prst="rect">
              <a:avLst/>
            </a:prstGeom>
            <a:effectLst/>
          </p:spPr>
        </p:pic>
        <p:pic>
          <p:nvPicPr>
            <p:cNvPr id="137" name="Graphique 90" descr="Poignée de main">
              <a:extLst>
                <a:ext uri="{FF2B5EF4-FFF2-40B4-BE49-F238E27FC236}">
                  <a16:creationId xmlns:a16="http://schemas.microsoft.com/office/drawing/2014/main" id="{642E9182-AC94-4BDE-A463-807A8B9016FA}"/>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960868" y="152880"/>
              <a:ext cx="256313" cy="287496"/>
            </a:xfrm>
            <a:prstGeom prst="rect">
              <a:avLst/>
            </a:prstGeom>
            <a:effectLst/>
          </p:spPr>
        </p:pic>
        <p:pic>
          <p:nvPicPr>
            <p:cNvPr id="139" name="Graphique 74" descr="Mégaphone">
              <a:extLst>
                <a:ext uri="{FF2B5EF4-FFF2-40B4-BE49-F238E27FC236}">
                  <a16:creationId xmlns:a16="http://schemas.microsoft.com/office/drawing/2014/main" id="{78D8160F-8F66-41E2-9300-AC681130CFF6}"/>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389331" y="181519"/>
              <a:ext cx="233011" cy="216420"/>
            </a:xfrm>
            <a:prstGeom prst="rect">
              <a:avLst/>
            </a:prstGeom>
            <a:effectLst/>
          </p:spPr>
        </p:pic>
        <p:pic>
          <p:nvPicPr>
            <p:cNvPr id="141" name="Picture 2" descr="Drapeau France">
              <a:extLst>
                <a:ext uri="{FF2B5EF4-FFF2-40B4-BE49-F238E27FC236}">
                  <a16:creationId xmlns:a16="http://schemas.microsoft.com/office/drawing/2014/main" id="{3626365C-858A-4584-9B31-5E8D8D2C4C7B}"/>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49" name="Picture 2" descr="5 ft x 3 ft 150 x 90 cm-DRAPEAU BELGE Belgique 100% Polyester ...">
              <a:extLst>
                <a:ext uri="{FF2B5EF4-FFF2-40B4-BE49-F238E27FC236}">
                  <a16:creationId xmlns:a16="http://schemas.microsoft.com/office/drawing/2014/main" id="{B1807818-2948-4BCA-83C4-D8B2F6A08129}"/>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55" name="Picture 2 - 1" descr="Drapeau des Pays-Bas — Wikipédia">
              <a:extLst>
                <a:ext uri="{FF2B5EF4-FFF2-40B4-BE49-F238E27FC236}">
                  <a16:creationId xmlns:a16="http://schemas.microsoft.com/office/drawing/2014/main" id="{627461A1-647B-4D39-8F40-5323BA94D53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57" name="Picture 2 - 2" descr="Drapeau du Luxembourg">
              <a:extLst>
                <a:ext uri="{FF2B5EF4-FFF2-40B4-BE49-F238E27FC236}">
                  <a16:creationId xmlns:a16="http://schemas.microsoft.com/office/drawing/2014/main" id="{873ABBDD-E6B2-4300-965D-893A788F7D2B}"/>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67" name="ZoneTexte 18">
              <a:extLst>
                <a:ext uri="{FF2B5EF4-FFF2-40B4-BE49-F238E27FC236}">
                  <a16:creationId xmlns:a16="http://schemas.microsoft.com/office/drawing/2014/main" id="{E7B0A340-687C-4A19-8614-B07F8B861CE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redit &amp; financial risk</a:t>
              </a:r>
            </a:p>
          </p:txBody>
        </p:sp>
      </p:grpSp>
      <p:cxnSp>
        <p:nvCxnSpPr>
          <p:cNvPr id="150" name="Straight Connector 190">
            <a:extLst>
              <a:ext uri="{FF2B5EF4-FFF2-40B4-BE49-F238E27FC236}">
                <a16:creationId xmlns:a16="http://schemas.microsoft.com/office/drawing/2014/main" id="{E6A252EC-A73F-46F6-83DD-717A38449B2D}"/>
              </a:ext>
            </a:extLst>
          </p:cNvPr>
          <p:cNvCxnSpPr>
            <a:cxnSpLocks/>
          </p:cNvCxnSpPr>
          <p:nvPr>
            <p:custDataLst>
              <p:tags r:id="rId6"/>
            </p:custDataLst>
          </p:nvPr>
        </p:nvCxnSpPr>
        <p:spPr bwMode="auto">
          <a:xfrm flipV="1">
            <a:off x="1922541" y="3053857"/>
            <a:ext cx="350247" cy="40081"/>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56" name="Rectangle 155">
            <a:extLst>
              <a:ext uri="{FF2B5EF4-FFF2-40B4-BE49-F238E27FC236}">
                <a16:creationId xmlns:a16="http://schemas.microsoft.com/office/drawing/2014/main" id="{B6BBDB1B-C64D-40EB-AE5A-12D50F33CFA7}"/>
              </a:ext>
            </a:extLst>
          </p:cNvPr>
          <p:cNvSpPr/>
          <p:nvPr/>
        </p:nvSpPr>
        <p:spPr bwMode="auto">
          <a:xfrm>
            <a:off x="1863000" y="2857486"/>
            <a:ext cx="537144"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1.1%</a:t>
            </a:r>
            <a:endParaRPr kumimoji="0" lang="en-GB" sz="900" b="0" i="0" u="none" strike="noStrike" cap="none" normalizeH="0" baseline="0">
              <a:ln>
                <a:noFill/>
              </a:ln>
              <a:effectLst/>
              <a:latin typeface="Trebuchet MS" panose="020B0603020202020204" pitchFamily="34" charset="0"/>
            </a:endParaRPr>
          </a:p>
        </p:txBody>
      </p:sp>
      <p:grpSp>
        <p:nvGrpSpPr>
          <p:cNvPr id="4" name="Groupe 3">
            <a:extLst>
              <a:ext uri="{FF2B5EF4-FFF2-40B4-BE49-F238E27FC236}">
                <a16:creationId xmlns:a16="http://schemas.microsoft.com/office/drawing/2014/main" id="{17CA70BB-52AB-4361-8986-6CA1C4F5BEAE}"/>
              </a:ext>
            </a:extLst>
          </p:cNvPr>
          <p:cNvGrpSpPr/>
          <p:nvPr/>
        </p:nvGrpSpPr>
        <p:grpSpPr>
          <a:xfrm>
            <a:off x="5099333" y="2105865"/>
            <a:ext cx="4711761" cy="3264559"/>
            <a:chOff x="5258918" y="2223968"/>
            <a:chExt cx="4711761" cy="3264559"/>
          </a:xfrm>
        </p:grpSpPr>
        <p:sp>
          <p:nvSpPr>
            <p:cNvPr id="515" name="Rectangle 514">
              <a:extLst>
                <a:ext uri="{FF2B5EF4-FFF2-40B4-BE49-F238E27FC236}">
                  <a16:creationId xmlns:a16="http://schemas.microsoft.com/office/drawing/2014/main" id="{5D6DEE91-53C0-412C-99AF-E45F78155B57}"/>
                </a:ext>
              </a:extLst>
            </p:cNvPr>
            <p:cNvSpPr/>
            <p:nvPr/>
          </p:nvSpPr>
          <p:spPr bwMode="auto">
            <a:xfrm>
              <a:off x="5330267" y="2223968"/>
              <a:ext cx="4444564" cy="326455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17" name="Rectangle 516">
              <a:extLst>
                <a:ext uri="{FF2B5EF4-FFF2-40B4-BE49-F238E27FC236}">
                  <a16:creationId xmlns:a16="http://schemas.microsoft.com/office/drawing/2014/main" id="{51334C4F-8EEF-4A88-968A-93DE75BD0821}"/>
                </a:ext>
              </a:extLst>
            </p:cNvPr>
            <p:cNvSpPr/>
            <p:nvPr/>
          </p:nvSpPr>
          <p:spPr bwMode="auto">
            <a:xfrm>
              <a:off x="5258918" y="2350816"/>
              <a:ext cx="366628" cy="23395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700" i="1">
                  <a:latin typeface="Trebuchet MS" pitchFamily="34" charset="0"/>
                </a:rPr>
                <a:t>High end</a:t>
              </a:r>
              <a:endParaRPr kumimoji="0" lang="en-GB" sz="700" b="0" i="1" u="none" strike="noStrike" cap="none" normalizeH="0" baseline="0">
                <a:ln>
                  <a:noFill/>
                </a:ln>
                <a:effectLst/>
                <a:latin typeface="Trebuchet MS" pitchFamily="34" charset="0"/>
              </a:endParaRPr>
            </a:p>
          </p:txBody>
        </p:sp>
        <p:sp>
          <p:nvSpPr>
            <p:cNvPr id="518" name="Rectangle 517">
              <a:extLst>
                <a:ext uri="{FF2B5EF4-FFF2-40B4-BE49-F238E27FC236}">
                  <a16:creationId xmlns:a16="http://schemas.microsoft.com/office/drawing/2014/main" id="{AF34166E-8930-4719-B4D4-45F2A0327516}"/>
                </a:ext>
              </a:extLst>
            </p:cNvPr>
            <p:cNvSpPr/>
            <p:nvPr/>
          </p:nvSpPr>
          <p:spPr bwMode="auto">
            <a:xfrm>
              <a:off x="5266070" y="4509421"/>
              <a:ext cx="352324" cy="23395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700" i="1">
                  <a:latin typeface="Trebuchet MS" pitchFamily="34" charset="0"/>
                </a:rPr>
                <a:t>Low end</a:t>
              </a:r>
              <a:endParaRPr kumimoji="0" lang="en-GB" sz="700" b="0" i="1" u="none" strike="noStrike" cap="none" normalizeH="0" baseline="0">
                <a:ln>
                  <a:noFill/>
                </a:ln>
                <a:effectLst/>
                <a:latin typeface="Trebuchet MS" pitchFamily="34" charset="0"/>
              </a:endParaRPr>
            </a:p>
          </p:txBody>
        </p:sp>
        <p:grpSp>
          <p:nvGrpSpPr>
            <p:cNvPr id="519" name="Group 19">
              <a:extLst>
                <a:ext uri="{FF2B5EF4-FFF2-40B4-BE49-F238E27FC236}">
                  <a16:creationId xmlns:a16="http://schemas.microsoft.com/office/drawing/2014/main" id="{709ABC06-E24E-4FB4-89BA-FA7B6D00BF48}"/>
                </a:ext>
              </a:extLst>
            </p:cNvPr>
            <p:cNvGrpSpPr/>
            <p:nvPr/>
          </p:nvGrpSpPr>
          <p:grpSpPr>
            <a:xfrm>
              <a:off x="5620321" y="4867830"/>
              <a:ext cx="3977664" cy="326999"/>
              <a:chOff x="919673" y="5183084"/>
              <a:chExt cx="6217182" cy="484102"/>
            </a:xfrm>
          </p:grpSpPr>
          <p:sp>
            <p:nvSpPr>
              <p:cNvPr id="520" name="Arrow: Chevron 225">
                <a:extLst>
                  <a:ext uri="{FF2B5EF4-FFF2-40B4-BE49-F238E27FC236}">
                    <a16:creationId xmlns:a16="http://schemas.microsoft.com/office/drawing/2014/main" id="{AFF16742-5AC9-4850-9F08-BEDCAD26CC5E}"/>
                  </a:ext>
                </a:extLst>
              </p:cNvPr>
              <p:cNvSpPr/>
              <p:nvPr/>
            </p:nvSpPr>
            <p:spPr bwMode="auto">
              <a:xfrm>
                <a:off x="4682084" y="5191100"/>
                <a:ext cx="1161811" cy="476086"/>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endParaRPr lang="en-GB" sz="700" b="1" cap="all">
                  <a:solidFill>
                    <a:schemeClr val="bg1"/>
                  </a:solidFill>
                  <a:latin typeface="Trebuchet MS" pitchFamily="34" charset="0"/>
                </a:endParaRPr>
              </a:p>
            </p:txBody>
          </p:sp>
          <p:sp>
            <p:nvSpPr>
              <p:cNvPr id="521" name="Arrow: Chevron 226">
                <a:extLst>
                  <a:ext uri="{FF2B5EF4-FFF2-40B4-BE49-F238E27FC236}">
                    <a16:creationId xmlns:a16="http://schemas.microsoft.com/office/drawing/2014/main" id="{857C8A38-F83E-4782-973F-3C3C189C0E08}"/>
                  </a:ext>
                </a:extLst>
              </p:cNvPr>
              <p:cNvSpPr/>
              <p:nvPr/>
            </p:nvSpPr>
            <p:spPr bwMode="auto">
              <a:xfrm>
                <a:off x="2154255" y="5191100"/>
                <a:ext cx="1277992" cy="476086"/>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700" b="1" cap="all">
                  <a:solidFill>
                    <a:schemeClr val="bg1"/>
                  </a:solidFill>
                  <a:latin typeface="Trebuchet MS" pitchFamily="34" charset="0"/>
                </a:endParaRPr>
              </a:p>
            </p:txBody>
          </p:sp>
          <p:sp>
            <p:nvSpPr>
              <p:cNvPr id="522" name="Arrow: Chevron 227">
                <a:extLst>
                  <a:ext uri="{FF2B5EF4-FFF2-40B4-BE49-F238E27FC236}">
                    <a16:creationId xmlns:a16="http://schemas.microsoft.com/office/drawing/2014/main" id="{57F77BCC-318C-4824-AEC0-72630B1CF5E0}"/>
                  </a:ext>
                </a:extLst>
              </p:cNvPr>
              <p:cNvSpPr/>
              <p:nvPr/>
            </p:nvSpPr>
            <p:spPr bwMode="auto">
              <a:xfrm>
                <a:off x="919673" y="5191099"/>
                <a:ext cx="1277692" cy="476087"/>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700" b="1" cap="all">
                  <a:solidFill>
                    <a:schemeClr val="bg1"/>
                  </a:solidFill>
                  <a:latin typeface="Trebuchet MS" pitchFamily="34" charset="0"/>
                </a:endParaRPr>
              </a:p>
            </p:txBody>
          </p:sp>
          <p:sp>
            <p:nvSpPr>
              <p:cNvPr id="523" name="Arrow: Chevron 229">
                <a:extLst>
                  <a:ext uri="{FF2B5EF4-FFF2-40B4-BE49-F238E27FC236}">
                    <a16:creationId xmlns:a16="http://schemas.microsoft.com/office/drawing/2014/main" id="{7A0F00FC-F074-4E31-96BA-0619B96AA933}"/>
                  </a:ext>
                </a:extLst>
              </p:cNvPr>
              <p:cNvSpPr/>
              <p:nvPr/>
            </p:nvSpPr>
            <p:spPr bwMode="auto">
              <a:xfrm>
                <a:off x="3447215" y="5191101"/>
                <a:ext cx="1161811" cy="476085"/>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700" b="1" cap="all">
                  <a:solidFill>
                    <a:schemeClr val="bg1"/>
                  </a:solidFill>
                  <a:latin typeface="Trebuchet MS" pitchFamily="34" charset="0"/>
                </a:endParaRPr>
              </a:p>
            </p:txBody>
          </p:sp>
          <p:sp>
            <p:nvSpPr>
              <p:cNvPr id="524" name="Arrow: Chevron 63">
                <a:extLst>
                  <a:ext uri="{FF2B5EF4-FFF2-40B4-BE49-F238E27FC236}">
                    <a16:creationId xmlns:a16="http://schemas.microsoft.com/office/drawing/2014/main" id="{B57A773E-35D4-47A4-8EED-348A371088DE}"/>
                  </a:ext>
                </a:extLst>
              </p:cNvPr>
              <p:cNvSpPr/>
              <p:nvPr/>
            </p:nvSpPr>
            <p:spPr bwMode="auto">
              <a:xfrm>
                <a:off x="5916954" y="5191100"/>
                <a:ext cx="1161811" cy="476086"/>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360000" tIns="45720" rIns="0" bIns="45720" numCol="1" rtlCol="0" anchor="ctr" anchorCtr="0" compatLnSpc="1">
                <a:prstTxWarp prst="textNoShape">
                  <a:avLst/>
                </a:prstTxWarp>
              </a:bodyPr>
              <a:lstStyle/>
              <a:p>
                <a:endParaRPr lang="en-GB" sz="700" b="1" cap="all">
                  <a:solidFill>
                    <a:schemeClr val="bg1"/>
                  </a:solidFill>
                  <a:latin typeface="Trebuchet MS" pitchFamily="34" charset="0"/>
                </a:endParaRPr>
              </a:p>
            </p:txBody>
          </p:sp>
          <p:sp>
            <p:nvSpPr>
              <p:cNvPr id="525" name="Rectangle 524">
                <a:extLst>
                  <a:ext uri="{FF2B5EF4-FFF2-40B4-BE49-F238E27FC236}">
                    <a16:creationId xmlns:a16="http://schemas.microsoft.com/office/drawing/2014/main" id="{70756480-CBE5-4BF6-96E1-5495222B9037}"/>
                  </a:ext>
                </a:extLst>
              </p:cNvPr>
              <p:cNvSpPr/>
              <p:nvPr/>
            </p:nvSpPr>
            <p:spPr bwMode="auto">
              <a:xfrm>
                <a:off x="2212347" y="5183087"/>
                <a:ext cx="1161811" cy="47608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700" b="1" cap="all">
                    <a:solidFill>
                      <a:schemeClr val="bg1"/>
                    </a:solidFill>
                    <a:latin typeface="Trebuchet MS" pitchFamily="34" charset="0"/>
                  </a:rPr>
                  <a:t>Risk</a:t>
                </a:r>
              </a:p>
              <a:p>
                <a:pPr algn="ctr"/>
                <a:r>
                  <a:rPr lang="en-GB" sz="700" b="1" cap="all">
                    <a:solidFill>
                      <a:schemeClr val="bg1"/>
                    </a:solidFill>
                    <a:latin typeface="Trebuchet MS" pitchFamily="34" charset="0"/>
                  </a:rPr>
                  <a:t> score</a:t>
                </a:r>
              </a:p>
            </p:txBody>
          </p:sp>
          <p:sp>
            <p:nvSpPr>
              <p:cNvPr id="526" name="Rectangle 525">
                <a:extLst>
                  <a:ext uri="{FF2B5EF4-FFF2-40B4-BE49-F238E27FC236}">
                    <a16:creationId xmlns:a16="http://schemas.microsoft.com/office/drawing/2014/main" id="{7DB55BB7-4CFD-4E60-8ACC-AAEF3F02C1BD}"/>
                  </a:ext>
                </a:extLst>
              </p:cNvPr>
              <p:cNvSpPr/>
              <p:nvPr/>
            </p:nvSpPr>
            <p:spPr bwMode="auto">
              <a:xfrm>
                <a:off x="977750" y="5183087"/>
                <a:ext cx="1161538" cy="4760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85725" algn="ctr">
                  <a:tabLst>
                    <a:tab pos="85725" algn="l"/>
                  </a:tabLst>
                </a:pPr>
                <a:r>
                  <a:rPr lang="en-GB" sz="700" b="1" cap="all">
                    <a:solidFill>
                      <a:schemeClr val="bg1"/>
                    </a:solidFill>
                    <a:latin typeface="Trebuchet MS" pitchFamily="34" charset="0"/>
                  </a:rPr>
                  <a:t>Pure data</a:t>
                </a:r>
              </a:p>
            </p:txBody>
          </p:sp>
          <p:sp>
            <p:nvSpPr>
              <p:cNvPr id="527" name="Rectangle 526">
                <a:extLst>
                  <a:ext uri="{FF2B5EF4-FFF2-40B4-BE49-F238E27FC236}">
                    <a16:creationId xmlns:a16="http://schemas.microsoft.com/office/drawing/2014/main" id="{48A146A6-F945-4E3B-A0CE-B730EFF7C39C}"/>
                  </a:ext>
                </a:extLst>
              </p:cNvPr>
              <p:cNvSpPr/>
              <p:nvPr/>
            </p:nvSpPr>
            <p:spPr bwMode="auto">
              <a:xfrm>
                <a:off x="3389123" y="5183087"/>
                <a:ext cx="1277992" cy="47608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700" b="1" cap="all">
                    <a:solidFill>
                      <a:schemeClr val="bg1"/>
                    </a:solidFill>
                    <a:latin typeface="Trebuchet MS" pitchFamily="34" charset="0"/>
                  </a:rPr>
                  <a:t>Risk </a:t>
                </a:r>
              </a:p>
              <a:p>
                <a:pPr algn="ctr"/>
                <a:r>
                  <a:rPr lang="en-GB" sz="700" b="1" cap="all">
                    <a:solidFill>
                      <a:schemeClr val="bg1"/>
                    </a:solidFill>
                    <a:latin typeface="Trebuchet MS" pitchFamily="34" charset="0"/>
                  </a:rPr>
                  <a:t>report</a:t>
                </a:r>
              </a:p>
            </p:txBody>
          </p:sp>
          <p:sp>
            <p:nvSpPr>
              <p:cNvPr id="528" name="Rectangle 527">
                <a:extLst>
                  <a:ext uri="{FF2B5EF4-FFF2-40B4-BE49-F238E27FC236}">
                    <a16:creationId xmlns:a16="http://schemas.microsoft.com/office/drawing/2014/main" id="{AA5F1D05-1D9F-412E-9A5D-812B6D90BDEE}"/>
                  </a:ext>
                </a:extLst>
              </p:cNvPr>
              <p:cNvSpPr/>
              <p:nvPr/>
            </p:nvSpPr>
            <p:spPr bwMode="auto">
              <a:xfrm>
                <a:off x="4623993" y="5183087"/>
                <a:ext cx="1277992" cy="47608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85725" algn="ctr"/>
                <a:r>
                  <a:rPr lang="en-GB" sz="700" b="1" cap="all">
                    <a:solidFill>
                      <a:schemeClr val="bg1"/>
                    </a:solidFill>
                    <a:latin typeface="Trebuchet MS" pitchFamily="34" charset="0"/>
                  </a:rPr>
                  <a:t>Software APPLICATION</a:t>
                </a:r>
              </a:p>
            </p:txBody>
          </p:sp>
          <p:sp>
            <p:nvSpPr>
              <p:cNvPr id="529" name="Rectangle 528">
                <a:extLst>
                  <a:ext uri="{FF2B5EF4-FFF2-40B4-BE49-F238E27FC236}">
                    <a16:creationId xmlns:a16="http://schemas.microsoft.com/office/drawing/2014/main" id="{35CD4C6B-E868-4295-85A2-5A54FC6DC5FE}"/>
                  </a:ext>
                </a:extLst>
              </p:cNvPr>
              <p:cNvSpPr/>
              <p:nvPr/>
            </p:nvSpPr>
            <p:spPr bwMode="auto">
              <a:xfrm>
                <a:off x="5858863" y="5183084"/>
                <a:ext cx="1277992" cy="47608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85725" algn="ctr">
                  <a:tabLst>
                    <a:tab pos="180975" algn="l"/>
                  </a:tabLst>
                </a:pPr>
                <a:r>
                  <a:rPr lang="en-GB" sz="700" b="1" cap="all">
                    <a:solidFill>
                      <a:schemeClr val="bg1"/>
                    </a:solidFill>
                    <a:latin typeface="Trebuchet MS" pitchFamily="34" charset="0"/>
                  </a:rPr>
                  <a:t>Adjacent services</a:t>
                </a:r>
              </a:p>
            </p:txBody>
          </p:sp>
        </p:grpSp>
        <p:cxnSp>
          <p:nvCxnSpPr>
            <p:cNvPr id="530" name="Connecteur droit avec flèche 22">
              <a:extLst>
                <a:ext uri="{FF2B5EF4-FFF2-40B4-BE49-F238E27FC236}">
                  <a16:creationId xmlns:a16="http://schemas.microsoft.com/office/drawing/2014/main" id="{DA4FD177-20F9-488E-9A20-D8A6D16F1103}"/>
                </a:ext>
              </a:extLst>
            </p:cNvPr>
            <p:cNvCxnSpPr>
              <a:cxnSpLocks/>
            </p:cNvCxnSpPr>
            <p:nvPr/>
          </p:nvCxnSpPr>
          <p:spPr bwMode="auto">
            <a:xfrm flipV="1">
              <a:off x="5596021" y="2299063"/>
              <a:ext cx="0" cy="2473113"/>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531" name="Rectangle: Rounded Corners 123">
              <a:extLst>
                <a:ext uri="{FF2B5EF4-FFF2-40B4-BE49-F238E27FC236}">
                  <a16:creationId xmlns:a16="http://schemas.microsoft.com/office/drawing/2014/main" id="{B3A25C05-CFA8-492C-9371-AFD2F0AC6AEB}"/>
                </a:ext>
              </a:extLst>
            </p:cNvPr>
            <p:cNvSpPr/>
            <p:nvPr/>
          </p:nvSpPr>
          <p:spPr bwMode="auto">
            <a:xfrm>
              <a:off x="7760879" y="5312579"/>
              <a:ext cx="456476" cy="84222"/>
            </a:xfrm>
            <a:prstGeom prst="roundRect">
              <a:avLst/>
            </a:prstGeom>
            <a:noFill/>
            <a:ln w="6350" cap="flat" cmpd="sng" algn="ctr">
              <a:solidFill>
                <a:srgbClr val="C00000"/>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700" i="0" u="none" strike="noStrike" cap="none" normalizeH="0" baseline="0">
                <a:ln>
                  <a:noFill/>
                </a:ln>
                <a:solidFill>
                  <a:schemeClr val="accent4"/>
                </a:solidFill>
                <a:effectLst/>
                <a:latin typeface="Trebuchet MS" pitchFamily="34" charset="0"/>
              </a:endParaRPr>
            </a:p>
          </p:txBody>
        </p:sp>
        <p:sp>
          <p:nvSpPr>
            <p:cNvPr id="532" name="Rectangle: Rounded Corners 124">
              <a:extLst>
                <a:ext uri="{FF2B5EF4-FFF2-40B4-BE49-F238E27FC236}">
                  <a16:creationId xmlns:a16="http://schemas.microsoft.com/office/drawing/2014/main" id="{02AC6D82-2A2E-4B6D-AA93-BE0956DE18F0}"/>
                </a:ext>
              </a:extLst>
            </p:cNvPr>
            <p:cNvSpPr/>
            <p:nvPr/>
          </p:nvSpPr>
          <p:spPr bwMode="auto">
            <a:xfrm>
              <a:off x="5407511" y="5312579"/>
              <a:ext cx="456476" cy="84222"/>
            </a:xfrm>
            <a:prstGeom prst="roundRect">
              <a:avLst/>
            </a:prstGeom>
            <a:noFill/>
            <a:ln w="6350" cap="flat" cmpd="sng" algn="ctr">
              <a:solidFill>
                <a:srgbClr val="C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700" i="0" u="none" strike="noStrike" cap="none" normalizeH="0" baseline="0">
                <a:ln>
                  <a:noFill/>
                </a:ln>
                <a:solidFill>
                  <a:schemeClr val="accent4"/>
                </a:solidFill>
                <a:effectLst/>
                <a:latin typeface="Trebuchet MS" pitchFamily="34" charset="0"/>
              </a:endParaRPr>
            </a:p>
          </p:txBody>
        </p:sp>
        <p:sp>
          <p:nvSpPr>
            <p:cNvPr id="533" name="Rectangle: Rounded Corners 125">
              <a:extLst>
                <a:ext uri="{FF2B5EF4-FFF2-40B4-BE49-F238E27FC236}">
                  <a16:creationId xmlns:a16="http://schemas.microsoft.com/office/drawing/2014/main" id="{2F693C0C-A797-4704-B668-E5D7FDA625FA}"/>
                </a:ext>
              </a:extLst>
            </p:cNvPr>
            <p:cNvSpPr/>
            <p:nvPr/>
          </p:nvSpPr>
          <p:spPr bwMode="auto">
            <a:xfrm>
              <a:off x="8221664" y="5312579"/>
              <a:ext cx="1749015" cy="84222"/>
            </a:xfrm>
            <a:prstGeom prst="roundRect">
              <a:avLst/>
            </a:prstGeom>
            <a:noFill/>
            <a:ln w="635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700" i="0" u="none" strike="noStrike" cap="none" normalizeH="0" baseline="0">
                  <a:ln>
                    <a:noFill/>
                  </a:ln>
                  <a:effectLst/>
                  <a:latin typeface="Trebuchet MS" pitchFamily="34" charset="0"/>
                </a:rPr>
                <a:t>Addressed via partnerships</a:t>
              </a:r>
            </a:p>
          </p:txBody>
        </p:sp>
        <p:sp>
          <p:nvSpPr>
            <p:cNvPr id="534" name="Rectangle: Rounded Corners 126">
              <a:extLst>
                <a:ext uri="{FF2B5EF4-FFF2-40B4-BE49-F238E27FC236}">
                  <a16:creationId xmlns:a16="http://schemas.microsoft.com/office/drawing/2014/main" id="{96AC1431-4511-4742-A218-FC35455D8FB9}"/>
                </a:ext>
              </a:extLst>
            </p:cNvPr>
            <p:cNvSpPr/>
            <p:nvPr/>
          </p:nvSpPr>
          <p:spPr bwMode="auto">
            <a:xfrm>
              <a:off x="5868296" y="5312579"/>
              <a:ext cx="1749015" cy="84222"/>
            </a:xfrm>
            <a:prstGeom prst="roundRect">
              <a:avLst/>
            </a:prstGeom>
            <a:noFill/>
            <a:ln w="63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defTabSz="914400" rtl="0" eaLnBrk="1" fontAlgn="base" latinLnBrk="0" hangingPunct="1">
                <a:lnSpc>
                  <a:spcPct val="100000"/>
                </a:lnSpc>
                <a:spcBef>
                  <a:spcPct val="0"/>
                </a:spcBef>
                <a:spcAft>
                  <a:spcPct val="0"/>
                </a:spcAft>
                <a:buClrTx/>
                <a:buSzTx/>
                <a:buFontTx/>
                <a:buNone/>
                <a:tabLst/>
              </a:pPr>
              <a:r>
                <a:rPr lang="en-GB" sz="700">
                  <a:latin typeface="Trebuchet MS" pitchFamily="34" charset="0"/>
                </a:rPr>
                <a:t>Addressed via own company resources</a:t>
              </a:r>
              <a:endParaRPr kumimoji="0" lang="en-GB" sz="700" i="0" u="none" strike="noStrike" cap="none" normalizeH="0" baseline="0">
                <a:ln>
                  <a:noFill/>
                </a:ln>
                <a:effectLst/>
                <a:latin typeface="Trebuchet MS" pitchFamily="34" charset="0"/>
              </a:endParaRPr>
            </a:p>
          </p:txBody>
        </p:sp>
        <p:sp>
          <p:nvSpPr>
            <p:cNvPr id="535" name="Rectangle 534">
              <a:extLst>
                <a:ext uri="{FF2B5EF4-FFF2-40B4-BE49-F238E27FC236}">
                  <a16:creationId xmlns:a16="http://schemas.microsoft.com/office/drawing/2014/main" id="{30770603-8216-4387-9E86-441104E7C2EB}"/>
                </a:ext>
              </a:extLst>
            </p:cNvPr>
            <p:cNvSpPr/>
            <p:nvPr/>
          </p:nvSpPr>
          <p:spPr bwMode="auto">
            <a:xfrm rot="16200000">
              <a:off x="4966701" y="3374075"/>
              <a:ext cx="1009486" cy="23395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kumimoji="0" lang="en-GB" sz="700" b="1" u="none" strike="noStrike" cap="none" normalizeH="0" baseline="0">
                  <a:ln>
                    <a:noFill/>
                  </a:ln>
                  <a:effectLst/>
                  <a:latin typeface="Trebuchet MS" pitchFamily="34" charset="0"/>
                </a:rPr>
                <a:t>Service quality</a:t>
              </a:r>
            </a:p>
          </p:txBody>
        </p:sp>
        <p:grpSp>
          <p:nvGrpSpPr>
            <p:cNvPr id="11" name="Groupe 10">
              <a:extLst>
                <a:ext uri="{FF2B5EF4-FFF2-40B4-BE49-F238E27FC236}">
                  <a16:creationId xmlns:a16="http://schemas.microsoft.com/office/drawing/2014/main" id="{90E2A634-0820-465F-9B29-3E87626BC41C}"/>
                </a:ext>
              </a:extLst>
            </p:cNvPr>
            <p:cNvGrpSpPr/>
            <p:nvPr/>
          </p:nvGrpSpPr>
          <p:grpSpPr>
            <a:xfrm>
              <a:off x="5657478" y="2602860"/>
              <a:ext cx="3903342" cy="483306"/>
              <a:chOff x="5657478" y="2314458"/>
              <a:chExt cx="3903342" cy="483306"/>
            </a:xfrm>
          </p:grpSpPr>
          <p:sp>
            <p:nvSpPr>
              <p:cNvPr id="540" name="Rectangle : coins arrondis 539">
                <a:extLst>
                  <a:ext uri="{FF2B5EF4-FFF2-40B4-BE49-F238E27FC236}">
                    <a16:creationId xmlns:a16="http://schemas.microsoft.com/office/drawing/2014/main" id="{A28B2736-5882-4732-961A-3077D0027556}"/>
                  </a:ext>
                </a:extLst>
              </p:cNvPr>
              <p:cNvSpPr/>
              <p:nvPr/>
            </p:nvSpPr>
            <p:spPr bwMode="auto">
              <a:xfrm>
                <a:off x="5657478" y="2343956"/>
                <a:ext cx="3113290" cy="396000"/>
              </a:xfrm>
              <a:prstGeom prst="round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41" name="Rectangle : coins arrondis 540">
                <a:extLst>
                  <a:ext uri="{FF2B5EF4-FFF2-40B4-BE49-F238E27FC236}">
                    <a16:creationId xmlns:a16="http://schemas.microsoft.com/office/drawing/2014/main" id="{06E6B880-5F02-4E47-99D6-1D09E38C465C}"/>
                  </a:ext>
                </a:extLst>
              </p:cNvPr>
              <p:cNvSpPr/>
              <p:nvPr/>
            </p:nvSpPr>
            <p:spPr bwMode="auto">
              <a:xfrm>
                <a:off x="8832224" y="2343956"/>
                <a:ext cx="728596" cy="396000"/>
              </a:xfrm>
              <a:prstGeom prst="roundRect">
                <a:avLst/>
              </a:prstGeom>
              <a:no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544" name="Picture 115" descr="A picture containing object&#10;&#10;Description automatically generated">
                <a:extLst>
                  <a:ext uri="{FF2B5EF4-FFF2-40B4-BE49-F238E27FC236}">
                    <a16:creationId xmlns:a16="http://schemas.microsoft.com/office/drawing/2014/main" id="{EF9DE035-533E-4241-816A-72DAB7A08099}"/>
                  </a:ext>
                </a:extLst>
              </p:cNvPr>
              <p:cNvPicPr>
                <a:picLocks noChangeAspect="1"/>
              </p:cNvPicPr>
              <p:nvPr/>
            </p:nvPicPr>
            <p:blipFill>
              <a:blip r:embed="rId2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448902" y="2507356"/>
                <a:ext cx="328131" cy="207770"/>
              </a:xfrm>
              <a:prstGeom prst="rect">
                <a:avLst/>
              </a:prstGeom>
            </p:spPr>
          </p:pic>
          <p:pic>
            <p:nvPicPr>
              <p:cNvPr id="545" name="Picture 140" descr="A close up of a sign&#10;&#10;Description automatically generated">
                <a:extLst>
                  <a:ext uri="{FF2B5EF4-FFF2-40B4-BE49-F238E27FC236}">
                    <a16:creationId xmlns:a16="http://schemas.microsoft.com/office/drawing/2014/main" id="{9542581D-F30D-4CA6-97C7-8D8728DFA234}"/>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7637979" y="2417106"/>
                <a:ext cx="528351" cy="380658"/>
              </a:xfrm>
              <a:prstGeom prst="rect">
                <a:avLst/>
              </a:prstGeom>
            </p:spPr>
          </p:pic>
          <p:sp>
            <p:nvSpPr>
              <p:cNvPr id="109" name="ZoneTexte 100">
                <a:extLst>
                  <a:ext uri="{FF2B5EF4-FFF2-40B4-BE49-F238E27FC236}">
                    <a16:creationId xmlns:a16="http://schemas.microsoft.com/office/drawing/2014/main" id="{A2E4A619-CF89-412A-A6CA-06A99676F49C}"/>
                  </a:ext>
                </a:extLst>
              </p:cNvPr>
              <p:cNvSpPr txBox="1"/>
              <p:nvPr/>
            </p:nvSpPr>
            <p:spPr>
              <a:xfrm>
                <a:off x="5725251" y="2314458"/>
                <a:ext cx="1880795" cy="215444"/>
              </a:xfrm>
              <a:prstGeom prst="rect">
                <a:avLst/>
              </a:prstGeom>
              <a:noFill/>
            </p:spPr>
            <p:txBody>
              <a:bodyPr wrap="square" lIns="0" rIns="0" rtlCol="0">
                <a:spAutoFit/>
              </a:bodyPr>
              <a:lstStyle/>
              <a:p>
                <a:r>
                  <a:rPr lang="en-GB" sz="800" b="1" i="1">
                    <a:solidFill>
                      <a:schemeClr val="tx2"/>
                    </a:solidFill>
                    <a:latin typeface="Trebuchet MS" panose="020B0603020202020204" pitchFamily="34" charset="0"/>
                  </a:rPr>
                  <a:t>Premium international BD&amp;A players</a:t>
                </a:r>
              </a:p>
            </p:txBody>
          </p:sp>
        </p:grpSp>
        <p:sp>
          <p:nvSpPr>
            <p:cNvPr id="538" name="Rectangle : coins arrondis 537">
              <a:extLst>
                <a:ext uri="{FF2B5EF4-FFF2-40B4-BE49-F238E27FC236}">
                  <a16:creationId xmlns:a16="http://schemas.microsoft.com/office/drawing/2014/main" id="{572A48D9-4E6F-42B3-A789-B324A695C32F}"/>
                </a:ext>
              </a:extLst>
            </p:cNvPr>
            <p:cNvSpPr/>
            <p:nvPr/>
          </p:nvSpPr>
          <p:spPr bwMode="auto">
            <a:xfrm>
              <a:off x="5657478" y="3068311"/>
              <a:ext cx="3113290" cy="396000"/>
            </a:xfrm>
            <a:prstGeom prst="roundRect">
              <a:avLst/>
            </a:prstGeom>
            <a:noFill/>
            <a:ln w="9525" cap="flat" cmpd="sng" algn="ctr">
              <a:solidFill>
                <a:srgbClr val="0070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43" name="Rectangle : coins arrondis 542">
              <a:extLst>
                <a:ext uri="{FF2B5EF4-FFF2-40B4-BE49-F238E27FC236}">
                  <a16:creationId xmlns:a16="http://schemas.microsoft.com/office/drawing/2014/main" id="{639C4700-70FE-406B-9A72-026C238B031C}"/>
                </a:ext>
              </a:extLst>
            </p:cNvPr>
            <p:cNvSpPr/>
            <p:nvPr/>
          </p:nvSpPr>
          <p:spPr bwMode="auto">
            <a:xfrm>
              <a:off x="8832224" y="3057940"/>
              <a:ext cx="728596" cy="396000"/>
            </a:xfrm>
            <a:prstGeom prst="roundRect">
              <a:avLst/>
            </a:prstGeom>
            <a:noFill/>
            <a:ln w="9525" cap="flat" cmpd="sng" algn="ctr">
              <a:solidFill>
                <a:srgbClr val="0070C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14" name="Picture 113" descr="A close up of a sign&#10;&#10;Description automatically generated">
              <a:extLst>
                <a:ext uri="{FF2B5EF4-FFF2-40B4-BE49-F238E27FC236}">
                  <a16:creationId xmlns:a16="http://schemas.microsoft.com/office/drawing/2014/main" id="{6ADC2E60-DA18-45A0-98A6-F0950DFB5113}"/>
                </a:ext>
              </a:extLst>
            </p:cNvPr>
            <p:cNvPicPr>
              <a:picLocks noChangeAspect="1"/>
            </p:cNvPicPr>
            <p:nvPr/>
          </p:nvPicPr>
          <p:blipFill>
            <a:blip r:embed="rId2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80034" y="3255413"/>
              <a:ext cx="583824" cy="122921"/>
            </a:xfrm>
            <a:prstGeom prst="rect">
              <a:avLst/>
            </a:prstGeom>
          </p:spPr>
        </p:pic>
        <p:pic>
          <p:nvPicPr>
            <p:cNvPr id="115" name="Picture 114">
              <a:extLst>
                <a:ext uri="{FF2B5EF4-FFF2-40B4-BE49-F238E27FC236}">
                  <a16:creationId xmlns:a16="http://schemas.microsoft.com/office/drawing/2014/main" id="{9DC66D77-5097-4904-BEA8-688337DAF4F0}"/>
                </a:ext>
              </a:extLst>
            </p:cNvPr>
            <p:cNvPicPr>
              <a:picLocks noChangeAspect="1"/>
            </p:cNvPicPr>
            <p:nvPr/>
          </p:nvPicPr>
          <p:blipFill>
            <a:blip r:embed="rId2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02441" y="3950938"/>
              <a:ext cx="417160" cy="250410"/>
            </a:xfrm>
            <a:prstGeom prst="rect">
              <a:avLst/>
            </a:prstGeom>
          </p:spPr>
        </p:pic>
        <p:pic>
          <p:nvPicPr>
            <p:cNvPr id="140" name="Picture 139" descr="A picture containing light&#10;&#10;Description automatically generated">
              <a:extLst>
                <a:ext uri="{FF2B5EF4-FFF2-40B4-BE49-F238E27FC236}">
                  <a16:creationId xmlns:a16="http://schemas.microsoft.com/office/drawing/2014/main" id="{AF807F97-CB74-4FB1-A775-9BBFE9167D3A}"/>
                </a:ext>
              </a:extLst>
            </p:cNvPr>
            <p:cNvPicPr>
              <a:picLocks noChangeAspect="1"/>
            </p:cNvPicPr>
            <p:nvPr/>
          </p:nvPicPr>
          <p:blipFill rotWithShape="1">
            <a:blip r:embed="rId28">
              <a:extLst>
                <a:ext uri="{28A0092B-C50C-407E-A947-70E740481C1C}">
                  <a14:useLocalDpi xmlns:a14="http://schemas.microsoft.com/office/drawing/2010/main" val="0"/>
                </a:ext>
              </a:extLst>
            </a:blip>
            <a:srcRect t="38705" b="38705"/>
            <a:stretch/>
          </p:blipFill>
          <p:spPr>
            <a:xfrm>
              <a:off x="7902155" y="3258720"/>
              <a:ext cx="643559" cy="116307"/>
            </a:xfrm>
            <a:prstGeom prst="rect">
              <a:avLst/>
            </a:prstGeom>
          </p:spPr>
        </p:pic>
        <p:pic>
          <p:nvPicPr>
            <p:cNvPr id="142" name="Picture 141" descr="A picture containing computer, computer&#10;&#10;Description automatically generated">
              <a:extLst>
                <a:ext uri="{FF2B5EF4-FFF2-40B4-BE49-F238E27FC236}">
                  <a16:creationId xmlns:a16="http://schemas.microsoft.com/office/drawing/2014/main" id="{4DD352BD-065D-44AF-AA14-61D1CC14E635}"/>
                </a:ext>
              </a:extLst>
            </p:cNvPr>
            <p:cNvPicPr>
              <a:picLocks noChangeAspect="1"/>
            </p:cNvPicPr>
            <p:nvPr/>
          </p:nvPicPr>
          <p:blipFill rotWithShape="1">
            <a:blip r:embed="rId29">
              <a:extLst>
                <a:ext uri="{28A0092B-C50C-407E-A947-70E740481C1C}">
                  <a14:useLocalDpi xmlns:a14="http://schemas.microsoft.com/office/drawing/2010/main" val="0"/>
                </a:ext>
              </a:extLst>
            </a:blip>
            <a:srcRect l="12024" t="40724" r="12024" b="40724"/>
            <a:stretch/>
          </p:blipFill>
          <p:spPr>
            <a:xfrm>
              <a:off x="6930062" y="3270536"/>
              <a:ext cx="505889" cy="92675"/>
            </a:xfrm>
            <a:prstGeom prst="rect">
              <a:avLst/>
            </a:prstGeom>
          </p:spPr>
        </p:pic>
        <p:sp>
          <p:nvSpPr>
            <p:cNvPr id="110" name="ZoneTexte 112">
              <a:extLst>
                <a:ext uri="{FF2B5EF4-FFF2-40B4-BE49-F238E27FC236}">
                  <a16:creationId xmlns:a16="http://schemas.microsoft.com/office/drawing/2014/main" id="{20C93CB4-9963-4352-8BD7-6B810FD334D1}"/>
                </a:ext>
              </a:extLst>
            </p:cNvPr>
            <p:cNvSpPr txBox="1"/>
            <p:nvPr/>
          </p:nvSpPr>
          <p:spPr>
            <a:xfrm>
              <a:off x="5785548" y="3034178"/>
              <a:ext cx="963011" cy="215444"/>
            </a:xfrm>
            <a:prstGeom prst="rect">
              <a:avLst/>
            </a:prstGeom>
            <a:noFill/>
          </p:spPr>
          <p:txBody>
            <a:bodyPr wrap="square" lIns="0" rtlCol="0">
              <a:spAutoFit/>
            </a:bodyPr>
            <a:lstStyle/>
            <a:p>
              <a:r>
                <a:rPr lang="en-GB" sz="800" b="1" i="1">
                  <a:solidFill>
                    <a:schemeClr val="accent1">
                      <a:lumMod val="75000"/>
                    </a:schemeClr>
                  </a:solidFill>
                  <a:latin typeface="Trebuchet MS" panose="020B0603020202020204" pitchFamily="34" charset="0"/>
                </a:rPr>
                <a:t>Local incumbents</a:t>
              </a:r>
            </a:p>
          </p:txBody>
        </p:sp>
        <p:sp>
          <p:nvSpPr>
            <p:cNvPr id="537" name="Rectangle : coins arrondis 536">
              <a:extLst>
                <a:ext uri="{FF2B5EF4-FFF2-40B4-BE49-F238E27FC236}">
                  <a16:creationId xmlns:a16="http://schemas.microsoft.com/office/drawing/2014/main" id="{CF1E42B2-C773-4B98-AB45-863622B66C59}"/>
                </a:ext>
              </a:extLst>
            </p:cNvPr>
            <p:cNvSpPr/>
            <p:nvPr/>
          </p:nvSpPr>
          <p:spPr bwMode="auto">
            <a:xfrm>
              <a:off x="5657479" y="3940223"/>
              <a:ext cx="2323238" cy="396000"/>
            </a:xfrm>
            <a:prstGeom prst="roundRect">
              <a:avLst/>
            </a:prstGeom>
            <a:noFill/>
            <a:ln w="952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35" name="Picture 134" descr="A picture containing drawing, food&#10;&#10;Description automatically generated">
              <a:extLst>
                <a:ext uri="{FF2B5EF4-FFF2-40B4-BE49-F238E27FC236}">
                  <a16:creationId xmlns:a16="http://schemas.microsoft.com/office/drawing/2014/main" id="{076F16EE-5552-4722-9F5E-3FD82DEBB0D8}"/>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696124" y="4159610"/>
              <a:ext cx="624468" cy="148895"/>
            </a:xfrm>
            <a:prstGeom prst="rect">
              <a:avLst/>
            </a:prstGeom>
          </p:spPr>
        </p:pic>
        <p:pic>
          <p:nvPicPr>
            <p:cNvPr id="136" name="Picture 135">
              <a:extLst>
                <a:ext uri="{FF2B5EF4-FFF2-40B4-BE49-F238E27FC236}">
                  <a16:creationId xmlns:a16="http://schemas.microsoft.com/office/drawing/2014/main" id="{DE0BDC39-0E1E-4871-A298-4A51C100D414}"/>
                </a:ext>
              </a:extLst>
            </p:cNvPr>
            <p:cNvPicPr>
              <a:picLocks noChangeAspect="1"/>
            </p:cNvPicPr>
            <p:nvPr/>
          </p:nvPicPr>
          <p:blipFill>
            <a:blip r:embed="rId31">
              <a:clrChange>
                <a:clrFrom>
                  <a:srgbClr val="FFFFFF"/>
                </a:clrFrom>
                <a:clrTo>
                  <a:srgbClr val="FFFFFF">
                    <a:alpha val="0"/>
                  </a:srgbClr>
                </a:clrTo>
              </a:clrChange>
            </a:blip>
            <a:stretch>
              <a:fillRect/>
            </a:stretch>
          </p:blipFill>
          <p:spPr>
            <a:xfrm>
              <a:off x="6476770" y="4183032"/>
              <a:ext cx="670568" cy="118729"/>
            </a:xfrm>
            <a:prstGeom prst="rect">
              <a:avLst/>
            </a:prstGeom>
          </p:spPr>
        </p:pic>
        <p:pic>
          <p:nvPicPr>
            <p:cNvPr id="138" name="Picture 137">
              <a:extLst>
                <a:ext uri="{FF2B5EF4-FFF2-40B4-BE49-F238E27FC236}">
                  <a16:creationId xmlns:a16="http://schemas.microsoft.com/office/drawing/2014/main" id="{40E96AF8-9179-4DAF-BA59-BB55CC121C32}"/>
                </a:ext>
              </a:extLst>
            </p:cNvPr>
            <p:cNvPicPr>
              <a:picLocks noChangeAspect="1"/>
            </p:cNvPicPr>
            <p:nvPr/>
          </p:nvPicPr>
          <p:blipFill>
            <a:blip r:embed="rId32">
              <a:clrChange>
                <a:clrFrom>
                  <a:srgbClr val="FFFFFF"/>
                </a:clrFrom>
                <a:clrTo>
                  <a:srgbClr val="FFFFFF">
                    <a:alpha val="0"/>
                  </a:srgbClr>
                </a:clrTo>
              </a:clrChange>
            </a:blip>
            <a:stretch>
              <a:fillRect/>
            </a:stretch>
          </p:blipFill>
          <p:spPr>
            <a:xfrm>
              <a:off x="7303516" y="4086220"/>
              <a:ext cx="637375" cy="228648"/>
            </a:xfrm>
            <a:prstGeom prst="rect">
              <a:avLst/>
            </a:prstGeom>
          </p:spPr>
        </p:pic>
        <p:sp>
          <p:nvSpPr>
            <p:cNvPr id="111" name="ZoneTexte 115">
              <a:extLst>
                <a:ext uri="{FF2B5EF4-FFF2-40B4-BE49-F238E27FC236}">
                  <a16:creationId xmlns:a16="http://schemas.microsoft.com/office/drawing/2014/main" id="{34F23F45-BF8A-42CD-AC18-3673BC4B29F3}"/>
                </a:ext>
              </a:extLst>
            </p:cNvPr>
            <p:cNvSpPr txBox="1"/>
            <p:nvPr/>
          </p:nvSpPr>
          <p:spPr>
            <a:xfrm>
              <a:off x="5643381" y="3905254"/>
              <a:ext cx="1223553" cy="215444"/>
            </a:xfrm>
            <a:prstGeom prst="rect">
              <a:avLst/>
            </a:prstGeom>
            <a:noFill/>
          </p:spPr>
          <p:txBody>
            <a:bodyPr wrap="square" rtlCol="0">
              <a:spAutoFit/>
            </a:bodyPr>
            <a:lstStyle/>
            <a:p>
              <a:r>
                <a:rPr lang="en-GB" sz="800" b="1" i="1">
                  <a:solidFill>
                    <a:srgbClr val="FFC000"/>
                  </a:solidFill>
                  <a:latin typeface="Trebuchet MS" panose="020B0603020202020204" pitchFamily="34" charset="0"/>
                </a:rPr>
                <a:t>Local &amp; small players</a:t>
              </a:r>
            </a:p>
          </p:txBody>
        </p:sp>
        <p:sp>
          <p:nvSpPr>
            <p:cNvPr id="536" name="Rectangle : coins arrondis 535">
              <a:extLst>
                <a:ext uri="{FF2B5EF4-FFF2-40B4-BE49-F238E27FC236}">
                  <a16:creationId xmlns:a16="http://schemas.microsoft.com/office/drawing/2014/main" id="{A7435C38-7BDF-47DF-A767-C73107BD3041}"/>
                </a:ext>
              </a:extLst>
            </p:cNvPr>
            <p:cNvSpPr/>
            <p:nvPr/>
          </p:nvSpPr>
          <p:spPr bwMode="auto">
            <a:xfrm>
              <a:off x="5657479" y="4376176"/>
              <a:ext cx="1579928" cy="396000"/>
            </a:xfrm>
            <a:prstGeom prst="round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30" name="Picture 129">
              <a:extLst>
                <a:ext uri="{FF2B5EF4-FFF2-40B4-BE49-F238E27FC236}">
                  <a16:creationId xmlns:a16="http://schemas.microsoft.com/office/drawing/2014/main" id="{7351FC3F-128C-4BCA-BBA1-F1523FB3FFEF}"/>
                </a:ext>
              </a:extLst>
            </p:cNvPr>
            <p:cNvPicPr>
              <a:picLocks noChangeAspect="1"/>
            </p:cNvPicPr>
            <p:nvPr/>
          </p:nvPicPr>
          <p:blipFill rotWithShape="1">
            <a:blip r:embed="rId33">
              <a:clrChange>
                <a:clrFrom>
                  <a:srgbClr val="FFFFFF"/>
                </a:clrFrom>
                <a:clrTo>
                  <a:srgbClr val="FFFFFF">
                    <a:alpha val="0"/>
                  </a:srgbClr>
                </a:clrTo>
              </a:clrChange>
              <a:extLst>
                <a:ext uri="{28A0092B-C50C-407E-A947-70E740481C1C}">
                  <a14:useLocalDpi xmlns:a14="http://schemas.microsoft.com/office/drawing/2010/main" val="0"/>
                </a:ext>
              </a:extLst>
            </a:blip>
            <a:srcRect l="17951" t="23735" r="17951" b="23735"/>
            <a:stretch/>
          </p:blipFill>
          <p:spPr>
            <a:xfrm>
              <a:off x="5723387" y="4555155"/>
              <a:ext cx="489397" cy="180866"/>
            </a:xfrm>
            <a:prstGeom prst="rect">
              <a:avLst/>
            </a:prstGeom>
          </p:spPr>
        </p:pic>
        <p:pic>
          <p:nvPicPr>
            <p:cNvPr id="131" name="Picture 130" descr="A picture containing clipart&#10;&#10;Description automatically generated">
              <a:extLst>
                <a:ext uri="{FF2B5EF4-FFF2-40B4-BE49-F238E27FC236}">
                  <a16:creationId xmlns:a16="http://schemas.microsoft.com/office/drawing/2014/main" id="{0B2D173F-C259-40DC-8849-28A84F5DD7AB}"/>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6549566" y="4597921"/>
              <a:ext cx="551235" cy="82772"/>
            </a:xfrm>
            <a:prstGeom prst="rect">
              <a:avLst/>
            </a:prstGeom>
          </p:spPr>
        </p:pic>
        <p:sp>
          <p:nvSpPr>
            <p:cNvPr id="129" name="ZoneTexte 115">
              <a:extLst>
                <a:ext uri="{FF2B5EF4-FFF2-40B4-BE49-F238E27FC236}">
                  <a16:creationId xmlns:a16="http://schemas.microsoft.com/office/drawing/2014/main" id="{409DDF72-8D1B-40B1-B100-4E3D10120253}"/>
                </a:ext>
              </a:extLst>
            </p:cNvPr>
            <p:cNvSpPr txBox="1"/>
            <p:nvPr/>
          </p:nvSpPr>
          <p:spPr>
            <a:xfrm>
              <a:off x="5596021" y="4355406"/>
              <a:ext cx="1081420" cy="215444"/>
            </a:xfrm>
            <a:prstGeom prst="rect">
              <a:avLst/>
            </a:prstGeom>
            <a:noFill/>
          </p:spPr>
          <p:txBody>
            <a:bodyPr wrap="square" rtlCol="0">
              <a:spAutoFit/>
            </a:bodyPr>
            <a:lstStyle/>
            <a:p>
              <a:r>
                <a:rPr lang="en-GB" sz="800" b="1" i="1">
                  <a:latin typeface="+mj-lt"/>
                </a:rPr>
                <a:t>Freemium players</a:t>
              </a:r>
            </a:p>
          </p:txBody>
        </p:sp>
        <p:sp>
          <p:nvSpPr>
            <p:cNvPr id="169" name="Rectangle : coins arrondis 168">
              <a:extLst>
                <a:ext uri="{FF2B5EF4-FFF2-40B4-BE49-F238E27FC236}">
                  <a16:creationId xmlns:a16="http://schemas.microsoft.com/office/drawing/2014/main" id="{9400BBFB-8667-4421-9EB5-4E3ECC56C898}"/>
                </a:ext>
              </a:extLst>
            </p:cNvPr>
            <p:cNvSpPr/>
            <p:nvPr/>
          </p:nvSpPr>
          <p:spPr bwMode="auto">
            <a:xfrm>
              <a:off x="5664637" y="2289664"/>
              <a:ext cx="3896181" cy="291276"/>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a:latin typeface="Trebuchet MS" pitchFamily="34" charset="0"/>
                </a:rPr>
                <a:t>Potential opportunities for BD&amp;A players to create further added-value services</a:t>
              </a:r>
              <a:endParaRPr kumimoji="0" lang="en-GB" sz="900" b="0" i="1" u="none" strike="noStrike" cap="none" normalizeH="0" baseline="0">
                <a:ln>
                  <a:noFill/>
                </a:ln>
                <a:solidFill>
                  <a:schemeClr val="tx1"/>
                </a:solidFill>
                <a:effectLst/>
                <a:latin typeface="Trebuchet MS" pitchFamily="34" charset="0"/>
              </a:endParaRPr>
            </a:p>
          </p:txBody>
        </p:sp>
        <p:sp>
          <p:nvSpPr>
            <p:cNvPr id="47" name="Flèche : haut 46">
              <a:extLst>
                <a:ext uri="{FF2B5EF4-FFF2-40B4-BE49-F238E27FC236}">
                  <a16:creationId xmlns:a16="http://schemas.microsoft.com/office/drawing/2014/main" id="{664EB7AB-0731-43A1-845B-0C749DFF7F53}"/>
                </a:ext>
              </a:extLst>
            </p:cNvPr>
            <p:cNvSpPr/>
            <p:nvPr/>
          </p:nvSpPr>
          <p:spPr bwMode="auto">
            <a:xfrm>
              <a:off x="6446348" y="2441639"/>
              <a:ext cx="260044" cy="215444"/>
            </a:xfrm>
            <a:prstGeom prst="upArrow">
              <a:avLst/>
            </a:prstGeom>
            <a:solidFill>
              <a:schemeClr val="tx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 name="Bulle narrative : rectangle 11">
              <a:extLst>
                <a:ext uri="{FF2B5EF4-FFF2-40B4-BE49-F238E27FC236}">
                  <a16:creationId xmlns:a16="http://schemas.microsoft.com/office/drawing/2014/main" id="{DF4135CE-2C04-424F-A1B7-3A139E928CAC}"/>
                </a:ext>
              </a:extLst>
            </p:cNvPr>
            <p:cNvSpPr/>
            <p:nvPr/>
          </p:nvSpPr>
          <p:spPr bwMode="auto">
            <a:xfrm>
              <a:off x="7797605" y="4398074"/>
              <a:ext cx="1950611" cy="371230"/>
            </a:xfrm>
            <a:prstGeom prst="wedgeRectCallout">
              <a:avLst>
                <a:gd name="adj1" fmla="val -73681"/>
                <a:gd name="adj2" fmla="val 26253"/>
              </a:avLst>
            </a:prstGeom>
            <a:solidFill>
              <a:schemeClr val="bg1"/>
            </a:solid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a:ln>
                    <a:noFill/>
                  </a:ln>
                  <a:solidFill>
                    <a:schemeClr val="tx1"/>
                  </a:solidFill>
                  <a:effectLst/>
                  <a:latin typeface="Trebuchet MS" pitchFamily="34" charset="0"/>
                </a:rPr>
                <a:t>Freemium players are only present in France and in Belgium, but not in the Netherlands</a:t>
              </a:r>
            </a:p>
          </p:txBody>
        </p:sp>
        <p:grpSp>
          <p:nvGrpSpPr>
            <p:cNvPr id="159" name="Groupe 158">
              <a:extLst>
                <a:ext uri="{FF2B5EF4-FFF2-40B4-BE49-F238E27FC236}">
                  <a16:creationId xmlns:a16="http://schemas.microsoft.com/office/drawing/2014/main" id="{481EF02D-0A03-4DFF-AA9E-D8519EA9CAD4}"/>
                </a:ext>
              </a:extLst>
            </p:cNvPr>
            <p:cNvGrpSpPr/>
            <p:nvPr/>
          </p:nvGrpSpPr>
          <p:grpSpPr>
            <a:xfrm>
              <a:off x="5657478" y="3458995"/>
              <a:ext cx="3903342" cy="430092"/>
              <a:chOff x="5657478" y="2745819"/>
              <a:chExt cx="3903342" cy="430092"/>
            </a:xfrm>
          </p:grpSpPr>
          <p:sp>
            <p:nvSpPr>
              <p:cNvPr id="168" name="Rectangle : coins arrondis 167">
                <a:extLst>
                  <a:ext uri="{FF2B5EF4-FFF2-40B4-BE49-F238E27FC236}">
                    <a16:creationId xmlns:a16="http://schemas.microsoft.com/office/drawing/2014/main" id="{3A48CEE5-6750-471D-A31E-3407EE9FAA6E}"/>
                  </a:ext>
                </a:extLst>
              </p:cNvPr>
              <p:cNvSpPr/>
              <p:nvPr/>
            </p:nvSpPr>
            <p:spPr bwMode="auto">
              <a:xfrm>
                <a:off x="5657478" y="2779911"/>
                <a:ext cx="2323238" cy="396000"/>
              </a:xfrm>
              <a:prstGeom prst="roundRect">
                <a:avLst/>
              </a:prstGeom>
              <a:noFill/>
              <a:ln w="952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0" name="Rectangle : coins arrondis 169">
                <a:extLst>
                  <a:ext uri="{FF2B5EF4-FFF2-40B4-BE49-F238E27FC236}">
                    <a16:creationId xmlns:a16="http://schemas.microsoft.com/office/drawing/2014/main" id="{05A3A3D9-82FE-40D1-B4AD-1198C93E12C6}"/>
                  </a:ext>
                </a:extLst>
              </p:cNvPr>
              <p:cNvSpPr/>
              <p:nvPr/>
            </p:nvSpPr>
            <p:spPr bwMode="auto">
              <a:xfrm>
                <a:off x="8042172" y="2779911"/>
                <a:ext cx="1518648" cy="396000"/>
              </a:xfrm>
              <a:prstGeom prst="roundRect">
                <a:avLst/>
              </a:prstGeom>
              <a:noFill/>
              <a:ln w="9525" cap="flat" cmpd="sng" algn="ctr">
                <a:solidFill>
                  <a:srgbClr val="C0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71" name="Picture 121">
                <a:extLst>
                  <a:ext uri="{FF2B5EF4-FFF2-40B4-BE49-F238E27FC236}">
                    <a16:creationId xmlns:a16="http://schemas.microsoft.com/office/drawing/2014/main" id="{2D9D30C8-3450-4F1D-838A-94A734CE046D}"/>
                  </a:ext>
                </a:extLst>
              </p:cNvPr>
              <p:cNvPicPr>
                <a:picLocks noChangeAspect="1"/>
              </p:cNvPicPr>
              <p:nvPr/>
            </p:nvPicPr>
            <p:blipFill rotWithShape="1">
              <a:blip r:embed="rId35">
                <a:clrChange>
                  <a:clrFrom>
                    <a:srgbClr val="FFFFFF"/>
                  </a:clrFrom>
                  <a:clrTo>
                    <a:srgbClr val="FFFFFF">
                      <a:alpha val="0"/>
                    </a:srgbClr>
                  </a:clrTo>
                </a:clrChange>
                <a:extLst>
                  <a:ext uri="{28A0092B-C50C-407E-A947-70E740481C1C}">
                    <a14:useLocalDpi xmlns:a14="http://schemas.microsoft.com/office/drawing/2010/main" val="0"/>
                  </a:ext>
                </a:extLst>
              </a:blip>
              <a:srcRect l="25352" b="-7258"/>
              <a:stretch/>
            </p:blipFill>
            <p:spPr>
              <a:xfrm>
                <a:off x="6840442" y="2988821"/>
                <a:ext cx="747363" cy="156826"/>
              </a:xfrm>
              <a:prstGeom prst="rect">
                <a:avLst/>
              </a:prstGeom>
            </p:spPr>
          </p:pic>
          <p:sp>
            <p:nvSpPr>
              <p:cNvPr id="172" name="ZoneTexte 121">
                <a:extLst>
                  <a:ext uri="{FF2B5EF4-FFF2-40B4-BE49-F238E27FC236}">
                    <a16:creationId xmlns:a16="http://schemas.microsoft.com/office/drawing/2014/main" id="{555E6D87-4FD6-4043-9D07-A5E5D980080D}"/>
                  </a:ext>
                </a:extLst>
              </p:cNvPr>
              <p:cNvSpPr txBox="1"/>
              <p:nvPr/>
            </p:nvSpPr>
            <p:spPr>
              <a:xfrm>
                <a:off x="5734861" y="2745819"/>
                <a:ext cx="698455" cy="215444"/>
              </a:xfrm>
              <a:prstGeom prst="rect">
                <a:avLst/>
              </a:prstGeom>
              <a:noFill/>
            </p:spPr>
            <p:txBody>
              <a:bodyPr wrap="square" rtlCol="0">
                <a:spAutoFit/>
              </a:bodyPr>
              <a:lstStyle/>
              <a:p>
                <a:r>
                  <a:rPr lang="en-GB" sz="800" b="1" i="1">
                    <a:solidFill>
                      <a:srgbClr val="C00000"/>
                    </a:solidFill>
                    <a:latin typeface="Trebuchet MS" panose="020B0603020202020204" pitchFamily="34" charset="0"/>
                  </a:rPr>
                  <a:t>Challenger</a:t>
                </a:r>
              </a:p>
            </p:txBody>
          </p:sp>
        </p:grpSp>
      </p:grpSp>
    </p:spTree>
    <p:extLst>
      <p:ext uri="{BB962C8B-B14F-4D97-AF65-F5344CB8AC3E}">
        <p14:creationId xmlns:p14="http://schemas.microsoft.com/office/powerpoint/2010/main" val="244205625"/>
      </p:ext>
    </p:extLst>
  </p:cSld>
  <p:clrMapOvr>
    <a:masterClrMapping/>
  </p:clrMapOvr>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122C107-C2A1-4953-9350-91B7A10F6DE1}"/>
              </a:ext>
            </a:extLst>
          </p:cNvPr>
          <p:cNvGraphicFramePr>
            <a:graphicFrameLocks noChangeAspect="1"/>
          </p:cNvGraphicFramePr>
          <p:nvPr>
            <p:custDataLst>
              <p:tags r:id="rId1"/>
            </p:custDataLst>
            <p:extLst>
              <p:ext uri="{D42A27DB-BD31-4B8C-83A1-F6EECF244321}">
                <p14:modId xmlns:p14="http://schemas.microsoft.com/office/powerpoint/2010/main" val="1291483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11" name="Object 10" hidden="1">
                        <a:extLst>
                          <a:ext uri="{FF2B5EF4-FFF2-40B4-BE49-F238E27FC236}">
                            <a16:creationId xmlns:a16="http://schemas.microsoft.com/office/drawing/2014/main" id="{E122C107-C2A1-4953-9350-91B7A10F6D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619634F8-055C-4FE0-B70D-01CBBCB4F21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7" name="Rectangle 6">
            <a:extLst>
              <a:ext uri="{FF2B5EF4-FFF2-40B4-BE49-F238E27FC236}">
                <a16:creationId xmlns:a16="http://schemas.microsoft.com/office/drawing/2014/main" id="{EBF3DBD7-C675-4024-92B6-6C55E034F498}"/>
              </a:ext>
            </a:extLst>
          </p:cNvPr>
          <p:cNvSpPr/>
          <p:nvPr/>
        </p:nvSpPr>
        <p:spPr bwMode="auto">
          <a:xfrm>
            <a:off x="3726880" y="1187753"/>
            <a:ext cx="6072714" cy="51790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le 1">
            <a:extLst>
              <a:ext uri="{FF2B5EF4-FFF2-40B4-BE49-F238E27FC236}">
                <a16:creationId xmlns:a16="http://schemas.microsoft.com/office/drawing/2014/main" id="{A9C092F8-DE50-48F2-8C73-D86A5F6F272A}"/>
              </a:ext>
            </a:extLst>
          </p:cNvPr>
          <p:cNvSpPr>
            <a:spLocks noGrp="1"/>
          </p:cNvSpPr>
          <p:nvPr>
            <p:ph type="title"/>
          </p:nvPr>
        </p:nvSpPr>
        <p:spPr>
          <a:xfrm>
            <a:off x="165600" y="147600"/>
            <a:ext cx="8357687" cy="684000"/>
          </a:xfrm>
        </p:spPr>
        <p:txBody>
          <a:bodyPr/>
          <a:lstStyle/>
          <a:p>
            <a:r>
              <a:rPr lang="en-GB" dirty="0"/>
              <a:t>Altares’ </a:t>
            </a:r>
            <a:r>
              <a:rPr lang="en-GB" dirty="0" err="1"/>
              <a:t>french</a:t>
            </a:r>
            <a:r>
              <a:rPr lang="en-GB" dirty="0"/>
              <a:t> database contains all incomes in France, </a:t>
            </a:r>
            <a:r>
              <a:rPr lang="en-GB" dirty="0">
                <a:solidFill>
                  <a:schemeClr val="tx2"/>
                </a:solidFill>
              </a:rPr>
              <a:t>including indirect DB&amp;I and one shot-incomes</a:t>
            </a:r>
            <a:r>
              <a:rPr lang="en-GB" dirty="0"/>
              <a:t>, and thus must be </a:t>
            </a:r>
            <a:r>
              <a:rPr lang="en-GB" dirty="0">
                <a:solidFill>
                  <a:schemeClr val="tx2"/>
                </a:solidFill>
              </a:rPr>
              <a:t>restrained to recurring incomes </a:t>
            </a:r>
            <a:r>
              <a:rPr lang="en-GB" dirty="0"/>
              <a:t>in order to study customers cohorts </a:t>
            </a:r>
          </a:p>
        </p:txBody>
      </p:sp>
      <p:sp>
        <p:nvSpPr>
          <p:cNvPr id="3" name="Text Placeholder 2">
            <a:extLst>
              <a:ext uri="{FF2B5EF4-FFF2-40B4-BE49-F238E27FC236}">
                <a16:creationId xmlns:a16="http://schemas.microsoft.com/office/drawing/2014/main" id="{7851D9B2-2606-4A80-88A9-9AB3D973C3CD}"/>
              </a:ext>
            </a:extLst>
          </p:cNvPr>
          <p:cNvSpPr>
            <a:spLocks noGrp="1"/>
          </p:cNvSpPr>
          <p:nvPr>
            <p:ph type="body" sz="quarter" idx="10"/>
          </p:nvPr>
        </p:nvSpPr>
        <p:spPr/>
        <p:txBody>
          <a:bodyPr/>
          <a:lstStyle/>
          <a:p>
            <a:r>
              <a:rPr lang="en-GB" sz="800" i="1" kern="0" dirty="0"/>
              <a:t>Sources: eleven research &amp; analysis, company data</a:t>
            </a:r>
          </a:p>
        </p:txBody>
      </p:sp>
      <p:graphicFrame>
        <p:nvGraphicFramePr>
          <p:cNvPr id="6" name="Chart 5">
            <a:extLst>
              <a:ext uri="{FF2B5EF4-FFF2-40B4-BE49-F238E27FC236}">
                <a16:creationId xmlns:a16="http://schemas.microsoft.com/office/drawing/2014/main" id="{37EB0EFE-379A-43A9-9CAC-8975DFC8C60C}"/>
              </a:ext>
            </a:extLst>
          </p:cNvPr>
          <p:cNvGraphicFramePr/>
          <p:nvPr>
            <p:extLst>
              <p:ext uri="{D42A27DB-BD31-4B8C-83A1-F6EECF244321}">
                <p14:modId xmlns:p14="http://schemas.microsoft.com/office/powerpoint/2010/main" val="1962803671"/>
              </p:ext>
            </p:extLst>
          </p:nvPr>
        </p:nvGraphicFramePr>
        <p:xfrm>
          <a:off x="4064000" y="1857499"/>
          <a:ext cx="5441070" cy="3042950"/>
        </p:xfrm>
        <a:graphic>
          <a:graphicData uri="http://schemas.openxmlformats.org/drawingml/2006/chart">
            <c:chart xmlns:c="http://schemas.openxmlformats.org/drawingml/2006/chart" xmlns:r="http://schemas.openxmlformats.org/officeDocument/2006/relationships" r:id="rId6"/>
          </a:graphicData>
        </a:graphic>
      </p:graphicFrame>
      <p:sp>
        <p:nvSpPr>
          <p:cNvPr id="10" name="Bulle narrative : rectangle 3">
            <a:extLst>
              <a:ext uri="{FF2B5EF4-FFF2-40B4-BE49-F238E27FC236}">
                <a16:creationId xmlns:a16="http://schemas.microsoft.com/office/drawing/2014/main" id="{12E7F362-7A19-4F28-9E1C-3035F304B89B}"/>
              </a:ext>
            </a:extLst>
          </p:cNvPr>
          <p:cNvSpPr/>
          <p:nvPr/>
        </p:nvSpPr>
        <p:spPr bwMode="auto">
          <a:xfrm>
            <a:off x="6253959" y="5052851"/>
            <a:ext cx="1694489" cy="1052239"/>
          </a:xfrm>
          <a:prstGeom prst="wedgeRectCallout">
            <a:avLst>
              <a:gd name="adj1" fmla="val -25187"/>
              <a:gd name="adj2" fmla="val -62986"/>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9600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effectLst/>
                <a:latin typeface="Trebuchet MS" panose="020B0603020202020204" pitchFamily="34" charset="0"/>
              </a:rPr>
              <a:t>Scope of the French cohort analyses</a:t>
            </a:r>
            <a:endParaRPr lang="en-GB" sz="1000">
              <a:solidFill>
                <a:schemeClr val="tx2"/>
              </a:solidFill>
              <a:latin typeface="Trebuchet MS" panose="020B0603020202020204" pitchFamily="34" charset="0"/>
            </a:endParaRPr>
          </a:p>
        </p:txBody>
      </p:sp>
      <p:sp>
        <p:nvSpPr>
          <p:cNvPr id="18" name="Rectangle 17">
            <a:extLst>
              <a:ext uri="{FF2B5EF4-FFF2-40B4-BE49-F238E27FC236}">
                <a16:creationId xmlns:a16="http://schemas.microsoft.com/office/drawing/2014/main" id="{65ED09B0-F036-4FC2-B53D-050CD99BDAB8}"/>
              </a:ext>
            </a:extLst>
          </p:cNvPr>
          <p:cNvSpPr/>
          <p:nvPr/>
        </p:nvSpPr>
        <p:spPr bwMode="auto">
          <a:xfrm>
            <a:off x="3857133" y="1187753"/>
            <a:ext cx="4589741"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Altares</a:t>
            </a:r>
            <a:r>
              <a:rPr lang="en-GB" sz="1000" b="1" i="1">
                <a:latin typeface="Trebuchet MS" panose="020B0603020202020204" pitchFamily="34" charset="0"/>
              </a:rPr>
              <a:t>’ billings in France between 2016 and 2019,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4" name="Rectangle 3">
            <a:extLst>
              <a:ext uri="{FF2B5EF4-FFF2-40B4-BE49-F238E27FC236}">
                <a16:creationId xmlns:a16="http://schemas.microsoft.com/office/drawing/2014/main" id="{C40F9BE8-DEA2-4A7A-B4F4-A41963A7C953}"/>
              </a:ext>
            </a:extLst>
          </p:cNvPr>
          <p:cNvSpPr/>
          <p:nvPr/>
        </p:nvSpPr>
        <p:spPr bwMode="auto">
          <a:xfrm>
            <a:off x="4581236" y="2885243"/>
            <a:ext cx="4682837" cy="1478545"/>
          </a:xfrm>
          <a:prstGeom prst="rect">
            <a:avLst/>
          </a:prstGeom>
          <a:solidFill>
            <a:schemeClr val="bg1">
              <a:alpha val="17000"/>
            </a:schemeClr>
          </a:solidFill>
          <a:ln w="9525" cap="flat" cmpd="sng" algn="ctr">
            <a:solidFill>
              <a:schemeClr val="tx2"/>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tx1"/>
              </a:solidFill>
              <a:effectLst/>
              <a:latin typeface="Trebuchet MS" pitchFamily="34" charset="0"/>
            </a:endParaRPr>
          </a:p>
        </p:txBody>
      </p:sp>
      <p:pic>
        <p:nvPicPr>
          <p:cNvPr id="8" name="Graphic 7" descr="Target">
            <a:extLst>
              <a:ext uri="{FF2B5EF4-FFF2-40B4-BE49-F238E27FC236}">
                <a16:creationId xmlns:a16="http://schemas.microsoft.com/office/drawing/2014/main" id="{3870302C-F0E4-4FA8-AEDF-872DDB33189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79532" y="5345663"/>
            <a:ext cx="466614" cy="466614"/>
          </a:xfrm>
          <a:prstGeom prst="rect">
            <a:avLst/>
          </a:prstGeom>
        </p:spPr>
      </p:pic>
      <p:sp>
        <p:nvSpPr>
          <p:cNvPr id="15" name="Triangle isocèle 14">
            <a:extLst>
              <a:ext uri="{FF2B5EF4-FFF2-40B4-BE49-F238E27FC236}">
                <a16:creationId xmlns:a16="http://schemas.microsoft.com/office/drawing/2014/main" id="{DACFF9BC-78F8-4694-BBE6-ED5BFF2DA8B5}"/>
              </a:ext>
            </a:extLst>
          </p:cNvPr>
          <p:cNvSpPr/>
          <p:nvPr/>
        </p:nvSpPr>
        <p:spPr bwMode="auto">
          <a:xfrm flipV="1">
            <a:off x="364332" y="1661738"/>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6" name="Group 22">
            <a:extLst>
              <a:ext uri="{FF2B5EF4-FFF2-40B4-BE49-F238E27FC236}">
                <a16:creationId xmlns:a16="http://schemas.microsoft.com/office/drawing/2014/main" id="{B984E6E9-26E9-4013-BB8D-0D9F2B5CA22B}"/>
              </a:ext>
            </a:extLst>
          </p:cNvPr>
          <p:cNvGrpSpPr/>
          <p:nvPr/>
        </p:nvGrpSpPr>
        <p:grpSpPr>
          <a:xfrm>
            <a:off x="189738" y="1081669"/>
            <a:ext cx="2857451" cy="531716"/>
            <a:chOff x="582712" y="1094684"/>
            <a:chExt cx="2857451" cy="531716"/>
          </a:xfrm>
        </p:grpSpPr>
        <p:sp>
          <p:nvSpPr>
            <p:cNvPr id="17" name="Rectangle 16">
              <a:extLst>
                <a:ext uri="{FF2B5EF4-FFF2-40B4-BE49-F238E27FC236}">
                  <a16:creationId xmlns:a16="http://schemas.microsoft.com/office/drawing/2014/main" id="{F7F22DC3-B647-4467-B4C2-F5A3E990002E}"/>
                </a:ext>
              </a:extLst>
            </p:cNvPr>
            <p:cNvSpPr/>
            <p:nvPr/>
          </p:nvSpPr>
          <p:spPr bwMode="auto">
            <a:xfrm>
              <a:off x="757306" y="1248620"/>
              <a:ext cx="2682857" cy="377780"/>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20" name="Picture 2" descr="Drapeau France">
              <a:extLst>
                <a:ext uri="{FF2B5EF4-FFF2-40B4-BE49-F238E27FC236}">
                  <a16:creationId xmlns:a16="http://schemas.microsoft.com/office/drawing/2014/main" id="{673B3233-4AF9-4380-A921-BBD2FF8F7EC1}"/>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006" b="16757"/>
            <a:stretch/>
          </p:blipFill>
          <p:spPr bwMode="auto">
            <a:xfrm>
              <a:off x="1894775" y="1314568"/>
              <a:ext cx="407919" cy="245885"/>
            </a:xfrm>
            <a:prstGeom prst="roundRect">
              <a:avLst/>
            </a:prstGeom>
            <a:noFill/>
            <a:extLst>
              <a:ext uri="{909E8E84-426E-40DD-AFC4-6F175D3DCCD1}">
                <a14:hiddenFill xmlns:a14="http://schemas.microsoft.com/office/drawing/2010/main">
                  <a:solidFill>
                    <a:srgbClr val="FFFFFF"/>
                  </a:solidFill>
                </a14:hiddenFill>
              </a:ext>
            </a:extLst>
          </p:spPr>
        </p:pic>
        <p:sp>
          <p:nvSpPr>
            <p:cNvPr id="21" name="Ellipse 20">
              <a:extLst>
                <a:ext uri="{FF2B5EF4-FFF2-40B4-BE49-F238E27FC236}">
                  <a16:creationId xmlns:a16="http://schemas.microsoft.com/office/drawing/2014/main" id="{C7C9E57F-7E54-42A1-98E5-E122B74029FA}"/>
                </a:ext>
              </a:extLst>
            </p:cNvPr>
            <p:cNvSpPr/>
            <p:nvPr/>
          </p:nvSpPr>
          <p:spPr bwMode="auto">
            <a:xfrm>
              <a:off x="582712" y="1094684"/>
              <a:ext cx="349188" cy="33417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1</a:t>
              </a:r>
            </a:p>
          </p:txBody>
        </p:sp>
      </p:grpSp>
      <p:sp>
        <p:nvSpPr>
          <p:cNvPr id="22" name="Rectangle 21">
            <a:extLst>
              <a:ext uri="{FF2B5EF4-FFF2-40B4-BE49-F238E27FC236}">
                <a16:creationId xmlns:a16="http://schemas.microsoft.com/office/drawing/2014/main" id="{E58F2E0A-096E-47CC-9220-963616CCFD15}"/>
              </a:ext>
            </a:extLst>
          </p:cNvPr>
          <p:cNvSpPr/>
          <p:nvPr/>
        </p:nvSpPr>
        <p:spPr bwMode="auto">
          <a:xfrm>
            <a:off x="836528" y="3705276"/>
            <a:ext cx="1832426" cy="487502"/>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One-shot products</a:t>
            </a:r>
            <a:endParaRPr lang="en-GB" sz="11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4.07 €m</a:t>
            </a:r>
          </a:p>
        </p:txBody>
      </p:sp>
      <p:sp>
        <p:nvSpPr>
          <p:cNvPr id="23" name="Triangle isocèle 22">
            <a:extLst>
              <a:ext uri="{FF2B5EF4-FFF2-40B4-BE49-F238E27FC236}">
                <a16:creationId xmlns:a16="http://schemas.microsoft.com/office/drawing/2014/main" id="{E8DE0518-F035-4EE0-A3B0-EDB62B2B8A11}"/>
              </a:ext>
            </a:extLst>
          </p:cNvPr>
          <p:cNvSpPr/>
          <p:nvPr/>
        </p:nvSpPr>
        <p:spPr bwMode="auto">
          <a:xfrm flipV="1">
            <a:off x="364332" y="2383017"/>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24" name="Rectangle 23">
            <a:extLst>
              <a:ext uri="{FF2B5EF4-FFF2-40B4-BE49-F238E27FC236}">
                <a16:creationId xmlns:a16="http://schemas.microsoft.com/office/drawing/2014/main" id="{1C339F3D-BD67-44E7-BA45-7B08144A22E4}"/>
              </a:ext>
            </a:extLst>
          </p:cNvPr>
          <p:cNvSpPr/>
          <p:nvPr/>
        </p:nvSpPr>
        <p:spPr bwMode="auto">
          <a:xfrm>
            <a:off x="364332" y="2650998"/>
            <a:ext cx="2682856" cy="3710842"/>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Billing: 55.48 €m </a:t>
            </a:r>
          </a:p>
        </p:txBody>
      </p:sp>
      <p:sp>
        <p:nvSpPr>
          <p:cNvPr id="25" name="Rectangle 24">
            <a:extLst>
              <a:ext uri="{FF2B5EF4-FFF2-40B4-BE49-F238E27FC236}">
                <a16:creationId xmlns:a16="http://schemas.microsoft.com/office/drawing/2014/main" id="{A96489D2-D155-4818-938A-09D81DF8CE88}"/>
              </a:ext>
            </a:extLst>
          </p:cNvPr>
          <p:cNvSpPr/>
          <p:nvPr/>
        </p:nvSpPr>
        <p:spPr bwMode="auto">
          <a:xfrm>
            <a:off x="364332" y="1880440"/>
            <a:ext cx="2682856" cy="360218"/>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0" i="0" u="none" strike="noStrike" cap="none" normalizeH="0" baseline="0" dirty="0">
                <a:ln>
                  <a:noFill/>
                </a:ln>
                <a:solidFill>
                  <a:schemeClr val="tx1"/>
                </a:solidFill>
                <a:effectLst/>
                <a:latin typeface="Trebuchet MS" pitchFamily="34" charset="0"/>
              </a:rPr>
              <a:t>Total Revenue 2019 (from BP): </a:t>
            </a:r>
            <a:r>
              <a:rPr kumimoji="0" lang="en-GB" sz="1050" b="1" i="0" u="none" strike="noStrike" cap="none" normalizeH="0" baseline="0" dirty="0">
                <a:ln>
                  <a:noFill/>
                </a:ln>
                <a:solidFill>
                  <a:schemeClr val="tx2"/>
                </a:solidFill>
                <a:effectLst/>
                <a:latin typeface="Trebuchet MS" pitchFamily="34" charset="0"/>
              </a:rPr>
              <a:t>52.9 €m</a:t>
            </a:r>
          </a:p>
        </p:txBody>
      </p:sp>
      <p:sp>
        <p:nvSpPr>
          <p:cNvPr id="26" name="Rectangle 25">
            <a:extLst>
              <a:ext uri="{FF2B5EF4-FFF2-40B4-BE49-F238E27FC236}">
                <a16:creationId xmlns:a16="http://schemas.microsoft.com/office/drawing/2014/main" id="{72165244-CFD7-4590-9C86-7F22FCD3F1C8}"/>
              </a:ext>
            </a:extLst>
          </p:cNvPr>
          <p:cNvSpPr/>
          <p:nvPr/>
        </p:nvSpPr>
        <p:spPr bwMode="auto">
          <a:xfrm>
            <a:off x="836528" y="3030705"/>
            <a:ext cx="1832426" cy="46338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err="1">
                <a:ln>
                  <a:noFill/>
                </a:ln>
                <a:solidFill>
                  <a:schemeClr val="tx1"/>
                </a:solidFill>
                <a:effectLst/>
                <a:latin typeface="Trebuchet MS" pitchFamily="34" charset="0"/>
              </a:rPr>
              <a:t>D&amp;Bi</a:t>
            </a:r>
            <a:endParaRPr kumimoji="0" lang="en-GB" sz="11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12.21 €m</a:t>
            </a:r>
          </a:p>
        </p:txBody>
      </p:sp>
      <p:sp>
        <p:nvSpPr>
          <p:cNvPr id="27" name="Rectangle 26">
            <a:extLst>
              <a:ext uri="{FF2B5EF4-FFF2-40B4-BE49-F238E27FC236}">
                <a16:creationId xmlns:a16="http://schemas.microsoft.com/office/drawing/2014/main" id="{45724C4E-4138-4998-969C-E9553D6D7683}"/>
              </a:ext>
            </a:extLst>
          </p:cNvPr>
          <p:cNvSpPr/>
          <p:nvPr/>
        </p:nvSpPr>
        <p:spPr bwMode="auto">
          <a:xfrm>
            <a:off x="836528" y="4451804"/>
            <a:ext cx="1832426" cy="1144561"/>
          </a:xfrm>
          <a:prstGeom prst="rect">
            <a:avLst/>
          </a:prstGeom>
          <a:solidFill>
            <a:schemeClr val="bg2">
              <a:lumMod val="20000"/>
              <a:lumOff val="80000"/>
            </a:schemeClr>
          </a:solidFill>
          <a:ln w="38100" cap="flat" cmpd="sng" algn="ctr">
            <a:solidFill>
              <a:srgbClr val="289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effectLst/>
                <a:latin typeface="Trebuchet MS" pitchFamily="34" charset="0"/>
              </a:rPr>
              <a:t>Recurring products</a:t>
            </a:r>
          </a:p>
          <a:p>
            <a:pPr marL="0" marR="0" indent="0" algn="ctr" defTabSz="914400" eaLnBrk="1" fontAlgn="base" latinLnBrk="0" hangingPunct="1">
              <a:lnSpc>
                <a:spcPct val="100000"/>
              </a:lnSpc>
              <a:spcBef>
                <a:spcPct val="0"/>
              </a:spcBef>
              <a:spcAft>
                <a:spcPct val="0"/>
              </a:spcAft>
              <a:buClrTx/>
              <a:buSzTx/>
              <a:buFontTx/>
              <a:buNone/>
              <a:tabLst/>
            </a:pPr>
            <a:endParaRPr lang="en-GB" sz="11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1050" b="1">
                <a:solidFill>
                  <a:schemeClr val="tx2"/>
                </a:solidFill>
                <a:latin typeface="Trebuchet MS" pitchFamily="34" charset="0"/>
              </a:rPr>
              <a:t>39.19 €m</a:t>
            </a:r>
          </a:p>
        </p:txBody>
      </p:sp>
      <p:sp>
        <p:nvSpPr>
          <p:cNvPr id="28" name="Triangle isocèle 27">
            <a:extLst>
              <a:ext uri="{FF2B5EF4-FFF2-40B4-BE49-F238E27FC236}">
                <a16:creationId xmlns:a16="http://schemas.microsoft.com/office/drawing/2014/main" id="{D46A9E83-DE8C-4713-A861-054CCC0BAB9C}"/>
              </a:ext>
            </a:extLst>
          </p:cNvPr>
          <p:cNvSpPr/>
          <p:nvPr/>
        </p:nvSpPr>
        <p:spPr bwMode="auto">
          <a:xfrm flipV="1">
            <a:off x="836529" y="5668619"/>
            <a:ext cx="1874782" cy="13291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2"/>
              </a:solidFill>
              <a:effectLst/>
              <a:latin typeface="Trebuchet MS" pitchFamily="34" charset="0"/>
            </a:endParaRPr>
          </a:p>
        </p:txBody>
      </p:sp>
      <p:sp>
        <p:nvSpPr>
          <p:cNvPr id="29" name="Rectangle 28">
            <a:extLst>
              <a:ext uri="{FF2B5EF4-FFF2-40B4-BE49-F238E27FC236}">
                <a16:creationId xmlns:a16="http://schemas.microsoft.com/office/drawing/2014/main" id="{B77E172F-B05A-4EE2-A433-0BBF4D310DB5}"/>
              </a:ext>
            </a:extLst>
          </p:cNvPr>
          <p:cNvSpPr/>
          <p:nvPr/>
        </p:nvSpPr>
        <p:spPr bwMode="auto">
          <a:xfrm>
            <a:off x="860485" y="5873790"/>
            <a:ext cx="1850825" cy="385281"/>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solidFill>
                  <a:schemeClr val="bg1"/>
                </a:solidFill>
                <a:latin typeface="Trebuchet MS" pitchFamily="34" charset="0"/>
              </a:rPr>
              <a:t>Scope of the customer cohorts’ analysis</a:t>
            </a:r>
            <a:endParaRPr kumimoji="0" lang="en-GB" sz="1100" b="0" i="0" u="none" strike="noStrike" cap="none" normalizeH="0" baseline="0">
              <a:ln>
                <a:noFill/>
              </a:ln>
              <a:solidFill>
                <a:schemeClr val="bg1"/>
              </a:solidFill>
              <a:effectLst/>
              <a:latin typeface="Trebuchet MS" pitchFamily="34" charset="0"/>
            </a:endParaRPr>
          </a:p>
        </p:txBody>
      </p:sp>
      <p:grpSp>
        <p:nvGrpSpPr>
          <p:cNvPr id="30" name="Groupe 29">
            <a:extLst>
              <a:ext uri="{FF2B5EF4-FFF2-40B4-BE49-F238E27FC236}">
                <a16:creationId xmlns:a16="http://schemas.microsoft.com/office/drawing/2014/main" id="{7A029436-04C9-4133-965C-22A9085BCE39}"/>
              </a:ext>
            </a:extLst>
          </p:cNvPr>
          <p:cNvGrpSpPr/>
          <p:nvPr/>
        </p:nvGrpSpPr>
        <p:grpSpPr>
          <a:xfrm>
            <a:off x="1591076" y="3393599"/>
            <a:ext cx="229368" cy="303244"/>
            <a:chOff x="-892666" y="2362520"/>
            <a:chExt cx="417347" cy="523744"/>
          </a:xfrm>
        </p:grpSpPr>
        <p:sp>
          <p:nvSpPr>
            <p:cNvPr id="31" name="Ellipse 30">
              <a:extLst>
                <a:ext uri="{FF2B5EF4-FFF2-40B4-BE49-F238E27FC236}">
                  <a16:creationId xmlns:a16="http://schemas.microsoft.com/office/drawing/2014/main" id="{567D2494-9696-48AF-93D2-F38471436FB8}"/>
                </a:ext>
              </a:extLst>
            </p:cNvPr>
            <p:cNvSpPr/>
            <p:nvPr/>
          </p:nvSpPr>
          <p:spPr bwMode="auto">
            <a:xfrm>
              <a:off x="-766617" y="2581564"/>
              <a:ext cx="291298" cy="304700"/>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bg1"/>
                </a:solidFill>
                <a:effectLst/>
                <a:latin typeface="Trebuchet MS" pitchFamily="34" charset="0"/>
              </a:endParaRPr>
            </a:p>
          </p:txBody>
        </p:sp>
        <p:sp>
          <p:nvSpPr>
            <p:cNvPr id="32" name="ZoneTexte 31">
              <a:extLst>
                <a:ext uri="{FF2B5EF4-FFF2-40B4-BE49-F238E27FC236}">
                  <a16:creationId xmlns:a16="http://schemas.microsoft.com/office/drawing/2014/main" id="{0C578D82-142B-4C3C-8791-575FCDA7F12C}"/>
                </a:ext>
              </a:extLst>
            </p:cNvPr>
            <p:cNvSpPr txBox="1"/>
            <p:nvPr/>
          </p:nvSpPr>
          <p:spPr>
            <a:xfrm>
              <a:off x="-892666" y="2362520"/>
              <a:ext cx="319319" cy="400110"/>
            </a:xfrm>
            <a:prstGeom prst="rect">
              <a:avLst/>
            </a:prstGeom>
            <a:noFill/>
          </p:spPr>
          <p:txBody>
            <a:bodyPr wrap="none" rtlCol="0">
              <a:spAutoFit/>
            </a:bodyPr>
            <a:lstStyle/>
            <a:p>
              <a:r>
                <a:rPr lang="fr-FR" sz="2000">
                  <a:solidFill>
                    <a:schemeClr val="bg1"/>
                  </a:solidFill>
                  <a:latin typeface="+mj-lt"/>
                </a:rPr>
                <a:t>+</a:t>
              </a:r>
            </a:p>
          </p:txBody>
        </p:sp>
      </p:grpSp>
      <p:grpSp>
        <p:nvGrpSpPr>
          <p:cNvPr id="33" name="Groupe 32">
            <a:extLst>
              <a:ext uri="{FF2B5EF4-FFF2-40B4-BE49-F238E27FC236}">
                <a16:creationId xmlns:a16="http://schemas.microsoft.com/office/drawing/2014/main" id="{40F6159C-56E6-4920-BE62-322388AA6D1A}"/>
              </a:ext>
            </a:extLst>
          </p:cNvPr>
          <p:cNvGrpSpPr/>
          <p:nvPr/>
        </p:nvGrpSpPr>
        <p:grpSpPr>
          <a:xfrm>
            <a:off x="1591076" y="4077790"/>
            <a:ext cx="229368" cy="303244"/>
            <a:chOff x="-892666" y="2362520"/>
            <a:chExt cx="417347" cy="523744"/>
          </a:xfrm>
        </p:grpSpPr>
        <p:sp>
          <p:nvSpPr>
            <p:cNvPr id="34" name="Ellipse 33">
              <a:extLst>
                <a:ext uri="{FF2B5EF4-FFF2-40B4-BE49-F238E27FC236}">
                  <a16:creationId xmlns:a16="http://schemas.microsoft.com/office/drawing/2014/main" id="{C39D82DE-4906-4C77-8074-AE2EC26512C4}"/>
                </a:ext>
              </a:extLst>
            </p:cNvPr>
            <p:cNvSpPr/>
            <p:nvPr/>
          </p:nvSpPr>
          <p:spPr bwMode="auto">
            <a:xfrm>
              <a:off x="-766617" y="2581564"/>
              <a:ext cx="291298" cy="304700"/>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bg1"/>
                </a:solidFill>
                <a:effectLst/>
                <a:latin typeface="Trebuchet MS" pitchFamily="34" charset="0"/>
              </a:endParaRPr>
            </a:p>
          </p:txBody>
        </p:sp>
        <p:sp>
          <p:nvSpPr>
            <p:cNvPr id="35" name="ZoneTexte 34">
              <a:extLst>
                <a:ext uri="{FF2B5EF4-FFF2-40B4-BE49-F238E27FC236}">
                  <a16:creationId xmlns:a16="http://schemas.microsoft.com/office/drawing/2014/main" id="{94E39019-E71D-49E5-BFE1-CDBCD8B2FE67}"/>
                </a:ext>
              </a:extLst>
            </p:cNvPr>
            <p:cNvSpPr txBox="1"/>
            <p:nvPr/>
          </p:nvSpPr>
          <p:spPr>
            <a:xfrm>
              <a:off x="-892666" y="2362520"/>
              <a:ext cx="319319" cy="400110"/>
            </a:xfrm>
            <a:prstGeom prst="rect">
              <a:avLst/>
            </a:prstGeom>
            <a:noFill/>
          </p:spPr>
          <p:txBody>
            <a:bodyPr wrap="none" rtlCol="0">
              <a:spAutoFit/>
            </a:bodyPr>
            <a:lstStyle/>
            <a:p>
              <a:r>
                <a:rPr lang="fr-FR" sz="2000">
                  <a:solidFill>
                    <a:schemeClr val="bg1"/>
                  </a:solidFill>
                  <a:latin typeface="+mj-lt"/>
                </a:rPr>
                <a:t>+</a:t>
              </a:r>
            </a:p>
          </p:txBody>
        </p:sp>
      </p:grpSp>
      <p:sp>
        <p:nvSpPr>
          <p:cNvPr id="5" name="Triangle isocèle 4">
            <a:extLst>
              <a:ext uri="{FF2B5EF4-FFF2-40B4-BE49-F238E27FC236}">
                <a16:creationId xmlns:a16="http://schemas.microsoft.com/office/drawing/2014/main" id="{3694CAAF-97C0-4166-BCDF-B07BD7F77373}"/>
              </a:ext>
            </a:extLst>
          </p:cNvPr>
          <p:cNvSpPr/>
          <p:nvPr/>
        </p:nvSpPr>
        <p:spPr bwMode="auto">
          <a:xfrm rot="5400000">
            <a:off x="2997273" y="3644337"/>
            <a:ext cx="1058625" cy="294743"/>
          </a:xfrm>
          <a:prstGeom prst="triangle">
            <a:avLst/>
          </a:prstGeom>
          <a:solidFill>
            <a:schemeClr val="tx2"/>
          </a:solidFill>
          <a:ln w="9525" cap="flat" cmpd="sng" algn="ctr">
            <a:solidFill>
              <a:srgbClr val="289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tx1"/>
              </a:solidFill>
              <a:effectLst/>
              <a:latin typeface="Trebuchet MS" pitchFamily="34" charset="0"/>
            </a:endParaRPr>
          </a:p>
        </p:txBody>
      </p:sp>
      <p:cxnSp>
        <p:nvCxnSpPr>
          <p:cNvPr id="36" name="Connecteur droit 35">
            <a:extLst>
              <a:ext uri="{FF2B5EF4-FFF2-40B4-BE49-F238E27FC236}">
                <a16:creationId xmlns:a16="http://schemas.microsoft.com/office/drawing/2014/main" id="{B23E44B2-BC07-4B2C-AC1D-FB8114B25E80}"/>
              </a:ext>
            </a:extLst>
          </p:cNvPr>
          <p:cNvCxnSpPr/>
          <p:nvPr/>
        </p:nvCxnSpPr>
        <p:spPr bwMode="auto">
          <a:xfrm>
            <a:off x="3380509" y="1301553"/>
            <a:ext cx="0" cy="5060287"/>
          </a:xfrm>
          <a:prstGeom prst="line">
            <a:avLst/>
          </a:prstGeom>
          <a:solidFill>
            <a:schemeClr val="accent1"/>
          </a:solidFill>
          <a:ln w="9525" cap="flat" cmpd="sng" algn="ctr">
            <a:solidFill>
              <a:srgbClr val="289B38"/>
            </a:solidFill>
            <a:prstDash val="solid"/>
            <a:round/>
            <a:headEnd type="none" w="med" len="med"/>
            <a:tailEnd type="none" w="med" len="med"/>
          </a:ln>
          <a:effectLst/>
        </p:spPr>
      </p:cxnSp>
      <p:pic>
        <p:nvPicPr>
          <p:cNvPr id="37" name="Picture 2" descr="Drapeau France">
            <a:extLst>
              <a:ext uri="{FF2B5EF4-FFF2-40B4-BE49-F238E27FC236}">
                <a16:creationId xmlns:a16="http://schemas.microsoft.com/office/drawing/2014/main" id="{A41BA872-B8AC-4055-9709-FE84DCDC37F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006" b="16757"/>
          <a:stretch/>
        </p:blipFill>
        <p:spPr bwMode="auto">
          <a:xfrm>
            <a:off x="7101203" y="5139454"/>
            <a:ext cx="268755" cy="162000"/>
          </a:xfrm>
          <a:prstGeom prst="roundRect">
            <a:avLst/>
          </a:prstGeom>
          <a:noFill/>
          <a:extLst>
            <a:ext uri="{909E8E84-426E-40DD-AFC4-6F175D3DCCD1}">
              <a14:hiddenFill xmlns:a14="http://schemas.microsoft.com/office/drawing/2010/main">
                <a:solidFill>
                  <a:srgbClr val="FFFFFF"/>
                </a:solidFill>
              </a14:hiddenFill>
            </a:ext>
          </a:extLst>
        </p:spPr>
      </p:pic>
      <p:grpSp>
        <p:nvGrpSpPr>
          <p:cNvPr id="51" name="Groupe 85">
            <a:extLst>
              <a:ext uri="{FF2B5EF4-FFF2-40B4-BE49-F238E27FC236}">
                <a16:creationId xmlns:a16="http://schemas.microsoft.com/office/drawing/2014/main" id="{80F6340F-2B9D-455C-93DB-4911F538A5A4}"/>
              </a:ext>
            </a:extLst>
          </p:cNvPr>
          <p:cNvGrpSpPr/>
          <p:nvPr/>
        </p:nvGrpSpPr>
        <p:grpSpPr>
          <a:xfrm>
            <a:off x="8448150" y="-11528"/>
            <a:ext cx="1435548" cy="588143"/>
            <a:chOff x="8448150" y="-11528"/>
            <a:chExt cx="1435548" cy="588143"/>
          </a:xfrm>
        </p:grpSpPr>
        <p:sp>
          <p:nvSpPr>
            <p:cNvPr id="52" name="Rectangle : coins arrondis 199">
              <a:extLst>
                <a:ext uri="{FF2B5EF4-FFF2-40B4-BE49-F238E27FC236}">
                  <a16:creationId xmlns:a16="http://schemas.microsoft.com/office/drawing/2014/main" id="{60A0B93C-C422-430A-AF95-D3426C2C1B5F}"/>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3" name="Rectangle : coins arrondis 200">
              <a:extLst>
                <a:ext uri="{FF2B5EF4-FFF2-40B4-BE49-F238E27FC236}">
                  <a16:creationId xmlns:a16="http://schemas.microsoft.com/office/drawing/2014/main" id="{07579B39-723B-49BC-931E-FF3A799E4200}"/>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4" name="Rectangle : coins arrondis 201">
              <a:extLst>
                <a:ext uri="{FF2B5EF4-FFF2-40B4-BE49-F238E27FC236}">
                  <a16:creationId xmlns:a16="http://schemas.microsoft.com/office/drawing/2014/main" id="{BAE14039-B1CD-4615-B721-DEAFA44AE936}"/>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5" name="ZoneTexte 18">
              <a:extLst>
                <a:ext uri="{FF2B5EF4-FFF2-40B4-BE49-F238E27FC236}">
                  <a16:creationId xmlns:a16="http://schemas.microsoft.com/office/drawing/2014/main" id="{CAF5684F-13EC-4E37-A567-7E55EBA83DED}"/>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client base</a:t>
              </a:r>
            </a:p>
          </p:txBody>
        </p:sp>
        <p:pic>
          <p:nvPicPr>
            <p:cNvPr id="56" name="Graphique 128" descr="Jauge">
              <a:extLst>
                <a:ext uri="{FF2B5EF4-FFF2-40B4-BE49-F238E27FC236}">
                  <a16:creationId xmlns:a16="http://schemas.microsoft.com/office/drawing/2014/main" id="{C06E8CA4-6097-49B4-8906-26197DF574E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53764" y="187516"/>
              <a:ext cx="234953" cy="218224"/>
            </a:xfrm>
            <a:prstGeom prst="rect">
              <a:avLst/>
            </a:prstGeom>
            <a:effectLst/>
          </p:spPr>
        </p:pic>
        <p:pic>
          <p:nvPicPr>
            <p:cNvPr id="57" name="Graphique 90" descr="Poignée de main">
              <a:extLst>
                <a:ext uri="{FF2B5EF4-FFF2-40B4-BE49-F238E27FC236}">
                  <a16:creationId xmlns:a16="http://schemas.microsoft.com/office/drawing/2014/main" id="{4FC03CC4-8CDC-4766-9EBA-EE1086311A3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960868" y="152880"/>
              <a:ext cx="256313" cy="287496"/>
            </a:xfrm>
            <a:prstGeom prst="rect">
              <a:avLst/>
            </a:prstGeom>
            <a:effectLst/>
          </p:spPr>
        </p:pic>
        <p:pic>
          <p:nvPicPr>
            <p:cNvPr id="58" name="Graphique 95" descr="Mégaphone">
              <a:extLst>
                <a:ext uri="{FF2B5EF4-FFF2-40B4-BE49-F238E27FC236}">
                  <a16:creationId xmlns:a16="http://schemas.microsoft.com/office/drawing/2014/main" id="{E83FECC4-6014-4D01-B8C6-F3F2EA893CF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389331" y="181519"/>
              <a:ext cx="233011" cy="216420"/>
            </a:xfrm>
            <a:prstGeom prst="rect">
              <a:avLst/>
            </a:prstGeom>
            <a:effectLst/>
          </p:spPr>
        </p:pic>
        <p:pic>
          <p:nvPicPr>
            <p:cNvPr id="59" name="Picture 2" descr="Drapeau France">
              <a:extLst>
                <a:ext uri="{FF2B5EF4-FFF2-40B4-BE49-F238E27FC236}">
                  <a16:creationId xmlns:a16="http://schemas.microsoft.com/office/drawing/2014/main" id="{EA634130-507E-4A08-B49F-F311FE7B673D}"/>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0" name="ZoneTexte 18">
              <a:extLst>
                <a:ext uri="{FF2B5EF4-FFF2-40B4-BE49-F238E27FC236}">
                  <a16:creationId xmlns:a16="http://schemas.microsoft.com/office/drawing/2014/main" id="{D8D6C641-7FAD-4C28-A8BA-6D35863AA44E}"/>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France</a:t>
              </a:r>
            </a:p>
          </p:txBody>
        </p:sp>
      </p:grpSp>
    </p:spTree>
    <p:extLst>
      <p:ext uri="{BB962C8B-B14F-4D97-AF65-F5344CB8AC3E}">
        <p14:creationId xmlns:p14="http://schemas.microsoft.com/office/powerpoint/2010/main" val="1503655535"/>
      </p:ext>
    </p:extLst>
  </p:cSld>
  <p:clrMapOvr>
    <a:masterClrMapping/>
  </p:clrMapOv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1B41282-9E8D-429E-A2F6-40EBF5EA7D49}"/>
              </a:ext>
            </a:extLst>
          </p:cNvPr>
          <p:cNvGraphicFramePr>
            <a:graphicFrameLocks noChangeAspect="1"/>
          </p:cNvGraphicFramePr>
          <p:nvPr>
            <p:custDataLst>
              <p:tags r:id="rId1"/>
            </p:custDataLst>
            <p:extLst>
              <p:ext uri="{D42A27DB-BD31-4B8C-83A1-F6EECF244321}">
                <p14:modId xmlns:p14="http://schemas.microsoft.com/office/powerpoint/2010/main" val="312827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11" name="Object 10" hidden="1">
                        <a:extLst>
                          <a:ext uri="{FF2B5EF4-FFF2-40B4-BE49-F238E27FC236}">
                            <a16:creationId xmlns:a16="http://schemas.microsoft.com/office/drawing/2014/main" id="{11B41282-9E8D-429E-A2F6-40EBF5EA7D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9C528CB-0DC1-457E-A5CA-62E616B3A38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74A4482A-C42F-4F90-9402-BF84B6307777}"/>
              </a:ext>
            </a:extLst>
          </p:cNvPr>
          <p:cNvSpPr>
            <a:spLocks noGrp="1"/>
          </p:cNvSpPr>
          <p:nvPr>
            <p:ph type="title"/>
          </p:nvPr>
        </p:nvSpPr>
        <p:spPr>
          <a:xfrm>
            <a:off x="165600" y="147600"/>
            <a:ext cx="8388164" cy="684000"/>
          </a:xfrm>
        </p:spPr>
        <p:txBody>
          <a:bodyPr/>
          <a:lstStyle/>
          <a:p>
            <a:r>
              <a:rPr lang="en-GB">
                <a:latin typeface="Trebuchet MS" panose="020B0603020202020204" pitchFamily="34" charset="0"/>
              </a:rPr>
              <a:t>In France, </a:t>
            </a:r>
            <a:r>
              <a:rPr lang="en-GB">
                <a:solidFill>
                  <a:schemeClr val="tx2"/>
                </a:solidFill>
                <a:latin typeface="Trebuchet MS" panose="020B0603020202020204" pitchFamily="34" charset="0"/>
              </a:rPr>
              <a:t>churn </a:t>
            </a:r>
            <a:r>
              <a:rPr lang="en-GB" sz="1600" kern="0">
                <a:solidFill>
                  <a:schemeClr val="tx2"/>
                </a:solidFill>
                <a:latin typeface="Trebuchet MS" panose="020B0603020202020204" pitchFamily="34" charset="0"/>
              </a:rPr>
              <a:t>dynamics </a:t>
            </a:r>
            <a:r>
              <a:rPr lang="en-GB">
                <a:latin typeface="Trebuchet MS" panose="020B0603020202020204" pitchFamily="34" charset="0"/>
              </a:rPr>
              <a:t>show both </a:t>
            </a:r>
            <a:r>
              <a:rPr lang="en-GB">
                <a:solidFill>
                  <a:schemeClr val="tx2"/>
                </a:solidFill>
                <a:latin typeface="Trebuchet MS" panose="020B0603020202020204" pitchFamily="34" charset="0"/>
              </a:rPr>
              <a:t>upsell on existing customers</a:t>
            </a:r>
            <a:r>
              <a:rPr lang="en-GB">
                <a:latin typeface="Trebuchet MS" panose="020B0603020202020204" pitchFamily="34" charset="0"/>
              </a:rPr>
              <a:t> and </a:t>
            </a:r>
            <a:r>
              <a:rPr lang="en-GB">
                <a:solidFill>
                  <a:schemeClr val="tx2"/>
                </a:solidFill>
                <a:latin typeface="Trebuchet MS" panose="020B0603020202020204" pitchFamily="34" charset="0"/>
              </a:rPr>
              <a:t>strong capacity to attract new customers</a:t>
            </a:r>
            <a:r>
              <a:rPr lang="en-GB">
                <a:latin typeface="Trebuchet MS" panose="020B0603020202020204" pitchFamily="34" charset="0"/>
              </a:rPr>
              <a:t> to </a:t>
            </a:r>
            <a:r>
              <a:rPr lang="en-GB">
                <a:solidFill>
                  <a:schemeClr val="tx2"/>
                </a:solidFill>
                <a:latin typeface="Trebuchet MS" panose="020B0603020202020204" pitchFamily="34" charset="0"/>
              </a:rPr>
              <a:t>compensate churn</a:t>
            </a:r>
            <a:br>
              <a:rPr lang="en-GB">
                <a:solidFill>
                  <a:schemeClr val="tx2"/>
                </a:solidFill>
                <a:latin typeface="Trebuchet MS" panose="020B0603020202020204" pitchFamily="34" charset="0"/>
              </a:rPr>
            </a:br>
            <a:endParaRPr lang="en-GB">
              <a:solidFill>
                <a:schemeClr val="tx2"/>
              </a:solidFill>
              <a:latin typeface="Trebuchet MS" panose="020B0603020202020204" pitchFamily="34" charset="0"/>
            </a:endParaRPr>
          </a:p>
        </p:txBody>
      </p:sp>
      <p:sp>
        <p:nvSpPr>
          <p:cNvPr id="3" name="Text Placeholder 2">
            <a:extLst>
              <a:ext uri="{FF2B5EF4-FFF2-40B4-BE49-F238E27FC236}">
                <a16:creationId xmlns:a16="http://schemas.microsoft.com/office/drawing/2014/main" id="{FC36FB27-AE1D-4D62-8D90-C0A344FBDCDC}"/>
              </a:ext>
            </a:extLst>
          </p:cNvPr>
          <p:cNvSpPr>
            <a:spLocks noGrp="1"/>
          </p:cNvSpPr>
          <p:nvPr>
            <p:ph type="body" sz="quarter" idx="10"/>
          </p:nvPr>
        </p:nvSpPr>
        <p:spPr/>
        <p:txBody>
          <a:bodyPr/>
          <a:lstStyle/>
          <a:p>
            <a:r>
              <a:rPr lang="en-GB" sz="800" i="1" kern="0"/>
              <a:t>Sources: eleven research &amp; analysis, company data</a:t>
            </a:r>
          </a:p>
          <a:p>
            <a:endParaRPr lang="en-GB"/>
          </a:p>
        </p:txBody>
      </p:sp>
      <p:sp>
        <p:nvSpPr>
          <p:cNvPr id="161" name="Rectangle 160">
            <a:extLst>
              <a:ext uri="{FF2B5EF4-FFF2-40B4-BE49-F238E27FC236}">
                <a16:creationId xmlns:a16="http://schemas.microsoft.com/office/drawing/2014/main" id="{CA4B7335-694B-43BC-B256-3D84AAF73B02}"/>
              </a:ext>
            </a:extLst>
          </p:cNvPr>
          <p:cNvSpPr/>
          <p:nvPr/>
        </p:nvSpPr>
        <p:spPr bwMode="auto">
          <a:xfrm>
            <a:off x="256803" y="1108411"/>
            <a:ext cx="9392393" cy="531921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6" name="Rectangle : coins arrondis 25">
            <a:extLst>
              <a:ext uri="{FF2B5EF4-FFF2-40B4-BE49-F238E27FC236}">
                <a16:creationId xmlns:a16="http://schemas.microsoft.com/office/drawing/2014/main" id="{6051315C-86ED-48F6-AB25-323E1E0B43AA}"/>
              </a:ext>
            </a:extLst>
          </p:cNvPr>
          <p:cNvSpPr/>
          <p:nvPr/>
        </p:nvSpPr>
        <p:spPr bwMode="auto">
          <a:xfrm>
            <a:off x="400932" y="5235122"/>
            <a:ext cx="5804198" cy="1028934"/>
          </a:xfrm>
          <a:prstGeom prst="roundRect">
            <a:avLst>
              <a:gd name="adj" fmla="val 0"/>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600"/>
              </a:spcAft>
            </a:pPr>
            <a:r>
              <a:rPr lang="en-GB" sz="1000" dirty="0">
                <a:latin typeface="Trebuchet MS" panose="020B0603020202020204" pitchFamily="34" charset="0"/>
              </a:rPr>
              <a:t>Description of categories</a:t>
            </a:r>
          </a:p>
          <a:p>
            <a:pPr marL="171450" indent="-171450">
              <a:buClr>
                <a:schemeClr val="tx1"/>
              </a:buClr>
              <a:buFont typeface="Arial" panose="020B0604020202020204" pitchFamily="34" charset="0"/>
              <a:buChar char="•"/>
            </a:pPr>
            <a:r>
              <a:rPr lang="en-GB" sz="1000" dirty="0">
                <a:solidFill>
                  <a:schemeClr val="tx2"/>
                </a:solidFill>
                <a:latin typeface="Trebuchet MS" panose="020B0603020202020204" pitchFamily="34" charset="0"/>
              </a:rPr>
              <a:t>Like-for-like YEAR</a:t>
            </a:r>
            <a:r>
              <a:rPr lang="en-GB" sz="1000" dirty="0">
                <a:latin typeface="Trebuchet MS" panose="020B0603020202020204" pitchFamily="34" charset="0"/>
              </a:rPr>
              <a:t>: All clients that generated revenue in years YEAR and YEAR +1 and then includes up-sell, down-sell and sales same as previous </a:t>
            </a:r>
          </a:p>
          <a:p>
            <a:pPr marL="171450" indent="-171450">
              <a:buClr>
                <a:schemeClr val="tx1"/>
              </a:buClr>
              <a:buFont typeface="Arial" panose="020B0604020202020204" pitchFamily="34" charset="0"/>
              <a:buChar char="•"/>
            </a:pPr>
            <a:r>
              <a:rPr lang="en-GB" sz="1000" dirty="0">
                <a:solidFill>
                  <a:schemeClr val="tx2"/>
                </a:solidFill>
                <a:latin typeface="Trebuchet MS" panose="020B0603020202020204" pitchFamily="34" charset="0"/>
              </a:rPr>
              <a:t>Churn YEAR</a:t>
            </a:r>
            <a:r>
              <a:rPr lang="en-GB" sz="1000" dirty="0">
                <a:latin typeface="Trebuchet MS" panose="020B0603020202020204" pitchFamily="34" charset="0"/>
              </a:rPr>
              <a:t>: All clients that generated revenue in year </a:t>
            </a:r>
            <a:r>
              <a:rPr lang="en-GB" sz="1000" dirty="0" err="1">
                <a:latin typeface="Trebuchet MS" panose="020B0603020202020204" pitchFamily="34" charset="0"/>
              </a:rPr>
              <a:t>YEAR</a:t>
            </a:r>
            <a:r>
              <a:rPr lang="en-GB" sz="1000" dirty="0">
                <a:latin typeface="Trebuchet MS" panose="020B0603020202020204" pitchFamily="34" charset="0"/>
              </a:rPr>
              <a:t> and not in year YEAR+1</a:t>
            </a:r>
          </a:p>
          <a:p>
            <a:pPr marL="171450" indent="-171450">
              <a:buClr>
                <a:schemeClr val="tx1"/>
              </a:buClr>
              <a:buFont typeface="Arial" panose="020B0604020202020204" pitchFamily="34" charset="0"/>
              <a:buChar char="•"/>
            </a:pPr>
            <a:r>
              <a:rPr lang="en-GB" sz="1000" dirty="0">
                <a:solidFill>
                  <a:schemeClr val="tx2"/>
                </a:solidFill>
                <a:latin typeface="Trebuchet MS" panose="020B0603020202020204" pitchFamily="34" charset="0"/>
              </a:rPr>
              <a:t>New YEAR</a:t>
            </a:r>
            <a:r>
              <a:rPr lang="en-GB" sz="1000" dirty="0">
                <a:latin typeface="Trebuchet MS" panose="020B0603020202020204" pitchFamily="34" charset="0"/>
              </a:rPr>
              <a:t>: All clients that generated revenue in year </a:t>
            </a:r>
            <a:r>
              <a:rPr lang="en-GB" sz="1000" dirty="0" err="1">
                <a:latin typeface="Trebuchet MS" panose="020B0603020202020204" pitchFamily="34" charset="0"/>
              </a:rPr>
              <a:t>YEAR</a:t>
            </a:r>
            <a:r>
              <a:rPr lang="en-GB" sz="1000" dirty="0">
                <a:latin typeface="Trebuchet MS" panose="020B0603020202020204" pitchFamily="34" charset="0"/>
              </a:rPr>
              <a:t> and not in year YEAR-1</a:t>
            </a:r>
            <a:endParaRPr lang="en-GB" sz="1000" dirty="0">
              <a:solidFill>
                <a:schemeClr val="tx2"/>
              </a:solidFill>
              <a:latin typeface="Trebuchet MS" panose="020B0603020202020204" pitchFamily="34" charset="0"/>
            </a:endParaRPr>
          </a:p>
        </p:txBody>
      </p:sp>
      <p:sp>
        <p:nvSpPr>
          <p:cNvPr id="14" name="Rectangle 13">
            <a:extLst>
              <a:ext uri="{FF2B5EF4-FFF2-40B4-BE49-F238E27FC236}">
                <a16:creationId xmlns:a16="http://schemas.microsoft.com/office/drawing/2014/main" id="{8CDE70A2-9605-43A3-8247-4ACAF81D2EE9}"/>
              </a:ext>
            </a:extLst>
          </p:cNvPr>
          <p:cNvSpPr/>
          <p:nvPr/>
        </p:nvSpPr>
        <p:spPr bwMode="auto">
          <a:xfrm>
            <a:off x="6349259" y="3579746"/>
            <a:ext cx="3027059" cy="2684310"/>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a:latin typeface="Trebuchet MS" pitchFamily="34" charset="0"/>
              </a:rPr>
              <a:t>Comments</a:t>
            </a:r>
          </a:p>
          <a:p>
            <a:pPr>
              <a:spcBef>
                <a:spcPts val="600"/>
              </a:spcBef>
              <a:buClr>
                <a:schemeClr val="tx1"/>
              </a:buClr>
            </a:pPr>
            <a:endParaRPr lang="en-GB" sz="1000">
              <a:latin typeface="Trebuchet MS" pitchFamily="34" charset="0"/>
            </a:endParaRPr>
          </a:p>
          <a:p>
            <a:pPr marL="171450" indent="-171450">
              <a:spcBef>
                <a:spcPts val="600"/>
              </a:spcBef>
              <a:buClr>
                <a:schemeClr val="tx1"/>
              </a:buClr>
              <a:buFont typeface="Arial" panose="020B0604020202020204" pitchFamily="34" charset="0"/>
              <a:buChar char="•"/>
            </a:pPr>
            <a:r>
              <a:rPr lang="en-GB" sz="1000" err="1">
                <a:latin typeface="Trebuchet MS" panose="020B0603020202020204" pitchFamily="34" charset="0"/>
              </a:rPr>
              <a:t>Lfl</a:t>
            </a:r>
            <a:r>
              <a:rPr lang="en-GB" sz="1000">
                <a:latin typeface="Trebuchet MS" panose="020B0603020202020204" pitchFamily="34" charset="0"/>
              </a:rPr>
              <a:t> client generate on average more and more up-sell: </a:t>
            </a:r>
            <a:r>
              <a:rPr lang="en-GB" sz="1000" err="1">
                <a:latin typeface="Trebuchet MS" panose="020B0603020202020204" pitchFamily="34" charset="0"/>
              </a:rPr>
              <a:t>Altares</a:t>
            </a:r>
            <a:r>
              <a:rPr lang="en-GB" sz="1000">
                <a:latin typeface="Trebuchet MS" panose="020B0603020202020204" pitchFamily="34" charset="0"/>
              </a:rPr>
              <a:t> has put in place a </a:t>
            </a:r>
            <a:r>
              <a:rPr lang="en-GB" sz="1000">
                <a:solidFill>
                  <a:schemeClr val="tx2"/>
                </a:solidFill>
                <a:latin typeface="Trebuchet MS" panose="020B0603020202020204" pitchFamily="34" charset="0"/>
              </a:rPr>
              <a:t>powerful “farmer” client management</a:t>
            </a:r>
            <a:endParaRPr lang="en-GB" sz="1000">
              <a:latin typeface="Trebuchet MS" pitchFamily="34" charset="0"/>
            </a:endParaRPr>
          </a:p>
          <a:p>
            <a:pPr marL="171450" indent="-171450">
              <a:spcBef>
                <a:spcPts val="600"/>
              </a:spcBef>
              <a:buClr>
                <a:schemeClr val="tx1"/>
              </a:buClr>
              <a:buFont typeface="Arial" panose="020B0604020202020204" pitchFamily="34" charset="0"/>
              <a:buChar char="•"/>
            </a:pPr>
            <a:r>
              <a:rPr lang="en-GB" sz="1000">
                <a:latin typeface="Trebuchet MS" pitchFamily="34" charset="0"/>
              </a:rPr>
              <a:t>New business is continuously above churn showing a good </a:t>
            </a:r>
            <a:r>
              <a:rPr lang="en-GB" sz="1000">
                <a:solidFill>
                  <a:schemeClr val="tx2"/>
                </a:solidFill>
                <a:latin typeface="Trebuchet MS" panose="020B0603020202020204" pitchFamily="34" charset="0"/>
              </a:rPr>
              <a:t>hunter dynamic</a:t>
            </a:r>
          </a:p>
          <a:p>
            <a:pPr marL="228600" indent="-228600">
              <a:spcBef>
                <a:spcPts val="600"/>
              </a:spcBef>
              <a:buClr>
                <a:schemeClr val="tx1"/>
              </a:buClr>
              <a:buFont typeface="Wingdings" panose="05000000000000000000" pitchFamily="2" charset="2"/>
              <a:buChar char="Ø"/>
            </a:pPr>
            <a:r>
              <a:rPr lang="en-GB" sz="1000" err="1">
                <a:latin typeface="Trebuchet MS" panose="020B0603020202020204" pitchFamily="34" charset="0"/>
              </a:rPr>
              <a:t>Altares</a:t>
            </a:r>
            <a:r>
              <a:rPr lang="en-GB" sz="1000">
                <a:latin typeface="Trebuchet MS" panose="020B0603020202020204" pitchFamily="34" charset="0"/>
              </a:rPr>
              <a:t> has developed an efficient customer portfolio management with: </a:t>
            </a:r>
          </a:p>
          <a:p>
            <a:pPr marL="628650" lvl="1" indent="-171450">
              <a:spcBef>
                <a:spcPts val="600"/>
              </a:spcBef>
              <a:buClr>
                <a:schemeClr val="tx1"/>
              </a:buClr>
              <a:buFont typeface="Courier New" panose="02070309020205020404" pitchFamily="49" charset="0"/>
              <a:buChar char="o"/>
            </a:pPr>
            <a:r>
              <a:rPr lang="en-GB" sz="1000">
                <a:latin typeface="Trebuchet MS" panose="020B0603020202020204" pitchFamily="34" charset="0"/>
              </a:rPr>
              <a:t>Significant upsell on historical customers</a:t>
            </a:r>
          </a:p>
          <a:p>
            <a:pPr marL="628650" lvl="1" indent="-171450">
              <a:spcBef>
                <a:spcPts val="600"/>
              </a:spcBef>
              <a:buClr>
                <a:schemeClr val="tx1"/>
              </a:buClr>
              <a:buFont typeface="Courier New" panose="02070309020205020404" pitchFamily="49" charset="0"/>
              <a:buChar char="o"/>
            </a:pPr>
            <a:r>
              <a:rPr lang="en-GB" sz="1000">
                <a:latin typeface="Trebuchet MS" panose="020B0603020202020204" pitchFamily="34" charset="0"/>
              </a:rPr>
              <a:t>New business offsetting churn</a:t>
            </a:r>
          </a:p>
          <a:p>
            <a:pPr marL="685800" lvl="1" indent="-228600">
              <a:spcBef>
                <a:spcPts val="600"/>
              </a:spcBef>
              <a:buClr>
                <a:schemeClr val="tx1"/>
              </a:buClr>
              <a:buFont typeface="Wingdings" panose="05000000000000000000" pitchFamily="2" charset="2"/>
              <a:buChar char="§"/>
            </a:pPr>
            <a:endParaRPr lang="en-GB" sz="1000">
              <a:solidFill>
                <a:schemeClr val="tx2"/>
              </a:solidFill>
              <a:latin typeface="Trebuchet MS" panose="020B0603020202020204" pitchFamily="34" charset="0"/>
            </a:endParaRPr>
          </a:p>
        </p:txBody>
      </p:sp>
      <p:grpSp>
        <p:nvGrpSpPr>
          <p:cNvPr id="15" name="Group 4">
            <a:extLst>
              <a:ext uri="{FF2B5EF4-FFF2-40B4-BE49-F238E27FC236}">
                <a16:creationId xmlns:a16="http://schemas.microsoft.com/office/drawing/2014/main" id="{28075C9E-3B26-47F9-BDBE-E786AB3411FE}"/>
              </a:ext>
            </a:extLst>
          </p:cNvPr>
          <p:cNvGrpSpPr>
            <a:grpSpLocks noChangeAspect="1"/>
          </p:cNvGrpSpPr>
          <p:nvPr/>
        </p:nvGrpSpPr>
        <p:grpSpPr bwMode="auto">
          <a:xfrm>
            <a:off x="7157716" y="3667097"/>
            <a:ext cx="226868" cy="184867"/>
            <a:chOff x="788" y="869"/>
            <a:chExt cx="740" cy="603"/>
          </a:xfrm>
          <a:solidFill>
            <a:schemeClr val="tx1"/>
          </a:solidFill>
        </p:grpSpPr>
        <p:sp>
          <p:nvSpPr>
            <p:cNvPr id="16" name="Freeform 5">
              <a:extLst>
                <a:ext uri="{FF2B5EF4-FFF2-40B4-BE49-F238E27FC236}">
                  <a16:creationId xmlns:a16="http://schemas.microsoft.com/office/drawing/2014/main" id="{0A595E47-8539-4B0D-AEB6-FA9D3339A02C}"/>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Rectangle 6">
              <a:extLst>
                <a:ext uri="{FF2B5EF4-FFF2-40B4-BE49-F238E27FC236}">
                  <a16:creationId xmlns:a16="http://schemas.microsoft.com/office/drawing/2014/main" id="{6E7679BB-FF24-4369-804F-D66B747BEACF}"/>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Rectangle 7">
              <a:extLst>
                <a:ext uri="{FF2B5EF4-FFF2-40B4-BE49-F238E27FC236}">
                  <a16:creationId xmlns:a16="http://schemas.microsoft.com/office/drawing/2014/main" id="{5B3B5BBA-D122-4C8B-A404-648932FD2E8F}"/>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Rectangle 8">
              <a:extLst>
                <a:ext uri="{FF2B5EF4-FFF2-40B4-BE49-F238E27FC236}">
                  <a16:creationId xmlns:a16="http://schemas.microsoft.com/office/drawing/2014/main" id="{D7AED51A-D0CF-43DE-BBE6-DCE0DF2ED7A1}"/>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0" name="Rectangle 19">
            <a:extLst>
              <a:ext uri="{FF2B5EF4-FFF2-40B4-BE49-F238E27FC236}">
                <a16:creationId xmlns:a16="http://schemas.microsoft.com/office/drawing/2014/main" id="{EC9B1881-6F65-45D1-830A-983D63E0EBBA}"/>
              </a:ext>
            </a:extLst>
          </p:cNvPr>
          <p:cNvSpPr/>
          <p:nvPr/>
        </p:nvSpPr>
        <p:spPr bwMode="auto">
          <a:xfrm>
            <a:off x="621763" y="1078956"/>
            <a:ext cx="4589741"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Waterfall of </a:t>
            </a:r>
            <a:r>
              <a:rPr lang="en-GB" sz="1000" b="1" i="1" err="1">
                <a:latin typeface="Trebuchet MS" panose="020B0603020202020204" pitchFamily="34" charset="0"/>
              </a:rPr>
              <a:t>Altares</a:t>
            </a:r>
            <a:r>
              <a:rPr lang="en-GB" sz="1000" b="1" i="1">
                <a:latin typeface="Trebuchet MS" panose="020B0603020202020204" pitchFamily="34" charset="0"/>
              </a:rPr>
              <a:t>’ billings in France between 2016 and 2019,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pSp>
        <p:nvGrpSpPr>
          <p:cNvPr id="30" name="Groupe 85">
            <a:extLst>
              <a:ext uri="{FF2B5EF4-FFF2-40B4-BE49-F238E27FC236}">
                <a16:creationId xmlns:a16="http://schemas.microsoft.com/office/drawing/2014/main" id="{18559055-C59F-4221-BC49-F0B692D27D40}"/>
              </a:ext>
            </a:extLst>
          </p:cNvPr>
          <p:cNvGrpSpPr/>
          <p:nvPr/>
        </p:nvGrpSpPr>
        <p:grpSpPr>
          <a:xfrm>
            <a:off x="8448150" y="-11528"/>
            <a:ext cx="1435548" cy="588143"/>
            <a:chOff x="8448150" y="-11528"/>
            <a:chExt cx="1435548" cy="588143"/>
          </a:xfrm>
        </p:grpSpPr>
        <p:sp>
          <p:nvSpPr>
            <p:cNvPr id="31" name="Rectangle : coins arrondis 199">
              <a:extLst>
                <a:ext uri="{FF2B5EF4-FFF2-40B4-BE49-F238E27FC236}">
                  <a16:creationId xmlns:a16="http://schemas.microsoft.com/office/drawing/2014/main" id="{E822014F-151D-417B-8DE5-58E38DC1D41F}"/>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2" name="Rectangle : coins arrondis 200">
              <a:extLst>
                <a:ext uri="{FF2B5EF4-FFF2-40B4-BE49-F238E27FC236}">
                  <a16:creationId xmlns:a16="http://schemas.microsoft.com/office/drawing/2014/main" id="{029C83E2-935F-406B-A1FA-267D5E5B65D6}"/>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3" name="Rectangle : coins arrondis 201">
              <a:extLst>
                <a:ext uri="{FF2B5EF4-FFF2-40B4-BE49-F238E27FC236}">
                  <a16:creationId xmlns:a16="http://schemas.microsoft.com/office/drawing/2014/main" id="{FED632F4-6725-483A-A622-A856A62D2403}"/>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4" name="ZoneTexte 18">
              <a:extLst>
                <a:ext uri="{FF2B5EF4-FFF2-40B4-BE49-F238E27FC236}">
                  <a16:creationId xmlns:a16="http://schemas.microsoft.com/office/drawing/2014/main" id="{3C4F0E22-D11F-4D6C-A7FE-5F0B4A45D826}"/>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client base</a:t>
              </a:r>
            </a:p>
          </p:txBody>
        </p:sp>
        <p:pic>
          <p:nvPicPr>
            <p:cNvPr id="35" name="Graphique 128" descr="Jauge">
              <a:extLst>
                <a:ext uri="{FF2B5EF4-FFF2-40B4-BE49-F238E27FC236}">
                  <a16:creationId xmlns:a16="http://schemas.microsoft.com/office/drawing/2014/main" id="{C3DE0E6E-0970-43EF-8F51-DC6D19134FB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36" name="Graphique 90" descr="Poignée de main">
              <a:extLst>
                <a:ext uri="{FF2B5EF4-FFF2-40B4-BE49-F238E27FC236}">
                  <a16:creationId xmlns:a16="http://schemas.microsoft.com/office/drawing/2014/main" id="{03637BE2-375C-44C4-B902-40269583877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37" name="Graphique 95" descr="Mégaphone">
              <a:extLst>
                <a:ext uri="{FF2B5EF4-FFF2-40B4-BE49-F238E27FC236}">
                  <a16:creationId xmlns:a16="http://schemas.microsoft.com/office/drawing/2014/main" id="{80FEAC55-75FB-4D57-A93B-F944B83AB8D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38" name="Picture 2" descr="Drapeau France">
              <a:extLst>
                <a:ext uri="{FF2B5EF4-FFF2-40B4-BE49-F238E27FC236}">
                  <a16:creationId xmlns:a16="http://schemas.microsoft.com/office/drawing/2014/main" id="{5D75133A-E991-4851-A0F2-6DB8CCB378F2}"/>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39" name="ZoneTexte 18">
              <a:extLst>
                <a:ext uri="{FF2B5EF4-FFF2-40B4-BE49-F238E27FC236}">
                  <a16:creationId xmlns:a16="http://schemas.microsoft.com/office/drawing/2014/main" id="{AFED5F78-6BF2-498F-860D-0C9F1A447BC8}"/>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France</a:t>
              </a:r>
            </a:p>
          </p:txBody>
        </p:sp>
      </p:grpSp>
      <mc:AlternateContent xmlns:mc="http://schemas.openxmlformats.org/markup-compatibility/2006" xmlns:cx1="http://schemas.microsoft.com/office/drawing/2015/9/8/chartex">
        <mc:Choice Requires="cx1">
          <p:graphicFrame>
            <p:nvGraphicFramePr>
              <p:cNvPr id="28" name="Chart 27">
                <a:extLst>
                  <a:ext uri="{FF2B5EF4-FFF2-40B4-BE49-F238E27FC236}">
                    <a16:creationId xmlns:a16="http://schemas.microsoft.com/office/drawing/2014/main" id="{F34303D8-8B14-4B76-B030-18E474186233}"/>
                  </a:ext>
                </a:extLst>
              </p:cNvPr>
              <p:cNvGraphicFramePr/>
              <p:nvPr>
                <p:extLst>
                  <p:ext uri="{D42A27DB-BD31-4B8C-83A1-F6EECF244321}">
                    <p14:modId xmlns:p14="http://schemas.microsoft.com/office/powerpoint/2010/main" val="2023584912"/>
                  </p:ext>
                </p:extLst>
              </p:nvPr>
            </p:nvGraphicFramePr>
            <p:xfrm>
              <a:off x="400932" y="1531136"/>
              <a:ext cx="5804198" cy="3618786"/>
            </p:xfrm>
            <a:graphic>
              <a:graphicData uri="http://schemas.microsoft.com/office/drawing/2014/chartex">
                <cx:chart xmlns:cx="http://schemas.microsoft.com/office/drawing/2014/chartex" xmlns:r="http://schemas.openxmlformats.org/officeDocument/2006/relationships" r:id="rId14"/>
              </a:graphicData>
            </a:graphic>
          </p:graphicFrame>
        </mc:Choice>
        <mc:Fallback xmlns="">
          <p:pic>
            <p:nvPicPr>
              <p:cNvPr id="28" name="Chart 27">
                <a:extLst>
                  <a:ext uri="{FF2B5EF4-FFF2-40B4-BE49-F238E27FC236}">
                    <a16:creationId xmlns:a16="http://schemas.microsoft.com/office/drawing/2014/main" id="{F34303D8-8B14-4B76-B030-18E474186233}"/>
                  </a:ext>
                </a:extLst>
              </p:cNvPr>
              <p:cNvPicPr>
                <a:picLocks noGrp="1" noRot="1" noChangeAspect="1" noMove="1" noResize="1" noEditPoints="1" noAdjustHandles="1" noChangeArrowheads="1" noChangeShapeType="1"/>
              </p:cNvPicPr>
              <p:nvPr/>
            </p:nvPicPr>
            <p:blipFill>
              <a:blip r:embed="rId16"/>
              <a:stretch>
                <a:fillRect/>
              </a:stretch>
            </p:blipFill>
            <p:spPr>
              <a:xfrm>
                <a:off x="400932" y="1531136"/>
                <a:ext cx="5804198" cy="3618786"/>
              </a:xfrm>
              <a:prstGeom prst="rect">
                <a:avLst/>
              </a:prstGeom>
            </p:spPr>
          </p:pic>
        </mc:Fallback>
      </mc:AlternateContent>
      <p:sp>
        <p:nvSpPr>
          <p:cNvPr id="13" name="Bulle narrative : rectangle 3">
            <a:extLst>
              <a:ext uri="{FF2B5EF4-FFF2-40B4-BE49-F238E27FC236}">
                <a16:creationId xmlns:a16="http://schemas.microsoft.com/office/drawing/2014/main" id="{58E6DE14-36AC-4D24-AA25-59CA18515C41}"/>
              </a:ext>
            </a:extLst>
          </p:cNvPr>
          <p:cNvSpPr/>
          <p:nvPr/>
        </p:nvSpPr>
        <p:spPr bwMode="auto">
          <a:xfrm>
            <a:off x="6349259" y="1531136"/>
            <a:ext cx="3027059" cy="1948972"/>
          </a:xfrm>
          <a:prstGeom prst="wedgeRectCallout">
            <a:avLst>
              <a:gd name="adj1" fmla="val -57878"/>
              <a:gd name="adj2" fmla="val -17514"/>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effectLst/>
                <a:latin typeface="Trebuchet MS" panose="020B0603020202020204" pitchFamily="34" charset="0"/>
              </a:rPr>
              <a:t>Readin</a:t>
            </a:r>
            <a:r>
              <a:rPr lang="en-GB" sz="1000">
                <a:latin typeface="Trebuchet MS" panose="020B0603020202020204" pitchFamily="34" charset="0"/>
              </a:rPr>
              <a:t>g insights</a:t>
            </a:r>
          </a:p>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bg1">
                  <a:lumMod val="65000"/>
                </a:schemeClr>
              </a:solidFill>
              <a:effectLst/>
              <a:latin typeface="Trebuchet MS" panose="020B0603020202020204" pitchFamily="34" charset="0"/>
            </a:endParaRPr>
          </a:p>
          <a:p>
            <a:pPr marL="171450" indent="-171450">
              <a:spcAft>
                <a:spcPts val="60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Like-for-like can be either positive</a:t>
            </a:r>
            <a:r>
              <a:rPr lang="en-GB" sz="1000">
                <a:latin typeface="Trebuchet MS" panose="020B0603020202020204" pitchFamily="34" charset="0"/>
              </a:rPr>
              <a:t> if Like-for-like customer have in average generated more sales than the previous year (up-sell) or </a:t>
            </a:r>
            <a:r>
              <a:rPr lang="en-GB" sz="1000">
                <a:solidFill>
                  <a:schemeClr val="tx2"/>
                </a:solidFill>
                <a:latin typeface="Trebuchet MS" panose="020B0603020202020204" pitchFamily="34" charset="0"/>
              </a:rPr>
              <a:t>negative</a:t>
            </a:r>
            <a:r>
              <a:rPr lang="en-GB" sz="1000">
                <a:latin typeface="Trebuchet MS" panose="020B0603020202020204" pitchFamily="34" charset="0"/>
              </a:rPr>
              <a:t> if they have in average generated less sales than the previous year (down-sell)</a:t>
            </a:r>
          </a:p>
          <a:p>
            <a:pPr marL="171450" indent="-171450">
              <a:spcAft>
                <a:spcPts val="600"/>
              </a:spcAft>
              <a:buFont typeface="Arial" panose="020B0604020202020204" pitchFamily="34" charset="0"/>
              <a:buChar char="•"/>
            </a:pPr>
            <a:r>
              <a:rPr lang="en-GB" sz="1000">
                <a:latin typeface="Trebuchet MS" panose="020B0603020202020204" pitchFamily="34" charset="0"/>
              </a:rPr>
              <a:t>This cohort </a:t>
            </a:r>
            <a:r>
              <a:rPr lang="en-GB" sz="1000">
                <a:solidFill>
                  <a:schemeClr val="tx2"/>
                </a:solidFill>
                <a:latin typeface="Trebuchet MS" panose="020B0603020202020204" pitchFamily="34" charset="0"/>
              </a:rPr>
              <a:t>doesn’t contain D&amp;B partnership </a:t>
            </a:r>
            <a:r>
              <a:rPr lang="en-GB" sz="1000">
                <a:latin typeface="Trebuchet MS" panose="020B0603020202020204" pitchFamily="34" charset="0"/>
              </a:rPr>
              <a:t>incomes </a:t>
            </a:r>
            <a:r>
              <a:rPr lang="en-GB" sz="1000">
                <a:solidFill>
                  <a:schemeClr val="tx2"/>
                </a:solidFill>
                <a:latin typeface="Trebuchet MS" panose="020B0603020202020204" pitchFamily="34" charset="0"/>
              </a:rPr>
              <a:t>nor one-shot business</a:t>
            </a:r>
          </a:p>
          <a:p>
            <a:pPr marL="171450" indent="-171450">
              <a:spcAft>
                <a:spcPts val="600"/>
              </a:spcAft>
              <a:buFont typeface="Arial" panose="020B0604020202020204" pitchFamily="34" charset="0"/>
              <a:buChar char="•"/>
            </a:pPr>
            <a:r>
              <a:rPr lang="en-GB" sz="1000">
                <a:latin typeface="Trebuchet MS" panose="020B0603020202020204" pitchFamily="34" charset="0"/>
              </a:rPr>
              <a:t>One client is </a:t>
            </a:r>
            <a:r>
              <a:rPr lang="en-GB" sz="1000">
                <a:solidFill>
                  <a:schemeClr val="tx2"/>
                </a:solidFill>
                <a:latin typeface="Trebuchet MS" panose="020B0603020202020204" pitchFamily="34" charset="0"/>
              </a:rPr>
              <a:t>a group </a:t>
            </a:r>
          </a:p>
          <a:p>
            <a:pPr marL="171450" indent="-171450">
              <a:buFont typeface="Arial" panose="020B0604020202020204" pitchFamily="34" charset="0"/>
              <a:buChar char="•"/>
            </a:pPr>
            <a:endParaRPr kumimoji="0" lang="en-GB" sz="1000" b="0" i="0" u="none" strike="noStrike" cap="none" normalizeH="0" baseline="0">
              <a:ln>
                <a:noFill/>
              </a:ln>
              <a:solidFill>
                <a:schemeClr val="bg1">
                  <a:lumMod val="65000"/>
                </a:schemeClr>
              </a:solidFill>
              <a:effectLst/>
              <a:latin typeface="Trebuchet MS" panose="020B0603020202020204" pitchFamily="34" charset="0"/>
            </a:endParaRPr>
          </a:p>
          <a:p>
            <a:pPr marL="171450" indent="-171450">
              <a:buFont typeface="Arial" panose="020B0604020202020204" pitchFamily="34" charset="0"/>
              <a:buChar char="•"/>
            </a:pPr>
            <a:endParaRPr kumimoji="0" lang="en-GB" sz="1200" b="0" i="0" u="none" strike="noStrike" cap="none" normalizeH="0" baseline="0">
              <a:ln>
                <a:noFill/>
              </a:ln>
              <a:solidFill>
                <a:schemeClr val="bg1">
                  <a:lumMod val="65000"/>
                </a:schemeClr>
              </a:solidFill>
              <a:effectLst/>
              <a:latin typeface="Trebuchet MS" panose="020B0603020202020204" pitchFamily="34" charset="0"/>
            </a:endParaRPr>
          </a:p>
        </p:txBody>
      </p:sp>
      <p:pic>
        <p:nvPicPr>
          <p:cNvPr id="27" name="Picture 2" descr="Drapeau France">
            <a:extLst>
              <a:ext uri="{FF2B5EF4-FFF2-40B4-BE49-F238E27FC236}">
                <a16:creationId xmlns:a16="http://schemas.microsoft.com/office/drawing/2014/main" id="{E35BFC65-F4D0-484C-AF8E-4CE32EF1C538}"/>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349282" y="1243117"/>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161029057"/>
      </p:ext>
    </p:extLst>
  </p:cSld>
  <p:clrMapOvr>
    <a:masterClrMapping/>
  </p:clrMapOv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AD8A8315-ACB0-4AFA-BDAB-ACE3EE7940F9}"/>
              </a:ext>
            </a:extLst>
          </p:cNvPr>
          <p:cNvGraphicFramePr>
            <a:graphicFrameLocks noChangeAspect="1"/>
          </p:cNvGraphicFramePr>
          <p:nvPr>
            <p:custDataLst>
              <p:tags r:id="rId1"/>
            </p:custDataLst>
            <p:extLst>
              <p:ext uri="{D42A27DB-BD31-4B8C-83A1-F6EECF244321}">
                <p14:modId xmlns:p14="http://schemas.microsoft.com/office/powerpoint/2010/main" val="277853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6" name="Objet 5" hidden="1">
                        <a:extLst>
                          <a:ext uri="{FF2B5EF4-FFF2-40B4-BE49-F238E27FC236}">
                            <a16:creationId xmlns:a16="http://schemas.microsoft.com/office/drawing/2014/main" id="{AD8A8315-ACB0-4AFA-BDAB-ACE3EE7940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854DCEF-5D09-4A27-9C10-DE41FAB26FC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5" name="Rectangle 4">
            <a:extLst>
              <a:ext uri="{FF2B5EF4-FFF2-40B4-BE49-F238E27FC236}">
                <a16:creationId xmlns:a16="http://schemas.microsoft.com/office/drawing/2014/main" id="{EAC0CC13-A429-4B1D-9536-6F719397E27C}"/>
              </a:ext>
            </a:extLst>
          </p:cNvPr>
          <p:cNvSpPr/>
          <p:nvPr/>
        </p:nvSpPr>
        <p:spPr bwMode="auto">
          <a:xfrm>
            <a:off x="256803" y="1108411"/>
            <a:ext cx="9392393" cy="531921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6" name="Rectangle 65">
            <a:extLst>
              <a:ext uri="{FF2B5EF4-FFF2-40B4-BE49-F238E27FC236}">
                <a16:creationId xmlns:a16="http://schemas.microsoft.com/office/drawing/2014/main" id="{DDE8E6A5-D9C2-4569-8B2E-FFD8F8BC53C1}"/>
              </a:ext>
            </a:extLst>
          </p:cNvPr>
          <p:cNvSpPr/>
          <p:nvPr/>
        </p:nvSpPr>
        <p:spPr bwMode="auto">
          <a:xfrm>
            <a:off x="373541" y="4857084"/>
            <a:ext cx="9126566" cy="1484881"/>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600"/>
              </a:spcBef>
              <a:buClr>
                <a:schemeClr val="tx1"/>
              </a:buClr>
            </a:pPr>
            <a:r>
              <a:rPr lang="en-GB" sz="1000" b="1" kern="0" dirty="0">
                <a:latin typeface="Trebuchet MS" panose="020B0603020202020204" pitchFamily="34" charset="0"/>
              </a:rPr>
              <a:t>Comments</a:t>
            </a:r>
          </a:p>
          <a:p>
            <a:pPr marL="171450" indent="-171450">
              <a:spcBef>
                <a:spcPts val="600"/>
              </a:spcBef>
              <a:buClr>
                <a:schemeClr val="tx1"/>
              </a:buClr>
              <a:buFont typeface="Arial" panose="020B0604020202020204" pitchFamily="34" charset="0"/>
              <a:buChar char="•"/>
            </a:pPr>
            <a:r>
              <a:rPr lang="en-GB" sz="1000" dirty="0">
                <a:solidFill>
                  <a:schemeClr val="tx2"/>
                </a:solidFill>
                <a:latin typeface="Trebuchet MS" panose="020B0603020202020204" pitchFamily="34" charset="0"/>
              </a:rPr>
              <a:t>Cohort </a:t>
            </a:r>
            <a:r>
              <a:rPr lang="en-GB" sz="1000" dirty="0">
                <a:latin typeface="Trebuchet MS" panose="020B0603020202020204" pitchFamily="34" charset="0"/>
              </a:rPr>
              <a:t>includes all sales generated by customers in a given year </a:t>
            </a:r>
            <a:r>
              <a:rPr lang="en-GB" sz="1000" dirty="0">
                <a:solidFill>
                  <a:schemeClr val="tx2"/>
                </a:solidFill>
                <a:latin typeface="Trebuchet MS" panose="020B0603020202020204" pitchFamily="34" charset="0"/>
              </a:rPr>
              <a:t>excluding indirect incomes </a:t>
            </a:r>
            <a:r>
              <a:rPr lang="en-GB" sz="1000" dirty="0">
                <a:latin typeface="Trebuchet MS" panose="020B0603020202020204" pitchFamily="34" charset="0"/>
              </a:rPr>
              <a:t>coming from the </a:t>
            </a:r>
            <a:r>
              <a:rPr lang="en-GB" sz="1000" dirty="0">
                <a:solidFill>
                  <a:schemeClr val="tx2"/>
                </a:solidFill>
                <a:latin typeface="Trebuchet MS" panose="020B0603020202020204" pitchFamily="34" charset="0"/>
              </a:rPr>
              <a:t>partnership with D&amp;B </a:t>
            </a:r>
            <a:r>
              <a:rPr lang="en-GB" sz="1000" dirty="0">
                <a:latin typeface="Trebuchet MS" panose="020B0603020202020204" pitchFamily="34" charset="0"/>
              </a:rPr>
              <a:t>(e.g. royalties…) and </a:t>
            </a:r>
            <a:r>
              <a:rPr lang="en-GB" sz="1000" dirty="0">
                <a:solidFill>
                  <a:schemeClr val="tx2"/>
                </a:solidFill>
                <a:latin typeface="Trebuchet MS" panose="020B0603020202020204" pitchFamily="34" charset="0"/>
              </a:rPr>
              <a:t>one-off sales </a:t>
            </a:r>
            <a:r>
              <a:rPr lang="en-GB" sz="1000" dirty="0">
                <a:latin typeface="Trebuchet MS" panose="020B0603020202020204" pitchFamily="34" charset="0"/>
              </a:rPr>
              <a:t>(e.g. files products and tailored services…)</a:t>
            </a:r>
          </a:p>
          <a:p>
            <a:pPr marL="171450" indent="-171450">
              <a:spcBef>
                <a:spcPts val="600"/>
              </a:spcBef>
              <a:buClr>
                <a:schemeClr val="tx1"/>
              </a:buClr>
              <a:buFont typeface="Arial" panose="020B0604020202020204" pitchFamily="34" charset="0"/>
              <a:buChar char="•"/>
            </a:pPr>
            <a:r>
              <a:rPr lang="en-GB" sz="1000" dirty="0" err="1">
                <a:latin typeface="Trebuchet MS" panose="020B0603020202020204" pitchFamily="34" charset="0"/>
              </a:rPr>
              <a:t>Altares</a:t>
            </a:r>
            <a:r>
              <a:rPr lang="en-GB" sz="1000" dirty="0">
                <a:latin typeface="Trebuchet MS" panose="020B0603020202020204" pitchFamily="34" charset="0"/>
              </a:rPr>
              <a:t>' customer base has proven its resilience over time </a:t>
            </a:r>
            <a:r>
              <a:rPr lang="en-GB" sz="1000" dirty="0">
                <a:solidFill>
                  <a:schemeClr val="tx2"/>
                </a:solidFill>
                <a:latin typeface="Trebuchet MS" panose="020B0603020202020204" pitchFamily="34" charset="0"/>
              </a:rPr>
              <a:t>as 92% of its 2019 turnover </a:t>
            </a:r>
            <a:r>
              <a:rPr lang="en-GB" sz="1000" dirty="0">
                <a:latin typeface="Trebuchet MS" panose="020B0603020202020204" pitchFamily="34" charset="0"/>
              </a:rPr>
              <a:t>comes from </a:t>
            </a:r>
            <a:r>
              <a:rPr lang="en-GB" sz="1000" dirty="0">
                <a:solidFill>
                  <a:schemeClr val="tx2"/>
                </a:solidFill>
                <a:latin typeface="Trebuchet MS" panose="020B0603020202020204" pitchFamily="34" charset="0"/>
              </a:rPr>
              <a:t>customers acquired prior to 2017</a:t>
            </a:r>
            <a:r>
              <a:rPr lang="en-GB" sz="1000" dirty="0">
                <a:latin typeface="Trebuchet MS" panose="020B0603020202020204" pitchFamily="34" charset="0"/>
              </a:rPr>
              <a:t>,</a:t>
            </a:r>
            <a:r>
              <a:rPr lang="en-GB" sz="1000" dirty="0">
                <a:solidFill>
                  <a:schemeClr val="tx2"/>
                </a:solidFill>
                <a:latin typeface="Trebuchet MS" panose="020B0603020202020204" pitchFamily="34" charset="0"/>
              </a:rPr>
              <a:t> </a:t>
            </a:r>
            <a:r>
              <a:rPr lang="en-GB" sz="1000" dirty="0">
                <a:latin typeface="Trebuchet MS" panose="020B0603020202020204" pitchFamily="34" charset="0"/>
              </a:rPr>
              <a:t>while preserving a </a:t>
            </a:r>
            <a:r>
              <a:rPr lang="en-GB" sz="1000" dirty="0">
                <a:solidFill>
                  <a:schemeClr val="tx2"/>
                </a:solidFill>
                <a:latin typeface="Trebuchet MS" panose="020B0603020202020204" pitchFamily="34" charset="0"/>
              </a:rPr>
              <a:t>robust customer acquisition rate</a:t>
            </a:r>
          </a:p>
          <a:p>
            <a:pPr marL="171450" indent="-171450">
              <a:spcBef>
                <a:spcPts val="600"/>
              </a:spcBef>
              <a:buClr>
                <a:schemeClr val="tx1"/>
              </a:buClr>
              <a:buFont typeface="Arial" panose="020B0604020202020204" pitchFamily="34" charset="0"/>
              <a:buChar char="•"/>
            </a:pPr>
            <a:r>
              <a:rPr lang="en-GB" sz="1000" dirty="0">
                <a:latin typeface="Trebuchet MS" panose="020B0603020202020204" pitchFamily="34" charset="0"/>
              </a:rPr>
              <a:t>Since 2016, </a:t>
            </a:r>
            <a:r>
              <a:rPr lang="en-GB" sz="1000" dirty="0" err="1">
                <a:latin typeface="Trebuchet MS" panose="020B0603020202020204" pitchFamily="34" charset="0"/>
              </a:rPr>
              <a:t>Altares</a:t>
            </a:r>
            <a:r>
              <a:rPr lang="en-GB" sz="1000" dirty="0">
                <a:latin typeface="Trebuchet MS" panose="020B0603020202020204" pitchFamily="34" charset="0"/>
              </a:rPr>
              <a:t> has </a:t>
            </a:r>
            <a:r>
              <a:rPr lang="en-GB" sz="1000" dirty="0">
                <a:solidFill>
                  <a:schemeClr val="tx2"/>
                </a:solidFill>
                <a:latin typeface="Trebuchet MS" panose="020B0603020202020204" pitchFamily="34" charset="0"/>
              </a:rPr>
              <a:t>tightened its customer base </a:t>
            </a:r>
            <a:r>
              <a:rPr lang="en-GB" sz="1000" dirty="0">
                <a:latin typeface="Trebuchet MS" panose="020B0603020202020204" pitchFamily="34" charset="0"/>
              </a:rPr>
              <a:t>from ~1900 in 2016 to ~1600 customers in 2019 but </a:t>
            </a:r>
            <a:r>
              <a:rPr lang="en-GB" sz="1000" dirty="0">
                <a:solidFill>
                  <a:schemeClr val="tx2"/>
                </a:solidFill>
                <a:latin typeface="Trebuchet MS" panose="020B0603020202020204" pitchFamily="34" charset="0"/>
              </a:rPr>
              <a:t>has managed to increase upsell </a:t>
            </a:r>
            <a:r>
              <a:rPr lang="en-GB" sz="1000" dirty="0">
                <a:latin typeface="Trebuchet MS" panose="020B0603020202020204" pitchFamily="34" charset="0"/>
              </a:rPr>
              <a:t>as the </a:t>
            </a:r>
            <a:r>
              <a:rPr lang="en-GB" sz="1000" dirty="0">
                <a:solidFill>
                  <a:schemeClr val="tx2"/>
                </a:solidFill>
                <a:latin typeface="Trebuchet MS" panose="020B0603020202020204" pitchFamily="34" charset="0"/>
              </a:rPr>
              <a:t>total generated revenue has increased from ~36.4m€ in 2016 to ~39.2m€ in 2019</a:t>
            </a:r>
            <a:endParaRPr lang="en-GB" sz="900" dirty="0">
              <a:latin typeface="Trebuchet MS" pitchFamily="34" charset="0"/>
            </a:endParaRPr>
          </a:p>
        </p:txBody>
      </p:sp>
      <p:sp>
        <p:nvSpPr>
          <p:cNvPr id="2" name="Title 1">
            <a:extLst>
              <a:ext uri="{FF2B5EF4-FFF2-40B4-BE49-F238E27FC236}">
                <a16:creationId xmlns:a16="http://schemas.microsoft.com/office/drawing/2014/main" id="{7EFDEDFD-03EA-47F3-B974-1CACBD8FA6E2}"/>
              </a:ext>
            </a:extLst>
          </p:cNvPr>
          <p:cNvSpPr>
            <a:spLocks noGrp="1"/>
          </p:cNvSpPr>
          <p:nvPr>
            <p:ph type="title"/>
          </p:nvPr>
        </p:nvSpPr>
        <p:spPr>
          <a:xfrm>
            <a:off x="165601" y="147600"/>
            <a:ext cx="8444022" cy="684000"/>
          </a:xfrm>
        </p:spPr>
        <p:txBody>
          <a:bodyPr/>
          <a:lstStyle/>
          <a:p>
            <a:r>
              <a:rPr lang="en-GB">
                <a:latin typeface="Trebuchet MS" panose="020B0603020202020204" pitchFamily="34" charset="0"/>
              </a:rPr>
              <a:t>In France, </a:t>
            </a:r>
            <a:r>
              <a:rPr lang="en-GB" sz="1600" kern="0">
                <a:solidFill>
                  <a:schemeClr val="tx2"/>
                </a:solidFill>
                <a:latin typeface="Trebuchet MS" panose="020B0603020202020204" pitchFamily="34" charset="0"/>
              </a:rPr>
              <a:t>cohorts’ dynamics </a:t>
            </a:r>
            <a:r>
              <a:rPr lang="en-GB" sz="1600" kern="0">
                <a:latin typeface="Trebuchet MS" panose="020B0603020202020204" pitchFamily="34" charset="0"/>
              </a:rPr>
              <a:t>illustrate </a:t>
            </a:r>
            <a:r>
              <a:rPr lang="en-GB" sz="1600" kern="0" err="1">
                <a:latin typeface="Trebuchet MS" panose="020B0603020202020204" pitchFamily="34" charset="0"/>
              </a:rPr>
              <a:t>Altares</a:t>
            </a:r>
            <a:r>
              <a:rPr lang="en-GB" sz="1600" kern="0">
                <a:latin typeface="Trebuchet MS" panose="020B0603020202020204" pitchFamily="34" charset="0"/>
              </a:rPr>
              <a:t>’ </a:t>
            </a:r>
            <a:r>
              <a:rPr lang="en-GB" sz="1600" kern="0">
                <a:solidFill>
                  <a:schemeClr val="tx2"/>
                </a:solidFill>
                <a:latin typeface="Trebuchet MS" panose="020B0603020202020204" pitchFamily="34" charset="0"/>
              </a:rPr>
              <a:t>focus on high value-added customers </a:t>
            </a:r>
            <a:r>
              <a:rPr lang="en-GB" sz="1600" kern="0">
                <a:latin typeface="Trebuchet MS" panose="020B0603020202020204" pitchFamily="34" charset="0"/>
              </a:rPr>
              <a:t>at the expense of </a:t>
            </a:r>
            <a:r>
              <a:rPr lang="en-GB" sz="1600" kern="0">
                <a:solidFill>
                  <a:schemeClr val="tx2"/>
                </a:solidFill>
                <a:latin typeface="Trebuchet MS" panose="020B0603020202020204" pitchFamily="34" charset="0"/>
              </a:rPr>
              <a:t>unprofitable small accounts</a:t>
            </a:r>
            <a:r>
              <a:rPr lang="en-GB" sz="1600" kern="0">
                <a:latin typeface="Trebuchet MS" panose="020B0603020202020204" pitchFamily="34" charset="0"/>
              </a:rPr>
              <a:t>, as </a:t>
            </a:r>
            <a:r>
              <a:rPr lang="en-GB" sz="1600" kern="0">
                <a:solidFill>
                  <a:schemeClr val="tx2"/>
                </a:solidFill>
                <a:latin typeface="Trebuchet MS" panose="020B0603020202020204" pitchFamily="34" charset="0"/>
              </a:rPr>
              <a:t>billings</a:t>
            </a:r>
            <a:r>
              <a:rPr lang="en-GB">
                <a:solidFill>
                  <a:schemeClr val="tx2"/>
                </a:solidFill>
                <a:latin typeface="Trebuchet MS" panose="020B0603020202020204" pitchFamily="34" charset="0"/>
              </a:rPr>
              <a:t> have continuously increased</a:t>
            </a:r>
            <a:r>
              <a:rPr lang="en-GB">
                <a:latin typeface="Trebuchet MS" panose="020B0603020202020204" pitchFamily="34" charset="0"/>
              </a:rPr>
              <a:t> despite a </a:t>
            </a:r>
            <a:r>
              <a:rPr lang="en-GB">
                <a:solidFill>
                  <a:schemeClr val="tx2"/>
                </a:solidFill>
                <a:latin typeface="Trebuchet MS" panose="020B0603020202020204" pitchFamily="34" charset="0"/>
              </a:rPr>
              <a:t>decreasing number of clients</a:t>
            </a:r>
            <a:br>
              <a:rPr lang="en-GB">
                <a:solidFill>
                  <a:schemeClr val="tx2"/>
                </a:solidFill>
                <a:latin typeface="Trebuchet MS" panose="020B0603020202020204" pitchFamily="34" charset="0"/>
              </a:rPr>
            </a:br>
            <a:endParaRPr lang="en-GB">
              <a:solidFill>
                <a:schemeClr val="tx2"/>
              </a:solidFill>
              <a:highlight>
                <a:srgbClr val="FFFF00"/>
              </a:highlight>
              <a:latin typeface="Trebuchet MS" panose="020B0603020202020204" pitchFamily="34" charset="0"/>
            </a:endParaRPr>
          </a:p>
        </p:txBody>
      </p:sp>
      <p:sp>
        <p:nvSpPr>
          <p:cNvPr id="3" name="Text Placeholder 2">
            <a:extLst>
              <a:ext uri="{FF2B5EF4-FFF2-40B4-BE49-F238E27FC236}">
                <a16:creationId xmlns:a16="http://schemas.microsoft.com/office/drawing/2014/main" id="{4FF62979-614C-474A-8BAB-7BBEB6F4CE52}"/>
              </a:ext>
            </a:extLst>
          </p:cNvPr>
          <p:cNvSpPr>
            <a:spLocks noGrp="1"/>
          </p:cNvSpPr>
          <p:nvPr>
            <p:ph type="body" sz="quarter" idx="10"/>
          </p:nvPr>
        </p:nvSpPr>
        <p:spPr/>
        <p:txBody>
          <a:bodyPr/>
          <a:lstStyle/>
          <a:p>
            <a:r>
              <a:rPr lang="en-GB" sz="800" i="1" kern="0"/>
              <a:t>Sources: eleven research &amp; analysis, company data</a:t>
            </a:r>
          </a:p>
          <a:p>
            <a:endParaRPr lang="en-GB"/>
          </a:p>
        </p:txBody>
      </p:sp>
      <p:graphicFrame>
        <p:nvGraphicFramePr>
          <p:cNvPr id="11" name="Chart 10">
            <a:extLst>
              <a:ext uri="{FF2B5EF4-FFF2-40B4-BE49-F238E27FC236}">
                <a16:creationId xmlns:a16="http://schemas.microsoft.com/office/drawing/2014/main" id="{5A05E358-F134-48E9-9464-F617408222A3}"/>
              </a:ext>
            </a:extLst>
          </p:cNvPr>
          <p:cNvGraphicFramePr/>
          <p:nvPr>
            <p:extLst>
              <p:ext uri="{D42A27DB-BD31-4B8C-83A1-F6EECF244321}">
                <p14:modId xmlns:p14="http://schemas.microsoft.com/office/powerpoint/2010/main" val="3691179994"/>
              </p:ext>
            </p:extLst>
          </p:nvPr>
        </p:nvGraphicFramePr>
        <p:xfrm>
          <a:off x="356084" y="1663293"/>
          <a:ext cx="3979494" cy="312889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2" name="Chart 41">
            <a:extLst>
              <a:ext uri="{FF2B5EF4-FFF2-40B4-BE49-F238E27FC236}">
                <a16:creationId xmlns:a16="http://schemas.microsoft.com/office/drawing/2014/main" id="{F18C631E-AFF0-4FC2-9432-63525660A2DA}"/>
              </a:ext>
            </a:extLst>
          </p:cNvPr>
          <p:cNvGraphicFramePr/>
          <p:nvPr>
            <p:extLst>
              <p:ext uri="{D42A27DB-BD31-4B8C-83A1-F6EECF244321}">
                <p14:modId xmlns:p14="http://schemas.microsoft.com/office/powerpoint/2010/main" val="1680627916"/>
              </p:ext>
            </p:extLst>
          </p:nvPr>
        </p:nvGraphicFramePr>
        <p:xfrm>
          <a:off x="5513074" y="1663293"/>
          <a:ext cx="3987033" cy="3128896"/>
        </p:xfrm>
        <a:graphic>
          <a:graphicData uri="http://schemas.openxmlformats.org/drawingml/2006/chart">
            <c:chart xmlns:c="http://schemas.openxmlformats.org/drawingml/2006/chart" xmlns:r="http://schemas.openxmlformats.org/officeDocument/2006/relationships" r:id="rId7"/>
          </a:graphicData>
        </a:graphic>
      </p:graphicFrame>
      <p:cxnSp>
        <p:nvCxnSpPr>
          <p:cNvPr id="44" name="Straight Arrow Connector 43">
            <a:extLst>
              <a:ext uri="{FF2B5EF4-FFF2-40B4-BE49-F238E27FC236}">
                <a16:creationId xmlns:a16="http://schemas.microsoft.com/office/drawing/2014/main" id="{B8004CD4-94EE-4259-94B4-6D38F6931D4F}"/>
              </a:ext>
            </a:extLst>
          </p:cNvPr>
          <p:cNvCxnSpPr>
            <a:cxnSpLocks/>
          </p:cNvCxnSpPr>
          <p:nvPr/>
        </p:nvCxnSpPr>
        <p:spPr bwMode="auto">
          <a:xfrm>
            <a:off x="6715125" y="1819275"/>
            <a:ext cx="2245743" cy="240344"/>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46" name="TextBox 45">
            <a:extLst>
              <a:ext uri="{FF2B5EF4-FFF2-40B4-BE49-F238E27FC236}">
                <a16:creationId xmlns:a16="http://schemas.microsoft.com/office/drawing/2014/main" id="{D68C3AE6-51A5-4DF8-A2CF-7E7EDC1C56DE}"/>
              </a:ext>
            </a:extLst>
          </p:cNvPr>
          <p:cNvSpPr txBox="1"/>
          <p:nvPr/>
        </p:nvSpPr>
        <p:spPr>
          <a:xfrm>
            <a:off x="7415284" y="1698970"/>
            <a:ext cx="1538971" cy="246221"/>
          </a:xfrm>
          <a:prstGeom prst="rect">
            <a:avLst/>
          </a:prstGeom>
          <a:noFill/>
        </p:spPr>
        <p:txBody>
          <a:bodyPr wrap="square" rtlCol="0">
            <a:spAutoFit/>
          </a:bodyPr>
          <a:lstStyle/>
          <a:p>
            <a:r>
              <a:rPr lang="en-GB" sz="1000" b="1" i="1">
                <a:latin typeface="Trebuchet MS" panose="020B0603020202020204" pitchFamily="34" charset="0"/>
              </a:rPr>
              <a:t>CAGR</a:t>
            </a:r>
            <a:r>
              <a:rPr lang="en-GB" sz="1000" b="1" i="1" baseline="-25000">
                <a:latin typeface="Trebuchet MS" panose="020B0603020202020204" pitchFamily="34" charset="0"/>
              </a:rPr>
              <a:t>16-19</a:t>
            </a:r>
            <a:r>
              <a:rPr lang="en-GB" sz="1000" b="1" i="1">
                <a:latin typeface="Trebuchet MS" panose="020B0603020202020204" pitchFamily="34" charset="0"/>
              </a:rPr>
              <a:t>: -5.40 %</a:t>
            </a:r>
          </a:p>
        </p:txBody>
      </p:sp>
      <p:grpSp>
        <p:nvGrpSpPr>
          <p:cNvPr id="61" name="Group 60">
            <a:extLst>
              <a:ext uri="{FF2B5EF4-FFF2-40B4-BE49-F238E27FC236}">
                <a16:creationId xmlns:a16="http://schemas.microsoft.com/office/drawing/2014/main" id="{2AA839A1-B6D9-41F1-BAB7-89732BA645B1}"/>
              </a:ext>
            </a:extLst>
          </p:cNvPr>
          <p:cNvGrpSpPr/>
          <p:nvPr/>
        </p:nvGrpSpPr>
        <p:grpSpPr>
          <a:xfrm>
            <a:off x="4426713" y="1663293"/>
            <a:ext cx="995226" cy="1565682"/>
            <a:chOff x="4396872" y="1914259"/>
            <a:chExt cx="971564" cy="1760434"/>
          </a:xfrm>
        </p:grpSpPr>
        <p:sp>
          <p:nvSpPr>
            <p:cNvPr id="15" name="Rectangle 14">
              <a:extLst>
                <a:ext uri="{FF2B5EF4-FFF2-40B4-BE49-F238E27FC236}">
                  <a16:creationId xmlns:a16="http://schemas.microsoft.com/office/drawing/2014/main" id="{0E55E92B-7D51-4A3A-BE3F-7DD2EE928B4D}"/>
                </a:ext>
              </a:extLst>
            </p:cNvPr>
            <p:cNvSpPr/>
            <p:nvPr/>
          </p:nvSpPr>
          <p:spPr bwMode="auto">
            <a:xfrm>
              <a:off x="4396872" y="1914259"/>
              <a:ext cx="971564" cy="176043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grpSp>
          <p:nvGrpSpPr>
            <p:cNvPr id="52" name="Group 51">
              <a:extLst>
                <a:ext uri="{FF2B5EF4-FFF2-40B4-BE49-F238E27FC236}">
                  <a16:creationId xmlns:a16="http://schemas.microsoft.com/office/drawing/2014/main" id="{C0B68758-DB84-4C68-883B-ECA8D629BA82}"/>
                </a:ext>
              </a:extLst>
            </p:cNvPr>
            <p:cNvGrpSpPr/>
            <p:nvPr/>
          </p:nvGrpSpPr>
          <p:grpSpPr>
            <a:xfrm>
              <a:off x="4490012" y="2545853"/>
              <a:ext cx="565540" cy="138424"/>
              <a:chOff x="4490012" y="2434756"/>
              <a:chExt cx="565540" cy="138424"/>
            </a:xfrm>
          </p:grpSpPr>
          <p:cxnSp>
            <p:nvCxnSpPr>
              <p:cNvPr id="21" name="Straight Connector 20">
                <a:extLst>
                  <a:ext uri="{FF2B5EF4-FFF2-40B4-BE49-F238E27FC236}">
                    <a16:creationId xmlns:a16="http://schemas.microsoft.com/office/drawing/2014/main" id="{86F4127E-78DE-4332-99E8-E2B2E4414D4A}"/>
                  </a:ext>
                </a:extLst>
              </p:cNvPr>
              <p:cNvCxnSpPr>
                <a:cxnSpLocks/>
              </p:cNvCxnSpPr>
              <p:nvPr/>
            </p:nvCxnSpPr>
            <p:spPr bwMode="auto">
              <a:xfrm>
                <a:off x="4490012" y="2496311"/>
                <a:ext cx="202948"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23" name="TextBox 22">
                <a:extLst>
                  <a:ext uri="{FF2B5EF4-FFF2-40B4-BE49-F238E27FC236}">
                    <a16:creationId xmlns:a16="http://schemas.microsoft.com/office/drawing/2014/main" id="{F0CE2356-C5C6-4A20-9653-6B558BBA700F}"/>
                  </a:ext>
                </a:extLst>
              </p:cNvPr>
              <p:cNvSpPr txBox="1"/>
              <p:nvPr/>
            </p:nvSpPr>
            <p:spPr>
              <a:xfrm>
                <a:off x="4778368" y="2434756"/>
                <a:ext cx="277184" cy="138424"/>
              </a:xfrm>
              <a:prstGeom prst="rect">
                <a:avLst/>
              </a:prstGeom>
              <a:noFill/>
            </p:spPr>
            <p:txBody>
              <a:bodyPr wrap="square" lIns="0" tIns="0" rIns="0" bIns="0" rtlCol="0">
                <a:spAutoFit/>
              </a:bodyPr>
              <a:lstStyle/>
              <a:p>
                <a:r>
                  <a:rPr lang="en-GB" sz="800">
                    <a:latin typeface="+mj-lt"/>
                  </a:rPr>
                  <a:t>&lt;2017</a:t>
                </a:r>
              </a:p>
            </p:txBody>
          </p:sp>
        </p:grpSp>
        <p:grpSp>
          <p:nvGrpSpPr>
            <p:cNvPr id="53" name="Group 52">
              <a:extLst>
                <a:ext uri="{FF2B5EF4-FFF2-40B4-BE49-F238E27FC236}">
                  <a16:creationId xmlns:a16="http://schemas.microsoft.com/office/drawing/2014/main" id="{747300F3-85E9-49C8-A8AA-53FE5F8336D0}"/>
                </a:ext>
              </a:extLst>
            </p:cNvPr>
            <p:cNvGrpSpPr/>
            <p:nvPr/>
          </p:nvGrpSpPr>
          <p:grpSpPr>
            <a:xfrm>
              <a:off x="4490012" y="2772050"/>
              <a:ext cx="565539" cy="138424"/>
              <a:chOff x="4490012" y="2633045"/>
              <a:chExt cx="565539" cy="138424"/>
            </a:xfrm>
          </p:grpSpPr>
          <p:cxnSp>
            <p:nvCxnSpPr>
              <p:cNvPr id="19" name="Straight Connector 18">
                <a:extLst>
                  <a:ext uri="{FF2B5EF4-FFF2-40B4-BE49-F238E27FC236}">
                    <a16:creationId xmlns:a16="http://schemas.microsoft.com/office/drawing/2014/main" id="{F431C9AF-6EF4-4448-ACE3-15A186AB19D5}"/>
                  </a:ext>
                </a:extLst>
              </p:cNvPr>
              <p:cNvCxnSpPr>
                <a:cxnSpLocks/>
              </p:cNvCxnSpPr>
              <p:nvPr/>
            </p:nvCxnSpPr>
            <p:spPr bwMode="auto">
              <a:xfrm>
                <a:off x="4490012" y="2694600"/>
                <a:ext cx="202948"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25" name="TextBox 24">
                <a:extLst>
                  <a:ext uri="{FF2B5EF4-FFF2-40B4-BE49-F238E27FC236}">
                    <a16:creationId xmlns:a16="http://schemas.microsoft.com/office/drawing/2014/main" id="{0827E8EC-1FA3-49AB-83D1-166A31CA4B12}"/>
                  </a:ext>
                </a:extLst>
              </p:cNvPr>
              <p:cNvSpPr txBox="1"/>
              <p:nvPr/>
            </p:nvSpPr>
            <p:spPr>
              <a:xfrm>
                <a:off x="4778368" y="2633045"/>
                <a:ext cx="277183" cy="138424"/>
              </a:xfrm>
              <a:prstGeom prst="rect">
                <a:avLst/>
              </a:prstGeom>
              <a:noFill/>
            </p:spPr>
            <p:txBody>
              <a:bodyPr wrap="square" lIns="0" tIns="0" rIns="0" bIns="0" rtlCol="0">
                <a:spAutoFit/>
              </a:bodyPr>
              <a:lstStyle/>
              <a:p>
                <a:r>
                  <a:rPr lang="en-GB" sz="800">
                    <a:latin typeface="+mj-lt"/>
                  </a:rPr>
                  <a:t>2017</a:t>
                </a:r>
              </a:p>
            </p:txBody>
          </p:sp>
        </p:grpSp>
        <p:grpSp>
          <p:nvGrpSpPr>
            <p:cNvPr id="54" name="Group 53">
              <a:extLst>
                <a:ext uri="{FF2B5EF4-FFF2-40B4-BE49-F238E27FC236}">
                  <a16:creationId xmlns:a16="http://schemas.microsoft.com/office/drawing/2014/main" id="{5F01AEF0-CAA6-46B1-9E65-64CB1074A853}"/>
                </a:ext>
              </a:extLst>
            </p:cNvPr>
            <p:cNvGrpSpPr/>
            <p:nvPr/>
          </p:nvGrpSpPr>
          <p:grpSpPr>
            <a:xfrm>
              <a:off x="4490012" y="2998247"/>
              <a:ext cx="565539" cy="138424"/>
              <a:chOff x="4490012" y="2842696"/>
              <a:chExt cx="565539" cy="138424"/>
            </a:xfrm>
          </p:grpSpPr>
          <p:cxnSp>
            <p:nvCxnSpPr>
              <p:cNvPr id="17" name="Straight Connector 16">
                <a:extLst>
                  <a:ext uri="{FF2B5EF4-FFF2-40B4-BE49-F238E27FC236}">
                    <a16:creationId xmlns:a16="http://schemas.microsoft.com/office/drawing/2014/main" id="{FF843855-B32E-49BD-8D1B-028DD28EF5CC}"/>
                  </a:ext>
                </a:extLst>
              </p:cNvPr>
              <p:cNvCxnSpPr>
                <a:cxnSpLocks/>
              </p:cNvCxnSpPr>
              <p:nvPr/>
            </p:nvCxnSpPr>
            <p:spPr bwMode="auto">
              <a:xfrm>
                <a:off x="4490012" y="2904251"/>
                <a:ext cx="202948" cy="0"/>
              </a:xfrm>
              <a:prstGeom prst="line">
                <a:avLst/>
              </a:prstGeom>
              <a:solidFill>
                <a:schemeClr val="bg1"/>
              </a:solidFill>
              <a:ln w="88900" cap="flat" cmpd="sng" algn="ctr">
                <a:solidFill>
                  <a:srgbClr val="8FCD9F"/>
                </a:solidFill>
                <a:prstDash val="solid"/>
                <a:round/>
                <a:headEnd type="none" w="med" len="med"/>
                <a:tailEnd type="none" w="med" len="med"/>
              </a:ln>
              <a:effectLst/>
            </p:spPr>
          </p:cxnSp>
          <p:sp>
            <p:nvSpPr>
              <p:cNvPr id="27" name="TextBox 26">
                <a:extLst>
                  <a:ext uri="{FF2B5EF4-FFF2-40B4-BE49-F238E27FC236}">
                    <a16:creationId xmlns:a16="http://schemas.microsoft.com/office/drawing/2014/main" id="{4046502C-733D-4492-9536-6251E4829624}"/>
                  </a:ext>
                </a:extLst>
              </p:cNvPr>
              <p:cNvSpPr txBox="1"/>
              <p:nvPr/>
            </p:nvSpPr>
            <p:spPr>
              <a:xfrm>
                <a:off x="4778368" y="2842696"/>
                <a:ext cx="277183" cy="138424"/>
              </a:xfrm>
              <a:prstGeom prst="rect">
                <a:avLst/>
              </a:prstGeom>
              <a:noFill/>
            </p:spPr>
            <p:txBody>
              <a:bodyPr wrap="square" lIns="0" tIns="0" rIns="0" bIns="0" rtlCol="0">
                <a:spAutoFit/>
              </a:bodyPr>
              <a:lstStyle/>
              <a:p>
                <a:r>
                  <a:rPr lang="en-GB" sz="800">
                    <a:latin typeface="+mj-lt"/>
                  </a:rPr>
                  <a:t>2018</a:t>
                </a:r>
              </a:p>
            </p:txBody>
          </p:sp>
        </p:grpSp>
        <p:grpSp>
          <p:nvGrpSpPr>
            <p:cNvPr id="56" name="Group 55">
              <a:extLst>
                <a:ext uri="{FF2B5EF4-FFF2-40B4-BE49-F238E27FC236}">
                  <a16:creationId xmlns:a16="http://schemas.microsoft.com/office/drawing/2014/main" id="{F9424599-FCCC-499C-8C19-E61D838D2BA3}"/>
                </a:ext>
              </a:extLst>
            </p:cNvPr>
            <p:cNvGrpSpPr/>
            <p:nvPr/>
          </p:nvGrpSpPr>
          <p:grpSpPr>
            <a:xfrm>
              <a:off x="4490012" y="3224443"/>
              <a:ext cx="565539" cy="138424"/>
              <a:chOff x="4490012" y="3045926"/>
              <a:chExt cx="565539" cy="138424"/>
            </a:xfrm>
          </p:grpSpPr>
          <p:cxnSp>
            <p:nvCxnSpPr>
              <p:cNvPr id="29" name="Straight Connector 28">
                <a:extLst>
                  <a:ext uri="{FF2B5EF4-FFF2-40B4-BE49-F238E27FC236}">
                    <a16:creationId xmlns:a16="http://schemas.microsoft.com/office/drawing/2014/main" id="{6CABC3E6-B790-4A8A-AB74-74D53DA0A15E}"/>
                  </a:ext>
                </a:extLst>
              </p:cNvPr>
              <p:cNvCxnSpPr>
                <a:cxnSpLocks/>
              </p:cNvCxnSpPr>
              <p:nvPr/>
            </p:nvCxnSpPr>
            <p:spPr bwMode="auto">
              <a:xfrm>
                <a:off x="4490012" y="3107481"/>
                <a:ext cx="202948" cy="0"/>
              </a:xfrm>
              <a:prstGeom prst="line">
                <a:avLst/>
              </a:prstGeom>
              <a:solidFill>
                <a:schemeClr val="bg1"/>
              </a:solidFill>
              <a:ln w="88900" cap="flat" cmpd="sng" algn="ctr">
                <a:solidFill>
                  <a:srgbClr val="ADD9FD"/>
                </a:solidFill>
                <a:prstDash val="solid"/>
                <a:round/>
                <a:headEnd type="none" w="med" len="med"/>
                <a:tailEnd type="none" w="med" len="med"/>
              </a:ln>
              <a:effectLst/>
            </p:spPr>
          </p:cxnSp>
          <p:sp>
            <p:nvSpPr>
              <p:cNvPr id="31" name="TextBox 30">
                <a:extLst>
                  <a:ext uri="{FF2B5EF4-FFF2-40B4-BE49-F238E27FC236}">
                    <a16:creationId xmlns:a16="http://schemas.microsoft.com/office/drawing/2014/main" id="{7D46D9B6-B8A3-4AF7-A23E-1841E9E28D8D}"/>
                  </a:ext>
                </a:extLst>
              </p:cNvPr>
              <p:cNvSpPr txBox="1"/>
              <p:nvPr/>
            </p:nvSpPr>
            <p:spPr>
              <a:xfrm>
                <a:off x="4778368" y="3045926"/>
                <a:ext cx="277183" cy="138424"/>
              </a:xfrm>
              <a:prstGeom prst="rect">
                <a:avLst/>
              </a:prstGeom>
              <a:noFill/>
            </p:spPr>
            <p:txBody>
              <a:bodyPr wrap="square" lIns="0" tIns="0" rIns="0" bIns="0" rtlCol="0">
                <a:spAutoFit/>
              </a:bodyPr>
              <a:lstStyle/>
              <a:p>
                <a:r>
                  <a:rPr lang="en-GB" sz="800">
                    <a:latin typeface="+mj-lt"/>
                  </a:rPr>
                  <a:t>2019</a:t>
                </a:r>
              </a:p>
            </p:txBody>
          </p:sp>
        </p:grpSp>
        <p:grpSp>
          <p:nvGrpSpPr>
            <p:cNvPr id="57" name="Group 56">
              <a:extLst>
                <a:ext uri="{FF2B5EF4-FFF2-40B4-BE49-F238E27FC236}">
                  <a16:creationId xmlns:a16="http://schemas.microsoft.com/office/drawing/2014/main" id="{AFAE4C10-78F5-4FB4-BEFA-16B6DE2A3A6F}"/>
                </a:ext>
              </a:extLst>
            </p:cNvPr>
            <p:cNvGrpSpPr/>
            <p:nvPr/>
          </p:nvGrpSpPr>
          <p:grpSpPr>
            <a:xfrm>
              <a:off x="4490012" y="3450640"/>
              <a:ext cx="659545" cy="138424"/>
              <a:chOff x="4490012" y="3450640"/>
              <a:chExt cx="659545" cy="138424"/>
            </a:xfrm>
          </p:grpSpPr>
          <p:cxnSp>
            <p:nvCxnSpPr>
              <p:cNvPr id="37" name="Straight Connector 36">
                <a:extLst>
                  <a:ext uri="{FF2B5EF4-FFF2-40B4-BE49-F238E27FC236}">
                    <a16:creationId xmlns:a16="http://schemas.microsoft.com/office/drawing/2014/main" id="{E9B47C3C-6EA3-4E25-94E7-6EA85F2827AC}"/>
                  </a:ext>
                </a:extLst>
              </p:cNvPr>
              <p:cNvCxnSpPr>
                <a:cxnSpLocks/>
              </p:cNvCxnSpPr>
              <p:nvPr/>
            </p:nvCxnSpPr>
            <p:spPr bwMode="auto">
              <a:xfrm>
                <a:off x="4490012" y="3512195"/>
                <a:ext cx="202948" cy="0"/>
              </a:xfrm>
              <a:prstGeom prst="line">
                <a:avLst/>
              </a:prstGeom>
              <a:solidFill>
                <a:schemeClr val="bg1"/>
              </a:solidFill>
              <a:ln w="19050" cap="flat" cmpd="sng" algn="ctr">
                <a:solidFill>
                  <a:schemeClr val="accent1">
                    <a:lumMod val="75000"/>
                  </a:schemeClr>
                </a:solidFill>
                <a:prstDash val="solid"/>
                <a:round/>
                <a:headEnd type="none" w="med" len="med"/>
                <a:tailEnd type="none" w="med" len="med"/>
              </a:ln>
              <a:effectLst/>
            </p:spPr>
          </p:cxnSp>
          <p:sp>
            <p:nvSpPr>
              <p:cNvPr id="39" name="TextBox 38">
                <a:extLst>
                  <a:ext uri="{FF2B5EF4-FFF2-40B4-BE49-F238E27FC236}">
                    <a16:creationId xmlns:a16="http://schemas.microsoft.com/office/drawing/2014/main" id="{CD2561CB-BFF6-4800-8BA8-924B176687A1}"/>
                  </a:ext>
                </a:extLst>
              </p:cNvPr>
              <p:cNvSpPr txBox="1"/>
              <p:nvPr/>
            </p:nvSpPr>
            <p:spPr>
              <a:xfrm>
                <a:off x="4778368" y="3450640"/>
                <a:ext cx="371189" cy="138424"/>
              </a:xfrm>
              <a:prstGeom prst="rect">
                <a:avLst/>
              </a:prstGeom>
              <a:noFill/>
            </p:spPr>
            <p:txBody>
              <a:bodyPr wrap="square" lIns="0" tIns="0" rIns="0" bIns="0" rtlCol="0">
                <a:spAutoFit/>
              </a:bodyPr>
              <a:lstStyle/>
              <a:p>
                <a:r>
                  <a:rPr lang="en-GB" sz="800">
                    <a:latin typeface="+mj-lt"/>
                  </a:rPr>
                  <a:t>Total</a:t>
                </a:r>
              </a:p>
            </p:txBody>
          </p:sp>
        </p:grpSp>
        <p:sp>
          <p:nvSpPr>
            <p:cNvPr id="59" name="Rectangle 58">
              <a:extLst>
                <a:ext uri="{FF2B5EF4-FFF2-40B4-BE49-F238E27FC236}">
                  <a16:creationId xmlns:a16="http://schemas.microsoft.com/office/drawing/2014/main" id="{10D9F9C1-E9C5-45C8-A49A-314E0F24DF18}"/>
                </a:ext>
              </a:extLst>
            </p:cNvPr>
            <p:cNvSpPr/>
            <p:nvPr/>
          </p:nvSpPr>
          <p:spPr>
            <a:xfrm>
              <a:off x="4396872" y="1945003"/>
              <a:ext cx="971564" cy="570999"/>
            </a:xfrm>
            <a:prstGeom prst="rect">
              <a:avLst/>
            </a:prstGeom>
          </p:spPr>
          <p:txBody>
            <a:bodyPr wrap="square">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900" b="1">
                  <a:solidFill>
                    <a:srgbClr val="6C6C6C"/>
                  </a:solidFill>
                  <a:latin typeface="Trebuchet MS" panose="020B0603020202020204" pitchFamily="34" charset="0"/>
                </a:rPr>
                <a:t>Customers</a:t>
              </a:r>
              <a:r>
                <a:rPr kumimoji="0" lang="en-GB" sz="900" b="1"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recruitment years:</a:t>
              </a:r>
            </a:p>
          </p:txBody>
        </p:sp>
      </p:grpSp>
      <p:sp>
        <p:nvSpPr>
          <p:cNvPr id="63" name="Rectangle 62">
            <a:extLst>
              <a:ext uri="{FF2B5EF4-FFF2-40B4-BE49-F238E27FC236}">
                <a16:creationId xmlns:a16="http://schemas.microsoft.com/office/drawing/2014/main" id="{9D8F770D-F6E7-44B0-889F-175908BB5270}"/>
              </a:ext>
            </a:extLst>
          </p:cNvPr>
          <p:cNvSpPr/>
          <p:nvPr/>
        </p:nvSpPr>
        <p:spPr bwMode="auto">
          <a:xfrm>
            <a:off x="5503154" y="1113011"/>
            <a:ext cx="3979495"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Altares</a:t>
            </a:r>
            <a:r>
              <a:rPr lang="en-GB" sz="1000" b="1" i="1">
                <a:latin typeface="Trebuchet MS" panose="020B0603020202020204" pitchFamily="34" charset="0"/>
              </a:rPr>
              <a:t>' number of clients in France broken down by customers’ recruitment year</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65" name="Rectangle 64">
            <a:extLst>
              <a:ext uri="{FF2B5EF4-FFF2-40B4-BE49-F238E27FC236}">
                <a16:creationId xmlns:a16="http://schemas.microsoft.com/office/drawing/2014/main" id="{FB2E2AB6-6549-4EE3-85DD-6A07ED6FB51F}"/>
              </a:ext>
            </a:extLst>
          </p:cNvPr>
          <p:cNvSpPr/>
          <p:nvPr/>
        </p:nvSpPr>
        <p:spPr bwMode="auto">
          <a:xfrm>
            <a:off x="542627" y="1102674"/>
            <a:ext cx="3979494"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Altares</a:t>
            </a:r>
            <a:r>
              <a:rPr lang="en-GB" sz="1000" b="1" i="1">
                <a:latin typeface="Trebuchet MS" panose="020B0603020202020204" pitchFamily="34" charset="0"/>
              </a:rPr>
              <a:t>’ billings in France broken down by customers’ recruitment year, in m€</a:t>
            </a:r>
            <a:endParaRPr kumimoji="0" lang="en-GB" sz="1000" b="1" i="1" u="none" strike="noStrike" kern="1200" cap="none" spc="0" normalizeH="0" baseline="0" noProof="0">
              <a:ln>
                <a:noFill/>
              </a:ln>
              <a:effectLst/>
              <a:uLnTx/>
              <a:uFillTx/>
              <a:latin typeface="Trebuchet MS" panose="020B0603020202020204" pitchFamily="34" charset="0"/>
            </a:endParaRPr>
          </a:p>
        </p:txBody>
      </p:sp>
      <p:cxnSp>
        <p:nvCxnSpPr>
          <p:cNvPr id="10" name="Connecteur droit avec flèche 9">
            <a:extLst>
              <a:ext uri="{FF2B5EF4-FFF2-40B4-BE49-F238E27FC236}">
                <a16:creationId xmlns:a16="http://schemas.microsoft.com/office/drawing/2014/main" id="{CD4F62DC-1D43-4C4B-B61A-EEB33B99EB9B}"/>
              </a:ext>
            </a:extLst>
          </p:cNvPr>
          <p:cNvCxnSpPr/>
          <p:nvPr/>
        </p:nvCxnSpPr>
        <p:spPr bwMode="auto">
          <a:xfrm>
            <a:off x="4152900" y="2447925"/>
            <a:ext cx="0" cy="1971675"/>
          </a:xfrm>
          <a:prstGeom prst="straightConnector1">
            <a:avLst/>
          </a:prstGeom>
          <a:solidFill>
            <a:schemeClr val="accent1"/>
          </a:solidFill>
          <a:ln w="9525" cap="flat" cmpd="sng" algn="ctr">
            <a:solidFill>
              <a:schemeClr val="tx1"/>
            </a:solidFill>
            <a:prstDash val="solid"/>
            <a:round/>
            <a:headEnd type="triangle" w="med" len="med"/>
            <a:tailEnd type="triangle" w="med" len="med"/>
          </a:ln>
          <a:effectLst/>
        </p:spPr>
      </p:cxnSp>
      <p:sp>
        <p:nvSpPr>
          <p:cNvPr id="41" name="Rectangle 40">
            <a:extLst>
              <a:ext uri="{FF2B5EF4-FFF2-40B4-BE49-F238E27FC236}">
                <a16:creationId xmlns:a16="http://schemas.microsoft.com/office/drawing/2014/main" id="{C656333A-12AB-4C8A-A78D-11F6ECDA5AA5}"/>
              </a:ext>
            </a:extLst>
          </p:cNvPr>
          <p:cNvSpPr/>
          <p:nvPr/>
        </p:nvSpPr>
        <p:spPr bwMode="auto">
          <a:xfrm>
            <a:off x="4160356" y="3337345"/>
            <a:ext cx="1342797" cy="95226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dirty="0">
                <a:latin typeface="Trebuchet MS" panose="020B0603020202020204" pitchFamily="34" charset="0"/>
              </a:rPr>
              <a:t>92% of 2019 revenue were generated by customers recruited prior to 2017</a:t>
            </a:r>
            <a:endParaRPr kumimoji="0" lang="en-GB" sz="1000" b="1" i="1" u="none" strike="noStrike" kern="1200" cap="none" spc="0" normalizeH="0" baseline="0" noProof="0" dirty="0">
              <a:ln>
                <a:noFill/>
              </a:ln>
              <a:effectLst/>
              <a:uLnTx/>
              <a:uFillTx/>
              <a:latin typeface="Trebuchet MS" panose="020B0603020202020204" pitchFamily="34" charset="0"/>
            </a:endParaRPr>
          </a:p>
        </p:txBody>
      </p:sp>
      <p:grpSp>
        <p:nvGrpSpPr>
          <p:cNvPr id="55" name="Group 4">
            <a:extLst>
              <a:ext uri="{FF2B5EF4-FFF2-40B4-BE49-F238E27FC236}">
                <a16:creationId xmlns:a16="http://schemas.microsoft.com/office/drawing/2014/main" id="{E5678DAB-ED40-4EC4-88F2-96BFC053A837}"/>
              </a:ext>
            </a:extLst>
          </p:cNvPr>
          <p:cNvGrpSpPr>
            <a:grpSpLocks noChangeAspect="1"/>
          </p:cNvGrpSpPr>
          <p:nvPr/>
        </p:nvGrpSpPr>
        <p:grpSpPr bwMode="auto">
          <a:xfrm>
            <a:off x="4046923" y="4905017"/>
            <a:ext cx="226868" cy="184867"/>
            <a:chOff x="788" y="869"/>
            <a:chExt cx="740" cy="603"/>
          </a:xfrm>
          <a:solidFill>
            <a:schemeClr val="tx1"/>
          </a:solidFill>
        </p:grpSpPr>
        <p:sp>
          <p:nvSpPr>
            <p:cNvPr id="58" name="Freeform 5">
              <a:extLst>
                <a:ext uri="{FF2B5EF4-FFF2-40B4-BE49-F238E27FC236}">
                  <a16:creationId xmlns:a16="http://schemas.microsoft.com/office/drawing/2014/main" id="{B36C5500-3A55-488B-B552-5FB5CD4D473A}"/>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Rectangle 6">
              <a:extLst>
                <a:ext uri="{FF2B5EF4-FFF2-40B4-BE49-F238E27FC236}">
                  <a16:creationId xmlns:a16="http://schemas.microsoft.com/office/drawing/2014/main" id="{D87EFC78-0EB6-459F-83A9-20B0FA321600}"/>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Rectangle 7">
              <a:extLst>
                <a:ext uri="{FF2B5EF4-FFF2-40B4-BE49-F238E27FC236}">
                  <a16:creationId xmlns:a16="http://schemas.microsoft.com/office/drawing/2014/main" id="{64A15A63-651F-4537-A3A8-6EF8B163F19D}"/>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Rectangle 8">
              <a:extLst>
                <a:ext uri="{FF2B5EF4-FFF2-40B4-BE49-F238E27FC236}">
                  <a16:creationId xmlns:a16="http://schemas.microsoft.com/office/drawing/2014/main" id="{C5703B6D-76D1-4347-A391-98D6A00E708E}"/>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0" name="Groupe 85">
            <a:extLst>
              <a:ext uri="{FF2B5EF4-FFF2-40B4-BE49-F238E27FC236}">
                <a16:creationId xmlns:a16="http://schemas.microsoft.com/office/drawing/2014/main" id="{C43543DB-B66E-4526-BB3A-0D7FE4C10821}"/>
              </a:ext>
            </a:extLst>
          </p:cNvPr>
          <p:cNvGrpSpPr/>
          <p:nvPr/>
        </p:nvGrpSpPr>
        <p:grpSpPr>
          <a:xfrm>
            <a:off x="8448150" y="-11528"/>
            <a:ext cx="1435548" cy="588143"/>
            <a:chOff x="8448150" y="-11528"/>
            <a:chExt cx="1435548" cy="588143"/>
          </a:xfrm>
        </p:grpSpPr>
        <p:sp>
          <p:nvSpPr>
            <p:cNvPr id="72" name="Rectangle : coins arrondis 199">
              <a:extLst>
                <a:ext uri="{FF2B5EF4-FFF2-40B4-BE49-F238E27FC236}">
                  <a16:creationId xmlns:a16="http://schemas.microsoft.com/office/drawing/2014/main" id="{7E4C8252-40E9-45C5-94ED-D3B11CF14D4C}"/>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3" name="Rectangle : coins arrondis 200">
              <a:extLst>
                <a:ext uri="{FF2B5EF4-FFF2-40B4-BE49-F238E27FC236}">
                  <a16:creationId xmlns:a16="http://schemas.microsoft.com/office/drawing/2014/main" id="{C1BAA6AB-1E51-486E-881C-7A78A725FC84}"/>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4" name="Rectangle : coins arrondis 201">
              <a:extLst>
                <a:ext uri="{FF2B5EF4-FFF2-40B4-BE49-F238E27FC236}">
                  <a16:creationId xmlns:a16="http://schemas.microsoft.com/office/drawing/2014/main" id="{53ECC8DA-3D52-4589-81FC-7766EBAA3581}"/>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5" name="ZoneTexte 18">
              <a:extLst>
                <a:ext uri="{FF2B5EF4-FFF2-40B4-BE49-F238E27FC236}">
                  <a16:creationId xmlns:a16="http://schemas.microsoft.com/office/drawing/2014/main" id="{44A0FF8D-04F2-48DC-AA0B-8F064DEBE56C}"/>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client base</a:t>
              </a:r>
            </a:p>
          </p:txBody>
        </p:sp>
        <p:pic>
          <p:nvPicPr>
            <p:cNvPr id="76" name="Graphique 128" descr="Jauge">
              <a:extLst>
                <a:ext uri="{FF2B5EF4-FFF2-40B4-BE49-F238E27FC236}">
                  <a16:creationId xmlns:a16="http://schemas.microsoft.com/office/drawing/2014/main" id="{DA775BF3-88B7-4A4A-96EF-04B94EE6492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3764" y="187516"/>
              <a:ext cx="234953" cy="218224"/>
            </a:xfrm>
            <a:prstGeom prst="rect">
              <a:avLst/>
            </a:prstGeom>
            <a:effectLst/>
          </p:spPr>
        </p:pic>
        <p:pic>
          <p:nvPicPr>
            <p:cNvPr id="77" name="Graphique 90" descr="Poignée de main">
              <a:extLst>
                <a:ext uri="{FF2B5EF4-FFF2-40B4-BE49-F238E27FC236}">
                  <a16:creationId xmlns:a16="http://schemas.microsoft.com/office/drawing/2014/main" id="{AE7AD2FB-4FAD-441F-81C9-EE701401A2C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60868" y="152880"/>
              <a:ext cx="256313" cy="287496"/>
            </a:xfrm>
            <a:prstGeom prst="rect">
              <a:avLst/>
            </a:prstGeom>
            <a:effectLst/>
          </p:spPr>
        </p:pic>
        <p:pic>
          <p:nvPicPr>
            <p:cNvPr id="78" name="Graphique 95" descr="Mégaphone">
              <a:extLst>
                <a:ext uri="{FF2B5EF4-FFF2-40B4-BE49-F238E27FC236}">
                  <a16:creationId xmlns:a16="http://schemas.microsoft.com/office/drawing/2014/main" id="{02369F7A-4B9A-48C6-B225-A09B662ACCA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89331" y="181519"/>
              <a:ext cx="233011" cy="216420"/>
            </a:xfrm>
            <a:prstGeom prst="rect">
              <a:avLst/>
            </a:prstGeom>
            <a:effectLst/>
          </p:spPr>
        </p:pic>
        <p:pic>
          <p:nvPicPr>
            <p:cNvPr id="79" name="Picture 2" descr="Drapeau France">
              <a:extLst>
                <a:ext uri="{FF2B5EF4-FFF2-40B4-BE49-F238E27FC236}">
                  <a16:creationId xmlns:a16="http://schemas.microsoft.com/office/drawing/2014/main" id="{41B326B6-9B2B-49E8-B7EC-0BAEFA343320}"/>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80" name="ZoneTexte 18">
              <a:extLst>
                <a:ext uri="{FF2B5EF4-FFF2-40B4-BE49-F238E27FC236}">
                  <a16:creationId xmlns:a16="http://schemas.microsoft.com/office/drawing/2014/main" id="{3EAF1267-16C4-49CB-8BBE-01A8E9B87D0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France</a:t>
              </a:r>
            </a:p>
          </p:txBody>
        </p:sp>
      </p:grpSp>
      <p:pic>
        <p:nvPicPr>
          <p:cNvPr id="67" name="Picture 2" descr="Drapeau France">
            <a:extLst>
              <a:ext uri="{FF2B5EF4-FFF2-40B4-BE49-F238E27FC236}">
                <a16:creationId xmlns:a16="http://schemas.microsoft.com/office/drawing/2014/main" id="{ECC0C350-B3DB-441F-800C-5EC7BF10651D}"/>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336461" y="1174405"/>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3125684111"/>
      </p:ext>
    </p:extLst>
  </p:cSld>
  <p:clrMapOvr>
    <a:masterClrMapping/>
  </p:clrMapOvr>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1DB3DBB-5599-418B-A231-B7F08D406FF8}"/>
              </a:ext>
            </a:extLst>
          </p:cNvPr>
          <p:cNvGraphicFramePr>
            <a:graphicFrameLocks noChangeAspect="1"/>
          </p:cNvGraphicFramePr>
          <p:nvPr>
            <p:custDataLst>
              <p:tags r:id="rId1"/>
            </p:custDataLst>
            <p:extLst>
              <p:ext uri="{D42A27DB-BD31-4B8C-83A1-F6EECF244321}">
                <p14:modId xmlns:p14="http://schemas.microsoft.com/office/powerpoint/2010/main" val="3601888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40" imgH="541" progId="TCLayout.ActiveDocument.1">
                  <p:embed/>
                </p:oleObj>
              </mc:Choice>
              <mc:Fallback>
                <p:oleObj name="think-cell Slide" r:id="rId5" imgW="540" imgH="541" progId="TCLayout.ActiveDocument.1">
                  <p:embed/>
                  <p:pic>
                    <p:nvPicPr>
                      <p:cNvPr id="6" name="Object 5" hidden="1">
                        <a:extLst>
                          <a:ext uri="{FF2B5EF4-FFF2-40B4-BE49-F238E27FC236}">
                            <a16:creationId xmlns:a16="http://schemas.microsoft.com/office/drawing/2014/main" id="{81DB3DBB-5599-418B-A231-B7F08D406F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FE4007A-4322-494F-8570-08F1E1CEBE28}"/>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Rectangle 1">
            <a:extLst>
              <a:ext uri="{FF2B5EF4-FFF2-40B4-BE49-F238E27FC236}">
                <a16:creationId xmlns:a16="http://schemas.microsoft.com/office/drawing/2014/main" id="{BD1A72BA-BC92-4F75-A18A-DA60D91E117B}"/>
              </a:ext>
            </a:extLst>
          </p:cNvPr>
          <p:cNvSpPr/>
          <p:nvPr/>
        </p:nvSpPr>
        <p:spPr bwMode="auto">
          <a:xfrm>
            <a:off x="256803" y="1108411"/>
            <a:ext cx="9392393" cy="531921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aphicFrame>
        <p:nvGraphicFramePr>
          <p:cNvPr id="8" name="Chart 7">
            <a:extLst>
              <a:ext uri="{FF2B5EF4-FFF2-40B4-BE49-F238E27FC236}">
                <a16:creationId xmlns:a16="http://schemas.microsoft.com/office/drawing/2014/main" id="{256AEEA1-5D55-4724-A980-03F17A2BB8E7}"/>
              </a:ext>
            </a:extLst>
          </p:cNvPr>
          <p:cNvGraphicFramePr/>
          <p:nvPr>
            <p:extLst>
              <p:ext uri="{D42A27DB-BD31-4B8C-83A1-F6EECF244321}">
                <p14:modId xmlns:p14="http://schemas.microsoft.com/office/powerpoint/2010/main" val="349485746"/>
              </p:ext>
            </p:extLst>
          </p:nvPr>
        </p:nvGraphicFramePr>
        <p:xfrm>
          <a:off x="5244843" y="1573505"/>
          <a:ext cx="4167316" cy="3263392"/>
        </p:xfrm>
        <a:graphic>
          <a:graphicData uri="http://schemas.openxmlformats.org/drawingml/2006/chart">
            <c:chart xmlns:c="http://schemas.openxmlformats.org/drawingml/2006/chart" xmlns:r="http://schemas.openxmlformats.org/officeDocument/2006/relationships" r:id="rId7"/>
          </a:graphicData>
        </a:graphic>
      </p:graphicFrame>
      <p:sp>
        <p:nvSpPr>
          <p:cNvPr id="50" name="Rectangle 49">
            <a:extLst>
              <a:ext uri="{FF2B5EF4-FFF2-40B4-BE49-F238E27FC236}">
                <a16:creationId xmlns:a16="http://schemas.microsoft.com/office/drawing/2014/main" id="{BDB37B39-FBB6-4E35-9EB1-5883957472DA}"/>
              </a:ext>
            </a:extLst>
          </p:cNvPr>
          <p:cNvSpPr/>
          <p:nvPr/>
        </p:nvSpPr>
        <p:spPr bwMode="auto">
          <a:xfrm>
            <a:off x="591510" y="1108410"/>
            <a:ext cx="4361489"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RPU broken down by customers’ recruitment year in €</a:t>
            </a:r>
            <a:endParaRPr kumimoji="0" lang="en-GB" sz="1000" b="1" i="1" u="none" strike="noStrike" kern="1200" cap="none" spc="0" normalizeH="0" baseline="0" noProof="0">
              <a:ln>
                <a:noFill/>
              </a:ln>
              <a:effectLst/>
              <a:uLnTx/>
              <a:uFillTx/>
              <a:latin typeface="Trebuchet MS" panose="020B0603020202020204" pitchFamily="34" charset="0"/>
            </a:endParaRPr>
          </a:p>
        </p:txBody>
      </p:sp>
      <p:graphicFrame>
        <p:nvGraphicFramePr>
          <p:cNvPr id="25" name="Chart 24">
            <a:extLst>
              <a:ext uri="{FF2B5EF4-FFF2-40B4-BE49-F238E27FC236}">
                <a16:creationId xmlns:a16="http://schemas.microsoft.com/office/drawing/2014/main" id="{AF78BBC2-D582-413C-B8BD-D350092B8080}"/>
              </a:ext>
            </a:extLst>
          </p:cNvPr>
          <p:cNvGraphicFramePr>
            <a:graphicFrameLocks noChangeAspect="1"/>
          </p:cNvGraphicFramePr>
          <p:nvPr>
            <p:extLst>
              <p:ext uri="{D42A27DB-BD31-4B8C-83A1-F6EECF244321}">
                <p14:modId xmlns:p14="http://schemas.microsoft.com/office/powerpoint/2010/main" val="3321085642"/>
              </p:ext>
            </p:extLst>
          </p:nvPr>
        </p:nvGraphicFramePr>
        <p:xfrm>
          <a:off x="591510" y="1575309"/>
          <a:ext cx="4167316" cy="3263392"/>
        </p:xfrm>
        <a:graphic>
          <a:graphicData uri="http://schemas.openxmlformats.org/drawingml/2006/chart">
            <c:chart xmlns:c="http://schemas.openxmlformats.org/drawingml/2006/chart" xmlns:r="http://schemas.openxmlformats.org/officeDocument/2006/relationships" r:id="rId8"/>
          </a:graphicData>
        </a:graphic>
      </p:graphicFrame>
      <p:sp>
        <p:nvSpPr>
          <p:cNvPr id="26" name="Rectangle 25">
            <a:extLst>
              <a:ext uri="{FF2B5EF4-FFF2-40B4-BE49-F238E27FC236}">
                <a16:creationId xmlns:a16="http://schemas.microsoft.com/office/drawing/2014/main" id="{D83D40EB-3A78-4813-9686-1A8B94D2CF13}"/>
              </a:ext>
            </a:extLst>
          </p:cNvPr>
          <p:cNvSpPr/>
          <p:nvPr/>
        </p:nvSpPr>
        <p:spPr>
          <a:xfrm>
            <a:off x="591510" y="4367028"/>
            <a:ext cx="1058471" cy="507831"/>
          </a:xfrm>
          <a:prstGeom prst="rect">
            <a:avLst/>
          </a:prstGeom>
        </p:spPr>
        <p:txBody>
          <a:bodyPr wrap="square">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900" b="1">
                <a:solidFill>
                  <a:srgbClr val="6C6C6C"/>
                </a:solidFill>
                <a:latin typeface="Trebuchet MS" panose="020B0603020202020204" pitchFamily="34" charset="0"/>
              </a:rPr>
              <a:t>Customers</a:t>
            </a:r>
            <a:r>
              <a:rPr kumimoji="0" lang="en-GB" sz="900" b="1"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recruitment years: </a:t>
            </a:r>
          </a:p>
        </p:txBody>
      </p:sp>
      <p:sp>
        <p:nvSpPr>
          <p:cNvPr id="18" name="Bulle narrative : rectangle 3">
            <a:extLst>
              <a:ext uri="{FF2B5EF4-FFF2-40B4-BE49-F238E27FC236}">
                <a16:creationId xmlns:a16="http://schemas.microsoft.com/office/drawing/2014/main" id="{5306F885-8467-4812-83BF-91BF6ED5110E}"/>
              </a:ext>
            </a:extLst>
          </p:cNvPr>
          <p:cNvSpPr/>
          <p:nvPr/>
        </p:nvSpPr>
        <p:spPr bwMode="auto">
          <a:xfrm>
            <a:off x="591510" y="4954946"/>
            <a:ext cx="1846890" cy="1366617"/>
          </a:xfrm>
          <a:prstGeom prst="rect">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1200"/>
              </a:spcAft>
              <a:buClrTx/>
              <a:buSzTx/>
              <a:buFontTx/>
              <a:buNone/>
              <a:tabLst/>
            </a:pPr>
            <a:r>
              <a:rPr kumimoji="0" lang="en-GB" sz="1000" b="1" i="0" u="none" strike="noStrike" cap="none" normalizeH="0" baseline="0">
                <a:ln>
                  <a:noFill/>
                </a:ln>
                <a:effectLst/>
                <a:latin typeface="Trebuchet MS" panose="020B0603020202020204" pitchFamily="34" charset="0"/>
              </a:rPr>
              <a:t>Readin</a:t>
            </a:r>
            <a:r>
              <a:rPr lang="en-GB" sz="1000" b="1">
                <a:latin typeface="Trebuchet MS" panose="020B0603020202020204" pitchFamily="34" charset="0"/>
              </a:rPr>
              <a:t>g insights</a:t>
            </a:r>
            <a:endParaRPr kumimoji="0" lang="en-GB" sz="1000" b="1" i="0" u="none" strike="noStrike" cap="none" normalizeH="0" baseline="0">
              <a:ln>
                <a:noFill/>
              </a:ln>
              <a:solidFill>
                <a:schemeClr val="bg1">
                  <a:lumMod val="65000"/>
                </a:schemeClr>
              </a:solidFill>
              <a:effectLst/>
              <a:latin typeface="Trebuchet MS" panose="020B0603020202020204" pitchFamily="34" charset="0"/>
            </a:endParaRPr>
          </a:p>
          <a:p>
            <a:pPr marL="171450" indent="-171450">
              <a:spcAft>
                <a:spcPts val="1200"/>
              </a:spcAft>
              <a:buFont typeface="Arial" panose="020B0604020202020204" pitchFamily="34" charset="0"/>
              <a:buChar char="•"/>
            </a:pPr>
            <a:r>
              <a:rPr lang="en-GB" sz="1000">
                <a:latin typeface="Trebuchet MS" panose="020B0603020202020204" pitchFamily="34" charset="0"/>
              </a:rPr>
              <a:t>ARPU is the </a:t>
            </a:r>
            <a:r>
              <a:rPr lang="en-GB" sz="1000">
                <a:solidFill>
                  <a:schemeClr val="tx2"/>
                </a:solidFill>
                <a:latin typeface="Trebuchet MS" panose="020B0603020202020204" pitchFamily="34" charset="0"/>
              </a:rPr>
              <a:t>Average Revenue Per Unit</a:t>
            </a:r>
            <a:r>
              <a:rPr lang="en-GB" sz="1000">
                <a:latin typeface="Trebuchet MS" panose="020B0603020202020204" pitchFamily="34" charset="0"/>
              </a:rPr>
              <a:t>, a unit being a single customer</a:t>
            </a:r>
          </a:p>
          <a:p>
            <a:pPr marL="171450" indent="-171450">
              <a:spcAft>
                <a:spcPts val="600"/>
              </a:spcAft>
              <a:buFont typeface="Arial" panose="020B0604020202020204" pitchFamily="34" charset="0"/>
              <a:buChar char="•"/>
            </a:pPr>
            <a:r>
              <a:rPr lang="en-GB" sz="1000">
                <a:latin typeface="Trebuchet MS" panose="020B0603020202020204" pitchFamily="34" charset="0"/>
              </a:rPr>
              <a:t>“Group” is the company customer referential</a:t>
            </a:r>
            <a:endParaRPr kumimoji="0" lang="en-GB" sz="1200" b="0" i="0" u="none" strike="noStrike" cap="none" normalizeH="0" baseline="0">
              <a:ln>
                <a:noFill/>
              </a:ln>
              <a:solidFill>
                <a:schemeClr val="bg1">
                  <a:lumMod val="65000"/>
                </a:schemeClr>
              </a:solidFill>
              <a:effectLst/>
              <a:latin typeface="Trebuchet MS" panose="020B0603020202020204" pitchFamily="34" charset="0"/>
            </a:endParaRPr>
          </a:p>
        </p:txBody>
      </p:sp>
      <p:sp>
        <p:nvSpPr>
          <p:cNvPr id="40" name="Rectangle 39">
            <a:extLst>
              <a:ext uri="{FF2B5EF4-FFF2-40B4-BE49-F238E27FC236}">
                <a16:creationId xmlns:a16="http://schemas.microsoft.com/office/drawing/2014/main" id="{1D4D4ECA-F7DD-43F8-8C86-BBB9912BA7B8}"/>
              </a:ext>
            </a:extLst>
          </p:cNvPr>
          <p:cNvSpPr/>
          <p:nvPr/>
        </p:nvSpPr>
        <p:spPr bwMode="auto">
          <a:xfrm>
            <a:off x="5244843" y="1108410"/>
            <a:ext cx="4167316"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RPU broken down by year in €</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 name="Titre 2">
            <a:extLst>
              <a:ext uri="{FF2B5EF4-FFF2-40B4-BE49-F238E27FC236}">
                <a16:creationId xmlns:a16="http://schemas.microsoft.com/office/drawing/2014/main" id="{E4275405-17D5-4465-9E93-EFAEB0121919}"/>
              </a:ext>
            </a:extLst>
          </p:cNvPr>
          <p:cNvSpPr>
            <a:spLocks noGrp="1"/>
          </p:cNvSpPr>
          <p:nvPr>
            <p:ph type="title"/>
          </p:nvPr>
        </p:nvSpPr>
        <p:spPr>
          <a:xfrm>
            <a:off x="165600" y="147600"/>
            <a:ext cx="8113960" cy="806288"/>
          </a:xfrm>
        </p:spPr>
        <p:txBody>
          <a:bodyPr/>
          <a:lstStyle/>
          <a:p>
            <a:r>
              <a:rPr lang="en-GB">
                <a:latin typeface="Trebuchet MS" panose="020B0603020202020204" pitchFamily="34" charset="0"/>
              </a:rPr>
              <a:t>In France, </a:t>
            </a:r>
            <a:r>
              <a:rPr lang="en-GB">
                <a:solidFill>
                  <a:schemeClr val="tx2"/>
                </a:solidFill>
                <a:latin typeface="Trebuchet MS" panose="020B0603020202020204" pitchFamily="34" charset="0"/>
              </a:rPr>
              <a:t>ARPU evolution </a:t>
            </a:r>
            <a:r>
              <a:rPr lang="en-GB" sz="1600" b="0" i="0">
                <a:effectLst/>
                <a:latin typeface="Trebuchet MS" panose="020B0603020202020204" pitchFamily="34" charset="0"/>
              </a:rPr>
              <a:t>shows</a:t>
            </a:r>
            <a:r>
              <a:rPr lang="en-GB" sz="1600" b="0" i="0">
                <a:solidFill>
                  <a:schemeClr val="tx2"/>
                </a:solidFill>
                <a:effectLst/>
                <a:latin typeface="Trebuchet MS" panose="020B0603020202020204" pitchFamily="34" charset="0"/>
              </a:rPr>
              <a:t> </a:t>
            </a:r>
            <a:r>
              <a:rPr lang="en-GB" sz="1600" b="0" i="0" err="1">
                <a:solidFill>
                  <a:schemeClr val="tx2"/>
                </a:solidFill>
                <a:effectLst/>
                <a:latin typeface="Trebuchet MS" panose="020B0603020202020204" pitchFamily="34" charset="0"/>
              </a:rPr>
              <a:t>Altares</a:t>
            </a:r>
            <a:r>
              <a:rPr lang="en-GB" sz="1600" b="0" i="0">
                <a:solidFill>
                  <a:schemeClr val="tx2"/>
                </a:solidFill>
                <a:effectLst/>
                <a:latin typeface="Trebuchet MS" panose="020B0603020202020204" pitchFamily="34" charset="0"/>
              </a:rPr>
              <a:t>' ability to significantly upsell </a:t>
            </a:r>
            <a:r>
              <a:rPr lang="en-GB">
                <a:solidFill>
                  <a:schemeClr val="tx2"/>
                </a:solidFill>
                <a:latin typeface="Trebuchet MS" panose="020B0603020202020204" pitchFamily="34" charset="0"/>
              </a:rPr>
              <a:t>historical large accounts </a:t>
            </a:r>
            <a:r>
              <a:rPr lang="en-GB">
                <a:latin typeface="Trebuchet MS" panose="020B0603020202020204" pitchFamily="34" charset="0"/>
              </a:rPr>
              <a:t>as well as </a:t>
            </a:r>
            <a:r>
              <a:rPr lang="en-GB">
                <a:solidFill>
                  <a:schemeClr val="tx2"/>
                </a:solidFill>
                <a:latin typeface="Trebuchet MS" panose="020B0603020202020204" pitchFamily="34" charset="0"/>
              </a:rPr>
              <a:t>small new accounts</a:t>
            </a:r>
            <a:r>
              <a:rPr lang="en-GB" sz="1600" b="0" i="0">
                <a:effectLst/>
                <a:latin typeface="Trebuchet MS" panose="020B0603020202020204" pitchFamily="34" charset="0"/>
              </a:rPr>
              <a:t>, as ARPU of each cohort increases every year</a:t>
            </a:r>
            <a:endParaRPr lang="en-GB">
              <a:highlight>
                <a:srgbClr val="FFFF00"/>
              </a:highlight>
              <a:latin typeface="Trebuchet MS" panose="020B0603020202020204" pitchFamily="34" charset="0"/>
            </a:endParaRPr>
          </a:p>
        </p:txBody>
      </p:sp>
      <p:sp>
        <p:nvSpPr>
          <p:cNvPr id="16" name="Espace réservé du texte 15">
            <a:extLst>
              <a:ext uri="{FF2B5EF4-FFF2-40B4-BE49-F238E27FC236}">
                <a16:creationId xmlns:a16="http://schemas.microsoft.com/office/drawing/2014/main" id="{8FCB6FA7-DD5D-461D-B50E-49DE41EE896D}"/>
              </a:ext>
            </a:extLst>
          </p:cNvPr>
          <p:cNvSpPr>
            <a:spLocks noGrp="1"/>
          </p:cNvSpPr>
          <p:nvPr>
            <p:ph type="body" sz="quarter" idx="10"/>
          </p:nvPr>
        </p:nvSpPr>
        <p:spPr/>
        <p:txBody>
          <a:bodyPr/>
          <a:lstStyle/>
          <a:p>
            <a:r>
              <a:rPr lang="en-GB" sz="800" i="1" kern="0"/>
              <a:t>Sources: eleven research &amp; analysis, company data</a:t>
            </a:r>
          </a:p>
          <a:p>
            <a:endParaRPr lang="en-GB"/>
          </a:p>
        </p:txBody>
      </p:sp>
      <p:sp>
        <p:nvSpPr>
          <p:cNvPr id="19" name="Rectangle 18">
            <a:extLst>
              <a:ext uri="{FF2B5EF4-FFF2-40B4-BE49-F238E27FC236}">
                <a16:creationId xmlns:a16="http://schemas.microsoft.com/office/drawing/2014/main" id="{E4F66408-3154-4332-A0D9-EE50DAAB0FA9}"/>
              </a:ext>
            </a:extLst>
          </p:cNvPr>
          <p:cNvSpPr/>
          <p:nvPr/>
        </p:nvSpPr>
        <p:spPr bwMode="auto">
          <a:xfrm>
            <a:off x="2586420" y="4953143"/>
            <a:ext cx="6806470" cy="1366618"/>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b="1">
                <a:latin typeface="Trebuchet MS" panose="020B0603020202020204" pitchFamily="34" charset="0"/>
              </a:rPr>
              <a:t>Comments</a:t>
            </a:r>
          </a:p>
          <a:p>
            <a:pPr marL="171450" indent="-171450">
              <a:spcBef>
                <a:spcPts val="600"/>
              </a:spcBef>
              <a:buClr>
                <a:schemeClr val="tx1"/>
              </a:buClr>
              <a:buFont typeface="Arial" panose="020B0604020202020204" pitchFamily="34" charset="0"/>
              <a:buChar char="•"/>
            </a:pPr>
            <a:r>
              <a:rPr lang="en-GB" sz="1000">
                <a:latin typeface="Trebuchet MS" panose="020B0603020202020204" pitchFamily="34" charset="0"/>
              </a:rPr>
              <a:t>ARPU broken down by customer recruitment year shows an </a:t>
            </a:r>
            <a:r>
              <a:rPr lang="en-GB" sz="1000">
                <a:solidFill>
                  <a:schemeClr val="tx2"/>
                </a:solidFill>
                <a:latin typeface="Trebuchet MS" panose="020B0603020202020204" pitchFamily="34" charset="0"/>
              </a:rPr>
              <a:t>onboarding around 6K€ </a:t>
            </a:r>
            <a:r>
              <a:rPr lang="en-GB" sz="1000">
                <a:latin typeface="Trebuchet MS" panose="020B0603020202020204" pitchFamily="34" charset="0"/>
              </a:rPr>
              <a:t>and an </a:t>
            </a:r>
            <a:r>
              <a:rPr lang="en-GB" sz="1000">
                <a:solidFill>
                  <a:schemeClr val="tx2"/>
                </a:solidFill>
                <a:latin typeface="Trebuchet MS" pitchFamily="34" charset="0"/>
              </a:rPr>
              <a:t>increase year by year</a:t>
            </a:r>
          </a:p>
          <a:p>
            <a:pPr marL="171450" indent="-171450">
              <a:spcBef>
                <a:spcPts val="600"/>
              </a:spcBef>
              <a:buClr>
                <a:schemeClr val="tx1"/>
              </a:buClr>
              <a:buFont typeface="Arial" panose="020B0604020202020204" pitchFamily="34" charset="0"/>
              <a:buChar char="•"/>
            </a:pPr>
            <a:r>
              <a:rPr lang="en-GB" sz="1000">
                <a:solidFill>
                  <a:schemeClr val="tx2"/>
                </a:solidFill>
                <a:latin typeface="Trebuchet MS" pitchFamily="34" charset="0"/>
              </a:rPr>
              <a:t>Large customers, </a:t>
            </a:r>
            <a:r>
              <a:rPr lang="en-GB" sz="1000">
                <a:latin typeface="Trebuchet MS" panose="020B0603020202020204" pitchFamily="34" charset="0"/>
              </a:rPr>
              <a:t>being</a:t>
            </a:r>
            <a:r>
              <a:rPr lang="en-GB" sz="1000">
                <a:solidFill>
                  <a:schemeClr val="tx2"/>
                </a:solidFill>
                <a:latin typeface="Trebuchet MS" panose="020B0603020202020204" pitchFamily="34" charset="0"/>
              </a:rPr>
              <a:t> </a:t>
            </a:r>
            <a:r>
              <a:rPr lang="en-GB" sz="1000">
                <a:latin typeface="Trebuchet MS" panose="020B0603020202020204" pitchFamily="34" charset="0"/>
              </a:rPr>
              <a:t>historical </a:t>
            </a:r>
            <a:r>
              <a:rPr lang="en-GB" sz="1000" err="1">
                <a:latin typeface="Trebuchet MS" panose="020B0603020202020204" pitchFamily="34" charset="0"/>
              </a:rPr>
              <a:t>Altares</a:t>
            </a:r>
            <a:r>
              <a:rPr lang="en-GB" sz="1000">
                <a:latin typeface="Trebuchet MS" panose="020B0603020202020204" pitchFamily="34" charset="0"/>
              </a:rPr>
              <a:t>’ customers, drive the ARPU up</a:t>
            </a:r>
          </a:p>
          <a:p>
            <a:pPr marL="171450" indent="-171450">
              <a:spcBef>
                <a:spcPts val="600"/>
              </a:spcBef>
              <a:buClr>
                <a:schemeClr val="tx1"/>
              </a:buClr>
              <a:buFont typeface="Arial" panose="020B0604020202020204" pitchFamily="34" charset="0"/>
              <a:buChar char="•"/>
            </a:pPr>
            <a:r>
              <a:rPr lang="en-GB" sz="1000">
                <a:latin typeface="Trebuchet MS" panose="020B0603020202020204" pitchFamily="34" charset="0"/>
              </a:rPr>
              <a:t>The global ARPU confirms that analysis with a value </a:t>
            </a:r>
            <a:r>
              <a:rPr lang="en-GB" sz="1000">
                <a:solidFill>
                  <a:schemeClr val="tx2"/>
                </a:solidFill>
                <a:latin typeface="Trebuchet MS" panose="020B0603020202020204" pitchFamily="34" charset="0"/>
              </a:rPr>
              <a:t>increasing every year</a:t>
            </a:r>
          </a:p>
          <a:p>
            <a:pPr marL="171450" indent="-171450">
              <a:spcBef>
                <a:spcPts val="600"/>
              </a:spcBef>
              <a:buClr>
                <a:schemeClr val="tx1"/>
              </a:buClr>
              <a:buFont typeface="Wingdings" panose="05000000000000000000" pitchFamily="2" charset="2"/>
              <a:buChar char="Ø"/>
            </a:pPr>
            <a:r>
              <a:rPr lang="en-GB" sz="1000">
                <a:latin typeface="Trebuchet MS" panose="020B0603020202020204" pitchFamily="34" charset="0"/>
              </a:rPr>
              <a:t>It confirms </a:t>
            </a:r>
            <a:r>
              <a:rPr lang="en-GB" sz="1000" err="1">
                <a:latin typeface="Trebuchet MS" panose="020B0603020202020204" pitchFamily="34" charset="0"/>
              </a:rPr>
              <a:t>Altares</a:t>
            </a:r>
            <a:r>
              <a:rPr lang="en-GB" sz="1000">
                <a:latin typeface="Trebuchet MS" panose="020B0603020202020204" pitchFamily="34" charset="0"/>
              </a:rPr>
              <a:t> </a:t>
            </a:r>
            <a:r>
              <a:rPr lang="en-GB" sz="1000">
                <a:solidFill>
                  <a:schemeClr val="tx2"/>
                </a:solidFill>
                <a:latin typeface="Trebuchet MS" panose="020B0603020202020204" pitchFamily="34" charset="0"/>
              </a:rPr>
              <a:t>customers’ farming ability</a:t>
            </a:r>
            <a:r>
              <a:rPr lang="en-GB" sz="1000">
                <a:latin typeface="Trebuchet MS" panose="020B0603020202020204" pitchFamily="34" charset="0"/>
              </a:rPr>
              <a:t>, enabling a </a:t>
            </a:r>
            <a:r>
              <a:rPr lang="en-GB" sz="1000">
                <a:solidFill>
                  <a:schemeClr val="tx2"/>
                </a:solidFill>
                <a:latin typeface="Trebuchet MS" panose="020B0603020202020204" pitchFamily="34" charset="0"/>
              </a:rPr>
              <a:t>strong upsell dynamic</a:t>
            </a:r>
          </a:p>
          <a:p>
            <a:pPr marL="628650" lvl="1" indent="-171450">
              <a:spcBef>
                <a:spcPts val="600"/>
              </a:spcBef>
              <a:buClr>
                <a:schemeClr val="tx1"/>
              </a:buClr>
              <a:buFont typeface="Arial" panose="020B0604020202020204" pitchFamily="34" charset="0"/>
              <a:buChar char="•"/>
            </a:pPr>
            <a:endParaRPr lang="en-GB" sz="1000">
              <a:latin typeface="Trebuchet MS" panose="020B0603020202020204" pitchFamily="34" charset="0"/>
            </a:endParaRPr>
          </a:p>
        </p:txBody>
      </p:sp>
      <p:pic>
        <p:nvPicPr>
          <p:cNvPr id="7" name="Graphic 6" descr="Lights On">
            <a:extLst>
              <a:ext uri="{FF2B5EF4-FFF2-40B4-BE49-F238E27FC236}">
                <a16:creationId xmlns:a16="http://schemas.microsoft.com/office/drawing/2014/main" id="{293D755D-6598-4892-A8BB-ED0AAD799A5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1462" y="4987855"/>
            <a:ext cx="209742" cy="209742"/>
          </a:xfrm>
          <a:prstGeom prst="rect">
            <a:avLst/>
          </a:prstGeom>
        </p:spPr>
      </p:pic>
      <p:grpSp>
        <p:nvGrpSpPr>
          <p:cNvPr id="20" name="Group 4">
            <a:extLst>
              <a:ext uri="{FF2B5EF4-FFF2-40B4-BE49-F238E27FC236}">
                <a16:creationId xmlns:a16="http://schemas.microsoft.com/office/drawing/2014/main" id="{67C874CA-08B6-43EB-AAF5-A401ED6665E0}"/>
              </a:ext>
            </a:extLst>
          </p:cNvPr>
          <p:cNvGrpSpPr>
            <a:grpSpLocks noChangeAspect="1"/>
          </p:cNvGrpSpPr>
          <p:nvPr/>
        </p:nvGrpSpPr>
        <p:grpSpPr bwMode="auto">
          <a:xfrm>
            <a:off x="5131409" y="5000292"/>
            <a:ext cx="226868" cy="184867"/>
            <a:chOff x="788" y="869"/>
            <a:chExt cx="740" cy="603"/>
          </a:xfrm>
          <a:solidFill>
            <a:schemeClr val="tx1"/>
          </a:solidFill>
        </p:grpSpPr>
        <p:sp>
          <p:nvSpPr>
            <p:cNvPr id="21" name="Freeform 5">
              <a:extLst>
                <a:ext uri="{FF2B5EF4-FFF2-40B4-BE49-F238E27FC236}">
                  <a16:creationId xmlns:a16="http://schemas.microsoft.com/office/drawing/2014/main" id="{4266A374-E100-40D7-B73F-28156E6E1301}"/>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6">
              <a:extLst>
                <a:ext uri="{FF2B5EF4-FFF2-40B4-BE49-F238E27FC236}">
                  <a16:creationId xmlns:a16="http://schemas.microsoft.com/office/drawing/2014/main" id="{C7531C03-6CF3-4C68-B0F7-1AF5DED46D67}"/>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Rectangle 7">
              <a:extLst>
                <a:ext uri="{FF2B5EF4-FFF2-40B4-BE49-F238E27FC236}">
                  <a16:creationId xmlns:a16="http://schemas.microsoft.com/office/drawing/2014/main" id="{07D4B324-AAA6-46C7-B8B7-914AFFE06C35}"/>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Rectangle 8">
              <a:extLst>
                <a:ext uri="{FF2B5EF4-FFF2-40B4-BE49-F238E27FC236}">
                  <a16:creationId xmlns:a16="http://schemas.microsoft.com/office/drawing/2014/main" id="{5D8DB234-2796-4624-AED7-BED53C6318C3}"/>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6" name="Groupe 85">
            <a:extLst>
              <a:ext uri="{FF2B5EF4-FFF2-40B4-BE49-F238E27FC236}">
                <a16:creationId xmlns:a16="http://schemas.microsoft.com/office/drawing/2014/main" id="{EB017517-D2E0-454C-9F05-16A5C7A79408}"/>
              </a:ext>
            </a:extLst>
          </p:cNvPr>
          <p:cNvGrpSpPr/>
          <p:nvPr/>
        </p:nvGrpSpPr>
        <p:grpSpPr>
          <a:xfrm>
            <a:off x="8448150" y="-11528"/>
            <a:ext cx="1435548" cy="588143"/>
            <a:chOff x="8448150" y="-11528"/>
            <a:chExt cx="1435548" cy="588143"/>
          </a:xfrm>
        </p:grpSpPr>
        <p:sp>
          <p:nvSpPr>
            <p:cNvPr id="37" name="Rectangle : coins arrondis 199">
              <a:extLst>
                <a:ext uri="{FF2B5EF4-FFF2-40B4-BE49-F238E27FC236}">
                  <a16:creationId xmlns:a16="http://schemas.microsoft.com/office/drawing/2014/main" id="{658FC7B2-A462-4290-BE15-03F99711CFE2}"/>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Rectangle : coins arrondis 200">
              <a:extLst>
                <a:ext uri="{FF2B5EF4-FFF2-40B4-BE49-F238E27FC236}">
                  <a16:creationId xmlns:a16="http://schemas.microsoft.com/office/drawing/2014/main" id="{F34DDC50-2D00-496D-9C66-7A8974C5337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9" name="Rectangle : coins arrondis 201">
              <a:extLst>
                <a:ext uri="{FF2B5EF4-FFF2-40B4-BE49-F238E27FC236}">
                  <a16:creationId xmlns:a16="http://schemas.microsoft.com/office/drawing/2014/main" id="{07407110-1618-44FE-ADF6-2642A088127F}"/>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1" name="ZoneTexte 18">
              <a:extLst>
                <a:ext uri="{FF2B5EF4-FFF2-40B4-BE49-F238E27FC236}">
                  <a16:creationId xmlns:a16="http://schemas.microsoft.com/office/drawing/2014/main" id="{32DB9C16-58BC-4597-9BB5-C0E4C55BCBCA}"/>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42" name="Graphique 128" descr="Jauge">
              <a:extLst>
                <a:ext uri="{FF2B5EF4-FFF2-40B4-BE49-F238E27FC236}">
                  <a16:creationId xmlns:a16="http://schemas.microsoft.com/office/drawing/2014/main" id="{8489C648-0870-40F9-B93A-C1DE97EF564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553764" y="187516"/>
              <a:ext cx="234953" cy="218224"/>
            </a:xfrm>
            <a:prstGeom prst="rect">
              <a:avLst/>
            </a:prstGeom>
            <a:effectLst/>
          </p:spPr>
        </p:pic>
        <p:pic>
          <p:nvPicPr>
            <p:cNvPr id="43" name="Graphique 90" descr="Poignée de main">
              <a:extLst>
                <a:ext uri="{FF2B5EF4-FFF2-40B4-BE49-F238E27FC236}">
                  <a16:creationId xmlns:a16="http://schemas.microsoft.com/office/drawing/2014/main" id="{CC4BA1B4-8F09-4C4B-B08B-D85CD0921A7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960868" y="152880"/>
              <a:ext cx="256313" cy="287496"/>
            </a:xfrm>
            <a:prstGeom prst="rect">
              <a:avLst/>
            </a:prstGeom>
            <a:effectLst/>
          </p:spPr>
        </p:pic>
        <p:pic>
          <p:nvPicPr>
            <p:cNvPr id="44" name="Graphique 95" descr="Mégaphone">
              <a:extLst>
                <a:ext uri="{FF2B5EF4-FFF2-40B4-BE49-F238E27FC236}">
                  <a16:creationId xmlns:a16="http://schemas.microsoft.com/office/drawing/2014/main" id="{65F24C37-1BCC-4538-99DC-79FA9647C04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89331" y="181519"/>
              <a:ext cx="233011" cy="216420"/>
            </a:xfrm>
            <a:prstGeom prst="rect">
              <a:avLst/>
            </a:prstGeom>
            <a:effectLst/>
          </p:spPr>
        </p:pic>
        <p:pic>
          <p:nvPicPr>
            <p:cNvPr id="45" name="Picture 2" descr="Drapeau France">
              <a:extLst>
                <a:ext uri="{FF2B5EF4-FFF2-40B4-BE49-F238E27FC236}">
                  <a16:creationId xmlns:a16="http://schemas.microsoft.com/office/drawing/2014/main" id="{E4C4F846-C457-418F-B54B-35A7056F03CA}"/>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46" name="ZoneTexte 18">
              <a:extLst>
                <a:ext uri="{FF2B5EF4-FFF2-40B4-BE49-F238E27FC236}">
                  <a16:creationId xmlns:a16="http://schemas.microsoft.com/office/drawing/2014/main" id="{06743791-C819-409A-B67E-775EB881BBCC}"/>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France</a:t>
              </a:r>
            </a:p>
          </p:txBody>
        </p:sp>
      </p:grpSp>
      <p:sp>
        <p:nvSpPr>
          <p:cNvPr id="33" name="Speech Bubble: Rectangle 13">
            <a:extLst>
              <a:ext uri="{FF2B5EF4-FFF2-40B4-BE49-F238E27FC236}">
                <a16:creationId xmlns:a16="http://schemas.microsoft.com/office/drawing/2014/main" id="{2F1ED0FD-CDEC-450F-B543-1CE32E396CAA}"/>
              </a:ext>
            </a:extLst>
          </p:cNvPr>
          <p:cNvSpPr/>
          <p:nvPr/>
        </p:nvSpPr>
        <p:spPr bwMode="auto">
          <a:xfrm>
            <a:off x="1120745" y="1627997"/>
            <a:ext cx="1909166" cy="862975"/>
          </a:xfrm>
          <a:prstGeom prst="wedgeRectCallout">
            <a:avLst>
              <a:gd name="adj1" fmla="val -10550"/>
              <a:gd name="adj2" fmla="val 84629"/>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0" tIns="45720" rIns="0" bIns="45720" numCol="1" rtlCol="0" anchor="t" anchorCtr="0" compatLnSpc="1">
            <a:prstTxWarp prst="textNoShape">
              <a:avLst/>
            </a:prstTxWarp>
          </a:bodyPr>
          <a:lstStyle/>
          <a:p>
            <a:pPr marL="90488" marR="0" algn="ctr"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Cohort prior 2017 contains </a:t>
            </a:r>
            <a:r>
              <a:rPr lang="en-GB" sz="1000">
                <a:solidFill>
                  <a:schemeClr val="tx2"/>
                </a:solidFill>
                <a:latin typeface="Trebuchet MS" panose="020B0603020202020204" pitchFamily="34" charset="0"/>
              </a:rPr>
              <a:t>large clients recruited several years ago </a:t>
            </a:r>
            <a:r>
              <a:rPr lang="en-GB" sz="1000">
                <a:latin typeface="Trebuchet MS" panose="020B0603020202020204" pitchFamily="34" charset="0"/>
              </a:rPr>
              <a:t>(before 2016) explaining a significantly </a:t>
            </a:r>
            <a:r>
              <a:rPr lang="en-GB" sz="1000">
                <a:solidFill>
                  <a:schemeClr val="tx2"/>
                </a:solidFill>
                <a:latin typeface="Trebuchet MS" panose="020B0603020202020204" pitchFamily="34" charset="0"/>
              </a:rPr>
              <a:t>higher ARPU</a:t>
            </a:r>
            <a:endParaRPr kumimoji="0" lang="en-GB" sz="1000" b="0" i="0" u="none" strike="noStrike" cap="none" normalizeH="0" baseline="0">
              <a:ln>
                <a:noFill/>
              </a:ln>
              <a:solidFill>
                <a:schemeClr val="tx2"/>
              </a:solidFill>
              <a:effectLst/>
              <a:latin typeface="Trebuchet MS" panose="020B0603020202020204" pitchFamily="34" charset="0"/>
            </a:endParaRPr>
          </a:p>
        </p:txBody>
      </p:sp>
      <p:pic>
        <p:nvPicPr>
          <p:cNvPr id="31" name="Picture 2" descr="Drapeau France">
            <a:extLst>
              <a:ext uri="{FF2B5EF4-FFF2-40B4-BE49-F238E27FC236}">
                <a16:creationId xmlns:a16="http://schemas.microsoft.com/office/drawing/2014/main" id="{6034D6A4-267B-4F4E-B142-A6648850F58A}"/>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17006" b="16757"/>
          <a:stretch/>
        </p:blipFill>
        <p:spPr bwMode="auto">
          <a:xfrm>
            <a:off x="336461" y="1269780"/>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106942386"/>
      </p:ext>
    </p:extLst>
  </p:cSld>
  <p:clrMapOvr>
    <a:masterClrMapping/>
  </p:clrMapOv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t 3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2" name="Objet 3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9" name="Rectangle 58">
            <a:extLst>
              <a:ext uri="{FF2B5EF4-FFF2-40B4-BE49-F238E27FC236}">
                <a16:creationId xmlns:a16="http://schemas.microsoft.com/office/drawing/2014/main" id="{08A39C34-831C-4C72-BD60-1D82C4BB5792}"/>
              </a:ext>
            </a:extLst>
          </p:cNvPr>
          <p:cNvSpPr/>
          <p:nvPr/>
        </p:nvSpPr>
        <p:spPr bwMode="auto">
          <a:xfrm>
            <a:off x="351267" y="1300773"/>
            <a:ext cx="9237570" cy="5061923"/>
          </a:xfrm>
          <a:prstGeom prst="rect">
            <a:avLst/>
          </a:prstGeom>
          <a:solidFill>
            <a:schemeClr val="bg2">
              <a:lumMod val="20000"/>
              <a:lumOff val="80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sp>
        <p:nvSpPr>
          <p:cNvPr id="2" name="Rectangle 1">
            <a:extLst>
              <a:ext uri="{FF2B5EF4-FFF2-40B4-BE49-F238E27FC236}">
                <a16:creationId xmlns:a16="http://schemas.microsoft.com/office/drawing/2014/main" id="{5209868D-496F-4453-AAB1-5E3890BFD587}"/>
              </a:ext>
            </a:extLst>
          </p:cNvPr>
          <p:cNvSpPr/>
          <p:nvPr/>
        </p:nvSpPr>
        <p:spPr bwMode="auto">
          <a:xfrm>
            <a:off x="629797" y="1436554"/>
            <a:ext cx="3576523" cy="4534087"/>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172" name="Titre 2">
            <a:extLst>
              <a:ext uri="{FF2B5EF4-FFF2-40B4-BE49-F238E27FC236}">
                <a16:creationId xmlns:a16="http://schemas.microsoft.com/office/drawing/2014/main" id="{E172EE55-4342-45E1-BD5A-0E71F088DA6C}"/>
              </a:ext>
            </a:extLst>
          </p:cNvPr>
          <p:cNvSpPr txBox="1">
            <a:spLocks/>
          </p:cNvSpPr>
          <p:nvPr/>
        </p:nvSpPr>
        <p:spPr bwMode="auto">
          <a:xfrm>
            <a:off x="283658" y="147600"/>
            <a:ext cx="7989247" cy="68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1">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b="0" kern="0">
                <a:latin typeface="Trebuchet MS" panose="020B0603020202020204" pitchFamily="34" charset="0"/>
              </a:rPr>
              <a:t>In</a:t>
            </a:r>
            <a:r>
              <a:rPr lang="en-GB" b="0" kern="0">
                <a:solidFill>
                  <a:schemeClr val="tx2"/>
                </a:solidFill>
                <a:latin typeface="Trebuchet MS" panose="020B0603020202020204" pitchFamily="34" charset="0"/>
              </a:rPr>
              <a:t> Benelux</a:t>
            </a:r>
            <a:r>
              <a:rPr lang="en-GB" b="0" kern="0">
                <a:latin typeface="Trebuchet MS" panose="020B0603020202020204" pitchFamily="34" charset="0"/>
              </a:rPr>
              <a:t>, </a:t>
            </a:r>
            <a:r>
              <a:rPr lang="en-GB" b="0" kern="0" err="1">
                <a:latin typeface="Trebuchet MS" panose="020B0603020202020204" pitchFamily="34" charset="0"/>
              </a:rPr>
              <a:t>Altares</a:t>
            </a:r>
            <a:r>
              <a:rPr lang="en-GB" b="0" kern="0">
                <a:latin typeface="Trebuchet MS" panose="020B0603020202020204" pitchFamily="34" charset="0"/>
              </a:rPr>
              <a:t> has built a customer base also relying on </a:t>
            </a:r>
            <a:r>
              <a:rPr lang="en-GB" b="0" kern="0">
                <a:solidFill>
                  <a:schemeClr val="tx2"/>
                </a:solidFill>
                <a:latin typeface="Trebuchet MS" panose="020B0603020202020204" pitchFamily="34" charset="0"/>
              </a:rPr>
              <a:t>large companies </a:t>
            </a:r>
            <a:r>
              <a:rPr lang="en-GB" b="0" kern="0">
                <a:latin typeface="Trebuchet MS" panose="020B0603020202020204" pitchFamily="34" charset="0"/>
              </a:rPr>
              <a:t>from </a:t>
            </a:r>
            <a:r>
              <a:rPr lang="en-GB" b="0" kern="0">
                <a:solidFill>
                  <a:schemeClr val="tx2"/>
                </a:solidFill>
                <a:latin typeface="Trebuchet MS" panose="020B0603020202020204" pitchFamily="34" charset="0"/>
              </a:rPr>
              <a:t>diversified sectors </a:t>
            </a:r>
            <a:r>
              <a:rPr lang="en-GB" b="0" kern="0">
                <a:latin typeface="Trebuchet MS" panose="020B0603020202020204" pitchFamily="34" charset="0"/>
              </a:rPr>
              <a:t>ensuring a </a:t>
            </a:r>
            <a:r>
              <a:rPr lang="en-GB" b="0" kern="0">
                <a:solidFill>
                  <a:schemeClr val="tx2"/>
                </a:solidFill>
                <a:latin typeface="Trebuchet MS" panose="020B0603020202020204" pitchFamily="34" charset="0"/>
              </a:rPr>
              <a:t>resilient customer base</a:t>
            </a:r>
          </a:p>
        </p:txBody>
      </p:sp>
      <p:cxnSp>
        <p:nvCxnSpPr>
          <p:cNvPr id="7184" name="Connecteur droit 208">
            <a:extLst>
              <a:ext uri="{FF2B5EF4-FFF2-40B4-BE49-F238E27FC236}">
                <a16:creationId xmlns:a16="http://schemas.microsoft.com/office/drawing/2014/main" id="{F31A4659-8C1C-49A6-B947-7163B76D8BE8}"/>
              </a:ext>
            </a:extLst>
          </p:cNvPr>
          <p:cNvCxnSpPr>
            <a:cxnSpLocks/>
          </p:cNvCxnSpPr>
          <p:nvPr/>
        </p:nvCxnSpPr>
        <p:spPr bwMode="auto">
          <a:xfrm>
            <a:off x="374220" y="1089298"/>
            <a:ext cx="924984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3" name="Espace réservé du texte 12">
            <a:extLst>
              <a:ext uri="{FF2B5EF4-FFF2-40B4-BE49-F238E27FC236}">
                <a16:creationId xmlns:a16="http://schemas.microsoft.com/office/drawing/2014/main" id="{4D4D52A3-3941-4BD5-A6F0-1BD6C7844AF8}"/>
              </a:ext>
            </a:extLst>
          </p:cNvPr>
          <p:cNvSpPr>
            <a:spLocks noGrp="1"/>
          </p:cNvSpPr>
          <p:nvPr>
            <p:ph type="body" sz="quarter" idx="10"/>
          </p:nvPr>
        </p:nvSpPr>
        <p:spPr/>
        <p:txBody>
          <a:bodyPr/>
          <a:lstStyle/>
          <a:p>
            <a:r>
              <a:rPr lang="en-GB" sz="800" i="1" kern="0"/>
              <a:t>Sources: eleven research &amp; analysis, company data</a:t>
            </a:r>
          </a:p>
        </p:txBody>
      </p:sp>
      <p:graphicFrame>
        <p:nvGraphicFramePr>
          <p:cNvPr id="90" name="Chart 43">
            <a:extLst>
              <a:ext uri="{FF2B5EF4-FFF2-40B4-BE49-F238E27FC236}">
                <a16:creationId xmlns:a16="http://schemas.microsoft.com/office/drawing/2014/main" id="{EC17A297-573A-4E77-AF3C-A2596818BED5}"/>
              </a:ext>
            </a:extLst>
          </p:cNvPr>
          <p:cNvGraphicFramePr/>
          <p:nvPr/>
        </p:nvGraphicFramePr>
        <p:xfrm>
          <a:off x="523159" y="2021685"/>
          <a:ext cx="3789799" cy="3456934"/>
        </p:xfrm>
        <a:graphic>
          <a:graphicData uri="http://schemas.openxmlformats.org/drawingml/2006/chart">
            <c:chart xmlns:c="http://schemas.openxmlformats.org/drawingml/2006/chart" xmlns:r="http://schemas.openxmlformats.org/officeDocument/2006/relationships" r:id="rId6"/>
          </a:graphicData>
        </a:graphic>
      </p:graphicFrame>
      <p:sp>
        <p:nvSpPr>
          <p:cNvPr id="92" name="Rectangle 91">
            <a:extLst>
              <a:ext uri="{FF2B5EF4-FFF2-40B4-BE49-F238E27FC236}">
                <a16:creationId xmlns:a16="http://schemas.microsoft.com/office/drawing/2014/main" id="{0EA9FDC3-A65A-453A-BA53-BB397A328033}"/>
              </a:ext>
            </a:extLst>
          </p:cNvPr>
          <p:cNvSpPr/>
          <p:nvPr/>
        </p:nvSpPr>
        <p:spPr bwMode="auto">
          <a:xfrm>
            <a:off x="812399" y="1436554"/>
            <a:ext cx="3211318" cy="426575"/>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dirty="0">
                <a:ln>
                  <a:noFill/>
                </a:ln>
                <a:effectLst/>
                <a:uLnTx/>
                <a:uFillTx/>
                <a:latin typeface="Trebuchet MS" panose="020B0603020202020204" pitchFamily="34" charset="0"/>
              </a:rPr>
              <a:t>Sectorial repartition of 2019 40% revenue coming from </a:t>
            </a:r>
            <a:r>
              <a:rPr lang="en-GB" sz="1000" b="1" i="1" dirty="0">
                <a:latin typeface="Trebuchet MS" panose="020B0603020202020204" pitchFamily="34" charset="0"/>
              </a:rPr>
              <a:t>T</a:t>
            </a:r>
            <a:r>
              <a:rPr kumimoji="0" lang="en-GB" sz="1000" b="1" i="1" u="none" strike="noStrike" kern="1200" cap="none" spc="0" normalizeH="0" baseline="0" noProof="0" dirty="0">
                <a:ln>
                  <a:noFill/>
                </a:ln>
                <a:effectLst/>
                <a:uLnTx/>
                <a:uFillTx/>
                <a:latin typeface="Trebuchet MS" panose="020B0603020202020204" pitchFamily="34" charset="0"/>
              </a:rPr>
              <a:t>op 30 clients: </a:t>
            </a:r>
          </a:p>
        </p:txBody>
      </p:sp>
      <p:sp>
        <p:nvSpPr>
          <p:cNvPr id="125" name="Rectangle 124">
            <a:extLst>
              <a:ext uri="{FF2B5EF4-FFF2-40B4-BE49-F238E27FC236}">
                <a16:creationId xmlns:a16="http://schemas.microsoft.com/office/drawing/2014/main" id="{3241F3AF-DEB9-4344-9C84-AC42BAB082C3}"/>
              </a:ext>
            </a:extLst>
          </p:cNvPr>
          <p:cNvSpPr/>
          <p:nvPr/>
        </p:nvSpPr>
        <p:spPr bwMode="auto">
          <a:xfrm>
            <a:off x="6028189" y="1380233"/>
            <a:ext cx="3211318" cy="219906"/>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rPr>
              <a:t>Top 30 of </a:t>
            </a: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clients in Benelux in 2020: </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126" name="Rectangle 84">
            <a:extLst>
              <a:ext uri="{FF2B5EF4-FFF2-40B4-BE49-F238E27FC236}">
                <a16:creationId xmlns:a16="http://schemas.microsoft.com/office/drawing/2014/main" id="{1F3EDAD4-F85E-4ACE-938A-97655B0E85EB}"/>
              </a:ext>
            </a:extLst>
          </p:cNvPr>
          <p:cNvSpPr/>
          <p:nvPr/>
        </p:nvSpPr>
        <p:spPr bwMode="auto">
          <a:xfrm>
            <a:off x="2886877" y="974492"/>
            <a:ext cx="4224535" cy="229613"/>
          </a:xfrm>
          <a:prstGeom prst="rect">
            <a:avLst/>
          </a:prstGeom>
          <a:solidFill>
            <a:schemeClr val="bg1"/>
          </a:solidFill>
        </p:spPr>
        <p:txBody>
          <a:bodyPr wrap="square" rtlCol="0">
            <a:noAutofit/>
          </a:bodyPr>
          <a:lstStyle/>
          <a:p>
            <a:pPr algn="ctr"/>
            <a:r>
              <a:rPr lang="en-GB" sz="1100">
                <a:latin typeface="Trebuchet MS" panose="020B0603020202020204" pitchFamily="34" charset="0"/>
              </a:rPr>
              <a:t>Sectorial analysis of </a:t>
            </a:r>
            <a:r>
              <a:rPr lang="en-GB" sz="1100" err="1">
                <a:latin typeface="Trebuchet MS" panose="020B0603020202020204" pitchFamily="34" charset="0"/>
              </a:rPr>
              <a:t>Altares</a:t>
            </a:r>
            <a:r>
              <a:rPr lang="en-GB" sz="1100">
                <a:latin typeface="Trebuchet MS" panose="020B0603020202020204" pitchFamily="34" charset="0"/>
              </a:rPr>
              <a:t>’ clients in Benelux in 2019</a:t>
            </a:r>
          </a:p>
        </p:txBody>
      </p:sp>
      <p:sp>
        <p:nvSpPr>
          <p:cNvPr id="11" name="Triangle isocèle 10">
            <a:extLst>
              <a:ext uri="{FF2B5EF4-FFF2-40B4-BE49-F238E27FC236}">
                <a16:creationId xmlns:a16="http://schemas.microsoft.com/office/drawing/2014/main" id="{D8FCB5A8-80E5-4126-8665-65B7E696A384}"/>
              </a:ext>
            </a:extLst>
          </p:cNvPr>
          <p:cNvSpPr/>
          <p:nvPr/>
        </p:nvSpPr>
        <p:spPr bwMode="auto">
          <a:xfrm rot="5400000">
            <a:off x="4215028" y="3722317"/>
            <a:ext cx="1156738" cy="151080"/>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124" name="Connecteur droit 123">
            <a:extLst>
              <a:ext uri="{FF2B5EF4-FFF2-40B4-BE49-F238E27FC236}">
                <a16:creationId xmlns:a16="http://schemas.microsoft.com/office/drawing/2014/main" id="{DAFD4D33-8E4B-4848-8AA0-AA99EDDED701}"/>
              </a:ext>
            </a:extLst>
          </p:cNvPr>
          <p:cNvCxnSpPr/>
          <p:nvPr/>
        </p:nvCxnSpPr>
        <p:spPr bwMode="auto">
          <a:xfrm flipH="1">
            <a:off x="4709267" y="1436554"/>
            <a:ext cx="0" cy="4878720"/>
          </a:xfrm>
          <a:prstGeom prst="line">
            <a:avLst/>
          </a:prstGeom>
          <a:solidFill>
            <a:schemeClr val="accent1"/>
          </a:solidFill>
          <a:ln w="9525" cap="flat" cmpd="sng" algn="ctr">
            <a:solidFill>
              <a:schemeClr val="tx2"/>
            </a:solidFill>
            <a:prstDash val="solid"/>
            <a:round/>
            <a:headEnd type="none" w="med" len="med"/>
            <a:tailEnd type="none" w="med" len="med"/>
          </a:ln>
          <a:effectLst/>
        </p:spPr>
      </p:cxnSp>
      <p:grpSp>
        <p:nvGrpSpPr>
          <p:cNvPr id="4" name="Group 3">
            <a:extLst>
              <a:ext uri="{FF2B5EF4-FFF2-40B4-BE49-F238E27FC236}">
                <a16:creationId xmlns:a16="http://schemas.microsoft.com/office/drawing/2014/main" id="{CC1BCDFA-BAAD-4741-A0CE-8B22455B59B8}"/>
              </a:ext>
            </a:extLst>
          </p:cNvPr>
          <p:cNvGrpSpPr/>
          <p:nvPr/>
        </p:nvGrpSpPr>
        <p:grpSpPr>
          <a:xfrm>
            <a:off x="8448150" y="-11528"/>
            <a:ext cx="1435548" cy="588143"/>
            <a:chOff x="8448150" y="-11528"/>
            <a:chExt cx="1435548" cy="588143"/>
          </a:xfrm>
        </p:grpSpPr>
        <p:pic>
          <p:nvPicPr>
            <p:cNvPr id="89" name="Picture 2" descr="5 ft x 3 ft 150 x 90 cm-DRAPEAU BELGE Belgique 100% Polyester ...">
              <a:extLst>
                <a:ext uri="{FF2B5EF4-FFF2-40B4-BE49-F238E27FC236}">
                  <a16:creationId xmlns:a16="http://schemas.microsoft.com/office/drawing/2014/main" id="{65CC55BA-04A8-49D1-A6A2-1DFB94E77B3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91" name="Picture 2 - 1" descr="Drapeau des Pays-Bas — Wikipédia">
              <a:extLst>
                <a:ext uri="{FF2B5EF4-FFF2-40B4-BE49-F238E27FC236}">
                  <a16:creationId xmlns:a16="http://schemas.microsoft.com/office/drawing/2014/main" id="{B9F0F94E-1CF5-4761-A6EE-FA6CBC43DA8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93" name="Picture 2 - 2" descr="Drapeau du Luxembourg">
              <a:extLst>
                <a:ext uri="{FF2B5EF4-FFF2-40B4-BE49-F238E27FC236}">
                  <a16:creationId xmlns:a16="http://schemas.microsoft.com/office/drawing/2014/main" id="{BDF7EDA0-C856-4F92-97C9-7CCA82B0F44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94" name="ZoneTexte 18">
              <a:extLst>
                <a:ext uri="{FF2B5EF4-FFF2-40B4-BE49-F238E27FC236}">
                  <a16:creationId xmlns:a16="http://schemas.microsoft.com/office/drawing/2014/main" id="{B871DCE3-CC78-4B66-A296-9B02753DC6DA}"/>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nvGrpSpPr>
            <p:cNvPr id="99" name="Groupe 85">
              <a:extLst>
                <a:ext uri="{FF2B5EF4-FFF2-40B4-BE49-F238E27FC236}">
                  <a16:creationId xmlns:a16="http://schemas.microsoft.com/office/drawing/2014/main" id="{0A95F0A7-1DCF-437D-8FB9-9F5B625C338C}"/>
                </a:ext>
              </a:extLst>
            </p:cNvPr>
            <p:cNvGrpSpPr/>
            <p:nvPr/>
          </p:nvGrpSpPr>
          <p:grpSpPr>
            <a:xfrm>
              <a:off x="8448150" y="-11528"/>
              <a:ext cx="1281748" cy="588143"/>
              <a:chOff x="8448150" y="-11528"/>
              <a:chExt cx="1281748" cy="588143"/>
            </a:xfrm>
          </p:grpSpPr>
          <p:sp>
            <p:nvSpPr>
              <p:cNvPr id="100" name="Rectangle : coins arrondis 199">
                <a:extLst>
                  <a:ext uri="{FF2B5EF4-FFF2-40B4-BE49-F238E27FC236}">
                    <a16:creationId xmlns:a16="http://schemas.microsoft.com/office/drawing/2014/main" id="{88D81A11-B112-4BB6-8AAD-1523438B32B5}"/>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1" name="Rectangle : coins arrondis 200">
                <a:extLst>
                  <a:ext uri="{FF2B5EF4-FFF2-40B4-BE49-F238E27FC236}">
                    <a16:creationId xmlns:a16="http://schemas.microsoft.com/office/drawing/2014/main" id="{906A6ADE-AE1A-43FB-B8B4-03358B8A7B67}"/>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2" name="Rectangle : coins arrondis 201">
                <a:extLst>
                  <a:ext uri="{FF2B5EF4-FFF2-40B4-BE49-F238E27FC236}">
                    <a16:creationId xmlns:a16="http://schemas.microsoft.com/office/drawing/2014/main" id="{E69D31D1-86EB-4494-A929-AF9DCDFCEDA2}"/>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3" name="ZoneTexte 18">
                <a:extLst>
                  <a:ext uri="{FF2B5EF4-FFF2-40B4-BE49-F238E27FC236}">
                    <a16:creationId xmlns:a16="http://schemas.microsoft.com/office/drawing/2014/main" id="{3E97ACBA-1588-4173-9660-07A2573C1C4C}"/>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108" name="Graphique 128" descr="Jauge">
                <a:extLst>
                  <a:ext uri="{FF2B5EF4-FFF2-40B4-BE49-F238E27FC236}">
                    <a16:creationId xmlns:a16="http://schemas.microsoft.com/office/drawing/2014/main" id="{D2C59BC2-D64E-454A-B5AC-20AC087D986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53764" y="187516"/>
                <a:ext cx="234953" cy="218224"/>
              </a:xfrm>
              <a:prstGeom prst="rect">
                <a:avLst/>
              </a:prstGeom>
              <a:effectLst/>
            </p:spPr>
          </p:pic>
          <p:pic>
            <p:nvPicPr>
              <p:cNvPr id="109" name="Graphique 90" descr="Poignée de main">
                <a:extLst>
                  <a:ext uri="{FF2B5EF4-FFF2-40B4-BE49-F238E27FC236}">
                    <a16:creationId xmlns:a16="http://schemas.microsoft.com/office/drawing/2014/main" id="{057082D6-E9A8-40AC-A42B-AC424A1A086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960868" y="152880"/>
                <a:ext cx="256313" cy="287496"/>
              </a:xfrm>
              <a:prstGeom prst="rect">
                <a:avLst/>
              </a:prstGeom>
              <a:effectLst/>
            </p:spPr>
          </p:pic>
          <p:pic>
            <p:nvPicPr>
              <p:cNvPr id="112" name="Graphique 95" descr="Mégaphone">
                <a:extLst>
                  <a:ext uri="{FF2B5EF4-FFF2-40B4-BE49-F238E27FC236}">
                    <a16:creationId xmlns:a16="http://schemas.microsoft.com/office/drawing/2014/main" id="{E31EC6A1-0855-4EDA-8F53-AFB2A3C5FCD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389331" y="181519"/>
                <a:ext cx="233011" cy="216420"/>
              </a:xfrm>
              <a:prstGeom prst="rect">
                <a:avLst/>
              </a:prstGeom>
              <a:effectLst/>
            </p:spPr>
          </p:pic>
          <p:sp>
            <p:nvSpPr>
              <p:cNvPr id="114" name="ZoneTexte 18">
                <a:extLst>
                  <a:ext uri="{FF2B5EF4-FFF2-40B4-BE49-F238E27FC236}">
                    <a16:creationId xmlns:a16="http://schemas.microsoft.com/office/drawing/2014/main" id="{6E8600F2-721E-4224-ABA6-F599F9619EB0}"/>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enelux</a:t>
                </a:r>
              </a:p>
            </p:txBody>
          </p:sp>
        </p:grpSp>
      </p:grpSp>
      <p:pic>
        <p:nvPicPr>
          <p:cNvPr id="48" name="Picture 2" descr="Merci à EULER HERMES, partenaire de votre Journée Crédit AFDCC 2018 -  L'ASSOCIATION FRANCAISE DES CREDIT MANAGERS ET CONSEILS">
            <a:extLst>
              <a:ext uri="{FF2B5EF4-FFF2-40B4-BE49-F238E27FC236}">
                <a16:creationId xmlns:a16="http://schemas.microsoft.com/office/drawing/2014/main" id="{BD46A092-B93C-4392-BAB5-6B3BAD2CA8E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824755" y="1978574"/>
            <a:ext cx="694332" cy="19316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ABN AMRO Innovation Meetup #1 - Java 11 is here! - ABN AMRO | NLJUG -  Nederlandse Java User Group">
            <a:extLst>
              <a:ext uri="{FF2B5EF4-FFF2-40B4-BE49-F238E27FC236}">
                <a16:creationId xmlns:a16="http://schemas.microsoft.com/office/drawing/2014/main" id="{5EEBA63E-97EC-490C-B37D-B9AD3528C71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159359" y="1826071"/>
            <a:ext cx="631211" cy="197842"/>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CCV Pay ‒ Applications sur Google Play">
            <a:extLst>
              <a:ext uri="{FF2B5EF4-FFF2-40B4-BE49-F238E27FC236}">
                <a16:creationId xmlns:a16="http://schemas.microsoft.com/office/drawing/2014/main" id="{5B8DA42D-6114-4C24-97CE-A210D997381A}"/>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056326" y="2202568"/>
            <a:ext cx="258282" cy="258282"/>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descr="Epargner chez Rabobank.be - Guide-Epargne.be">
            <a:extLst>
              <a:ext uri="{FF2B5EF4-FFF2-40B4-BE49-F238E27FC236}">
                <a16:creationId xmlns:a16="http://schemas.microsoft.com/office/drawing/2014/main" id="{46FD6569-8F3E-433C-B09D-38F11EFF2B83}"/>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t="24358" b="33726"/>
          <a:stretch/>
        </p:blipFill>
        <p:spPr bwMode="auto">
          <a:xfrm>
            <a:off x="7077922" y="1751673"/>
            <a:ext cx="694332" cy="194023"/>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 descr="Credendo - Short-Term Non-EU Risks Recrutement et Informations | Monster">
            <a:extLst>
              <a:ext uri="{FF2B5EF4-FFF2-40B4-BE49-F238E27FC236}">
                <a16:creationId xmlns:a16="http://schemas.microsoft.com/office/drawing/2014/main" id="{A34C2C97-4B95-4B5D-8896-97B6DDE98EE4}"/>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15270" t="34260" r="12944" b="38988"/>
          <a:stretch/>
        </p:blipFill>
        <p:spPr bwMode="auto">
          <a:xfrm>
            <a:off x="6454240" y="2004623"/>
            <a:ext cx="729528" cy="134291"/>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descr="Fleet Management Company | Vehicle Fleet Leasing Solutions | LeasePlan">
            <a:extLst>
              <a:ext uri="{FF2B5EF4-FFF2-40B4-BE49-F238E27FC236}">
                <a16:creationId xmlns:a16="http://schemas.microsoft.com/office/drawing/2014/main" id="{DB738D3B-9EAC-46F9-B398-77CEA1A88C2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193423" y="2224676"/>
            <a:ext cx="431125" cy="214066"/>
          </a:xfrm>
          <a:prstGeom prst="rect">
            <a:avLst/>
          </a:prstGeom>
          <a:noFill/>
          <a:extLst>
            <a:ext uri="{909E8E84-426E-40DD-AFC4-6F175D3DCCD1}">
              <a14:hiddenFill xmlns:a14="http://schemas.microsoft.com/office/drawing/2010/main">
                <a:solidFill>
                  <a:srgbClr val="FFFFFF"/>
                </a:solidFill>
              </a14:hiddenFill>
            </a:ext>
          </a:extLst>
        </p:spPr>
      </p:pic>
      <p:pic>
        <p:nvPicPr>
          <p:cNvPr id="12290" name="Picture 2" descr="Agence de communication VP STRAT | KBC GROUP | Paris Banque Assurance">
            <a:extLst>
              <a:ext uri="{FF2B5EF4-FFF2-40B4-BE49-F238E27FC236}">
                <a16:creationId xmlns:a16="http://schemas.microsoft.com/office/drawing/2014/main" id="{6BAF672F-7B95-45D2-95B1-FFAB738674FB}"/>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l="15289" t="9761" r="17491" b="8155"/>
          <a:stretch/>
        </p:blipFill>
        <p:spPr bwMode="auto">
          <a:xfrm>
            <a:off x="8059606" y="1720550"/>
            <a:ext cx="326456" cy="256269"/>
          </a:xfrm>
          <a:prstGeom prst="rect">
            <a:avLst/>
          </a:prstGeom>
          <a:noFill/>
          <a:extLst>
            <a:ext uri="{909E8E84-426E-40DD-AFC4-6F175D3DCCD1}">
              <a14:hiddenFill xmlns:a14="http://schemas.microsoft.com/office/drawing/2010/main">
                <a:solidFill>
                  <a:srgbClr val="FFFFFF"/>
                </a:solidFill>
              </a14:hiddenFill>
            </a:ext>
          </a:extLst>
        </p:spPr>
      </p:pic>
      <p:sp>
        <p:nvSpPr>
          <p:cNvPr id="76" name="Rectangle: Rounded Corners 75">
            <a:extLst>
              <a:ext uri="{FF2B5EF4-FFF2-40B4-BE49-F238E27FC236}">
                <a16:creationId xmlns:a16="http://schemas.microsoft.com/office/drawing/2014/main" id="{C1788870-4C4F-42C9-83E0-E57ECBC800FD}"/>
              </a:ext>
            </a:extLst>
          </p:cNvPr>
          <p:cNvSpPr/>
          <p:nvPr/>
        </p:nvSpPr>
        <p:spPr bwMode="auto">
          <a:xfrm>
            <a:off x="5998248" y="1662281"/>
            <a:ext cx="3214438" cy="844260"/>
          </a:xfrm>
          <a:prstGeom prst="roundRect">
            <a:avLst/>
          </a:prstGeom>
          <a:noFill/>
          <a:ln w="63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nvGrpSpPr>
          <p:cNvPr id="121" name="Group 120">
            <a:extLst>
              <a:ext uri="{FF2B5EF4-FFF2-40B4-BE49-F238E27FC236}">
                <a16:creationId xmlns:a16="http://schemas.microsoft.com/office/drawing/2014/main" id="{5D9E3F43-25F9-4665-BA82-121E59EBE044}"/>
              </a:ext>
            </a:extLst>
          </p:cNvPr>
          <p:cNvGrpSpPr/>
          <p:nvPr/>
        </p:nvGrpSpPr>
        <p:grpSpPr>
          <a:xfrm>
            <a:off x="5313894" y="1725804"/>
            <a:ext cx="585276" cy="669163"/>
            <a:chOff x="5422701" y="2197171"/>
            <a:chExt cx="585276" cy="669163"/>
          </a:xfrm>
        </p:grpSpPr>
        <p:pic>
          <p:nvPicPr>
            <p:cNvPr id="122" name="Graphic 121" descr="Bank">
              <a:extLst>
                <a:ext uri="{FF2B5EF4-FFF2-40B4-BE49-F238E27FC236}">
                  <a16:creationId xmlns:a16="http://schemas.microsoft.com/office/drawing/2014/main" id="{272B92FB-6C69-4703-8EBE-A026B480C3C7}"/>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502052" y="2197171"/>
              <a:ext cx="426575" cy="426575"/>
            </a:xfrm>
            <a:prstGeom prst="rect">
              <a:avLst/>
            </a:prstGeom>
          </p:spPr>
        </p:pic>
        <p:sp>
          <p:nvSpPr>
            <p:cNvPr id="123" name="TextBox 122">
              <a:extLst>
                <a:ext uri="{FF2B5EF4-FFF2-40B4-BE49-F238E27FC236}">
                  <a16:creationId xmlns:a16="http://schemas.microsoft.com/office/drawing/2014/main" id="{E30421BD-18E5-48A2-8804-500344325E2E}"/>
                </a:ext>
              </a:extLst>
            </p:cNvPr>
            <p:cNvSpPr txBox="1"/>
            <p:nvPr/>
          </p:nvSpPr>
          <p:spPr>
            <a:xfrm>
              <a:off x="5422701" y="2589335"/>
              <a:ext cx="585276" cy="276999"/>
            </a:xfrm>
            <a:prstGeom prst="rect">
              <a:avLst/>
            </a:prstGeom>
            <a:noFill/>
          </p:spPr>
          <p:txBody>
            <a:bodyPr wrap="square" lIns="0" tIns="0" rIns="0" bIns="0" rtlCol="0">
              <a:spAutoFit/>
            </a:bodyPr>
            <a:lstStyle/>
            <a:p>
              <a:pPr algn="ctr"/>
              <a:r>
                <a:rPr lang="en-GB" sz="900">
                  <a:latin typeface="+mj-lt"/>
                </a:rPr>
                <a:t>Financials institutions</a:t>
              </a:r>
            </a:p>
          </p:txBody>
        </p:sp>
      </p:grpSp>
      <p:pic>
        <p:nvPicPr>
          <p:cNvPr id="153603" name="Picture 3" descr="DLL completes upgrade to AMT LION 6.NET - Asysco">
            <a:extLst>
              <a:ext uri="{FF2B5EF4-FFF2-40B4-BE49-F238E27FC236}">
                <a16:creationId xmlns:a16="http://schemas.microsoft.com/office/drawing/2014/main" id="{7E132DAD-CC27-418E-A18B-EF08FE906F02}"/>
              </a:ext>
            </a:extLst>
          </p:cNvPr>
          <p:cNvPicPr>
            <a:picLocks noChangeAspect="1" noChangeArrowheads="1"/>
          </p:cNvPicPr>
          <p:nvPr/>
        </p:nvPicPr>
        <p:blipFill>
          <a:blip r:embed="rId2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746386" y="2234210"/>
            <a:ext cx="322755" cy="194999"/>
          </a:xfrm>
          <a:prstGeom prst="rect">
            <a:avLst/>
          </a:prstGeom>
          <a:noFill/>
          <a:extLst>
            <a:ext uri="{909E8E84-426E-40DD-AFC4-6F175D3DCCD1}">
              <a14:hiddenFill xmlns:a14="http://schemas.microsoft.com/office/drawing/2010/main">
                <a:solidFill>
                  <a:srgbClr val="FFFFFF"/>
                </a:solidFill>
              </a14:hiddenFill>
            </a:ext>
          </a:extLst>
        </p:spPr>
      </p:pic>
      <p:pic>
        <p:nvPicPr>
          <p:cNvPr id="153607" name="Picture 7" descr="Aegon | Land Portal | Sécurisation des droits fonciers à travers les  données ouvertes">
            <a:extLst>
              <a:ext uri="{FF2B5EF4-FFF2-40B4-BE49-F238E27FC236}">
                <a16:creationId xmlns:a16="http://schemas.microsoft.com/office/drawing/2014/main" id="{410CDC0F-E6C5-4DE3-BE4E-F44F8F4075B2}"/>
              </a:ext>
            </a:extLst>
          </p:cNvPr>
          <p:cNvPicPr>
            <a:picLocks noChangeAspect="1" noChangeArrowheads="1"/>
          </p:cNvPicPr>
          <p:nvPr/>
        </p:nvPicPr>
        <p:blipFill>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00919" y="2247926"/>
            <a:ext cx="466142" cy="167567"/>
          </a:xfrm>
          <a:prstGeom prst="rect">
            <a:avLst/>
          </a:prstGeom>
          <a:noFill/>
          <a:extLst>
            <a:ext uri="{909E8E84-426E-40DD-AFC4-6F175D3DCCD1}">
              <a14:hiddenFill xmlns:a14="http://schemas.microsoft.com/office/drawing/2010/main">
                <a:solidFill>
                  <a:srgbClr val="FFFFFF"/>
                </a:solidFill>
              </a14:hiddenFill>
            </a:ext>
          </a:extLst>
        </p:spPr>
      </p:pic>
      <p:pic>
        <p:nvPicPr>
          <p:cNvPr id="153609" name="Picture 9" descr="FRISS - Prix, tarif, abonnement et avis | GetApp France 2020">
            <a:extLst>
              <a:ext uri="{FF2B5EF4-FFF2-40B4-BE49-F238E27FC236}">
                <a16:creationId xmlns:a16="http://schemas.microsoft.com/office/drawing/2014/main" id="{9CA84DAA-09D9-4FD1-AC8E-9B64E562EA5F}"/>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8673414" y="1815021"/>
            <a:ext cx="385109" cy="391176"/>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LexisNexis | Nexis Solutions – France | LinkedIn">
            <a:extLst>
              <a:ext uri="{FF2B5EF4-FFF2-40B4-BE49-F238E27FC236}">
                <a16:creationId xmlns:a16="http://schemas.microsoft.com/office/drawing/2014/main" id="{9CBCE56D-6F33-45FC-93A4-5FE3E7C412C3}"/>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8508412" y="5052098"/>
            <a:ext cx="343773" cy="343773"/>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descr="Exact Software Belgium - Crunchbase Company Profile &amp; Funding">
            <a:extLst>
              <a:ext uri="{FF2B5EF4-FFF2-40B4-BE49-F238E27FC236}">
                <a16:creationId xmlns:a16="http://schemas.microsoft.com/office/drawing/2014/main" id="{D8AD5EE2-9457-4C2E-99F9-1228AC843ED0}"/>
              </a:ext>
            </a:extLst>
          </p:cNvPr>
          <p:cNvPicPr>
            <a:picLocks noChangeAspect="1" noChangeArrowheads="1"/>
          </p:cNvPicPr>
          <p:nvPr/>
        </p:nvPicPr>
        <p:blipFill rotWithShape="1">
          <a:blip r:embed="rId29">
            <a:clrChange>
              <a:clrFrom>
                <a:srgbClr val="FFFFFF"/>
              </a:clrFrom>
              <a:clrTo>
                <a:srgbClr val="FFFFFF">
                  <a:alpha val="0"/>
                </a:srgbClr>
              </a:clrTo>
            </a:clrChange>
            <a:extLst>
              <a:ext uri="{28A0092B-C50C-407E-A947-70E740481C1C}">
                <a14:useLocalDpi xmlns:a14="http://schemas.microsoft.com/office/drawing/2010/main" val="0"/>
              </a:ext>
            </a:extLst>
          </a:blip>
          <a:srcRect t="38826" b="31035"/>
          <a:stretch/>
        </p:blipFill>
        <p:spPr bwMode="auto">
          <a:xfrm>
            <a:off x="6239246" y="5152420"/>
            <a:ext cx="727728" cy="219329"/>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Rounded Corners 29">
            <a:extLst>
              <a:ext uri="{FF2B5EF4-FFF2-40B4-BE49-F238E27FC236}">
                <a16:creationId xmlns:a16="http://schemas.microsoft.com/office/drawing/2014/main" id="{AB98553C-E1F1-41C7-A531-119ED6D613A1}"/>
              </a:ext>
            </a:extLst>
          </p:cNvPr>
          <p:cNvSpPr/>
          <p:nvPr/>
        </p:nvSpPr>
        <p:spPr bwMode="auto">
          <a:xfrm>
            <a:off x="5983670" y="4940098"/>
            <a:ext cx="3214438" cy="567772"/>
          </a:xfrm>
          <a:prstGeom prst="roundRect">
            <a:avLst/>
          </a:prstGeom>
          <a:noFill/>
          <a:ln w="63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nvGrpSpPr>
          <p:cNvPr id="7" name="Group 6">
            <a:extLst>
              <a:ext uri="{FF2B5EF4-FFF2-40B4-BE49-F238E27FC236}">
                <a16:creationId xmlns:a16="http://schemas.microsoft.com/office/drawing/2014/main" id="{4DDA7C7F-696D-4472-A9EC-BC188A66112C}"/>
              </a:ext>
            </a:extLst>
          </p:cNvPr>
          <p:cNvGrpSpPr/>
          <p:nvPr/>
        </p:nvGrpSpPr>
        <p:grpSpPr>
          <a:xfrm>
            <a:off x="5353068" y="4961480"/>
            <a:ext cx="506928" cy="525008"/>
            <a:chOff x="10981292" y="6280089"/>
            <a:chExt cx="506928" cy="525008"/>
          </a:xfrm>
        </p:grpSpPr>
        <p:pic>
          <p:nvPicPr>
            <p:cNvPr id="111" name="Graphic 110" descr="Internet Of Things">
              <a:extLst>
                <a:ext uri="{FF2B5EF4-FFF2-40B4-BE49-F238E27FC236}">
                  <a16:creationId xmlns:a16="http://schemas.microsoft.com/office/drawing/2014/main" id="{A5FE774A-D666-4D96-8939-2F39A07390AF}"/>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1040859" y="6280089"/>
              <a:ext cx="387795" cy="387795"/>
            </a:xfrm>
            <a:prstGeom prst="rect">
              <a:avLst/>
            </a:prstGeom>
          </p:spPr>
        </p:pic>
        <p:sp>
          <p:nvSpPr>
            <p:cNvPr id="115" name="TextBox 114">
              <a:extLst>
                <a:ext uri="{FF2B5EF4-FFF2-40B4-BE49-F238E27FC236}">
                  <a16:creationId xmlns:a16="http://schemas.microsoft.com/office/drawing/2014/main" id="{EAD264D8-4D71-41AB-97FF-D6F9C78E0F17}"/>
                </a:ext>
              </a:extLst>
            </p:cNvPr>
            <p:cNvSpPr txBox="1"/>
            <p:nvPr/>
          </p:nvSpPr>
          <p:spPr>
            <a:xfrm>
              <a:off x="10981292" y="6666598"/>
              <a:ext cx="506928" cy="138499"/>
            </a:xfrm>
            <a:prstGeom prst="rect">
              <a:avLst/>
            </a:prstGeom>
            <a:noFill/>
          </p:spPr>
          <p:txBody>
            <a:bodyPr wrap="square" lIns="0" tIns="0" rIns="0" bIns="0" rtlCol="0">
              <a:spAutoFit/>
            </a:bodyPr>
            <a:lstStyle>
              <a:defPPr>
                <a:defRPr lang="en-US"/>
              </a:defPPr>
              <a:lvl1pPr algn="ctr">
                <a:defRPr sz="900">
                  <a:latin typeface="+mj-lt"/>
                </a:defRPr>
              </a:lvl1pPr>
            </a:lstStyle>
            <a:p>
              <a:r>
                <a:rPr lang="en-GB"/>
                <a:t>Software</a:t>
              </a:r>
            </a:p>
          </p:txBody>
        </p:sp>
      </p:grpSp>
      <p:pic>
        <p:nvPicPr>
          <p:cNvPr id="153611" name="Picture 11" descr="Mini PCs UNISYS CWD - Win3x.Org">
            <a:extLst>
              <a:ext uri="{FF2B5EF4-FFF2-40B4-BE49-F238E27FC236}">
                <a16:creationId xmlns:a16="http://schemas.microsoft.com/office/drawing/2014/main" id="{AAA70BD8-870F-4800-B3A0-9E73811767AD}"/>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7400993" y="5128630"/>
            <a:ext cx="673401" cy="190709"/>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Home | Signify Company Website">
            <a:extLst>
              <a:ext uri="{FF2B5EF4-FFF2-40B4-BE49-F238E27FC236}">
                <a16:creationId xmlns:a16="http://schemas.microsoft.com/office/drawing/2014/main" id="{18C7E9C5-075E-4C78-81CA-8E6D6ED1B919}"/>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7267420" y="2711154"/>
            <a:ext cx="663207" cy="18001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 descr="AkzoNobel | LinkedIn">
            <a:extLst>
              <a:ext uri="{FF2B5EF4-FFF2-40B4-BE49-F238E27FC236}">
                <a16:creationId xmlns:a16="http://schemas.microsoft.com/office/drawing/2014/main" id="{4DB24679-6209-4DA2-99BF-BC4948BE64CE}"/>
              </a:ext>
            </a:extLst>
          </p:cNvPr>
          <p:cNvPicPr>
            <a:picLocks noChangeAspect="1" noChangeArrowheads="1"/>
          </p:cNvPicPr>
          <p:nvPr/>
        </p:nvPicPr>
        <p:blipFill rotWithShape="1">
          <a:blip r:embed="rId34">
            <a:clrChange>
              <a:clrFrom>
                <a:srgbClr val="FFFFFF"/>
              </a:clrFrom>
              <a:clrTo>
                <a:srgbClr val="FFFFFF">
                  <a:alpha val="0"/>
                </a:srgbClr>
              </a:clrTo>
            </a:clrChange>
            <a:extLst>
              <a:ext uri="{28A0092B-C50C-407E-A947-70E740481C1C}">
                <a14:useLocalDpi xmlns:a14="http://schemas.microsoft.com/office/drawing/2010/main" val="0"/>
              </a:ext>
            </a:extLst>
          </a:blip>
          <a:srcRect t="16886" b="20284"/>
          <a:stretch/>
        </p:blipFill>
        <p:spPr bwMode="auto">
          <a:xfrm>
            <a:off x="6841315" y="2935314"/>
            <a:ext cx="391932" cy="246255"/>
          </a:xfrm>
          <a:prstGeom prst="rect">
            <a:avLst/>
          </a:prstGeom>
          <a:noFill/>
          <a:extLst>
            <a:ext uri="{909E8E84-426E-40DD-AFC4-6F175D3DCCD1}">
              <a14:hiddenFill xmlns:a14="http://schemas.microsoft.com/office/drawing/2010/main">
                <a:solidFill>
                  <a:srgbClr val="FFFFFF"/>
                </a:solidFill>
              </a14:hiddenFill>
            </a:ext>
          </a:extLst>
        </p:spPr>
      </p:pic>
      <p:pic>
        <p:nvPicPr>
          <p:cNvPr id="7170" name="Picture 2" descr="Informatique">
            <a:extLst>
              <a:ext uri="{FF2B5EF4-FFF2-40B4-BE49-F238E27FC236}">
                <a16:creationId xmlns:a16="http://schemas.microsoft.com/office/drawing/2014/main" id="{2E1191A2-7780-4236-BA6C-A8D73F905DC4}"/>
              </a:ext>
            </a:extLst>
          </p:cNvPr>
          <p:cNvPicPr>
            <a:picLocks noChangeAspect="1" noChangeArrowheads="1"/>
          </p:cNvPicPr>
          <p:nvPr/>
        </p:nvPicPr>
        <p:blipFill rotWithShape="1">
          <a:blip r:embed="rId35">
            <a:clrChange>
              <a:clrFrom>
                <a:srgbClr val="FFFFFF"/>
              </a:clrFrom>
              <a:clrTo>
                <a:srgbClr val="FFFFFF">
                  <a:alpha val="0"/>
                </a:srgbClr>
              </a:clrTo>
            </a:clrChange>
            <a:extLst>
              <a:ext uri="{28A0092B-C50C-407E-A947-70E740481C1C}">
                <a14:useLocalDpi xmlns:a14="http://schemas.microsoft.com/office/drawing/2010/main" val="0"/>
              </a:ext>
            </a:extLst>
          </a:blip>
          <a:srcRect t="25311" b="23396"/>
          <a:stretch/>
        </p:blipFill>
        <p:spPr bwMode="auto">
          <a:xfrm>
            <a:off x="8317169" y="2738379"/>
            <a:ext cx="631211" cy="125562"/>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descr="randstad-logo - ARML-IdF">
            <a:extLst>
              <a:ext uri="{FF2B5EF4-FFF2-40B4-BE49-F238E27FC236}">
                <a16:creationId xmlns:a16="http://schemas.microsoft.com/office/drawing/2014/main" id="{896B230D-BF84-481E-BADC-4FC12B19A953}"/>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6149006" y="3250627"/>
            <a:ext cx="976416" cy="155425"/>
          </a:xfrm>
          <a:prstGeom prst="rect">
            <a:avLst/>
          </a:prstGeom>
          <a:noFill/>
          <a:extLst>
            <a:ext uri="{909E8E84-426E-40DD-AFC4-6F175D3DCCD1}">
              <a14:hiddenFill xmlns:a14="http://schemas.microsoft.com/office/drawing/2010/main">
                <a:solidFill>
                  <a:srgbClr val="FFFFFF"/>
                </a:solidFill>
              </a14:hiddenFill>
            </a:ext>
          </a:extLst>
        </p:spPr>
      </p:pic>
      <p:pic>
        <p:nvPicPr>
          <p:cNvPr id="11266" name="Picture 2" descr="Solvay (entreprise) — Wikipédia">
            <a:extLst>
              <a:ext uri="{FF2B5EF4-FFF2-40B4-BE49-F238E27FC236}">
                <a16:creationId xmlns:a16="http://schemas.microsoft.com/office/drawing/2014/main" id="{0E1416EE-6FE9-40CA-B03C-795EDF1B3487}"/>
              </a:ext>
            </a:extLst>
          </p:cNvPr>
          <p:cNvPicPr>
            <a:picLocks noChangeAspect="1" noChangeArrowheads="1"/>
          </p:cNvPicPr>
          <p:nvPr/>
        </p:nvPicPr>
        <p:blipFill rotWithShape="1">
          <a:blip r:embed="rId37">
            <a:extLst>
              <a:ext uri="{28A0092B-C50C-407E-A947-70E740481C1C}">
                <a14:useLocalDpi xmlns:a14="http://schemas.microsoft.com/office/drawing/2010/main" val="0"/>
              </a:ext>
            </a:extLst>
          </a:blip>
          <a:srcRect l="3799" t="15580" r="6992" b="13831"/>
          <a:stretch/>
        </p:blipFill>
        <p:spPr bwMode="auto">
          <a:xfrm>
            <a:off x="6249667" y="2686107"/>
            <a:ext cx="631211" cy="230107"/>
          </a:xfrm>
          <a:prstGeom prst="rect">
            <a:avLst/>
          </a:prstGeom>
          <a:noFill/>
          <a:extLst>
            <a:ext uri="{909E8E84-426E-40DD-AFC4-6F175D3DCCD1}">
              <a14:hiddenFill xmlns:a14="http://schemas.microsoft.com/office/drawing/2010/main">
                <a:solidFill>
                  <a:srgbClr val="FFFFFF"/>
                </a:solidFill>
              </a14:hiddenFill>
            </a:ext>
          </a:extLst>
        </p:spPr>
      </p:pic>
      <p:sp>
        <p:nvSpPr>
          <p:cNvPr id="74" name="Rectangle: Rounded Corners 73">
            <a:extLst>
              <a:ext uri="{FF2B5EF4-FFF2-40B4-BE49-F238E27FC236}">
                <a16:creationId xmlns:a16="http://schemas.microsoft.com/office/drawing/2014/main" id="{7D9B6838-17EF-4B72-94EF-4E412F402F76}"/>
              </a:ext>
            </a:extLst>
          </p:cNvPr>
          <p:cNvSpPr/>
          <p:nvPr/>
        </p:nvSpPr>
        <p:spPr bwMode="auto">
          <a:xfrm>
            <a:off x="5998248" y="2600561"/>
            <a:ext cx="3214438" cy="921933"/>
          </a:xfrm>
          <a:prstGeom prst="roundRect">
            <a:avLst/>
          </a:prstGeom>
          <a:noFill/>
          <a:ln w="63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nvGrpSpPr>
          <p:cNvPr id="95" name="Group 94">
            <a:extLst>
              <a:ext uri="{FF2B5EF4-FFF2-40B4-BE49-F238E27FC236}">
                <a16:creationId xmlns:a16="http://schemas.microsoft.com/office/drawing/2014/main" id="{97F03772-CDC4-4133-987F-787236083B6E}"/>
              </a:ext>
            </a:extLst>
          </p:cNvPr>
          <p:cNvGrpSpPr/>
          <p:nvPr/>
        </p:nvGrpSpPr>
        <p:grpSpPr>
          <a:xfrm>
            <a:off x="5353068" y="2798239"/>
            <a:ext cx="506928" cy="526577"/>
            <a:chOff x="10233639" y="3157971"/>
            <a:chExt cx="506928" cy="526577"/>
          </a:xfrm>
        </p:grpSpPr>
        <p:sp>
          <p:nvSpPr>
            <p:cNvPr id="96" name="TextBox 95">
              <a:extLst>
                <a:ext uri="{FF2B5EF4-FFF2-40B4-BE49-F238E27FC236}">
                  <a16:creationId xmlns:a16="http://schemas.microsoft.com/office/drawing/2014/main" id="{F78E6706-3979-4AE8-9A47-CF19EAB39CEB}"/>
                </a:ext>
              </a:extLst>
            </p:cNvPr>
            <p:cNvSpPr txBox="1"/>
            <p:nvPr/>
          </p:nvSpPr>
          <p:spPr>
            <a:xfrm>
              <a:off x="10233639" y="3546049"/>
              <a:ext cx="506928" cy="138499"/>
            </a:xfrm>
            <a:prstGeom prst="rect">
              <a:avLst/>
            </a:prstGeom>
            <a:noFill/>
          </p:spPr>
          <p:txBody>
            <a:bodyPr wrap="square" lIns="0" tIns="0" rIns="0" bIns="0" rtlCol="0">
              <a:spAutoFit/>
            </a:bodyPr>
            <a:lstStyle>
              <a:defPPr>
                <a:defRPr lang="en-US"/>
              </a:defPPr>
              <a:lvl1pPr algn="ctr">
                <a:defRPr sz="900">
                  <a:latin typeface="+mj-lt"/>
                </a:defRPr>
              </a:lvl1pPr>
            </a:lstStyle>
            <a:p>
              <a:r>
                <a:rPr lang="en-GB"/>
                <a:t>Industry</a:t>
              </a:r>
            </a:p>
          </p:txBody>
        </p:sp>
        <p:pic>
          <p:nvPicPr>
            <p:cNvPr id="97" name="Graphic 96" descr="Factory">
              <a:extLst>
                <a:ext uri="{FF2B5EF4-FFF2-40B4-BE49-F238E27FC236}">
                  <a16:creationId xmlns:a16="http://schemas.microsoft.com/office/drawing/2014/main" id="{CD89C9EF-FB55-4D05-9FEE-647285C4BE6A}"/>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10273816" y="3157971"/>
              <a:ext cx="426575" cy="426575"/>
            </a:xfrm>
            <a:prstGeom prst="rect">
              <a:avLst/>
            </a:prstGeom>
          </p:spPr>
        </p:pic>
      </p:grpSp>
      <p:pic>
        <p:nvPicPr>
          <p:cNvPr id="153613" name="Picture 13" descr="BMW Group Belux | Marketers">
            <a:extLst>
              <a:ext uri="{FF2B5EF4-FFF2-40B4-BE49-F238E27FC236}">
                <a16:creationId xmlns:a16="http://schemas.microsoft.com/office/drawing/2014/main" id="{7B62E81D-8A14-4027-8DB9-D8F60A58FAE8}"/>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7909639" y="2889879"/>
            <a:ext cx="367974" cy="233714"/>
          </a:xfrm>
          <a:prstGeom prst="rect">
            <a:avLst/>
          </a:prstGeom>
          <a:noFill/>
          <a:extLst>
            <a:ext uri="{909E8E84-426E-40DD-AFC4-6F175D3DCCD1}">
              <a14:hiddenFill xmlns:a14="http://schemas.microsoft.com/office/drawing/2010/main">
                <a:solidFill>
                  <a:srgbClr val="FFFFFF"/>
                </a:solidFill>
              </a14:hiddenFill>
            </a:ext>
          </a:extLst>
        </p:spPr>
      </p:pic>
      <p:pic>
        <p:nvPicPr>
          <p:cNvPr id="153615" name="Picture 15" descr="Inspiring Ways of Living l Etex">
            <a:extLst>
              <a:ext uri="{FF2B5EF4-FFF2-40B4-BE49-F238E27FC236}">
                <a16:creationId xmlns:a16="http://schemas.microsoft.com/office/drawing/2014/main" id="{10975ABD-A763-4DAE-B233-3869CB2A4304}"/>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7583005" y="3210370"/>
            <a:ext cx="483500" cy="235939"/>
          </a:xfrm>
          <a:prstGeom prst="rect">
            <a:avLst/>
          </a:prstGeom>
          <a:noFill/>
          <a:extLst>
            <a:ext uri="{909E8E84-426E-40DD-AFC4-6F175D3DCCD1}">
              <a14:hiddenFill xmlns:a14="http://schemas.microsoft.com/office/drawing/2010/main">
                <a:solidFill>
                  <a:srgbClr val="FFFFFF"/>
                </a:solidFill>
              </a14:hiddenFill>
            </a:ext>
          </a:extLst>
        </p:spPr>
      </p:pic>
      <p:pic>
        <p:nvPicPr>
          <p:cNvPr id="153617" name="Picture 17" descr="Black &amp; Decker — Wikipédia">
            <a:extLst>
              <a:ext uri="{FF2B5EF4-FFF2-40B4-BE49-F238E27FC236}">
                <a16:creationId xmlns:a16="http://schemas.microsoft.com/office/drawing/2014/main" id="{6487F3D6-2EC6-4B6E-9A60-87ED98DFDE08}"/>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8524088" y="3219071"/>
            <a:ext cx="424292" cy="21853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Graydon: weet u de kredietwaardigheid van uw klant? Check het nu!">
            <a:extLst>
              <a:ext uri="{FF2B5EF4-FFF2-40B4-BE49-F238E27FC236}">
                <a16:creationId xmlns:a16="http://schemas.microsoft.com/office/drawing/2014/main" id="{5BECBEF8-C952-45E2-9622-26D6A6ADE360}"/>
              </a:ext>
            </a:extLst>
          </p:cNvPr>
          <p:cNvPicPr>
            <a:picLocks noChangeAspect="1" noChangeArrowheads="1"/>
          </p:cNvPicPr>
          <p:nvPr/>
        </p:nvPicPr>
        <p:blipFill>
          <a:blip r:embed="rId4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67362" y="3826540"/>
            <a:ext cx="521662" cy="147720"/>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a:extLst>
              <a:ext uri="{FF2B5EF4-FFF2-40B4-BE49-F238E27FC236}">
                <a16:creationId xmlns:a16="http://schemas.microsoft.com/office/drawing/2014/main" id="{A30FCB1E-B382-4AE0-B5E3-9AAD9DC034DB}"/>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6097885" y="3784658"/>
            <a:ext cx="505586" cy="231484"/>
          </a:xfrm>
          <a:prstGeom prst="rect">
            <a:avLst/>
          </a:prstGeom>
          <a:noFill/>
          <a:extLst>
            <a:ext uri="{909E8E84-426E-40DD-AFC4-6F175D3DCCD1}">
              <a14:hiddenFill xmlns:a14="http://schemas.microsoft.com/office/drawing/2010/main">
                <a:solidFill>
                  <a:srgbClr val="FFFFFF"/>
                </a:solidFill>
              </a14:hiddenFill>
            </a:ext>
          </a:extLst>
        </p:spPr>
      </p:pic>
      <p:pic>
        <p:nvPicPr>
          <p:cNvPr id="9218" name="Picture 2" descr="Company.info | Marktleider bedrijfsinformatie en bedrijfsnieuws">
            <a:extLst>
              <a:ext uri="{FF2B5EF4-FFF2-40B4-BE49-F238E27FC236}">
                <a16:creationId xmlns:a16="http://schemas.microsoft.com/office/drawing/2014/main" id="{1C5CA9BC-BC11-4274-8C3C-0C535FEA4DCB}"/>
              </a:ext>
            </a:extLst>
          </p:cNvPr>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6796687" y="3801393"/>
            <a:ext cx="887651" cy="198014"/>
          </a:xfrm>
          <a:prstGeom prst="rect">
            <a:avLst/>
          </a:prstGeom>
          <a:noFill/>
          <a:extLst>
            <a:ext uri="{909E8E84-426E-40DD-AFC4-6F175D3DCCD1}">
              <a14:hiddenFill xmlns:a14="http://schemas.microsoft.com/office/drawing/2010/main">
                <a:solidFill>
                  <a:srgbClr val="FFFFFF"/>
                </a:solidFill>
              </a14:hiddenFill>
            </a:ext>
          </a:extLst>
        </p:spPr>
      </p:pic>
      <p:sp>
        <p:nvSpPr>
          <p:cNvPr id="75" name="Rectangle: Rounded Corners 74">
            <a:extLst>
              <a:ext uri="{FF2B5EF4-FFF2-40B4-BE49-F238E27FC236}">
                <a16:creationId xmlns:a16="http://schemas.microsoft.com/office/drawing/2014/main" id="{3A034E55-A38F-45F5-A56F-619AA7220458}"/>
              </a:ext>
            </a:extLst>
          </p:cNvPr>
          <p:cNvSpPr/>
          <p:nvPr/>
        </p:nvSpPr>
        <p:spPr bwMode="auto">
          <a:xfrm>
            <a:off x="5998248" y="3616514"/>
            <a:ext cx="3214438" cy="567772"/>
          </a:xfrm>
          <a:prstGeom prst="roundRect">
            <a:avLst/>
          </a:prstGeom>
          <a:noFill/>
          <a:ln w="63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nvGrpSpPr>
          <p:cNvPr id="104" name="Group 103">
            <a:extLst>
              <a:ext uri="{FF2B5EF4-FFF2-40B4-BE49-F238E27FC236}">
                <a16:creationId xmlns:a16="http://schemas.microsoft.com/office/drawing/2014/main" id="{4BDF72B1-E6A8-4DAE-904A-C1DA8D76B0A7}"/>
              </a:ext>
            </a:extLst>
          </p:cNvPr>
          <p:cNvGrpSpPr/>
          <p:nvPr/>
        </p:nvGrpSpPr>
        <p:grpSpPr>
          <a:xfrm>
            <a:off x="5353068" y="3620873"/>
            <a:ext cx="506928" cy="559055"/>
            <a:chOff x="5520029" y="5352566"/>
            <a:chExt cx="506928" cy="559055"/>
          </a:xfrm>
        </p:grpSpPr>
        <p:sp>
          <p:nvSpPr>
            <p:cNvPr id="105" name="Freeform: Shape 104">
              <a:extLst>
                <a:ext uri="{FF2B5EF4-FFF2-40B4-BE49-F238E27FC236}">
                  <a16:creationId xmlns:a16="http://schemas.microsoft.com/office/drawing/2014/main" id="{3DA28EF4-3016-4A36-86FB-EC52CA0626AC}"/>
                </a:ext>
              </a:extLst>
            </p:cNvPr>
            <p:cNvSpPr>
              <a:spLocks noChangeAspect="1"/>
            </p:cNvSpPr>
            <p:nvPr/>
          </p:nvSpPr>
          <p:spPr>
            <a:xfrm>
              <a:off x="5579596" y="5352566"/>
              <a:ext cx="387795" cy="387795"/>
            </a:xfrm>
            <a:custGeom>
              <a:avLst/>
              <a:gdLst>
                <a:gd name="connsiteX0" fmla="*/ 615685 w 857250"/>
                <a:gd name="connsiteY0" fmla="*/ 321997 h 857250"/>
                <a:gd name="connsiteX1" fmla="*/ 680568 w 857250"/>
                <a:gd name="connsiteY1" fmla="*/ 311821 h 857250"/>
                <a:gd name="connsiteX2" fmla="*/ 686916 w 857250"/>
                <a:gd name="connsiteY2" fmla="*/ 305615 h 857250"/>
                <a:gd name="connsiteX3" fmla="*/ 686916 w 857250"/>
                <a:gd name="connsiteY3" fmla="*/ 218260 h 857250"/>
                <a:gd name="connsiteX4" fmla="*/ 680568 w 857250"/>
                <a:gd name="connsiteY4" fmla="*/ 212053 h 857250"/>
                <a:gd name="connsiteX5" fmla="*/ 615685 w 857250"/>
                <a:gd name="connsiteY5" fmla="*/ 201878 h 857250"/>
                <a:gd name="connsiteX6" fmla="*/ 599968 w 857250"/>
                <a:gd name="connsiteY6" fmla="*/ 180312 h 857250"/>
                <a:gd name="connsiteX7" fmla="*/ 603366 w 857250"/>
                <a:gd name="connsiteY7" fmla="*/ 172115 h 857250"/>
                <a:gd name="connsiteX8" fmla="*/ 642046 w 857250"/>
                <a:gd name="connsiteY8" fmla="*/ 119096 h 857250"/>
                <a:gd name="connsiteX9" fmla="*/ 642146 w 857250"/>
                <a:gd name="connsiteY9" fmla="*/ 110207 h 857250"/>
                <a:gd name="connsiteX10" fmla="*/ 580355 w 857250"/>
                <a:gd name="connsiteY10" fmla="*/ 48418 h 857250"/>
                <a:gd name="connsiteX11" fmla="*/ 571467 w 857250"/>
                <a:gd name="connsiteY11" fmla="*/ 48518 h 857250"/>
                <a:gd name="connsiteX12" fmla="*/ 518448 w 857250"/>
                <a:gd name="connsiteY12" fmla="*/ 87198 h 857250"/>
                <a:gd name="connsiteX13" fmla="*/ 492083 w 857250"/>
                <a:gd name="connsiteY13" fmla="*/ 83075 h 857250"/>
                <a:gd name="connsiteX14" fmla="*/ 488686 w 857250"/>
                <a:gd name="connsiteY14" fmla="*/ 74878 h 857250"/>
                <a:gd name="connsiteX15" fmla="*/ 478510 w 857250"/>
                <a:gd name="connsiteY15" fmla="*/ 9995 h 857250"/>
                <a:gd name="connsiteX16" fmla="*/ 472303 w 857250"/>
                <a:gd name="connsiteY16" fmla="*/ 3647 h 857250"/>
                <a:gd name="connsiteX17" fmla="*/ 384948 w 857250"/>
                <a:gd name="connsiteY17" fmla="*/ 3647 h 857250"/>
                <a:gd name="connsiteX18" fmla="*/ 378741 w 857250"/>
                <a:gd name="connsiteY18" fmla="*/ 9995 h 857250"/>
                <a:gd name="connsiteX19" fmla="*/ 368566 w 857250"/>
                <a:gd name="connsiteY19" fmla="*/ 74878 h 857250"/>
                <a:gd name="connsiteX20" fmla="*/ 347000 w 857250"/>
                <a:gd name="connsiteY20" fmla="*/ 90595 h 857250"/>
                <a:gd name="connsiteX21" fmla="*/ 338803 w 857250"/>
                <a:gd name="connsiteY21" fmla="*/ 87198 h 857250"/>
                <a:gd name="connsiteX22" fmla="*/ 285784 w 857250"/>
                <a:gd name="connsiteY22" fmla="*/ 48518 h 857250"/>
                <a:gd name="connsiteX23" fmla="*/ 276896 w 857250"/>
                <a:gd name="connsiteY23" fmla="*/ 48418 h 857250"/>
                <a:gd name="connsiteX24" fmla="*/ 215106 w 857250"/>
                <a:gd name="connsiteY24" fmla="*/ 110207 h 857250"/>
                <a:gd name="connsiteX25" fmla="*/ 215206 w 857250"/>
                <a:gd name="connsiteY25" fmla="*/ 119096 h 857250"/>
                <a:gd name="connsiteX26" fmla="*/ 253886 w 857250"/>
                <a:gd name="connsiteY26" fmla="*/ 172115 h 857250"/>
                <a:gd name="connsiteX27" fmla="*/ 249763 w 857250"/>
                <a:gd name="connsiteY27" fmla="*/ 198479 h 857250"/>
                <a:gd name="connsiteX28" fmla="*/ 241566 w 857250"/>
                <a:gd name="connsiteY28" fmla="*/ 201878 h 857250"/>
                <a:gd name="connsiteX29" fmla="*/ 176683 w 857250"/>
                <a:gd name="connsiteY29" fmla="*/ 212053 h 857250"/>
                <a:gd name="connsiteX30" fmla="*/ 170335 w 857250"/>
                <a:gd name="connsiteY30" fmla="*/ 218260 h 857250"/>
                <a:gd name="connsiteX31" fmla="*/ 170335 w 857250"/>
                <a:gd name="connsiteY31" fmla="*/ 305615 h 857250"/>
                <a:gd name="connsiteX32" fmla="*/ 176683 w 857250"/>
                <a:gd name="connsiteY32" fmla="*/ 311822 h 857250"/>
                <a:gd name="connsiteX33" fmla="*/ 241566 w 857250"/>
                <a:gd name="connsiteY33" fmla="*/ 321997 h 857250"/>
                <a:gd name="connsiteX34" fmla="*/ 257283 w 857250"/>
                <a:gd name="connsiteY34" fmla="*/ 343562 h 857250"/>
                <a:gd name="connsiteX35" fmla="*/ 253886 w 857250"/>
                <a:gd name="connsiteY35" fmla="*/ 351760 h 857250"/>
                <a:gd name="connsiteX36" fmla="*/ 215206 w 857250"/>
                <a:gd name="connsiteY36" fmla="*/ 404779 h 857250"/>
                <a:gd name="connsiteX37" fmla="*/ 215106 w 857250"/>
                <a:gd name="connsiteY37" fmla="*/ 413668 h 857250"/>
                <a:gd name="connsiteX38" fmla="*/ 276896 w 857250"/>
                <a:gd name="connsiteY38" fmla="*/ 475458 h 857250"/>
                <a:gd name="connsiteX39" fmla="*/ 285784 w 857250"/>
                <a:gd name="connsiteY39" fmla="*/ 475358 h 857250"/>
                <a:gd name="connsiteX40" fmla="*/ 338804 w 857250"/>
                <a:gd name="connsiteY40" fmla="*/ 436677 h 857250"/>
                <a:gd name="connsiteX41" fmla="*/ 365168 w 857250"/>
                <a:gd name="connsiteY41" fmla="*/ 440800 h 857250"/>
                <a:gd name="connsiteX42" fmla="*/ 368566 w 857250"/>
                <a:gd name="connsiteY42" fmla="*/ 448997 h 857250"/>
                <a:gd name="connsiteX43" fmla="*/ 378742 w 857250"/>
                <a:gd name="connsiteY43" fmla="*/ 513880 h 857250"/>
                <a:gd name="connsiteX44" fmla="*/ 384948 w 857250"/>
                <a:gd name="connsiteY44" fmla="*/ 520228 h 857250"/>
                <a:gd name="connsiteX45" fmla="*/ 472303 w 857250"/>
                <a:gd name="connsiteY45" fmla="*/ 520228 h 857250"/>
                <a:gd name="connsiteX46" fmla="*/ 478510 w 857250"/>
                <a:gd name="connsiteY46" fmla="*/ 513880 h 857250"/>
                <a:gd name="connsiteX47" fmla="*/ 488686 w 857250"/>
                <a:gd name="connsiteY47" fmla="*/ 448997 h 857250"/>
                <a:gd name="connsiteX48" fmla="*/ 510251 w 857250"/>
                <a:gd name="connsiteY48" fmla="*/ 433280 h 857250"/>
                <a:gd name="connsiteX49" fmla="*/ 518448 w 857250"/>
                <a:gd name="connsiteY49" fmla="*/ 436677 h 857250"/>
                <a:gd name="connsiteX50" fmla="*/ 571467 w 857250"/>
                <a:gd name="connsiteY50" fmla="*/ 475358 h 857250"/>
                <a:gd name="connsiteX51" fmla="*/ 580355 w 857250"/>
                <a:gd name="connsiteY51" fmla="*/ 475458 h 857250"/>
                <a:gd name="connsiteX52" fmla="*/ 642146 w 857250"/>
                <a:gd name="connsiteY52" fmla="*/ 413668 h 857250"/>
                <a:gd name="connsiteX53" fmla="*/ 642047 w 857250"/>
                <a:gd name="connsiteY53" fmla="*/ 404779 h 857250"/>
                <a:gd name="connsiteX54" fmla="*/ 603366 w 857250"/>
                <a:gd name="connsiteY54" fmla="*/ 351760 h 857250"/>
                <a:gd name="connsiteX55" fmla="*/ 607488 w 857250"/>
                <a:gd name="connsiteY55" fmla="*/ 325396 h 857250"/>
                <a:gd name="connsiteX56" fmla="*/ 615685 w 857250"/>
                <a:gd name="connsiteY56" fmla="*/ 321997 h 857250"/>
                <a:gd name="connsiteX57" fmla="*/ 428626 w 857250"/>
                <a:gd name="connsiteY57" fmla="*/ 363803 h 857250"/>
                <a:gd name="connsiteX58" fmla="*/ 326760 w 857250"/>
                <a:gd name="connsiteY58" fmla="*/ 261938 h 857250"/>
                <a:gd name="connsiteX59" fmla="*/ 428626 w 857250"/>
                <a:gd name="connsiteY59" fmla="*/ 160072 h 857250"/>
                <a:gd name="connsiteX60" fmla="*/ 530491 w 857250"/>
                <a:gd name="connsiteY60" fmla="*/ 261938 h 857250"/>
                <a:gd name="connsiteX61" fmla="*/ 428626 w 857250"/>
                <a:gd name="connsiteY61" fmla="*/ 363803 h 857250"/>
                <a:gd name="connsiteX62" fmla="*/ 856485 w 857250"/>
                <a:gd name="connsiteY62" fmla="*/ 626470 h 857250"/>
                <a:gd name="connsiteX63" fmla="*/ 826328 w 857250"/>
                <a:gd name="connsiteY63" fmla="*/ 649342 h 857250"/>
                <a:gd name="connsiteX64" fmla="*/ 750720 w 857250"/>
                <a:gd name="connsiteY64" fmla="*/ 713710 h 857250"/>
                <a:gd name="connsiteX65" fmla="*/ 648584 w 857250"/>
                <a:gd name="connsiteY65" fmla="*/ 782076 h 857250"/>
                <a:gd name="connsiteX66" fmla="*/ 432152 w 857250"/>
                <a:gd name="connsiteY66" fmla="*/ 850992 h 857250"/>
                <a:gd name="connsiteX67" fmla="*/ 173979 w 857250"/>
                <a:gd name="connsiteY67" fmla="*/ 825503 h 857250"/>
                <a:gd name="connsiteX68" fmla="*/ 97482 w 857250"/>
                <a:gd name="connsiteY68" fmla="*/ 824982 h 857250"/>
                <a:gd name="connsiteX69" fmla="*/ 97482 w 857250"/>
                <a:gd name="connsiteY69" fmla="*/ 630185 h 857250"/>
                <a:gd name="connsiteX70" fmla="*/ 97362 w 857250"/>
                <a:gd name="connsiteY70" fmla="*/ 628923 h 857250"/>
                <a:gd name="connsiteX71" fmla="*/ 177649 w 857250"/>
                <a:gd name="connsiteY71" fmla="*/ 591451 h 857250"/>
                <a:gd name="connsiteX72" fmla="*/ 312437 w 857250"/>
                <a:gd name="connsiteY72" fmla="*/ 591982 h 857250"/>
                <a:gd name="connsiteX73" fmla="*/ 421700 w 857250"/>
                <a:gd name="connsiteY73" fmla="*/ 592623 h 857250"/>
                <a:gd name="connsiteX74" fmla="*/ 510408 w 857250"/>
                <a:gd name="connsiteY74" fmla="*/ 577403 h 857250"/>
                <a:gd name="connsiteX75" fmla="*/ 571611 w 857250"/>
                <a:gd name="connsiteY75" fmla="*/ 588868 h 857250"/>
                <a:gd name="connsiteX76" fmla="*/ 558618 w 857250"/>
                <a:gd name="connsiteY76" fmla="*/ 630503 h 857250"/>
                <a:gd name="connsiteX77" fmla="*/ 484905 w 857250"/>
                <a:gd name="connsiteY77" fmla="*/ 670391 h 857250"/>
                <a:gd name="connsiteX78" fmla="*/ 366296 w 857250"/>
                <a:gd name="connsiteY78" fmla="*/ 695149 h 857250"/>
                <a:gd name="connsiteX79" fmla="*/ 442892 w 857250"/>
                <a:gd name="connsiteY79" fmla="*/ 714263 h 857250"/>
                <a:gd name="connsiteX80" fmla="*/ 604285 w 857250"/>
                <a:gd name="connsiteY80" fmla="*/ 705834 h 857250"/>
                <a:gd name="connsiteX81" fmla="*/ 782388 w 857250"/>
                <a:gd name="connsiteY81" fmla="*/ 605555 h 857250"/>
                <a:gd name="connsiteX82" fmla="*/ 842383 w 857250"/>
                <a:gd name="connsiteY82" fmla="*/ 600700 h 857250"/>
                <a:gd name="connsiteX83" fmla="*/ 856485 w 857250"/>
                <a:gd name="connsiteY83" fmla="*/ 626470 h 857250"/>
                <a:gd name="connsiteX84" fmla="*/ 48521 w 857250"/>
                <a:gd name="connsiteY84" fmla="*/ 857250 h 857250"/>
                <a:gd name="connsiteX85" fmla="*/ 10787 w 857250"/>
                <a:gd name="connsiteY85" fmla="*/ 857250 h 857250"/>
                <a:gd name="connsiteX86" fmla="*/ 0 w 857250"/>
                <a:gd name="connsiteY86" fmla="*/ 846464 h 857250"/>
                <a:gd name="connsiteX87" fmla="*/ 0 w 857250"/>
                <a:gd name="connsiteY87" fmla="*/ 622455 h 857250"/>
                <a:gd name="connsiteX88" fmla="*/ 10787 w 857250"/>
                <a:gd name="connsiteY88" fmla="*/ 611669 h 857250"/>
                <a:gd name="connsiteX89" fmla="*/ 48521 w 857250"/>
                <a:gd name="connsiteY89" fmla="*/ 611669 h 857250"/>
                <a:gd name="connsiteX90" fmla="*/ 59307 w 857250"/>
                <a:gd name="connsiteY90" fmla="*/ 622455 h 857250"/>
                <a:gd name="connsiteX91" fmla="*/ 59308 w 857250"/>
                <a:gd name="connsiteY91" fmla="*/ 846464 h 857250"/>
                <a:gd name="connsiteX92" fmla="*/ 48521 w 857250"/>
                <a:gd name="connsiteY92" fmla="*/ 85725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857250" h="857250">
                  <a:moveTo>
                    <a:pt x="615685" y="321997"/>
                  </a:moveTo>
                  <a:lnTo>
                    <a:pt x="680568" y="311821"/>
                  </a:lnTo>
                  <a:cubicBezTo>
                    <a:pt x="683797" y="311328"/>
                    <a:pt x="686351" y="308832"/>
                    <a:pt x="686916" y="305615"/>
                  </a:cubicBezTo>
                  <a:cubicBezTo>
                    <a:pt x="691779" y="276700"/>
                    <a:pt x="691779" y="247175"/>
                    <a:pt x="686916" y="218260"/>
                  </a:cubicBezTo>
                  <a:cubicBezTo>
                    <a:pt x="686351" y="215043"/>
                    <a:pt x="683797" y="212547"/>
                    <a:pt x="680568" y="212053"/>
                  </a:cubicBezTo>
                  <a:lnTo>
                    <a:pt x="615685" y="201878"/>
                  </a:lnTo>
                  <a:cubicBezTo>
                    <a:pt x="605390" y="200262"/>
                    <a:pt x="598354" y="190608"/>
                    <a:pt x="599968" y="180312"/>
                  </a:cubicBezTo>
                  <a:cubicBezTo>
                    <a:pt x="600433" y="177349"/>
                    <a:pt x="601598" y="174539"/>
                    <a:pt x="603366" y="172115"/>
                  </a:cubicBezTo>
                  <a:lnTo>
                    <a:pt x="642046" y="119096"/>
                  </a:lnTo>
                  <a:cubicBezTo>
                    <a:pt x="643978" y="116459"/>
                    <a:pt x="644018" y="112886"/>
                    <a:pt x="642146" y="110207"/>
                  </a:cubicBezTo>
                  <a:cubicBezTo>
                    <a:pt x="625153" y="86297"/>
                    <a:pt x="604266" y="65410"/>
                    <a:pt x="580355" y="48418"/>
                  </a:cubicBezTo>
                  <a:cubicBezTo>
                    <a:pt x="577677" y="46545"/>
                    <a:pt x="574103" y="46585"/>
                    <a:pt x="571467" y="48518"/>
                  </a:cubicBezTo>
                  <a:lnTo>
                    <a:pt x="518448" y="87198"/>
                  </a:lnTo>
                  <a:cubicBezTo>
                    <a:pt x="510029" y="93339"/>
                    <a:pt x="498226" y="91493"/>
                    <a:pt x="492083" y="83075"/>
                  </a:cubicBezTo>
                  <a:cubicBezTo>
                    <a:pt x="490315" y="80652"/>
                    <a:pt x="489151" y="77841"/>
                    <a:pt x="488686" y="74878"/>
                  </a:cubicBezTo>
                  <a:lnTo>
                    <a:pt x="478510" y="9995"/>
                  </a:lnTo>
                  <a:cubicBezTo>
                    <a:pt x="478017" y="6766"/>
                    <a:pt x="475520" y="4212"/>
                    <a:pt x="472303" y="3647"/>
                  </a:cubicBezTo>
                  <a:cubicBezTo>
                    <a:pt x="443388" y="-1216"/>
                    <a:pt x="413864" y="-1216"/>
                    <a:pt x="384948" y="3647"/>
                  </a:cubicBezTo>
                  <a:cubicBezTo>
                    <a:pt x="381731" y="4212"/>
                    <a:pt x="379235" y="6766"/>
                    <a:pt x="378741" y="9995"/>
                  </a:cubicBezTo>
                  <a:lnTo>
                    <a:pt x="368566" y="74878"/>
                  </a:lnTo>
                  <a:cubicBezTo>
                    <a:pt x="366950" y="85174"/>
                    <a:pt x="357296" y="92210"/>
                    <a:pt x="347000" y="90595"/>
                  </a:cubicBezTo>
                  <a:cubicBezTo>
                    <a:pt x="344037" y="90130"/>
                    <a:pt x="341227" y="88965"/>
                    <a:pt x="338803" y="87198"/>
                  </a:cubicBezTo>
                  <a:lnTo>
                    <a:pt x="285784" y="48518"/>
                  </a:lnTo>
                  <a:cubicBezTo>
                    <a:pt x="283148" y="46585"/>
                    <a:pt x="279575" y="46545"/>
                    <a:pt x="276896" y="48418"/>
                  </a:cubicBezTo>
                  <a:cubicBezTo>
                    <a:pt x="252986" y="65410"/>
                    <a:pt x="232098" y="86297"/>
                    <a:pt x="215106" y="110207"/>
                  </a:cubicBezTo>
                  <a:cubicBezTo>
                    <a:pt x="213233" y="112886"/>
                    <a:pt x="213273" y="116459"/>
                    <a:pt x="215206" y="119096"/>
                  </a:cubicBezTo>
                  <a:lnTo>
                    <a:pt x="253886" y="172115"/>
                  </a:lnTo>
                  <a:cubicBezTo>
                    <a:pt x="260027" y="180534"/>
                    <a:pt x="258182" y="192337"/>
                    <a:pt x="249763" y="198479"/>
                  </a:cubicBezTo>
                  <a:cubicBezTo>
                    <a:pt x="247340" y="200248"/>
                    <a:pt x="244529" y="201413"/>
                    <a:pt x="241566" y="201878"/>
                  </a:cubicBezTo>
                  <a:lnTo>
                    <a:pt x="176683" y="212053"/>
                  </a:lnTo>
                  <a:cubicBezTo>
                    <a:pt x="173455" y="212547"/>
                    <a:pt x="170901" y="215043"/>
                    <a:pt x="170335" y="218260"/>
                  </a:cubicBezTo>
                  <a:cubicBezTo>
                    <a:pt x="165473" y="247175"/>
                    <a:pt x="165473" y="276700"/>
                    <a:pt x="170335" y="305615"/>
                  </a:cubicBezTo>
                  <a:cubicBezTo>
                    <a:pt x="170901" y="308832"/>
                    <a:pt x="173455" y="311328"/>
                    <a:pt x="176683" y="311822"/>
                  </a:cubicBezTo>
                  <a:lnTo>
                    <a:pt x="241566" y="321997"/>
                  </a:lnTo>
                  <a:cubicBezTo>
                    <a:pt x="251861" y="323613"/>
                    <a:pt x="258898" y="333267"/>
                    <a:pt x="257283" y="343562"/>
                  </a:cubicBezTo>
                  <a:cubicBezTo>
                    <a:pt x="256818" y="346526"/>
                    <a:pt x="255653" y="349336"/>
                    <a:pt x="253886" y="351760"/>
                  </a:cubicBezTo>
                  <a:lnTo>
                    <a:pt x="215206" y="404779"/>
                  </a:lnTo>
                  <a:cubicBezTo>
                    <a:pt x="213273" y="407416"/>
                    <a:pt x="213233" y="410989"/>
                    <a:pt x="215106" y="413668"/>
                  </a:cubicBezTo>
                  <a:cubicBezTo>
                    <a:pt x="232098" y="437578"/>
                    <a:pt x="252986" y="458465"/>
                    <a:pt x="276896" y="475458"/>
                  </a:cubicBezTo>
                  <a:cubicBezTo>
                    <a:pt x="279575" y="477330"/>
                    <a:pt x="283148" y="477290"/>
                    <a:pt x="285784" y="475358"/>
                  </a:cubicBezTo>
                  <a:lnTo>
                    <a:pt x="338804" y="436677"/>
                  </a:lnTo>
                  <a:cubicBezTo>
                    <a:pt x="347222" y="430536"/>
                    <a:pt x="359026" y="432382"/>
                    <a:pt x="365168" y="440800"/>
                  </a:cubicBezTo>
                  <a:cubicBezTo>
                    <a:pt x="366936" y="443223"/>
                    <a:pt x="368101" y="446034"/>
                    <a:pt x="368566" y="448997"/>
                  </a:cubicBezTo>
                  <a:lnTo>
                    <a:pt x="378742" y="513880"/>
                  </a:lnTo>
                  <a:cubicBezTo>
                    <a:pt x="379235" y="517108"/>
                    <a:pt x="381732" y="519663"/>
                    <a:pt x="384948" y="520228"/>
                  </a:cubicBezTo>
                  <a:cubicBezTo>
                    <a:pt x="413864" y="525090"/>
                    <a:pt x="443388" y="525090"/>
                    <a:pt x="472303" y="520228"/>
                  </a:cubicBezTo>
                  <a:cubicBezTo>
                    <a:pt x="475520" y="519663"/>
                    <a:pt x="478017" y="517108"/>
                    <a:pt x="478510" y="513880"/>
                  </a:cubicBezTo>
                  <a:lnTo>
                    <a:pt x="488686" y="448997"/>
                  </a:lnTo>
                  <a:cubicBezTo>
                    <a:pt x="490301" y="438702"/>
                    <a:pt x="499955" y="431665"/>
                    <a:pt x="510251" y="433280"/>
                  </a:cubicBezTo>
                  <a:cubicBezTo>
                    <a:pt x="513214" y="433745"/>
                    <a:pt x="516025" y="434910"/>
                    <a:pt x="518448" y="436677"/>
                  </a:cubicBezTo>
                  <a:lnTo>
                    <a:pt x="571467" y="475358"/>
                  </a:lnTo>
                  <a:cubicBezTo>
                    <a:pt x="574103" y="477290"/>
                    <a:pt x="577677" y="477330"/>
                    <a:pt x="580355" y="475458"/>
                  </a:cubicBezTo>
                  <a:cubicBezTo>
                    <a:pt x="604266" y="458465"/>
                    <a:pt x="625153" y="437578"/>
                    <a:pt x="642146" y="413668"/>
                  </a:cubicBezTo>
                  <a:cubicBezTo>
                    <a:pt x="644018" y="410989"/>
                    <a:pt x="643978" y="407416"/>
                    <a:pt x="642047" y="404779"/>
                  </a:cubicBezTo>
                  <a:lnTo>
                    <a:pt x="603366" y="351760"/>
                  </a:lnTo>
                  <a:cubicBezTo>
                    <a:pt x="597224" y="343341"/>
                    <a:pt x="599069" y="331538"/>
                    <a:pt x="607488" y="325396"/>
                  </a:cubicBezTo>
                  <a:cubicBezTo>
                    <a:pt x="609911" y="323627"/>
                    <a:pt x="612722" y="322462"/>
                    <a:pt x="615685" y="321997"/>
                  </a:cubicBezTo>
                  <a:close/>
                  <a:moveTo>
                    <a:pt x="428626" y="363803"/>
                  </a:moveTo>
                  <a:cubicBezTo>
                    <a:pt x="372367" y="363803"/>
                    <a:pt x="326760" y="318196"/>
                    <a:pt x="326760" y="261938"/>
                  </a:cubicBezTo>
                  <a:cubicBezTo>
                    <a:pt x="326760" y="205679"/>
                    <a:pt x="372367" y="160072"/>
                    <a:pt x="428626" y="160072"/>
                  </a:cubicBezTo>
                  <a:cubicBezTo>
                    <a:pt x="484884" y="160072"/>
                    <a:pt x="530491" y="205679"/>
                    <a:pt x="530491" y="261938"/>
                  </a:cubicBezTo>
                  <a:cubicBezTo>
                    <a:pt x="530490" y="318196"/>
                    <a:pt x="484884" y="363802"/>
                    <a:pt x="428626" y="363803"/>
                  </a:cubicBezTo>
                  <a:close/>
                  <a:moveTo>
                    <a:pt x="856485" y="626470"/>
                  </a:moveTo>
                  <a:cubicBezTo>
                    <a:pt x="846950" y="634754"/>
                    <a:pt x="836876" y="642396"/>
                    <a:pt x="826328" y="649342"/>
                  </a:cubicBezTo>
                  <a:cubicBezTo>
                    <a:pt x="826265" y="660709"/>
                    <a:pt x="760480" y="706300"/>
                    <a:pt x="750720" y="713710"/>
                  </a:cubicBezTo>
                  <a:cubicBezTo>
                    <a:pt x="718283" y="738814"/>
                    <a:pt x="684157" y="761656"/>
                    <a:pt x="648584" y="782076"/>
                  </a:cubicBezTo>
                  <a:cubicBezTo>
                    <a:pt x="579571" y="813920"/>
                    <a:pt x="506871" y="837069"/>
                    <a:pt x="432152" y="850992"/>
                  </a:cubicBezTo>
                  <a:cubicBezTo>
                    <a:pt x="401584" y="855645"/>
                    <a:pt x="260940" y="842920"/>
                    <a:pt x="173979" y="825503"/>
                  </a:cubicBezTo>
                  <a:cubicBezTo>
                    <a:pt x="148610" y="822023"/>
                    <a:pt x="122897" y="821848"/>
                    <a:pt x="97482" y="824982"/>
                  </a:cubicBezTo>
                  <a:lnTo>
                    <a:pt x="97482" y="630185"/>
                  </a:lnTo>
                  <a:cubicBezTo>
                    <a:pt x="97482" y="629752"/>
                    <a:pt x="97373" y="629353"/>
                    <a:pt x="97362" y="628923"/>
                  </a:cubicBezTo>
                  <a:cubicBezTo>
                    <a:pt x="121405" y="611283"/>
                    <a:pt x="148687" y="598550"/>
                    <a:pt x="177649" y="591451"/>
                  </a:cubicBezTo>
                  <a:cubicBezTo>
                    <a:pt x="222231" y="583372"/>
                    <a:pt x="267919" y="583552"/>
                    <a:pt x="312437" y="591982"/>
                  </a:cubicBezTo>
                  <a:cubicBezTo>
                    <a:pt x="348593" y="597991"/>
                    <a:pt x="385475" y="598207"/>
                    <a:pt x="421700" y="592623"/>
                  </a:cubicBezTo>
                  <a:cubicBezTo>
                    <a:pt x="451578" y="589550"/>
                    <a:pt x="481214" y="584465"/>
                    <a:pt x="510408" y="577403"/>
                  </a:cubicBezTo>
                  <a:cubicBezTo>
                    <a:pt x="540932" y="567472"/>
                    <a:pt x="560454" y="568839"/>
                    <a:pt x="571611" y="588868"/>
                  </a:cubicBezTo>
                  <a:cubicBezTo>
                    <a:pt x="580949" y="605592"/>
                    <a:pt x="571895" y="620065"/>
                    <a:pt x="558618" y="630503"/>
                  </a:cubicBezTo>
                  <a:cubicBezTo>
                    <a:pt x="536339" y="647657"/>
                    <a:pt x="511452" y="661125"/>
                    <a:pt x="484905" y="670391"/>
                  </a:cubicBezTo>
                  <a:cubicBezTo>
                    <a:pt x="455433" y="681501"/>
                    <a:pt x="371553" y="694397"/>
                    <a:pt x="366296" y="695149"/>
                  </a:cubicBezTo>
                  <a:cubicBezTo>
                    <a:pt x="391490" y="702805"/>
                    <a:pt x="417055" y="709185"/>
                    <a:pt x="442892" y="714263"/>
                  </a:cubicBezTo>
                  <a:cubicBezTo>
                    <a:pt x="496817" y="719133"/>
                    <a:pt x="551161" y="716295"/>
                    <a:pt x="604285" y="705834"/>
                  </a:cubicBezTo>
                  <a:cubicBezTo>
                    <a:pt x="661204" y="692262"/>
                    <a:pt x="746525" y="618536"/>
                    <a:pt x="782388" y="605555"/>
                  </a:cubicBezTo>
                  <a:cubicBezTo>
                    <a:pt x="804199" y="597788"/>
                    <a:pt x="823780" y="591115"/>
                    <a:pt x="842383" y="600700"/>
                  </a:cubicBezTo>
                  <a:cubicBezTo>
                    <a:pt x="851085" y="605193"/>
                    <a:pt x="859939" y="621958"/>
                    <a:pt x="856485" y="626470"/>
                  </a:cubicBezTo>
                  <a:close/>
                  <a:moveTo>
                    <a:pt x="48521" y="857250"/>
                  </a:moveTo>
                  <a:lnTo>
                    <a:pt x="10787" y="857250"/>
                  </a:lnTo>
                  <a:cubicBezTo>
                    <a:pt x="4829" y="857250"/>
                    <a:pt x="0" y="852421"/>
                    <a:pt x="0" y="846464"/>
                  </a:cubicBezTo>
                  <a:lnTo>
                    <a:pt x="0" y="622455"/>
                  </a:lnTo>
                  <a:cubicBezTo>
                    <a:pt x="0" y="616498"/>
                    <a:pt x="4829" y="611669"/>
                    <a:pt x="10787" y="611669"/>
                  </a:cubicBezTo>
                  <a:lnTo>
                    <a:pt x="48521" y="611669"/>
                  </a:lnTo>
                  <a:cubicBezTo>
                    <a:pt x="54478" y="611669"/>
                    <a:pt x="59307" y="616498"/>
                    <a:pt x="59307" y="622455"/>
                  </a:cubicBezTo>
                  <a:lnTo>
                    <a:pt x="59308" y="846464"/>
                  </a:lnTo>
                  <a:cubicBezTo>
                    <a:pt x="59307" y="852421"/>
                    <a:pt x="54478" y="857250"/>
                    <a:pt x="48521" y="857250"/>
                  </a:cubicBezTo>
                  <a:close/>
                </a:path>
              </a:pathLst>
            </a:custGeom>
            <a:solidFill>
              <a:schemeClr val="tx2"/>
            </a:solidFill>
            <a:ln w="9525" cap="flat">
              <a:noFill/>
              <a:prstDash val="solid"/>
              <a:miter/>
            </a:ln>
          </p:spPr>
          <p:txBody>
            <a:bodyPr rtlCol="0" anchor="ctr"/>
            <a:lstStyle/>
            <a:p>
              <a:endParaRPr lang="en-GB"/>
            </a:p>
          </p:txBody>
        </p:sp>
        <p:sp>
          <p:nvSpPr>
            <p:cNvPr id="106" name="TextBox 105">
              <a:extLst>
                <a:ext uri="{FF2B5EF4-FFF2-40B4-BE49-F238E27FC236}">
                  <a16:creationId xmlns:a16="http://schemas.microsoft.com/office/drawing/2014/main" id="{2D0589D7-CCE0-4025-9259-E76824D1BF4C}"/>
                </a:ext>
              </a:extLst>
            </p:cNvPr>
            <p:cNvSpPr txBox="1"/>
            <p:nvPr/>
          </p:nvSpPr>
          <p:spPr>
            <a:xfrm>
              <a:off x="5520029" y="5773122"/>
              <a:ext cx="506928" cy="138499"/>
            </a:xfrm>
            <a:prstGeom prst="rect">
              <a:avLst/>
            </a:prstGeom>
            <a:noFill/>
          </p:spPr>
          <p:txBody>
            <a:bodyPr wrap="square" lIns="0" tIns="0" rIns="0" bIns="0" rtlCol="0">
              <a:spAutoFit/>
            </a:bodyPr>
            <a:lstStyle>
              <a:defPPr>
                <a:defRPr lang="en-US"/>
              </a:defPPr>
              <a:lvl1pPr algn="ctr">
                <a:defRPr sz="900">
                  <a:latin typeface="+mj-lt"/>
                </a:defRPr>
              </a:lvl1pPr>
            </a:lstStyle>
            <a:p>
              <a:r>
                <a:rPr lang="en-GB"/>
                <a:t>Services</a:t>
              </a:r>
            </a:p>
          </p:txBody>
        </p:sp>
      </p:grpSp>
      <p:pic>
        <p:nvPicPr>
          <p:cNvPr id="153623" name="Picture 23" descr="kpmg-logo-filet-bleu_25mm - TAT Immobilier">
            <a:extLst>
              <a:ext uri="{FF2B5EF4-FFF2-40B4-BE49-F238E27FC236}">
                <a16:creationId xmlns:a16="http://schemas.microsoft.com/office/drawing/2014/main" id="{5DDE5546-2263-409F-AE10-D5F9DAE21044}"/>
              </a:ext>
            </a:extLst>
          </p:cNvPr>
          <p:cNvPicPr>
            <a:picLocks noChangeAspect="1" noChangeArrowheads="1"/>
          </p:cNvPicPr>
          <p:nvPr/>
        </p:nvPicPr>
        <p:blipFill rotWithShape="1">
          <a:blip r:embed="rId46">
            <a:extLst>
              <a:ext uri="{28A0092B-C50C-407E-A947-70E740481C1C}">
                <a14:useLocalDpi xmlns:a14="http://schemas.microsoft.com/office/drawing/2010/main" val="0"/>
              </a:ext>
            </a:extLst>
          </a:blip>
          <a:srcRect l="5975" t="26649" r="10193" b="4967"/>
          <a:stretch/>
        </p:blipFill>
        <p:spPr bwMode="auto">
          <a:xfrm>
            <a:off x="7877554" y="3790530"/>
            <a:ext cx="496593" cy="219740"/>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Contact Us">
            <a:extLst>
              <a:ext uri="{FF2B5EF4-FFF2-40B4-BE49-F238E27FC236}">
                <a16:creationId xmlns:a16="http://schemas.microsoft.com/office/drawing/2014/main" id="{AF65E249-41E5-44C7-9ACC-67CCCFCB0597}"/>
              </a:ext>
            </a:extLst>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8272905" y="5800915"/>
            <a:ext cx="694332" cy="169726"/>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descr="Vodafone — Wikipédia">
            <a:extLst>
              <a:ext uri="{FF2B5EF4-FFF2-40B4-BE49-F238E27FC236}">
                <a16:creationId xmlns:a16="http://schemas.microsoft.com/office/drawing/2014/main" id="{8D6FE78D-7FAF-4C0B-9573-F8F352D4A5BF}"/>
              </a:ext>
            </a:extLst>
          </p:cNvPr>
          <p:cNvPicPr>
            <a:picLocks noChangeAspect="1" noChangeArrowheads="1"/>
          </p:cNvPicPr>
          <p:nvPr/>
        </p:nvPicPr>
        <p:blipFill>
          <a:blip r:embed="rId4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385557" y="5713173"/>
            <a:ext cx="343773" cy="345211"/>
          </a:xfrm>
          <a:prstGeom prst="rect">
            <a:avLst/>
          </a:prstGeom>
          <a:noFill/>
          <a:extLst>
            <a:ext uri="{909E8E84-426E-40DD-AFC4-6F175D3DCCD1}">
              <a14:hiddenFill xmlns:a14="http://schemas.microsoft.com/office/drawing/2010/main">
                <a:solidFill>
                  <a:srgbClr val="FFFFFF"/>
                </a:solidFill>
              </a14:hiddenFill>
            </a:ext>
          </a:extLst>
        </p:spPr>
      </p:pic>
      <p:sp>
        <p:nvSpPr>
          <p:cNvPr id="77" name="Rectangle: Rounded Corners 76">
            <a:extLst>
              <a:ext uri="{FF2B5EF4-FFF2-40B4-BE49-F238E27FC236}">
                <a16:creationId xmlns:a16="http://schemas.microsoft.com/office/drawing/2014/main" id="{488276C8-5CBD-44C3-AFA4-48A267F1BE0C}"/>
              </a:ext>
            </a:extLst>
          </p:cNvPr>
          <p:cNvSpPr/>
          <p:nvPr/>
        </p:nvSpPr>
        <p:spPr bwMode="auto">
          <a:xfrm>
            <a:off x="5983670" y="5601892"/>
            <a:ext cx="3214438" cy="567772"/>
          </a:xfrm>
          <a:prstGeom prst="roundRect">
            <a:avLst/>
          </a:prstGeom>
          <a:noFill/>
          <a:ln w="63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nvGrpSpPr>
          <p:cNvPr id="5" name="Group 4">
            <a:extLst>
              <a:ext uri="{FF2B5EF4-FFF2-40B4-BE49-F238E27FC236}">
                <a16:creationId xmlns:a16="http://schemas.microsoft.com/office/drawing/2014/main" id="{69AE0FAC-85E6-4840-93E3-E63BE301C8A2}"/>
              </a:ext>
            </a:extLst>
          </p:cNvPr>
          <p:cNvGrpSpPr/>
          <p:nvPr/>
        </p:nvGrpSpPr>
        <p:grpSpPr>
          <a:xfrm>
            <a:off x="5353068" y="5623274"/>
            <a:ext cx="506928" cy="525008"/>
            <a:chOff x="10280467" y="6349339"/>
            <a:chExt cx="506928" cy="525008"/>
          </a:xfrm>
        </p:grpSpPr>
        <p:pic>
          <p:nvPicPr>
            <p:cNvPr id="107" name="Graphic 106" descr="Receiver">
              <a:extLst>
                <a:ext uri="{FF2B5EF4-FFF2-40B4-BE49-F238E27FC236}">
                  <a16:creationId xmlns:a16="http://schemas.microsoft.com/office/drawing/2014/main" id="{600F6E3B-DFB6-4BEB-B178-AA6F48D96438}"/>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10357661" y="6349339"/>
              <a:ext cx="352541" cy="352541"/>
            </a:xfrm>
            <a:prstGeom prst="rect">
              <a:avLst/>
            </a:prstGeom>
          </p:spPr>
        </p:pic>
        <p:sp>
          <p:nvSpPr>
            <p:cNvPr id="110" name="TextBox 109">
              <a:extLst>
                <a:ext uri="{FF2B5EF4-FFF2-40B4-BE49-F238E27FC236}">
                  <a16:creationId xmlns:a16="http://schemas.microsoft.com/office/drawing/2014/main" id="{5EBC047A-CFA7-4EE9-82BA-8D8E1B7BC5F4}"/>
                </a:ext>
              </a:extLst>
            </p:cNvPr>
            <p:cNvSpPr txBox="1"/>
            <p:nvPr/>
          </p:nvSpPr>
          <p:spPr>
            <a:xfrm>
              <a:off x="10280467" y="6735848"/>
              <a:ext cx="506928" cy="138499"/>
            </a:xfrm>
            <a:prstGeom prst="rect">
              <a:avLst/>
            </a:prstGeom>
            <a:noFill/>
          </p:spPr>
          <p:txBody>
            <a:bodyPr wrap="square" lIns="0" tIns="0" rIns="0" bIns="0" rtlCol="0">
              <a:spAutoFit/>
            </a:bodyPr>
            <a:lstStyle>
              <a:defPPr>
                <a:defRPr lang="en-US"/>
              </a:defPPr>
              <a:lvl1pPr algn="ctr">
                <a:defRPr sz="900">
                  <a:latin typeface="+mj-lt"/>
                </a:defRPr>
              </a:lvl1pPr>
            </a:lstStyle>
            <a:p>
              <a:r>
                <a:rPr lang="en-GB"/>
                <a:t>Telecom</a:t>
              </a:r>
            </a:p>
          </p:txBody>
        </p:sp>
      </p:grpSp>
      <p:pic>
        <p:nvPicPr>
          <p:cNvPr id="153627" name="Picture 27" descr="KPN — Wikipédia">
            <a:extLst>
              <a:ext uri="{FF2B5EF4-FFF2-40B4-BE49-F238E27FC236}">
                <a16:creationId xmlns:a16="http://schemas.microsoft.com/office/drawing/2014/main" id="{30D89BB8-A2AF-4D36-8733-5E0E60641C7C}"/>
              </a:ext>
            </a:extLst>
          </p:cNvPr>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7161270" y="5740611"/>
            <a:ext cx="679696" cy="290334"/>
          </a:xfrm>
          <a:prstGeom prst="rect">
            <a:avLst/>
          </a:prstGeom>
          <a:noFill/>
          <a:extLst>
            <a:ext uri="{909E8E84-426E-40DD-AFC4-6F175D3DCCD1}">
              <a14:hiddenFill xmlns:a14="http://schemas.microsoft.com/office/drawing/2010/main">
                <a:solidFill>
                  <a:srgbClr val="FFFFFF"/>
                </a:solidFill>
              </a14:hiddenFill>
            </a:ext>
          </a:extLst>
        </p:spPr>
      </p:pic>
      <p:pic>
        <p:nvPicPr>
          <p:cNvPr id="153605" name="Picture 5" descr="Eneco — Wikipédia">
            <a:extLst>
              <a:ext uri="{FF2B5EF4-FFF2-40B4-BE49-F238E27FC236}">
                <a16:creationId xmlns:a16="http://schemas.microsoft.com/office/drawing/2014/main" id="{CD95C4AD-990E-4AFC-A9BC-0600C4DFB369}"/>
              </a:ext>
            </a:extLst>
          </p:cNvPr>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7186755" y="4360125"/>
            <a:ext cx="808268" cy="404134"/>
          </a:xfrm>
          <a:prstGeom prst="rect">
            <a:avLst/>
          </a:prstGeom>
          <a:noFill/>
          <a:extLst>
            <a:ext uri="{909E8E84-426E-40DD-AFC4-6F175D3DCCD1}">
              <a14:hiddenFill xmlns:a14="http://schemas.microsoft.com/office/drawing/2010/main">
                <a:solidFill>
                  <a:srgbClr val="FFFFFF"/>
                </a:solidFill>
              </a14:hiddenFill>
            </a:ext>
          </a:extLst>
        </p:spPr>
      </p:pic>
      <p:grpSp>
        <p:nvGrpSpPr>
          <p:cNvPr id="79" name="Group 78">
            <a:extLst>
              <a:ext uri="{FF2B5EF4-FFF2-40B4-BE49-F238E27FC236}">
                <a16:creationId xmlns:a16="http://schemas.microsoft.com/office/drawing/2014/main" id="{0D1F8A6C-EB40-4361-A5FC-19F3CA33A782}"/>
              </a:ext>
            </a:extLst>
          </p:cNvPr>
          <p:cNvGrpSpPr/>
          <p:nvPr/>
        </p:nvGrpSpPr>
        <p:grpSpPr>
          <a:xfrm>
            <a:off x="5393245" y="4317420"/>
            <a:ext cx="426575" cy="489545"/>
            <a:chOff x="10273816" y="4241446"/>
            <a:chExt cx="426575" cy="489545"/>
          </a:xfrm>
        </p:grpSpPr>
        <p:pic>
          <p:nvPicPr>
            <p:cNvPr id="80" name="Graphic 79" descr="Battery charging">
              <a:extLst>
                <a:ext uri="{FF2B5EF4-FFF2-40B4-BE49-F238E27FC236}">
                  <a16:creationId xmlns:a16="http://schemas.microsoft.com/office/drawing/2014/main" id="{63A5DC6A-553F-4DCD-9B14-912A2C090290}"/>
                </a:ext>
              </a:extLst>
            </p:cNvPr>
            <p:cNvPicPr>
              <a:picLocks noChangeAspect="1"/>
            </p:cNvPicPr>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10273816" y="4241446"/>
              <a:ext cx="426575" cy="426575"/>
            </a:xfrm>
            <a:prstGeom prst="rect">
              <a:avLst/>
            </a:prstGeom>
          </p:spPr>
        </p:pic>
        <p:sp>
          <p:nvSpPr>
            <p:cNvPr id="81" name="TextBox 80">
              <a:extLst>
                <a:ext uri="{FF2B5EF4-FFF2-40B4-BE49-F238E27FC236}">
                  <a16:creationId xmlns:a16="http://schemas.microsoft.com/office/drawing/2014/main" id="{74FD5DA8-9D86-4714-9BCD-59703DBF3486}"/>
                </a:ext>
              </a:extLst>
            </p:cNvPr>
            <p:cNvSpPr txBox="1"/>
            <p:nvPr/>
          </p:nvSpPr>
          <p:spPr>
            <a:xfrm>
              <a:off x="10273816" y="4592492"/>
              <a:ext cx="426575" cy="138499"/>
            </a:xfrm>
            <a:prstGeom prst="rect">
              <a:avLst/>
            </a:prstGeom>
            <a:noFill/>
          </p:spPr>
          <p:txBody>
            <a:bodyPr wrap="square" lIns="0" tIns="0" rIns="0" bIns="0" rtlCol="0">
              <a:spAutoFit/>
            </a:bodyPr>
            <a:lstStyle>
              <a:defPPr>
                <a:defRPr lang="en-US"/>
              </a:defPPr>
              <a:lvl1pPr algn="ctr">
                <a:defRPr sz="900">
                  <a:latin typeface="+mj-lt"/>
                </a:defRPr>
              </a:lvl1pPr>
            </a:lstStyle>
            <a:p>
              <a:r>
                <a:rPr lang="en-GB"/>
                <a:t>Energy</a:t>
              </a:r>
            </a:p>
          </p:txBody>
        </p:sp>
      </p:grpSp>
      <p:sp>
        <p:nvSpPr>
          <p:cNvPr id="113" name="Rectangle: Rounded Corners 112">
            <a:extLst>
              <a:ext uri="{FF2B5EF4-FFF2-40B4-BE49-F238E27FC236}">
                <a16:creationId xmlns:a16="http://schemas.microsoft.com/office/drawing/2014/main" id="{EE4AB37F-0F4B-4777-A15F-41947AB36EE5}"/>
              </a:ext>
            </a:extLst>
          </p:cNvPr>
          <p:cNvSpPr/>
          <p:nvPr/>
        </p:nvSpPr>
        <p:spPr bwMode="auto">
          <a:xfrm>
            <a:off x="5983670" y="4278306"/>
            <a:ext cx="3214438" cy="567772"/>
          </a:xfrm>
          <a:prstGeom prst="roundRect">
            <a:avLst/>
          </a:prstGeom>
          <a:noFill/>
          <a:ln w="63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Tree>
    <p:extLst>
      <p:ext uri="{BB962C8B-B14F-4D97-AF65-F5344CB8AC3E}">
        <p14:creationId xmlns:p14="http://schemas.microsoft.com/office/powerpoint/2010/main" val="2642514524"/>
      </p:ext>
    </p:extLst>
  </p:cSld>
  <p:clrMapOvr>
    <a:masterClrMapping/>
  </p:clrMapOv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9D215671-F21D-48DA-970B-A8DAB88EEC67}"/>
              </a:ext>
            </a:extLst>
          </p:cNvPr>
          <p:cNvGraphicFramePr>
            <a:graphicFrameLocks noChangeAspect="1"/>
          </p:cNvGraphicFramePr>
          <p:nvPr>
            <p:custDataLst>
              <p:tags r:id="rId1"/>
            </p:custDataLst>
            <p:extLst>
              <p:ext uri="{D42A27DB-BD31-4B8C-83A1-F6EECF244321}">
                <p14:modId xmlns:p14="http://schemas.microsoft.com/office/powerpoint/2010/main" val="3750848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2" name="Objet 1" hidden="1">
                        <a:extLst>
                          <a:ext uri="{FF2B5EF4-FFF2-40B4-BE49-F238E27FC236}">
                            <a16:creationId xmlns:a16="http://schemas.microsoft.com/office/drawing/2014/main" id="{9D215671-F21D-48DA-970B-A8DAB88EEC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Espace réservé du texte 2">
            <a:extLst>
              <a:ext uri="{FF2B5EF4-FFF2-40B4-BE49-F238E27FC236}">
                <a16:creationId xmlns:a16="http://schemas.microsoft.com/office/drawing/2014/main" id="{4F817FF3-93BE-4F06-BF48-8D8B26FE33D0}"/>
              </a:ext>
            </a:extLst>
          </p:cNvPr>
          <p:cNvSpPr>
            <a:spLocks noGrp="1"/>
          </p:cNvSpPr>
          <p:nvPr>
            <p:ph type="body" sz="quarter" idx="10"/>
          </p:nvPr>
        </p:nvSpPr>
        <p:spPr>
          <a:xfrm>
            <a:off x="1315274" y="6576081"/>
            <a:ext cx="7131600" cy="244800"/>
          </a:xfrm>
        </p:spPr>
        <p:txBody>
          <a:bodyPr/>
          <a:lstStyle/>
          <a:p>
            <a:r>
              <a:rPr lang="en-GB" sz="800" i="1" kern="0"/>
              <a:t>Sources: eleven research &amp; analysis, company data, interviews with management</a:t>
            </a:r>
          </a:p>
          <a:p>
            <a:endParaRPr lang="en-GB" sz="800" i="1" kern="0"/>
          </a:p>
          <a:p>
            <a:endParaRPr lang="en-GB"/>
          </a:p>
        </p:txBody>
      </p:sp>
      <p:sp>
        <p:nvSpPr>
          <p:cNvPr id="11" name="Titre 2">
            <a:extLst>
              <a:ext uri="{FF2B5EF4-FFF2-40B4-BE49-F238E27FC236}">
                <a16:creationId xmlns:a16="http://schemas.microsoft.com/office/drawing/2014/main" id="{E24E4288-6CC3-4C47-910A-BBBA3298FEC5}"/>
              </a:ext>
            </a:extLst>
          </p:cNvPr>
          <p:cNvSpPr txBox="1">
            <a:spLocks/>
          </p:cNvSpPr>
          <p:nvPr/>
        </p:nvSpPr>
        <p:spPr bwMode="auto">
          <a:xfrm>
            <a:off x="176102" y="147600"/>
            <a:ext cx="8270773" cy="68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1">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b="0" err="1">
                <a:latin typeface="Trebuchet MS" panose="020B0603020202020204" pitchFamily="34" charset="0"/>
              </a:rPr>
              <a:t>Altares</a:t>
            </a:r>
            <a:r>
              <a:rPr lang="en-GB" b="0">
                <a:latin typeface="Trebuchet MS" panose="020B0603020202020204" pitchFamily="34" charset="0"/>
              </a:rPr>
              <a:t> has recently won a </a:t>
            </a:r>
            <a:r>
              <a:rPr lang="en-GB" b="0">
                <a:solidFill>
                  <a:schemeClr val="tx2"/>
                </a:solidFill>
                <a:latin typeface="Trebuchet MS" panose="020B0603020202020204" pitchFamily="34" charset="0"/>
              </a:rPr>
              <a:t>public tender </a:t>
            </a:r>
            <a:r>
              <a:rPr lang="en-GB" b="0">
                <a:latin typeface="Trebuchet MS" panose="020B0603020202020204" pitchFamily="34" charset="0"/>
              </a:rPr>
              <a:t>for the European commission with its products, showing </a:t>
            </a:r>
            <a:r>
              <a:rPr lang="en-GB" b="0" err="1">
                <a:latin typeface="Trebuchet MS" panose="020B0603020202020204" pitchFamily="34" charset="0"/>
              </a:rPr>
              <a:t>Altares</a:t>
            </a:r>
            <a:r>
              <a:rPr lang="en-GB" b="0">
                <a:latin typeface="Trebuchet MS" panose="020B0603020202020204" pitchFamily="34" charset="0"/>
              </a:rPr>
              <a:t> </a:t>
            </a:r>
            <a:r>
              <a:rPr lang="en-GB" b="0">
                <a:solidFill>
                  <a:schemeClr val="tx2"/>
                </a:solidFill>
                <a:latin typeface="Trebuchet MS" panose="020B0603020202020204" pitchFamily="34" charset="0"/>
              </a:rPr>
              <a:t>capacity to target mega accounts </a:t>
            </a:r>
            <a:endParaRPr lang="en-GB" b="0" kern="0">
              <a:solidFill>
                <a:schemeClr val="tx2"/>
              </a:solidFill>
              <a:latin typeface="Trebuchet MS" panose="020B0603020202020204" pitchFamily="34" charset="0"/>
            </a:endParaRPr>
          </a:p>
        </p:txBody>
      </p:sp>
      <p:cxnSp>
        <p:nvCxnSpPr>
          <p:cNvPr id="22" name="Connecteur droit 208">
            <a:extLst>
              <a:ext uri="{FF2B5EF4-FFF2-40B4-BE49-F238E27FC236}">
                <a16:creationId xmlns:a16="http://schemas.microsoft.com/office/drawing/2014/main" id="{54427606-F746-44CA-8313-D3534A7119A5}"/>
              </a:ext>
            </a:extLst>
          </p:cNvPr>
          <p:cNvCxnSpPr>
            <a:cxnSpLocks/>
          </p:cNvCxnSpPr>
          <p:nvPr/>
        </p:nvCxnSpPr>
        <p:spPr bwMode="auto">
          <a:xfrm>
            <a:off x="384975" y="986602"/>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3" name="Rectangle 84">
            <a:extLst>
              <a:ext uri="{FF2B5EF4-FFF2-40B4-BE49-F238E27FC236}">
                <a16:creationId xmlns:a16="http://schemas.microsoft.com/office/drawing/2014/main" id="{8A459DC7-09AC-44BF-A728-79912313FFFA}"/>
              </a:ext>
            </a:extLst>
          </p:cNvPr>
          <p:cNvSpPr/>
          <p:nvPr/>
        </p:nvSpPr>
        <p:spPr bwMode="auto">
          <a:xfrm>
            <a:off x="2926420" y="850587"/>
            <a:ext cx="3954565" cy="259809"/>
          </a:xfrm>
          <a:prstGeom prst="rect">
            <a:avLst/>
          </a:prstGeom>
          <a:solidFill>
            <a:schemeClr val="bg1"/>
          </a:solidFill>
        </p:spPr>
        <p:txBody>
          <a:bodyPr wrap="square" rtlCol="0">
            <a:noAutofit/>
          </a:bodyPr>
          <a:lstStyle/>
          <a:p>
            <a:pPr algn="ctr"/>
            <a:r>
              <a:rPr lang="en-GB" sz="1100">
                <a:solidFill>
                  <a:schemeClr val="tx2"/>
                </a:solidFill>
                <a:latin typeface="Trebuchet MS" panose="020B0603020202020204" pitchFamily="34" charset="0"/>
              </a:rPr>
              <a:t>European Commission call for tender key insights </a:t>
            </a:r>
          </a:p>
        </p:txBody>
      </p:sp>
      <p:sp>
        <p:nvSpPr>
          <p:cNvPr id="24" name="Rectangle 23">
            <a:extLst>
              <a:ext uri="{FF2B5EF4-FFF2-40B4-BE49-F238E27FC236}">
                <a16:creationId xmlns:a16="http://schemas.microsoft.com/office/drawing/2014/main" id="{DDDB4857-B6CD-454B-A731-46D73ED06CF3}"/>
              </a:ext>
            </a:extLst>
          </p:cNvPr>
          <p:cNvSpPr/>
          <p:nvPr/>
        </p:nvSpPr>
        <p:spPr bwMode="auto">
          <a:xfrm>
            <a:off x="994299" y="1141605"/>
            <a:ext cx="8594538" cy="3083904"/>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marL="171450" indent="-171450">
              <a:spcBef>
                <a:spcPts val="600"/>
              </a:spcBef>
              <a:buClr>
                <a:schemeClr val="tx1"/>
              </a:buClr>
              <a:buFont typeface="Arial" panose="020B0604020202020204" pitchFamily="34" charset="0"/>
              <a:buChar char="•"/>
            </a:pPr>
            <a:endParaRPr lang="en-GB" sz="1000">
              <a:latin typeface="Trebuchet MS" pitchFamily="34" charset="0"/>
            </a:endParaRPr>
          </a:p>
          <a:p>
            <a:pPr marL="171450" indent="-171450">
              <a:spcBef>
                <a:spcPts val="600"/>
              </a:spcBef>
              <a:buClr>
                <a:schemeClr val="tx1"/>
              </a:buClr>
              <a:buFont typeface="Arial" panose="020B0604020202020204" pitchFamily="34" charset="0"/>
              <a:buChar char="•"/>
            </a:pPr>
            <a:endParaRPr lang="en-GB" sz="1000">
              <a:latin typeface="Trebuchet MS" pitchFamily="34" charset="0"/>
            </a:endParaRPr>
          </a:p>
        </p:txBody>
      </p:sp>
      <p:pic>
        <p:nvPicPr>
          <p:cNvPr id="8" name="Image 7">
            <a:extLst>
              <a:ext uri="{FF2B5EF4-FFF2-40B4-BE49-F238E27FC236}">
                <a16:creationId xmlns:a16="http://schemas.microsoft.com/office/drawing/2014/main" id="{9F9552B7-5DD3-4865-9976-34A1033E4079}"/>
              </a:ext>
            </a:extLst>
          </p:cNvPr>
          <p:cNvPicPr>
            <a:picLocks noChangeAspect="1"/>
          </p:cNvPicPr>
          <p:nvPr/>
        </p:nvPicPr>
        <p:blipFill>
          <a:blip r:embed="rId6"/>
          <a:stretch>
            <a:fillRect/>
          </a:stretch>
        </p:blipFill>
        <p:spPr>
          <a:xfrm>
            <a:off x="5214532" y="3308111"/>
            <a:ext cx="3574185" cy="877069"/>
          </a:xfrm>
          <a:prstGeom prst="rect">
            <a:avLst/>
          </a:prstGeom>
          <a:ln>
            <a:solidFill>
              <a:schemeClr val="tx1">
                <a:lumMod val="40000"/>
                <a:lumOff val="60000"/>
              </a:schemeClr>
            </a:solidFill>
          </a:ln>
          <a:effectLst>
            <a:outerShdw blurRad="50800" dist="38100" dir="2700000" algn="tl" rotWithShape="0">
              <a:prstClr val="black">
                <a:alpha val="40000"/>
              </a:prstClr>
            </a:outerShdw>
          </a:effectLst>
        </p:spPr>
      </p:pic>
      <p:sp>
        <p:nvSpPr>
          <p:cNvPr id="5" name="ZoneTexte 4">
            <a:extLst>
              <a:ext uri="{FF2B5EF4-FFF2-40B4-BE49-F238E27FC236}">
                <a16:creationId xmlns:a16="http://schemas.microsoft.com/office/drawing/2014/main" id="{014CF1B0-9A58-4FC5-9290-F77DAD37B5AF}"/>
              </a:ext>
            </a:extLst>
          </p:cNvPr>
          <p:cNvSpPr txBox="1"/>
          <p:nvPr/>
        </p:nvSpPr>
        <p:spPr>
          <a:xfrm>
            <a:off x="1046266" y="1220279"/>
            <a:ext cx="3497159" cy="3093154"/>
          </a:xfrm>
          <a:prstGeom prst="rect">
            <a:avLst/>
          </a:prstGeom>
          <a:noFill/>
        </p:spPr>
        <p:txBody>
          <a:bodyPr wrap="square" rtlCol="0">
            <a:spAutoFit/>
          </a:bodyPr>
          <a:lstStyle/>
          <a:p>
            <a:pPr marL="232172" indent="-232172">
              <a:spcBef>
                <a:spcPts val="600"/>
              </a:spcBef>
              <a:buFont typeface="Arial" panose="020B0604020202020204" pitchFamily="34" charset="0"/>
              <a:buChar char="•"/>
            </a:pPr>
            <a:r>
              <a:rPr lang="en-GB" sz="1000"/>
              <a:t>In </a:t>
            </a:r>
            <a:r>
              <a:rPr lang="en-GB" sz="1000">
                <a:solidFill>
                  <a:schemeClr val="tx2"/>
                </a:solidFill>
              </a:rPr>
              <a:t>July 2020</a:t>
            </a:r>
            <a:r>
              <a:rPr lang="en-GB" sz="1000"/>
              <a:t>, Altares was awarded a </a:t>
            </a:r>
            <a:r>
              <a:rPr lang="en-GB" sz="1000">
                <a:solidFill>
                  <a:schemeClr val="tx2"/>
                </a:solidFill>
              </a:rPr>
              <a:t>4-year framework contract </a:t>
            </a:r>
            <a:r>
              <a:rPr lang="en-GB" sz="1000"/>
              <a:t>by the European Commission whereby Altares becomes the </a:t>
            </a:r>
            <a:r>
              <a:rPr lang="en-GB" sz="1000" i="1">
                <a:solidFill>
                  <a:schemeClr val="tx2"/>
                </a:solidFill>
              </a:rPr>
              <a:t>de facto </a:t>
            </a:r>
            <a:r>
              <a:rPr lang="en-GB" sz="1000">
                <a:solidFill>
                  <a:schemeClr val="tx2"/>
                </a:solidFill>
              </a:rPr>
              <a:t>provider of data solutions for financial, trade credit and identity information, compliance and other use cases</a:t>
            </a:r>
          </a:p>
          <a:p>
            <a:pPr marL="232172" indent="-232172">
              <a:spcBef>
                <a:spcPts val="600"/>
              </a:spcBef>
              <a:buFont typeface="Arial" panose="020B0604020202020204" pitchFamily="34" charset="0"/>
              <a:buChar char="•"/>
            </a:pPr>
            <a:r>
              <a:rPr lang="en-GB" sz="1000"/>
              <a:t>Altares won </a:t>
            </a:r>
            <a:r>
              <a:rPr lang="en-GB" sz="1000">
                <a:solidFill>
                  <a:schemeClr val="tx2"/>
                </a:solidFill>
              </a:rPr>
              <a:t>against Bureau Van Dijk</a:t>
            </a:r>
          </a:p>
          <a:p>
            <a:pPr marL="232172" indent="-232172">
              <a:spcBef>
                <a:spcPts val="600"/>
              </a:spcBef>
              <a:buFont typeface="Arial" panose="020B0604020202020204" pitchFamily="34" charset="0"/>
              <a:buChar char="•"/>
            </a:pPr>
            <a:r>
              <a:rPr lang="en-GB" sz="1000"/>
              <a:t>Altares has invested time and resources in the pre-tender phase (from July 2019 to July 2020)</a:t>
            </a:r>
          </a:p>
          <a:p>
            <a:pPr marL="603647" lvl="1" indent="-232172">
              <a:spcBef>
                <a:spcPts val="600"/>
              </a:spcBef>
              <a:buFont typeface="Courier New" panose="02070309020205020404" pitchFamily="49" charset="0"/>
              <a:buChar char="o"/>
            </a:pPr>
            <a:r>
              <a:rPr lang="en-GB" sz="1000"/>
              <a:t>Quality written proposal with a solution meeting high standards</a:t>
            </a:r>
          </a:p>
          <a:p>
            <a:pPr marL="603647" lvl="1" indent="-232172">
              <a:spcBef>
                <a:spcPts val="600"/>
              </a:spcBef>
              <a:buFont typeface="Courier New" panose="02070309020205020404" pitchFamily="49" charset="0"/>
              <a:buChar char="o"/>
            </a:pPr>
            <a:r>
              <a:rPr lang="en-GB" sz="1000"/>
              <a:t>Set-up of a dedicated bid team comprised of experienced staff members</a:t>
            </a:r>
          </a:p>
          <a:p>
            <a:pPr marL="603647" lvl="1" indent="-232172">
              <a:spcBef>
                <a:spcPts val="600"/>
              </a:spcBef>
              <a:buFont typeface="Courier New" panose="02070309020205020404" pitchFamily="49" charset="0"/>
              <a:buChar char="o"/>
            </a:pPr>
            <a:r>
              <a:rPr lang="en-GB" sz="1000"/>
              <a:t>Creation of a solution competing against BvD’s proposition (10 years worth of historical financials distributed by mean of D&amp;B’s Global Financials solution)</a:t>
            </a:r>
            <a:br>
              <a:rPr lang="en-GB" sz="1000"/>
            </a:br>
            <a:endParaRPr lang="en-GB" sz="1000"/>
          </a:p>
        </p:txBody>
      </p:sp>
      <p:sp>
        <p:nvSpPr>
          <p:cNvPr id="17" name="Rectangle 16">
            <a:extLst>
              <a:ext uri="{FF2B5EF4-FFF2-40B4-BE49-F238E27FC236}">
                <a16:creationId xmlns:a16="http://schemas.microsoft.com/office/drawing/2014/main" id="{5C6C1BA9-95BC-432F-8C2A-ED1A5A11E7EA}"/>
              </a:ext>
            </a:extLst>
          </p:cNvPr>
          <p:cNvSpPr/>
          <p:nvPr/>
        </p:nvSpPr>
        <p:spPr bwMode="auto">
          <a:xfrm>
            <a:off x="994299" y="4349305"/>
            <a:ext cx="8594538" cy="1993100"/>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marL="171450" indent="-171450">
              <a:spcBef>
                <a:spcPts val="600"/>
              </a:spcBef>
              <a:buClr>
                <a:schemeClr val="tx1"/>
              </a:buClr>
              <a:buFont typeface="Arial" panose="020B0604020202020204" pitchFamily="34" charset="0"/>
              <a:buChar char="•"/>
            </a:pPr>
            <a:endParaRPr lang="en-GB" sz="1000">
              <a:latin typeface="Trebuchet MS" pitchFamily="34" charset="0"/>
            </a:endParaRPr>
          </a:p>
          <a:p>
            <a:pPr marL="171450" indent="-171450">
              <a:spcBef>
                <a:spcPts val="600"/>
              </a:spcBef>
              <a:buClr>
                <a:schemeClr val="tx1"/>
              </a:buClr>
              <a:buFont typeface="Arial" panose="020B0604020202020204" pitchFamily="34" charset="0"/>
              <a:buChar char="•"/>
            </a:pPr>
            <a:endParaRPr lang="en-GB" sz="1000">
              <a:latin typeface="Trebuchet MS" pitchFamily="34" charset="0"/>
            </a:endParaRPr>
          </a:p>
        </p:txBody>
      </p:sp>
      <p:sp>
        <p:nvSpPr>
          <p:cNvPr id="19" name="TextBox 30">
            <a:extLst>
              <a:ext uri="{FF2B5EF4-FFF2-40B4-BE49-F238E27FC236}">
                <a16:creationId xmlns:a16="http://schemas.microsoft.com/office/drawing/2014/main" id="{75099653-278E-4F2C-B6CF-303DA699E52B}"/>
              </a:ext>
            </a:extLst>
          </p:cNvPr>
          <p:cNvSpPr txBox="1"/>
          <p:nvPr/>
        </p:nvSpPr>
        <p:spPr>
          <a:xfrm rot="5400000">
            <a:off x="54678" y="2269236"/>
            <a:ext cx="669414" cy="564437"/>
          </a:xfrm>
          <a:prstGeom prst="rect">
            <a:avLst/>
          </a:prstGeom>
          <a:noFill/>
        </p:spPr>
        <p:txBody>
          <a:bodyPr vert="vert270" wrap="square" rtlCol="0">
            <a:spAutoFit/>
          </a:bodyPr>
          <a:lstStyle/>
          <a:p>
            <a:pPr algn="ctr"/>
            <a:r>
              <a:rPr lang="en-GB" sz="1050">
                <a:solidFill>
                  <a:schemeClr val="tx2"/>
                </a:solidFill>
                <a:latin typeface="Trebuchet MS" panose="020B0603020202020204" pitchFamily="34" charset="0"/>
              </a:rPr>
              <a:t>Call for tender…</a:t>
            </a:r>
          </a:p>
        </p:txBody>
      </p:sp>
      <p:sp>
        <p:nvSpPr>
          <p:cNvPr id="6" name="Triangle isocèle 5">
            <a:extLst>
              <a:ext uri="{FF2B5EF4-FFF2-40B4-BE49-F238E27FC236}">
                <a16:creationId xmlns:a16="http://schemas.microsoft.com/office/drawing/2014/main" id="{D5FF0079-9415-4118-9D35-DD6D96468727}"/>
              </a:ext>
            </a:extLst>
          </p:cNvPr>
          <p:cNvSpPr/>
          <p:nvPr/>
        </p:nvSpPr>
        <p:spPr bwMode="auto">
          <a:xfrm rot="5400000">
            <a:off x="373909" y="2376193"/>
            <a:ext cx="875416" cy="232448"/>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25" name="TextBox 30">
            <a:extLst>
              <a:ext uri="{FF2B5EF4-FFF2-40B4-BE49-F238E27FC236}">
                <a16:creationId xmlns:a16="http://schemas.microsoft.com/office/drawing/2014/main" id="{E041A2CC-1278-4B6D-A2F0-53E03E5318C0}"/>
              </a:ext>
            </a:extLst>
          </p:cNvPr>
          <p:cNvSpPr txBox="1"/>
          <p:nvPr/>
        </p:nvSpPr>
        <p:spPr>
          <a:xfrm rot="5400000">
            <a:off x="-36525" y="4877133"/>
            <a:ext cx="830997" cy="682969"/>
          </a:xfrm>
          <a:prstGeom prst="rect">
            <a:avLst/>
          </a:prstGeom>
          <a:noFill/>
        </p:spPr>
        <p:txBody>
          <a:bodyPr vert="vert270" wrap="square" rtlCol="0">
            <a:spAutoFit/>
          </a:bodyPr>
          <a:lstStyle/>
          <a:p>
            <a:pPr algn="ctr"/>
            <a:r>
              <a:rPr lang="en-GB" sz="1050">
                <a:solidFill>
                  <a:schemeClr val="tx2"/>
                </a:solidFill>
                <a:latin typeface="Trebuchet MS" panose="020B0603020202020204" pitchFamily="34" charset="0"/>
              </a:rPr>
              <a:t>… </a:t>
            </a:r>
          </a:p>
          <a:p>
            <a:pPr algn="ctr"/>
            <a:r>
              <a:rPr lang="en-GB" sz="1050">
                <a:solidFill>
                  <a:schemeClr val="tx2"/>
                </a:solidFill>
                <a:latin typeface="Trebuchet MS" panose="020B0603020202020204" pitchFamily="34" charset="0"/>
              </a:rPr>
              <a:t>with a very high potential</a:t>
            </a:r>
          </a:p>
        </p:txBody>
      </p:sp>
      <p:sp>
        <p:nvSpPr>
          <p:cNvPr id="26" name="Triangle isocèle 25">
            <a:extLst>
              <a:ext uri="{FF2B5EF4-FFF2-40B4-BE49-F238E27FC236}">
                <a16:creationId xmlns:a16="http://schemas.microsoft.com/office/drawing/2014/main" id="{A45D0269-8518-45D9-ABA9-5F08D744CE29}"/>
              </a:ext>
            </a:extLst>
          </p:cNvPr>
          <p:cNvSpPr/>
          <p:nvPr/>
        </p:nvSpPr>
        <p:spPr bwMode="auto">
          <a:xfrm rot="5400000">
            <a:off x="392321" y="5176267"/>
            <a:ext cx="875416" cy="232448"/>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2" name="Rectangle 11">
            <a:extLst>
              <a:ext uri="{FF2B5EF4-FFF2-40B4-BE49-F238E27FC236}">
                <a16:creationId xmlns:a16="http://schemas.microsoft.com/office/drawing/2014/main" id="{D6A42CBF-BEF5-412E-A717-49945E9D96F8}"/>
              </a:ext>
            </a:extLst>
          </p:cNvPr>
          <p:cNvSpPr/>
          <p:nvPr/>
        </p:nvSpPr>
        <p:spPr bwMode="auto">
          <a:xfrm>
            <a:off x="3297399" y="4444880"/>
            <a:ext cx="1944283" cy="1821821"/>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600" b="1">
              <a:solidFill>
                <a:schemeClr val="bg1"/>
              </a:solidFill>
              <a:latin typeface="Trebuchet MS" pitchFamily="34" charset="0"/>
            </a:endParaRPr>
          </a:p>
          <a:p>
            <a:pPr algn="ctr"/>
            <a:r>
              <a:rPr lang="en-GB" sz="1600" b="1">
                <a:solidFill>
                  <a:schemeClr val="bg1"/>
                </a:solidFill>
                <a:latin typeface="Trebuchet MS" pitchFamily="34" charset="0"/>
              </a:rPr>
              <a:t>62 entities </a:t>
            </a:r>
            <a:endParaRPr lang="en-GB" sz="1100">
              <a:solidFill>
                <a:schemeClr val="bg1"/>
              </a:solidFill>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GB" sz="1100">
              <a:solidFill>
                <a:schemeClr val="bg1"/>
              </a:solidFill>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lang="en-GB" sz="1100">
                <a:solidFill>
                  <a:schemeClr val="bg1"/>
                </a:solidFill>
                <a:latin typeface="Trebuchet MS" pitchFamily="34" charset="0"/>
              </a:rPr>
              <a:t>within the European Commission must meet with Altares and switch from BvD to Altares (for the same product scope) </a:t>
            </a:r>
          </a:p>
        </p:txBody>
      </p:sp>
      <p:sp>
        <p:nvSpPr>
          <p:cNvPr id="27" name="Rectangle 26">
            <a:extLst>
              <a:ext uri="{FF2B5EF4-FFF2-40B4-BE49-F238E27FC236}">
                <a16:creationId xmlns:a16="http://schemas.microsoft.com/office/drawing/2014/main" id="{F404A29A-A1A1-4D49-8D3D-B0CC9AAA6C7F}"/>
              </a:ext>
            </a:extLst>
          </p:cNvPr>
          <p:cNvSpPr/>
          <p:nvPr/>
        </p:nvSpPr>
        <p:spPr bwMode="auto">
          <a:xfrm>
            <a:off x="5363271" y="4444880"/>
            <a:ext cx="1944283" cy="1821821"/>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600" b="1">
              <a:solidFill>
                <a:schemeClr val="bg1"/>
              </a:solidFill>
              <a:latin typeface="Trebuchet MS" pitchFamily="34" charset="0"/>
            </a:endParaRPr>
          </a:p>
          <a:p>
            <a:pPr algn="ctr"/>
            <a:r>
              <a:rPr lang="en-GB" sz="1600" b="1">
                <a:solidFill>
                  <a:schemeClr val="bg1"/>
                </a:solidFill>
                <a:latin typeface="Trebuchet MS" pitchFamily="34" charset="0"/>
              </a:rPr>
              <a:t>€[35k-1m]</a:t>
            </a:r>
          </a:p>
          <a:p>
            <a:pPr algn="ctr"/>
            <a:endParaRPr lang="en-GB" sz="1100">
              <a:solidFill>
                <a:schemeClr val="bg1"/>
              </a:solidFill>
              <a:latin typeface="Trebuchet MS" pitchFamily="34" charset="0"/>
            </a:endParaRPr>
          </a:p>
          <a:p>
            <a:pPr algn="ctr"/>
            <a:r>
              <a:rPr lang="en-GB" sz="1100">
                <a:solidFill>
                  <a:schemeClr val="bg1"/>
                </a:solidFill>
                <a:latin typeface="Trebuchet MS" pitchFamily="34" charset="0"/>
              </a:rPr>
              <a:t>of average basket per entity, as entities’ needs differ from one to another</a:t>
            </a:r>
          </a:p>
        </p:txBody>
      </p:sp>
      <p:sp>
        <p:nvSpPr>
          <p:cNvPr id="28" name="Rectangle 27">
            <a:extLst>
              <a:ext uri="{FF2B5EF4-FFF2-40B4-BE49-F238E27FC236}">
                <a16:creationId xmlns:a16="http://schemas.microsoft.com/office/drawing/2014/main" id="{BC20079B-C8A7-46D6-89B1-13ACF45EC29E}"/>
              </a:ext>
            </a:extLst>
          </p:cNvPr>
          <p:cNvSpPr/>
          <p:nvPr/>
        </p:nvSpPr>
        <p:spPr bwMode="auto">
          <a:xfrm>
            <a:off x="1231527" y="4444880"/>
            <a:ext cx="1944283" cy="1821821"/>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GB" b="1">
              <a:solidFill>
                <a:schemeClr val="bg1"/>
              </a:solidFill>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lang="en-GB" b="1">
                <a:solidFill>
                  <a:schemeClr val="bg1"/>
                </a:solidFill>
                <a:latin typeface="Trebuchet MS" pitchFamily="34" charset="0"/>
              </a:rPr>
              <a:t>~200k€</a:t>
            </a:r>
            <a:r>
              <a:rPr kumimoji="0" lang="en-GB" b="1" i="0" u="none" strike="noStrike" cap="none" normalizeH="0" baseline="0">
                <a:ln>
                  <a:noFill/>
                </a:ln>
                <a:solidFill>
                  <a:schemeClr val="bg1"/>
                </a:solidFill>
                <a:effectLst/>
                <a:latin typeface="Trebuchet MS" panose="020B0603020202020204" pitchFamily="34" charset="0"/>
              </a:rPr>
              <a:t> </a:t>
            </a:r>
            <a:endParaRPr lang="en-GB" b="1">
              <a:solidFill>
                <a:schemeClr val="bg1"/>
              </a:solidFill>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lang="en-GB" sz="1100">
                <a:solidFill>
                  <a:schemeClr val="bg1"/>
                </a:solidFill>
                <a:latin typeface="Trebuchet MS" panose="020B0603020202020204" pitchFamily="34" charset="0"/>
              </a:rPr>
              <a:t>already engaged for the development a personalized solution (combining existing products: Global Financial, </a:t>
            </a:r>
            <a:r>
              <a:rPr lang="en-GB" sz="1100" err="1">
                <a:solidFill>
                  <a:schemeClr val="bg1"/>
                </a:solidFill>
                <a:latin typeface="Trebuchet MS" panose="020B0603020202020204" pitchFamily="34" charset="0"/>
              </a:rPr>
              <a:t>indueD</a:t>
            </a:r>
            <a:r>
              <a:rPr lang="en-GB" sz="1100">
                <a:solidFill>
                  <a:schemeClr val="bg1"/>
                </a:solidFill>
                <a:latin typeface="Trebuchet MS" panose="020B0603020202020204" pitchFamily="34" charset="0"/>
              </a:rPr>
              <a:t> and a search engine)</a:t>
            </a:r>
            <a:endParaRPr kumimoji="0" lang="en-GB" sz="1100" b="0" i="0" u="none" strike="noStrike" cap="none" normalizeH="0" baseline="0">
              <a:ln>
                <a:noFill/>
              </a:ln>
              <a:solidFill>
                <a:schemeClr val="bg1"/>
              </a:solidFill>
              <a:effectLst/>
              <a:latin typeface="Trebuchet MS" panose="020B0603020202020204" pitchFamily="34" charset="0"/>
            </a:endParaRPr>
          </a:p>
        </p:txBody>
      </p:sp>
      <p:sp>
        <p:nvSpPr>
          <p:cNvPr id="32" name="Freeform 5">
            <a:extLst>
              <a:ext uri="{FF2B5EF4-FFF2-40B4-BE49-F238E27FC236}">
                <a16:creationId xmlns:a16="http://schemas.microsoft.com/office/drawing/2014/main" id="{D026FA8A-780D-479E-8E0A-317AE7598A7D}"/>
              </a:ext>
            </a:extLst>
          </p:cNvPr>
          <p:cNvSpPr>
            <a:spLocks noEditPoints="1"/>
          </p:cNvSpPr>
          <p:nvPr/>
        </p:nvSpPr>
        <p:spPr bwMode="auto">
          <a:xfrm>
            <a:off x="2060567" y="4504343"/>
            <a:ext cx="286202" cy="263310"/>
          </a:xfrm>
          <a:custGeom>
            <a:avLst/>
            <a:gdLst>
              <a:gd name="T0" fmla="*/ 64 w 64"/>
              <a:gd name="T1" fmla="*/ 30 h 56"/>
              <a:gd name="T2" fmla="*/ 35 w 64"/>
              <a:gd name="T3" fmla="*/ 22 h 56"/>
              <a:gd name="T4" fmla="*/ 36 w 64"/>
              <a:gd name="T5" fmla="*/ 18 h 56"/>
              <a:gd name="T6" fmla="*/ 36 w 64"/>
              <a:gd name="T7" fmla="*/ 10 h 56"/>
              <a:gd name="T8" fmla="*/ 0 w 64"/>
              <a:gd name="T9" fmla="*/ 10 h 56"/>
              <a:gd name="T10" fmla="*/ 0 w 64"/>
              <a:gd name="T11" fmla="*/ 18 h 56"/>
              <a:gd name="T12" fmla="*/ 0 w 64"/>
              <a:gd name="T13" fmla="*/ 26 h 56"/>
              <a:gd name="T14" fmla="*/ 0 w 64"/>
              <a:gd name="T15" fmla="*/ 34 h 56"/>
              <a:gd name="T16" fmla="*/ 0 w 64"/>
              <a:gd name="T17" fmla="*/ 42 h 56"/>
              <a:gd name="T18" fmla="*/ 30 w 64"/>
              <a:gd name="T19" fmla="*/ 50 h 56"/>
              <a:gd name="T20" fmla="*/ 64 w 64"/>
              <a:gd name="T21" fmla="*/ 46 h 56"/>
              <a:gd name="T22" fmla="*/ 64 w 64"/>
              <a:gd name="T23" fmla="*/ 38 h 56"/>
              <a:gd name="T24" fmla="*/ 18 w 64"/>
              <a:gd name="T25" fmla="*/ 4 h 56"/>
              <a:gd name="T26" fmla="*/ 18 w 64"/>
              <a:gd name="T27" fmla="*/ 16 h 56"/>
              <a:gd name="T28" fmla="*/ 18 w 64"/>
              <a:gd name="T29" fmla="*/ 4 h 56"/>
              <a:gd name="T30" fmla="*/ 28 w 64"/>
              <a:gd name="T31" fmla="*/ 46 h 56"/>
              <a:gd name="T32" fmla="*/ 4 w 64"/>
              <a:gd name="T33" fmla="*/ 42 h 56"/>
              <a:gd name="T34" fmla="*/ 18 w 64"/>
              <a:gd name="T35" fmla="*/ 44 h 56"/>
              <a:gd name="T36" fmla="*/ 30 w 64"/>
              <a:gd name="T37" fmla="*/ 42 h 56"/>
              <a:gd name="T38" fmla="*/ 28 w 64"/>
              <a:gd name="T39" fmla="*/ 38 h 56"/>
              <a:gd name="T40" fmla="*/ 18 w 64"/>
              <a:gd name="T41" fmla="*/ 40 h 56"/>
              <a:gd name="T42" fmla="*/ 5 w 64"/>
              <a:gd name="T43" fmla="*/ 33 h 56"/>
              <a:gd name="T44" fmla="*/ 30 w 64"/>
              <a:gd name="T45" fmla="*/ 34 h 56"/>
              <a:gd name="T46" fmla="*/ 28 w 64"/>
              <a:gd name="T47" fmla="*/ 38 h 56"/>
              <a:gd name="T48" fmla="*/ 28 w 64"/>
              <a:gd name="T49" fmla="*/ 30 h 56"/>
              <a:gd name="T50" fmla="*/ 4 w 64"/>
              <a:gd name="T51" fmla="*/ 26 h 56"/>
              <a:gd name="T52" fmla="*/ 18 w 64"/>
              <a:gd name="T53" fmla="*/ 28 h 56"/>
              <a:gd name="T54" fmla="*/ 28 w 64"/>
              <a:gd name="T55" fmla="*/ 30 h 56"/>
              <a:gd name="T56" fmla="*/ 4 w 64"/>
              <a:gd name="T57" fmla="*/ 18 h 56"/>
              <a:gd name="T58" fmla="*/ 18 w 64"/>
              <a:gd name="T59" fmla="*/ 20 h 56"/>
              <a:gd name="T60" fmla="*/ 32 w 64"/>
              <a:gd name="T61" fmla="*/ 18 h 56"/>
              <a:gd name="T62" fmla="*/ 46 w 64"/>
              <a:gd name="T63" fmla="*/ 52 h 56"/>
              <a:gd name="T64" fmla="*/ 33 w 64"/>
              <a:gd name="T65" fmla="*/ 45 h 56"/>
              <a:gd name="T66" fmla="*/ 60 w 64"/>
              <a:gd name="T67" fmla="*/ 45 h 56"/>
              <a:gd name="T68" fmla="*/ 46 w 64"/>
              <a:gd name="T69" fmla="*/ 52 h 56"/>
              <a:gd name="T70" fmla="*/ 32 w 64"/>
              <a:gd name="T71" fmla="*/ 38 h 56"/>
              <a:gd name="T72" fmla="*/ 46 w 64"/>
              <a:gd name="T73" fmla="*/ 40 h 56"/>
              <a:gd name="T74" fmla="*/ 60 w 64"/>
              <a:gd name="T75" fmla="*/ 38 h 56"/>
              <a:gd name="T76" fmla="*/ 46 w 64"/>
              <a:gd name="T77" fmla="*/ 36 h 56"/>
              <a:gd name="T78" fmla="*/ 46 w 64"/>
              <a:gd name="T79" fmla="*/ 24 h 56"/>
              <a:gd name="T80" fmla="*/ 46 w 64"/>
              <a:gd name="T81" fmla="*/ 3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4" h="56">
                <a:moveTo>
                  <a:pt x="63" y="34"/>
                </a:moveTo>
                <a:cubicBezTo>
                  <a:pt x="64" y="33"/>
                  <a:pt x="64" y="32"/>
                  <a:pt x="64" y="30"/>
                </a:cubicBezTo>
                <a:cubicBezTo>
                  <a:pt x="64" y="24"/>
                  <a:pt x="57" y="20"/>
                  <a:pt x="46" y="20"/>
                </a:cubicBezTo>
                <a:cubicBezTo>
                  <a:pt x="42" y="20"/>
                  <a:pt x="38" y="21"/>
                  <a:pt x="35" y="22"/>
                </a:cubicBezTo>
                <a:cubicBezTo>
                  <a:pt x="35" y="22"/>
                  <a:pt x="35" y="22"/>
                  <a:pt x="35" y="22"/>
                </a:cubicBezTo>
                <a:cubicBezTo>
                  <a:pt x="36" y="21"/>
                  <a:pt x="36" y="20"/>
                  <a:pt x="36" y="18"/>
                </a:cubicBezTo>
                <a:cubicBezTo>
                  <a:pt x="36" y="17"/>
                  <a:pt x="36" y="15"/>
                  <a:pt x="35" y="14"/>
                </a:cubicBezTo>
                <a:cubicBezTo>
                  <a:pt x="36" y="13"/>
                  <a:pt x="36" y="12"/>
                  <a:pt x="36" y="10"/>
                </a:cubicBezTo>
                <a:cubicBezTo>
                  <a:pt x="36" y="4"/>
                  <a:pt x="29" y="0"/>
                  <a:pt x="18" y="0"/>
                </a:cubicBezTo>
                <a:cubicBezTo>
                  <a:pt x="8" y="0"/>
                  <a:pt x="0" y="4"/>
                  <a:pt x="0" y="10"/>
                </a:cubicBezTo>
                <a:cubicBezTo>
                  <a:pt x="0" y="12"/>
                  <a:pt x="1" y="13"/>
                  <a:pt x="2" y="14"/>
                </a:cubicBezTo>
                <a:cubicBezTo>
                  <a:pt x="1" y="15"/>
                  <a:pt x="0" y="17"/>
                  <a:pt x="0" y="18"/>
                </a:cubicBezTo>
                <a:cubicBezTo>
                  <a:pt x="0" y="20"/>
                  <a:pt x="1" y="21"/>
                  <a:pt x="2" y="22"/>
                </a:cubicBezTo>
                <a:cubicBezTo>
                  <a:pt x="1" y="23"/>
                  <a:pt x="0" y="25"/>
                  <a:pt x="0" y="26"/>
                </a:cubicBezTo>
                <a:cubicBezTo>
                  <a:pt x="0" y="28"/>
                  <a:pt x="1" y="29"/>
                  <a:pt x="2" y="30"/>
                </a:cubicBezTo>
                <a:cubicBezTo>
                  <a:pt x="1" y="31"/>
                  <a:pt x="0" y="33"/>
                  <a:pt x="0" y="34"/>
                </a:cubicBezTo>
                <a:cubicBezTo>
                  <a:pt x="0" y="36"/>
                  <a:pt x="1" y="37"/>
                  <a:pt x="2" y="38"/>
                </a:cubicBezTo>
                <a:cubicBezTo>
                  <a:pt x="1" y="39"/>
                  <a:pt x="0" y="41"/>
                  <a:pt x="0" y="42"/>
                </a:cubicBezTo>
                <a:cubicBezTo>
                  <a:pt x="0" y="48"/>
                  <a:pt x="8" y="52"/>
                  <a:pt x="18" y="52"/>
                </a:cubicBezTo>
                <a:cubicBezTo>
                  <a:pt x="23" y="52"/>
                  <a:pt x="27" y="51"/>
                  <a:pt x="30" y="50"/>
                </a:cubicBezTo>
                <a:cubicBezTo>
                  <a:pt x="32" y="54"/>
                  <a:pt x="39" y="56"/>
                  <a:pt x="46" y="56"/>
                </a:cubicBezTo>
                <a:cubicBezTo>
                  <a:pt x="57" y="56"/>
                  <a:pt x="64" y="52"/>
                  <a:pt x="64" y="46"/>
                </a:cubicBezTo>
                <a:cubicBezTo>
                  <a:pt x="64" y="45"/>
                  <a:pt x="64" y="43"/>
                  <a:pt x="63" y="42"/>
                </a:cubicBezTo>
                <a:cubicBezTo>
                  <a:pt x="64" y="41"/>
                  <a:pt x="64" y="40"/>
                  <a:pt x="64" y="38"/>
                </a:cubicBezTo>
                <a:cubicBezTo>
                  <a:pt x="64" y="37"/>
                  <a:pt x="64" y="35"/>
                  <a:pt x="63" y="34"/>
                </a:cubicBezTo>
                <a:close/>
                <a:moveTo>
                  <a:pt x="18" y="4"/>
                </a:moveTo>
                <a:cubicBezTo>
                  <a:pt x="26" y="4"/>
                  <a:pt x="32" y="7"/>
                  <a:pt x="32" y="10"/>
                </a:cubicBezTo>
                <a:cubicBezTo>
                  <a:pt x="32" y="13"/>
                  <a:pt x="26" y="16"/>
                  <a:pt x="18" y="16"/>
                </a:cubicBezTo>
                <a:cubicBezTo>
                  <a:pt x="10" y="16"/>
                  <a:pt x="4" y="13"/>
                  <a:pt x="4" y="10"/>
                </a:cubicBezTo>
                <a:cubicBezTo>
                  <a:pt x="4" y="7"/>
                  <a:pt x="10" y="4"/>
                  <a:pt x="18" y="4"/>
                </a:cubicBezTo>
                <a:close/>
                <a:moveTo>
                  <a:pt x="28" y="46"/>
                </a:moveTo>
                <a:cubicBezTo>
                  <a:pt x="28" y="46"/>
                  <a:pt x="28" y="46"/>
                  <a:pt x="28" y="46"/>
                </a:cubicBezTo>
                <a:cubicBezTo>
                  <a:pt x="26" y="47"/>
                  <a:pt x="22" y="48"/>
                  <a:pt x="18" y="48"/>
                </a:cubicBezTo>
                <a:cubicBezTo>
                  <a:pt x="10" y="48"/>
                  <a:pt x="4" y="45"/>
                  <a:pt x="4" y="42"/>
                </a:cubicBezTo>
                <a:cubicBezTo>
                  <a:pt x="4" y="42"/>
                  <a:pt x="5" y="41"/>
                  <a:pt x="5" y="41"/>
                </a:cubicBezTo>
                <a:cubicBezTo>
                  <a:pt x="8" y="43"/>
                  <a:pt x="13" y="44"/>
                  <a:pt x="18" y="44"/>
                </a:cubicBezTo>
                <a:cubicBezTo>
                  <a:pt x="23" y="44"/>
                  <a:pt x="27" y="43"/>
                  <a:pt x="30" y="42"/>
                </a:cubicBezTo>
                <a:cubicBezTo>
                  <a:pt x="30" y="42"/>
                  <a:pt x="30" y="42"/>
                  <a:pt x="30" y="42"/>
                </a:cubicBezTo>
                <a:cubicBezTo>
                  <a:pt x="29" y="43"/>
                  <a:pt x="28" y="45"/>
                  <a:pt x="28" y="46"/>
                </a:cubicBezTo>
                <a:close/>
                <a:moveTo>
                  <a:pt x="28" y="38"/>
                </a:moveTo>
                <a:cubicBezTo>
                  <a:pt x="28" y="38"/>
                  <a:pt x="28" y="38"/>
                  <a:pt x="28" y="38"/>
                </a:cubicBezTo>
                <a:cubicBezTo>
                  <a:pt x="26" y="39"/>
                  <a:pt x="22" y="40"/>
                  <a:pt x="18" y="40"/>
                </a:cubicBezTo>
                <a:cubicBezTo>
                  <a:pt x="10" y="40"/>
                  <a:pt x="4" y="37"/>
                  <a:pt x="4" y="34"/>
                </a:cubicBezTo>
                <a:cubicBezTo>
                  <a:pt x="4" y="34"/>
                  <a:pt x="5" y="33"/>
                  <a:pt x="5" y="33"/>
                </a:cubicBezTo>
                <a:cubicBezTo>
                  <a:pt x="8" y="35"/>
                  <a:pt x="13" y="36"/>
                  <a:pt x="18" y="36"/>
                </a:cubicBezTo>
                <a:cubicBezTo>
                  <a:pt x="23" y="36"/>
                  <a:pt x="27" y="35"/>
                  <a:pt x="30" y="34"/>
                </a:cubicBezTo>
                <a:cubicBezTo>
                  <a:pt x="30" y="34"/>
                  <a:pt x="30" y="34"/>
                  <a:pt x="30" y="34"/>
                </a:cubicBezTo>
                <a:cubicBezTo>
                  <a:pt x="29" y="35"/>
                  <a:pt x="28" y="37"/>
                  <a:pt x="28" y="38"/>
                </a:cubicBezTo>
                <a:close/>
                <a:moveTo>
                  <a:pt x="28" y="30"/>
                </a:moveTo>
                <a:cubicBezTo>
                  <a:pt x="28" y="30"/>
                  <a:pt x="28" y="30"/>
                  <a:pt x="28" y="30"/>
                </a:cubicBezTo>
                <a:cubicBezTo>
                  <a:pt x="26" y="31"/>
                  <a:pt x="22" y="32"/>
                  <a:pt x="18" y="32"/>
                </a:cubicBezTo>
                <a:cubicBezTo>
                  <a:pt x="10" y="32"/>
                  <a:pt x="4" y="29"/>
                  <a:pt x="4" y="26"/>
                </a:cubicBezTo>
                <a:cubicBezTo>
                  <a:pt x="4" y="26"/>
                  <a:pt x="5" y="25"/>
                  <a:pt x="5" y="25"/>
                </a:cubicBezTo>
                <a:cubicBezTo>
                  <a:pt x="8" y="27"/>
                  <a:pt x="13" y="28"/>
                  <a:pt x="18" y="28"/>
                </a:cubicBezTo>
                <a:cubicBezTo>
                  <a:pt x="23" y="28"/>
                  <a:pt x="27" y="27"/>
                  <a:pt x="30" y="26"/>
                </a:cubicBezTo>
                <a:cubicBezTo>
                  <a:pt x="29" y="27"/>
                  <a:pt x="28" y="28"/>
                  <a:pt x="28" y="30"/>
                </a:cubicBezTo>
                <a:close/>
                <a:moveTo>
                  <a:pt x="18" y="24"/>
                </a:moveTo>
                <a:cubicBezTo>
                  <a:pt x="10" y="24"/>
                  <a:pt x="4" y="21"/>
                  <a:pt x="4" y="18"/>
                </a:cubicBezTo>
                <a:cubicBezTo>
                  <a:pt x="4" y="18"/>
                  <a:pt x="5" y="17"/>
                  <a:pt x="5" y="17"/>
                </a:cubicBezTo>
                <a:cubicBezTo>
                  <a:pt x="8" y="19"/>
                  <a:pt x="13" y="20"/>
                  <a:pt x="18" y="20"/>
                </a:cubicBezTo>
                <a:cubicBezTo>
                  <a:pt x="24" y="20"/>
                  <a:pt x="29" y="19"/>
                  <a:pt x="32" y="17"/>
                </a:cubicBezTo>
                <a:cubicBezTo>
                  <a:pt x="32" y="17"/>
                  <a:pt x="32" y="18"/>
                  <a:pt x="32" y="18"/>
                </a:cubicBezTo>
                <a:cubicBezTo>
                  <a:pt x="32" y="21"/>
                  <a:pt x="26" y="24"/>
                  <a:pt x="18" y="24"/>
                </a:cubicBezTo>
                <a:close/>
                <a:moveTo>
                  <a:pt x="46" y="52"/>
                </a:moveTo>
                <a:cubicBezTo>
                  <a:pt x="38" y="52"/>
                  <a:pt x="32" y="49"/>
                  <a:pt x="32" y="46"/>
                </a:cubicBezTo>
                <a:cubicBezTo>
                  <a:pt x="32" y="46"/>
                  <a:pt x="33" y="45"/>
                  <a:pt x="33" y="45"/>
                </a:cubicBezTo>
                <a:cubicBezTo>
                  <a:pt x="36" y="47"/>
                  <a:pt x="41" y="48"/>
                  <a:pt x="46" y="48"/>
                </a:cubicBezTo>
                <a:cubicBezTo>
                  <a:pt x="52" y="48"/>
                  <a:pt x="57" y="47"/>
                  <a:pt x="60" y="45"/>
                </a:cubicBezTo>
                <a:cubicBezTo>
                  <a:pt x="60" y="45"/>
                  <a:pt x="60" y="46"/>
                  <a:pt x="60" y="46"/>
                </a:cubicBezTo>
                <a:cubicBezTo>
                  <a:pt x="60" y="49"/>
                  <a:pt x="54" y="52"/>
                  <a:pt x="46" y="52"/>
                </a:cubicBezTo>
                <a:close/>
                <a:moveTo>
                  <a:pt x="46" y="44"/>
                </a:moveTo>
                <a:cubicBezTo>
                  <a:pt x="38" y="44"/>
                  <a:pt x="32" y="41"/>
                  <a:pt x="32" y="38"/>
                </a:cubicBezTo>
                <a:cubicBezTo>
                  <a:pt x="32" y="38"/>
                  <a:pt x="33" y="37"/>
                  <a:pt x="33" y="37"/>
                </a:cubicBezTo>
                <a:cubicBezTo>
                  <a:pt x="36" y="39"/>
                  <a:pt x="41" y="40"/>
                  <a:pt x="46" y="40"/>
                </a:cubicBezTo>
                <a:cubicBezTo>
                  <a:pt x="52" y="40"/>
                  <a:pt x="57" y="39"/>
                  <a:pt x="60" y="37"/>
                </a:cubicBezTo>
                <a:cubicBezTo>
                  <a:pt x="60" y="37"/>
                  <a:pt x="60" y="38"/>
                  <a:pt x="60" y="38"/>
                </a:cubicBezTo>
                <a:cubicBezTo>
                  <a:pt x="60" y="41"/>
                  <a:pt x="54" y="44"/>
                  <a:pt x="46" y="44"/>
                </a:cubicBezTo>
                <a:close/>
                <a:moveTo>
                  <a:pt x="46" y="36"/>
                </a:moveTo>
                <a:cubicBezTo>
                  <a:pt x="38" y="36"/>
                  <a:pt x="32" y="33"/>
                  <a:pt x="32" y="30"/>
                </a:cubicBezTo>
                <a:cubicBezTo>
                  <a:pt x="32" y="27"/>
                  <a:pt x="38" y="24"/>
                  <a:pt x="46" y="24"/>
                </a:cubicBezTo>
                <a:cubicBezTo>
                  <a:pt x="54" y="24"/>
                  <a:pt x="60" y="27"/>
                  <a:pt x="60" y="30"/>
                </a:cubicBezTo>
                <a:cubicBezTo>
                  <a:pt x="60" y="33"/>
                  <a:pt x="54" y="36"/>
                  <a:pt x="46"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37" name="Freeform 9">
            <a:extLst>
              <a:ext uri="{FF2B5EF4-FFF2-40B4-BE49-F238E27FC236}">
                <a16:creationId xmlns:a16="http://schemas.microsoft.com/office/drawing/2014/main" id="{DCBA344A-89F0-4A9E-AF05-982AED251C1B}"/>
              </a:ext>
            </a:extLst>
          </p:cNvPr>
          <p:cNvSpPr>
            <a:spLocks noEditPoints="1"/>
          </p:cNvSpPr>
          <p:nvPr/>
        </p:nvSpPr>
        <p:spPr bwMode="auto">
          <a:xfrm>
            <a:off x="4089169" y="4504343"/>
            <a:ext cx="290964" cy="262929"/>
          </a:xfrm>
          <a:custGeom>
            <a:avLst/>
            <a:gdLst>
              <a:gd name="T0" fmla="*/ 56 w 60"/>
              <a:gd name="T1" fmla="*/ 44 h 56"/>
              <a:gd name="T2" fmla="*/ 56 w 60"/>
              <a:gd name="T3" fmla="*/ 32 h 56"/>
              <a:gd name="T4" fmla="*/ 44 w 60"/>
              <a:gd name="T5" fmla="*/ 20 h 56"/>
              <a:gd name="T6" fmla="*/ 32 w 60"/>
              <a:gd name="T7" fmla="*/ 20 h 56"/>
              <a:gd name="T8" fmla="*/ 32 w 60"/>
              <a:gd name="T9" fmla="*/ 12 h 56"/>
              <a:gd name="T10" fmla="*/ 36 w 60"/>
              <a:gd name="T11" fmla="*/ 12 h 56"/>
              <a:gd name="T12" fmla="*/ 36 w 60"/>
              <a:gd name="T13" fmla="*/ 0 h 56"/>
              <a:gd name="T14" fmla="*/ 24 w 60"/>
              <a:gd name="T15" fmla="*/ 0 h 56"/>
              <a:gd name="T16" fmla="*/ 24 w 60"/>
              <a:gd name="T17" fmla="*/ 12 h 56"/>
              <a:gd name="T18" fmla="*/ 28 w 60"/>
              <a:gd name="T19" fmla="*/ 12 h 56"/>
              <a:gd name="T20" fmla="*/ 28 w 60"/>
              <a:gd name="T21" fmla="*/ 20 h 56"/>
              <a:gd name="T22" fmla="*/ 16 w 60"/>
              <a:gd name="T23" fmla="*/ 20 h 56"/>
              <a:gd name="T24" fmla="*/ 4 w 60"/>
              <a:gd name="T25" fmla="*/ 32 h 56"/>
              <a:gd name="T26" fmla="*/ 4 w 60"/>
              <a:gd name="T27" fmla="*/ 44 h 56"/>
              <a:gd name="T28" fmla="*/ 0 w 60"/>
              <a:gd name="T29" fmla="*/ 44 h 56"/>
              <a:gd name="T30" fmla="*/ 0 w 60"/>
              <a:gd name="T31" fmla="*/ 56 h 56"/>
              <a:gd name="T32" fmla="*/ 12 w 60"/>
              <a:gd name="T33" fmla="*/ 56 h 56"/>
              <a:gd name="T34" fmla="*/ 12 w 60"/>
              <a:gd name="T35" fmla="*/ 44 h 56"/>
              <a:gd name="T36" fmla="*/ 8 w 60"/>
              <a:gd name="T37" fmla="*/ 44 h 56"/>
              <a:gd name="T38" fmla="*/ 8 w 60"/>
              <a:gd name="T39" fmla="*/ 32 h 56"/>
              <a:gd name="T40" fmla="*/ 16 w 60"/>
              <a:gd name="T41" fmla="*/ 24 h 56"/>
              <a:gd name="T42" fmla="*/ 28 w 60"/>
              <a:gd name="T43" fmla="*/ 24 h 56"/>
              <a:gd name="T44" fmla="*/ 28 w 60"/>
              <a:gd name="T45" fmla="*/ 44 h 56"/>
              <a:gd name="T46" fmla="*/ 24 w 60"/>
              <a:gd name="T47" fmla="*/ 44 h 56"/>
              <a:gd name="T48" fmla="*/ 24 w 60"/>
              <a:gd name="T49" fmla="*/ 56 h 56"/>
              <a:gd name="T50" fmla="*/ 36 w 60"/>
              <a:gd name="T51" fmla="*/ 56 h 56"/>
              <a:gd name="T52" fmla="*/ 36 w 60"/>
              <a:gd name="T53" fmla="*/ 44 h 56"/>
              <a:gd name="T54" fmla="*/ 32 w 60"/>
              <a:gd name="T55" fmla="*/ 44 h 56"/>
              <a:gd name="T56" fmla="*/ 32 w 60"/>
              <a:gd name="T57" fmla="*/ 24 h 56"/>
              <a:gd name="T58" fmla="*/ 44 w 60"/>
              <a:gd name="T59" fmla="*/ 24 h 56"/>
              <a:gd name="T60" fmla="*/ 52 w 60"/>
              <a:gd name="T61" fmla="*/ 32 h 56"/>
              <a:gd name="T62" fmla="*/ 52 w 60"/>
              <a:gd name="T63" fmla="*/ 44 h 56"/>
              <a:gd name="T64" fmla="*/ 48 w 60"/>
              <a:gd name="T65" fmla="*/ 44 h 56"/>
              <a:gd name="T66" fmla="*/ 48 w 60"/>
              <a:gd name="T67" fmla="*/ 56 h 56"/>
              <a:gd name="T68" fmla="*/ 60 w 60"/>
              <a:gd name="T69" fmla="*/ 56 h 56"/>
              <a:gd name="T70" fmla="*/ 60 w 60"/>
              <a:gd name="T71" fmla="*/ 44 h 56"/>
              <a:gd name="T72" fmla="*/ 56 w 60"/>
              <a:gd name="T73" fmla="*/ 44 h 56"/>
              <a:gd name="T74" fmla="*/ 28 w 60"/>
              <a:gd name="T75" fmla="*/ 4 h 56"/>
              <a:gd name="T76" fmla="*/ 32 w 60"/>
              <a:gd name="T77" fmla="*/ 4 h 56"/>
              <a:gd name="T78" fmla="*/ 32 w 60"/>
              <a:gd name="T79" fmla="*/ 8 h 56"/>
              <a:gd name="T80" fmla="*/ 28 w 60"/>
              <a:gd name="T81" fmla="*/ 8 h 56"/>
              <a:gd name="T82" fmla="*/ 28 w 60"/>
              <a:gd name="T83" fmla="*/ 4 h 56"/>
              <a:gd name="T84" fmla="*/ 8 w 60"/>
              <a:gd name="T85" fmla="*/ 52 h 56"/>
              <a:gd name="T86" fmla="*/ 4 w 60"/>
              <a:gd name="T87" fmla="*/ 52 h 56"/>
              <a:gd name="T88" fmla="*/ 4 w 60"/>
              <a:gd name="T89" fmla="*/ 48 h 56"/>
              <a:gd name="T90" fmla="*/ 8 w 60"/>
              <a:gd name="T91" fmla="*/ 48 h 56"/>
              <a:gd name="T92" fmla="*/ 8 w 60"/>
              <a:gd name="T93" fmla="*/ 52 h 56"/>
              <a:gd name="T94" fmla="*/ 32 w 60"/>
              <a:gd name="T95" fmla="*/ 52 h 56"/>
              <a:gd name="T96" fmla="*/ 28 w 60"/>
              <a:gd name="T97" fmla="*/ 52 h 56"/>
              <a:gd name="T98" fmla="*/ 28 w 60"/>
              <a:gd name="T99" fmla="*/ 48 h 56"/>
              <a:gd name="T100" fmla="*/ 32 w 60"/>
              <a:gd name="T101" fmla="*/ 48 h 56"/>
              <a:gd name="T102" fmla="*/ 32 w 60"/>
              <a:gd name="T103" fmla="*/ 52 h 56"/>
              <a:gd name="T104" fmla="*/ 56 w 60"/>
              <a:gd name="T105" fmla="*/ 52 h 56"/>
              <a:gd name="T106" fmla="*/ 52 w 60"/>
              <a:gd name="T107" fmla="*/ 52 h 56"/>
              <a:gd name="T108" fmla="*/ 52 w 60"/>
              <a:gd name="T109" fmla="*/ 48 h 56"/>
              <a:gd name="T110" fmla="*/ 56 w 60"/>
              <a:gd name="T111" fmla="*/ 48 h 56"/>
              <a:gd name="T112" fmla="*/ 56 w 60"/>
              <a:gd name="T113" fmla="*/ 5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 h="56">
                <a:moveTo>
                  <a:pt x="56" y="44"/>
                </a:moveTo>
                <a:cubicBezTo>
                  <a:pt x="56" y="32"/>
                  <a:pt x="56" y="32"/>
                  <a:pt x="56" y="32"/>
                </a:cubicBezTo>
                <a:cubicBezTo>
                  <a:pt x="56" y="25"/>
                  <a:pt x="51" y="20"/>
                  <a:pt x="44" y="20"/>
                </a:cubicBezTo>
                <a:cubicBezTo>
                  <a:pt x="32" y="20"/>
                  <a:pt x="32" y="20"/>
                  <a:pt x="32" y="20"/>
                </a:cubicBezTo>
                <a:cubicBezTo>
                  <a:pt x="32" y="12"/>
                  <a:pt x="32" y="12"/>
                  <a:pt x="32" y="12"/>
                </a:cubicBezTo>
                <a:cubicBezTo>
                  <a:pt x="36" y="12"/>
                  <a:pt x="36" y="12"/>
                  <a:pt x="36" y="12"/>
                </a:cubicBezTo>
                <a:cubicBezTo>
                  <a:pt x="36" y="0"/>
                  <a:pt x="36" y="0"/>
                  <a:pt x="36" y="0"/>
                </a:cubicBezTo>
                <a:cubicBezTo>
                  <a:pt x="24" y="0"/>
                  <a:pt x="24" y="0"/>
                  <a:pt x="24" y="0"/>
                </a:cubicBezTo>
                <a:cubicBezTo>
                  <a:pt x="24" y="12"/>
                  <a:pt x="24" y="12"/>
                  <a:pt x="24" y="12"/>
                </a:cubicBezTo>
                <a:cubicBezTo>
                  <a:pt x="28" y="12"/>
                  <a:pt x="28" y="12"/>
                  <a:pt x="28" y="12"/>
                </a:cubicBezTo>
                <a:cubicBezTo>
                  <a:pt x="28" y="20"/>
                  <a:pt x="28" y="20"/>
                  <a:pt x="28" y="20"/>
                </a:cubicBezTo>
                <a:cubicBezTo>
                  <a:pt x="16" y="20"/>
                  <a:pt x="16" y="20"/>
                  <a:pt x="16" y="20"/>
                </a:cubicBezTo>
                <a:cubicBezTo>
                  <a:pt x="10" y="20"/>
                  <a:pt x="4" y="25"/>
                  <a:pt x="4" y="32"/>
                </a:cubicBezTo>
                <a:cubicBezTo>
                  <a:pt x="4" y="44"/>
                  <a:pt x="4" y="44"/>
                  <a:pt x="4" y="44"/>
                </a:cubicBezTo>
                <a:cubicBezTo>
                  <a:pt x="0" y="44"/>
                  <a:pt x="0" y="44"/>
                  <a:pt x="0" y="44"/>
                </a:cubicBezTo>
                <a:cubicBezTo>
                  <a:pt x="0" y="56"/>
                  <a:pt x="0" y="56"/>
                  <a:pt x="0" y="56"/>
                </a:cubicBezTo>
                <a:cubicBezTo>
                  <a:pt x="12" y="56"/>
                  <a:pt x="12" y="56"/>
                  <a:pt x="12" y="56"/>
                </a:cubicBezTo>
                <a:cubicBezTo>
                  <a:pt x="12" y="44"/>
                  <a:pt x="12" y="44"/>
                  <a:pt x="12" y="44"/>
                </a:cubicBezTo>
                <a:cubicBezTo>
                  <a:pt x="8" y="44"/>
                  <a:pt x="8" y="44"/>
                  <a:pt x="8" y="44"/>
                </a:cubicBezTo>
                <a:cubicBezTo>
                  <a:pt x="8" y="32"/>
                  <a:pt x="8" y="32"/>
                  <a:pt x="8" y="32"/>
                </a:cubicBezTo>
                <a:cubicBezTo>
                  <a:pt x="8" y="28"/>
                  <a:pt x="12" y="24"/>
                  <a:pt x="16" y="24"/>
                </a:cubicBezTo>
                <a:cubicBezTo>
                  <a:pt x="28" y="24"/>
                  <a:pt x="28" y="24"/>
                  <a:pt x="28" y="24"/>
                </a:cubicBezTo>
                <a:cubicBezTo>
                  <a:pt x="28" y="44"/>
                  <a:pt x="28" y="44"/>
                  <a:pt x="28" y="44"/>
                </a:cubicBezTo>
                <a:cubicBezTo>
                  <a:pt x="24" y="44"/>
                  <a:pt x="24" y="44"/>
                  <a:pt x="24" y="44"/>
                </a:cubicBezTo>
                <a:cubicBezTo>
                  <a:pt x="24" y="56"/>
                  <a:pt x="24" y="56"/>
                  <a:pt x="24" y="56"/>
                </a:cubicBezTo>
                <a:cubicBezTo>
                  <a:pt x="36" y="56"/>
                  <a:pt x="36" y="56"/>
                  <a:pt x="36" y="56"/>
                </a:cubicBezTo>
                <a:cubicBezTo>
                  <a:pt x="36" y="44"/>
                  <a:pt x="36" y="44"/>
                  <a:pt x="36" y="44"/>
                </a:cubicBezTo>
                <a:cubicBezTo>
                  <a:pt x="32" y="44"/>
                  <a:pt x="32" y="44"/>
                  <a:pt x="32" y="44"/>
                </a:cubicBezTo>
                <a:cubicBezTo>
                  <a:pt x="32" y="24"/>
                  <a:pt x="32" y="24"/>
                  <a:pt x="32" y="24"/>
                </a:cubicBezTo>
                <a:cubicBezTo>
                  <a:pt x="44" y="24"/>
                  <a:pt x="44" y="24"/>
                  <a:pt x="44" y="24"/>
                </a:cubicBezTo>
                <a:cubicBezTo>
                  <a:pt x="49" y="24"/>
                  <a:pt x="52" y="28"/>
                  <a:pt x="52" y="32"/>
                </a:cubicBezTo>
                <a:cubicBezTo>
                  <a:pt x="52" y="44"/>
                  <a:pt x="52" y="44"/>
                  <a:pt x="52" y="44"/>
                </a:cubicBezTo>
                <a:cubicBezTo>
                  <a:pt x="48" y="44"/>
                  <a:pt x="48" y="44"/>
                  <a:pt x="48" y="44"/>
                </a:cubicBezTo>
                <a:cubicBezTo>
                  <a:pt x="48" y="56"/>
                  <a:pt x="48" y="56"/>
                  <a:pt x="48" y="56"/>
                </a:cubicBezTo>
                <a:cubicBezTo>
                  <a:pt x="60" y="56"/>
                  <a:pt x="60" y="56"/>
                  <a:pt x="60" y="56"/>
                </a:cubicBezTo>
                <a:cubicBezTo>
                  <a:pt x="60" y="44"/>
                  <a:pt x="60" y="44"/>
                  <a:pt x="60" y="44"/>
                </a:cubicBezTo>
                <a:lnTo>
                  <a:pt x="56" y="44"/>
                </a:lnTo>
                <a:close/>
                <a:moveTo>
                  <a:pt x="28" y="4"/>
                </a:moveTo>
                <a:cubicBezTo>
                  <a:pt x="32" y="4"/>
                  <a:pt x="32" y="4"/>
                  <a:pt x="32" y="4"/>
                </a:cubicBezTo>
                <a:cubicBezTo>
                  <a:pt x="32" y="8"/>
                  <a:pt x="32" y="8"/>
                  <a:pt x="32" y="8"/>
                </a:cubicBezTo>
                <a:cubicBezTo>
                  <a:pt x="28" y="8"/>
                  <a:pt x="28" y="8"/>
                  <a:pt x="28" y="8"/>
                </a:cubicBezTo>
                <a:lnTo>
                  <a:pt x="28" y="4"/>
                </a:lnTo>
                <a:close/>
                <a:moveTo>
                  <a:pt x="8" y="52"/>
                </a:moveTo>
                <a:cubicBezTo>
                  <a:pt x="4" y="52"/>
                  <a:pt x="4" y="52"/>
                  <a:pt x="4" y="52"/>
                </a:cubicBezTo>
                <a:cubicBezTo>
                  <a:pt x="4" y="48"/>
                  <a:pt x="4" y="48"/>
                  <a:pt x="4" y="48"/>
                </a:cubicBezTo>
                <a:cubicBezTo>
                  <a:pt x="8" y="48"/>
                  <a:pt x="8" y="48"/>
                  <a:pt x="8" y="48"/>
                </a:cubicBezTo>
                <a:lnTo>
                  <a:pt x="8" y="52"/>
                </a:lnTo>
                <a:close/>
                <a:moveTo>
                  <a:pt x="32" y="52"/>
                </a:moveTo>
                <a:cubicBezTo>
                  <a:pt x="28" y="52"/>
                  <a:pt x="28" y="52"/>
                  <a:pt x="28" y="52"/>
                </a:cubicBezTo>
                <a:cubicBezTo>
                  <a:pt x="28" y="48"/>
                  <a:pt x="28" y="48"/>
                  <a:pt x="28" y="48"/>
                </a:cubicBezTo>
                <a:cubicBezTo>
                  <a:pt x="32" y="48"/>
                  <a:pt x="32" y="48"/>
                  <a:pt x="32" y="48"/>
                </a:cubicBezTo>
                <a:lnTo>
                  <a:pt x="32" y="52"/>
                </a:lnTo>
                <a:close/>
                <a:moveTo>
                  <a:pt x="56" y="52"/>
                </a:moveTo>
                <a:cubicBezTo>
                  <a:pt x="52" y="52"/>
                  <a:pt x="52" y="52"/>
                  <a:pt x="52" y="52"/>
                </a:cubicBezTo>
                <a:cubicBezTo>
                  <a:pt x="52" y="48"/>
                  <a:pt x="52" y="48"/>
                  <a:pt x="52" y="48"/>
                </a:cubicBezTo>
                <a:cubicBezTo>
                  <a:pt x="56" y="48"/>
                  <a:pt x="56" y="48"/>
                  <a:pt x="56" y="48"/>
                </a:cubicBezTo>
                <a:lnTo>
                  <a:pt x="56"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30" name="Group 29">
            <a:extLst>
              <a:ext uri="{FF2B5EF4-FFF2-40B4-BE49-F238E27FC236}">
                <a16:creationId xmlns:a16="http://schemas.microsoft.com/office/drawing/2014/main" id="{DFD81F7E-033A-4CA2-B9FE-9CB4E9D35595}"/>
              </a:ext>
            </a:extLst>
          </p:cNvPr>
          <p:cNvGrpSpPr/>
          <p:nvPr/>
        </p:nvGrpSpPr>
        <p:grpSpPr>
          <a:xfrm>
            <a:off x="8448150" y="-11528"/>
            <a:ext cx="1435548" cy="588143"/>
            <a:chOff x="8448150" y="-11528"/>
            <a:chExt cx="1435548" cy="588143"/>
          </a:xfrm>
        </p:grpSpPr>
        <p:pic>
          <p:nvPicPr>
            <p:cNvPr id="31" name="Picture 2" descr="5 ft x 3 ft 150 x 90 cm-DRAPEAU BELGE Belgique 100% Polyester ...">
              <a:extLst>
                <a:ext uri="{FF2B5EF4-FFF2-40B4-BE49-F238E27FC236}">
                  <a16:creationId xmlns:a16="http://schemas.microsoft.com/office/drawing/2014/main" id="{095D6C3A-E586-4C1E-BFC6-1EEFAEB24FE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33" name="Picture 2 - 1" descr="Drapeau des Pays-Bas — Wikipédia">
              <a:extLst>
                <a:ext uri="{FF2B5EF4-FFF2-40B4-BE49-F238E27FC236}">
                  <a16:creationId xmlns:a16="http://schemas.microsoft.com/office/drawing/2014/main" id="{8F802432-258C-4BBC-A85C-56D72A87CD7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34" name="Picture 2 - 2" descr="Drapeau du Luxembourg">
              <a:extLst>
                <a:ext uri="{FF2B5EF4-FFF2-40B4-BE49-F238E27FC236}">
                  <a16:creationId xmlns:a16="http://schemas.microsoft.com/office/drawing/2014/main" id="{558CFB5F-D536-41EF-9362-62BC5D4B9C5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35" name="ZoneTexte 18">
              <a:extLst>
                <a:ext uri="{FF2B5EF4-FFF2-40B4-BE49-F238E27FC236}">
                  <a16:creationId xmlns:a16="http://schemas.microsoft.com/office/drawing/2014/main" id="{4393F08B-F360-4114-9144-F6F81BBDB9E2}"/>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nvGrpSpPr>
            <p:cNvPr id="36" name="Groupe 85">
              <a:extLst>
                <a:ext uri="{FF2B5EF4-FFF2-40B4-BE49-F238E27FC236}">
                  <a16:creationId xmlns:a16="http://schemas.microsoft.com/office/drawing/2014/main" id="{BAEDA20D-8A12-43A7-99D9-552D2627CECA}"/>
                </a:ext>
              </a:extLst>
            </p:cNvPr>
            <p:cNvGrpSpPr/>
            <p:nvPr/>
          </p:nvGrpSpPr>
          <p:grpSpPr>
            <a:xfrm>
              <a:off x="8448150" y="-11528"/>
              <a:ext cx="1281748" cy="588143"/>
              <a:chOff x="8448150" y="-11528"/>
              <a:chExt cx="1281748" cy="588143"/>
            </a:xfrm>
          </p:grpSpPr>
          <p:sp>
            <p:nvSpPr>
              <p:cNvPr id="38" name="Rectangle : coins arrondis 199">
                <a:extLst>
                  <a:ext uri="{FF2B5EF4-FFF2-40B4-BE49-F238E27FC236}">
                    <a16:creationId xmlns:a16="http://schemas.microsoft.com/office/drawing/2014/main" id="{288C4FF0-58D1-403E-AAFA-C9B3DBAA5114}"/>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9" name="Rectangle : coins arrondis 200">
                <a:extLst>
                  <a:ext uri="{FF2B5EF4-FFF2-40B4-BE49-F238E27FC236}">
                    <a16:creationId xmlns:a16="http://schemas.microsoft.com/office/drawing/2014/main" id="{5C214B5A-57AB-4E17-A6F2-A3F69EA2189F}"/>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0" name="Rectangle : coins arrondis 201">
                <a:extLst>
                  <a:ext uri="{FF2B5EF4-FFF2-40B4-BE49-F238E27FC236}">
                    <a16:creationId xmlns:a16="http://schemas.microsoft.com/office/drawing/2014/main" id="{114913A6-B2F7-49ED-8405-7A3A95F41F89}"/>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1" name="ZoneTexte 18">
                <a:extLst>
                  <a:ext uri="{FF2B5EF4-FFF2-40B4-BE49-F238E27FC236}">
                    <a16:creationId xmlns:a16="http://schemas.microsoft.com/office/drawing/2014/main" id="{C3F9F24C-C121-4A29-890E-2329FCFF88E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43" name="Graphique 128" descr="Jauge">
                <a:extLst>
                  <a:ext uri="{FF2B5EF4-FFF2-40B4-BE49-F238E27FC236}">
                    <a16:creationId xmlns:a16="http://schemas.microsoft.com/office/drawing/2014/main" id="{C767151D-1757-49C5-93F9-A27CF5444E1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53764" y="187516"/>
                <a:ext cx="234953" cy="218224"/>
              </a:xfrm>
              <a:prstGeom prst="rect">
                <a:avLst/>
              </a:prstGeom>
              <a:effectLst/>
            </p:spPr>
          </p:pic>
          <p:pic>
            <p:nvPicPr>
              <p:cNvPr id="44" name="Graphique 90" descr="Poignée de main">
                <a:extLst>
                  <a:ext uri="{FF2B5EF4-FFF2-40B4-BE49-F238E27FC236}">
                    <a16:creationId xmlns:a16="http://schemas.microsoft.com/office/drawing/2014/main" id="{2DD37F37-3A21-4CE8-B5E1-400739857AF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960868" y="152880"/>
                <a:ext cx="256313" cy="287496"/>
              </a:xfrm>
              <a:prstGeom prst="rect">
                <a:avLst/>
              </a:prstGeom>
              <a:effectLst/>
            </p:spPr>
          </p:pic>
          <p:pic>
            <p:nvPicPr>
              <p:cNvPr id="45" name="Graphique 95" descr="Mégaphone">
                <a:extLst>
                  <a:ext uri="{FF2B5EF4-FFF2-40B4-BE49-F238E27FC236}">
                    <a16:creationId xmlns:a16="http://schemas.microsoft.com/office/drawing/2014/main" id="{CEA5858F-CACD-49C0-80DA-45D2B805D9A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389331" y="181519"/>
                <a:ext cx="233011" cy="216420"/>
              </a:xfrm>
              <a:prstGeom prst="rect">
                <a:avLst/>
              </a:prstGeom>
              <a:effectLst/>
            </p:spPr>
          </p:pic>
          <p:sp>
            <p:nvSpPr>
              <p:cNvPr id="46" name="ZoneTexte 18">
                <a:extLst>
                  <a:ext uri="{FF2B5EF4-FFF2-40B4-BE49-F238E27FC236}">
                    <a16:creationId xmlns:a16="http://schemas.microsoft.com/office/drawing/2014/main" id="{4153E6E1-171C-4F42-9C6E-6EAD280A8C60}"/>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enelux</a:t>
                </a:r>
              </a:p>
            </p:txBody>
          </p:sp>
        </p:grpSp>
      </p:grpSp>
      <p:sp>
        <p:nvSpPr>
          <p:cNvPr id="50" name="Rectangle 49">
            <a:extLst>
              <a:ext uri="{FF2B5EF4-FFF2-40B4-BE49-F238E27FC236}">
                <a16:creationId xmlns:a16="http://schemas.microsoft.com/office/drawing/2014/main" id="{A77F0CF3-1794-491A-9951-D4387D4A441A}"/>
              </a:ext>
            </a:extLst>
          </p:cNvPr>
          <p:cNvSpPr/>
          <p:nvPr/>
        </p:nvSpPr>
        <p:spPr bwMode="auto">
          <a:xfrm>
            <a:off x="7429143" y="4444880"/>
            <a:ext cx="1944283" cy="1821821"/>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2000" b="1">
                <a:solidFill>
                  <a:schemeClr val="bg1"/>
                </a:solidFill>
                <a:latin typeface="Trebuchet MS" panose="020B0603020202020204" pitchFamily="34" charset="0"/>
              </a:rPr>
              <a:t>€13m </a:t>
            </a:r>
          </a:p>
          <a:p>
            <a:pPr algn="ctr"/>
            <a:endParaRPr lang="en-GB" b="1">
              <a:solidFill>
                <a:schemeClr val="bg1"/>
              </a:solidFill>
              <a:latin typeface="Trebuchet MS" panose="020B0603020202020204" pitchFamily="34" charset="0"/>
            </a:endParaRPr>
          </a:p>
          <a:p>
            <a:pPr algn="ctr"/>
            <a:r>
              <a:rPr lang="en-GB" b="1">
                <a:solidFill>
                  <a:schemeClr val="bg1"/>
                </a:solidFill>
                <a:latin typeface="Trebuchet MS" panose="020B0603020202020204" pitchFamily="34" charset="0"/>
              </a:rPr>
              <a:t>potential in 4 years (2020-2024)</a:t>
            </a:r>
            <a:endParaRPr lang="en-GB" sz="2000" b="1">
              <a:solidFill>
                <a:schemeClr val="bg1"/>
              </a:solidFill>
              <a:latin typeface="Trebuchet MS" panose="020B0603020202020204" pitchFamily="34" charset="0"/>
            </a:endParaRPr>
          </a:p>
        </p:txBody>
      </p:sp>
      <p:sp>
        <p:nvSpPr>
          <p:cNvPr id="51" name="Freeform 13">
            <a:extLst>
              <a:ext uri="{FF2B5EF4-FFF2-40B4-BE49-F238E27FC236}">
                <a16:creationId xmlns:a16="http://schemas.microsoft.com/office/drawing/2014/main" id="{A063EF1D-84F8-4558-8653-3C41E985B077}"/>
              </a:ext>
            </a:extLst>
          </p:cNvPr>
          <p:cNvSpPr>
            <a:spLocks noEditPoints="1"/>
          </p:cNvSpPr>
          <p:nvPr/>
        </p:nvSpPr>
        <p:spPr bwMode="auto">
          <a:xfrm>
            <a:off x="8254786" y="4504343"/>
            <a:ext cx="292995" cy="269710"/>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pic>
        <p:nvPicPr>
          <p:cNvPr id="18" name="Graphique 17" descr="Panier de course">
            <a:extLst>
              <a:ext uri="{FF2B5EF4-FFF2-40B4-BE49-F238E27FC236}">
                <a16:creationId xmlns:a16="http://schemas.microsoft.com/office/drawing/2014/main" id="{C117EDC1-D2F3-42A0-835E-B08D06B3BFB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100796" y="4486476"/>
            <a:ext cx="469232" cy="469232"/>
          </a:xfrm>
          <a:prstGeom prst="rect">
            <a:avLst/>
          </a:prstGeom>
        </p:spPr>
      </p:pic>
      <p:sp>
        <p:nvSpPr>
          <p:cNvPr id="49" name="ZoneTexte 48">
            <a:hlinkClick r:id="rId18"/>
            <a:extLst>
              <a:ext uri="{FF2B5EF4-FFF2-40B4-BE49-F238E27FC236}">
                <a16:creationId xmlns:a16="http://schemas.microsoft.com/office/drawing/2014/main" id="{BCAFD85F-338D-4A8A-BA51-4AA534A0AE74}"/>
              </a:ext>
            </a:extLst>
          </p:cNvPr>
          <p:cNvSpPr txBox="1"/>
          <p:nvPr/>
        </p:nvSpPr>
        <p:spPr>
          <a:xfrm>
            <a:off x="7208907" y="6576081"/>
            <a:ext cx="1299505" cy="246221"/>
          </a:xfrm>
          <a:prstGeom prst="rect">
            <a:avLst/>
          </a:prstGeom>
          <a:noFill/>
        </p:spPr>
        <p:txBody>
          <a:bodyPr wrap="square" rtlCol="0">
            <a:spAutoFit/>
          </a:bodyPr>
          <a:lstStyle/>
          <a:p>
            <a:pPr algn="ctr">
              <a:spcBef>
                <a:spcPts val="600"/>
              </a:spcBef>
              <a:buClr>
                <a:schemeClr val="tx1"/>
              </a:buClr>
            </a:pPr>
            <a:r>
              <a:rPr lang="en-GB" sz="1000" i="1">
                <a:latin typeface="Trebuchet MS" panose="020B0603020202020204" pitchFamily="34" charset="0"/>
                <a:hlinkClick r:id="rId18"/>
              </a:rPr>
              <a:t>Press release</a:t>
            </a:r>
            <a:endParaRPr lang="en-GB" sz="1000" i="1">
              <a:solidFill>
                <a:schemeClr val="tx2"/>
              </a:solidFill>
              <a:latin typeface="Trebuchet MS" panose="020B0603020202020204" pitchFamily="34" charset="0"/>
            </a:endParaRPr>
          </a:p>
        </p:txBody>
      </p:sp>
      <p:sp>
        <p:nvSpPr>
          <p:cNvPr id="53" name="ZoneTexte 52">
            <a:extLst>
              <a:ext uri="{FF2B5EF4-FFF2-40B4-BE49-F238E27FC236}">
                <a16:creationId xmlns:a16="http://schemas.microsoft.com/office/drawing/2014/main" id="{9175CAA3-C14C-4E56-B174-06DC2A877E97}"/>
              </a:ext>
            </a:extLst>
          </p:cNvPr>
          <p:cNvSpPr txBox="1"/>
          <p:nvPr/>
        </p:nvSpPr>
        <p:spPr>
          <a:xfrm>
            <a:off x="4680534" y="1205971"/>
            <a:ext cx="4908300" cy="2323713"/>
          </a:xfrm>
          <a:prstGeom prst="rect">
            <a:avLst/>
          </a:prstGeom>
          <a:noFill/>
        </p:spPr>
        <p:txBody>
          <a:bodyPr wrap="square" rtlCol="0">
            <a:spAutoFit/>
          </a:bodyPr>
          <a:lstStyle/>
          <a:p>
            <a:pPr>
              <a:spcBef>
                <a:spcPts val="600"/>
              </a:spcBef>
            </a:pPr>
            <a:r>
              <a:rPr lang="en-GB" sz="1000" b="1" i="1"/>
              <a:t>Key differentiators of Altares dedicated product according to the EU:</a:t>
            </a:r>
          </a:p>
          <a:p>
            <a:pPr marL="361950" lvl="1" indent="-180975">
              <a:spcBef>
                <a:spcPts val="600"/>
              </a:spcBef>
              <a:buFont typeface="Wingdings" panose="05000000000000000000" pitchFamily="2" charset="2"/>
              <a:buChar char="ü"/>
            </a:pPr>
            <a:r>
              <a:rPr lang="en-GB" sz="1000">
                <a:solidFill>
                  <a:schemeClr val="tx2"/>
                </a:solidFill>
              </a:rPr>
              <a:t>General requirements </a:t>
            </a:r>
            <a:r>
              <a:rPr lang="en-GB" sz="1000" i="1"/>
              <a:t>(37/55 points)</a:t>
            </a:r>
          </a:p>
          <a:p>
            <a:pPr marL="361950" lvl="1">
              <a:spcBef>
                <a:spcPts val="0"/>
              </a:spcBef>
            </a:pPr>
            <a:r>
              <a:rPr lang="en-GB" sz="1000" i="1"/>
              <a:t>(good coverage for : basic data, confidential &amp; personal data, periodicity &amp; historical coverage, geo, size, classification, currency, language, update frequency, data quality, investigations, support)</a:t>
            </a:r>
          </a:p>
          <a:p>
            <a:pPr marL="361950" lvl="1" indent="-180975">
              <a:spcBef>
                <a:spcPts val="600"/>
              </a:spcBef>
              <a:buFont typeface="Wingdings" panose="05000000000000000000" pitchFamily="2" charset="2"/>
              <a:buChar char="ü"/>
            </a:pPr>
            <a:r>
              <a:rPr lang="en-GB" sz="1000">
                <a:solidFill>
                  <a:schemeClr val="tx2"/>
                </a:solidFill>
              </a:rPr>
              <a:t>Specific requirements </a:t>
            </a:r>
            <a:r>
              <a:rPr lang="en-GB" sz="1000" i="1"/>
              <a:t>(25/25 points)</a:t>
            </a:r>
          </a:p>
          <a:p>
            <a:pPr marL="361950" lvl="2">
              <a:spcBef>
                <a:spcPts val="0"/>
              </a:spcBef>
            </a:pPr>
            <a:r>
              <a:rPr lang="en-GB" sz="1000" i="1"/>
              <a:t>(Excellent coverage : Balance sheet assets, Balance sheet liabilities, P&amp;L accounts, information on notes) + Global financials = User-friendly tool</a:t>
            </a:r>
          </a:p>
          <a:p>
            <a:pPr marL="361950" lvl="1" indent="-180975">
              <a:spcBef>
                <a:spcPts val="600"/>
              </a:spcBef>
              <a:buFont typeface="Wingdings" panose="05000000000000000000" pitchFamily="2" charset="2"/>
              <a:buChar char="ü"/>
            </a:pPr>
            <a:r>
              <a:rPr lang="en-GB" sz="1000">
                <a:solidFill>
                  <a:schemeClr val="tx2"/>
                </a:solidFill>
              </a:rPr>
              <a:t>IP requirements </a:t>
            </a:r>
            <a:r>
              <a:rPr lang="en-GB" sz="1000" i="1"/>
              <a:t>(9/10 points)</a:t>
            </a:r>
          </a:p>
          <a:p>
            <a:pPr marL="361950" lvl="1" indent="-180975">
              <a:spcBef>
                <a:spcPts val="600"/>
              </a:spcBef>
              <a:buFont typeface="Wingdings" panose="05000000000000000000" pitchFamily="2" charset="2"/>
              <a:buChar char="ü"/>
            </a:pPr>
            <a:r>
              <a:rPr lang="en-GB" sz="1000">
                <a:solidFill>
                  <a:schemeClr val="tx2"/>
                </a:solidFill>
              </a:rPr>
              <a:t>Surprise effect </a:t>
            </a:r>
            <a:r>
              <a:rPr lang="en-GB" sz="1000"/>
              <a:t>of Altares replying to tender with </a:t>
            </a:r>
            <a:r>
              <a:rPr lang="en-GB" sz="1000">
                <a:solidFill>
                  <a:schemeClr val="tx2"/>
                </a:solidFill>
              </a:rPr>
              <a:t>10 years worth of historical financial data </a:t>
            </a:r>
            <a:r>
              <a:rPr lang="en-GB" sz="1000"/>
              <a:t>in the package with pricing</a:t>
            </a:r>
          </a:p>
          <a:p>
            <a:pPr>
              <a:spcBef>
                <a:spcPts val="600"/>
              </a:spcBef>
            </a:pPr>
            <a:endParaRPr lang="en-GB" sz="1000" b="1" i="1"/>
          </a:p>
        </p:txBody>
      </p:sp>
      <p:cxnSp>
        <p:nvCxnSpPr>
          <p:cNvPr id="54" name="Connecteur droit 208">
            <a:extLst>
              <a:ext uri="{FF2B5EF4-FFF2-40B4-BE49-F238E27FC236}">
                <a16:creationId xmlns:a16="http://schemas.microsoft.com/office/drawing/2014/main" id="{5C438ED8-9E09-415B-B811-54A4A80F7657}"/>
              </a:ext>
            </a:extLst>
          </p:cNvPr>
          <p:cNvCxnSpPr>
            <a:cxnSpLocks/>
          </p:cNvCxnSpPr>
          <p:nvPr/>
        </p:nvCxnSpPr>
        <p:spPr bwMode="auto">
          <a:xfrm>
            <a:off x="4614075" y="1229284"/>
            <a:ext cx="0" cy="2874960"/>
          </a:xfrm>
          <a:prstGeom prst="line">
            <a:avLst/>
          </a:prstGeom>
          <a:solidFill>
            <a:schemeClr val="accent1"/>
          </a:solidFill>
          <a:ln w="9525" cap="flat" cmpd="sng" algn="ctr">
            <a:solidFill>
              <a:schemeClr val="tx2"/>
            </a:solidFill>
            <a:prstDash val="solid"/>
            <a:round/>
            <a:headEnd type="none" w="med" len="med"/>
            <a:tailEnd type="none" w="med" len="med"/>
          </a:ln>
          <a:effectLst/>
        </p:spPr>
      </p:cxnSp>
      <p:pic>
        <p:nvPicPr>
          <p:cNvPr id="42" name="Picture 2">
            <a:extLst>
              <a:ext uri="{FF2B5EF4-FFF2-40B4-BE49-F238E27FC236}">
                <a16:creationId xmlns:a16="http://schemas.microsoft.com/office/drawing/2014/main" id="{C1CDD2A2-E588-46FE-887A-73D67DEDA23F}"/>
              </a:ext>
            </a:extLst>
          </p:cNvPr>
          <p:cNvPicPr>
            <a:picLocks noChangeAspect="1" noChangeArrowheads="1"/>
          </p:cNvPicPr>
          <p:nvPr/>
        </p:nvPicPr>
        <p:blipFill>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166" y="1110396"/>
            <a:ext cx="798675" cy="5561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2596698"/>
      </p:ext>
    </p:extLst>
  </p:cSld>
  <p:clrMapOvr>
    <a:masterClrMapping/>
  </p:clrMapOvr>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122C107-C2A1-4953-9350-91B7A10F6DE1}"/>
              </a:ext>
            </a:extLst>
          </p:cNvPr>
          <p:cNvGraphicFramePr>
            <a:graphicFrameLocks noChangeAspect="1"/>
          </p:cNvGraphicFramePr>
          <p:nvPr>
            <p:custDataLst>
              <p:tags r:id="rId1"/>
            </p:custDataLst>
            <p:extLst>
              <p:ext uri="{D42A27DB-BD31-4B8C-83A1-F6EECF244321}">
                <p14:modId xmlns:p14="http://schemas.microsoft.com/office/powerpoint/2010/main" val="713323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11" name="Object 10" hidden="1">
                        <a:extLst>
                          <a:ext uri="{FF2B5EF4-FFF2-40B4-BE49-F238E27FC236}">
                            <a16:creationId xmlns:a16="http://schemas.microsoft.com/office/drawing/2014/main" id="{E122C107-C2A1-4953-9350-91B7A10F6D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619634F8-055C-4FE0-B70D-01CBBCB4F21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7" name="Rectangle 6">
            <a:extLst>
              <a:ext uri="{FF2B5EF4-FFF2-40B4-BE49-F238E27FC236}">
                <a16:creationId xmlns:a16="http://schemas.microsoft.com/office/drawing/2014/main" id="{EBF3DBD7-C675-4024-92B6-6C55E034F498}"/>
              </a:ext>
            </a:extLst>
          </p:cNvPr>
          <p:cNvSpPr/>
          <p:nvPr/>
        </p:nvSpPr>
        <p:spPr bwMode="auto">
          <a:xfrm>
            <a:off x="3726880" y="1187753"/>
            <a:ext cx="6072714" cy="51790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le 1">
            <a:extLst>
              <a:ext uri="{FF2B5EF4-FFF2-40B4-BE49-F238E27FC236}">
                <a16:creationId xmlns:a16="http://schemas.microsoft.com/office/drawing/2014/main" id="{A9C092F8-DE50-48F2-8C73-D86A5F6F272A}"/>
              </a:ext>
            </a:extLst>
          </p:cNvPr>
          <p:cNvSpPr>
            <a:spLocks noGrp="1"/>
          </p:cNvSpPr>
          <p:nvPr>
            <p:ph type="title"/>
          </p:nvPr>
        </p:nvSpPr>
        <p:spPr>
          <a:xfrm>
            <a:off x="165600" y="147600"/>
            <a:ext cx="8342811" cy="684000"/>
          </a:xfrm>
        </p:spPr>
        <p:txBody>
          <a:bodyPr/>
          <a:lstStyle/>
          <a:p>
            <a:r>
              <a:rPr lang="en-GB" dirty="0"/>
              <a:t>Altares’ Benelux database contains all incomes in Benelux, </a:t>
            </a:r>
            <a:r>
              <a:rPr lang="en-GB" dirty="0">
                <a:solidFill>
                  <a:schemeClr val="tx2"/>
                </a:solidFill>
              </a:rPr>
              <a:t>including indirect DB&amp;I and one shot-incomes</a:t>
            </a:r>
            <a:r>
              <a:rPr lang="en-GB" dirty="0"/>
              <a:t>, but due to a </a:t>
            </a:r>
            <a:r>
              <a:rPr lang="en-GB" dirty="0">
                <a:solidFill>
                  <a:schemeClr val="tx2"/>
                </a:solidFill>
              </a:rPr>
              <a:t>change in one-shot contracts identification </a:t>
            </a:r>
            <a:r>
              <a:rPr lang="en-GB" dirty="0"/>
              <a:t>only DB&amp;I incomes can be excluded from customers cohorts </a:t>
            </a:r>
          </a:p>
        </p:txBody>
      </p:sp>
      <p:sp>
        <p:nvSpPr>
          <p:cNvPr id="3" name="Text Placeholder 2">
            <a:extLst>
              <a:ext uri="{FF2B5EF4-FFF2-40B4-BE49-F238E27FC236}">
                <a16:creationId xmlns:a16="http://schemas.microsoft.com/office/drawing/2014/main" id="{7851D9B2-2606-4A80-88A9-9AB3D973C3CD}"/>
              </a:ext>
            </a:extLst>
          </p:cNvPr>
          <p:cNvSpPr>
            <a:spLocks noGrp="1"/>
          </p:cNvSpPr>
          <p:nvPr>
            <p:ph type="body" sz="quarter" idx="10"/>
          </p:nvPr>
        </p:nvSpPr>
        <p:spPr/>
        <p:txBody>
          <a:bodyPr/>
          <a:lstStyle/>
          <a:p>
            <a:r>
              <a:rPr lang="en-GB" sz="800" i="1" kern="0" dirty="0"/>
              <a:t>Sources: eleven research &amp; analysis, company data</a:t>
            </a:r>
          </a:p>
        </p:txBody>
      </p:sp>
      <p:graphicFrame>
        <p:nvGraphicFramePr>
          <p:cNvPr id="6" name="Chart 5">
            <a:extLst>
              <a:ext uri="{FF2B5EF4-FFF2-40B4-BE49-F238E27FC236}">
                <a16:creationId xmlns:a16="http://schemas.microsoft.com/office/drawing/2014/main" id="{37EB0EFE-379A-43A9-9CAC-8975DFC8C60C}"/>
              </a:ext>
            </a:extLst>
          </p:cNvPr>
          <p:cNvGraphicFramePr/>
          <p:nvPr>
            <p:extLst>
              <p:ext uri="{D42A27DB-BD31-4B8C-83A1-F6EECF244321}">
                <p14:modId xmlns:p14="http://schemas.microsoft.com/office/powerpoint/2010/main" val="1290353860"/>
              </p:ext>
            </p:extLst>
          </p:nvPr>
        </p:nvGraphicFramePr>
        <p:xfrm>
          <a:off x="4064000" y="1857499"/>
          <a:ext cx="5441070" cy="3042950"/>
        </p:xfrm>
        <a:graphic>
          <a:graphicData uri="http://schemas.openxmlformats.org/drawingml/2006/chart">
            <c:chart xmlns:c="http://schemas.openxmlformats.org/drawingml/2006/chart" xmlns:r="http://schemas.openxmlformats.org/officeDocument/2006/relationships" r:id="rId6"/>
          </a:graphicData>
        </a:graphic>
      </p:graphicFrame>
      <p:sp>
        <p:nvSpPr>
          <p:cNvPr id="10" name="Bulle narrative : rectangle 3">
            <a:extLst>
              <a:ext uri="{FF2B5EF4-FFF2-40B4-BE49-F238E27FC236}">
                <a16:creationId xmlns:a16="http://schemas.microsoft.com/office/drawing/2014/main" id="{12E7F362-7A19-4F28-9E1C-3035F304B89B}"/>
              </a:ext>
            </a:extLst>
          </p:cNvPr>
          <p:cNvSpPr/>
          <p:nvPr/>
        </p:nvSpPr>
        <p:spPr bwMode="auto">
          <a:xfrm>
            <a:off x="6253959" y="5052851"/>
            <a:ext cx="1694489" cy="1052239"/>
          </a:xfrm>
          <a:prstGeom prst="wedgeRectCallout">
            <a:avLst>
              <a:gd name="adj1" fmla="val -25187"/>
              <a:gd name="adj2" fmla="val -62986"/>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9600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effectLst/>
                <a:latin typeface="Trebuchet MS" panose="020B0603020202020204" pitchFamily="34" charset="0"/>
              </a:rPr>
              <a:t>Scope of the Benelux cohort analyses</a:t>
            </a:r>
            <a:endParaRPr lang="en-GB" sz="1000">
              <a:solidFill>
                <a:schemeClr val="tx2"/>
              </a:solidFill>
              <a:latin typeface="Trebuchet MS" panose="020B0603020202020204" pitchFamily="34" charset="0"/>
            </a:endParaRPr>
          </a:p>
        </p:txBody>
      </p:sp>
      <p:sp>
        <p:nvSpPr>
          <p:cNvPr id="18" name="Rectangle 17">
            <a:extLst>
              <a:ext uri="{FF2B5EF4-FFF2-40B4-BE49-F238E27FC236}">
                <a16:creationId xmlns:a16="http://schemas.microsoft.com/office/drawing/2014/main" id="{65ED09B0-F036-4FC2-B53D-050CD99BDAB8}"/>
              </a:ext>
            </a:extLst>
          </p:cNvPr>
          <p:cNvSpPr/>
          <p:nvPr/>
        </p:nvSpPr>
        <p:spPr bwMode="auto">
          <a:xfrm>
            <a:off x="3857133" y="1187753"/>
            <a:ext cx="4589741"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Altares</a:t>
            </a:r>
            <a:r>
              <a:rPr lang="en-GB" sz="1000" b="1" i="1">
                <a:latin typeface="Trebuchet MS" panose="020B0603020202020204" pitchFamily="34" charset="0"/>
              </a:rPr>
              <a:t>’ bookings in Benelux between 2017 and 2019,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4" name="Rectangle 3">
            <a:extLst>
              <a:ext uri="{FF2B5EF4-FFF2-40B4-BE49-F238E27FC236}">
                <a16:creationId xmlns:a16="http://schemas.microsoft.com/office/drawing/2014/main" id="{C40F9BE8-DEA2-4A7A-B4F4-A41963A7C953}"/>
              </a:ext>
            </a:extLst>
          </p:cNvPr>
          <p:cNvSpPr/>
          <p:nvPr/>
        </p:nvSpPr>
        <p:spPr bwMode="auto">
          <a:xfrm>
            <a:off x="4687768" y="2508639"/>
            <a:ext cx="4682837" cy="1812382"/>
          </a:xfrm>
          <a:prstGeom prst="rect">
            <a:avLst/>
          </a:prstGeom>
          <a:solidFill>
            <a:schemeClr val="bg1">
              <a:alpha val="17000"/>
            </a:schemeClr>
          </a:solidFill>
          <a:ln w="9525" cap="flat" cmpd="sng" algn="ctr">
            <a:solidFill>
              <a:schemeClr val="tx2"/>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tx1"/>
              </a:solidFill>
              <a:effectLst/>
              <a:latin typeface="Trebuchet MS" pitchFamily="34" charset="0"/>
            </a:endParaRPr>
          </a:p>
        </p:txBody>
      </p:sp>
      <p:pic>
        <p:nvPicPr>
          <p:cNvPr id="8" name="Graphic 7" descr="Target">
            <a:extLst>
              <a:ext uri="{FF2B5EF4-FFF2-40B4-BE49-F238E27FC236}">
                <a16:creationId xmlns:a16="http://schemas.microsoft.com/office/drawing/2014/main" id="{3870302C-F0E4-4FA8-AEDF-872DDB33189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79532" y="5345663"/>
            <a:ext cx="466614" cy="466614"/>
          </a:xfrm>
          <a:prstGeom prst="rect">
            <a:avLst/>
          </a:prstGeom>
        </p:spPr>
      </p:pic>
      <p:sp>
        <p:nvSpPr>
          <p:cNvPr id="5" name="Triangle isocèle 4">
            <a:extLst>
              <a:ext uri="{FF2B5EF4-FFF2-40B4-BE49-F238E27FC236}">
                <a16:creationId xmlns:a16="http://schemas.microsoft.com/office/drawing/2014/main" id="{3694CAAF-97C0-4166-BCDF-B07BD7F77373}"/>
              </a:ext>
            </a:extLst>
          </p:cNvPr>
          <p:cNvSpPr/>
          <p:nvPr/>
        </p:nvSpPr>
        <p:spPr bwMode="auto">
          <a:xfrm rot="5400000">
            <a:off x="2997273" y="3644337"/>
            <a:ext cx="1058625" cy="294743"/>
          </a:xfrm>
          <a:prstGeom prst="triangle">
            <a:avLst/>
          </a:prstGeom>
          <a:solidFill>
            <a:schemeClr val="tx2"/>
          </a:solidFill>
          <a:ln w="9525" cap="flat" cmpd="sng" algn="ctr">
            <a:solidFill>
              <a:srgbClr val="289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tx1"/>
              </a:solidFill>
              <a:effectLst/>
              <a:latin typeface="Trebuchet MS" pitchFamily="34" charset="0"/>
            </a:endParaRPr>
          </a:p>
        </p:txBody>
      </p:sp>
      <p:cxnSp>
        <p:nvCxnSpPr>
          <p:cNvPr id="36" name="Connecteur droit 35">
            <a:extLst>
              <a:ext uri="{FF2B5EF4-FFF2-40B4-BE49-F238E27FC236}">
                <a16:creationId xmlns:a16="http://schemas.microsoft.com/office/drawing/2014/main" id="{B23E44B2-BC07-4B2C-AC1D-FB8114B25E80}"/>
              </a:ext>
            </a:extLst>
          </p:cNvPr>
          <p:cNvCxnSpPr/>
          <p:nvPr/>
        </p:nvCxnSpPr>
        <p:spPr bwMode="auto">
          <a:xfrm>
            <a:off x="3380509" y="1301553"/>
            <a:ext cx="0" cy="5060287"/>
          </a:xfrm>
          <a:prstGeom prst="line">
            <a:avLst/>
          </a:prstGeom>
          <a:solidFill>
            <a:schemeClr val="accent1"/>
          </a:solidFill>
          <a:ln w="9525" cap="flat" cmpd="sng" algn="ctr">
            <a:solidFill>
              <a:srgbClr val="289B38"/>
            </a:solidFill>
            <a:prstDash val="solid"/>
            <a:round/>
            <a:headEnd type="none" w="med" len="med"/>
            <a:tailEnd type="none" w="med" len="med"/>
          </a:ln>
          <a:effectLst/>
        </p:spPr>
      </p:cxnSp>
      <p:grpSp>
        <p:nvGrpSpPr>
          <p:cNvPr id="37" name="Group 36">
            <a:extLst>
              <a:ext uri="{FF2B5EF4-FFF2-40B4-BE49-F238E27FC236}">
                <a16:creationId xmlns:a16="http://schemas.microsoft.com/office/drawing/2014/main" id="{092EAEAA-FA04-4BFC-A632-0EEDDC04F8F2}"/>
              </a:ext>
            </a:extLst>
          </p:cNvPr>
          <p:cNvGrpSpPr/>
          <p:nvPr/>
        </p:nvGrpSpPr>
        <p:grpSpPr>
          <a:xfrm>
            <a:off x="189738" y="1081669"/>
            <a:ext cx="2857451" cy="5280171"/>
            <a:chOff x="3551313" y="1094684"/>
            <a:chExt cx="2857451" cy="5280171"/>
          </a:xfrm>
        </p:grpSpPr>
        <p:sp>
          <p:nvSpPr>
            <p:cNvPr id="38" name="Rectangle 37">
              <a:extLst>
                <a:ext uri="{FF2B5EF4-FFF2-40B4-BE49-F238E27FC236}">
                  <a16:creationId xmlns:a16="http://schemas.microsoft.com/office/drawing/2014/main" id="{A47AFCAF-22A5-4C3E-8189-6BCCE031E9F7}"/>
                </a:ext>
              </a:extLst>
            </p:cNvPr>
            <p:cNvSpPr/>
            <p:nvPr/>
          </p:nvSpPr>
          <p:spPr bwMode="auto">
            <a:xfrm>
              <a:off x="3725907" y="1248620"/>
              <a:ext cx="2682857" cy="377778"/>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39" name="Picture 2 - 1" descr="Drapeau des Pays-Bas — Wikipédia">
              <a:extLst>
                <a:ext uri="{FF2B5EF4-FFF2-40B4-BE49-F238E27FC236}">
                  <a16:creationId xmlns:a16="http://schemas.microsoft.com/office/drawing/2014/main" id="{AE0744A2-205D-417D-B342-C5CACD9EC65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55096" y="1314568"/>
              <a:ext cx="407918"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40" name="Picture 2" descr="5 ft x 3 ft 150 x 90 cm-DRAPEAU BELGE Belgique 100% Polyester ...">
              <a:extLst>
                <a:ext uri="{FF2B5EF4-FFF2-40B4-BE49-F238E27FC236}">
                  <a16:creationId xmlns:a16="http://schemas.microsoft.com/office/drawing/2014/main" id="{8E0D853B-28B8-40CC-A67C-A12CFBD1D25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73"/>
            <a:stretch/>
          </p:blipFill>
          <p:spPr bwMode="auto">
            <a:xfrm>
              <a:off x="5492160" y="1314568"/>
              <a:ext cx="407923"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41" name="Picture 5" descr="A picture containing bird&#10;&#10;Description automatically generated">
              <a:extLst>
                <a:ext uri="{FF2B5EF4-FFF2-40B4-BE49-F238E27FC236}">
                  <a16:creationId xmlns:a16="http://schemas.microsoft.com/office/drawing/2014/main" id="{54CAF3D6-5073-4B28-AF99-56445FA1028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873626" y="1314568"/>
              <a:ext cx="407923" cy="245391"/>
            </a:xfrm>
            <a:prstGeom prst="roundRect">
              <a:avLst/>
            </a:prstGeom>
            <a:noFill/>
          </p:spPr>
        </p:pic>
        <p:sp>
          <p:nvSpPr>
            <p:cNvPr id="42" name="Triangle isocèle 5">
              <a:extLst>
                <a:ext uri="{FF2B5EF4-FFF2-40B4-BE49-F238E27FC236}">
                  <a16:creationId xmlns:a16="http://schemas.microsoft.com/office/drawing/2014/main" id="{15E5D918-8CCB-4F77-9496-14ABB7FA14DA}"/>
                </a:ext>
              </a:extLst>
            </p:cNvPr>
            <p:cNvSpPr/>
            <p:nvPr/>
          </p:nvSpPr>
          <p:spPr bwMode="auto">
            <a:xfrm flipV="1">
              <a:off x="3719666" y="1674753"/>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3" name="Ellipse 16">
              <a:extLst>
                <a:ext uri="{FF2B5EF4-FFF2-40B4-BE49-F238E27FC236}">
                  <a16:creationId xmlns:a16="http://schemas.microsoft.com/office/drawing/2014/main" id="{EEE472E5-0774-45B0-8093-C405F2313493}"/>
                </a:ext>
              </a:extLst>
            </p:cNvPr>
            <p:cNvSpPr/>
            <p:nvPr/>
          </p:nvSpPr>
          <p:spPr bwMode="auto">
            <a:xfrm>
              <a:off x="3551313" y="1094684"/>
              <a:ext cx="349188" cy="33417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2</a:t>
              </a:r>
            </a:p>
          </p:txBody>
        </p:sp>
        <p:sp>
          <p:nvSpPr>
            <p:cNvPr id="44" name="Rectangle 43">
              <a:extLst>
                <a:ext uri="{FF2B5EF4-FFF2-40B4-BE49-F238E27FC236}">
                  <a16:creationId xmlns:a16="http://schemas.microsoft.com/office/drawing/2014/main" id="{F8FBAB61-8009-488D-8954-EF75FBA86C3F}"/>
                </a:ext>
              </a:extLst>
            </p:cNvPr>
            <p:cNvSpPr/>
            <p:nvPr/>
          </p:nvSpPr>
          <p:spPr bwMode="auto">
            <a:xfrm>
              <a:off x="3719666" y="1893455"/>
              <a:ext cx="2682856" cy="360218"/>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0" i="0" u="none" strike="noStrike" cap="none" normalizeH="0" baseline="0" dirty="0">
                  <a:ln>
                    <a:noFill/>
                  </a:ln>
                  <a:solidFill>
                    <a:schemeClr val="tx1"/>
                  </a:solidFill>
                  <a:effectLst/>
                  <a:latin typeface="Trebuchet MS" pitchFamily="34" charset="0"/>
                </a:rPr>
                <a:t>Total Revenue 2019 (from BP): </a:t>
              </a:r>
              <a:r>
                <a:rPr lang="en-GB" sz="1050" b="1" dirty="0">
                  <a:solidFill>
                    <a:schemeClr val="tx2"/>
                  </a:solidFill>
                  <a:latin typeface="Trebuchet MS" pitchFamily="34" charset="0"/>
                </a:rPr>
                <a:t>53.9 €m</a:t>
              </a:r>
            </a:p>
          </p:txBody>
        </p:sp>
        <p:sp>
          <p:nvSpPr>
            <p:cNvPr id="45" name="Triangle isocèle 5">
              <a:extLst>
                <a:ext uri="{FF2B5EF4-FFF2-40B4-BE49-F238E27FC236}">
                  <a16:creationId xmlns:a16="http://schemas.microsoft.com/office/drawing/2014/main" id="{22D94A3D-1B09-4BD6-94F6-B976416E7EE2}"/>
                </a:ext>
              </a:extLst>
            </p:cNvPr>
            <p:cNvSpPr/>
            <p:nvPr/>
          </p:nvSpPr>
          <p:spPr bwMode="auto">
            <a:xfrm flipV="1">
              <a:off x="3719666" y="2396032"/>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46" name="Rectangle 45">
              <a:extLst>
                <a:ext uri="{FF2B5EF4-FFF2-40B4-BE49-F238E27FC236}">
                  <a16:creationId xmlns:a16="http://schemas.microsoft.com/office/drawing/2014/main" id="{722279B3-5E85-47E4-91D1-F5A3B69F8A9B}"/>
                </a:ext>
              </a:extLst>
            </p:cNvPr>
            <p:cNvSpPr/>
            <p:nvPr/>
          </p:nvSpPr>
          <p:spPr bwMode="auto">
            <a:xfrm>
              <a:off x="3719666" y="2664013"/>
              <a:ext cx="2682856" cy="3710842"/>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Booking: </a:t>
              </a:r>
              <a:r>
                <a:rPr lang="en-GB" sz="1100">
                  <a:latin typeface="Trebuchet MS" pitchFamily="34" charset="0"/>
                </a:rPr>
                <a:t>54.11 </a:t>
              </a:r>
              <a:r>
                <a:rPr kumimoji="0" lang="en-GB" sz="1100" b="0" i="0" u="none" strike="noStrike" cap="none" normalizeH="0" baseline="0">
                  <a:ln>
                    <a:noFill/>
                  </a:ln>
                  <a:solidFill>
                    <a:schemeClr val="tx1"/>
                  </a:solidFill>
                  <a:effectLst/>
                  <a:latin typeface="Trebuchet MS" pitchFamily="34" charset="0"/>
                </a:rPr>
                <a:t>€m</a:t>
              </a:r>
            </a:p>
          </p:txBody>
        </p:sp>
        <p:sp>
          <p:nvSpPr>
            <p:cNvPr id="47" name="Rectangle 46">
              <a:extLst>
                <a:ext uri="{FF2B5EF4-FFF2-40B4-BE49-F238E27FC236}">
                  <a16:creationId xmlns:a16="http://schemas.microsoft.com/office/drawing/2014/main" id="{1A2B16DE-B0B6-48B6-8D23-D19FFC1BC317}"/>
                </a:ext>
              </a:extLst>
            </p:cNvPr>
            <p:cNvSpPr/>
            <p:nvPr/>
          </p:nvSpPr>
          <p:spPr bwMode="auto">
            <a:xfrm>
              <a:off x="4144881" y="3043720"/>
              <a:ext cx="1832426" cy="632935"/>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err="1">
                  <a:ln>
                    <a:noFill/>
                  </a:ln>
                  <a:solidFill>
                    <a:schemeClr val="tx1"/>
                  </a:solidFill>
                  <a:effectLst/>
                  <a:latin typeface="Trebuchet MS" pitchFamily="34" charset="0"/>
                </a:rPr>
                <a:t>D&amp;Bi</a:t>
              </a:r>
              <a:endParaRPr kumimoji="0" lang="en-GB" sz="11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lang="en-GB" sz="11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1100">
                  <a:latin typeface="Trebuchet MS" pitchFamily="34" charset="0"/>
                </a:rPr>
                <a:t>7.81</a:t>
              </a:r>
              <a:r>
                <a:rPr kumimoji="0" lang="en-GB" sz="1100" b="0" i="0" u="none" strike="noStrike" cap="none" normalizeH="0" baseline="0">
                  <a:ln>
                    <a:noFill/>
                  </a:ln>
                  <a:solidFill>
                    <a:schemeClr val="tx1"/>
                  </a:solidFill>
                  <a:effectLst/>
                  <a:latin typeface="Trebuchet MS" pitchFamily="34" charset="0"/>
                </a:rPr>
                <a:t> €m</a:t>
              </a:r>
            </a:p>
          </p:txBody>
        </p:sp>
        <p:sp>
          <p:nvSpPr>
            <p:cNvPr id="48" name="Rectangle 47">
              <a:extLst>
                <a:ext uri="{FF2B5EF4-FFF2-40B4-BE49-F238E27FC236}">
                  <a16:creationId xmlns:a16="http://schemas.microsoft.com/office/drawing/2014/main" id="{07FC9E1F-8E8F-429C-8E66-E1E1734654AC}"/>
                </a:ext>
              </a:extLst>
            </p:cNvPr>
            <p:cNvSpPr/>
            <p:nvPr/>
          </p:nvSpPr>
          <p:spPr bwMode="auto">
            <a:xfrm>
              <a:off x="4144881" y="3819014"/>
              <a:ext cx="1832426" cy="1790366"/>
            </a:xfrm>
            <a:prstGeom prst="rect">
              <a:avLst/>
            </a:prstGeom>
            <a:solidFill>
              <a:schemeClr val="bg2">
                <a:lumMod val="20000"/>
                <a:lumOff val="80000"/>
              </a:schemeClr>
            </a:solidFill>
            <a:ln w="38100" cap="flat" cmpd="sng" algn="ctr">
              <a:solidFill>
                <a:srgbClr val="289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err="1">
                  <a:ln>
                    <a:noFill/>
                  </a:ln>
                  <a:effectLst/>
                  <a:latin typeface="Trebuchet MS" pitchFamily="34" charset="0"/>
                </a:rPr>
                <a:t>Non-D&amp;Bi</a:t>
              </a:r>
              <a:endParaRPr kumimoji="0" lang="en-GB" sz="1100" b="0" i="0" u="none" strike="noStrike" cap="none" normalizeH="0" baseline="0">
                <a:ln>
                  <a:noFill/>
                </a:ln>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lang="en-GB" sz="11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1050" b="1">
                  <a:solidFill>
                    <a:schemeClr val="tx2"/>
                  </a:solidFill>
                  <a:latin typeface="Trebuchet MS" pitchFamily="34" charset="0"/>
                </a:rPr>
                <a:t>46.30 €m</a:t>
              </a:r>
            </a:p>
          </p:txBody>
        </p:sp>
        <p:sp>
          <p:nvSpPr>
            <p:cNvPr id="49" name="Triangle isocèle 37">
              <a:extLst>
                <a:ext uri="{FF2B5EF4-FFF2-40B4-BE49-F238E27FC236}">
                  <a16:creationId xmlns:a16="http://schemas.microsoft.com/office/drawing/2014/main" id="{7820694D-67C8-46D0-95B3-0F555B029C8B}"/>
                </a:ext>
              </a:extLst>
            </p:cNvPr>
            <p:cNvSpPr/>
            <p:nvPr/>
          </p:nvSpPr>
          <p:spPr bwMode="auto">
            <a:xfrm flipV="1">
              <a:off x="4099747" y="5681634"/>
              <a:ext cx="1874782" cy="13291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2"/>
                </a:solidFill>
                <a:effectLst/>
                <a:latin typeface="Trebuchet MS" pitchFamily="34" charset="0"/>
              </a:endParaRPr>
            </a:p>
          </p:txBody>
        </p:sp>
        <p:sp>
          <p:nvSpPr>
            <p:cNvPr id="50" name="Rectangle 49">
              <a:extLst>
                <a:ext uri="{FF2B5EF4-FFF2-40B4-BE49-F238E27FC236}">
                  <a16:creationId xmlns:a16="http://schemas.microsoft.com/office/drawing/2014/main" id="{1E6B9AF3-94E4-40B7-9207-957AF0274381}"/>
                </a:ext>
              </a:extLst>
            </p:cNvPr>
            <p:cNvSpPr/>
            <p:nvPr/>
          </p:nvSpPr>
          <p:spPr bwMode="auto">
            <a:xfrm>
              <a:off x="4123703" y="5886805"/>
              <a:ext cx="1850825" cy="385281"/>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solidFill>
                    <a:schemeClr val="bg1"/>
                  </a:solidFill>
                  <a:latin typeface="Trebuchet MS" pitchFamily="34" charset="0"/>
                </a:rPr>
                <a:t>Scope of the customer cohorts’ analysis</a:t>
              </a:r>
              <a:endParaRPr kumimoji="0" lang="en-GB" sz="1100" b="0" i="0" u="none" strike="noStrike" cap="none" normalizeH="0" baseline="0">
                <a:ln>
                  <a:noFill/>
                </a:ln>
                <a:solidFill>
                  <a:schemeClr val="bg1"/>
                </a:solidFill>
                <a:effectLst/>
                <a:latin typeface="Trebuchet MS" pitchFamily="34" charset="0"/>
              </a:endParaRPr>
            </a:p>
          </p:txBody>
        </p:sp>
        <p:grpSp>
          <p:nvGrpSpPr>
            <p:cNvPr id="51" name="Groupe 49">
              <a:extLst>
                <a:ext uri="{FF2B5EF4-FFF2-40B4-BE49-F238E27FC236}">
                  <a16:creationId xmlns:a16="http://schemas.microsoft.com/office/drawing/2014/main" id="{C3907DF0-951B-49DD-B5FC-8FB3E0BF6638}"/>
                </a:ext>
              </a:extLst>
            </p:cNvPr>
            <p:cNvGrpSpPr/>
            <p:nvPr/>
          </p:nvGrpSpPr>
          <p:grpSpPr>
            <a:xfrm>
              <a:off x="4934431" y="3525038"/>
              <a:ext cx="229368" cy="303244"/>
              <a:chOff x="-892666" y="2362520"/>
              <a:chExt cx="417347" cy="523744"/>
            </a:xfrm>
          </p:grpSpPr>
          <p:sp>
            <p:nvSpPr>
              <p:cNvPr id="52" name="Ellipse 50">
                <a:extLst>
                  <a:ext uri="{FF2B5EF4-FFF2-40B4-BE49-F238E27FC236}">
                    <a16:creationId xmlns:a16="http://schemas.microsoft.com/office/drawing/2014/main" id="{171B6A44-B06C-4522-B6C7-DB84AC846EA6}"/>
                  </a:ext>
                </a:extLst>
              </p:cNvPr>
              <p:cNvSpPr/>
              <p:nvPr/>
            </p:nvSpPr>
            <p:spPr bwMode="auto">
              <a:xfrm>
                <a:off x="-766617" y="2581564"/>
                <a:ext cx="291298" cy="304700"/>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bg1"/>
                  </a:solidFill>
                  <a:effectLst/>
                  <a:latin typeface="Trebuchet MS" pitchFamily="34" charset="0"/>
                </a:endParaRPr>
              </a:p>
            </p:txBody>
          </p:sp>
          <p:sp>
            <p:nvSpPr>
              <p:cNvPr id="53" name="ZoneTexte 51">
                <a:extLst>
                  <a:ext uri="{FF2B5EF4-FFF2-40B4-BE49-F238E27FC236}">
                    <a16:creationId xmlns:a16="http://schemas.microsoft.com/office/drawing/2014/main" id="{72D709BF-1CCD-48FC-9A48-5E6872B7330E}"/>
                  </a:ext>
                </a:extLst>
              </p:cNvPr>
              <p:cNvSpPr txBox="1"/>
              <p:nvPr/>
            </p:nvSpPr>
            <p:spPr>
              <a:xfrm>
                <a:off x="-892666" y="2362520"/>
                <a:ext cx="319319" cy="400110"/>
              </a:xfrm>
              <a:prstGeom prst="rect">
                <a:avLst/>
              </a:prstGeom>
              <a:noFill/>
            </p:spPr>
            <p:txBody>
              <a:bodyPr wrap="none" rtlCol="0">
                <a:spAutoFit/>
              </a:bodyPr>
              <a:lstStyle/>
              <a:p>
                <a:r>
                  <a:rPr lang="fr-FR" sz="2000">
                    <a:solidFill>
                      <a:schemeClr val="bg1"/>
                    </a:solidFill>
                    <a:latin typeface="+mj-lt"/>
                  </a:rPr>
                  <a:t>+</a:t>
                </a:r>
              </a:p>
            </p:txBody>
          </p:sp>
        </p:grpSp>
      </p:grpSp>
      <p:grpSp>
        <p:nvGrpSpPr>
          <p:cNvPr id="13" name="Group 12">
            <a:extLst>
              <a:ext uri="{FF2B5EF4-FFF2-40B4-BE49-F238E27FC236}">
                <a16:creationId xmlns:a16="http://schemas.microsoft.com/office/drawing/2014/main" id="{F9FA48EE-DCC2-4A0A-A2A8-1A55B9888B2D}"/>
              </a:ext>
            </a:extLst>
          </p:cNvPr>
          <p:cNvGrpSpPr>
            <a:grpSpLocks noChangeAspect="1"/>
          </p:cNvGrpSpPr>
          <p:nvPr/>
        </p:nvGrpSpPr>
        <p:grpSpPr>
          <a:xfrm>
            <a:off x="6556618" y="5139454"/>
            <a:ext cx="1089170" cy="162804"/>
            <a:chOff x="4717319" y="5204638"/>
            <a:chExt cx="1644987" cy="245885"/>
          </a:xfrm>
        </p:grpSpPr>
        <p:pic>
          <p:nvPicPr>
            <p:cNvPr id="54" name="Picture 2 - 1" descr="Drapeau des Pays-Bas — Wikipédia">
              <a:extLst>
                <a:ext uri="{FF2B5EF4-FFF2-40B4-BE49-F238E27FC236}">
                  <a16:creationId xmlns:a16="http://schemas.microsoft.com/office/drawing/2014/main" id="{A2B86D23-3407-4018-B819-BCA9AAE3793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17319" y="5204638"/>
              <a:ext cx="407918"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55" name="Picture 2" descr="5 ft x 3 ft 150 x 90 cm-DRAPEAU BELGE Belgique 100% Polyester ...">
              <a:extLst>
                <a:ext uri="{FF2B5EF4-FFF2-40B4-BE49-F238E27FC236}">
                  <a16:creationId xmlns:a16="http://schemas.microsoft.com/office/drawing/2014/main" id="{544C8C08-1FC8-41BA-9677-95274E5A7646}"/>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73"/>
            <a:stretch/>
          </p:blipFill>
          <p:spPr bwMode="auto">
            <a:xfrm>
              <a:off x="5954383" y="5204638"/>
              <a:ext cx="407923"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56" name="Picture 5" descr="A picture containing bird&#10;&#10;Description automatically generated">
              <a:extLst>
                <a:ext uri="{FF2B5EF4-FFF2-40B4-BE49-F238E27FC236}">
                  <a16:creationId xmlns:a16="http://schemas.microsoft.com/office/drawing/2014/main" id="{36026438-5335-4820-AEA0-F6EE1B65C0D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35849" y="5204638"/>
              <a:ext cx="407923" cy="245391"/>
            </a:xfrm>
            <a:prstGeom prst="roundRect">
              <a:avLst/>
            </a:prstGeom>
            <a:noFill/>
          </p:spPr>
        </p:pic>
      </p:grpSp>
      <p:grpSp>
        <p:nvGrpSpPr>
          <p:cNvPr id="35" name="Group 29">
            <a:extLst>
              <a:ext uri="{FF2B5EF4-FFF2-40B4-BE49-F238E27FC236}">
                <a16:creationId xmlns:a16="http://schemas.microsoft.com/office/drawing/2014/main" id="{6A748FD7-D76C-41B7-932A-3971ADB1C0F0}"/>
              </a:ext>
            </a:extLst>
          </p:cNvPr>
          <p:cNvGrpSpPr/>
          <p:nvPr/>
        </p:nvGrpSpPr>
        <p:grpSpPr>
          <a:xfrm>
            <a:off x="8448150" y="-11528"/>
            <a:ext cx="1435548" cy="588143"/>
            <a:chOff x="8448150" y="-11528"/>
            <a:chExt cx="1435548" cy="588143"/>
          </a:xfrm>
        </p:grpSpPr>
        <p:pic>
          <p:nvPicPr>
            <p:cNvPr id="57" name="Picture 2" descr="5 ft x 3 ft 150 x 90 cm-DRAPEAU BELGE Belgique 100% Polyester ...">
              <a:extLst>
                <a:ext uri="{FF2B5EF4-FFF2-40B4-BE49-F238E27FC236}">
                  <a16:creationId xmlns:a16="http://schemas.microsoft.com/office/drawing/2014/main" id="{DD45652A-FD5A-46B7-93D6-322E72322D2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8" name="Picture 2 - 1" descr="Drapeau des Pays-Bas — Wikipédia">
              <a:extLst>
                <a:ext uri="{FF2B5EF4-FFF2-40B4-BE49-F238E27FC236}">
                  <a16:creationId xmlns:a16="http://schemas.microsoft.com/office/drawing/2014/main" id="{C94B5EDB-5751-474B-AE85-F69D04E7B20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9" name="Picture 2 - 2" descr="Drapeau du Luxembourg">
              <a:extLst>
                <a:ext uri="{FF2B5EF4-FFF2-40B4-BE49-F238E27FC236}">
                  <a16:creationId xmlns:a16="http://schemas.microsoft.com/office/drawing/2014/main" id="{FD54D9D3-A460-4BC2-B786-3194CD96BA0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0" name="ZoneTexte 18">
              <a:extLst>
                <a:ext uri="{FF2B5EF4-FFF2-40B4-BE49-F238E27FC236}">
                  <a16:creationId xmlns:a16="http://schemas.microsoft.com/office/drawing/2014/main" id="{4B2EDB05-7342-43BD-980E-C2CCDBBA5C89}"/>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nvGrpSpPr>
            <p:cNvPr id="61" name="Groupe 85">
              <a:extLst>
                <a:ext uri="{FF2B5EF4-FFF2-40B4-BE49-F238E27FC236}">
                  <a16:creationId xmlns:a16="http://schemas.microsoft.com/office/drawing/2014/main" id="{F1A7C22F-9159-436D-A229-CF207123211E}"/>
                </a:ext>
              </a:extLst>
            </p:cNvPr>
            <p:cNvGrpSpPr/>
            <p:nvPr/>
          </p:nvGrpSpPr>
          <p:grpSpPr>
            <a:xfrm>
              <a:off x="8448150" y="-11528"/>
              <a:ext cx="1281748" cy="588143"/>
              <a:chOff x="8448150" y="-11528"/>
              <a:chExt cx="1281748" cy="588143"/>
            </a:xfrm>
          </p:grpSpPr>
          <p:sp>
            <p:nvSpPr>
              <p:cNvPr id="62" name="Rectangle : coins arrondis 199">
                <a:extLst>
                  <a:ext uri="{FF2B5EF4-FFF2-40B4-BE49-F238E27FC236}">
                    <a16:creationId xmlns:a16="http://schemas.microsoft.com/office/drawing/2014/main" id="{232D6E8D-8CD2-4F8D-A675-A7228F67DCCC}"/>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3" name="Rectangle : coins arrondis 200">
                <a:extLst>
                  <a:ext uri="{FF2B5EF4-FFF2-40B4-BE49-F238E27FC236}">
                    <a16:creationId xmlns:a16="http://schemas.microsoft.com/office/drawing/2014/main" id="{5860B381-454B-4F85-AE1F-73037DD4B0A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4" name="Rectangle : coins arrondis 201">
                <a:extLst>
                  <a:ext uri="{FF2B5EF4-FFF2-40B4-BE49-F238E27FC236}">
                    <a16:creationId xmlns:a16="http://schemas.microsoft.com/office/drawing/2014/main" id="{4F256B23-79E5-4C73-B2C2-A6D5E51FE9A7}"/>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5" name="ZoneTexte 18">
                <a:extLst>
                  <a:ext uri="{FF2B5EF4-FFF2-40B4-BE49-F238E27FC236}">
                    <a16:creationId xmlns:a16="http://schemas.microsoft.com/office/drawing/2014/main" id="{A35F9E4F-4114-4667-8F84-150720137BF1}"/>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66" name="Graphique 128" descr="Jauge">
                <a:extLst>
                  <a:ext uri="{FF2B5EF4-FFF2-40B4-BE49-F238E27FC236}">
                    <a16:creationId xmlns:a16="http://schemas.microsoft.com/office/drawing/2014/main" id="{4C05DE4D-1549-42D9-A9BB-F5E6A3A9FC8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553764" y="187516"/>
                <a:ext cx="234953" cy="218224"/>
              </a:xfrm>
              <a:prstGeom prst="rect">
                <a:avLst/>
              </a:prstGeom>
              <a:effectLst/>
            </p:spPr>
          </p:pic>
          <p:pic>
            <p:nvPicPr>
              <p:cNvPr id="67" name="Graphique 90" descr="Poignée de main">
                <a:extLst>
                  <a:ext uri="{FF2B5EF4-FFF2-40B4-BE49-F238E27FC236}">
                    <a16:creationId xmlns:a16="http://schemas.microsoft.com/office/drawing/2014/main" id="{C62D7DE6-29D5-4859-8E7E-0FCB43C144C2}"/>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960868" y="152880"/>
                <a:ext cx="256313" cy="287496"/>
              </a:xfrm>
              <a:prstGeom prst="rect">
                <a:avLst/>
              </a:prstGeom>
              <a:effectLst/>
            </p:spPr>
          </p:pic>
          <p:pic>
            <p:nvPicPr>
              <p:cNvPr id="68" name="Graphique 95" descr="Mégaphone">
                <a:extLst>
                  <a:ext uri="{FF2B5EF4-FFF2-40B4-BE49-F238E27FC236}">
                    <a16:creationId xmlns:a16="http://schemas.microsoft.com/office/drawing/2014/main" id="{E6D88789-3294-41A8-9C87-0D387A4BB36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389331" y="181519"/>
                <a:ext cx="233011" cy="216420"/>
              </a:xfrm>
              <a:prstGeom prst="rect">
                <a:avLst/>
              </a:prstGeom>
              <a:effectLst/>
            </p:spPr>
          </p:pic>
          <p:sp>
            <p:nvSpPr>
              <p:cNvPr id="69" name="ZoneTexte 18">
                <a:extLst>
                  <a:ext uri="{FF2B5EF4-FFF2-40B4-BE49-F238E27FC236}">
                    <a16:creationId xmlns:a16="http://schemas.microsoft.com/office/drawing/2014/main" id="{468AA9F5-6111-4A60-A9FC-3FD667441880}"/>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enelux</a:t>
                </a:r>
              </a:p>
            </p:txBody>
          </p:sp>
        </p:grpSp>
      </p:grpSp>
    </p:spTree>
    <p:extLst>
      <p:ext uri="{BB962C8B-B14F-4D97-AF65-F5344CB8AC3E}">
        <p14:creationId xmlns:p14="http://schemas.microsoft.com/office/powerpoint/2010/main" val="3483647417"/>
      </p:ext>
    </p:extLst>
  </p:cSld>
  <p:clrMapOvr>
    <a:masterClrMapping/>
  </p:clrMapOvr>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5D8A451-9CCF-4721-81BC-4455201434B2}"/>
              </a:ext>
            </a:extLst>
          </p:cNvPr>
          <p:cNvGraphicFramePr>
            <a:graphicFrameLocks noChangeAspect="1"/>
          </p:cNvGraphicFramePr>
          <p:nvPr>
            <p:custDataLst>
              <p:tags r:id="rId1"/>
            </p:custDataLst>
            <p:extLst>
              <p:ext uri="{D42A27DB-BD31-4B8C-83A1-F6EECF244321}">
                <p14:modId xmlns:p14="http://schemas.microsoft.com/office/powerpoint/2010/main" val="3716058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7" name="Object 6" hidden="1">
                        <a:extLst>
                          <a:ext uri="{FF2B5EF4-FFF2-40B4-BE49-F238E27FC236}">
                            <a16:creationId xmlns:a16="http://schemas.microsoft.com/office/drawing/2014/main" id="{D5D8A451-9CCF-4721-81BC-4455201434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1381AAA-C103-400B-A0E3-B9609C488AF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5" name="Rectangle 4">
            <a:extLst>
              <a:ext uri="{FF2B5EF4-FFF2-40B4-BE49-F238E27FC236}">
                <a16:creationId xmlns:a16="http://schemas.microsoft.com/office/drawing/2014/main" id="{A1AE1010-4DC4-4E84-B9D3-B2CAA7A78AA4}"/>
              </a:ext>
            </a:extLst>
          </p:cNvPr>
          <p:cNvSpPr/>
          <p:nvPr/>
        </p:nvSpPr>
        <p:spPr bwMode="auto">
          <a:xfrm>
            <a:off x="256803" y="1108411"/>
            <a:ext cx="9392393" cy="531921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mc:AlternateContent xmlns:mc="http://schemas.openxmlformats.org/markup-compatibility/2006" xmlns:cx1="http://schemas.microsoft.com/office/drawing/2015/9/8/chartex">
        <mc:Choice Requires="cx1">
          <p:graphicFrame>
            <p:nvGraphicFramePr>
              <p:cNvPr id="36" name="Chart 35">
                <a:extLst>
                  <a:ext uri="{FF2B5EF4-FFF2-40B4-BE49-F238E27FC236}">
                    <a16:creationId xmlns:a16="http://schemas.microsoft.com/office/drawing/2014/main" id="{2CD77FC4-1E30-46C1-B568-1254633A3E44}"/>
                  </a:ext>
                </a:extLst>
              </p:cNvPr>
              <p:cNvGraphicFramePr/>
              <p:nvPr>
                <p:extLst>
                  <p:ext uri="{D42A27DB-BD31-4B8C-83A1-F6EECF244321}">
                    <p14:modId xmlns:p14="http://schemas.microsoft.com/office/powerpoint/2010/main" val="1394414746"/>
                  </p:ext>
                </p:extLst>
              </p:nvPr>
            </p:nvGraphicFramePr>
            <p:xfrm>
              <a:off x="400930" y="1539150"/>
              <a:ext cx="5803200" cy="4795200"/>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36" name="Chart 35">
                <a:extLst>
                  <a:ext uri="{FF2B5EF4-FFF2-40B4-BE49-F238E27FC236}">
                    <a16:creationId xmlns:a16="http://schemas.microsoft.com/office/drawing/2014/main" id="{2CD77FC4-1E30-46C1-B568-1254633A3E44}"/>
                  </a:ext>
                </a:extLst>
              </p:cNvPr>
              <p:cNvPicPr>
                <a:picLocks noGrp="1" noRot="1" noChangeAspect="1" noMove="1" noResize="1" noEditPoints="1" noAdjustHandles="1" noChangeArrowheads="1" noChangeShapeType="1"/>
              </p:cNvPicPr>
              <p:nvPr/>
            </p:nvPicPr>
            <p:blipFill>
              <a:blip r:embed="rId8"/>
              <a:stretch>
                <a:fillRect/>
              </a:stretch>
            </p:blipFill>
            <p:spPr>
              <a:xfrm>
                <a:off x="400930" y="1539150"/>
                <a:ext cx="5803200" cy="4795200"/>
              </a:xfrm>
              <a:prstGeom prst="rect">
                <a:avLst/>
              </a:prstGeom>
            </p:spPr>
          </p:pic>
        </mc:Fallback>
      </mc:AlternateContent>
      <p:sp>
        <p:nvSpPr>
          <p:cNvPr id="2" name="Title 1">
            <a:extLst>
              <a:ext uri="{FF2B5EF4-FFF2-40B4-BE49-F238E27FC236}">
                <a16:creationId xmlns:a16="http://schemas.microsoft.com/office/drawing/2014/main" id="{356E2121-E170-4E23-BD37-8FBCB6761C4E}"/>
              </a:ext>
            </a:extLst>
          </p:cNvPr>
          <p:cNvSpPr>
            <a:spLocks noGrp="1"/>
          </p:cNvSpPr>
          <p:nvPr>
            <p:ph type="title"/>
          </p:nvPr>
        </p:nvSpPr>
        <p:spPr>
          <a:xfrm>
            <a:off x="165600" y="147600"/>
            <a:ext cx="8131125" cy="684000"/>
          </a:xfrm>
          <a:noFill/>
        </p:spPr>
        <p:txBody>
          <a:bodyPr/>
          <a:lstStyle/>
          <a:p>
            <a:r>
              <a:rPr lang="en-GB">
                <a:latin typeface="Trebuchet MS" panose="020B0603020202020204" pitchFamily="34" charset="0"/>
              </a:rPr>
              <a:t>In Benelux, </a:t>
            </a:r>
            <a:r>
              <a:rPr lang="en-GB" err="1">
                <a:latin typeface="Trebuchet MS" panose="020B0603020202020204" pitchFamily="34" charset="0"/>
              </a:rPr>
              <a:t>Altares</a:t>
            </a:r>
            <a:r>
              <a:rPr lang="en-GB">
                <a:latin typeface="Trebuchet MS" panose="020B0603020202020204" pitchFamily="34" charset="0"/>
              </a:rPr>
              <a:t> is characterized by a </a:t>
            </a:r>
            <a:r>
              <a:rPr lang="en-GB">
                <a:solidFill>
                  <a:schemeClr val="tx2"/>
                </a:solidFill>
                <a:latin typeface="Trebuchet MS" panose="020B0603020202020204" pitchFamily="34" charset="0"/>
              </a:rPr>
              <a:t>strong customer acquisition ability</a:t>
            </a:r>
            <a:r>
              <a:rPr lang="en-GB">
                <a:latin typeface="Trebuchet MS" panose="020B0603020202020204" pitchFamily="34" charset="0"/>
              </a:rPr>
              <a:t>, as </a:t>
            </a:r>
            <a:r>
              <a:rPr lang="en-GB">
                <a:solidFill>
                  <a:schemeClr val="tx2"/>
                </a:solidFill>
                <a:latin typeface="Trebuchet MS" panose="020B0603020202020204" pitchFamily="34" charset="0"/>
              </a:rPr>
              <a:t>new business</a:t>
            </a:r>
            <a:r>
              <a:rPr lang="en-GB">
                <a:latin typeface="Trebuchet MS" panose="020B0603020202020204" pitchFamily="34" charset="0"/>
              </a:rPr>
              <a:t> </a:t>
            </a:r>
            <a:r>
              <a:rPr lang="en-GB">
                <a:solidFill>
                  <a:schemeClr val="tx2"/>
                </a:solidFill>
                <a:latin typeface="Trebuchet MS" panose="020B0603020202020204" pitchFamily="34" charset="0"/>
              </a:rPr>
              <a:t>offset</a:t>
            </a:r>
            <a:r>
              <a:rPr lang="en-GB">
                <a:latin typeface="Trebuchet MS" panose="020B0603020202020204" pitchFamily="34" charset="0"/>
              </a:rPr>
              <a:t> both </a:t>
            </a:r>
            <a:r>
              <a:rPr lang="en-GB">
                <a:solidFill>
                  <a:schemeClr val="tx2"/>
                </a:solidFill>
                <a:latin typeface="Trebuchet MS" panose="020B0603020202020204" pitchFamily="34" charset="0"/>
              </a:rPr>
              <a:t>churn</a:t>
            </a:r>
            <a:r>
              <a:rPr lang="en-GB">
                <a:latin typeface="Trebuchet MS" panose="020B0603020202020204" pitchFamily="34" charset="0"/>
              </a:rPr>
              <a:t> and </a:t>
            </a:r>
            <a:r>
              <a:rPr lang="en-GB">
                <a:solidFill>
                  <a:schemeClr val="tx2"/>
                </a:solidFill>
                <a:latin typeface="Trebuchet MS" panose="020B0603020202020204" pitchFamily="34" charset="0"/>
              </a:rPr>
              <a:t>down-sell on existing customers </a:t>
            </a:r>
          </a:p>
        </p:txBody>
      </p:sp>
      <p:sp>
        <p:nvSpPr>
          <p:cNvPr id="3" name="Text Placeholder 2">
            <a:extLst>
              <a:ext uri="{FF2B5EF4-FFF2-40B4-BE49-F238E27FC236}">
                <a16:creationId xmlns:a16="http://schemas.microsoft.com/office/drawing/2014/main" id="{FBD13BD1-B840-4073-A6D1-1E8723FF6B39}"/>
              </a:ext>
            </a:extLst>
          </p:cNvPr>
          <p:cNvSpPr>
            <a:spLocks noGrp="1"/>
          </p:cNvSpPr>
          <p:nvPr>
            <p:ph type="body" sz="quarter" idx="10"/>
          </p:nvPr>
        </p:nvSpPr>
        <p:spPr/>
        <p:txBody>
          <a:bodyPr/>
          <a:lstStyle/>
          <a:p>
            <a:r>
              <a:rPr lang="en-GB"/>
              <a:t>Sources: eleven research &amp; analysis, company data</a:t>
            </a:r>
          </a:p>
        </p:txBody>
      </p:sp>
      <p:sp>
        <p:nvSpPr>
          <p:cNvPr id="21" name="Rectangle 20">
            <a:extLst>
              <a:ext uri="{FF2B5EF4-FFF2-40B4-BE49-F238E27FC236}">
                <a16:creationId xmlns:a16="http://schemas.microsoft.com/office/drawing/2014/main" id="{8DF558A3-1E6B-42C4-BC10-9D27518050F9}"/>
              </a:ext>
            </a:extLst>
          </p:cNvPr>
          <p:cNvSpPr/>
          <p:nvPr/>
        </p:nvSpPr>
        <p:spPr bwMode="auto">
          <a:xfrm>
            <a:off x="1065127" y="1121511"/>
            <a:ext cx="4518927"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Waterfall of </a:t>
            </a:r>
            <a:r>
              <a:rPr lang="en-GB" sz="1000" b="1" i="1" err="1">
                <a:latin typeface="Trebuchet MS" panose="020B0603020202020204" pitchFamily="34" charset="0"/>
              </a:rPr>
              <a:t>Altares</a:t>
            </a:r>
            <a:r>
              <a:rPr lang="en-GB" sz="1000" b="1" i="1">
                <a:latin typeface="Trebuchet MS" panose="020B0603020202020204" pitchFamily="34" charset="0"/>
              </a:rPr>
              <a:t>’ bookings in Benelux between 2017 and 2019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3" name="Rectangle 32">
            <a:extLst>
              <a:ext uri="{FF2B5EF4-FFF2-40B4-BE49-F238E27FC236}">
                <a16:creationId xmlns:a16="http://schemas.microsoft.com/office/drawing/2014/main" id="{42B9B06B-0CE4-4422-A176-DC80CE725728}"/>
              </a:ext>
            </a:extLst>
          </p:cNvPr>
          <p:cNvSpPr/>
          <p:nvPr/>
        </p:nvSpPr>
        <p:spPr bwMode="auto">
          <a:xfrm>
            <a:off x="6348257" y="4991910"/>
            <a:ext cx="3156810" cy="1342440"/>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b="1">
                <a:latin typeface="Trebuchet MS" panose="020B0603020202020204" pitchFamily="34" charset="0"/>
              </a:rPr>
              <a:t>Comments</a:t>
            </a:r>
          </a:p>
          <a:p>
            <a:pPr>
              <a:spcBef>
                <a:spcPts val="600"/>
              </a:spcBef>
              <a:buClr>
                <a:schemeClr val="tx1"/>
              </a:buClr>
            </a:pPr>
            <a:endParaRPr lang="en-GB" sz="1000">
              <a:latin typeface="Trebuchet MS" pitchFamily="34" charset="0"/>
            </a:endParaRPr>
          </a:p>
          <a:p>
            <a:pPr marL="171450" indent="-171450">
              <a:spcBef>
                <a:spcPts val="600"/>
              </a:spcBef>
              <a:buClr>
                <a:schemeClr val="tx1"/>
              </a:buClr>
              <a:buFont typeface="Arial" panose="020B0604020202020204" pitchFamily="34" charset="0"/>
              <a:buChar char="•"/>
            </a:pPr>
            <a:r>
              <a:rPr lang="en-GB" sz="1000">
                <a:latin typeface="Trebuchet MS" pitchFamily="34" charset="0"/>
              </a:rPr>
              <a:t>New business is systematically offsetting churn showing </a:t>
            </a:r>
            <a:r>
              <a:rPr lang="en-GB" sz="1000" err="1">
                <a:latin typeface="Trebuchet MS" pitchFamily="34" charset="0"/>
              </a:rPr>
              <a:t>Altares</a:t>
            </a:r>
            <a:r>
              <a:rPr lang="en-GB" sz="1000">
                <a:latin typeface="Trebuchet MS" pitchFamily="34" charset="0"/>
              </a:rPr>
              <a:t> strong customer “hunting” ability</a:t>
            </a:r>
          </a:p>
          <a:p>
            <a:pPr marL="171450" indent="-171450">
              <a:spcBef>
                <a:spcPts val="600"/>
              </a:spcBef>
              <a:buClr>
                <a:schemeClr val="tx1"/>
              </a:buClr>
              <a:buFont typeface="Arial" panose="020B0604020202020204" pitchFamily="34" charset="0"/>
              <a:buChar char="•"/>
            </a:pPr>
            <a:endParaRPr lang="en-GB" sz="1000">
              <a:latin typeface="Trebuchet MS" pitchFamily="34" charset="0"/>
            </a:endParaRPr>
          </a:p>
        </p:txBody>
      </p:sp>
      <p:grpSp>
        <p:nvGrpSpPr>
          <p:cNvPr id="34" name="Group 4">
            <a:extLst>
              <a:ext uri="{FF2B5EF4-FFF2-40B4-BE49-F238E27FC236}">
                <a16:creationId xmlns:a16="http://schemas.microsoft.com/office/drawing/2014/main" id="{E2E403F0-E33C-4D87-90D3-C016FF081C60}"/>
              </a:ext>
            </a:extLst>
          </p:cNvPr>
          <p:cNvGrpSpPr>
            <a:grpSpLocks noChangeAspect="1"/>
          </p:cNvGrpSpPr>
          <p:nvPr/>
        </p:nvGrpSpPr>
        <p:grpSpPr bwMode="auto">
          <a:xfrm>
            <a:off x="7233590" y="5013633"/>
            <a:ext cx="226868" cy="184867"/>
            <a:chOff x="788" y="869"/>
            <a:chExt cx="740" cy="603"/>
          </a:xfrm>
          <a:solidFill>
            <a:schemeClr val="tx1"/>
          </a:solidFill>
        </p:grpSpPr>
        <p:sp>
          <p:nvSpPr>
            <p:cNvPr id="52" name="Freeform 5">
              <a:extLst>
                <a:ext uri="{FF2B5EF4-FFF2-40B4-BE49-F238E27FC236}">
                  <a16:creationId xmlns:a16="http://schemas.microsoft.com/office/drawing/2014/main" id="{6FEC11CA-C781-4433-9708-6A498281370B}"/>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Rectangle 6">
              <a:extLst>
                <a:ext uri="{FF2B5EF4-FFF2-40B4-BE49-F238E27FC236}">
                  <a16:creationId xmlns:a16="http://schemas.microsoft.com/office/drawing/2014/main" id="{2CCBB638-CF34-44CE-BDC0-6B89037C3340}"/>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Rectangle 7">
              <a:extLst>
                <a:ext uri="{FF2B5EF4-FFF2-40B4-BE49-F238E27FC236}">
                  <a16:creationId xmlns:a16="http://schemas.microsoft.com/office/drawing/2014/main" id="{360F6CC0-9A7C-4647-B72B-6106447F01BE}"/>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Rectangle 8">
              <a:extLst>
                <a:ext uri="{FF2B5EF4-FFF2-40B4-BE49-F238E27FC236}">
                  <a16:creationId xmlns:a16="http://schemas.microsoft.com/office/drawing/2014/main" id="{FAF441AC-E5AA-4D48-A2F7-FF1E3A063DB7}"/>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5" name="Group 34">
            <a:extLst>
              <a:ext uri="{FF2B5EF4-FFF2-40B4-BE49-F238E27FC236}">
                <a16:creationId xmlns:a16="http://schemas.microsoft.com/office/drawing/2014/main" id="{AFEE862C-3AC8-4D23-8A0B-2F37ACE4A3C9}"/>
              </a:ext>
            </a:extLst>
          </p:cNvPr>
          <p:cNvGrpSpPr/>
          <p:nvPr/>
        </p:nvGrpSpPr>
        <p:grpSpPr>
          <a:xfrm>
            <a:off x="8448150" y="-11528"/>
            <a:ext cx="1435548" cy="588143"/>
            <a:chOff x="8448150" y="-11528"/>
            <a:chExt cx="1435548" cy="588143"/>
          </a:xfrm>
        </p:grpSpPr>
        <p:pic>
          <p:nvPicPr>
            <p:cNvPr id="45" name="Picture 2" descr="5 ft x 3 ft 150 x 90 cm-DRAPEAU BELGE Belgique 100% Polyester ...">
              <a:extLst>
                <a:ext uri="{FF2B5EF4-FFF2-40B4-BE49-F238E27FC236}">
                  <a16:creationId xmlns:a16="http://schemas.microsoft.com/office/drawing/2014/main" id="{BAD7E774-FA0C-46CC-926F-EC79774BD00D}"/>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6" name="Picture 2 - 1" descr="Drapeau des Pays-Bas — Wikipédia">
              <a:extLst>
                <a:ext uri="{FF2B5EF4-FFF2-40B4-BE49-F238E27FC236}">
                  <a16:creationId xmlns:a16="http://schemas.microsoft.com/office/drawing/2014/main" id="{879C5C09-E4B6-4B5F-93B6-D867E59FA30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47" name="Picture 2 - 2" descr="Drapeau du Luxembourg">
              <a:extLst>
                <a:ext uri="{FF2B5EF4-FFF2-40B4-BE49-F238E27FC236}">
                  <a16:creationId xmlns:a16="http://schemas.microsoft.com/office/drawing/2014/main" id="{8748A23A-D966-4571-B364-3DDE71A5EBC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48" name="ZoneTexte 18">
              <a:extLst>
                <a:ext uri="{FF2B5EF4-FFF2-40B4-BE49-F238E27FC236}">
                  <a16:creationId xmlns:a16="http://schemas.microsoft.com/office/drawing/2014/main" id="{F6C477B1-D7BD-4FFA-87C6-8CEE1D0D15AD}"/>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nvGrpSpPr>
            <p:cNvPr id="49" name="Groupe 85">
              <a:extLst>
                <a:ext uri="{FF2B5EF4-FFF2-40B4-BE49-F238E27FC236}">
                  <a16:creationId xmlns:a16="http://schemas.microsoft.com/office/drawing/2014/main" id="{AA86D1E0-BE85-43B2-BE1D-F10FE7E523B4}"/>
                </a:ext>
              </a:extLst>
            </p:cNvPr>
            <p:cNvGrpSpPr/>
            <p:nvPr/>
          </p:nvGrpSpPr>
          <p:grpSpPr>
            <a:xfrm>
              <a:off x="8448150" y="-11528"/>
              <a:ext cx="1281748" cy="588143"/>
              <a:chOff x="8448150" y="-11528"/>
              <a:chExt cx="1281748" cy="588143"/>
            </a:xfrm>
          </p:grpSpPr>
          <p:sp>
            <p:nvSpPr>
              <p:cNvPr id="50" name="Rectangle : coins arrondis 199">
                <a:extLst>
                  <a:ext uri="{FF2B5EF4-FFF2-40B4-BE49-F238E27FC236}">
                    <a16:creationId xmlns:a16="http://schemas.microsoft.com/office/drawing/2014/main" id="{C065DFFD-EFFB-4B2E-A8EF-DC8CF5E0B6E8}"/>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1" name="Rectangle : coins arrondis 200">
                <a:extLst>
                  <a:ext uri="{FF2B5EF4-FFF2-40B4-BE49-F238E27FC236}">
                    <a16:creationId xmlns:a16="http://schemas.microsoft.com/office/drawing/2014/main" id="{D3335064-24B2-416C-A923-EF8EFF502BE8}"/>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6" name="Rectangle : coins arrondis 201">
                <a:extLst>
                  <a:ext uri="{FF2B5EF4-FFF2-40B4-BE49-F238E27FC236}">
                    <a16:creationId xmlns:a16="http://schemas.microsoft.com/office/drawing/2014/main" id="{42494F08-2D9D-457A-AFAE-988455FB9582}"/>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7" name="ZoneTexte 18">
                <a:extLst>
                  <a:ext uri="{FF2B5EF4-FFF2-40B4-BE49-F238E27FC236}">
                    <a16:creationId xmlns:a16="http://schemas.microsoft.com/office/drawing/2014/main" id="{2C3D46D8-C133-458F-8F43-4025F040C5BB}"/>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58" name="Graphique 128" descr="Jauge">
                <a:extLst>
                  <a:ext uri="{FF2B5EF4-FFF2-40B4-BE49-F238E27FC236}">
                    <a16:creationId xmlns:a16="http://schemas.microsoft.com/office/drawing/2014/main" id="{73A327FC-B894-4C7D-8C61-09A6AEEBC08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53764" y="187516"/>
                <a:ext cx="234953" cy="218224"/>
              </a:xfrm>
              <a:prstGeom prst="rect">
                <a:avLst/>
              </a:prstGeom>
              <a:effectLst/>
            </p:spPr>
          </p:pic>
          <p:pic>
            <p:nvPicPr>
              <p:cNvPr id="59" name="Graphique 90" descr="Poignée de main">
                <a:extLst>
                  <a:ext uri="{FF2B5EF4-FFF2-40B4-BE49-F238E27FC236}">
                    <a16:creationId xmlns:a16="http://schemas.microsoft.com/office/drawing/2014/main" id="{83081A03-14D0-46D8-95E0-BCAA1BD39E5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960868" y="152880"/>
                <a:ext cx="256313" cy="287496"/>
              </a:xfrm>
              <a:prstGeom prst="rect">
                <a:avLst/>
              </a:prstGeom>
              <a:effectLst/>
            </p:spPr>
          </p:pic>
          <p:pic>
            <p:nvPicPr>
              <p:cNvPr id="60" name="Graphique 95" descr="Mégaphone">
                <a:extLst>
                  <a:ext uri="{FF2B5EF4-FFF2-40B4-BE49-F238E27FC236}">
                    <a16:creationId xmlns:a16="http://schemas.microsoft.com/office/drawing/2014/main" id="{ED7A91C6-808F-4BBB-9AF7-9413C406471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89331" y="181519"/>
                <a:ext cx="233011" cy="216420"/>
              </a:xfrm>
              <a:prstGeom prst="rect">
                <a:avLst/>
              </a:prstGeom>
              <a:effectLst/>
            </p:spPr>
          </p:pic>
          <p:sp>
            <p:nvSpPr>
              <p:cNvPr id="61" name="ZoneTexte 18">
                <a:extLst>
                  <a:ext uri="{FF2B5EF4-FFF2-40B4-BE49-F238E27FC236}">
                    <a16:creationId xmlns:a16="http://schemas.microsoft.com/office/drawing/2014/main" id="{CC942D35-FA6F-477C-8D23-69BE8FE4F00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enelux</a:t>
                </a:r>
              </a:p>
            </p:txBody>
          </p:sp>
        </p:grpSp>
      </p:grpSp>
      <p:sp>
        <p:nvSpPr>
          <p:cNvPr id="39" name="Rectangle : coins arrondis 25">
            <a:extLst>
              <a:ext uri="{FF2B5EF4-FFF2-40B4-BE49-F238E27FC236}">
                <a16:creationId xmlns:a16="http://schemas.microsoft.com/office/drawing/2014/main" id="{CBDF6B1C-0B00-48F1-B35B-862F35B1A685}"/>
              </a:ext>
            </a:extLst>
          </p:cNvPr>
          <p:cNvSpPr/>
          <p:nvPr/>
        </p:nvSpPr>
        <p:spPr bwMode="auto">
          <a:xfrm>
            <a:off x="6348256" y="1539150"/>
            <a:ext cx="3156810" cy="1407250"/>
          </a:xfrm>
          <a:prstGeom prst="roundRect">
            <a:avLst>
              <a:gd name="adj" fmla="val 0"/>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600"/>
              </a:spcAft>
            </a:pPr>
            <a:r>
              <a:rPr lang="en-GB" sz="1000" b="1" dirty="0">
                <a:latin typeface="Trebuchet MS" panose="020B0603020202020204" pitchFamily="34" charset="0"/>
              </a:rPr>
              <a:t>Description of categories</a:t>
            </a:r>
          </a:p>
          <a:p>
            <a:pPr marL="171450" indent="-171450">
              <a:buClr>
                <a:schemeClr val="tx1"/>
              </a:buClr>
              <a:buFont typeface="Arial" panose="020B0604020202020204" pitchFamily="34" charset="0"/>
              <a:buChar char="•"/>
            </a:pPr>
            <a:r>
              <a:rPr lang="en-GB" sz="1000" dirty="0" err="1">
                <a:solidFill>
                  <a:schemeClr val="tx2"/>
                </a:solidFill>
                <a:latin typeface="Trebuchet MS" panose="020B0603020202020204" pitchFamily="34" charset="0"/>
              </a:rPr>
              <a:t>LfL</a:t>
            </a:r>
            <a:r>
              <a:rPr lang="en-GB" sz="1000" dirty="0">
                <a:solidFill>
                  <a:schemeClr val="tx2"/>
                </a:solidFill>
                <a:latin typeface="Trebuchet MS" panose="020B0603020202020204" pitchFamily="34" charset="0"/>
              </a:rPr>
              <a:t> YEAR</a:t>
            </a:r>
            <a:r>
              <a:rPr lang="en-GB" sz="1000" dirty="0">
                <a:latin typeface="Trebuchet MS" panose="020B0603020202020204" pitchFamily="34" charset="0"/>
              </a:rPr>
              <a:t>: All clients that generated revenue in years YEAR and YEAR+1 and then includes up-sell, down-sell and sales same as previous </a:t>
            </a:r>
          </a:p>
          <a:p>
            <a:pPr marL="171450" indent="-171450">
              <a:buClr>
                <a:schemeClr val="tx1"/>
              </a:buClr>
              <a:buFont typeface="Arial" panose="020B0604020202020204" pitchFamily="34" charset="0"/>
              <a:buChar char="•"/>
            </a:pPr>
            <a:r>
              <a:rPr lang="en-GB" sz="1000" dirty="0">
                <a:solidFill>
                  <a:schemeClr val="tx2"/>
                </a:solidFill>
                <a:latin typeface="Trebuchet MS" panose="020B0603020202020204" pitchFamily="34" charset="0"/>
              </a:rPr>
              <a:t>Churn YEAR</a:t>
            </a:r>
            <a:r>
              <a:rPr lang="en-GB" sz="1000" dirty="0">
                <a:latin typeface="Trebuchet MS" panose="020B0603020202020204" pitchFamily="34" charset="0"/>
              </a:rPr>
              <a:t>: All clients that generated revenue in year </a:t>
            </a:r>
            <a:r>
              <a:rPr lang="en-GB" sz="1000" dirty="0" err="1">
                <a:latin typeface="Trebuchet MS" panose="020B0603020202020204" pitchFamily="34" charset="0"/>
              </a:rPr>
              <a:t>YEAR</a:t>
            </a:r>
            <a:r>
              <a:rPr lang="en-GB" sz="1000" dirty="0">
                <a:latin typeface="Trebuchet MS" panose="020B0603020202020204" pitchFamily="34" charset="0"/>
              </a:rPr>
              <a:t> and not in year YEAR+1</a:t>
            </a:r>
          </a:p>
          <a:p>
            <a:pPr marL="171450" indent="-171450">
              <a:buClr>
                <a:schemeClr val="tx1"/>
              </a:buClr>
              <a:buFont typeface="Arial" panose="020B0604020202020204" pitchFamily="34" charset="0"/>
              <a:buChar char="•"/>
            </a:pPr>
            <a:r>
              <a:rPr lang="en-GB" sz="1000" dirty="0">
                <a:solidFill>
                  <a:schemeClr val="tx2"/>
                </a:solidFill>
                <a:latin typeface="Trebuchet MS" panose="020B0603020202020204" pitchFamily="34" charset="0"/>
              </a:rPr>
              <a:t>New YEAR</a:t>
            </a:r>
            <a:r>
              <a:rPr lang="en-GB" sz="1000" dirty="0">
                <a:latin typeface="Trebuchet MS" panose="020B0603020202020204" pitchFamily="34" charset="0"/>
              </a:rPr>
              <a:t>: All clients that generated revenue in year </a:t>
            </a:r>
            <a:r>
              <a:rPr lang="en-GB" sz="1000" dirty="0" err="1">
                <a:latin typeface="Trebuchet MS" panose="020B0603020202020204" pitchFamily="34" charset="0"/>
              </a:rPr>
              <a:t>YEAR</a:t>
            </a:r>
            <a:r>
              <a:rPr lang="en-GB" sz="1000" dirty="0">
                <a:latin typeface="Trebuchet MS" panose="020B0603020202020204" pitchFamily="34" charset="0"/>
              </a:rPr>
              <a:t> and not in year YEAR-1</a:t>
            </a:r>
            <a:endParaRPr lang="en-GB" sz="1000" dirty="0">
              <a:solidFill>
                <a:schemeClr val="tx2"/>
              </a:solidFill>
              <a:latin typeface="Trebuchet MS" panose="020B0603020202020204" pitchFamily="34" charset="0"/>
            </a:endParaRPr>
          </a:p>
        </p:txBody>
      </p:sp>
      <p:sp>
        <p:nvSpPr>
          <p:cNvPr id="30" name="Bulle narrative : rectangle 3">
            <a:extLst>
              <a:ext uri="{FF2B5EF4-FFF2-40B4-BE49-F238E27FC236}">
                <a16:creationId xmlns:a16="http://schemas.microsoft.com/office/drawing/2014/main" id="{6C7B70EA-DF21-4197-988F-171E0A94CF42}"/>
              </a:ext>
            </a:extLst>
          </p:cNvPr>
          <p:cNvSpPr/>
          <p:nvPr/>
        </p:nvSpPr>
        <p:spPr bwMode="auto">
          <a:xfrm>
            <a:off x="6348256" y="3098803"/>
            <a:ext cx="3156810" cy="1762426"/>
          </a:xfrm>
          <a:prstGeom prst="wedgeRectCallout">
            <a:avLst>
              <a:gd name="adj1" fmla="val -57878"/>
              <a:gd name="adj2" fmla="val -17514"/>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900"/>
              </a:spcAft>
              <a:buClrTx/>
              <a:buSzTx/>
              <a:buFontTx/>
              <a:buNone/>
              <a:tabLst/>
            </a:pPr>
            <a:r>
              <a:rPr kumimoji="0" lang="en-GB" sz="1000" b="1" i="0" u="none" strike="noStrike" cap="none" normalizeH="0" baseline="0">
                <a:ln>
                  <a:noFill/>
                </a:ln>
                <a:effectLst/>
                <a:latin typeface="Trebuchet MS" panose="020B0603020202020204" pitchFamily="34" charset="0"/>
              </a:rPr>
              <a:t>Readin</a:t>
            </a:r>
            <a:r>
              <a:rPr lang="en-GB" sz="1000" b="1">
                <a:latin typeface="Trebuchet MS" panose="020B0603020202020204" pitchFamily="34" charset="0"/>
              </a:rPr>
              <a:t>g insights</a:t>
            </a:r>
            <a:endParaRPr kumimoji="0" lang="en-GB" sz="1200" b="0" i="0" u="none" strike="noStrike" cap="none" normalizeH="0" baseline="0">
              <a:ln>
                <a:noFill/>
              </a:ln>
              <a:solidFill>
                <a:schemeClr val="bg1">
                  <a:lumMod val="65000"/>
                </a:schemeClr>
              </a:solidFill>
              <a:effectLst/>
              <a:latin typeface="Trebuchet MS" panose="020B0603020202020204" pitchFamily="34" charset="0"/>
            </a:endParaRPr>
          </a:p>
          <a:p>
            <a:pPr marL="171450" indent="-171450">
              <a:spcAft>
                <a:spcPts val="900"/>
              </a:spcAft>
              <a:buFont typeface="Arial" panose="020B0604020202020204" pitchFamily="34" charset="0"/>
              <a:buChar char="•"/>
            </a:pPr>
            <a:r>
              <a:rPr lang="en-GB" sz="1000">
                <a:latin typeface="Trebuchet MS" panose="020B0603020202020204" pitchFamily="34" charset="0"/>
              </a:rPr>
              <a:t>Due to a </a:t>
            </a:r>
            <a:r>
              <a:rPr lang="en-GB" sz="1000">
                <a:solidFill>
                  <a:schemeClr val="tx2"/>
                </a:solidFill>
                <a:latin typeface="Trebuchet MS" panose="020B0603020202020204" pitchFamily="34" charset="0"/>
              </a:rPr>
              <a:t>change in one-off contracts identification </a:t>
            </a:r>
            <a:r>
              <a:rPr lang="en-GB" sz="1000">
                <a:latin typeface="Trebuchet MS" panose="020B0603020202020204" pitchFamily="34" charset="0"/>
              </a:rPr>
              <a:t>between 2017 and 2019, the </a:t>
            </a:r>
            <a:r>
              <a:rPr lang="en-GB" sz="1000">
                <a:solidFill>
                  <a:schemeClr val="tx2"/>
                </a:solidFill>
                <a:latin typeface="Trebuchet MS" panose="020B0603020202020204" pitchFamily="34" charset="0"/>
              </a:rPr>
              <a:t>split between recurring and one-off contracts can’t be done efficiently</a:t>
            </a:r>
          </a:p>
          <a:p>
            <a:pPr marL="171450" indent="-171450">
              <a:spcAft>
                <a:spcPts val="600"/>
              </a:spcAft>
              <a:buFont typeface="Arial" panose="020B0604020202020204" pitchFamily="34" charset="0"/>
              <a:buChar char="•"/>
            </a:pPr>
            <a:r>
              <a:rPr lang="en-GB" sz="1000">
                <a:latin typeface="Trebuchet MS" panose="020B0603020202020204" pitchFamily="34" charset="0"/>
              </a:rPr>
              <a:t>This cohort </a:t>
            </a:r>
            <a:r>
              <a:rPr lang="en-GB" sz="1000">
                <a:solidFill>
                  <a:schemeClr val="tx2"/>
                </a:solidFill>
                <a:latin typeface="Trebuchet MS" panose="020B0603020202020204" pitchFamily="34" charset="0"/>
              </a:rPr>
              <a:t>doesn’t contain D&amp;B partnership </a:t>
            </a:r>
            <a:r>
              <a:rPr lang="en-GB" sz="1000">
                <a:latin typeface="Trebuchet MS" panose="020B0603020202020204" pitchFamily="34" charset="0"/>
              </a:rPr>
              <a:t>incomes but contains </a:t>
            </a:r>
            <a:r>
              <a:rPr lang="en-GB" sz="1000">
                <a:solidFill>
                  <a:schemeClr val="tx2"/>
                </a:solidFill>
                <a:latin typeface="Trebuchet MS" panose="020B0603020202020204" pitchFamily="34" charset="0"/>
              </a:rPr>
              <a:t>both recurring and non-recurring contracts</a:t>
            </a:r>
          </a:p>
          <a:p>
            <a:pPr marL="171450" indent="-171450">
              <a:spcAft>
                <a:spcPts val="600"/>
              </a:spcAft>
              <a:buFont typeface="Arial" panose="020B0604020202020204" pitchFamily="34" charset="0"/>
              <a:buChar char="•"/>
            </a:pPr>
            <a:r>
              <a:rPr lang="en-GB" sz="1000">
                <a:latin typeface="Trebuchet MS" panose="020B0603020202020204" pitchFamily="34" charset="0"/>
              </a:rPr>
              <a:t>One client is considered as </a:t>
            </a:r>
            <a:r>
              <a:rPr lang="en-GB" sz="1000">
                <a:solidFill>
                  <a:schemeClr val="tx2"/>
                </a:solidFill>
                <a:latin typeface="Trebuchet MS" panose="020B0603020202020204" pitchFamily="34" charset="0"/>
              </a:rPr>
              <a:t>a group</a:t>
            </a: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38" name="Bulle narrative : rectangle 37">
            <a:extLst>
              <a:ext uri="{FF2B5EF4-FFF2-40B4-BE49-F238E27FC236}">
                <a16:creationId xmlns:a16="http://schemas.microsoft.com/office/drawing/2014/main" id="{3A9C706A-9D6A-4698-B3EC-9EA0F5048A02}"/>
              </a:ext>
            </a:extLst>
          </p:cNvPr>
          <p:cNvSpPr/>
          <p:nvPr/>
        </p:nvSpPr>
        <p:spPr bwMode="auto">
          <a:xfrm>
            <a:off x="3636153" y="2835358"/>
            <a:ext cx="1864722" cy="1286250"/>
          </a:xfrm>
          <a:prstGeom prst="wedgeRectCallout">
            <a:avLst>
              <a:gd name="adj1" fmla="val 3821"/>
              <a:gd name="adj2" fmla="val -83296"/>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buClr>
                <a:schemeClr val="tx1"/>
              </a:buClr>
            </a:pPr>
            <a:r>
              <a:rPr lang="en-GB" sz="1000" b="1" i="1">
                <a:latin typeface="Trebuchet MS" panose="020B0603020202020204" pitchFamily="34" charset="0"/>
              </a:rPr>
              <a:t>Reading insight: </a:t>
            </a:r>
            <a:r>
              <a:rPr lang="en-GB" sz="1000" i="1">
                <a:latin typeface="Trebuchet MS" panose="020B0603020202020204" pitchFamily="34" charset="0"/>
              </a:rPr>
              <a:t>a client that stopped paying a product in 2018 and started paying again in 2019 is included in this category (“new business 2019”) while it is not a “new” client in the database</a:t>
            </a:r>
          </a:p>
        </p:txBody>
      </p:sp>
      <p:pic>
        <p:nvPicPr>
          <p:cNvPr id="37" name="Picture 2" descr="5 ft x 3 ft 150 x 90 cm-DRAPEAU BELGE Belgique 100% Polyester ...">
            <a:extLst>
              <a:ext uri="{FF2B5EF4-FFF2-40B4-BE49-F238E27FC236}">
                <a16:creationId xmlns:a16="http://schemas.microsoft.com/office/drawing/2014/main" id="{78521E00-8844-47ED-AF5D-FD52310B1090}"/>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571952" y="1262339"/>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0" name="Picture 2 - 1" descr="Drapeau des Pays-Bas — Wikipédia">
            <a:extLst>
              <a:ext uri="{FF2B5EF4-FFF2-40B4-BE49-F238E27FC236}">
                <a16:creationId xmlns:a16="http://schemas.microsoft.com/office/drawing/2014/main" id="{BF87C82C-41E7-4CDA-889B-1A159D46399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65629" y="1262339"/>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41" name="Picture 2 - 2" descr="Drapeau du Luxembourg">
            <a:extLst>
              <a:ext uri="{FF2B5EF4-FFF2-40B4-BE49-F238E27FC236}">
                <a16:creationId xmlns:a16="http://schemas.microsoft.com/office/drawing/2014/main" id="{9197B455-EE75-45EE-8B6A-69A358244EC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8275" y="1262339"/>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1924704819"/>
      </p:ext>
    </p:extLst>
  </p:cSld>
  <p:clrMapOvr>
    <a:masterClrMapping/>
  </p:clrMapOvr>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AD8A8315-ACB0-4AFA-BDAB-ACE3EE7940F9}"/>
              </a:ext>
            </a:extLst>
          </p:cNvPr>
          <p:cNvGraphicFramePr>
            <a:graphicFrameLocks noChangeAspect="1"/>
          </p:cNvGraphicFramePr>
          <p:nvPr>
            <p:custDataLst>
              <p:tags r:id="rId1"/>
            </p:custDataLst>
            <p:extLst>
              <p:ext uri="{D42A27DB-BD31-4B8C-83A1-F6EECF244321}">
                <p14:modId xmlns:p14="http://schemas.microsoft.com/office/powerpoint/2010/main" val="1298986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6" name="Objet 5" hidden="1">
                        <a:extLst>
                          <a:ext uri="{FF2B5EF4-FFF2-40B4-BE49-F238E27FC236}">
                            <a16:creationId xmlns:a16="http://schemas.microsoft.com/office/drawing/2014/main" id="{AD8A8315-ACB0-4AFA-BDAB-ACE3EE7940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854DCEF-5D09-4A27-9C10-DE41FAB26FC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5" name="Rectangle 4">
            <a:extLst>
              <a:ext uri="{FF2B5EF4-FFF2-40B4-BE49-F238E27FC236}">
                <a16:creationId xmlns:a16="http://schemas.microsoft.com/office/drawing/2014/main" id="{EAC0CC13-A429-4B1D-9536-6F719397E27C}"/>
              </a:ext>
            </a:extLst>
          </p:cNvPr>
          <p:cNvSpPr/>
          <p:nvPr/>
        </p:nvSpPr>
        <p:spPr bwMode="auto">
          <a:xfrm>
            <a:off x="256803" y="1108411"/>
            <a:ext cx="9392393" cy="531921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aphicFrame>
        <p:nvGraphicFramePr>
          <p:cNvPr id="49" name="Chart 48">
            <a:extLst>
              <a:ext uri="{FF2B5EF4-FFF2-40B4-BE49-F238E27FC236}">
                <a16:creationId xmlns:a16="http://schemas.microsoft.com/office/drawing/2014/main" id="{CA8CA8E2-B938-44E9-AD28-0A877B79E00E}"/>
              </a:ext>
            </a:extLst>
          </p:cNvPr>
          <p:cNvGraphicFramePr/>
          <p:nvPr>
            <p:extLst>
              <p:ext uri="{D42A27DB-BD31-4B8C-83A1-F6EECF244321}">
                <p14:modId xmlns:p14="http://schemas.microsoft.com/office/powerpoint/2010/main" val="512852289"/>
              </p:ext>
            </p:extLst>
          </p:nvPr>
        </p:nvGraphicFramePr>
        <p:xfrm>
          <a:off x="5513073" y="1660675"/>
          <a:ext cx="3979494" cy="3128898"/>
        </p:xfrm>
        <a:graphic>
          <a:graphicData uri="http://schemas.openxmlformats.org/drawingml/2006/chart">
            <c:chart xmlns:c="http://schemas.openxmlformats.org/drawingml/2006/chart" xmlns:r="http://schemas.openxmlformats.org/officeDocument/2006/relationships" r:id="rId7"/>
          </a:graphicData>
        </a:graphic>
      </p:graphicFrame>
      <p:sp>
        <p:nvSpPr>
          <p:cNvPr id="2" name="Title 1">
            <a:extLst>
              <a:ext uri="{FF2B5EF4-FFF2-40B4-BE49-F238E27FC236}">
                <a16:creationId xmlns:a16="http://schemas.microsoft.com/office/drawing/2014/main" id="{7EFDEDFD-03EA-47F3-B974-1CACBD8FA6E2}"/>
              </a:ext>
            </a:extLst>
          </p:cNvPr>
          <p:cNvSpPr>
            <a:spLocks noGrp="1"/>
          </p:cNvSpPr>
          <p:nvPr>
            <p:ph type="title"/>
          </p:nvPr>
        </p:nvSpPr>
        <p:spPr>
          <a:xfrm>
            <a:off x="165600" y="147600"/>
            <a:ext cx="8438747" cy="684000"/>
          </a:xfrm>
        </p:spPr>
        <p:txBody>
          <a:bodyPr/>
          <a:lstStyle/>
          <a:p>
            <a:r>
              <a:rPr lang="en-GB">
                <a:latin typeface="Trebuchet MS" panose="020B0603020202020204" pitchFamily="34" charset="0"/>
              </a:rPr>
              <a:t>Benelux </a:t>
            </a:r>
            <a:r>
              <a:rPr lang="en-GB" sz="1600" kern="0">
                <a:solidFill>
                  <a:schemeClr val="tx2"/>
                </a:solidFill>
                <a:latin typeface="Trebuchet MS" panose="020B0603020202020204" pitchFamily="34" charset="0"/>
              </a:rPr>
              <a:t>cohorts’ dynamics </a:t>
            </a:r>
            <a:r>
              <a:rPr lang="en-GB" sz="1600" kern="0">
                <a:latin typeface="Trebuchet MS" panose="020B0603020202020204" pitchFamily="34" charset="0"/>
              </a:rPr>
              <a:t>illustrate </a:t>
            </a:r>
            <a:r>
              <a:rPr lang="en-GB" sz="1600" kern="0" err="1">
                <a:latin typeface="Trebuchet MS" panose="020B0603020202020204" pitchFamily="34" charset="0"/>
              </a:rPr>
              <a:t>Altares</a:t>
            </a:r>
            <a:r>
              <a:rPr lang="en-GB" sz="1600" kern="0">
                <a:latin typeface="Trebuchet MS" panose="020B0603020202020204" pitchFamily="34" charset="0"/>
              </a:rPr>
              <a:t>’ </a:t>
            </a:r>
            <a:r>
              <a:rPr lang="en-GB" sz="1600" kern="0">
                <a:solidFill>
                  <a:schemeClr val="tx2"/>
                </a:solidFill>
                <a:latin typeface="Trebuchet MS" panose="020B0603020202020204" pitchFamily="34" charset="0"/>
              </a:rPr>
              <a:t>focus on high value-added customers </a:t>
            </a:r>
            <a:r>
              <a:rPr lang="en-GB" sz="1600" kern="0">
                <a:latin typeface="Trebuchet MS" panose="020B0603020202020204" pitchFamily="34" charset="0"/>
              </a:rPr>
              <a:t>at the expense of </a:t>
            </a:r>
            <a:r>
              <a:rPr lang="en-GB" sz="1600" kern="0">
                <a:solidFill>
                  <a:schemeClr val="tx2"/>
                </a:solidFill>
                <a:latin typeface="Trebuchet MS" panose="020B0603020202020204" pitchFamily="34" charset="0"/>
              </a:rPr>
              <a:t>unprofitable small accounts</a:t>
            </a:r>
            <a:r>
              <a:rPr lang="en-GB" sz="1600" kern="0">
                <a:latin typeface="Trebuchet MS" panose="020B0603020202020204" pitchFamily="34" charset="0"/>
              </a:rPr>
              <a:t>, as </a:t>
            </a:r>
            <a:r>
              <a:rPr lang="en-GB" sz="1600" kern="0">
                <a:solidFill>
                  <a:schemeClr val="tx2"/>
                </a:solidFill>
                <a:latin typeface="Trebuchet MS" panose="020B0603020202020204" pitchFamily="34" charset="0"/>
              </a:rPr>
              <a:t>booking</a:t>
            </a:r>
            <a:r>
              <a:rPr lang="en-GB">
                <a:solidFill>
                  <a:schemeClr val="tx2"/>
                </a:solidFill>
                <a:latin typeface="Trebuchet MS" panose="020B0603020202020204" pitchFamily="34" charset="0"/>
              </a:rPr>
              <a:t>s </a:t>
            </a:r>
            <a:r>
              <a:rPr lang="en-GB">
                <a:latin typeface="Trebuchet MS" panose="020B0603020202020204" pitchFamily="34" charset="0"/>
              </a:rPr>
              <a:t>have remained </a:t>
            </a:r>
            <a:r>
              <a:rPr lang="en-GB">
                <a:solidFill>
                  <a:schemeClr val="tx2"/>
                </a:solidFill>
                <a:latin typeface="Trebuchet MS" panose="020B0603020202020204" pitchFamily="34" charset="0"/>
              </a:rPr>
              <a:t>flat </a:t>
            </a:r>
            <a:r>
              <a:rPr lang="en-GB">
                <a:latin typeface="Trebuchet MS" panose="020B0603020202020204" pitchFamily="34" charset="0"/>
              </a:rPr>
              <a:t>despite a </a:t>
            </a:r>
            <a:r>
              <a:rPr lang="en-GB">
                <a:solidFill>
                  <a:schemeClr val="tx2"/>
                </a:solidFill>
                <a:latin typeface="Trebuchet MS" panose="020B0603020202020204" pitchFamily="34" charset="0"/>
              </a:rPr>
              <a:t>decrease in the number of clients</a:t>
            </a:r>
          </a:p>
        </p:txBody>
      </p:sp>
      <p:sp>
        <p:nvSpPr>
          <p:cNvPr id="3" name="Text Placeholder 2">
            <a:extLst>
              <a:ext uri="{FF2B5EF4-FFF2-40B4-BE49-F238E27FC236}">
                <a16:creationId xmlns:a16="http://schemas.microsoft.com/office/drawing/2014/main" id="{4FF62979-614C-474A-8BAB-7BBEB6F4CE52}"/>
              </a:ext>
            </a:extLst>
          </p:cNvPr>
          <p:cNvSpPr>
            <a:spLocks noGrp="1"/>
          </p:cNvSpPr>
          <p:nvPr>
            <p:ph type="body" sz="quarter" idx="10"/>
          </p:nvPr>
        </p:nvSpPr>
        <p:spPr/>
        <p:txBody>
          <a:bodyPr/>
          <a:lstStyle/>
          <a:p>
            <a:r>
              <a:rPr lang="en-GB" sz="800" i="1" kern="0"/>
              <a:t>Sources: eleven research &amp; analysis, company data</a:t>
            </a:r>
          </a:p>
          <a:p>
            <a:endParaRPr lang="en-GB"/>
          </a:p>
        </p:txBody>
      </p:sp>
      <p:graphicFrame>
        <p:nvGraphicFramePr>
          <p:cNvPr id="11" name="Chart 10">
            <a:extLst>
              <a:ext uri="{FF2B5EF4-FFF2-40B4-BE49-F238E27FC236}">
                <a16:creationId xmlns:a16="http://schemas.microsoft.com/office/drawing/2014/main" id="{5A05E358-F134-48E9-9464-F617408222A3}"/>
              </a:ext>
            </a:extLst>
          </p:cNvPr>
          <p:cNvGraphicFramePr/>
          <p:nvPr>
            <p:extLst>
              <p:ext uri="{D42A27DB-BD31-4B8C-83A1-F6EECF244321}">
                <p14:modId xmlns:p14="http://schemas.microsoft.com/office/powerpoint/2010/main" val="2017794227"/>
              </p:ext>
            </p:extLst>
          </p:nvPr>
        </p:nvGraphicFramePr>
        <p:xfrm>
          <a:off x="356084" y="1663293"/>
          <a:ext cx="3979494" cy="3128898"/>
        </p:xfrm>
        <a:graphic>
          <a:graphicData uri="http://schemas.openxmlformats.org/drawingml/2006/chart">
            <c:chart xmlns:c="http://schemas.openxmlformats.org/drawingml/2006/chart" xmlns:r="http://schemas.openxmlformats.org/officeDocument/2006/relationships" r:id="rId8"/>
          </a:graphicData>
        </a:graphic>
      </p:graphicFrame>
      <p:grpSp>
        <p:nvGrpSpPr>
          <p:cNvPr id="12" name="Group 11">
            <a:extLst>
              <a:ext uri="{FF2B5EF4-FFF2-40B4-BE49-F238E27FC236}">
                <a16:creationId xmlns:a16="http://schemas.microsoft.com/office/drawing/2014/main" id="{C189AE38-FEF7-41A3-A7A3-942E94273EFD}"/>
              </a:ext>
            </a:extLst>
          </p:cNvPr>
          <p:cNvGrpSpPr/>
          <p:nvPr/>
        </p:nvGrpSpPr>
        <p:grpSpPr>
          <a:xfrm>
            <a:off x="4426713" y="1663293"/>
            <a:ext cx="995226" cy="1366415"/>
            <a:chOff x="4426713" y="1663293"/>
            <a:chExt cx="995226" cy="1366415"/>
          </a:xfrm>
        </p:grpSpPr>
        <p:sp>
          <p:nvSpPr>
            <p:cNvPr id="15" name="Rectangle 14">
              <a:extLst>
                <a:ext uri="{FF2B5EF4-FFF2-40B4-BE49-F238E27FC236}">
                  <a16:creationId xmlns:a16="http://schemas.microsoft.com/office/drawing/2014/main" id="{0E55E92B-7D51-4A3A-BE3F-7DD2EE928B4D}"/>
                </a:ext>
              </a:extLst>
            </p:cNvPr>
            <p:cNvSpPr/>
            <p:nvPr/>
          </p:nvSpPr>
          <p:spPr bwMode="auto">
            <a:xfrm>
              <a:off x="4426713" y="1663293"/>
              <a:ext cx="995226" cy="136641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grpSp>
          <p:nvGrpSpPr>
            <p:cNvPr id="7" name="Group 6">
              <a:extLst>
                <a:ext uri="{FF2B5EF4-FFF2-40B4-BE49-F238E27FC236}">
                  <a16:creationId xmlns:a16="http://schemas.microsoft.com/office/drawing/2014/main" id="{5969DF4A-2E77-482A-A5C9-DB64B252CD8B}"/>
                </a:ext>
              </a:extLst>
            </p:cNvPr>
            <p:cNvGrpSpPr/>
            <p:nvPr/>
          </p:nvGrpSpPr>
          <p:grpSpPr>
            <a:xfrm>
              <a:off x="4522121" y="2225015"/>
              <a:ext cx="579313" cy="123111"/>
              <a:chOff x="4522121" y="2225015"/>
              <a:chExt cx="579313" cy="123111"/>
            </a:xfrm>
          </p:grpSpPr>
          <p:cxnSp>
            <p:nvCxnSpPr>
              <p:cNvPr id="21" name="Straight Connector 20">
                <a:extLst>
                  <a:ext uri="{FF2B5EF4-FFF2-40B4-BE49-F238E27FC236}">
                    <a16:creationId xmlns:a16="http://schemas.microsoft.com/office/drawing/2014/main" id="{86F4127E-78DE-4332-99E8-E2B2E4414D4A}"/>
                  </a:ext>
                </a:extLst>
              </p:cNvPr>
              <p:cNvCxnSpPr>
                <a:cxnSpLocks/>
              </p:cNvCxnSpPr>
              <p:nvPr/>
            </p:nvCxnSpPr>
            <p:spPr bwMode="auto">
              <a:xfrm>
                <a:off x="4522121" y="2279761"/>
                <a:ext cx="207891"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23" name="TextBox 22">
                <a:extLst>
                  <a:ext uri="{FF2B5EF4-FFF2-40B4-BE49-F238E27FC236}">
                    <a16:creationId xmlns:a16="http://schemas.microsoft.com/office/drawing/2014/main" id="{F0CE2356-C5C6-4A20-9653-6B558BBA700F}"/>
                  </a:ext>
                </a:extLst>
              </p:cNvPr>
              <p:cNvSpPr txBox="1"/>
              <p:nvPr/>
            </p:nvSpPr>
            <p:spPr>
              <a:xfrm>
                <a:off x="4817500" y="2225015"/>
                <a:ext cx="283934" cy="123111"/>
              </a:xfrm>
              <a:prstGeom prst="rect">
                <a:avLst/>
              </a:prstGeom>
              <a:noFill/>
            </p:spPr>
            <p:txBody>
              <a:bodyPr wrap="square" lIns="0" tIns="0" rIns="0" bIns="0" rtlCol="0">
                <a:spAutoFit/>
              </a:bodyPr>
              <a:lstStyle/>
              <a:p>
                <a:r>
                  <a:rPr lang="en-GB" sz="800">
                    <a:latin typeface="+mj-lt"/>
                  </a:rPr>
                  <a:t>&lt;2018</a:t>
                </a:r>
              </a:p>
            </p:txBody>
          </p:sp>
        </p:grpSp>
        <p:grpSp>
          <p:nvGrpSpPr>
            <p:cNvPr id="8" name="Group 7">
              <a:extLst>
                <a:ext uri="{FF2B5EF4-FFF2-40B4-BE49-F238E27FC236}">
                  <a16:creationId xmlns:a16="http://schemas.microsoft.com/office/drawing/2014/main" id="{9C56FCD6-CFF3-4A5D-B52C-5D15E0D1B057}"/>
                </a:ext>
              </a:extLst>
            </p:cNvPr>
            <p:cNvGrpSpPr/>
            <p:nvPr/>
          </p:nvGrpSpPr>
          <p:grpSpPr>
            <a:xfrm>
              <a:off x="4522121" y="2434738"/>
              <a:ext cx="579312" cy="123111"/>
              <a:chOff x="4522121" y="2426189"/>
              <a:chExt cx="579312" cy="123111"/>
            </a:xfrm>
          </p:grpSpPr>
          <p:cxnSp>
            <p:nvCxnSpPr>
              <p:cNvPr id="19" name="Straight Connector 18">
                <a:extLst>
                  <a:ext uri="{FF2B5EF4-FFF2-40B4-BE49-F238E27FC236}">
                    <a16:creationId xmlns:a16="http://schemas.microsoft.com/office/drawing/2014/main" id="{F431C9AF-6EF4-4448-ACE3-15A186AB19D5}"/>
                  </a:ext>
                </a:extLst>
              </p:cNvPr>
              <p:cNvCxnSpPr>
                <a:cxnSpLocks/>
              </p:cNvCxnSpPr>
              <p:nvPr/>
            </p:nvCxnSpPr>
            <p:spPr bwMode="auto">
              <a:xfrm>
                <a:off x="4522121" y="2480935"/>
                <a:ext cx="207891"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25" name="TextBox 24">
                <a:extLst>
                  <a:ext uri="{FF2B5EF4-FFF2-40B4-BE49-F238E27FC236}">
                    <a16:creationId xmlns:a16="http://schemas.microsoft.com/office/drawing/2014/main" id="{0827E8EC-1FA3-49AB-83D1-166A31CA4B12}"/>
                  </a:ext>
                </a:extLst>
              </p:cNvPr>
              <p:cNvSpPr txBox="1"/>
              <p:nvPr/>
            </p:nvSpPr>
            <p:spPr>
              <a:xfrm>
                <a:off x="4817500" y="2426189"/>
                <a:ext cx="283933" cy="123111"/>
              </a:xfrm>
              <a:prstGeom prst="rect">
                <a:avLst/>
              </a:prstGeom>
              <a:noFill/>
            </p:spPr>
            <p:txBody>
              <a:bodyPr wrap="square" lIns="0" tIns="0" rIns="0" bIns="0" rtlCol="0">
                <a:spAutoFit/>
              </a:bodyPr>
              <a:lstStyle/>
              <a:p>
                <a:r>
                  <a:rPr lang="en-GB" sz="800">
                    <a:latin typeface="+mj-lt"/>
                  </a:rPr>
                  <a:t>2018</a:t>
                </a:r>
              </a:p>
            </p:txBody>
          </p:sp>
        </p:grpSp>
        <p:grpSp>
          <p:nvGrpSpPr>
            <p:cNvPr id="9" name="Group 8">
              <a:extLst>
                <a:ext uri="{FF2B5EF4-FFF2-40B4-BE49-F238E27FC236}">
                  <a16:creationId xmlns:a16="http://schemas.microsoft.com/office/drawing/2014/main" id="{C8612BA3-E7A3-4DD8-917F-C2E2E556902E}"/>
                </a:ext>
              </a:extLst>
            </p:cNvPr>
            <p:cNvGrpSpPr/>
            <p:nvPr/>
          </p:nvGrpSpPr>
          <p:grpSpPr>
            <a:xfrm>
              <a:off x="4522121" y="2644461"/>
              <a:ext cx="579312" cy="123111"/>
              <a:chOff x="4522121" y="2627362"/>
              <a:chExt cx="579312" cy="123111"/>
            </a:xfrm>
          </p:grpSpPr>
          <p:cxnSp>
            <p:nvCxnSpPr>
              <p:cNvPr id="17" name="Straight Connector 16">
                <a:extLst>
                  <a:ext uri="{FF2B5EF4-FFF2-40B4-BE49-F238E27FC236}">
                    <a16:creationId xmlns:a16="http://schemas.microsoft.com/office/drawing/2014/main" id="{FF843855-B32E-49BD-8D1B-028DD28EF5CC}"/>
                  </a:ext>
                </a:extLst>
              </p:cNvPr>
              <p:cNvCxnSpPr>
                <a:cxnSpLocks/>
              </p:cNvCxnSpPr>
              <p:nvPr/>
            </p:nvCxnSpPr>
            <p:spPr bwMode="auto">
              <a:xfrm>
                <a:off x="4522121" y="2682108"/>
                <a:ext cx="207891" cy="0"/>
              </a:xfrm>
              <a:prstGeom prst="line">
                <a:avLst/>
              </a:prstGeom>
              <a:solidFill>
                <a:schemeClr val="bg1"/>
              </a:solidFill>
              <a:ln w="88900" cap="flat" cmpd="sng" algn="ctr">
                <a:solidFill>
                  <a:srgbClr val="8FCD9F"/>
                </a:solidFill>
                <a:prstDash val="solid"/>
                <a:round/>
                <a:headEnd type="none" w="med" len="med"/>
                <a:tailEnd type="none" w="med" len="med"/>
              </a:ln>
              <a:effectLst/>
            </p:spPr>
          </p:cxnSp>
          <p:sp>
            <p:nvSpPr>
              <p:cNvPr id="27" name="TextBox 26">
                <a:extLst>
                  <a:ext uri="{FF2B5EF4-FFF2-40B4-BE49-F238E27FC236}">
                    <a16:creationId xmlns:a16="http://schemas.microsoft.com/office/drawing/2014/main" id="{4046502C-733D-4492-9536-6251E4829624}"/>
                  </a:ext>
                </a:extLst>
              </p:cNvPr>
              <p:cNvSpPr txBox="1"/>
              <p:nvPr/>
            </p:nvSpPr>
            <p:spPr>
              <a:xfrm>
                <a:off x="4817500" y="2627362"/>
                <a:ext cx="283933" cy="123111"/>
              </a:xfrm>
              <a:prstGeom prst="rect">
                <a:avLst/>
              </a:prstGeom>
              <a:noFill/>
            </p:spPr>
            <p:txBody>
              <a:bodyPr wrap="square" lIns="0" tIns="0" rIns="0" bIns="0" rtlCol="0">
                <a:spAutoFit/>
              </a:bodyPr>
              <a:lstStyle/>
              <a:p>
                <a:r>
                  <a:rPr lang="en-GB" sz="800">
                    <a:latin typeface="+mj-lt"/>
                  </a:rPr>
                  <a:t>2019</a:t>
                </a:r>
              </a:p>
            </p:txBody>
          </p:sp>
        </p:grpSp>
        <p:grpSp>
          <p:nvGrpSpPr>
            <p:cNvPr id="57" name="Group 56">
              <a:extLst>
                <a:ext uri="{FF2B5EF4-FFF2-40B4-BE49-F238E27FC236}">
                  <a16:creationId xmlns:a16="http://schemas.microsoft.com/office/drawing/2014/main" id="{AFAE4C10-78F5-4FB4-BEFA-16B6DE2A3A6F}"/>
                </a:ext>
              </a:extLst>
            </p:cNvPr>
            <p:cNvGrpSpPr/>
            <p:nvPr/>
          </p:nvGrpSpPr>
          <p:grpSpPr>
            <a:xfrm>
              <a:off x="4522121" y="2854184"/>
              <a:ext cx="675609" cy="123111"/>
              <a:chOff x="4490012" y="3450640"/>
              <a:chExt cx="659545" cy="123111"/>
            </a:xfrm>
          </p:grpSpPr>
          <p:cxnSp>
            <p:nvCxnSpPr>
              <p:cNvPr id="37" name="Straight Connector 36">
                <a:extLst>
                  <a:ext uri="{FF2B5EF4-FFF2-40B4-BE49-F238E27FC236}">
                    <a16:creationId xmlns:a16="http://schemas.microsoft.com/office/drawing/2014/main" id="{E9B47C3C-6EA3-4E25-94E7-6EA85F2827AC}"/>
                  </a:ext>
                </a:extLst>
              </p:cNvPr>
              <p:cNvCxnSpPr>
                <a:cxnSpLocks/>
              </p:cNvCxnSpPr>
              <p:nvPr/>
            </p:nvCxnSpPr>
            <p:spPr bwMode="auto">
              <a:xfrm>
                <a:off x="4490012" y="3512195"/>
                <a:ext cx="202948" cy="0"/>
              </a:xfrm>
              <a:prstGeom prst="line">
                <a:avLst/>
              </a:prstGeom>
              <a:solidFill>
                <a:schemeClr val="bg1"/>
              </a:solidFill>
              <a:ln w="19050" cap="flat" cmpd="sng" algn="ctr">
                <a:solidFill>
                  <a:schemeClr val="accent1">
                    <a:lumMod val="75000"/>
                  </a:schemeClr>
                </a:solidFill>
                <a:prstDash val="solid"/>
                <a:round/>
                <a:headEnd type="none" w="med" len="med"/>
                <a:tailEnd type="none" w="med" len="med"/>
              </a:ln>
              <a:effectLst/>
            </p:spPr>
          </p:cxnSp>
          <p:sp>
            <p:nvSpPr>
              <p:cNvPr id="39" name="TextBox 38">
                <a:extLst>
                  <a:ext uri="{FF2B5EF4-FFF2-40B4-BE49-F238E27FC236}">
                    <a16:creationId xmlns:a16="http://schemas.microsoft.com/office/drawing/2014/main" id="{CD2561CB-BFF6-4800-8BA8-924B176687A1}"/>
                  </a:ext>
                </a:extLst>
              </p:cNvPr>
              <p:cNvSpPr txBox="1"/>
              <p:nvPr/>
            </p:nvSpPr>
            <p:spPr>
              <a:xfrm>
                <a:off x="4778368" y="3450640"/>
                <a:ext cx="371189" cy="123111"/>
              </a:xfrm>
              <a:prstGeom prst="rect">
                <a:avLst/>
              </a:prstGeom>
              <a:noFill/>
            </p:spPr>
            <p:txBody>
              <a:bodyPr wrap="square" lIns="0" tIns="0" rIns="0" bIns="0" rtlCol="0">
                <a:spAutoFit/>
              </a:bodyPr>
              <a:lstStyle/>
              <a:p>
                <a:r>
                  <a:rPr lang="en-GB" sz="800">
                    <a:latin typeface="+mj-lt"/>
                  </a:rPr>
                  <a:t>Total</a:t>
                </a:r>
              </a:p>
            </p:txBody>
          </p:sp>
        </p:grpSp>
      </p:grpSp>
      <p:sp>
        <p:nvSpPr>
          <p:cNvPr id="59" name="Rectangle 58">
            <a:extLst>
              <a:ext uri="{FF2B5EF4-FFF2-40B4-BE49-F238E27FC236}">
                <a16:creationId xmlns:a16="http://schemas.microsoft.com/office/drawing/2014/main" id="{10D9F9C1-E9C5-45C8-A49A-314E0F24DF18}"/>
              </a:ext>
            </a:extLst>
          </p:cNvPr>
          <p:cNvSpPr/>
          <p:nvPr/>
        </p:nvSpPr>
        <p:spPr>
          <a:xfrm>
            <a:off x="4426713" y="1690636"/>
            <a:ext cx="995226" cy="507831"/>
          </a:xfrm>
          <a:prstGeom prst="rect">
            <a:avLst/>
          </a:prstGeom>
        </p:spPr>
        <p:txBody>
          <a:bodyPr wrap="square">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900" b="1">
                <a:solidFill>
                  <a:srgbClr val="6C6C6C"/>
                </a:solidFill>
                <a:latin typeface="Trebuchet MS" panose="020B0603020202020204" pitchFamily="34" charset="0"/>
              </a:rPr>
              <a:t>Customers</a:t>
            </a:r>
            <a:r>
              <a:rPr kumimoji="0" lang="en-GB" sz="900" b="1"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recruitment years: </a:t>
            </a:r>
          </a:p>
        </p:txBody>
      </p:sp>
      <p:sp>
        <p:nvSpPr>
          <p:cNvPr id="63" name="Rectangle 62">
            <a:extLst>
              <a:ext uri="{FF2B5EF4-FFF2-40B4-BE49-F238E27FC236}">
                <a16:creationId xmlns:a16="http://schemas.microsoft.com/office/drawing/2014/main" id="{9D8F770D-F6E7-44B0-889F-175908BB5270}"/>
              </a:ext>
            </a:extLst>
          </p:cNvPr>
          <p:cNvSpPr/>
          <p:nvPr/>
        </p:nvSpPr>
        <p:spPr bwMode="auto">
          <a:xfrm>
            <a:off x="5503155" y="1108411"/>
            <a:ext cx="3979495"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Altares</a:t>
            </a:r>
            <a:r>
              <a:rPr lang="en-GB" sz="1000" b="1" i="1">
                <a:latin typeface="Trebuchet MS" panose="020B0603020202020204" pitchFamily="34" charset="0"/>
              </a:rPr>
              <a:t>' number of clients in Benelux broken down by customers’ recruitment year</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65" name="Rectangle 64">
            <a:extLst>
              <a:ext uri="{FF2B5EF4-FFF2-40B4-BE49-F238E27FC236}">
                <a16:creationId xmlns:a16="http://schemas.microsoft.com/office/drawing/2014/main" id="{FB2E2AB6-6549-4EE3-85DD-6A07ED6FB51F}"/>
              </a:ext>
            </a:extLst>
          </p:cNvPr>
          <p:cNvSpPr/>
          <p:nvPr/>
        </p:nvSpPr>
        <p:spPr bwMode="auto">
          <a:xfrm>
            <a:off x="980931" y="1121644"/>
            <a:ext cx="3354647"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Altares</a:t>
            </a:r>
            <a:r>
              <a:rPr lang="en-GB" sz="1000" b="1" i="1">
                <a:latin typeface="Trebuchet MS" panose="020B0603020202020204" pitchFamily="34" charset="0"/>
              </a:rPr>
              <a:t>' bookings in Benelux broken down by customers’ recruitment year, in m€</a:t>
            </a:r>
            <a:endParaRPr kumimoji="0" lang="en-GB" sz="1000" b="1" i="1" u="none" strike="noStrike" kern="1200" cap="none" spc="0" normalizeH="0" baseline="0" noProof="0">
              <a:ln>
                <a:noFill/>
              </a:ln>
              <a:effectLst/>
              <a:uLnTx/>
              <a:uFillTx/>
              <a:latin typeface="Trebuchet MS" panose="020B0603020202020204" pitchFamily="34" charset="0"/>
            </a:endParaRPr>
          </a:p>
        </p:txBody>
      </p:sp>
      <p:cxnSp>
        <p:nvCxnSpPr>
          <p:cNvPr id="10" name="Connecteur droit avec flèche 9">
            <a:extLst>
              <a:ext uri="{FF2B5EF4-FFF2-40B4-BE49-F238E27FC236}">
                <a16:creationId xmlns:a16="http://schemas.microsoft.com/office/drawing/2014/main" id="{CD4F62DC-1D43-4C4B-B61A-EEB33B99EB9B}"/>
              </a:ext>
            </a:extLst>
          </p:cNvPr>
          <p:cNvCxnSpPr>
            <a:cxnSpLocks/>
          </p:cNvCxnSpPr>
          <p:nvPr/>
        </p:nvCxnSpPr>
        <p:spPr bwMode="auto">
          <a:xfrm>
            <a:off x="4152900" y="2502916"/>
            <a:ext cx="1" cy="1916684"/>
          </a:xfrm>
          <a:prstGeom prst="straightConnector1">
            <a:avLst/>
          </a:prstGeom>
          <a:solidFill>
            <a:schemeClr val="accent1"/>
          </a:solidFill>
          <a:ln w="9525" cap="flat" cmpd="sng" algn="ctr">
            <a:solidFill>
              <a:schemeClr val="tx1"/>
            </a:solidFill>
            <a:prstDash val="solid"/>
            <a:round/>
            <a:headEnd type="triangle" w="med" len="med"/>
            <a:tailEnd type="triangle" w="med" len="med"/>
          </a:ln>
          <a:effectLst/>
        </p:spPr>
      </p:cxnSp>
      <p:sp>
        <p:nvSpPr>
          <p:cNvPr id="41" name="Rectangle 40">
            <a:extLst>
              <a:ext uri="{FF2B5EF4-FFF2-40B4-BE49-F238E27FC236}">
                <a16:creationId xmlns:a16="http://schemas.microsoft.com/office/drawing/2014/main" id="{C656333A-12AB-4C8A-A78D-11F6ECDA5AA5}"/>
              </a:ext>
            </a:extLst>
          </p:cNvPr>
          <p:cNvSpPr/>
          <p:nvPr/>
        </p:nvSpPr>
        <p:spPr bwMode="auto">
          <a:xfrm>
            <a:off x="4160357" y="3309505"/>
            <a:ext cx="1224000" cy="80917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dirty="0">
                <a:latin typeface="Trebuchet MS" panose="020B0603020202020204" pitchFamily="34" charset="0"/>
              </a:rPr>
              <a:t>88% of 2019 revenue were generated by customers recruited prior 2018</a:t>
            </a:r>
            <a:endParaRPr kumimoji="0" lang="en-GB" sz="1000" b="1" i="1" u="none" strike="noStrike" kern="1200" cap="none" spc="0" normalizeH="0" baseline="0" noProof="0" dirty="0">
              <a:ln>
                <a:noFill/>
              </a:ln>
              <a:effectLst/>
              <a:uLnTx/>
              <a:uFillTx/>
              <a:latin typeface="Trebuchet MS" panose="020B0603020202020204" pitchFamily="34" charset="0"/>
            </a:endParaRPr>
          </a:p>
        </p:txBody>
      </p:sp>
      <p:sp>
        <p:nvSpPr>
          <p:cNvPr id="42" name="Rectangle 41">
            <a:extLst>
              <a:ext uri="{FF2B5EF4-FFF2-40B4-BE49-F238E27FC236}">
                <a16:creationId xmlns:a16="http://schemas.microsoft.com/office/drawing/2014/main" id="{9B81E6F6-5347-4682-884D-4CB78A092A68}"/>
              </a:ext>
            </a:extLst>
          </p:cNvPr>
          <p:cNvSpPr/>
          <p:nvPr/>
        </p:nvSpPr>
        <p:spPr bwMode="auto">
          <a:xfrm>
            <a:off x="373541" y="4857084"/>
            <a:ext cx="9126566" cy="1484881"/>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600"/>
              </a:spcBef>
              <a:buClr>
                <a:schemeClr val="tx1"/>
              </a:buClr>
            </a:pPr>
            <a:r>
              <a:rPr lang="en-GB" sz="1000" b="1" kern="0" dirty="0">
                <a:latin typeface="Trebuchet MS" panose="020B0603020202020204" pitchFamily="34" charset="0"/>
              </a:rPr>
              <a:t>Comments</a:t>
            </a:r>
          </a:p>
          <a:p>
            <a:pPr marL="171450" indent="-171450">
              <a:spcBef>
                <a:spcPts val="600"/>
              </a:spcBef>
              <a:buClr>
                <a:schemeClr val="tx1"/>
              </a:buClr>
              <a:buFont typeface="Arial" panose="020B0604020202020204" pitchFamily="34" charset="0"/>
              <a:buChar char="•"/>
            </a:pPr>
            <a:r>
              <a:rPr lang="en-GB" sz="1000" dirty="0">
                <a:solidFill>
                  <a:schemeClr val="tx2"/>
                </a:solidFill>
                <a:latin typeface="Trebuchet MS" panose="020B0603020202020204" pitchFamily="34" charset="0"/>
              </a:rPr>
              <a:t>Cohort </a:t>
            </a:r>
            <a:r>
              <a:rPr lang="en-GB" sz="1000" dirty="0">
                <a:latin typeface="Trebuchet MS" panose="020B0603020202020204" pitchFamily="34" charset="0"/>
              </a:rPr>
              <a:t>includes all sales generated by customers in a given year </a:t>
            </a:r>
            <a:r>
              <a:rPr lang="en-GB" sz="1000" dirty="0">
                <a:solidFill>
                  <a:schemeClr val="tx2"/>
                </a:solidFill>
                <a:latin typeface="Trebuchet MS" panose="020B0603020202020204" pitchFamily="34" charset="0"/>
              </a:rPr>
              <a:t>excluding indirect incomes </a:t>
            </a:r>
            <a:r>
              <a:rPr lang="en-GB" sz="1000" dirty="0">
                <a:latin typeface="Trebuchet MS" panose="020B0603020202020204" pitchFamily="34" charset="0"/>
              </a:rPr>
              <a:t>coming from the </a:t>
            </a:r>
            <a:r>
              <a:rPr lang="en-GB" sz="1000" dirty="0">
                <a:solidFill>
                  <a:schemeClr val="tx2"/>
                </a:solidFill>
                <a:latin typeface="Trebuchet MS" panose="020B0603020202020204" pitchFamily="34" charset="0"/>
              </a:rPr>
              <a:t>partnership with D&amp;B </a:t>
            </a:r>
            <a:r>
              <a:rPr lang="en-GB" sz="1000" dirty="0">
                <a:latin typeface="Trebuchet MS" panose="020B0603020202020204" pitchFamily="34" charset="0"/>
              </a:rPr>
              <a:t>(e.g. royalties…) </a:t>
            </a:r>
          </a:p>
          <a:p>
            <a:pPr marL="171450" indent="-171450">
              <a:spcBef>
                <a:spcPts val="600"/>
              </a:spcBef>
              <a:buClr>
                <a:schemeClr val="tx1"/>
              </a:buClr>
              <a:buFont typeface="Arial" panose="020B0604020202020204" pitchFamily="34" charset="0"/>
              <a:buChar char="•"/>
            </a:pPr>
            <a:r>
              <a:rPr lang="en-GB" sz="1000" dirty="0" err="1">
                <a:latin typeface="Trebuchet MS" panose="020B0603020202020204" pitchFamily="34" charset="0"/>
              </a:rPr>
              <a:t>Altares</a:t>
            </a:r>
            <a:r>
              <a:rPr lang="en-GB" sz="1000" dirty="0">
                <a:latin typeface="Trebuchet MS" panose="020B0603020202020204" pitchFamily="34" charset="0"/>
              </a:rPr>
              <a:t>' customer base has proven its resilience over time </a:t>
            </a:r>
            <a:r>
              <a:rPr lang="en-GB" sz="1000" dirty="0">
                <a:solidFill>
                  <a:schemeClr val="tx2"/>
                </a:solidFill>
                <a:latin typeface="Trebuchet MS" panose="020B0603020202020204" pitchFamily="34" charset="0"/>
              </a:rPr>
              <a:t>as 88% of its 2019 turnover </a:t>
            </a:r>
            <a:r>
              <a:rPr lang="en-GB" sz="1000" dirty="0">
                <a:latin typeface="Trebuchet MS" panose="020B0603020202020204" pitchFamily="34" charset="0"/>
              </a:rPr>
              <a:t>comes from </a:t>
            </a:r>
            <a:r>
              <a:rPr lang="en-GB" sz="1000" dirty="0">
                <a:solidFill>
                  <a:schemeClr val="tx2"/>
                </a:solidFill>
                <a:latin typeface="Trebuchet MS" panose="020B0603020202020204" pitchFamily="34" charset="0"/>
              </a:rPr>
              <a:t>customers acquired prior 2017, </a:t>
            </a:r>
            <a:r>
              <a:rPr lang="en-GB" sz="1000" dirty="0">
                <a:latin typeface="Trebuchet MS" panose="020B0603020202020204" pitchFamily="34" charset="0"/>
              </a:rPr>
              <a:t>while preserving </a:t>
            </a:r>
            <a:r>
              <a:rPr lang="en-GB" sz="1000" dirty="0">
                <a:solidFill>
                  <a:schemeClr val="tx2"/>
                </a:solidFill>
                <a:latin typeface="Trebuchet MS" panose="020B0603020202020204" pitchFamily="34" charset="0"/>
              </a:rPr>
              <a:t>a robust customer acquisition rate</a:t>
            </a:r>
          </a:p>
          <a:p>
            <a:pPr marL="171450" indent="-171450">
              <a:spcBef>
                <a:spcPts val="600"/>
              </a:spcBef>
              <a:buClr>
                <a:schemeClr val="tx1"/>
              </a:buClr>
              <a:buFont typeface="Arial" panose="020B0604020202020204" pitchFamily="34" charset="0"/>
              <a:buChar char="•"/>
            </a:pPr>
            <a:r>
              <a:rPr lang="en-GB" sz="1000" dirty="0">
                <a:latin typeface="Trebuchet MS" panose="020B0603020202020204" pitchFamily="34" charset="0"/>
              </a:rPr>
              <a:t>Since 2017, </a:t>
            </a:r>
            <a:r>
              <a:rPr lang="en-GB" sz="1000" dirty="0" err="1">
                <a:latin typeface="Trebuchet MS" panose="020B0603020202020204" pitchFamily="34" charset="0"/>
              </a:rPr>
              <a:t>Altares</a:t>
            </a:r>
            <a:r>
              <a:rPr lang="en-GB" sz="1000" dirty="0">
                <a:latin typeface="Trebuchet MS" panose="020B0603020202020204" pitchFamily="34" charset="0"/>
              </a:rPr>
              <a:t> has </a:t>
            </a:r>
            <a:r>
              <a:rPr lang="en-GB" sz="1000" dirty="0">
                <a:solidFill>
                  <a:schemeClr val="tx2"/>
                </a:solidFill>
                <a:latin typeface="Trebuchet MS" panose="020B0603020202020204" pitchFamily="34" charset="0"/>
              </a:rPr>
              <a:t>tightened its customer base </a:t>
            </a:r>
            <a:r>
              <a:rPr lang="en-GB" sz="1000" dirty="0">
                <a:latin typeface="Trebuchet MS" panose="020B0603020202020204" pitchFamily="34" charset="0"/>
              </a:rPr>
              <a:t>from ~2600 in 2017 to ~2200 customers in 2019 but </a:t>
            </a:r>
            <a:r>
              <a:rPr lang="en-GB" sz="1000" dirty="0">
                <a:solidFill>
                  <a:schemeClr val="tx2"/>
                </a:solidFill>
                <a:latin typeface="Trebuchet MS" panose="020B0603020202020204" pitchFamily="34" charset="0"/>
              </a:rPr>
              <a:t>has managed to increase upsell </a:t>
            </a:r>
            <a:r>
              <a:rPr lang="en-GB" sz="1000" dirty="0">
                <a:latin typeface="Trebuchet MS" panose="020B0603020202020204" pitchFamily="34" charset="0"/>
              </a:rPr>
              <a:t>as the </a:t>
            </a:r>
            <a:r>
              <a:rPr lang="en-GB" sz="1000" dirty="0">
                <a:solidFill>
                  <a:schemeClr val="tx2"/>
                </a:solidFill>
                <a:latin typeface="Trebuchet MS" panose="020B0603020202020204" pitchFamily="34" charset="0"/>
              </a:rPr>
              <a:t>total generated revenue has been stable</a:t>
            </a:r>
            <a:endParaRPr lang="en-GB" sz="1000" dirty="0">
              <a:highlight>
                <a:srgbClr val="FFFF00"/>
              </a:highlight>
              <a:latin typeface="Trebuchet MS" panose="020B0603020202020204" pitchFamily="34" charset="0"/>
            </a:endParaRPr>
          </a:p>
        </p:txBody>
      </p:sp>
      <p:grpSp>
        <p:nvGrpSpPr>
          <p:cNvPr id="46" name="Group 4">
            <a:extLst>
              <a:ext uri="{FF2B5EF4-FFF2-40B4-BE49-F238E27FC236}">
                <a16:creationId xmlns:a16="http://schemas.microsoft.com/office/drawing/2014/main" id="{8D44D78C-81CD-43A5-9C0C-43D828273847}"/>
              </a:ext>
            </a:extLst>
          </p:cNvPr>
          <p:cNvGrpSpPr>
            <a:grpSpLocks noChangeAspect="1"/>
          </p:cNvGrpSpPr>
          <p:nvPr/>
        </p:nvGrpSpPr>
        <p:grpSpPr bwMode="auto">
          <a:xfrm>
            <a:off x="4046923" y="4905017"/>
            <a:ext cx="226868" cy="184867"/>
            <a:chOff x="788" y="869"/>
            <a:chExt cx="740" cy="603"/>
          </a:xfrm>
          <a:solidFill>
            <a:schemeClr val="tx1"/>
          </a:solidFill>
        </p:grpSpPr>
        <p:sp>
          <p:nvSpPr>
            <p:cNvPr id="47" name="Freeform 5">
              <a:extLst>
                <a:ext uri="{FF2B5EF4-FFF2-40B4-BE49-F238E27FC236}">
                  <a16:creationId xmlns:a16="http://schemas.microsoft.com/office/drawing/2014/main" id="{BA5814E7-64A8-4B8B-B41D-CE0263387FF1}"/>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Rectangle 6">
              <a:extLst>
                <a:ext uri="{FF2B5EF4-FFF2-40B4-BE49-F238E27FC236}">
                  <a16:creationId xmlns:a16="http://schemas.microsoft.com/office/drawing/2014/main" id="{F6D607FF-11D0-4EAC-9EA2-1490551D2022}"/>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Rectangle 7">
              <a:extLst>
                <a:ext uri="{FF2B5EF4-FFF2-40B4-BE49-F238E27FC236}">
                  <a16:creationId xmlns:a16="http://schemas.microsoft.com/office/drawing/2014/main" id="{F71D3EDF-B4D1-4CDE-863E-FA8F853CEA65}"/>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Rectangle 8">
              <a:extLst>
                <a:ext uri="{FF2B5EF4-FFF2-40B4-BE49-F238E27FC236}">
                  <a16:creationId xmlns:a16="http://schemas.microsoft.com/office/drawing/2014/main" id="{BBD90460-37E4-4443-BF4F-46666649246F}"/>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0" name="Group 39">
            <a:extLst>
              <a:ext uri="{FF2B5EF4-FFF2-40B4-BE49-F238E27FC236}">
                <a16:creationId xmlns:a16="http://schemas.microsoft.com/office/drawing/2014/main" id="{D1CC12AA-E33C-4DFE-8A51-5D2EC7265671}"/>
              </a:ext>
            </a:extLst>
          </p:cNvPr>
          <p:cNvGrpSpPr/>
          <p:nvPr/>
        </p:nvGrpSpPr>
        <p:grpSpPr>
          <a:xfrm>
            <a:off x="8448150" y="-11528"/>
            <a:ext cx="1435548" cy="588143"/>
            <a:chOff x="8448150" y="-11528"/>
            <a:chExt cx="1435548" cy="588143"/>
          </a:xfrm>
        </p:grpSpPr>
        <p:pic>
          <p:nvPicPr>
            <p:cNvPr id="43" name="Picture 2" descr="5 ft x 3 ft 150 x 90 cm-DRAPEAU BELGE Belgique 100% Polyester ...">
              <a:extLst>
                <a:ext uri="{FF2B5EF4-FFF2-40B4-BE49-F238E27FC236}">
                  <a16:creationId xmlns:a16="http://schemas.microsoft.com/office/drawing/2014/main" id="{77446C5B-A01D-4447-8F91-B105B10B4083}"/>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5" name="Picture 2 - 1" descr="Drapeau des Pays-Bas — Wikipédia">
              <a:extLst>
                <a:ext uri="{FF2B5EF4-FFF2-40B4-BE49-F238E27FC236}">
                  <a16:creationId xmlns:a16="http://schemas.microsoft.com/office/drawing/2014/main" id="{397D836F-8E69-4058-A8B8-996B61F7E11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3" name="Picture 2 - 2" descr="Drapeau du Luxembourg">
              <a:extLst>
                <a:ext uri="{FF2B5EF4-FFF2-40B4-BE49-F238E27FC236}">
                  <a16:creationId xmlns:a16="http://schemas.microsoft.com/office/drawing/2014/main" id="{D1ADADF1-4B8C-4CFF-BDE8-1E4F6B5EDE6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4" name="ZoneTexte 18">
              <a:extLst>
                <a:ext uri="{FF2B5EF4-FFF2-40B4-BE49-F238E27FC236}">
                  <a16:creationId xmlns:a16="http://schemas.microsoft.com/office/drawing/2014/main" id="{400F45F5-EB76-4078-BB29-169ECEF61571}"/>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nvGrpSpPr>
            <p:cNvPr id="56" name="Groupe 85">
              <a:extLst>
                <a:ext uri="{FF2B5EF4-FFF2-40B4-BE49-F238E27FC236}">
                  <a16:creationId xmlns:a16="http://schemas.microsoft.com/office/drawing/2014/main" id="{B766CBC2-DC50-48E7-AF23-8E341D4965F1}"/>
                </a:ext>
              </a:extLst>
            </p:cNvPr>
            <p:cNvGrpSpPr/>
            <p:nvPr/>
          </p:nvGrpSpPr>
          <p:grpSpPr>
            <a:xfrm>
              <a:off x="8448150" y="-11528"/>
              <a:ext cx="1281748" cy="588143"/>
              <a:chOff x="8448150" y="-11528"/>
              <a:chExt cx="1281748" cy="588143"/>
            </a:xfrm>
          </p:grpSpPr>
          <p:sp>
            <p:nvSpPr>
              <p:cNvPr id="61" name="Rectangle : coins arrondis 199">
                <a:extLst>
                  <a:ext uri="{FF2B5EF4-FFF2-40B4-BE49-F238E27FC236}">
                    <a16:creationId xmlns:a16="http://schemas.microsoft.com/office/drawing/2014/main" id="{9CC26798-5A53-47DE-A884-FD5F0F7CF044}"/>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8" name="Rectangle : coins arrondis 200">
                <a:extLst>
                  <a:ext uri="{FF2B5EF4-FFF2-40B4-BE49-F238E27FC236}">
                    <a16:creationId xmlns:a16="http://schemas.microsoft.com/office/drawing/2014/main" id="{E388A593-3A70-4DD8-9AE3-A5EF3D756C8D}"/>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9" name="Rectangle : coins arrondis 201">
                <a:extLst>
                  <a:ext uri="{FF2B5EF4-FFF2-40B4-BE49-F238E27FC236}">
                    <a16:creationId xmlns:a16="http://schemas.microsoft.com/office/drawing/2014/main" id="{C2E0594B-DF76-4DA9-8E90-198D82289D15}"/>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0" name="ZoneTexte 18">
                <a:extLst>
                  <a:ext uri="{FF2B5EF4-FFF2-40B4-BE49-F238E27FC236}">
                    <a16:creationId xmlns:a16="http://schemas.microsoft.com/office/drawing/2014/main" id="{4D3F15F4-FAFB-4D2A-BE11-94FB5A2CAFC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71" name="Graphique 128" descr="Jauge">
                <a:extLst>
                  <a:ext uri="{FF2B5EF4-FFF2-40B4-BE49-F238E27FC236}">
                    <a16:creationId xmlns:a16="http://schemas.microsoft.com/office/drawing/2014/main" id="{24A8ECB2-427D-4E62-AC0B-3989C89767D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53764" y="187516"/>
                <a:ext cx="234953" cy="218224"/>
              </a:xfrm>
              <a:prstGeom prst="rect">
                <a:avLst/>
              </a:prstGeom>
              <a:effectLst/>
            </p:spPr>
          </p:pic>
          <p:pic>
            <p:nvPicPr>
              <p:cNvPr id="72" name="Graphique 90" descr="Poignée de main">
                <a:extLst>
                  <a:ext uri="{FF2B5EF4-FFF2-40B4-BE49-F238E27FC236}">
                    <a16:creationId xmlns:a16="http://schemas.microsoft.com/office/drawing/2014/main" id="{71F9EA4F-4AF3-4AB4-BF24-978F6B08C07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960868" y="152880"/>
                <a:ext cx="256313" cy="287496"/>
              </a:xfrm>
              <a:prstGeom prst="rect">
                <a:avLst/>
              </a:prstGeom>
              <a:effectLst/>
            </p:spPr>
          </p:pic>
          <p:pic>
            <p:nvPicPr>
              <p:cNvPr id="73" name="Graphique 95" descr="Mégaphone">
                <a:extLst>
                  <a:ext uri="{FF2B5EF4-FFF2-40B4-BE49-F238E27FC236}">
                    <a16:creationId xmlns:a16="http://schemas.microsoft.com/office/drawing/2014/main" id="{29CE7BB3-83BD-4F04-9FF3-9806808DE2C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89331" y="181519"/>
                <a:ext cx="233011" cy="216420"/>
              </a:xfrm>
              <a:prstGeom prst="rect">
                <a:avLst/>
              </a:prstGeom>
              <a:effectLst/>
            </p:spPr>
          </p:pic>
          <p:sp>
            <p:nvSpPr>
              <p:cNvPr id="74" name="ZoneTexte 18">
                <a:extLst>
                  <a:ext uri="{FF2B5EF4-FFF2-40B4-BE49-F238E27FC236}">
                    <a16:creationId xmlns:a16="http://schemas.microsoft.com/office/drawing/2014/main" id="{481CF3E9-55C9-4B3E-BABC-A0FF3E831B28}"/>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enelux</a:t>
                </a:r>
              </a:p>
            </p:txBody>
          </p:sp>
        </p:grpSp>
      </p:grpSp>
      <p:pic>
        <p:nvPicPr>
          <p:cNvPr id="55" name="Picture 2" descr="5 ft x 3 ft 150 x 90 cm-DRAPEAU BELGE Belgique 100% Polyester ...">
            <a:extLst>
              <a:ext uri="{FF2B5EF4-FFF2-40B4-BE49-F238E27FC236}">
                <a16:creationId xmlns:a16="http://schemas.microsoft.com/office/drawing/2014/main" id="{AEF03225-F73D-4670-B062-D91CEE862EBA}"/>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560695" y="1223852"/>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8" name="Picture 2 - 1" descr="Drapeau des Pays-Bas — Wikipédia">
            <a:extLst>
              <a:ext uri="{FF2B5EF4-FFF2-40B4-BE49-F238E27FC236}">
                <a16:creationId xmlns:a16="http://schemas.microsoft.com/office/drawing/2014/main" id="{4728535C-F879-4716-8635-716939CD7A8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54372" y="1223852"/>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0" name="Picture 2 - 2" descr="Drapeau du Luxembourg">
            <a:extLst>
              <a:ext uri="{FF2B5EF4-FFF2-40B4-BE49-F238E27FC236}">
                <a16:creationId xmlns:a16="http://schemas.microsoft.com/office/drawing/2014/main" id="{502735BF-69DD-4270-8864-CB5B29E2B25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67018" y="1223852"/>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2836452418"/>
      </p:ext>
    </p:extLst>
  </p:cSld>
  <p:clrMapOvr>
    <a:masterClrMapping/>
  </p:clrMapOv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1DB3DBB-5599-418B-A231-B7F08D406FF8}"/>
              </a:ext>
            </a:extLst>
          </p:cNvPr>
          <p:cNvGraphicFramePr>
            <a:graphicFrameLocks noChangeAspect="1"/>
          </p:cNvGraphicFramePr>
          <p:nvPr>
            <p:custDataLst>
              <p:tags r:id="rId1"/>
            </p:custDataLst>
            <p:extLst>
              <p:ext uri="{D42A27DB-BD31-4B8C-83A1-F6EECF244321}">
                <p14:modId xmlns:p14="http://schemas.microsoft.com/office/powerpoint/2010/main" val="663118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40" imgH="541" progId="TCLayout.ActiveDocument.1">
                  <p:embed/>
                </p:oleObj>
              </mc:Choice>
              <mc:Fallback>
                <p:oleObj name="think-cell Slide" r:id="rId5" imgW="540" imgH="541" progId="TCLayout.ActiveDocument.1">
                  <p:embed/>
                  <p:pic>
                    <p:nvPicPr>
                      <p:cNvPr id="6" name="Object 5" hidden="1">
                        <a:extLst>
                          <a:ext uri="{FF2B5EF4-FFF2-40B4-BE49-F238E27FC236}">
                            <a16:creationId xmlns:a16="http://schemas.microsoft.com/office/drawing/2014/main" id="{81DB3DBB-5599-418B-A231-B7F08D406F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FE4007A-4322-494F-8570-08F1E1CEBE28}"/>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Rectangle 1">
            <a:extLst>
              <a:ext uri="{FF2B5EF4-FFF2-40B4-BE49-F238E27FC236}">
                <a16:creationId xmlns:a16="http://schemas.microsoft.com/office/drawing/2014/main" id="{BD1A72BA-BC92-4F75-A18A-DA60D91E117B}"/>
              </a:ext>
            </a:extLst>
          </p:cNvPr>
          <p:cNvSpPr/>
          <p:nvPr/>
        </p:nvSpPr>
        <p:spPr bwMode="auto">
          <a:xfrm>
            <a:off x="256803" y="1108411"/>
            <a:ext cx="9392393" cy="531921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aphicFrame>
        <p:nvGraphicFramePr>
          <p:cNvPr id="8" name="Chart 7">
            <a:extLst>
              <a:ext uri="{FF2B5EF4-FFF2-40B4-BE49-F238E27FC236}">
                <a16:creationId xmlns:a16="http://schemas.microsoft.com/office/drawing/2014/main" id="{256AEEA1-5D55-4724-A980-03F17A2BB8E7}"/>
              </a:ext>
            </a:extLst>
          </p:cNvPr>
          <p:cNvGraphicFramePr/>
          <p:nvPr>
            <p:extLst>
              <p:ext uri="{D42A27DB-BD31-4B8C-83A1-F6EECF244321}">
                <p14:modId xmlns:p14="http://schemas.microsoft.com/office/powerpoint/2010/main" val="2451227854"/>
              </p:ext>
            </p:extLst>
          </p:nvPr>
        </p:nvGraphicFramePr>
        <p:xfrm>
          <a:off x="5244843" y="1573505"/>
          <a:ext cx="4167316" cy="3263392"/>
        </p:xfrm>
        <a:graphic>
          <a:graphicData uri="http://schemas.openxmlformats.org/drawingml/2006/chart">
            <c:chart xmlns:c="http://schemas.openxmlformats.org/drawingml/2006/chart" xmlns:r="http://schemas.openxmlformats.org/officeDocument/2006/relationships" r:id="rId7"/>
          </a:graphicData>
        </a:graphic>
      </p:graphicFrame>
      <p:sp>
        <p:nvSpPr>
          <p:cNvPr id="50" name="Rectangle 49">
            <a:extLst>
              <a:ext uri="{FF2B5EF4-FFF2-40B4-BE49-F238E27FC236}">
                <a16:creationId xmlns:a16="http://schemas.microsoft.com/office/drawing/2014/main" id="{BDB37B39-FBB6-4E35-9EB1-5883957472DA}"/>
              </a:ext>
            </a:extLst>
          </p:cNvPr>
          <p:cNvSpPr/>
          <p:nvPr/>
        </p:nvSpPr>
        <p:spPr bwMode="auto">
          <a:xfrm>
            <a:off x="965335" y="1108410"/>
            <a:ext cx="3866031"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RPU broken down by customers’ recruitment year, in €</a:t>
            </a:r>
            <a:endParaRPr kumimoji="0" lang="en-GB" sz="1000" b="1" i="1" u="none" strike="noStrike" kern="1200" cap="none" spc="0" normalizeH="0" baseline="0" noProof="0">
              <a:ln>
                <a:noFill/>
              </a:ln>
              <a:effectLst/>
              <a:uLnTx/>
              <a:uFillTx/>
              <a:latin typeface="Trebuchet MS" panose="020B0603020202020204" pitchFamily="34" charset="0"/>
            </a:endParaRPr>
          </a:p>
        </p:txBody>
      </p:sp>
      <p:graphicFrame>
        <p:nvGraphicFramePr>
          <p:cNvPr id="25" name="Chart 24">
            <a:extLst>
              <a:ext uri="{FF2B5EF4-FFF2-40B4-BE49-F238E27FC236}">
                <a16:creationId xmlns:a16="http://schemas.microsoft.com/office/drawing/2014/main" id="{AF78BBC2-D582-413C-B8BD-D350092B8080}"/>
              </a:ext>
            </a:extLst>
          </p:cNvPr>
          <p:cNvGraphicFramePr>
            <a:graphicFrameLocks noChangeAspect="1"/>
          </p:cNvGraphicFramePr>
          <p:nvPr>
            <p:extLst>
              <p:ext uri="{D42A27DB-BD31-4B8C-83A1-F6EECF244321}">
                <p14:modId xmlns:p14="http://schemas.microsoft.com/office/powerpoint/2010/main" val="936248239"/>
              </p:ext>
            </p:extLst>
          </p:nvPr>
        </p:nvGraphicFramePr>
        <p:xfrm>
          <a:off x="591510" y="1575309"/>
          <a:ext cx="4167316" cy="3263392"/>
        </p:xfrm>
        <a:graphic>
          <a:graphicData uri="http://schemas.openxmlformats.org/drawingml/2006/chart">
            <c:chart xmlns:c="http://schemas.openxmlformats.org/drawingml/2006/chart" xmlns:r="http://schemas.openxmlformats.org/officeDocument/2006/relationships" r:id="rId8"/>
          </a:graphicData>
        </a:graphic>
      </p:graphicFrame>
      <p:sp>
        <p:nvSpPr>
          <p:cNvPr id="26" name="Rectangle 25">
            <a:extLst>
              <a:ext uri="{FF2B5EF4-FFF2-40B4-BE49-F238E27FC236}">
                <a16:creationId xmlns:a16="http://schemas.microsoft.com/office/drawing/2014/main" id="{D83D40EB-3A78-4813-9686-1A8B94D2CF13}"/>
              </a:ext>
            </a:extLst>
          </p:cNvPr>
          <p:cNvSpPr/>
          <p:nvPr/>
        </p:nvSpPr>
        <p:spPr>
          <a:xfrm>
            <a:off x="591510" y="4367028"/>
            <a:ext cx="1058471" cy="507831"/>
          </a:xfrm>
          <a:prstGeom prst="rect">
            <a:avLst/>
          </a:prstGeom>
        </p:spPr>
        <p:txBody>
          <a:bodyPr wrap="square">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900" b="1">
                <a:solidFill>
                  <a:srgbClr val="6C6C6C"/>
                </a:solidFill>
                <a:latin typeface="Trebuchet MS" panose="020B0603020202020204" pitchFamily="34" charset="0"/>
              </a:rPr>
              <a:t>Customers</a:t>
            </a:r>
            <a:r>
              <a:rPr kumimoji="0" lang="en-GB" sz="900" b="1"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recruitment years: </a:t>
            </a:r>
          </a:p>
        </p:txBody>
      </p:sp>
      <p:sp>
        <p:nvSpPr>
          <p:cNvPr id="18" name="Bulle narrative : rectangle 3">
            <a:extLst>
              <a:ext uri="{FF2B5EF4-FFF2-40B4-BE49-F238E27FC236}">
                <a16:creationId xmlns:a16="http://schemas.microsoft.com/office/drawing/2014/main" id="{5306F885-8467-4812-83BF-91BF6ED5110E}"/>
              </a:ext>
            </a:extLst>
          </p:cNvPr>
          <p:cNvSpPr/>
          <p:nvPr/>
        </p:nvSpPr>
        <p:spPr bwMode="auto">
          <a:xfrm>
            <a:off x="591510" y="4954946"/>
            <a:ext cx="1846890" cy="1366617"/>
          </a:xfrm>
          <a:prstGeom prst="rect">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1200"/>
              </a:spcAft>
              <a:buClrTx/>
              <a:buSzTx/>
              <a:buFontTx/>
              <a:buNone/>
              <a:tabLst/>
            </a:pPr>
            <a:r>
              <a:rPr kumimoji="0" lang="en-GB" sz="1000" b="1" i="0" u="none" strike="noStrike" cap="none" normalizeH="0" baseline="0">
                <a:ln>
                  <a:noFill/>
                </a:ln>
                <a:effectLst/>
                <a:latin typeface="Trebuchet MS" panose="020B0603020202020204" pitchFamily="34" charset="0"/>
              </a:rPr>
              <a:t>Readin</a:t>
            </a:r>
            <a:r>
              <a:rPr lang="en-GB" sz="1000" b="1">
                <a:latin typeface="Trebuchet MS" panose="020B0603020202020204" pitchFamily="34" charset="0"/>
              </a:rPr>
              <a:t>g insights</a:t>
            </a:r>
            <a:endParaRPr kumimoji="0" lang="en-GB" sz="1000" b="1" i="0" u="none" strike="noStrike" cap="none" normalizeH="0" baseline="0">
              <a:ln>
                <a:noFill/>
              </a:ln>
              <a:solidFill>
                <a:schemeClr val="bg1">
                  <a:lumMod val="65000"/>
                </a:schemeClr>
              </a:solidFill>
              <a:effectLst/>
              <a:latin typeface="Trebuchet MS" panose="020B0603020202020204" pitchFamily="34" charset="0"/>
            </a:endParaRPr>
          </a:p>
          <a:p>
            <a:pPr marL="171450" indent="-171450">
              <a:spcAft>
                <a:spcPts val="1200"/>
              </a:spcAft>
              <a:buFont typeface="Arial" panose="020B0604020202020204" pitchFamily="34" charset="0"/>
              <a:buChar char="•"/>
            </a:pPr>
            <a:r>
              <a:rPr lang="en-GB" sz="1000">
                <a:latin typeface="Trebuchet MS" panose="020B0603020202020204" pitchFamily="34" charset="0"/>
              </a:rPr>
              <a:t>ARPU is the Average Revenue Per Unit, a unit being a single customer</a:t>
            </a:r>
          </a:p>
          <a:p>
            <a:pPr marL="171450" indent="-171450">
              <a:spcAft>
                <a:spcPts val="600"/>
              </a:spcAft>
              <a:buFont typeface="Arial" panose="020B0604020202020204" pitchFamily="34" charset="0"/>
              <a:buChar char="•"/>
            </a:pPr>
            <a:r>
              <a:rPr lang="en-GB" sz="1000">
                <a:latin typeface="Trebuchet MS" panose="020B0603020202020204" pitchFamily="34" charset="0"/>
              </a:rPr>
              <a:t>“Group” is the company customer referential</a:t>
            </a:r>
          </a:p>
          <a:p>
            <a:pPr marL="0" marR="0" indent="0" algn="ctr" defTabSz="914400" rtl="0" eaLnBrk="1" fontAlgn="base" latinLnBrk="0" hangingPunct="1">
              <a:lnSpc>
                <a:spcPct val="100000"/>
              </a:lnSpc>
              <a:spcBef>
                <a:spcPct val="0"/>
              </a:spcBef>
              <a:spcAft>
                <a:spcPts val="600"/>
              </a:spcAft>
              <a:buClrTx/>
              <a:buSzTx/>
              <a:buFontTx/>
              <a:buNone/>
              <a:tabLst/>
            </a:pPr>
            <a:endParaRPr kumimoji="0" lang="en-GB" sz="1200" b="0" i="0" u="none" strike="noStrike" cap="none" normalizeH="0" baseline="0">
              <a:ln>
                <a:noFill/>
              </a:ln>
              <a:solidFill>
                <a:schemeClr val="bg1">
                  <a:lumMod val="65000"/>
                </a:schemeClr>
              </a:solidFill>
              <a:effectLst/>
              <a:latin typeface="Trebuchet MS" panose="020B0603020202020204" pitchFamily="34" charset="0"/>
            </a:endParaRPr>
          </a:p>
        </p:txBody>
      </p:sp>
      <p:sp>
        <p:nvSpPr>
          <p:cNvPr id="40" name="Rectangle 39">
            <a:extLst>
              <a:ext uri="{FF2B5EF4-FFF2-40B4-BE49-F238E27FC236}">
                <a16:creationId xmlns:a16="http://schemas.microsoft.com/office/drawing/2014/main" id="{1D4D4ECA-F7DD-43F8-8C86-BBB9912BA7B8}"/>
              </a:ext>
            </a:extLst>
          </p:cNvPr>
          <p:cNvSpPr/>
          <p:nvPr/>
        </p:nvSpPr>
        <p:spPr bwMode="auto">
          <a:xfrm>
            <a:off x="5244843" y="1108410"/>
            <a:ext cx="4167316"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RPU broken down by year, in €</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 name="Titre 2">
            <a:extLst>
              <a:ext uri="{FF2B5EF4-FFF2-40B4-BE49-F238E27FC236}">
                <a16:creationId xmlns:a16="http://schemas.microsoft.com/office/drawing/2014/main" id="{E4275405-17D5-4465-9E93-EFAEB0121919}"/>
              </a:ext>
            </a:extLst>
          </p:cNvPr>
          <p:cNvSpPr>
            <a:spLocks noGrp="1"/>
          </p:cNvSpPr>
          <p:nvPr>
            <p:ph type="title"/>
          </p:nvPr>
        </p:nvSpPr>
        <p:spPr>
          <a:xfrm>
            <a:off x="165600" y="147600"/>
            <a:ext cx="8113960" cy="806288"/>
          </a:xfrm>
        </p:spPr>
        <p:txBody>
          <a:bodyPr/>
          <a:lstStyle/>
          <a:p>
            <a:r>
              <a:rPr lang="en-GB">
                <a:latin typeface="Trebuchet MS" panose="020B0603020202020204" pitchFamily="34" charset="0"/>
              </a:rPr>
              <a:t>In Benelux, </a:t>
            </a:r>
            <a:r>
              <a:rPr lang="en-GB">
                <a:solidFill>
                  <a:schemeClr val="tx2"/>
                </a:solidFill>
                <a:latin typeface="Trebuchet MS" panose="020B0603020202020204" pitchFamily="34" charset="0"/>
              </a:rPr>
              <a:t>ARPU evolution </a:t>
            </a:r>
            <a:r>
              <a:rPr lang="en-GB" sz="1600" b="0" i="0">
                <a:effectLst/>
                <a:latin typeface="Trebuchet MS" panose="020B0603020202020204" pitchFamily="34" charset="0"/>
              </a:rPr>
              <a:t>shows</a:t>
            </a:r>
            <a:r>
              <a:rPr lang="en-GB" sz="1600" b="0" i="0">
                <a:solidFill>
                  <a:schemeClr val="tx2"/>
                </a:solidFill>
                <a:effectLst/>
                <a:latin typeface="Trebuchet MS" panose="020B0603020202020204" pitchFamily="34" charset="0"/>
              </a:rPr>
              <a:t> </a:t>
            </a:r>
            <a:r>
              <a:rPr lang="en-GB" sz="1600" b="0" i="0" err="1">
                <a:solidFill>
                  <a:schemeClr val="tx2"/>
                </a:solidFill>
                <a:effectLst/>
                <a:latin typeface="Trebuchet MS" panose="020B0603020202020204" pitchFamily="34" charset="0"/>
              </a:rPr>
              <a:t>Altares</a:t>
            </a:r>
            <a:r>
              <a:rPr lang="en-GB" sz="1600" b="0" i="0">
                <a:solidFill>
                  <a:schemeClr val="tx2"/>
                </a:solidFill>
                <a:effectLst/>
                <a:latin typeface="Trebuchet MS" panose="020B0603020202020204" pitchFamily="34" charset="0"/>
              </a:rPr>
              <a:t>' ability to significantly upsell </a:t>
            </a:r>
            <a:r>
              <a:rPr lang="en-GB">
                <a:solidFill>
                  <a:schemeClr val="tx2"/>
                </a:solidFill>
                <a:latin typeface="Trebuchet MS" panose="020B0603020202020204" pitchFamily="34" charset="0"/>
              </a:rPr>
              <a:t>historical large accounts </a:t>
            </a:r>
            <a:r>
              <a:rPr lang="en-GB" sz="1600" b="0" i="0">
                <a:effectLst/>
                <a:latin typeface="Trebuchet MS" panose="020B0603020202020204" pitchFamily="34" charset="0"/>
              </a:rPr>
              <a:t>as ARPU </a:t>
            </a:r>
            <a:r>
              <a:rPr lang="en-GB">
                <a:latin typeface="Trebuchet MS" panose="020B0603020202020204" pitchFamily="34" charset="0"/>
              </a:rPr>
              <a:t>of each cohort as well as global ARPU are increasing </a:t>
            </a:r>
            <a:r>
              <a:rPr lang="en-GB" sz="1600" b="0" i="0">
                <a:effectLst/>
                <a:latin typeface="Trebuchet MS" panose="020B0603020202020204" pitchFamily="34" charset="0"/>
              </a:rPr>
              <a:t>every year</a:t>
            </a:r>
            <a:endParaRPr lang="en-GB">
              <a:highlight>
                <a:srgbClr val="FFFF00"/>
              </a:highlight>
              <a:latin typeface="Trebuchet MS" panose="020B0603020202020204" pitchFamily="34" charset="0"/>
            </a:endParaRPr>
          </a:p>
        </p:txBody>
      </p:sp>
      <p:sp>
        <p:nvSpPr>
          <p:cNvPr id="16" name="Espace réservé du texte 15">
            <a:extLst>
              <a:ext uri="{FF2B5EF4-FFF2-40B4-BE49-F238E27FC236}">
                <a16:creationId xmlns:a16="http://schemas.microsoft.com/office/drawing/2014/main" id="{8FCB6FA7-DD5D-461D-B50E-49DE41EE896D}"/>
              </a:ext>
            </a:extLst>
          </p:cNvPr>
          <p:cNvSpPr>
            <a:spLocks noGrp="1"/>
          </p:cNvSpPr>
          <p:nvPr>
            <p:ph type="body" sz="quarter" idx="10"/>
          </p:nvPr>
        </p:nvSpPr>
        <p:spPr/>
        <p:txBody>
          <a:bodyPr/>
          <a:lstStyle/>
          <a:p>
            <a:r>
              <a:rPr lang="en-GB" sz="800" i="1" kern="0"/>
              <a:t>Sources: eleven research &amp; analysis, company data</a:t>
            </a:r>
          </a:p>
          <a:p>
            <a:endParaRPr lang="en-GB"/>
          </a:p>
        </p:txBody>
      </p:sp>
      <p:sp>
        <p:nvSpPr>
          <p:cNvPr id="19" name="Rectangle 18">
            <a:extLst>
              <a:ext uri="{FF2B5EF4-FFF2-40B4-BE49-F238E27FC236}">
                <a16:creationId xmlns:a16="http://schemas.microsoft.com/office/drawing/2014/main" id="{E4F66408-3154-4332-A0D9-EE50DAAB0FA9}"/>
              </a:ext>
            </a:extLst>
          </p:cNvPr>
          <p:cNvSpPr/>
          <p:nvPr/>
        </p:nvSpPr>
        <p:spPr bwMode="auto">
          <a:xfrm>
            <a:off x="2586420" y="4953143"/>
            <a:ext cx="6806470" cy="1366618"/>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b="1">
                <a:latin typeface="Trebuchet MS" panose="020B0603020202020204" pitchFamily="34" charset="0"/>
              </a:rPr>
              <a:t>Comments</a:t>
            </a:r>
          </a:p>
          <a:p>
            <a:pPr marL="171450" indent="-171450">
              <a:spcBef>
                <a:spcPts val="600"/>
              </a:spcBef>
              <a:buClr>
                <a:schemeClr val="tx1"/>
              </a:buClr>
              <a:buFont typeface="Arial" panose="020B0604020202020204" pitchFamily="34" charset="0"/>
              <a:buChar char="•"/>
            </a:pPr>
            <a:r>
              <a:rPr lang="en-GB" sz="1000">
                <a:latin typeface="Trebuchet MS" panose="020B0603020202020204" pitchFamily="34" charset="0"/>
              </a:rPr>
              <a:t>ARPU broken down by customer recruitment year shows an </a:t>
            </a:r>
            <a:r>
              <a:rPr lang="en-GB" sz="1000">
                <a:solidFill>
                  <a:schemeClr val="tx2"/>
                </a:solidFill>
                <a:latin typeface="Trebuchet MS" panose="020B0603020202020204" pitchFamily="34" charset="0"/>
              </a:rPr>
              <a:t>onboarding ~7K€ </a:t>
            </a:r>
            <a:r>
              <a:rPr lang="en-GB" sz="1000">
                <a:latin typeface="Trebuchet MS" panose="020B0603020202020204" pitchFamily="34" charset="0"/>
              </a:rPr>
              <a:t>and an </a:t>
            </a:r>
            <a:r>
              <a:rPr lang="en-GB" sz="1000">
                <a:solidFill>
                  <a:schemeClr val="tx2"/>
                </a:solidFill>
                <a:latin typeface="Trebuchet MS" panose="020B0603020202020204" pitchFamily="34" charset="0"/>
              </a:rPr>
              <a:t>increase year by year</a:t>
            </a:r>
            <a:r>
              <a:rPr lang="en-GB" sz="1000">
                <a:latin typeface="Trebuchet MS" panose="020B0603020202020204" pitchFamily="34" charset="0"/>
              </a:rPr>
              <a:t>. </a:t>
            </a:r>
          </a:p>
          <a:p>
            <a:pPr marL="171450" indent="-171450">
              <a:spcBef>
                <a:spcPts val="600"/>
              </a:spcBef>
              <a:buClr>
                <a:schemeClr val="tx1"/>
              </a:buClr>
              <a:buFont typeface="Arial" panose="020B0604020202020204" pitchFamily="34" charset="0"/>
              <a:buChar char="•"/>
            </a:pPr>
            <a:r>
              <a:rPr lang="en-GB" sz="1000">
                <a:solidFill>
                  <a:schemeClr val="tx2"/>
                </a:solidFill>
                <a:latin typeface="Trebuchet MS" panose="020B0603020202020204" pitchFamily="34" charset="0"/>
              </a:rPr>
              <a:t>Large customers, being </a:t>
            </a:r>
            <a:r>
              <a:rPr lang="en-GB" sz="1000">
                <a:latin typeface="Trebuchet MS" panose="020B0603020202020204" pitchFamily="34" charset="0"/>
              </a:rPr>
              <a:t>historical </a:t>
            </a:r>
            <a:r>
              <a:rPr lang="en-GB" sz="1000" err="1">
                <a:latin typeface="Trebuchet MS" panose="020B0603020202020204" pitchFamily="34" charset="0"/>
              </a:rPr>
              <a:t>Altares</a:t>
            </a:r>
            <a:r>
              <a:rPr lang="en-GB" sz="1000">
                <a:latin typeface="Trebuchet MS" panose="020B0603020202020204" pitchFamily="34" charset="0"/>
              </a:rPr>
              <a:t>’ customers, drive the ARPU up</a:t>
            </a:r>
          </a:p>
          <a:p>
            <a:pPr marL="171450" indent="-171450">
              <a:spcBef>
                <a:spcPts val="600"/>
              </a:spcBef>
              <a:buClr>
                <a:schemeClr val="tx1"/>
              </a:buClr>
              <a:buFont typeface="Arial" panose="020B0604020202020204" pitchFamily="34" charset="0"/>
              <a:buChar char="•"/>
            </a:pPr>
            <a:r>
              <a:rPr lang="en-GB" sz="1000">
                <a:latin typeface="Trebuchet MS" panose="020B0603020202020204" pitchFamily="34" charset="0"/>
              </a:rPr>
              <a:t>The global ARPU confirms that analysis with a value </a:t>
            </a:r>
            <a:r>
              <a:rPr lang="en-GB" sz="1000">
                <a:solidFill>
                  <a:schemeClr val="tx2"/>
                </a:solidFill>
                <a:latin typeface="Trebuchet MS" panose="020B0603020202020204" pitchFamily="34" charset="0"/>
              </a:rPr>
              <a:t>increasing every year</a:t>
            </a:r>
          </a:p>
          <a:p>
            <a:pPr marL="171450" indent="-171450">
              <a:spcBef>
                <a:spcPts val="600"/>
              </a:spcBef>
              <a:buClr>
                <a:schemeClr val="tx1"/>
              </a:buClr>
              <a:buFont typeface="Wingdings" panose="05000000000000000000" pitchFamily="2" charset="2"/>
              <a:buChar char="Ø"/>
            </a:pPr>
            <a:r>
              <a:rPr lang="en-GB" sz="1000">
                <a:latin typeface="Trebuchet MS" panose="020B0603020202020204" pitchFamily="34" charset="0"/>
              </a:rPr>
              <a:t>It confirms </a:t>
            </a:r>
            <a:r>
              <a:rPr lang="en-GB" sz="1000" err="1">
                <a:latin typeface="Trebuchet MS" panose="020B0603020202020204" pitchFamily="34" charset="0"/>
              </a:rPr>
              <a:t>Altares</a:t>
            </a:r>
            <a:r>
              <a:rPr lang="en-GB" sz="1000">
                <a:latin typeface="Trebuchet MS" panose="020B0603020202020204" pitchFamily="34" charset="0"/>
              </a:rPr>
              <a:t> </a:t>
            </a:r>
            <a:r>
              <a:rPr lang="en-GB" sz="1000">
                <a:solidFill>
                  <a:schemeClr val="tx2"/>
                </a:solidFill>
                <a:latin typeface="Trebuchet MS" panose="020B0603020202020204" pitchFamily="34" charset="0"/>
              </a:rPr>
              <a:t>customers’ farming ability</a:t>
            </a:r>
            <a:r>
              <a:rPr lang="en-GB" sz="1000">
                <a:latin typeface="Trebuchet MS" panose="020B0603020202020204" pitchFamily="34" charset="0"/>
              </a:rPr>
              <a:t>, enabling a </a:t>
            </a:r>
            <a:r>
              <a:rPr lang="en-GB" sz="1000">
                <a:solidFill>
                  <a:schemeClr val="tx2"/>
                </a:solidFill>
                <a:latin typeface="Trebuchet MS" panose="020B0603020202020204" pitchFamily="34" charset="0"/>
              </a:rPr>
              <a:t>strong upsell dynamic</a:t>
            </a:r>
          </a:p>
        </p:txBody>
      </p:sp>
      <p:pic>
        <p:nvPicPr>
          <p:cNvPr id="7" name="Graphic 6" descr="Lights On">
            <a:extLst>
              <a:ext uri="{FF2B5EF4-FFF2-40B4-BE49-F238E27FC236}">
                <a16:creationId xmlns:a16="http://schemas.microsoft.com/office/drawing/2014/main" id="{293D755D-6598-4892-A8BB-ED0AAD799A5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1462" y="4987855"/>
            <a:ext cx="209742" cy="209742"/>
          </a:xfrm>
          <a:prstGeom prst="rect">
            <a:avLst/>
          </a:prstGeom>
        </p:spPr>
      </p:pic>
      <p:grpSp>
        <p:nvGrpSpPr>
          <p:cNvPr id="20" name="Group 4">
            <a:extLst>
              <a:ext uri="{FF2B5EF4-FFF2-40B4-BE49-F238E27FC236}">
                <a16:creationId xmlns:a16="http://schemas.microsoft.com/office/drawing/2014/main" id="{67C874CA-08B6-43EB-AAF5-A401ED6665E0}"/>
              </a:ext>
            </a:extLst>
          </p:cNvPr>
          <p:cNvGrpSpPr>
            <a:grpSpLocks noChangeAspect="1"/>
          </p:cNvGrpSpPr>
          <p:nvPr/>
        </p:nvGrpSpPr>
        <p:grpSpPr bwMode="auto">
          <a:xfrm>
            <a:off x="5131409" y="5000292"/>
            <a:ext cx="226868" cy="184867"/>
            <a:chOff x="788" y="869"/>
            <a:chExt cx="740" cy="603"/>
          </a:xfrm>
          <a:solidFill>
            <a:schemeClr val="tx1"/>
          </a:solidFill>
        </p:grpSpPr>
        <p:sp>
          <p:nvSpPr>
            <p:cNvPr id="21" name="Freeform 5">
              <a:extLst>
                <a:ext uri="{FF2B5EF4-FFF2-40B4-BE49-F238E27FC236}">
                  <a16:creationId xmlns:a16="http://schemas.microsoft.com/office/drawing/2014/main" id="{4266A374-E100-40D7-B73F-28156E6E1301}"/>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6">
              <a:extLst>
                <a:ext uri="{FF2B5EF4-FFF2-40B4-BE49-F238E27FC236}">
                  <a16:creationId xmlns:a16="http://schemas.microsoft.com/office/drawing/2014/main" id="{C7531C03-6CF3-4C68-B0F7-1AF5DED46D67}"/>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Rectangle 7">
              <a:extLst>
                <a:ext uri="{FF2B5EF4-FFF2-40B4-BE49-F238E27FC236}">
                  <a16:creationId xmlns:a16="http://schemas.microsoft.com/office/drawing/2014/main" id="{07D4B324-AAA6-46C7-B8B7-914AFFE06C35}"/>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Rectangle 8">
              <a:extLst>
                <a:ext uri="{FF2B5EF4-FFF2-40B4-BE49-F238E27FC236}">
                  <a16:creationId xmlns:a16="http://schemas.microsoft.com/office/drawing/2014/main" id="{5D8DB234-2796-4624-AED7-BED53C6318C3}"/>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4" name="Group 53">
            <a:extLst>
              <a:ext uri="{FF2B5EF4-FFF2-40B4-BE49-F238E27FC236}">
                <a16:creationId xmlns:a16="http://schemas.microsoft.com/office/drawing/2014/main" id="{A8ED20B1-710F-4EC1-A55E-14E510F94D5D}"/>
              </a:ext>
            </a:extLst>
          </p:cNvPr>
          <p:cNvGrpSpPr/>
          <p:nvPr/>
        </p:nvGrpSpPr>
        <p:grpSpPr>
          <a:xfrm>
            <a:off x="8448150" y="-11528"/>
            <a:ext cx="1435548" cy="588143"/>
            <a:chOff x="8448150" y="-11528"/>
            <a:chExt cx="1435548" cy="588143"/>
          </a:xfrm>
        </p:grpSpPr>
        <p:pic>
          <p:nvPicPr>
            <p:cNvPr id="55" name="Picture 2" descr="5 ft x 3 ft 150 x 90 cm-DRAPEAU BELGE Belgique 100% Polyester ...">
              <a:extLst>
                <a:ext uri="{FF2B5EF4-FFF2-40B4-BE49-F238E27FC236}">
                  <a16:creationId xmlns:a16="http://schemas.microsoft.com/office/drawing/2014/main" id="{2C305739-D936-4AB9-BFB1-9B0F0156C509}"/>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6" name="Picture 2 - 1" descr="Drapeau des Pays-Bas — Wikipédia">
              <a:extLst>
                <a:ext uri="{FF2B5EF4-FFF2-40B4-BE49-F238E27FC236}">
                  <a16:creationId xmlns:a16="http://schemas.microsoft.com/office/drawing/2014/main" id="{D8B0DA1B-E2B0-46C4-B62A-DD122CB81E9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7" name="Picture 2 - 2" descr="Drapeau du Luxembourg">
              <a:extLst>
                <a:ext uri="{FF2B5EF4-FFF2-40B4-BE49-F238E27FC236}">
                  <a16:creationId xmlns:a16="http://schemas.microsoft.com/office/drawing/2014/main" id="{BB0A667A-B0EF-43BF-86A1-A727090289D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8" name="ZoneTexte 18">
              <a:extLst>
                <a:ext uri="{FF2B5EF4-FFF2-40B4-BE49-F238E27FC236}">
                  <a16:creationId xmlns:a16="http://schemas.microsoft.com/office/drawing/2014/main" id="{31A9E302-9A5A-44C7-A062-63A640D0E39D}"/>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nvGrpSpPr>
            <p:cNvPr id="59" name="Groupe 85">
              <a:extLst>
                <a:ext uri="{FF2B5EF4-FFF2-40B4-BE49-F238E27FC236}">
                  <a16:creationId xmlns:a16="http://schemas.microsoft.com/office/drawing/2014/main" id="{913F3BF4-3246-46C6-996B-D5338D73E255}"/>
                </a:ext>
              </a:extLst>
            </p:cNvPr>
            <p:cNvGrpSpPr/>
            <p:nvPr/>
          </p:nvGrpSpPr>
          <p:grpSpPr>
            <a:xfrm>
              <a:off x="8448150" y="-11528"/>
              <a:ext cx="1281748" cy="588143"/>
              <a:chOff x="8448150" y="-11528"/>
              <a:chExt cx="1281748" cy="588143"/>
            </a:xfrm>
          </p:grpSpPr>
          <p:sp>
            <p:nvSpPr>
              <p:cNvPr id="60" name="Rectangle : coins arrondis 199">
                <a:extLst>
                  <a:ext uri="{FF2B5EF4-FFF2-40B4-BE49-F238E27FC236}">
                    <a16:creationId xmlns:a16="http://schemas.microsoft.com/office/drawing/2014/main" id="{CE4CEBF3-9661-4B45-B0A7-235F184FBE96}"/>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1" name="Rectangle : coins arrondis 200">
                <a:extLst>
                  <a:ext uri="{FF2B5EF4-FFF2-40B4-BE49-F238E27FC236}">
                    <a16:creationId xmlns:a16="http://schemas.microsoft.com/office/drawing/2014/main" id="{CA245A9E-3B97-4A17-AEA1-44922CD20C96}"/>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2" name="Rectangle : coins arrondis 201">
                <a:extLst>
                  <a:ext uri="{FF2B5EF4-FFF2-40B4-BE49-F238E27FC236}">
                    <a16:creationId xmlns:a16="http://schemas.microsoft.com/office/drawing/2014/main" id="{A636FD9F-AC1A-49B6-AEF3-6ABB4E77AC1D}"/>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3" name="ZoneTexte 18">
                <a:extLst>
                  <a:ext uri="{FF2B5EF4-FFF2-40B4-BE49-F238E27FC236}">
                    <a16:creationId xmlns:a16="http://schemas.microsoft.com/office/drawing/2014/main" id="{9D471B76-BA6E-4D67-BCEE-CF4C0A9235DD}"/>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64" name="Graphique 128" descr="Jauge">
                <a:extLst>
                  <a:ext uri="{FF2B5EF4-FFF2-40B4-BE49-F238E27FC236}">
                    <a16:creationId xmlns:a16="http://schemas.microsoft.com/office/drawing/2014/main" id="{498B2A61-1C88-4EFC-B47C-116F2876EED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553764" y="187516"/>
                <a:ext cx="234953" cy="218224"/>
              </a:xfrm>
              <a:prstGeom prst="rect">
                <a:avLst/>
              </a:prstGeom>
              <a:effectLst/>
            </p:spPr>
          </p:pic>
          <p:pic>
            <p:nvPicPr>
              <p:cNvPr id="65" name="Graphique 90" descr="Poignée de main">
                <a:extLst>
                  <a:ext uri="{FF2B5EF4-FFF2-40B4-BE49-F238E27FC236}">
                    <a16:creationId xmlns:a16="http://schemas.microsoft.com/office/drawing/2014/main" id="{9A71DDD1-8253-4C62-B331-6DE42550670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960868" y="152880"/>
                <a:ext cx="256313" cy="287496"/>
              </a:xfrm>
              <a:prstGeom prst="rect">
                <a:avLst/>
              </a:prstGeom>
              <a:effectLst/>
            </p:spPr>
          </p:pic>
          <p:pic>
            <p:nvPicPr>
              <p:cNvPr id="66" name="Graphique 95" descr="Mégaphone">
                <a:extLst>
                  <a:ext uri="{FF2B5EF4-FFF2-40B4-BE49-F238E27FC236}">
                    <a16:creationId xmlns:a16="http://schemas.microsoft.com/office/drawing/2014/main" id="{EDE0BD3B-7C9C-46B1-A31C-0E0A66CF51E2}"/>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389331" y="181519"/>
                <a:ext cx="233011" cy="216420"/>
              </a:xfrm>
              <a:prstGeom prst="rect">
                <a:avLst/>
              </a:prstGeom>
              <a:effectLst/>
            </p:spPr>
          </p:pic>
          <p:sp>
            <p:nvSpPr>
              <p:cNvPr id="67" name="ZoneTexte 18">
                <a:extLst>
                  <a:ext uri="{FF2B5EF4-FFF2-40B4-BE49-F238E27FC236}">
                    <a16:creationId xmlns:a16="http://schemas.microsoft.com/office/drawing/2014/main" id="{3284847B-94F9-4621-84E7-79A5AD53B02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enelux</a:t>
                </a:r>
              </a:p>
            </p:txBody>
          </p:sp>
        </p:grpSp>
      </p:grpSp>
      <p:sp>
        <p:nvSpPr>
          <p:cNvPr id="34" name="Speech Bubble: Rectangle 13">
            <a:extLst>
              <a:ext uri="{FF2B5EF4-FFF2-40B4-BE49-F238E27FC236}">
                <a16:creationId xmlns:a16="http://schemas.microsoft.com/office/drawing/2014/main" id="{22A5BF14-4161-4389-8DD9-E9C95954A4C4}"/>
              </a:ext>
            </a:extLst>
          </p:cNvPr>
          <p:cNvSpPr/>
          <p:nvPr/>
        </p:nvSpPr>
        <p:spPr bwMode="auto">
          <a:xfrm>
            <a:off x="1292291" y="2564948"/>
            <a:ext cx="1735605" cy="755519"/>
          </a:xfrm>
          <a:prstGeom prst="wedgeRectCallout">
            <a:avLst>
              <a:gd name="adj1" fmla="val 9406"/>
              <a:gd name="adj2" fmla="val -73205"/>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0" tIns="45720" rIns="0" bIns="45720" numCol="1" rtlCol="0" anchor="ctr" anchorCtr="0" compatLnSpc="1">
            <a:prstTxWarp prst="textNoShape">
              <a:avLst/>
            </a:prstTxWarp>
          </a:bodyPr>
          <a:lstStyle/>
          <a:p>
            <a:pPr marL="90488" marR="0" algn="ctr"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Cohort prior 2018 contains </a:t>
            </a:r>
            <a:r>
              <a:rPr lang="en-GB" sz="1000">
                <a:solidFill>
                  <a:schemeClr val="tx2"/>
                </a:solidFill>
                <a:latin typeface="Trebuchet MS" panose="020B0603020202020204" pitchFamily="34" charset="0"/>
              </a:rPr>
              <a:t>large clients recruited several years ago </a:t>
            </a:r>
            <a:r>
              <a:rPr lang="en-GB" sz="1000">
                <a:latin typeface="Trebuchet MS" panose="020B0603020202020204" pitchFamily="34" charset="0"/>
              </a:rPr>
              <a:t>explaining a significantly </a:t>
            </a:r>
            <a:r>
              <a:rPr lang="en-GB" sz="1000">
                <a:solidFill>
                  <a:schemeClr val="tx2"/>
                </a:solidFill>
                <a:latin typeface="Trebuchet MS" panose="020B0603020202020204" pitchFamily="34" charset="0"/>
              </a:rPr>
              <a:t>higher ARPU</a:t>
            </a:r>
            <a:endParaRPr kumimoji="0" lang="en-GB" sz="1000" b="0" i="0" u="none" strike="noStrike" cap="none" normalizeH="0" baseline="0">
              <a:ln>
                <a:noFill/>
              </a:ln>
              <a:solidFill>
                <a:schemeClr val="tx2"/>
              </a:solidFill>
              <a:effectLst/>
              <a:latin typeface="Trebuchet MS" panose="020B0603020202020204" pitchFamily="34" charset="0"/>
            </a:endParaRPr>
          </a:p>
        </p:txBody>
      </p:sp>
      <p:pic>
        <p:nvPicPr>
          <p:cNvPr id="36" name="Picture 2" descr="5 ft x 3 ft 150 x 90 cm-DRAPEAU BELGE Belgique 100% Polyester ...">
            <a:extLst>
              <a:ext uri="{FF2B5EF4-FFF2-40B4-BE49-F238E27FC236}">
                <a16:creationId xmlns:a16="http://schemas.microsoft.com/office/drawing/2014/main" id="{D6355414-520D-474A-9564-89C51F0DAFCE}"/>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973"/>
          <a:stretch/>
        </p:blipFill>
        <p:spPr bwMode="auto">
          <a:xfrm>
            <a:off x="524879" y="1255411"/>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37" name="Picture 2 - 1" descr="Drapeau des Pays-Bas — Wikipédia">
            <a:extLst>
              <a:ext uri="{FF2B5EF4-FFF2-40B4-BE49-F238E27FC236}">
                <a16:creationId xmlns:a16="http://schemas.microsoft.com/office/drawing/2014/main" id="{4022C290-5696-4150-BF26-8383D7DC520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18556" y="1255411"/>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38" name="Picture 2 - 2" descr="Drapeau du Luxembourg">
            <a:extLst>
              <a:ext uri="{FF2B5EF4-FFF2-40B4-BE49-F238E27FC236}">
                <a16:creationId xmlns:a16="http://schemas.microsoft.com/office/drawing/2014/main" id="{17C4DB6E-1F24-46B1-9721-F1B11355631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31202" y="1255411"/>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820320975"/>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88&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JXTcgajVxjktr4VkwKRewA"/>
</p:tagLst>
</file>

<file path=ppt/tags/tag101.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_XKKLcg_ReI2PtUSF3eqT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I_ZjpUm_NGG0LhCfjOwod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I_ZjpUm_NGG0LhCfjOwod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I_ZjpUm_NGG0LhCfjOwod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I_ZjpUm_NGG0LhCfjOwod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I_ZjpUm_NGG0LhCfjOwod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11.xml><?xml version="1.0" encoding="utf-8"?>
<p:tagLst xmlns:a="http://schemas.openxmlformats.org/drawingml/2006/main" xmlns:r="http://schemas.openxmlformats.org/officeDocument/2006/relationships" xmlns:p="http://schemas.openxmlformats.org/presentationml/2006/main">
  <p:tag name="DVSHAPEID" val="TwT3DP60X6JHdpSxCCsT2z"/>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_XKKLcg_ReI2PtUSF3eqT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_XKKLcg_ReI2PtUSF3eqT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I_ZjpUm_NGG0LhCfjOwodA"/>
</p:tagLst>
</file>

<file path=ppt/tags/tag12.xml><?xml version="1.0" encoding="utf-8"?>
<p:tagLst xmlns:a="http://schemas.openxmlformats.org/drawingml/2006/main" xmlns:r="http://schemas.openxmlformats.org/officeDocument/2006/relationships" xmlns:p="http://schemas.openxmlformats.org/presentationml/2006/main">
  <p:tag name="DVSHAPEID" val="TwT3DP60X6JHdpSxCCsT2z"/>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_XKKLcg_ReI2PtUSF3eqT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IgLmDzzaN0.3bmNlCy0Lz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3RMeOr5CTv6e07SOi3x9Y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RmUqQhTNzt5ju4v7yvYT9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FLu2vWsMRYeqhYeXffrPl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sir2nJ64R0bI7kNxENSiH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ed_qbyzs33ft.1yNSi5Eq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f.fL_XHKISoDYP0UoxRqU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I_ZjpUm_NGG0LhCfjOwodA"/>
</p:tagLst>
</file>

<file path=ppt/tags/tag13.xml><?xml version="1.0" encoding="utf-8"?>
<p:tagLst xmlns:a="http://schemas.openxmlformats.org/drawingml/2006/main" xmlns:r="http://schemas.openxmlformats.org/officeDocument/2006/relationships" xmlns:p="http://schemas.openxmlformats.org/presentationml/2006/main">
  <p:tag name="DVSHAPEID" val="ndTlOnCrV80Uf4Q9InAeW1"/>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_XKKLcg_ReI2PtUSF3eqT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UDZy3IGff0c24hpkBAfBKA"/>
</p:tagLst>
</file>

<file path=ppt/tags/tag13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36.xml><?xml version="1.0" encoding="utf-8"?>
<p:tagLst xmlns:a="http://schemas.openxmlformats.org/drawingml/2006/main" xmlns:r="http://schemas.openxmlformats.org/officeDocument/2006/relationships" xmlns:p="http://schemas.openxmlformats.org/presentationml/2006/main">
  <p:tag name="POWER_USER_TAGS_ICONS" val="database*wireframes*mockup"/>
</p:tagLst>
</file>

<file path=ppt/tags/tag13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3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3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xml><?xml version="1.0" encoding="utf-8"?>
<p:tagLst xmlns:a="http://schemas.openxmlformats.org/drawingml/2006/main" xmlns:r="http://schemas.openxmlformats.org/officeDocument/2006/relationships" xmlns:p="http://schemas.openxmlformats.org/presentationml/2006/main">
  <p:tag name="DVSHAPEID" val="CUPwE80Qp9AR2MAHuGBJ2s"/>
</p:tagLst>
</file>

<file path=ppt/tags/tag14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UDZy3IGff0c24hpkBAfBK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jpmM9neFbKuwXC5.o7W1J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pPTY27E2kSRQwMwKcnvcQ"/>
</p:tagLst>
</file>

<file path=ppt/tags/tag15.xml><?xml version="1.0" encoding="utf-8"?>
<p:tagLst xmlns:a="http://schemas.openxmlformats.org/drawingml/2006/main" xmlns:r="http://schemas.openxmlformats.org/officeDocument/2006/relationships" xmlns:p="http://schemas.openxmlformats.org/presentationml/2006/main">
  <p:tag name="DVSHAPEID" val="CUPwE80Qp9AR2MAHuGBJ2s"/>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c5R7J6uB0DTMvaIyB1pl6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SvKPwDh22QzGTbGKYiEHS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f0OKdI56B..XzTEXhdNv8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f0OKdI56B..XzTEXhdNv8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XNVAHghjfKAj12aoRMtuP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AHeCtkqkloKi.3bLhDRJ3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9OiG3nuSK4pp2md3AAK36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ySchmWFbehNvbnM2WfDRI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dyDagC.DGgas2J_WtPOzp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ySchmWFbehNvbnM2WfDRIA"/>
</p:tagLst>
</file>

<file path=ppt/tags/tag17.xml><?xml version="1.0" encoding="utf-8"?>
<p:tagLst xmlns:a="http://schemas.openxmlformats.org/drawingml/2006/main" xmlns:r="http://schemas.openxmlformats.org/officeDocument/2006/relationships" xmlns:p="http://schemas.openxmlformats.org/presentationml/2006/main">
  <p:tag name="DVSHAPEID" val="pKjkdfMSzk6ujKw4EaMuf4"/>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dyDagC.DGgas2J_WtPOzp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rYrBz5gACVrvb9n8Wf.4M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vWBL76gw2aL..wDf4QQsf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sLpUvIPc02sAJ0bRveYXC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4XeH4.9LbNszla9B.MFYD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E0nA36SQElk.j6TG7wHRe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dwpU1.1iPlP4pLNp7kiBd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sdhcBUtH7TSgRrx2lSJu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c5R7J6uB0DTMvaIyB1pl6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C1utXzBdjmZknAinKHBsc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AFgE44ZsWoLv7BwXJwA8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UHAcW9T3gb8IvgWkypUVT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cXG_v2RpESPJX2y2AEL5n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ZG3MjRz5BtYm_84TsmTZr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81BBTVfClLqvEtUYi3PWb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C3yfgOdggRtpA7K1hMBa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IWWtgxNfSsWU.jKocMqw1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MDHSTtB7MRieFsy3twl_.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qnxuAEBrr3uKUCFj84P09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qnxuAEBrr3uKUCFj84P09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qnxuAEBrr3uKUCFj84P09g"/>
</p:tagLst>
</file>

<file path=ppt/tags/tag21.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qnxuAEBrr3uKUCFj84P09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zfjvWb5.dcJ8niuHtaYGP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P4GzEsKRvtp.OgN3oxWbV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Wcvk7JO0oH5PS8evmWEFW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jtIVRrF0Oj3yQEd.hgdNl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benn.lzjWg7RNVTMBLA1_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86sZLN44l3.ZTAtRtyxLz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__bIL5pdWRYFmIK8ZShd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klRqunaCRR7T9y57AJMfy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RvlvjI0dPWmIXjR2txu93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1iKB4nk8EDswyrZlnOoCK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JPFAR6ewJ4mymUpeZa_6l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WuEjrkKIGma9tCMy_16Dq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G07qWtFSCSjaGZj2gRU5N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1iKB4nk8EDswyrZlnOoCK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XLqDby2Gc3901MAMYrhKT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WuEjrkKIGma9tCMy_16Dq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G07qWtFSCSjaGZj2gRU5N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XLqDby2Gc3901MAMYrhKT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WuEjrkKIGma9tCMy_16Dq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G07qWtFSCSjaGZj2gRU5N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XLqDby2Gc3901MAMYrhKT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WuEjrkKIGma9tCMy_16Dq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P_9byq_yiokNP7PYwYn70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CHnbqt2SYe.qbjsM1HUzV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hvw7IFBP379nORzHVell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qL.NulU6BRKv5wezS5fNk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YJemHajH0B2t8I79gdiBm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ltdCbGX4xjlyN5EUFSDYY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FmWWneZiqgH.g2zDpM6PP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v6wMxWR7hJCG9cEE.KRmu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m2ZzTZVeG_4CCNmOkVea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NL7ozlZ9m_KxMFMTcW6R4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A2DDxCEq_cIlKxMDTQY25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4im_RKm5RRZtdiOXlpzU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qnxuAEBrr3uKUCFj84P09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_Wn5AshyAA98ilVM2z9WM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3gBXXSILo5YGNfkCTGEsG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rKYwCNid49Jr7tlORuIwd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DWTeO4oW4G8CYZiUh9AQ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8_TVzNFa1jnTd0SbuPm7d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iiQ4Am1JGjthhxoa4kmgh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JihDcpu1llIQczSzsi..8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qnxuAEBrr3uKUCFj84P09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ipwKwe7mwIImej_dmGC43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7i_ACAGIl4Npc6Tt3YgC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ipwKwe7mwIImej_dmGC43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ipwKwe7mwIImej_dmGC43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ipwKwe7mwIImej_dmGC43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ipwKwe7mwIImej_dmGC43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ipwKwe7mwIImej_dmGC43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qnxuAEBrr3uKUCFj84P09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ipwKwe7mwIImej_dmGC43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ipwKwe7mwIImej_dmGC43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qnxuAEBrr3uKUCFj84P09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ipwKwe7mwIImej_dmGC43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WBNc.n.LrYjGyF6lFTZW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JihDcpu1llIQczSzsi..8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qv15tbinBG.NSkhUtHqSy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ECN11YxMTNirRBmVvs1kYQ"/>
</p:tagLst>
</file>

<file path=ppt/tags/tag337.xml><?xml version="1.0" encoding="utf-8"?>
<p:tagLst xmlns:a="http://schemas.openxmlformats.org/drawingml/2006/main" xmlns:r="http://schemas.openxmlformats.org/officeDocument/2006/relationships" xmlns:p="http://schemas.openxmlformats.org/presentationml/2006/main">
  <p:tag name="DVSHAPEID" val="8GPNu4wkJUDYgSF4A8UN79"/>
</p:tagLst>
</file>

<file path=ppt/tags/tag338.xml><?xml version="1.0" encoding="utf-8"?>
<p:tagLst xmlns:a="http://schemas.openxmlformats.org/drawingml/2006/main" xmlns:r="http://schemas.openxmlformats.org/officeDocument/2006/relationships" xmlns:p="http://schemas.openxmlformats.org/presentationml/2006/main">
  <p:tag name="DVSHAPEID" val="8GPNu4wkJUDYgSF4A8UN79"/>
</p:tagLst>
</file>

<file path=ppt/tags/tag339.xml><?xml version="1.0" encoding="utf-8"?>
<p:tagLst xmlns:a="http://schemas.openxmlformats.org/drawingml/2006/main" xmlns:r="http://schemas.openxmlformats.org/officeDocument/2006/relationships" xmlns:p="http://schemas.openxmlformats.org/presentationml/2006/main">
  <p:tag name="DVSHAPEID" val="8GPNu4wkJUDYgSF4A8UN79"/>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qHfQgngOfNLC.NrkI7XI3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aPwmCj.IOF9CNa2_n4Tu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XH4MehFJVaRfQjzFWS3J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4.xml><?xml version="1.0" encoding="utf-8"?>
<p:tagLst xmlns:a="http://schemas.openxmlformats.org/drawingml/2006/main" xmlns:r="http://schemas.openxmlformats.org/officeDocument/2006/relationships" xmlns:p="http://schemas.openxmlformats.org/presentationml/2006/main">
  <p:tag name="DVSHAPEID" val="E8cqbdIcwc2bNHDgFQAiL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LfK_NaURDX0DPKNB83hlH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5.xml><?xml version="1.0" encoding="utf-8"?>
<p:tagLst xmlns:a="http://schemas.openxmlformats.org/drawingml/2006/main" xmlns:r="http://schemas.openxmlformats.org/officeDocument/2006/relationships" xmlns:p="http://schemas.openxmlformats.org/presentationml/2006/main">
  <p:tag name="DVSHAPEID" val="4SnhDeS7mdVPxhEkCRqlqb"/>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oUwAgVbdzXV6ruNdlgR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DVSHAPEID" val="TwT3DP60X6JHdpSxCCsT2z"/>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UHAcW9T3gb8IvgWkypUV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_CEenM455kvGupNwzIZp2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ZQDMVzdrgn7ZdMXC7xCpj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_CEenM455kvGupNwzIZp2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QDMVzdrgn7ZdMXC7xCpj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aDneXldPVzRzi2x62Yg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JihDcpu1llIQczSzsi..8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41ZDbqvEXBNyvWQ5oOVUc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ZP64mWq28uvkgXC_HFz4a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g4GrcGu83ACGVup6kaGcu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YkNcgit.H8E0HRD3uaHrC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ozdpSDiXTO8gYsnpAvaTV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U4im_RKm5RRZtdiOXlpzU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DVSHAPEID" val="pKjkdfMSzk6ujKw4EaMuf4"/>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JUL1WEws8MIkCh4rx1xH2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kQPjgWbXHDimK2c2Q6FiD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dTCdjlsJsPDycI2b1di8w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qHfQgngOfNLC.NrkI7XI3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7WMXIikwspoZvUHm8fZd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eleven V2.6">
  <a:themeElements>
    <a:clrScheme name="Eleven colors">
      <a:dk1>
        <a:srgbClr val="6C6C6C"/>
      </a:dk1>
      <a:lt1>
        <a:srgbClr val="FFFFFF"/>
      </a:lt1>
      <a:dk2>
        <a:srgbClr val="289B38"/>
      </a:dk2>
      <a:lt2>
        <a:srgbClr val="8FCD9F"/>
      </a:lt2>
      <a:accent1>
        <a:srgbClr val="00A3E2"/>
      </a:accent1>
      <a:accent2>
        <a:srgbClr val="ADD9FD"/>
      </a:accent2>
      <a:accent3>
        <a:srgbClr val="FB436A"/>
      </a:accent3>
      <a:accent4>
        <a:srgbClr val="E38C35"/>
      </a:accent4>
      <a:accent5>
        <a:srgbClr val="FFF58C"/>
      </a:accent5>
      <a:accent6>
        <a:srgbClr val="831B21"/>
      </a:accent6>
      <a:hlink>
        <a:srgbClr val="39A0DA"/>
      </a:hlink>
      <a:folHlink>
        <a:srgbClr val="646464"/>
      </a:folHlink>
    </a:clrScheme>
    <a:fontScheme name="Eleven">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200" b="0" i="0" u="none" strike="noStrike" cap="none" normalizeH="0" baseline="0" dirty="0" err="1" smtClean="0">
            <a:ln>
              <a:noFill/>
            </a:ln>
            <a:solidFill>
              <a:schemeClr val="tx1"/>
            </a:solidFill>
            <a:effectLst/>
            <a:latin typeface="Trebuchet MS"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800" b="0" i="0" u="none" strike="noStrike" cap="none" normalizeH="0" baseline="0" smtClean="0">
            <a:ln>
              <a:noFill/>
            </a:ln>
            <a:solidFill>
              <a:schemeClr val="tx1"/>
            </a:solidFill>
            <a:effectLst/>
            <a:latin typeface="Trebuchet MS" pitchFamily="34" charset="0"/>
          </a:defRPr>
        </a:defPPr>
      </a:lstStyle>
    </a:lnDef>
    <a:txDef>
      <a:spPr>
        <a:noFill/>
      </a:spPr>
      <a:bodyPr wrap="square" rtlCol="0">
        <a:spAutoFit/>
      </a:bodyPr>
      <a:lstStyle>
        <a:defPPr>
          <a:defRPr sz="1200" dirty="0" err="1" smtClean="0">
            <a:latin typeface="+mj-lt"/>
          </a:defRPr>
        </a:defPPr>
      </a:lstStyle>
    </a:txDef>
  </a:objectDefaults>
  <a:extraClrSchemeLst>
    <a:extraClrScheme>
      <a:clrScheme name="Orang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rang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rang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rang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rang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rang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rang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Orange 8">
        <a:dk1>
          <a:srgbClr val="000000"/>
        </a:dk1>
        <a:lt1>
          <a:srgbClr val="FFFFFF"/>
        </a:lt1>
        <a:dk2>
          <a:srgbClr val="000000"/>
        </a:dk2>
        <a:lt2>
          <a:srgbClr val="808080"/>
        </a:lt2>
        <a:accent1>
          <a:srgbClr val="FF6600"/>
        </a:accent1>
        <a:accent2>
          <a:srgbClr val="FF6600"/>
        </a:accent2>
        <a:accent3>
          <a:srgbClr val="FFFFFF"/>
        </a:accent3>
        <a:accent4>
          <a:srgbClr val="000000"/>
        </a:accent4>
        <a:accent5>
          <a:srgbClr val="FFB8AA"/>
        </a:accent5>
        <a:accent6>
          <a:srgbClr val="E75C00"/>
        </a:accent6>
        <a:hlink>
          <a:srgbClr val="CCCCFF"/>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ème eleven V2.6" id="{F1CD0668-0377-47E3-8A7E-994C188375EA}" vid="{7F8C0379-2CE3-47C7-AD58-647B34BA741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Eleven colors">
    <a:dk1>
      <a:srgbClr val="6C6C6C"/>
    </a:dk1>
    <a:lt1>
      <a:srgbClr val="FFFFFF"/>
    </a:lt1>
    <a:dk2>
      <a:srgbClr val="289B38"/>
    </a:dk2>
    <a:lt2>
      <a:srgbClr val="8FCD9F"/>
    </a:lt2>
    <a:accent1>
      <a:srgbClr val="00A3E2"/>
    </a:accent1>
    <a:accent2>
      <a:srgbClr val="ADD9FD"/>
    </a:accent2>
    <a:accent3>
      <a:srgbClr val="FB436A"/>
    </a:accent3>
    <a:accent4>
      <a:srgbClr val="E38C35"/>
    </a:accent4>
    <a:accent5>
      <a:srgbClr val="FFF58C"/>
    </a:accent5>
    <a:accent6>
      <a:srgbClr val="831B21"/>
    </a:accent6>
    <a:hlink>
      <a:srgbClr val="39A0DA"/>
    </a:hlink>
    <a:folHlink>
      <a:srgbClr val="64646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36D72E291A89749A1020ECAEBC5DEA9" ma:contentTypeVersion="7" ma:contentTypeDescription="Crée un document." ma:contentTypeScope="" ma:versionID="f99d540c8fe000137e3672be6f13780a">
  <xsd:schema xmlns:xsd="http://www.w3.org/2001/XMLSchema" xmlns:xs="http://www.w3.org/2001/XMLSchema" xmlns:p="http://schemas.microsoft.com/office/2006/metadata/properties" xmlns:ns2="2ed4a45d-0a7a-4a4c-a2e9-3c855633e740" xmlns:ns3="a46fb650-58a2-4a9d-8560-53d2df43fe90" targetNamespace="http://schemas.microsoft.com/office/2006/metadata/properties" ma:root="true" ma:fieldsID="55d9753f316c6c16cd96ade6a093b44d" ns2:_="" ns3:_="">
    <xsd:import namespace="2ed4a45d-0a7a-4a4c-a2e9-3c855633e740"/>
    <xsd:import namespace="a46fb650-58a2-4a9d-8560-53d2df43fe9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d4a45d-0a7a-4a4c-a2e9-3c855633e740" elementFormDefault="qualified">
    <xsd:import namespace="http://schemas.microsoft.com/office/2006/documentManagement/types"/>
    <xsd:import namespace="http://schemas.microsoft.com/office/infopath/2007/PartnerControls"/>
    <xsd:element name="SharedWithUsers" ma:index="8" nillable="true" ma:displayName="Partagé avec"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Partagé avec dé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46fb650-58a2-4a9d-8560-53d2df43fe9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ct:contentTypeSchema xmlns:ct="http://schemas.microsoft.com/office/2006/metadata/contentType" xmlns:ma="http://schemas.microsoft.com/office/2006/metadata/properties/metaAttributes" ct:_="" ma:_="" ma:contentTypeName="Document" ma:contentTypeID="0x010100536D72E291A89749A1020ECAEBC5DEA9" ma:contentTypeVersion="7" ma:contentTypeDescription="Crée un document." ma:contentTypeScope="" ma:versionID="f99d540c8fe000137e3672be6f13780a">
  <xsd:schema xmlns:xsd="http://www.w3.org/2001/XMLSchema" xmlns:xs="http://www.w3.org/2001/XMLSchema" xmlns:p="http://schemas.microsoft.com/office/2006/metadata/properties" xmlns:ns2="2ed4a45d-0a7a-4a4c-a2e9-3c855633e740" xmlns:ns3="a46fb650-58a2-4a9d-8560-53d2df43fe90" targetNamespace="http://schemas.microsoft.com/office/2006/metadata/properties" ma:root="true" ma:fieldsID="55d9753f316c6c16cd96ade6a093b44d" ns2:_="" ns3:_="">
    <xsd:import namespace="2ed4a45d-0a7a-4a4c-a2e9-3c855633e740"/>
    <xsd:import namespace="a46fb650-58a2-4a9d-8560-53d2df43fe9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d4a45d-0a7a-4a4c-a2e9-3c855633e740" elementFormDefault="qualified">
    <xsd:import namespace="http://schemas.microsoft.com/office/2006/documentManagement/types"/>
    <xsd:import namespace="http://schemas.microsoft.com/office/infopath/2007/PartnerControls"/>
    <xsd:element name="SharedWithUsers" ma:index="8" nillable="true" ma:displayName="Partagé avec"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Partagé avec dé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46fb650-58a2-4a9d-8560-53d2df43fe9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9B723BF-2617-4FA5-AA9B-22E92D4655EC}">
  <ds:schemaRefs>
    <ds:schemaRef ds:uri="2ed4a45d-0a7a-4a4c-a2e9-3c855633e740"/>
    <ds:schemaRef ds:uri="a46fb650-58a2-4a9d-8560-53d2df43fe9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9B17484-0699-4074-AA17-71FD520F86FB}">
  <ds:schemaRefs>
    <ds:schemaRef ds:uri="2ed4a45d-0a7a-4a4c-a2e9-3c855633e740"/>
    <ds:schemaRef ds:uri="a46fb650-58a2-4a9d-8560-53d2df43fe9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D1031E1-2644-4F76-813C-CB73EED3301D}">
  <ds:schemaRefs>
    <ds:schemaRef ds:uri="http://purl.org/dc/dcmitype/"/>
    <ds:schemaRef ds:uri="http://schemas.microsoft.com/office/2006/metadata/properties"/>
    <ds:schemaRef ds:uri="http://schemas.microsoft.com/office/infopath/2007/PartnerControls"/>
    <ds:schemaRef ds:uri="http://purl.org/dc/terms/"/>
    <ds:schemaRef ds:uri="http://www.w3.org/XML/1998/namespace"/>
    <ds:schemaRef ds:uri="http://schemas.microsoft.com/office/2006/documentManagement/types"/>
    <ds:schemaRef ds:uri="http://purl.org/dc/elements/1.1/"/>
    <ds:schemaRef ds:uri="2ed4a45d-0a7a-4a4c-a2e9-3c855633e740"/>
    <ds:schemaRef ds:uri="http://schemas.openxmlformats.org/package/2006/metadata/core-properties"/>
    <ds:schemaRef ds:uri="a46fb650-58a2-4a9d-8560-53d2df43fe90"/>
  </ds:schemaRefs>
</ds:datastoreItem>
</file>

<file path=customXml/itemProps4.xml><?xml version="1.0" encoding="utf-8"?>
<ds:datastoreItem xmlns:ds="http://schemas.openxmlformats.org/officeDocument/2006/customXml" ds:itemID="{EC131EE5-84F6-4060-A690-AE4C8CAC150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13</TotalTime>
  <Words>39160</Words>
  <Application>Microsoft Office PowerPoint</Application>
  <PresentationFormat>A4 Paper (210x297 mm)</PresentationFormat>
  <Paragraphs>5513</Paragraphs>
  <Slides>155</Slides>
  <Notes>59</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55</vt:i4>
      </vt:variant>
    </vt:vector>
  </HeadingPairs>
  <TitlesOfParts>
    <vt:vector size="166" baseType="lpstr">
      <vt:lpstr>Arial</vt:lpstr>
      <vt:lpstr>Calibri</vt:lpstr>
      <vt:lpstr>Calibri Light</vt:lpstr>
      <vt:lpstr>Century Gothic</vt:lpstr>
      <vt:lpstr>Courier New</vt:lpstr>
      <vt:lpstr>Helvetica 65 Medium</vt:lpstr>
      <vt:lpstr>Monotype Sorts</vt:lpstr>
      <vt:lpstr>Trebuchet MS</vt:lpstr>
      <vt:lpstr>Wingdings</vt:lpstr>
      <vt:lpstr>Thème eleven V2.6</vt:lpstr>
      <vt:lpstr>think-cell Slide</vt:lpstr>
      <vt:lpstr>PowerPoint Presentation</vt:lpstr>
      <vt:lpstr>DISCLAIMER</vt:lpstr>
      <vt:lpstr>PowerPoint Presentation</vt:lpstr>
      <vt:lpstr>PowerPoint Presentation</vt:lpstr>
      <vt:lpstr>Altares Group, a leading player of the Business Data &amp; Analytics market, delivers high value information to B2B clients related to their potential risks and opportunities in three market verticals (i.e. Credit &amp; financial risk, Compliance, B2B marketing)</vt:lpstr>
      <vt:lpstr>The Business Data &amp; Analytics (BD&amp;A) market represents a large market with stable growth, driven by the rise of compliance &amp; marketing verticals</vt:lpstr>
      <vt:lpstr>The market landscape has been progressively reshaped in the past decade, creating a polarization between the premium incumbent addressing large accounts and the local small players addressing the mass market</vt:lpstr>
      <vt:lpstr>The limited Covid-19 impact demonstrates the strong resilience of the BD&amp;A market, as the offerings support companies both in period of growth and in times of crisis</vt:lpstr>
      <vt:lpstr>The Credit &amp; financial risk information market is stable with different dynamics in France and Benelux, showing growth opportunities for premium BD&amp;A players positioned on more qualitative services</vt:lpstr>
      <vt:lpstr>The compliance service market is expecting significant growth fuelled by the rising regulatory constraints and the clients’ needs for support by relatively few authoritative players</vt:lpstr>
      <vt:lpstr>The expanding direct B2B marketing market represents an advantageous playground for BD&amp;A players to leverage their B2B data to enrich, qualify and activate leads for their clients, while facing a fragmented player ecosystem with many pure players</vt:lpstr>
      <vt:lpstr>Altares’ value proposition consists in building, maintaining and enriching a global B2B database and exploiting it through high-value services for B2B clients</vt:lpstr>
      <vt:lpstr>In France, Altares has built a solid and diversified client base relying on a strong customer stickiness, reflecting a refocusing of sales efforts on high-potential clients</vt:lpstr>
      <vt:lpstr>PowerPoint Presentation</vt:lpstr>
      <vt:lpstr>Altares is the exclusive partner of Dun &amp; Bradstreet in seven countries with a contract running until 2031 providing Altares with a worldwide coverage of its data</vt:lpstr>
      <vt:lpstr>Overall, Altares business plan appears as achievable, according to recent performance and ongoing strategic projects launched by the new management</vt:lpstr>
      <vt:lpstr>PowerPoint Presentation</vt:lpstr>
      <vt:lpstr>The French &amp; Benelux Business Data &amp; Analytics market is divided in three main core verticals: Credit &amp; financial risk, compliance services and B2B marketing</vt:lpstr>
      <vt:lpstr>The BD&amp;A market addresses clients which can be segmented into four groups (key accounts, public institutions, mid-market and mass-market) each one with specific needs on each vertical </vt:lpstr>
      <vt:lpstr>The use cases on Credit &amp; financial fisk depend on client type: largest players often use the data directly integrated into their system, while service platform better fit mid- sized and small companies</vt:lpstr>
      <vt:lpstr>Compliance use cases depend on the step of the client/supplier lifecycle to be assessed as well as the legislation constraints to which it is subject</vt:lpstr>
      <vt:lpstr>B2B companies have various needs regarding direct B2B marketing, depending on their internal capabilities and available resources</vt:lpstr>
      <vt:lpstr>PowerPoint Presentation</vt:lpstr>
      <vt:lpstr>The Business Data &amp; Analytics market represents a large market with stable growth, driven by the rise of compliance &amp; marketing verticals</vt:lpstr>
      <vt:lpstr>The BD&amp;A market is expected to grow 2.5% per year (CAGR21-25), mostly driven by the Compliance and B2B marketing verticals while Credit risk should globally experience an overall stability</vt:lpstr>
      <vt:lpstr>Altares plays a leading role in each geography, representing 17% of the French BD&amp;A market, 23% in the Netherlands, 14% in Belgium and 13% in Luxembourg</vt:lpstr>
      <vt:lpstr>By operating both on the Benelux and French market, Altares competes with transnational and local players which can either address one or several verticals</vt:lpstr>
      <vt:lpstr>The market landscape has been progressively reshaped in the past decade, creating a polarization between the premium incumbent addressing large accounts and the local small players addressing the mass market</vt:lpstr>
      <vt:lpstr>PowerPoint Presentation</vt:lpstr>
      <vt:lpstr>The Credit &amp; financial risk information market represents a large market of €341m, in which France accounts for more than 55% of generated revenue</vt:lpstr>
      <vt:lpstr>Credit &amp; financial risk information acts as a key risk prevention solution among the risk management toolkit, which gathers several complementary solutions (e.g. insurance, factoring, debt recovery…) to help companies manage and mitigate risk</vt:lpstr>
      <vt:lpstr>Credit risk represents a large market with moderate growth (CAGR21-25 of +0.01%) driven by increasing needs for hedging solutions against perceived macro-risk, especially in Benelux</vt:lpstr>
      <vt:lpstr>With the Covid-19 crisis, companies will have a greater need for risk information about their stakeholders due to the raise of financial stress and uncertainty</vt:lpstr>
      <vt:lpstr>Increasing account receivable and exports positively drive the need for Credit risk information in all geographies, especially in Benelux where these two parameters are much more important </vt:lpstr>
      <vt:lpstr>The stabilization of payment terms and the increasing share of other Credit risk solutions would have a limited impact on the need for Credit &amp; financial risk information</vt:lpstr>
      <vt:lpstr>In a context of price stabilization and a difficulty to assess data quality, BD&amp;A players must offer innovative services in order to differentiate themselves, and to address SMEs whose needs for Credit risk are growing</vt:lpstr>
      <vt:lpstr>Credit risk &amp; financial players seek differentiation on each service level, notably by providing higher quality data, smarter scoring models, customized reports or deeper integration into clients’ software</vt:lpstr>
      <vt:lpstr>Both in France &amp; Benelux, premium players such as Altares are differentiating from other players at each layer of service, from a more valuable data to customized web platforms</vt:lpstr>
      <vt:lpstr>PowerPoint Presentation</vt:lpstr>
      <vt:lpstr>The French and Benelux compliance market addressed by Altares represents a young market of €35m, experiencing strong growth driven by regulatory constraints, especially in France with the Sapin II law implementation </vt:lpstr>
      <vt:lpstr>The compliance market is divided into 3 distinct segments (anti-corruption, anti-money laundering and market regulatory compliance) with different dynamics in terms of data volumes and information processing timeframes</vt:lpstr>
      <vt:lpstr>The French and Benelux compliance market is experiencing sustained growth that will continue over the coming years due to a regulatory environment that leads companies to keep on complying with legislation</vt:lpstr>
      <vt:lpstr>PowerPoint Presentation</vt:lpstr>
      <vt:lpstr>Large European corporates are facing increasing and costly constraints from authorities in terms of compliance processes, complicating the requirements implementation</vt:lpstr>
      <vt:lpstr>With regards to the fight against corruption, the Sapin II law have redefined new regulatory constraints related to anti-corruption processes in France, increasing sanction risk for uncompliant businesses…</vt:lpstr>
      <vt:lpstr>… and partly contributing to the future growth of the French compliance market thanks to remediation, monitoring and onboarding processes imposed to the companies targeted by the law</vt:lpstr>
      <vt:lpstr>PowerPoint Presentation</vt:lpstr>
      <vt:lpstr>PowerPoint Presentation</vt:lpstr>
      <vt:lpstr>Due to their high-level of complexity and the sanctions in case of non-compliance, the regulatory requirements are fostering the need for dedicated compliance solutions from external service providers</vt:lpstr>
      <vt:lpstr>This new demand for reglementary data has led BD&amp;A players to launch specific compliance offerings, leveraging their expertise from historical core business</vt:lpstr>
      <vt:lpstr>Regarding third-parties authentication processes, BD&amp;A players such as Altares play different roles whether the use case concerns AML or anti-corruption framework</vt:lpstr>
      <vt:lpstr>Altares uses data (proprietary data and from compliance data providers) and leverages filtering services in order to offer the business needs around third-party authentication </vt:lpstr>
      <vt:lpstr>More broadly, BD&amp;A incumbents occupy a strategic position within the ecosystem thanks to a privileged access to data with partnership opportunities with adjacent players </vt:lpstr>
      <vt:lpstr>Many RegTech players have recently entered the compliance market - on a different scope than Altares - by addressing financial institutions with automated offerings powered by artificial intelligence</vt:lpstr>
      <vt:lpstr>Altares and other BD&amp;A players enjoy relative protection from new entrants thanks to important barriers to entry, related to cost of data quality provision</vt:lpstr>
      <vt:lpstr>PowerPoint Presentation</vt:lpstr>
      <vt:lpstr>Altares addresses the B2B lead generation market, estimated at €146m, which growth could be explained by the multiplication of data and the opportunities linked to their exploitation</vt:lpstr>
      <vt:lpstr>Altares leverages the quality and the comprehensiveness of its data to specifically address the B2B prospect qualification segment </vt:lpstr>
      <vt:lpstr>The B2B marketing market can be segmented into two complementary sub-markets: inbound (i.e. the target engages the first contact) and outbound B2B marketing (i.e. the advertiser pushes the message to the target)</vt:lpstr>
      <vt:lpstr>The market structure is changing under the influence of GDPR and the development of tracking technologies, making the boundary between inbound and outbound marketing porous</vt:lpstr>
      <vt:lpstr>Altares is positioned as the only player in the market to address the entire B2B prospect qualification market value chain thanks to its comprehensive range of offerings</vt:lpstr>
      <vt:lpstr>The Covid-19 crisis had led to a general decrease in B2B marketing spending but has potentially paved the way for a greater digitalization of sales processes</vt:lpstr>
      <vt:lpstr>The B2B prospect qualification market growth is mainly driven by the upstream part of the value chain, i.e. the creation, cleansing and continuous enrichment of a database</vt:lpstr>
      <vt:lpstr>PowerPoint Presentation</vt:lpstr>
      <vt:lpstr>Thanks to its presence in the Maghreb area, Altares operates on a double-digit growth market, and benefits from a privileged access to local data which is leveraged internationally</vt:lpstr>
      <vt:lpstr>PowerPoint Presentation</vt:lpstr>
      <vt:lpstr>Altares’ value proposition consists in building and maintaining a global B2B database and exploiting it through high-value services for B2B clients</vt:lpstr>
      <vt:lpstr>PowerPoint Presentation</vt:lpstr>
      <vt:lpstr>The data provided by Altares is needed at each step of the client lifecycle, from Prospection, to Compliance to Credit risk management</vt:lpstr>
      <vt:lpstr>Altares’ products portfolio is split between Altares' proprietary products and D&amp;B’s products, with three types of delivery, covering the three Altares' market verticals </vt:lpstr>
      <vt:lpstr>Illustration – Manageo: Manageo offers a wide range of B2B marketing solutions from lead generation to automated lead activation with mLead and mAds</vt:lpstr>
      <vt:lpstr>Altares’ solutions can be delivered in several ways depending on the level of personalization and integration into the clients’ workflow: from on-the-shelf web platform to tailor-made integrated solutions</vt:lpstr>
      <vt:lpstr>Illustration: Altares' offers are delivered either through user-friendly web applications, connector inside clients’ tools or personalized batch or API</vt:lpstr>
      <vt:lpstr>Credit risk solutions currently represent the main part of Altares’ turnover, while growth is mainly supported by B2B marketing and compliance</vt:lpstr>
      <vt:lpstr>Illustration – Transversal products: Transversal solutions, i.e. all the products that aim to make clients’ data more reliable and accurate, are progressively switching from batch solutions to integrated solutions  </vt:lpstr>
      <vt:lpstr>PowerPoint Presentation</vt:lpstr>
      <vt:lpstr>PowerPoint Presentation</vt:lpstr>
      <vt:lpstr>PowerPoint Presentation</vt:lpstr>
      <vt:lpstr>PowerPoint Presentation</vt:lpstr>
      <vt:lpstr>Altares’ offer outperforms the competition thanks to the quality and comprehensiveness of its data, the accuracy of its analyses and its reliable brand image </vt:lpstr>
      <vt:lpstr>Altares’ offer on Credit &amp; financial risk information appears highly competitive, especially to address large caps thanks to Altares’ high-quality brand image, comprehensive international database and ability to provide tailor-made services </vt:lpstr>
      <vt:lpstr>Altares compliance offer enjoys a very high level of customer recognition thanks to indueD, a quality solution with a friendly interface allowing to efficiently perform time-consuming compliance tasks</vt:lpstr>
      <vt:lpstr>Altares, along with Manageo, offer a wide and competitive range of solutions for mid-sized companies as well as for large accounts</vt:lpstr>
      <vt:lpstr>Altares’ strong and reliable brand image has been proven over the years, and has been reinforced during the Covid-19 crisis as Altares has publicly reinforced its position of Credit risk expert</vt:lpstr>
      <vt:lpstr>PowerPoint Presentation</vt:lpstr>
      <vt:lpstr>Altares' customers are split into three distinct customers’ segments with different dynamics but also different characteristics and have been analysed with different methodologies</vt:lpstr>
      <vt:lpstr>In terms of figures, scopes of the customer cohorts’ analysis are smaller than the total revenue generated in France, Benelux and by Manageo due to removals of some products</vt:lpstr>
      <vt:lpstr>Altares revenue are mainly generated by large customers, with top 10 clients being listed companies in France and Benelux</vt:lpstr>
      <vt:lpstr>PowerPoint Presentation</vt:lpstr>
      <vt:lpstr>Altares’ french database contains all incomes in France, including indirect DB&amp;I and one shot-incomes, and thus must be restrained to recurring incomes in order to study customers cohorts </vt:lpstr>
      <vt:lpstr>In France, churn dynamics show both upsell on existing customers and strong capacity to attract new customers to compensate churn </vt:lpstr>
      <vt:lpstr>In France, cohorts’ dynamics illustrate Altares’ focus on high value-added customers at the expense of unprofitable small accounts, as billings have continuously increased despite a decreasing number of clients </vt:lpstr>
      <vt:lpstr>In France, ARPU evolution shows Altares' ability to significantly upsell historical large accounts as well as small new accounts, as ARPU of each cohort increases every year</vt:lpstr>
      <vt:lpstr>PowerPoint Presentation</vt:lpstr>
      <vt:lpstr>PowerPoint Presentation</vt:lpstr>
      <vt:lpstr>Altares’ Benelux database contains all incomes in Benelux, including indirect DB&amp;I and one shot-incomes, but due to a change in one-shot contracts identification only DB&amp;I incomes can be excluded from customers cohorts </vt:lpstr>
      <vt:lpstr>In Benelux, Altares is characterized by a strong customer acquisition ability, as new business offset both churn and down-sell on existing customers </vt:lpstr>
      <vt:lpstr>Benelux cohorts’ dynamics illustrate Altares’ focus on high value-added customers at the expense of unprofitable small accounts, as bookings have remained flat despite a decrease in the number of clients</vt:lpstr>
      <vt:lpstr>In Benelux, ARPU evolution shows Altares' ability to significantly upsell historical large accounts as ARPU of each cohort as well as global ARPU are increasing every year</vt:lpstr>
      <vt:lpstr>Manageo steady growth relies on strong customer acquisition enabling to offset natural churn over the years as Manageo’ activity is mainly characterized by one-off products</vt:lpstr>
      <vt:lpstr>Manageo customers dynamics show that Manageo has succeeded to upsell its historical customers and thus increase its overall booking despite a decrease in the number of clients</vt:lpstr>
      <vt:lpstr>ARPU evolution shows Manageo' ability to upsell historical accounts as ARPU of each cohort as well as global ARPU are increasing every year</vt:lpstr>
      <vt:lpstr>Manageo faces different dynamics depending on the type of products sold, one-off products for large accounts being mainly renewed every year while recurring products churn is offset by new business</vt:lpstr>
      <vt:lpstr>Manageo’s growth is mainly driven by both programmatic and lead generation one-off solutions, for which Manageo has successfully increased ARPU over the years</vt:lpstr>
      <vt:lpstr>PowerPoint Presentation</vt:lpstr>
      <vt:lpstr>Altares has an historical partnership - running until 2031 – with Dun &amp; Bradstreet enabling Altares to benefit from D&amp;B international data and a very strong worldwide brand image </vt:lpstr>
      <vt:lpstr>The nature of the exchanges between Altares and Dun &amp; Bradstreet creates a reciprocal dependency</vt:lpstr>
      <vt:lpstr>PowerPoint Presentation</vt:lpstr>
      <vt:lpstr>PowerPoint Presentation</vt:lpstr>
      <vt:lpstr>Since D&amp;B Benelux acquisition in 2017, Altares has benefit from D&amp;B’ incomes and progressively deployed its proprietary products in Benelux</vt:lpstr>
      <vt:lpstr>Despite D&amp;B Credit has the highest booking of the group, Altares has succeeded in developing its proprietary activity in Benelux thanks to efficient integration of the two geographies at a group level</vt:lpstr>
      <vt:lpstr>PowerPoint Presentation</vt:lpstr>
      <vt:lpstr>PowerPoint Presentation</vt:lpstr>
      <vt:lpstr>Altares build its database from different type of information, digital data offering an opportunity to enrich its database automatically and in real time but needing heavy R&amp;D investment for collection and treatment</vt:lpstr>
      <vt:lpstr>Paydex, Altares’ score to predict companies’ insolvency risk is a very high value-added asset since it is based on very “hot” and hard-to-get inter-company payment data</vt:lpstr>
      <vt:lpstr>PowerPoint Presentation</vt:lpstr>
      <vt:lpstr>PowerPoint Presentation</vt:lpstr>
      <vt:lpstr>PowerPoint Presentation</vt:lpstr>
      <vt:lpstr>Altares’ group operations are supported by a resilient but aging technical architecture that is being modernized within the Data Hub project</vt:lpstr>
      <vt:lpstr>The Data Hub project has been put in place to best answer major challenges and issues faced by Altares’ aging IT systems constrained by a highly competitive environment </vt:lpstr>
      <vt:lpstr>PowerPoint Presentation</vt:lpstr>
      <vt:lpstr>In order to pave the way to the group’s future growth, Altares’ new management team has already launched key initiatives regarding commercial and product strategies, supported by the ongoing consolidation of the group foundations</vt:lpstr>
      <vt:lpstr>Altares has already strengthen commercial initiatives all in favour of attracting, converting and retaining clients</vt:lpstr>
      <vt:lpstr>Altares’ “flagship products” deliver an increase conversion of new logos thanks to above-market functionalities and ongoing developments expected by clients</vt:lpstr>
      <vt:lpstr>A clear product strategy – supported by a new global product-based editorial line - is being rolled out in order to enrich Altares’ services and solutions with key functionalities aligned with customers’ expectations</vt:lpstr>
      <vt:lpstr>The launch of Dun &amp; Bradstreet’s Datablocks in Direct+ API is key to the construction of precise clients’ use cases with optimized product development and business model</vt:lpstr>
      <vt:lpstr>AltaMarket could be the place where B2B data providers (the “partners”) and their customers connect to buy and sell data, paying broker and infrastructure fees to Altares in exchange of the service</vt:lpstr>
      <vt:lpstr>Since 2018, Altares' new management team has laid the foundations for three main levers supporting the group’s future strategy, which are already delivering profitable growth</vt:lpstr>
      <vt:lpstr>PowerPoint Presentation</vt:lpstr>
      <vt:lpstr>Altares’ steady pre-Covid growth has been levelled off by the crisis – generating a “white year”, and is expected to pick-up again with a catch-up effect in 2021</vt:lpstr>
      <vt:lpstr>Overall, Altares’ business plan forecasts a +5.5% 2020-2025 CAGR growth balanced between the three verticals</vt:lpstr>
      <vt:lpstr>PowerPoint Presentation</vt:lpstr>
      <vt:lpstr>Altares new management’ reactivation of product development - that had been stopped in the past – will drive future growth on the Credit risk activity, also supported by the winning of a major contract in Benelux</vt:lpstr>
      <vt:lpstr>Altares has rationalized its Credit &amp; financial risk products portfolio by decommissioning of obsolete products….</vt:lpstr>
      <vt:lpstr>… and relaunching investment on key products such as intuiz+ </vt:lpstr>
      <vt:lpstr>Altares, by increasing commercial local proximity through deployment of sales in regions and indirect partnerships, aims at efficiently target new geographies and mid-sized companies</vt:lpstr>
      <vt:lpstr>Altares has signed in 2020 a major 4-year framework contract with the European Commission with high potential in the short and long terms</vt:lpstr>
      <vt:lpstr>The deployment of a range of local proprietary products in Benelux will enable Altares to best meet customers’ needs leveraging more granular local data</vt:lpstr>
      <vt:lpstr>Transversal product innovation (API capability, Data enrichment, data blocks, AltaMarket…) will strongly support Altares’ future growth</vt:lpstr>
      <vt:lpstr>PowerPoint Presentation</vt:lpstr>
      <vt:lpstr>PowerPoint Presentation</vt:lpstr>
      <vt:lpstr>The compliance market will structurally drive Altares future growth in France and Benelux thanks to the increasing maturity of customers driving higher equipment rate </vt:lpstr>
      <vt:lpstr>Altares proprietary flagship product (indueD) will benefit from a strong momentum on the market thanks to significant investment on the product </vt:lpstr>
      <vt:lpstr>PowerPoint Presentation</vt:lpstr>
      <vt:lpstr>Altares future growth on B2B Marketing activity mainly rely on product harmonization and innovation through data enrichment, artificial intelligence and integration into a platform strategy</vt:lpstr>
      <vt:lpstr>Product harmonization and innovation will create a virtuous circle allowing to enhance B2B targeting with data enrichment, artificial intelligence and deeper integration</vt:lpstr>
      <vt:lpstr>Furthermore, the ongoing platform strategy will allow to consolidate B2B targeting and activation services into a unique platform with value-added-services </vt:lpstr>
      <vt:lpstr>PowerPoint Presentation</vt:lpstr>
      <vt:lpstr>PowerPoint Presentation</vt:lpstr>
      <vt:lpstr>PowerPoint Presentation</vt:lpstr>
      <vt:lpstr>Overall, Altares business plan appears as achievable, according to recent performance and ongoing strategic projects launched by the new management</vt:lpstr>
      <vt:lpstr>PowerPoint Presentation</vt:lpstr>
      <vt:lpstr>The BD&amp;A market has been assessed – for each of the three verticals (Credit risk, compliance, B2B marketing) - using a complementary approach between the bottom-up and the top-down approaches</vt:lpstr>
      <vt:lpstr>Both interviews and reference materials coming from internal and external sources have been leveraged throughout eleven’s analyse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Aurora VDD eleven</dc:title>
  <dc:creator>Théodora Dupont</dc:creator>
  <cp:lastModifiedBy>Ugo MANTEL</cp:lastModifiedBy>
  <cp:revision>1</cp:revision>
  <cp:lastPrinted>2020-10-01T11:46:22Z</cp:lastPrinted>
  <dcterms:created xsi:type="dcterms:W3CDTF">2020-07-20T12:49:47Z</dcterms:created>
  <dcterms:modified xsi:type="dcterms:W3CDTF">2021-08-27T14:38: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6D72E291A89749A1020ECAEBC5DEA9</vt:lpwstr>
  </property>
</Properties>
</file>